
<file path=[Content_Types].xml><?xml version="1.0" encoding="utf-8"?>
<Types xmlns="http://schemas.openxmlformats.org/package/2006/content-types">
  <Default Extension="1&amp;q=80&amp;w=1920" ContentType="image/jpeg"/>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8.xml" ContentType="application/vnd.openxmlformats-officedocument.presentationml.tags+xml"/>
  <Override PartName="/ppt/notesSlides/notesSlide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xml" ContentType="application/vnd.openxmlformats-officedocument.presentationml.notesSlide+xml"/>
  <Override PartName="/ppt/tags/tag41.xml" ContentType="application/vnd.openxmlformats-officedocument.presentationml.tags+xml"/>
  <Override PartName="/ppt/notesSlides/notesSlide3.xml" ContentType="application/vnd.openxmlformats-officedocument.presentationml.notesSlide+xml"/>
  <Override PartName="/ppt/tags/tag42.xml" ContentType="application/vnd.openxmlformats-officedocument.presentationml.tags+xml"/>
  <Override PartName="/ppt/notesSlides/notesSlide4.xml" ContentType="application/vnd.openxmlformats-officedocument.presentationml.notesSlide+xml"/>
  <Override PartName="/ppt/tags/tag43.xml" ContentType="application/vnd.openxmlformats-officedocument.presentationml.tags+xml"/>
  <Override PartName="/ppt/notesSlides/notesSlide5.xml" ContentType="application/vnd.openxmlformats-officedocument.presentationml.notesSlide+xml"/>
  <Override PartName="/ppt/tags/tag44.xml" ContentType="application/vnd.openxmlformats-officedocument.presentationml.tags+xml"/>
  <Override PartName="/ppt/notesSlides/notesSlide6.xml" ContentType="application/vnd.openxmlformats-officedocument.presentationml.notesSlide+xml"/>
  <Override PartName="/ppt/tags/tag45.xml" ContentType="application/vnd.openxmlformats-officedocument.presentationml.tags+xml"/>
  <Override PartName="/ppt/notesSlides/notesSlide7.xml" ContentType="application/vnd.openxmlformats-officedocument.presentationml.notesSlide+xml"/>
  <Override PartName="/ppt/tags/tag46.xml" ContentType="application/vnd.openxmlformats-officedocument.presentationml.tags+xml"/>
  <Override PartName="/ppt/notesSlides/notesSlide8.xml" ContentType="application/vnd.openxmlformats-officedocument.presentationml.notesSlide+xml"/>
  <Override PartName="/ppt/tags/tag47.xml" ContentType="application/vnd.openxmlformats-officedocument.presentationml.tags+xml"/>
  <Override PartName="/ppt/notesSlides/notesSlide9.xml" ContentType="application/vnd.openxmlformats-officedocument.presentationml.notesSlide+xml"/>
  <Override PartName="/ppt/tags/tag48.xml" ContentType="application/vnd.openxmlformats-officedocument.presentationml.tags+xml"/>
  <Override PartName="/ppt/notesSlides/notesSlide10.xml" ContentType="application/vnd.openxmlformats-officedocument.presentationml.notesSlide+xml"/>
  <Override PartName="/ppt/tags/tag49.xml" ContentType="application/vnd.openxmlformats-officedocument.presentationml.tags+xml"/>
  <Override PartName="/ppt/notesSlides/notesSlide11.xml" ContentType="application/vnd.openxmlformats-officedocument.presentationml.notesSlide+xml"/>
  <Override PartName="/ppt/tags/tag50.xml" ContentType="application/vnd.openxmlformats-officedocument.presentationml.tags+xml"/>
  <Override PartName="/ppt/notesSlides/notesSlide12.xml" ContentType="application/vnd.openxmlformats-officedocument.presentationml.notesSlide+xml"/>
  <Override PartName="/ppt/tags/tag51.xml" ContentType="application/vnd.openxmlformats-officedocument.presentationml.tags+xml"/>
  <Override PartName="/ppt/notesSlides/notesSlide13.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4.xml" ContentType="application/vnd.openxmlformats-officedocument.presentationml.notesSlide+xml"/>
  <Override PartName="/ppt/tags/tag54.xml" ContentType="application/vnd.openxmlformats-officedocument.presentationml.tags+xml"/>
  <Override PartName="/ppt/notesSlides/notesSlide15.xml" ContentType="application/vnd.openxmlformats-officedocument.presentationml.notesSlide+xml"/>
  <Override PartName="/ppt/tags/tag55.xml" ContentType="application/vnd.openxmlformats-officedocument.presentationml.tags+xml"/>
  <Override PartName="/ppt/notesSlides/notesSlide16.xml" ContentType="application/vnd.openxmlformats-officedocument.presentationml.notesSlide+xml"/>
  <Override PartName="/ppt/tags/tag56.xml" ContentType="application/vnd.openxmlformats-officedocument.presentationml.tags+xml"/>
  <Override PartName="/ppt/notesSlides/notesSlide17.xml" ContentType="application/vnd.openxmlformats-officedocument.presentationml.notesSlide+xml"/>
  <Override PartName="/ppt/tags/tag57.xml" ContentType="application/vnd.openxmlformats-officedocument.presentationml.tags+xml"/>
  <Override PartName="/ppt/notesSlides/notesSlide18.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58.xml" ContentType="application/vnd.openxmlformats-officedocument.presentationml.tags+xml"/>
  <Override PartName="/ppt/notesSlides/notesSlide19.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20.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21.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22.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23.xml" ContentType="application/vnd.openxmlformats-officedocument.presentationml.notesSlide+xml"/>
  <Override PartName="/ppt/tags/tag68.xml" ContentType="application/vnd.openxmlformats-officedocument.presentationml.tags+xml"/>
  <Override PartName="/ppt/notesSlides/notesSlide24.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25.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26.xml" ContentType="application/vnd.openxmlformats-officedocument.presentationml.notesSlide+xml"/>
  <Override PartName="/ppt/tags/tag75.xml" ContentType="application/vnd.openxmlformats-officedocument.presentationml.tags+xml"/>
  <Override PartName="/ppt/notesSlides/notesSlide27.xml" ContentType="application/vnd.openxmlformats-officedocument.presentationml.notesSlide+xml"/>
  <Override PartName="/ppt/tags/tag76.xml" ContentType="application/vnd.openxmlformats-officedocument.presentationml.tags+xml"/>
  <Override PartName="/ppt/notesSlides/notesSlide28.xml" ContentType="application/vnd.openxmlformats-officedocument.presentationml.notesSlide+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tags/tag77.xml" ContentType="application/vnd.openxmlformats-officedocument.presentationml.tags+xml"/>
  <Override PartName="/ppt/tags/tag78.xml" ContentType="application/vnd.openxmlformats-officedocument.presentationml.tags+xml"/>
  <Override PartName="/ppt/notesSlides/notesSlide29.xml" ContentType="application/vnd.openxmlformats-officedocument.presentationml.notesSlide+xml"/>
  <Override PartName="/ppt/tags/tag79.xml" ContentType="application/vnd.openxmlformats-officedocument.presentationml.tags+xml"/>
  <Override PartName="/ppt/notesSlides/notesSlide30.xml" ContentType="application/vnd.openxmlformats-officedocument.presentationml.notesSlide+xml"/>
  <Override PartName="/ppt/tags/tag80.xml" ContentType="application/vnd.openxmlformats-officedocument.presentationml.tags+xml"/>
  <Override PartName="/ppt/notesSlides/notesSlide31.xml" ContentType="application/vnd.openxmlformats-officedocument.presentationml.notesSlide+xml"/>
  <Override PartName="/ppt/tags/tag81.xml" ContentType="application/vnd.openxmlformats-officedocument.presentationml.tags+xml"/>
  <Override PartName="/ppt/notesSlides/notesSlide32.xml" ContentType="application/vnd.openxmlformats-officedocument.presentationml.notesSlide+xml"/>
  <Override PartName="/ppt/tags/tag82.xml" ContentType="application/vnd.openxmlformats-officedocument.presentationml.tags+xml"/>
  <Override PartName="/ppt/notesSlides/notesSlide33.xml" ContentType="application/vnd.openxmlformats-officedocument.presentationml.notesSlide+xml"/>
  <Override PartName="/ppt/tags/tag83.xml" ContentType="application/vnd.openxmlformats-officedocument.presentationml.tags+xml"/>
  <Override PartName="/ppt/notesSlides/notesSlide34.xml" ContentType="application/vnd.openxmlformats-officedocument.presentationml.notesSlide+xml"/>
  <Override PartName="/ppt/tags/tag84.xml" ContentType="application/vnd.openxmlformats-officedocument.presentationml.tags+xml"/>
  <Override PartName="/ppt/notesSlides/notesSlide35.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36.xml" ContentType="application/vnd.openxmlformats-officedocument.presentationml.notesSlide+xml"/>
  <Override PartName="/ppt/tags/tag87.xml" ContentType="application/vnd.openxmlformats-officedocument.presentationml.tags+xml"/>
  <Override PartName="/ppt/notesSlides/notesSlide37.xml" ContentType="application/vnd.openxmlformats-officedocument.presentationml.notesSlide+xml"/>
  <Override PartName="/ppt/tags/tag88.xml" ContentType="application/vnd.openxmlformats-officedocument.presentationml.tags+xml"/>
  <Override PartName="/ppt/notesSlides/notesSlide38.xml" ContentType="application/vnd.openxmlformats-officedocument.presentationml.notesSlide+xml"/>
  <Override PartName="/ppt/tags/tag89.xml" ContentType="application/vnd.openxmlformats-officedocument.presentationml.tags+xml"/>
  <Override PartName="/ppt/notesSlides/notesSlide39.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40.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41.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42.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43.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44.xml" ContentType="application/vnd.openxmlformats-officedocument.presentationml.notesSlide+xml"/>
  <Override PartName="/ppt/tags/tag101.xml" ContentType="application/vnd.openxmlformats-officedocument.presentationml.tags+xml"/>
  <Override PartName="/ppt/notesSlides/notesSlide45.xml" ContentType="application/vnd.openxmlformats-officedocument.presentationml.notesSlide+xml"/>
  <Override PartName="/ppt/tags/tag102.xml" ContentType="application/vnd.openxmlformats-officedocument.presentationml.tags+xml"/>
  <Override PartName="/ppt/notesSlides/notesSlide46.xml" ContentType="application/vnd.openxmlformats-officedocument.presentationml.notesSlide+xml"/>
  <Override PartName="/ppt/tags/tag103.xml" ContentType="application/vnd.openxmlformats-officedocument.presentationml.tags+xml"/>
  <Override PartName="/ppt/notesSlides/notesSlide47.xml" ContentType="application/vnd.openxmlformats-officedocument.presentationml.notesSlide+xml"/>
  <Override PartName="/ppt/tags/tag104.xml" ContentType="application/vnd.openxmlformats-officedocument.presentationml.tags+xml"/>
  <Override PartName="/ppt/notesSlides/notesSlide48.xml" ContentType="application/vnd.openxmlformats-officedocument.presentationml.notesSlide+xml"/>
  <Override PartName="/ppt/tags/tag105.xml" ContentType="application/vnd.openxmlformats-officedocument.presentationml.tags+xml"/>
  <Override PartName="/ppt/notesSlides/notesSlide49.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50.xml" ContentType="application/vnd.openxmlformats-officedocument.presentationml.notesSlid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1.xml" ContentType="application/vnd.openxmlformats-officedocument.drawingml.chartshapes+xml"/>
  <Override PartName="/ppt/tags/tag110.xml" ContentType="application/vnd.openxmlformats-officedocument.presentationml.tags+xml"/>
  <Override PartName="/ppt/notesSlides/notesSlide51.xml" ContentType="application/vnd.openxmlformats-officedocument.presentationml.notesSlide+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tags/tag111.xml" ContentType="application/vnd.openxmlformats-officedocument.presentationml.tags+xml"/>
  <Override PartName="/ppt/notesSlides/notesSlide52.xml" ContentType="application/vnd.openxmlformats-officedocument.presentationml.notesSlide+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notesSlides/notesSlide53.xml" ContentType="application/vnd.openxmlformats-officedocument.presentationml.notesSlide+xml"/>
  <Override PartName="/ppt/tags/tag114.xml" ContentType="application/vnd.openxmlformats-officedocument.presentationml.tags+xml"/>
  <Override PartName="/ppt/notesSlides/notesSlide54.xml" ContentType="application/vnd.openxmlformats-officedocument.presentationml.notesSlide+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charts/chart13.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4.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5.xml" ContentType="application/vnd.openxmlformats-officedocument.drawingml.chart+xml"/>
  <Override PartName="/ppt/charts/style12.xml" ContentType="application/vnd.ms-office.chartstyle+xml"/>
  <Override PartName="/ppt/charts/colors12.xml" ContentType="application/vnd.ms-office.chartcolorstyle+xml"/>
  <Override PartName="/ppt/tags/tag115.xml" ContentType="application/vnd.openxmlformats-officedocument.presentationml.tags+xml"/>
  <Override PartName="/ppt/tags/tag116.xml" ContentType="application/vnd.openxmlformats-officedocument.presentationml.tags+xml"/>
  <Override PartName="/ppt/notesSlides/notesSlide55.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56.xml" ContentType="application/vnd.openxmlformats-officedocument.presentationml.notesSlide+xml"/>
  <Override PartName="/ppt/tags/tag119.xml" ContentType="application/vnd.openxmlformats-officedocument.presentationml.tags+xml"/>
  <Override PartName="/ppt/notesSlides/notesSlide57.xml" ContentType="application/vnd.openxmlformats-officedocument.presentationml.notesSlide+xml"/>
  <Override PartName="/ppt/tags/tag120.xml" ContentType="application/vnd.openxmlformats-officedocument.presentationml.tags+xml"/>
  <Override PartName="/ppt/notesSlides/notesSlide58.xml" ContentType="application/vnd.openxmlformats-officedocument.presentationml.notesSlide+xml"/>
  <Override PartName="/ppt/tags/tag121.xml" ContentType="application/vnd.openxmlformats-officedocument.presentationml.tags+xml"/>
  <Override PartName="/ppt/notesSlides/notesSlide59.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60.xml" ContentType="application/vnd.openxmlformats-officedocument.presentationml.notesSlide+xml"/>
  <Override PartName="/ppt/tags/tag124.xml" ContentType="application/vnd.openxmlformats-officedocument.presentationml.tags+xml"/>
  <Override PartName="/ppt/notesSlides/notesSlide61.xml" ContentType="application/vnd.openxmlformats-officedocument.presentationml.notesSlide+xml"/>
  <Override PartName="/ppt/tags/tag125.xml" ContentType="application/vnd.openxmlformats-officedocument.presentationml.tags+xml"/>
  <Override PartName="/ppt/notesSlides/notesSlide62.xml" ContentType="application/vnd.openxmlformats-officedocument.presentationml.notesSlide+xml"/>
  <Override PartName="/ppt/tags/tag126.xml" ContentType="application/vnd.openxmlformats-officedocument.presentationml.tags+xml"/>
  <Override PartName="/ppt/notesSlides/notesSlide63.xml" ContentType="application/vnd.openxmlformats-officedocument.presentationml.notesSlide+xml"/>
  <Override PartName="/ppt/tags/tag127.xml" ContentType="application/vnd.openxmlformats-officedocument.presentationml.tags+xml"/>
  <Override PartName="/ppt/notesSlides/notesSlide64.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65.xml" ContentType="application/vnd.openxmlformats-officedocument.presentationml.notesSlide+xml"/>
  <Override PartName="/ppt/tags/tag130.xml" ContentType="application/vnd.openxmlformats-officedocument.presentationml.tags+xml"/>
  <Override PartName="/ppt/notesSlides/notesSlide66.xml" ContentType="application/vnd.openxmlformats-officedocument.presentationml.notesSlide+xml"/>
  <Override PartName="/ppt/charts/chart16.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7.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8.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9.xml" ContentType="application/vnd.openxmlformats-officedocument.drawingml.chart+xml"/>
  <Override PartName="/ppt/charts/style16.xml" ContentType="application/vnd.ms-office.chartstyle+xml"/>
  <Override PartName="/ppt/charts/colors16.xml" ContentType="application/vnd.ms-office.chartcolorstyle+xml"/>
  <Override PartName="/ppt/tags/tag131.xml" ContentType="application/vnd.openxmlformats-officedocument.presentationml.tags+xml"/>
  <Override PartName="/ppt/notesSlides/notesSlide6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923" r:id="rId4"/>
  </p:sldMasterIdLst>
  <p:notesMasterIdLst>
    <p:notesMasterId r:id="rId85"/>
  </p:notesMasterIdLst>
  <p:handoutMasterIdLst>
    <p:handoutMasterId r:id="rId86"/>
  </p:handoutMasterIdLst>
  <p:sldIdLst>
    <p:sldId id="561" r:id="rId5"/>
    <p:sldId id="4996" r:id="rId6"/>
    <p:sldId id="4448" r:id="rId7"/>
    <p:sldId id="4893" r:id="rId8"/>
    <p:sldId id="4305" r:id="rId9"/>
    <p:sldId id="4449" r:id="rId10"/>
    <p:sldId id="4299" r:id="rId11"/>
    <p:sldId id="614" r:id="rId12"/>
    <p:sldId id="4669" r:id="rId13"/>
    <p:sldId id="4289" r:id="rId14"/>
    <p:sldId id="4557" r:id="rId15"/>
    <p:sldId id="4081" r:id="rId16"/>
    <p:sldId id="4589" r:id="rId17"/>
    <p:sldId id="4985" r:id="rId18"/>
    <p:sldId id="5005" r:id="rId19"/>
    <p:sldId id="4167" r:id="rId20"/>
    <p:sldId id="4169" r:id="rId21"/>
    <p:sldId id="4176" r:id="rId22"/>
    <p:sldId id="1000" r:id="rId23"/>
    <p:sldId id="4515" r:id="rId24"/>
    <p:sldId id="4179" r:id="rId25"/>
    <p:sldId id="4997" r:id="rId26"/>
    <p:sldId id="5008" r:id="rId27"/>
    <p:sldId id="4982" r:id="rId28"/>
    <p:sldId id="732" r:id="rId29"/>
    <p:sldId id="734" r:id="rId30"/>
    <p:sldId id="737" r:id="rId31"/>
    <p:sldId id="728" r:id="rId32"/>
    <p:sldId id="4977" r:id="rId33"/>
    <p:sldId id="730" r:id="rId34"/>
    <p:sldId id="644" r:id="rId35"/>
    <p:sldId id="5002" r:id="rId36"/>
    <p:sldId id="4719" r:id="rId37"/>
    <p:sldId id="4764" r:id="rId38"/>
    <p:sldId id="4865" r:id="rId39"/>
    <p:sldId id="4741" r:id="rId40"/>
    <p:sldId id="4633" r:id="rId41"/>
    <p:sldId id="3362" r:id="rId42"/>
    <p:sldId id="3423" r:id="rId43"/>
    <p:sldId id="5004" r:id="rId44"/>
    <p:sldId id="4159" r:id="rId45"/>
    <p:sldId id="4755" r:id="rId46"/>
    <p:sldId id="862" r:id="rId47"/>
    <p:sldId id="4868" r:id="rId48"/>
    <p:sldId id="4994" r:id="rId49"/>
    <p:sldId id="430" r:id="rId50"/>
    <p:sldId id="719" r:id="rId51"/>
    <p:sldId id="948" r:id="rId52"/>
    <p:sldId id="947" r:id="rId53"/>
    <p:sldId id="4999" r:id="rId54"/>
    <p:sldId id="4988" r:id="rId55"/>
    <p:sldId id="944" r:id="rId56"/>
    <p:sldId id="945" r:id="rId57"/>
    <p:sldId id="946" r:id="rId58"/>
    <p:sldId id="4987" r:id="rId59"/>
    <p:sldId id="5010" r:id="rId60"/>
    <p:sldId id="5000" r:id="rId61"/>
    <p:sldId id="576" r:id="rId62"/>
    <p:sldId id="577" r:id="rId63"/>
    <p:sldId id="580" r:id="rId64"/>
    <p:sldId id="5001" r:id="rId65"/>
    <p:sldId id="3395" r:id="rId66"/>
    <p:sldId id="5009" r:id="rId67"/>
    <p:sldId id="607" r:id="rId68"/>
    <p:sldId id="5003" r:id="rId69"/>
    <p:sldId id="3309" r:id="rId70"/>
    <p:sldId id="4494" r:id="rId71"/>
    <p:sldId id="3339" r:id="rId72"/>
    <p:sldId id="3342" r:id="rId73"/>
    <p:sldId id="5007" r:id="rId74"/>
    <p:sldId id="4340" r:id="rId75"/>
    <p:sldId id="4471" r:id="rId76"/>
    <p:sldId id="4484" r:id="rId77"/>
    <p:sldId id="4835" r:id="rId78"/>
    <p:sldId id="256" r:id="rId79"/>
    <p:sldId id="5006" r:id="rId80"/>
    <p:sldId id="4750" r:id="rId81"/>
    <p:sldId id="4751" r:id="rId82"/>
    <p:sldId id="4754" r:id="rId83"/>
    <p:sldId id="942" r:id="rId84"/>
  </p:sldIdLst>
  <p:sldSz cx="12192000" cy="6858000"/>
  <p:notesSz cx="6858000" cy="9144000"/>
  <p:custDataLst>
    <p:tags r:id="rId8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phan Kuhnert" initials="SK" lastIdx="2" clrIdx="0">
    <p:extLst>
      <p:ext uri="{19B8F6BF-5375-455C-9EA6-DF929625EA0E}">
        <p15:presenceInfo xmlns:p15="http://schemas.microsoft.com/office/powerpoint/2012/main" userId="S-1-5-21-2434534019-508715739-355924699-1122" providerId="AD"/>
      </p:ext>
    </p:extLst>
  </p:cmAuthor>
  <p:cmAuthor id="2" name="Stephan Kuhnert" initials="SK [2]" lastIdx="10" clrIdx="1">
    <p:extLst>
      <p:ext uri="{19B8F6BF-5375-455C-9EA6-DF929625EA0E}">
        <p15:presenceInfo xmlns:p15="http://schemas.microsoft.com/office/powerpoint/2012/main" userId="S::kuhnert@madeinoffice.com::68b29c7c-a342-4e65-b8db-49002b385efd" providerId="AD"/>
      </p:ext>
    </p:extLst>
  </p:cmAuthor>
  <p:cmAuthor id="3" name="Katharina Kampen" initials="KK" lastIdx="64" clrIdx="2">
    <p:extLst>
      <p:ext uri="{19B8F6BF-5375-455C-9EA6-DF929625EA0E}">
        <p15:presenceInfo xmlns:p15="http://schemas.microsoft.com/office/powerpoint/2012/main" userId="S::Kampen@madeinoffice.com::0cc2494d-6ba1-4d70-bf03-50bfa8934105" providerId="AD"/>
      </p:ext>
    </p:extLst>
  </p:cmAuthor>
  <p:cmAuthor id="4" name="Tim Türger" initials="TT" lastIdx="4" clrIdx="3">
    <p:extLst>
      <p:ext uri="{19B8F6BF-5375-455C-9EA6-DF929625EA0E}">
        <p15:presenceInfo xmlns:p15="http://schemas.microsoft.com/office/powerpoint/2012/main" userId="Tim Türger" providerId="None"/>
      </p:ext>
    </p:extLst>
  </p:cmAuthor>
  <p:cmAuthor id="5" name="Tim Türger" initials="TT [2]" lastIdx="1" clrIdx="4">
    <p:extLst>
      <p:ext uri="{19B8F6BF-5375-455C-9EA6-DF929625EA0E}">
        <p15:presenceInfo xmlns:p15="http://schemas.microsoft.com/office/powerpoint/2012/main" userId="S::tuerger@madeinoffice.com::e4f6df54-10ec-4fbc-82f7-5e3cfc1d156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A0A0A0"/>
    <a:srgbClr val="F1F1F1"/>
    <a:srgbClr val="106EBE"/>
    <a:srgbClr val="C63C20"/>
    <a:srgbClr val="B7472A"/>
    <a:srgbClr val="323238"/>
    <a:srgbClr val="676767"/>
    <a:srgbClr val="E03C25"/>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12" autoAdjust="0"/>
    <p:restoredTop sz="94688"/>
  </p:normalViewPr>
  <p:slideViewPr>
    <p:cSldViewPr snapToGrid="0">
      <p:cViewPr varScale="1">
        <p:scale>
          <a:sx n="77" d="100"/>
          <a:sy n="77" d="100"/>
        </p:scale>
        <p:origin x="778" y="67"/>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tags" Target="tags/tag1.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viewProps" Target="view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9.xml"/><Relationship Id="rId1" Type="http://schemas.microsoft.com/office/2011/relationships/chartStyle" Target="style9.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0.xml"/><Relationship Id="rId1" Type="http://schemas.microsoft.com/office/2011/relationships/chartStyle" Target="style10.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1.xml"/><Relationship Id="rId1" Type="http://schemas.microsoft.com/office/2011/relationships/chartStyle" Target="style11.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5.xml"/><Relationship Id="rId1" Type="http://schemas.microsoft.com/office/2011/relationships/chartStyle" Target="style15.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6.xml"/><Relationship Id="rId1" Type="http://schemas.microsoft.com/office/2011/relationships/chartStyle" Target="style16.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2.xml"/><Relationship Id="rId1" Type="http://schemas.microsoft.com/office/2011/relationships/chartStyle" Target="style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1.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1"/>
        <c:ser>
          <c:idx val="0"/>
          <c:order val="0"/>
          <c:tx>
            <c:strRef>
              <c:f>Sheet1!$A$2</c:f>
              <c:strCache>
                <c:ptCount val="1"/>
                <c:pt idx="0">
                  <c:v>Region 1</c:v>
                </c:pt>
              </c:strCache>
            </c:strRef>
          </c:tx>
          <c:dPt>
            <c:idx val="0"/>
            <c:bubble3D val="0"/>
            <c:spPr>
              <a:solidFill>
                <a:schemeClr val="accent2"/>
              </a:solidFill>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216-9744-8172-2EA5460EED14}"/>
              </c:ext>
            </c:extLst>
          </c:dPt>
          <c:dPt>
            <c:idx val="1"/>
            <c:bubble3D val="0"/>
            <c:spPr>
              <a:solidFill>
                <a:schemeClr val="accent3"/>
              </a:solidFill>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D216-9744-8172-2EA5460EED14}"/>
              </c:ext>
            </c:extLst>
          </c:dPt>
          <c:dPt>
            <c:idx val="2"/>
            <c:bubble3D val="0"/>
            <c:spPr>
              <a:solidFill>
                <a:schemeClr val="accent1"/>
              </a:solidFill>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D216-9744-8172-2EA5460EED14}"/>
              </c:ext>
            </c:extLst>
          </c:dPt>
          <c:cat>
            <c:strRef>
              <c:f>Sheet1!$B$1:$D$1</c:f>
              <c:strCache>
                <c:ptCount val="3"/>
                <c:pt idx="0">
                  <c:v>April</c:v>
                </c:pt>
                <c:pt idx="1">
                  <c:v>May</c:v>
                </c:pt>
                <c:pt idx="2">
                  <c:v>June</c:v>
                </c:pt>
              </c:strCache>
            </c:strRef>
          </c:cat>
          <c:val>
            <c:numRef>
              <c:f>Sheet1!$B$2:$D$2</c:f>
              <c:numCache>
                <c:formatCode>General</c:formatCode>
                <c:ptCount val="3"/>
                <c:pt idx="0">
                  <c:v>40</c:v>
                </c:pt>
                <c:pt idx="1">
                  <c:v>30</c:v>
                </c:pt>
                <c:pt idx="2">
                  <c:v>28</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D216-9744-8172-2EA5460EED14}"/>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abelle1!$B$1</c:f>
              <c:strCache>
                <c:ptCount val="1"/>
                <c:pt idx="0">
                  <c:v>Datenreihe 1</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12-4EB0-B5D9-FB3904EDC2D4}"/>
            </c:ext>
          </c:extLst>
        </c:ser>
        <c:ser>
          <c:idx val="1"/>
          <c:order val="1"/>
          <c:tx>
            <c:strRef>
              <c:f>Tabelle1!$C$1</c:f>
              <c:strCache>
                <c:ptCount val="1"/>
                <c:pt idx="0">
                  <c:v>Datenreihe 2</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12-4EB0-B5D9-FB3904EDC2D4}"/>
            </c:ext>
          </c:extLst>
        </c:ser>
        <c:ser>
          <c:idx val="2"/>
          <c:order val="2"/>
          <c:tx>
            <c:strRef>
              <c:f>Tabelle1!$D$1</c:f>
              <c:strCache>
                <c:ptCount val="1"/>
                <c:pt idx="0">
                  <c:v>Datenreihe 3</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ED12-4EB0-B5D9-FB3904EDC2D4}"/>
            </c:ext>
          </c:extLst>
        </c:ser>
        <c:dLbls>
          <c:showLegendKey val="0"/>
          <c:showVal val="0"/>
          <c:showCatName val="0"/>
          <c:showSerName val="0"/>
          <c:showPercent val="0"/>
          <c:showBubbleSize val="0"/>
        </c:dLbls>
        <c:gapWidth val="219"/>
        <c:overlap val="-27"/>
        <c:axId val="1456615376"/>
        <c:axId val="1459028880"/>
      </c:barChart>
      <c:catAx>
        <c:axId val="1456615376"/>
        <c:scaling>
          <c:orientation val="minMax"/>
        </c:scaling>
        <c:delete val="0"/>
        <c:axPos val="b"/>
        <c:numFmt formatCode="General" sourceLinked="1"/>
        <c:majorTickMark val="none"/>
        <c:minorTickMark val="none"/>
        <c:tickLblPos val="nextTo"/>
        <c:spPr>
          <a:noFill/>
          <a:ln w="9525" cap="flat" cmpd="sng" algn="ctr">
            <a:solidFill>
              <a:srgbClr val="F1F1F1"/>
            </a:solidFill>
            <a:prstDash val="solid"/>
            <a:round/>
          </a:ln>
          <a:effectLst/>
        </c:spPr>
        <c:txPr>
          <a:bodyPr rot="-6000000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de-DE"/>
          </a:p>
        </c:txPr>
        <c:crossAx val="1459028880"/>
        <c:crosses val="autoZero"/>
        <c:auto val="1"/>
        <c:lblAlgn val="ctr"/>
        <c:lblOffset val="100"/>
        <c:noMultiLvlLbl val="0"/>
      </c:catAx>
      <c:valAx>
        <c:axId val="1459028880"/>
        <c:scaling>
          <c:orientation val="minMax"/>
        </c:scaling>
        <c:delete val="0"/>
        <c:axPos val="l"/>
        <c:majorGridlines>
          <c:spPr>
            <a:ln w="9525" cap="flat" cmpd="sng" algn="ctr">
              <a:solidFill>
                <a:srgbClr val="F1F1F1"/>
              </a:solidFill>
              <a:prstDash val="solid"/>
              <a:round/>
            </a:ln>
            <a:effectLst/>
          </c:spPr>
        </c:majorGridlines>
        <c:numFmt formatCode="General" sourceLinked="1"/>
        <c:majorTickMark val="none"/>
        <c:minorTickMark val="none"/>
        <c:tickLblPos val="nextTo"/>
        <c:spPr>
          <a:noFill/>
          <a:ln>
            <a:solidFill>
              <a:srgbClr val="FFFFFF"/>
            </a:solidFill>
            <a:prstDash val="solid"/>
          </a:ln>
          <a:effectLst/>
        </c:spPr>
        <c:txPr>
          <a:bodyPr rot="-6000000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de-DE"/>
          </a:p>
        </c:txPr>
        <c:crossAx val="1456615376"/>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de-DE"/>
          </a:p>
        </c:txPr>
      </c:legendEntry>
      <c:legendEntry>
        <c:idx val="1"/>
        <c:txPr>
          <a:bodyPr rot="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de-DE"/>
          </a:p>
        </c:txPr>
      </c:legendEntry>
      <c:legendEntry>
        <c:idx val="2"/>
        <c:txPr>
          <a:bodyPr rot="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de-DE"/>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chemeClr val="lt1"/>
    </a:solidFill>
    <a:ln>
      <a:noFill/>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1"/>
              </a:solidFill>
              <a:ln w="19050">
                <a:solidFill>
                  <a:schemeClr val="lt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BAC-43A6-B0B6-256C4D0BD12A}"/>
              </c:ext>
            </c:extLst>
          </c:dPt>
          <c:dPt>
            <c:idx val="1"/>
            <c:bubble3D val="0"/>
            <c:spPr>
              <a:solidFill>
                <a:schemeClr val="accent2"/>
              </a:solidFill>
              <a:ln w="19050">
                <a:solidFill>
                  <a:schemeClr val="lt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BAC-43A6-B0B6-256C4D0BD12A}"/>
              </c:ext>
            </c:extLst>
          </c:dPt>
          <c:dPt>
            <c:idx val="2"/>
            <c:bubble3D val="0"/>
            <c:spPr>
              <a:solidFill>
                <a:schemeClr val="accent3"/>
              </a:solidFill>
              <a:ln w="19050">
                <a:solidFill>
                  <a:schemeClr val="lt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BAC-43A6-B0B6-256C4D0BD12A}"/>
              </c:ext>
            </c:extLst>
          </c:dPt>
          <c:dPt>
            <c:idx val="3"/>
            <c:bubble3D val="0"/>
            <c:spPr>
              <a:solidFill>
                <a:schemeClr val="accent4"/>
              </a:solidFill>
              <a:ln w="19050">
                <a:solidFill>
                  <a:schemeClr val="lt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BAC-43A6-B0B6-256C4D0BD12A}"/>
              </c:ext>
            </c:extLst>
          </c:dPt>
          <c:cat>
            <c:strRef>
              <c:f>Tabelle1!$A$2:$A$5</c:f>
              <c:strCache>
                <c:ptCount val="4"/>
                <c:pt idx="0">
                  <c:v>1. Quartal</c:v>
                </c:pt>
                <c:pt idx="1">
                  <c:v>2. Quartal</c:v>
                </c:pt>
                <c:pt idx="2">
                  <c:v>3. Quartal</c:v>
                </c:pt>
                <c:pt idx="3">
                  <c:v>4. Quartal</c:v>
                </c:pt>
              </c:strCache>
            </c:strRef>
          </c:cat>
          <c:val>
            <c:numRef>
              <c:f>Tabelle1!$B$2:$B$5</c:f>
              <c:numCache>
                <c:formatCode>General</c:formatCode>
                <c:ptCount val="4"/>
                <c:pt idx="0">
                  <c:v>8.1999999999999993</c:v>
                </c:pt>
                <c:pt idx="1">
                  <c:v>3.2</c:v>
                </c:pt>
                <c:pt idx="2">
                  <c:v>1.4</c:v>
                </c:pt>
                <c:pt idx="3">
                  <c:v>1.2</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32-4F6B-B0F4-A0D0DA1EA209}"/>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legendEntry>
        <c:idx val="0"/>
        <c:txPr>
          <a:bodyPr rot="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de-DE"/>
          </a:p>
        </c:txPr>
      </c:legendEntry>
      <c:legendEntry>
        <c:idx val="1"/>
        <c:txPr>
          <a:bodyPr rot="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de-DE"/>
          </a:p>
        </c:txPr>
      </c:legendEntry>
      <c:legendEntry>
        <c:idx val="2"/>
        <c:txPr>
          <a:bodyPr rot="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de-DE"/>
          </a:p>
        </c:txPr>
      </c:legendEntry>
      <c:legendEntry>
        <c:idx val="3"/>
        <c:txPr>
          <a:bodyPr rot="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de-DE"/>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accent1"/>
            </a:solidFill>
          </c:spPr>
          <c:dPt>
            <c:idx val="0"/>
            <c:bubble3D val="0"/>
            <c:spPr>
              <a:solidFill>
                <a:schemeClr val="accent1"/>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E311-884A-B3B4-2705042DB06E}"/>
              </c:ext>
            </c:extLst>
          </c:dPt>
          <c:dPt>
            <c:idx val="1"/>
            <c:bubble3D val="0"/>
            <c:spPr>
              <a:solidFill>
                <a:schemeClr val="bg1">
                  <a:lumMod val="85000"/>
                </a:schemeClr>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669C-7943-A104-BA669CE7447F}"/>
              </c:ext>
            </c:extLst>
          </c:dPt>
          <c:cat>
            <c:strRef>
              <c:f>Sheet1!$A$2:$A$3</c:f>
              <c:strCache>
                <c:ptCount val="2"/>
                <c:pt idx="0">
                  <c:v>1st Qtr</c:v>
                </c:pt>
                <c:pt idx="1">
                  <c:v>2nd Qtr</c:v>
                </c:pt>
              </c:strCache>
            </c:strRef>
          </c:cat>
          <c:val>
            <c:numRef>
              <c:f>Sheet1!$B$2:$B$3</c:f>
              <c:numCache>
                <c:formatCode>General</c:formatCode>
                <c:ptCount val="2"/>
                <c:pt idx="0">
                  <c:v>8.1999999999999993</c:v>
                </c:pt>
                <c:pt idx="1">
                  <c:v>3.2</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69C-7943-A104-BA669CE7447F}"/>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accent1"/>
            </a:solidFill>
          </c:spPr>
          <c:dPt>
            <c:idx val="0"/>
            <c:bubble3D val="0"/>
            <c:spPr>
              <a:solidFill>
                <a:schemeClr val="accent3"/>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CE56-0442-8B1B-7A2E0D5B6E18}"/>
              </c:ext>
            </c:extLst>
          </c:dPt>
          <c:dPt>
            <c:idx val="1"/>
            <c:bubble3D val="0"/>
            <c:spPr>
              <a:solidFill>
                <a:schemeClr val="bg1">
                  <a:lumMod val="85000"/>
                </a:schemeClr>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669C-7943-A104-BA669CE7447F}"/>
              </c:ext>
            </c:extLst>
          </c:dPt>
          <c:cat>
            <c:strRef>
              <c:f>Sheet1!$A$2:$A$3</c:f>
              <c:strCache>
                <c:ptCount val="2"/>
                <c:pt idx="0">
                  <c:v>1st Qtr</c:v>
                </c:pt>
                <c:pt idx="1">
                  <c:v>2nd Qtr</c:v>
                </c:pt>
              </c:strCache>
            </c:strRef>
          </c:cat>
          <c:val>
            <c:numRef>
              <c:f>Sheet1!$B$2:$B$3</c:f>
              <c:numCache>
                <c:formatCode>General</c:formatCode>
                <c:ptCount val="2"/>
                <c:pt idx="0">
                  <c:v>4.0999999999999996</c:v>
                </c:pt>
                <c:pt idx="1">
                  <c:v>3.2</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69C-7943-A104-BA669CE7447F}"/>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accent1"/>
            </a:solidFill>
          </c:spPr>
          <c:dPt>
            <c:idx val="0"/>
            <c:bubble3D val="0"/>
            <c:spPr>
              <a:solidFill>
                <a:schemeClr val="accent2"/>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2402-C341-92B3-821C32210D6F}"/>
              </c:ext>
            </c:extLst>
          </c:dPt>
          <c:dPt>
            <c:idx val="1"/>
            <c:bubble3D val="0"/>
            <c:spPr>
              <a:solidFill>
                <a:schemeClr val="bg1">
                  <a:lumMod val="85000"/>
                </a:schemeClr>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669C-7943-A104-BA669CE7447F}"/>
              </c:ext>
            </c:extLst>
          </c:dPt>
          <c:cat>
            <c:strRef>
              <c:f>Sheet1!$A$2:$A$3</c:f>
              <c:strCache>
                <c:ptCount val="2"/>
                <c:pt idx="0">
                  <c:v>1st Qtr</c:v>
                </c:pt>
                <c:pt idx="1">
                  <c:v>2nd Qtr</c:v>
                </c:pt>
              </c:strCache>
            </c:strRef>
          </c:cat>
          <c:val>
            <c:numRef>
              <c:f>Sheet1!$B$2:$B$3</c:f>
              <c:numCache>
                <c:formatCode>General</c:formatCode>
                <c:ptCount val="2"/>
                <c:pt idx="0">
                  <c:v>6.7</c:v>
                </c:pt>
                <c:pt idx="1">
                  <c:v>3.2</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69C-7943-A104-BA669CE7447F}"/>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accent1"/>
            </a:solidFill>
          </c:spPr>
          <c:dPt>
            <c:idx val="0"/>
            <c:bubble3D val="0"/>
            <c:spPr>
              <a:solidFill>
                <a:schemeClr val="accent4"/>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CE56-0442-8B1B-7A2E0D5B6E18}"/>
              </c:ext>
            </c:extLst>
          </c:dPt>
          <c:dPt>
            <c:idx val="1"/>
            <c:bubble3D val="0"/>
            <c:spPr>
              <a:solidFill>
                <a:schemeClr val="bg1">
                  <a:lumMod val="85000"/>
                </a:schemeClr>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669C-7943-A104-BA669CE7447F}"/>
              </c:ext>
            </c:extLst>
          </c:dPt>
          <c:cat>
            <c:strRef>
              <c:f>Sheet1!$A$2:$A$3</c:f>
              <c:strCache>
                <c:ptCount val="2"/>
                <c:pt idx="0">
                  <c:v>1st Qtr</c:v>
                </c:pt>
                <c:pt idx="1">
                  <c:v>2nd Qtr</c:v>
                </c:pt>
              </c:strCache>
            </c:strRef>
          </c:cat>
          <c:val>
            <c:numRef>
              <c:f>Sheet1!$B$2:$B$3</c:f>
              <c:numCache>
                <c:formatCode>General</c:formatCode>
                <c:ptCount val="2"/>
                <c:pt idx="0">
                  <c:v>2.5</c:v>
                </c:pt>
                <c:pt idx="1">
                  <c:v>3.2</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69C-7943-A104-BA669CE7447F}"/>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FC0D1B"/>
              </a:solidFill>
              <a:ln w="19050">
                <a:solidFill>
                  <a:schemeClr val="lt1"/>
                </a:solidFill>
              </a:ln>
              <a:effectLst/>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20D-9F4D-91A0-399552AE8D0D}"/>
              </c:ext>
            </c:extLst>
          </c:dPt>
          <c:dPt>
            <c:idx val="1"/>
            <c:bubble3D val="0"/>
            <c:spPr>
              <a:solidFill>
                <a:srgbClr val="FFFFFF"/>
              </a:solidFill>
              <a:ln w="19050">
                <a:solidFill>
                  <a:schemeClr val="lt1"/>
                </a:solidFill>
              </a:ln>
              <a:effectLst/>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20D-9F4D-91A0-399552AE8D0D}"/>
              </c:ext>
            </c:extLst>
          </c:dPt>
          <c:cat>
            <c:strRef>
              <c:f>Sheet1!$A$2:$A$3</c:f>
              <c:strCache>
                <c:ptCount val="2"/>
                <c:pt idx="0">
                  <c:v>1st Qtr</c:v>
                </c:pt>
                <c:pt idx="1">
                  <c:v>2nd Qtr</c:v>
                </c:pt>
              </c:strCache>
            </c:strRef>
          </c:cat>
          <c:val>
            <c:numRef>
              <c:f>Sheet1!$B$2:$B$3</c:f>
              <c:numCache>
                <c:formatCode>General</c:formatCode>
                <c:ptCount val="2"/>
                <c:pt idx="0">
                  <c:v>6</c:v>
                </c:pt>
                <c:pt idx="1">
                  <c:v>3</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820D-9F4D-91A0-399552AE8D0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2CB3EB"/>
              </a:solidFill>
              <a:ln w="19050">
                <a:solidFill>
                  <a:schemeClr val="lt1"/>
                </a:solidFill>
              </a:ln>
              <a:effectLst/>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D233-FF40-9DD4-CFE9CEEBA767}"/>
              </c:ext>
            </c:extLst>
          </c:dPt>
          <c:dPt>
            <c:idx val="1"/>
            <c:bubble3D val="0"/>
            <c:spPr>
              <a:solidFill>
                <a:srgbClr val="FFFFFF"/>
              </a:solidFill>
              <a:ln w="19050">
                <a:solidFill>
                  <a:schemeClr val="lt1"/>
                </a:solidFill>
              </a:ln>
              <a:effectLst/>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D233-FF40-9DD4-CFE9CEEBA767}"/>
              </c:ext>
            </c:extLst>
          </c:dPt>
          <c:cat>
            <c:strRef>
              <c:f>Sheet1!$A$2:$A$3</c:f>
              <c:strCache>
                <c:ptCount val="2"/>
                <c:pt idx="0">
                  <c:v>1st Qtr</c:v>
                </c:pt>
                <c:pt idx="1">
                  <c:v>2nd Qtr</c:v>
                </c:pt>
              </c:strCache>
            </c:strRef>
          </c:cat>
          <c:val>
            <c:numRef>
              <c:f>Sheet1!$B$2:$B$3</c:f>
              <c:numCache>
                <c:formatCode>General</c:formatCode>
                <c:ptCount val="2"/>
                <c:pt idx="0">
                  <c:v>6</c:v>
                </c:pt>
                <c:pt idx="1">
                  <c:v>4.5</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D233-FF40-9DD4-CFE9CEEBA76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5178B3"/>
              </a:solidFill>
              <a:ln w="19050">
                <a:solidFill>
                  <a:schemeClr val="lt1"/>
                </a:solidFill>
              </a:ln>
              <a:effectLst/>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D5E-E943-9AF0-DF01B38FC4FD}"/>
              </c:ext>
            </c:extLst>
          </c:dPt>
          <c:dPt>
            <c:idx val="1"/>
            <c:bubble3D val="0"/>
            <c:spPr>
              <a:solidFill>
                <a:srgbClr val="FFFFFF"/>
              </a:solidFill>
              <a:ln w="19050">
                <a:solidFill>
                  <a:schemeClr val="lt1"/>
                </a:solidFill>
              </a:ln>
              <a:effectLst/>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D5E-E943-9AF0-DF01B38FC4FD}"/>
              </c:ext>
            </c:extLst>
          </c:dPt>
          <c:cat>
            <c:strRef>
              <c:f>Sheet1!$A$2:$A$3</c:f>
              <c:strCache>
                <c:ptCount val="2"/>
                <c:pt idx="0">
                  <c:v>1st Qtr</c:v>
                </c:pt>
                <c:pt idx="1">
                  <c:v>2nd Qtr</c:v>
                </c:pt>
              </c:strCache>
            </c:strRef>
          </c:cat>
          <c:val>
            <c:numRef>
              <c:f>Sheet1!$B$2:$B$3</c:f>
              <c:numCache>
                <c:formatCode>General</c:formatCode>
                <c:ptCount val="2"/>
                <c:pt idx="0">
                  <c:v>8.1999999999999993</c:v>
                </c:pt>
                <c:pt idx="1">
                  <c:v>3.2</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1D5E-E943-9AF0-DF01B38FC4F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CA252D"/>
              </a:solidFill>
              <a:ln w="19050">
                <a:solidFill>
                  <a:schemeClr val="lt1"/>
                </a:solidFill>
              </a:ln>
              <a:effectLst/>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83-774B-A19C-ADEA5F6B14E2}"/>
              </c:ext>
            </c:extLst>
          </c:dPt>
          <c:dPt>
            <c:idx val="1"/>
            <c:bubble3D val="0"/>
            <c:spPr>
              <a:solidFill>
                <a:srgbClr val="FFFFFF"/>
              </a:solidFill>
              <a:ln w="19050">
                <a:solidFill>
                  <a:schemeClr val="lt1"/>
                </a:solidFill>
              </a:ln>
              <a:effectLst/>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83-774B-A19C-ADEA5F6B14E2}"/>
              </c:ext>
            </c:extLst>
          </c:dPt>
          <c:cat>
            <c:strRef>
              <c:f>Sheet1!$A$2:$A$3</c:f>
              <c:strCache>
                <c:ptCount val="2"/>
                <c:pt idx="0">
                  <c:v>1st Qtr</c:v>
                </c:pt>
                <c:pt idx="1">
                  <c:v>2nd Qtr</c:v>
                </c:pt>
              </c:strCache>
            </c:strRef>
          </c:cat>
          <c:val>
            <c:numRef>
              <c:f>Sheet1!$B$2:$B$3</c:f>
              <c:numCache>
                <c:formatCode>General</c:formatCode>
                <c:ptCount val="2"/>
                <c:pt idx="0">
                  <c:v>3</c:v>
                </c:pt>
                <c:pt idx="1">
                  <c:v>5</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4A83-774B-A19C-ADEA5F6B14E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1"/>
        <c:ser>
          <c:idx val="0"/>
          <c:order val="0"/>
          <c:tx>
            <c:strRef>
              <c:f>Sheet1!$A$2</c:f>
              <c:strCache>
                <c:ptCount val="1"/>
                <c:pt idx="0">
                  <c:v>Region 1</c:v>
                </c:pt>
              </c:strCache>
            </c:strRef>
          </c:tx>
          <c:dPt>
            <c:idx val="0"/>
            <c:bubble3D val="0"/>
            <c:spPr>
              <a:solidFill>
                <a:schemeClr val="accent2"/>
              </a:solidFill>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4F2-8F49-AEF3-28F543A38837}"/>
              </c:ext>
            </c:extLst>
          </c:dPt>
          <c:dPt>
            <c:idx val="1"/>
            <c:bubble3D val="0"/>
            <c:spPr>
              <a:solidFill>
                <a:schemeClr val="accent3"/>
              </a:solidFill>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4F2-8F49-AEF3-28F543A38837}"/>
              </c:ext>
            </c:extLst>
          </c:dPt>
          <c:dPt>
            <c:idx val="2"/>
            <c:bubble3D val="0"/>
            <c:spPr>
              <a:solidFill>
                <a:schemeClr val="accent1"/>
              </a:solidFill>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64F2-8F49-AEF3-28F543A38837}"/>
              </c:ext>
            </c:extLst>
          </c:dPt>
          <c:cat>
            <c:strRef>
              <c:f>Sheet1!$B$1:$D$1</c:f>
              <c:strCache>
                <c:ptCount val="3"/>
                <c:pt idx="0">
                  <c:v>April</c:v>
                </c:pt>
                <c:pt idx="1">
                  <c:v>May</c:v>
                </c:pt>
                <c:pt idx="2">
                  <c:v>June</c:v>
                </c:pt>
              </c:strCache>
            </c:strRef>
          </c:cat>
          <c:val>
            <c:numRef>
              <c:f>Sheet1!$B$2:$D$2</c:f>
              <c:numCache>
                <c:formatCode>General</c:formatCode>
                <c:ptCount val="3"/>
                <c:pt idx="0">
                  <c:v>40</c:v>
                </c:pt>
                <c:pt idx="1">
                  <c:v>30</c:v>
                </c:pt>
                <c:pt idx="2">
                  <c:v>28</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4F2-8F49-AEF3-28F543A38837}"/>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1"/>
        <c:ser>
          <c:idx val="0"/>
          <c:order val="0"/>
          <c:tx>
            <c:strRef>
              <c:f>Sheet1!$A$2</c:f>
              <c:strCache>
                <c:ptCount val="1"/>
                <c:pt idx="0">
                  <c:v>Region 1</c:v>
                </c:pt>
              </c:strCache>
            </c:strRef>
          </c:tx>
          <c:dPt>
            <c:idx val="0"/>
            <c:bubble3D val="0"/>
            <c:spPr>
              <a:solidFill>
                <a:schemeClr val="accent2"/>
              </a:solidFill>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522-F248-9254-2338584831A4}"/>
              </c:ext>
            </c:extLst>
          </c:dPt>
          <c:dPt>
            <c:idx val="1"/>
            <c:bubble3D val="0"/>
            <c:spPr>
              <a:solidFill>
                <a:schemeClr val="accent3"/>
              </a:solidFill>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522-F248-9254-2338584831A4}"/>
              </c:ext>
            </c:extLst>
          </c:dPt>
          <c:dPt>
            <c:idx val="2"/>
            <c:bubble3D val="0"/>
            <c:spPr>
              <a:solidFill>
                <a:schemeClr val="accent1"/>
              </a:solidFill>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1522-F248-9254-2338584831A4}"/>
              </c:ext>
            </c:extLst>
          </c:dPt>
          <c:cat>
            <c:strRef>
              <c:f>Sheet1!$B$1:$D$1</c:f>
              <c:strCache>
                <c:ptCount val="3"/>
                <c:pt idx="0">
                  <c:v>April</c:v>
                </c:pt>
                <c:pt idx="1">
                  <c:v>May</c:v>
                </c:pt>
                <c:pt idx="2">
                  <c:v>June</c:v>
                </c:pt>
              </c:strCache>
            </c:strRef>
          </c:cat>
          <c:val>
            <c:numRef>
              <c:f>Sheet1!$B$2:$D$2</c:f>
              <c:numCache>
                <c:formatCode>General</c:formatCode>
                <c:ptCount val="3"/>
                <c:pt idx="0">
                  <c:v>40</c:v>
                </c:pt>
                <c:pt idx="1">
                  <c:v>30</c:v>
                </c:pt>
                <c:pt idx="2">
                  <c:v>28</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522-F248-9254-2338584831A4}"/>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spPr>
            <a:ln>
              <a:noFill/>
            </a:ln>
          </c:spPr>
          <c:dPt>
            <c:idx val="0"/>
            <c:bubble3D val="0"/>
            <c:spPr>
              <a:solidFill>
                <a:schemeClr val="accent1"/>
              </a:solid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5AC6-4AFB-9D13-767D66B248E2}"/>
              </c:ext>
            </c:extLst>
          </c:dPt>
          <c:dPt>
            <c:idx val="1"/>
            <c:bubble3D val="0"/>
            <c:spPr>
              <a:no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5AC6-4AFB-9D13-767D66B248E2}"/>
              </c:ext>
            </c:extLst>
          </c:dPt>
          <c:cat>
            <c:strRef>
              <c:f>Tabelle1!$A$2:$A$3</c:f>
              <c:strCache>
                <c:ptCount val="2"/>
                <c:pt idx="0">
                  <c:v>Kategorie 1</c:v>
                </c:pt>
                <c:pt idx="1">
                  <c:v>Kategorie 2</c:v>
                </c:pt>
              </c:strCache>
            </c:strRef>
          </c:cat>
          <c:val>
            <c:numRef>
              <c:f>Tabelle1!$B$2:$B$3</c:f>
              <c:numCache>
                <c:formatCode>General</c:formatCode>
                <c:ptCount val="2"/>
                <c:pt idx="0">
                  <c:v>20</c:v>
                </c:pt>
                <c:pt idx="1">
                  <c:v>8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4-5AC6-4AFB-9D13-767D66B248E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spPr>
            <a:ln>
              <a:noFill/>
            </a:ln>
          </c:spPr>
          <c:dPt>
            <c:idx val="0"/>
            <c:bubble3D val="0"/>
            <c:spPr>
              <a:solidFill>
                <a:schemeClr val="accent3"/>
              </a:solid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61FA-422D-9A0B-C64C503C7246}"/>
              </c:ext>
            </c:extLst>
          </c:dPt>
          <c:dPt>
            <c:idx val="1"/>
            <c:bubble3D val="0"/>
            <c:spPr>
              <a:no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61FA-422D-9A0B-C64C503C7246}"/>
              </c:ext>
            </c:extLst>
          </c:dPt>
          <c:cat>
            <c:strRef>
              <c:f>Tabelle1!$A$2:$A$3</c:f>
              <c:strCache>
                <c:ptCount val="2"/>
                <c:pt idx="0">
                  <c:v>Kategorie 1</c:v>
                </c:pt>
                <c:pt idx="1">
                  <c:v>Kategorie 2</c:v>
                </c:pt>
              </c:strCache>
            </c:strRef>
          </c:cat>
          <c:val>
            <c:numRef>
              <c:f>Tabelle1!$B$2:$B$3</c:f>
              <c:numCache>
                <c:formatCode>General</c:formatCode>
                <c:ptCount val="2"/>
                <c:pt idx="0">
                  <c:v>80</c:v>
                </c:pt>
                <c:pt idx="1">
                  <c:v>2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4-61FA-422D-9A0B-C64C503C7246}"/>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spPr>
            <a:ln>
              <a:noFill/>
            </a:ln>
          </c:spPr>
          <c:dPt>
            <c:idx val="0"/>
            <c:bubble3D val="0"/>
            <c:spPr>
              <a:solidFill>
                <a:schemeClr val="accent1"/>
              </a:solid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C1E5-4665-9128-9D65714B6ABE}"/>
              </c:ext>
            </c:extLst>
          </c:dPt>
          <c:dPt>
            <c:idx val="1"/>
            <c:bubble3D val="0"/>
            <c:spPr>
              <a:no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C1E5-4665-9128-9D65714B6ABE}"/>
              </c:ext>
            </c:extLst>
          </c:dPt>
          <c:cat>
            <c:strRef>
              <c:f>Tabelle1!$A$2:$A$3</c:f>
              <c:strCache>
                <c:ptCount val="2"/>
                <c:pt idx="0">
                  <c:v>Kategorie 1</c:v>
                </c:pt>
                <c:pt idx="1">
                  <c:v>Kategorie 2</c:v>
                </c:pt>
              </c:strCache>
            </c:strRef>
          </c:cat>
          <c:val>
            <c:numRef>
              <c:f>Tabelle1!$B$2:$B$3</c:f>
              <c:numCache>
                <c:formatCode>General</c:formatCode>
                <c:ptCount val="2"/>
                <c:pt idx="0">
                  <c:v>60</c:v>
                </c:pt>
                <c:pt idx="1">
                  <c:v>4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4-C1E5-4665-9128-9D65714B6AB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spPr>
            <a:ln>
              <a:noFill/>
            </a:ln>
          </c:spPr>
          <c:dPt>
            <c:idx val="0"/>
            <c:bubble3D val="0"/>
            <c:spPr>
              <a:solidFill>
                <a:schemeClr val="accent5"/>
              </a:solid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7A40-474E-B903-BD4795C03E4E}"/>
              </c:ext>
            </c:extLst>
          </c:dPt>
          <c:dPt>
            <c:idx val="1"/>
            <c:bubble3D val="0"/>
            <c:spPr>
              <a:no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7A40-474E-B903-BD4795C03E4E}"/>
              </c:ext>
            </c:extLst>
          </c:dPt>
          <c:cat>
            <c:strRef>
              <c:f>Tabelle1!$A$2:$A$3</c:f>
              <c:strCache>
                <c:ptCount val="2"/>
                <c:pt idx="0">
                  <c:v>Kategorie 1</c:v>
                </c:pt>
                <c:pt idx="1">
                  <c:v>Kategorie 2</c:v>
                </c:pt>
              </c:strCache>
            </c:strRef>
          </c:cat>
          <c:val>
            <c:numRef>
              <c:f>Tabelle1!$B$2:$B$3</c:f>
              <c:numCache>
                <c:formatCode>General</c:formatCode>
                <c:ptCount val="2"/>
                <c:pt idx="0">
                  <c:v>40</c:v>
                </c:pt>
                <c:pt idx="1">
                  <c:v>6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4-7A40-474E-B903-BD4795C03E4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6.172987675303486E-2"/>
          <c:y val="4.0504115226337442E-2"/>
          <c:w val="0.93826644508704782"/>
          <c:h val="0.90531220322886985"/>
        </c:manualLayout>
      </c:layout>
      <c:barChart>
        <c:barDir val="col"/>
        <c:grouping val="stacked"/>
        <c:varyColors val="0"/>
        <c:ser>
          <c:idx val="0"/>
          <c:order val="0"/>
          <c:tx>
            <c:v>Series 1</c:v>
          </c:tx>
          <c:spPr>
            <a:solidFill>
              <a:schemeClr val="accent1"/>
            </a:solidFill>
            <a:ln w="12700">
              <a:solidFill>
                <a:schemeClr val="accent1"/>
              </a:solidFill>
            </a:ln>
            <a:effectLst/>
          </c:spPr>
          <c:invertIfNegative val="0"/>
          <c:cat>
            <c:strLit>
              <c:ptCount val="4"/>
              <c:pt idx="0">
                <c:v>Category 1</c:v>
              </c:pt>
              <c:pt idx="1">
                <c:v>Category 2</c:v>
              </c:pt>
              <c:pt idx="2">
                <c:v>Category 3</c:v>
              </c:pt>
              <c:pt idx="3">
                <c:v>Category 4</c:v>
              </c:pt>
            </c:strLit>
          </c:cat>
          <c:val>
            <c:numLit>
              <c:formatCode>General</c:formatCode>
              <c:ptCount val="4"/>
              <c:pt idx="0">
                <c:v>3</c:v>
              </c:pt>
              <c:pt idx="1">
                <c:v>2.5</c:v>
              </c:pt>
              <c:pt idx="2">
                <c:v>3.5</c:v>
              </c:pt>
              <c:pt idx="3">
                <c:v>4</c:v>
              </c:pt>
            </c:numLit>
          </c:val>
          <c:extLst xmlns:c16r3="http://schemas.microsoft.com/office/drawing/2017/03/char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0-E674-4C67-A0B9-96F936A74CCE}"/>
            </c:ext>
          </c:extLst>
        </c:ser>
        <c:ser>
          <c:idx val="1"/>
          <c:order val="1"/>
          <c:tx>
            <c:v>Series 2</c:v>
          </c:tx>
          <c:spPr>
            <a:solidFill>
              <a:schemeClr val="accent2"/>
            </a:solidFill>
            <a:ln w="12700">
              <a:solidFill>
                <a:schemeClr val="accent2"/>
              </a:solidFill>
            </a:ln>
            <a:effectLst/>
          </c:spPr>
          <c:invertIfNegative val="0"/>
          <c:dPt>
            <c:idx val="0"/>
            <c:invertIfNegative val="0"/>
            <c:bubble3D val="0"/>
            <c:extLst xmlns:c16r3="http://schemas.microsoft.com/office/drawing/2017/03/char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1-E674-4C67-A0B9-96F936A74CCE}"/>
              </c:ext>
            </c:extLst>
          </c:dPt>
          <c:dPt>
            <c:idx val="1"/>
            <c:invertIfNegative val="0"/>
            <c:bubble3D val="0"/>
            <c:extLst xmlns:c16r3="http://schemas.microsoft.com/office/drawing/2017/03/char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2-E674-4C67-A0B9-96F936A74CCE}"/>
              </c:ext>
            </c:extLst>
          </c:dPt>
          <c:dPt>
            <c:idx val="2"/>
            <c:invertIfNegative val="0"/>
            <c:bubble3D val="0"/>
            <c:extLst xmlns:c16r3="http://schemas.microsoft.com/office/drawing/2017/03/char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3-E674-4C67-A0B9-96F936A74CCE}"/>
              </c:ext>
            </c:extLst>
          </c:dPt>
          <c:dPt>
            <c:idx val="3"/>
            <c:invertIfNegative val="0"/>
            <c:bubble3D val="0"/>
            <c:extLst xmlns:c16r3="http://schemas.microsoft.com/office/drawing/2017/03/char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4-E674-4C67-A0B9-96F936A74CCE}"/>
              </c:ext>
            </c:extLst>
          </c:dPt>
          <c:dPt>
            <c:idx val="4"/>
            <c:invertIfNegative val="0"/>
            <c:bubble3D val="0"/>
            <c:extLst xmlns:c16r3="http://schemas.microsoft.com/office/drawing/2017/03/char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5-E674-4C67-A0B9-96F936A74CCE}"/>
              </c:ext>
            </c:extLst>
          </c:dPt>
          <c:dPt>
            <c:idx val="5"/>
            <c:invertIfNegative val="0"/>
            <c:bubble3D val="0"/>
            <c:extLst xmlns:c16r3="http://schemas.microsoft.com/office/drawing/2017/03/char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6-E674-4C67-A0B9-96F936A74CCE}"/>
              </c:ext>
            </c:extLst>
          </c:dPt>
          <c:dPt>
            <c:idx val="6"/>
            <c:invertIfNegative val="0"/>
            <c:bubble3D val="0"/>
            <c:extLst xmlns:c16r3="http://schemas.microsoft.com/office/drawing/2017/03/char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7-E674-4C67-A0B9-96F936A74CCE}"/>
              </c:ext>
            </c:extLst>
          </c:dPt>
          <c:dPt>
            <c:idx val="7"/>
            <c:invertIfNegative val="0"/>
            <c:bubble3D val="0"/>
            <c:extLst xmlns:c16r3="http://schemas.microsoft.com/office/drawing/2017/03/char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8-E674-4C67-A0B9-96F936A74CCE}"/>
              </c:ext>
            </c:extLst>
          </c:dPt>
          <c:dPt>
            <c:idx val="8"/>
            <c:invertIfNegative val="0"/>
            <c:bubble3D val="0"/>
            <c:extLst xmlns:c16r3="http://schemas.microsoft.com/office/drawing/2017/03/char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9-E674-4C67-A0B9-96F936A74CCE}"/>
              </c:ext>
            </c:extLst>
          </c:dPt>
          <c:dPt>
            <c:idx val="9"/>
            <c:invertIfNegative val="0"/>
            <c:bubble3D val="0"/>
            <c:extLst xmlns:c16r3="http://schemas.microsoft.com/office/drawing/2017/03/char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A-E674-4C67-A0B9-96F936A74CCE}"/>
              </c:ext>
            </c:extLst>
          </c:dPt>
          <c:dPt>
            <c:idx val="10"/>
            <c:invertIfNegative val="0"/>
            <c:bubble3D val="0"/>
            <c:extLst xmlns:c16r3="http://schemas.microsoft.com/office/drawing/2017/03/char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B-E674-4C67-A0B9-96F936A74CCE}"/>
              </c:ext>
            </c:extLst>
          </c:dPt>
          <c:dPt>
            <c:idx val="11"/>
            <c:invertIfNegative val="0"/>
            <c:bubble3D val="0"/>
            <c:extLst xmlns:c16r3="http://schemas.microsoft.com/office/drawing/2017/03/char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C-E674-4C67-A0B9-96F936A74CCE}"/>
              </c:ext>
            </c:extLst>
          </c:dPt>
          <c:dPt>
            <c:idx val="12"/>
            <c:invertIfNegative val="0"/>
            <c:bubble3D val="0"/>
            <c:extLst xmlns:c16r3="http://schemas.microsoft.com/office/drawing/2017/03/char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D-E674-4C67-A0B9-96F936A74CCE}"/>
              </c:ext>
            </c:extLst>
          </c:dPt>
          <c:dPt>
            <c:idx val="13"/>
            <c:invertIfNegative val="0"/>
            <c:bubble3D val="0"/>
            <c:extLst xmlns:c16r3="http://schemas.microsoft.com/office/drawing/2017/03/char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E-E674-4C67-A0B9-96F936A74CCE}"/>
              </c:ext>
            </c:extLst>
          </c:dPt>
          <c:dPt>
            <c:idx val="14"/>
            <c:invertIfNegative val="0"/>
            <c:bubble3D val="0"/>
            <c:extLst xmlns:c16r3="http://schemas.microsoft.com/office/drawing/2017/03/char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F-E674-4C67-A0B9-96F936A74CCE}"/>
              </c:ext>
            </c:extLst>
          </c:dPt>
          <c:dPt>
            <c:idx val="15"/>
            <c:invertIfNegative val="0"/>
            <c:bubble3D val="0"/>
            <c:extLst xmlns:c16r3="http://schemas.microsoft.com/office/drawing/2017/03/char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10-E674-4C67-A0B9-96F936A74CCE}"/>
              </c:ext>
            </c:extLst>
          </c:dPt>
          <c:dPt>
            <c:idx val="16"/>
            <c:invertIfNegative val="0"/>
            <c:bubble3D val="0"/>
            <c:extLst xmlns:c16r3="http://schemas.microsoft.com/office/drawing/2017/03/char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11-E674-4C67-A0B9-96F936A74CCE}"/>
              </c:ext>
            </c:extLst>
          </c:dPt>
          <c:cat>
            <c:strLit>
              <c:ptCount val="4"/>
              <c:pt idx="0">
                <c:v>Category 1</c:v>
              </c:pt>
              <c:pt idx="1">
                <c:v>Category 2</c:v>
              </c:pt>
              <c:pt idx="2">
                <c:v>Category 3</c:v>
              </c:pt>
              <c:pt idx="3">
                <c:v>Category 4</c:v>
              </c:pt>
            </c:strLit>
          </c:cat>
          <c:val>
            <c:numLit>
              <c:formatCode>General</c:formatCode>
              <c:ptCount val="4"/>
              <c:pt idx="0">
                <c:v>2.4</c:v>
              </c:pt>
              <c:pt idx="1">
                <c:v>4.4000000000000004</c:v>
              </c:pt>
              <c:pt idx="2">
                <c:v>1.8</c:v>
              </c:pt>
              <c:pt idx="3">
                <c:v>2.8</c:v>
              </c:pt>
            </c:numLit>
          </c:val>
          <c:extLst xmlns:c16r3="http://schemas.microsoft.com/office/drawing/2017/03/char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12-E674-4C67-A0B9-96F936A74CCE}"/>
            </c:ext>
          </c:extLst>
        </c:ser>
        <c:ser>
          <c:idx val="2"/>
          <c:order val="2"/>
          <c:tx>
            <c:v>Series 3</c:v>
          </c:tx>
          <c:spPr>
            <a:solidFill>
              <a:schemeClr val="accent3"/>
            </a:solidFill>
            <a:ln w="12700">
              <a:solidFill>
                <a:schemeClr val="accent3"/>
              </a:solidFill>
            </a:ln>
            <a:effectLst/>
          </c:spPr>
          <c:invertIfNegative val="0"/>
          <c:cat>
            <c:strLit>
              <c:ptCount val="4"/>
              <c:pt idx="0">
                <c:v>Category 1</c:v>
              </c:pt>
              <c:pt idx="1">
                <c:v>Category 2</c:v>
              </c:pt>
              <c:pt idx="2">
                <c:v>Category 3</c:v>
              </c:pt>
              <c:pt idx="3">
                <c:v>Category 4</c:v>
              </c:pt>
            </c:strLit>
          </c:cat>
          <c:val>
            <c:numLit>
              <c:formatCode>General</c:formatCode>
              <c:ptCount val="4"/>
              <c:pt idx="0">
                <c:v>2</c:v>
              </c:pt>
              <c:pt idx="1">
                <c:v>2</c:v>
              </c:pt>
              <c:pt idx="2">
                <c:v>3</c:v>
              </c:pt>
              <c:pt idx="3">
                <c:v>5</c:v>
              </c:pt>
            </c:numLit>
          </c:val>
          <c:extLst xmlns:c16r3="http://schemas.microsoft.com/office/drawing/2017/03/chart" xmlns:c16="http://schemas.microsoft.com/office/drawing/2014/chart" xmlns:a14="http://schemas.microsoft.com/office/drawing/2010/main" xmlns:c14="http://schemas.microsoft.com/office/drawing/2007/8/2/chart" xmlns:mc="http://schemas.openxmlformats.org/markup-compatibility/2006">
            <c:ext xmlns:c16="http://schemas.microsoft.com/office/drawing/2014/chart" uri="{C3380CC4-5D6E-409C-BE32-E72D297353CC}">
              <c16:uniqueId val="{00000013-E674-4C67-A0B9-96F936A74CCE}"/>
            </c:ext>
          </c:extLst>
        </c:ser>
        <c:dLbls>
          <c:showLegendKey val="0"/>
          <c:showVal val="0"/>
          <c:showCatName val="0"/>
          <c:showSerName val="0"/>
          <c:showPercent val="0"/>
          <c:showBubbleSize val="0"/>
        </c:dLbls>
        <c:gapWidth val="75"/>
        <c:overlap val="100"/>
        <c:serLines>
          <c:spPr>
            <a:ln w="3175" cap="flat" cmpd="sng" algn="ctr">
              <a:solidFill>
                <a:schemeClr val="tx1"/>
              </a:solidFill>
              <a:prstDash val="dash"/>
              <a:round/>
            </a:ln>
            <a:effectLst/>
          </c:spPr>
        </c:serLines>
        <c:axId val="859035272"/>
        <c:axId val="859031744"/>
      </c:barChart>
      <c:catAx>
        <c:axId val="859035272"/>
        <c:scaling>
          <c:orientation val="minMax"/>
        </c:scaling>
        <c:delete val="0"/>
        <c:axPos val="b"/>
        <c:numFmt formatCode="General" sourceLinked="1"/>
        <c:majorTickMark val="none"/>
        <c:minorTickMark val="none"/>
        <c:tickLblPos val="none"/>
        <c:spPr>
          <a:noFill/>
          <a:ln w="6350" cap="flat" cmpd="sng" algn="ctr">
            <a:solidFill>
              <a:schemeClr val="tx1"/>
            </a:solidFill>
            <a:prstDash val="solid"/>
            <a:round/>
          </a:ln>
          <a:effectLst/>
        </c:spPr>
        <c:txPr>
          <a:bodyPr rot="-60000000" spcFirstLastPara="1" vertOverflow="ellipsis" vert="horz" wrap="square" anchor="ctr" anchorCtr="1"/>
          <a:lstStyle/>
          <a:p>
            <a:pPr>
              <a:defRPr lang="de-DE" sz="1200" b="0" i="0" u="none" strike="noStrike" kern="1200" baseline="0">
                <a:solidFill>
                  <a:schemeClr val="tx1"/>
                </a:solidFill>
                <a:latin typeface="+mn-lt"/>
                <a:ea typeface="+mn-lt"/>
                <a:cs typeface="+mn-lt"/>
              </a:defRPr>
            </a:pPr>
            <a:endParaRPr lang="de-DE"/>
          </a:p>
        </c:txPr>
        <c:crossAx val="859031744"/>
        <c:crosses val="autoZero"/>
        <c:auto val="1"/>
        <c:lblAlgn val="ctr"/>
        <c:lblOffset val="100"/>
        <c:noMultiLvlLbl val="1"/>
      </c:catAx>
      <c:valAx>
        <c:axId val="859031744"/>
        <c:scaling>
          <c:orientation val="minMax"/>
          <c:max val="12"/>
          <c:min val="0"/>
        </c:scaling>
        <c:delete val="0"/>
        <c:axPos val="l"/>
        <c:numFmt formatCode=";;;" sourceLinked="0"/>
        <c:majorTickMark val="out"/>
        <c:minorTickMark val="none"/>
        <c:tickLblPos val="none"/>
        <c:spPr>
          <a:noFill/>
          <a:ln w="6350" cap="flat" cmpd="sng" algn="ctr">
            <a:noFill/>
            <a:prstDash val="solid"/>
            <a:round/>
          </a:ln>
          <a:effectLst/>
          <a:extLst>
            <a:ext uri="{91240B29-F687-4F45-9708-019B960494DF}">
              <a14:hiddenLine xmlns:a14="http://schemas.microsoft.com/office/drawing/2010/main" w="6350" cap="flat" cmpd="sng" algn="ctr">
                <a:solidFill>
                  <a:prstClr val="black"/>
                </a:solidFill>
                <a:prstDash val="solid"/>
                <a:round/>
              </a14:hiddenLine>
            </a:ext>
          </a:extLst>
        </c:spPr>
        <c:txPr>
          <a:bodyPr rot="-60000000" spcFirstLastPara="1" vertOverflow="ellipsis" vert="horz" wrap="square" anchor="ctr" anchorCtr="1"/>
          <a:lstStyle/>
          <a:p>
            <a:pPr>
              <a:defRPr lang="de-DE" sz="1200" b="0" i="0" u="none" strike="noStrike" kern="1200" baseline="0">
                <a:solidFill>
                  <a:schemeClr val="tx1"/>
                </a:solidFill>
                <a:latin typeface="+mn-lt"/>
                <a:ea typeface="+mn-lt"/>
                <a:cs typeface="+mn-lt"/>
              </a:defRPr>
            </a:pPr>
            <a:endParaRPr lang="de-DE"/>
          </a:p>
        </c:txPr>
        <c:crossAx val="859035272"/>
        <c:crosses val="autoZero"/>
        <c:crossBetween val="between"/>
        <c:majorUnit val="1"/>
        <c:dispUnits>
          <c:custUnit val="1"/>
        </c:dispUnits>
      </c:valAx>
      <c:spPr>
        <a:noFill/>
        <a:ln>
          <a:noFill/>
        </a:ln>
        <a:effectLst/>
      </c:spPr>
    </c:plotArea>
    <c:plotVisOnly val="1"/>
    <c:dispBlanksAs val="gap"/>
    <c:extLst xmlns:c16r3="http://schemas.microsoft.com/office/drawing/2017/03/chart" xmlns:c16="http://schemas.microsoft.com/office/drawing/2014/chart" xmlns:a14="http://schemas.microsoft.com/office/drawing/2010/main"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de-DE" sz="1200" b="0" i="0" u="none" strike="noStrike" kern="1200" baseline="0">
          <a:solidFill>
            <a:schemeClr val="tx1"/>
          </a:solidFill>
          <a:latin typeface="Segoe UI Light" panose="020B0502040204020203" pitchFamily="34" charset="0"/>
          <a:ea typeface="Arial"/>
          <a:cs typeface="Segoe UI Light" panose="020B0502040204020203" pitchFamily="34" charset="0"/>
        </a:defRPr>
      </a:pPr>
      <a:endParaRPr lang="de-DE"/>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abelle1!$B$1</c:f>
              <c:strCache>
                <c:ptCount val="1"/>
                <c:pt idx="0">
                  <c:v>Datenreihe 1</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12-4EB0-B5D9-FB3904EDC2D4}"/>
            </c:ext>
          </c:extLst>
        </c:ser>
        <c:ser>
          <c:idx val="1"/>
          <c:order val="1"/>
          <c:tx>
            <c:strRef>
              <c:f>Tabelle1!$C$1</c:f>
              <c:strCache>
                <c:ptCount val="1"/>
                <c:pt idx="0">
                  <c:v>Datenreihe 2</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12-4EB0-B5D9-FB3904EDC2D4}"/>
            </c:ext>
          </c:extLst>
        </c:ser>
        <c:ser>
          <c:idx val="2"/>
          <c:order val="2"/>
          <c:tx>
            <c:strRef>
              <c:f>Tabelle1!$D$1</c:f>
              <c:strCache>
                <c:ptCount val="1"/>
                <c:pt idx="0">
                  <c:v>Datenreihe 3</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ED12-4EB0-B5D9-FB3904EDC2D4}"/>
            </c:ext>
          </c:extLst>
        </c:ser>
        <c:dLbls>
          <c:showLegendKey val="0"/>
          <c:showVal val="0"/>
          <c:showCatName val="0"/>
          <c:showSerName val="0"/>
          <c:showPercent val="0"/>
          <c:showBubbleSize val="0"/>
        </c:dLbls>
        <c:gapWidth val="219"/>
        <c:overlap val="-27"/>
        <c:axId val="1456615376"/>
        <c:axId val="1459028880"/>
      </c:barChart>
      <c:catAx>
        <c:axId val="1456615376"/>
        <c:scaling>
          <c:orientation val="minMax"/>
        </c:scaling>
        <c:delete val="0"/>
        <c:axPos val="b"/>
        <c:numFmt formatCode="General" sourceLinked="1"/>
        <c:majorTickMark val="none"/>
        <c:minorTickMark val="none"/>
        <c:tickLblPos val="nextTo"/>
        <c:spPr>
          <a:noFill/>
          <a:ln w="3175" cap="flat" cmpd="sng" algn="ctr">
            <a:solidFill>
              <a:srgbClr val="F1F1F1"/>
            </a:solidFill>
            <a:prstDash val="solid"/>
            <a:round/>
          </a:ln>
          <a:effectLst/>
        </c:spPr>
        <c:txPr>
          <a:bodyPr rot="-6000000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de-DE"/>
          </a:p>
        </c:txPr>
        <c:crossAx val="1459028880"/>
        <c:crosses val="autoZero"/>
        <c:auto val="1"/>
        <c:lblAlgn val="ctr"/>
        <c:lblOffset val="100"/>
        <c:noMultiLvlLbl val="0"/>
      </c:catAx>
      <c:valAx>
        <c:axId val="1459028880"/>
        <c:scaling>
          <c:orientation val="minMax"/>
        </c:scaling>
        <c:delete val="0"/>
        <c:axPos val="l"/>
        <c:majorGridlines>
          <c:spPr>
            <a:ln w="3175" cap="flat" cmpd="sng" algn="ctr">
              <a:solidFill>
                <a:srgbClr val="F1F1F1"/>
              </a:solidFill>
              <a:prstDash val="solid"/>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de-DE"/>
          </a:p>
        </c:txPr>
        <c:crossAx val="1456615376"/>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de-DE"/>
          </a:p>
        </c:txPr>
      </c:legendEntry>
      <c:legendEntry>
        <c:idx val="1"/>
        <c:txPr>
          <a:bodyPr rot="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de-DE"/>
          </a:p>
        </c:txPr>
      </c:legendEntry>
      <c:legendEntry>
        <c:idx val="2"/>
        <c:txPr>
          <a:bodyPr rot="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de-DE"/>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chemeClr val="lt1"/>
    </a:solid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1" Type="http://schemas.openxmlformats.org/officeDocument/2006/relationships/image" Target="../media/image70.emf"/></Relationships>
</file>

<file path=ppt/drawings/drawing1.xml><?xml version="1.0" encoding="utf-8"?>
<c:userShapes xmlns:c="http://schemas.openxmlformats.org/drawingml/2006/chart">
  <cdr:relSizeAnchor xmlns:cdr="http://schemas.openxmlformats.org/drawingml/2006/chartDrawing">
    <cdr:from>
      <cdr:x>0</cdr:x>
      <cdr:y>0</cdr:y>
    </cdr:from>
    <cdr:to>
      <cdr:x>1</cdr:x>
      <cdr:y>1</cdr:y>
    </cdr:to>
    <cdr:pic>
      <cdr:nvPicPr>
        <cdr:cNvPr id="31" name="Picture 30">
          <a:extLst xmlns:a="http://schemas.openxmlformats.org/drawingml/2006/main">
            <a:ext uri="{FF2B5EF4-FFF2-40B4-BE49-F238E27FC236}">
              <a16:creationId xmlns:a16="http://schemas.microsoft.com/office/drawing/2014/main" id="{04029775-87E5-4B78-B345-0F0F9B89D100}"/>
            </a:ext>
          </a:extLst>
        </cdr:cNvPr>
        <cdr:cNvPicPr>
          <a:picLocks xmlns:a="http://schemas.openxmlformats.org/drawingml/2006/main"/>
        </cdr:cNvPicPr>
      </cdr:nvPicPr>
      <cdr:blipFill>
        <a:blip xmlns:a="http://schemas.openxmlformats.org/drawingml/2006/main" xmlns:r="http://schemas.openxmlformats.org/officeDocument/2006/relationships" r:embed="rId1">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0" y="0"/>
          <a:ext cx="7340627" cy="5054400"/>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7216205"/>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2" pos="2880" userDrawn="1">
          <p15:clr>
            <a:srgbClr val="F26B43"/>
          </p15:clr>
        </p15:guide>
        <p15:guide id="3" pos="5680" userDrawn="1">
          <p15:clr>
            <a:srgbClr val="F26B43"/>
          </p15:clr>
        </p15:guide>
        <p15:guide id="4" pos="192"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246313" y="242888"/>
            <a:ext cx="4613275" cy="2595562"/>
          </a:xfrm>
          <a:prstGeom prst="rect">
            <a:avLst/>
          </a:prstGeom>
          <a:noFill/>
          <a:ln w="12700">
            <a:solidFill>
              <a:prstClr val="black"/>
            </a:solidFill>
          </a:ln>
        </p:spPr>
        <p:txBody>
          <a:bodyPr vert="horz" lIns="91440" tIns="45720" rIns="91440" bIns="45720" rtlCol="0" anchor="ctr"/>
          <a:lstStyle/>
          <a:p>
            <a:endParaRPr lang="de-DE" noProof="0"/>
          </a:p>
        </p:txBody>
      </p:sp>
      <p:sp>
        <p:nvSpPr>
          <p:cNvPr id="5" name="Notes Placeholder 4"/>
          <p:cNvSpPr>
            <a:spLocks noGrp="1"/>
          </p:cNvSpPr>
          <p:nvPr>
            <p:ph type="body" sz="quarter" idx="3"/>
          </p:nvPr>
        </p:nvSpPr>
        <p:spPr>
          <a:xfrm>
            <a:off x="446617" y="3131968"/>
            <a:ext cx="8208435" cy="348338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1731039787"/>
      </p:ext>
    </p:extLst>
  </p:cSld>
  <p:clrMap bg1="lt1" tx1="dk1" bg2="lt2" tx2="dk2" accent1="accent1" accent2="accent2" accent3="accent3" accent4="accent4" accent5="accent5" accent6="accent6" hlink="hlink" folHlink="folHlink"/>
  <p:notesStyle>
    <a:lvl1pPr marL="285750" indent="-285750" algn="l" defTabSz="914400" rtl="0" eaLnBrk="1" latinLnBrk="0" hangingPunct="1">
      <a:buClr>
        <a:schemeClr val="tx2"/>
      </a:buClr>
      <a:buFont typeface="Wingdings" panose="05000000000000000000" pitchFamily="2" charset="2"/>
      <a:buChar char="§"/>
      <a:defRPr lang="de-DE" sz="1600" kern="1200" noProof="0" dirty="0">
        <a:solidFill>
          <a:schemeClr val="tx1"/>
        </a:solidFill>
        <a:latin typeface="Segoe UI Light" panose="020B0502040204020203" pitchFamily="34" charset="0"/>
        <a:ea typeface="+mn-ea"/>
        <a:cs typeface="Segoe UI Light" panose="020B0502040204020203" pitchFamily="34" charset="0"/>
      </a:defRPr>
    </a:lvl1pPr>
    <a:lvl2pPr marL="465750" indent="-285750" algn="l" defTabSz="914400" rtl="0" eaLnBrk="1" latinLnBrk="0" hangingPunct="1">
      <a:buClr>
        <a:schemeClr val="tx2"/>
      </a:buClr>
      <a:buFont typeface="Arial" panose="020B0604020202020204" pitchFamily="34" charset="0"/>
      <a:buChar char="–"/>
      <a:defRPr lang="de-DE" sz="1600" kern="1200" noProof="0" dirty="0">
        <a:solidFill>
          <a:schemeClr val="tx1"/>
        </a:solidFill>
        <a:latin typeface="Segoe UI Light" panose="020B0502040204020203" pitchFamily="34" charset="0"/>
        <a:ea typeface="+mn-ea"/>
        <a:cs typeface="Segoe UI Light" panose="020B0502040204020203" pitchFamily="34" charset="0"/>
      </a:defRPr>
    </a:lvl2pPr>
    <a:lvl3pPr marL="645750" indent="-285750" algn="l" defTabSz="914400" rtl="0" eaLnBrk="1" latinLnBrk="0" hangingPunct="1">
      <a:buClr>
        <a:schemeClr val="accent6"/>
      </a:buClr>
      <a:buFont typeface="Wingdings" panose="05000000000000000000" pitchFamily="2" charset="2"/>
      <a:buChar char="§"/>
      <a:defRPr lang="de-DE" sz="1400" kern="1200" noProof="0" dirty="0">
        <a:solidFill>
          <a:schemeClr val="tx1"/>
        </a:solidFill>
        <a:latin typeface="Segoe UI Light" panose="020B0502040204020203" pitchFamily="34" charset="0"/>
        <a:ea typeface="+mn-ea"/>
        <a:cs typeface="Segoe UI Light" panose="020B0502040204020203" pitchFamily="34" charset="0"/>
      </a:defRPr>
    </a:lvl3pPr>
    <a:lvl4pPr marL="825750" indent="-285750" algn="l" defTabSz="914400" rtl="0" eaLnBrk="1" latinLnBrk="0" hangingPunct="1">
      <a:buClr>
        <a:schemeClr val="accent6"/>
      </a:buClr>
      <a:buFont typeface="Arial" panose="020B0604020202020204" pitchFamily="34" charset="0"/>
      <a:buChar char="–"/>
      <a:defRPr lang="de-DE" sz="1400" kern="1200" noProof="0" dirty="0">
        <a:solidFill>
          <a:schemeClr val="tx1"/>
        </a:solidFill>
        <a:latin typeface="Segoe UI Light" panose="020B0502040204020203" pitchFamily="34" charset="0"/>
        <a:ea typeface="+mn-ea"/>
        <a:cs typeface="Segoe UI Light" panose="020B0502040204020203" pitchFamily="34" charset="0"/>
      </a:defRPr>
    </a:lvl4pPr>
    <a:lvl5pPr marL="1005750" indent="-285750" algn="l" defTabSz="914400" rtl="0" eaLnBrk="1" latinLnBrk="0" hangingPunct="1">
      <a:buClr>
        <a:schemeClr val="accent6"/>
      </a:buClr>
      <a:buFont typeface="Symbol" panose="05050102010706020507" pitchFamily="18" charset="2"/>
      <a:buChar char="-"/>
      <a:defRPr lang="de-DE" sz="1400" kern="1200" noProof="0" dirty="0">
        <a:solidFill>
          <a:schemeClr val="tx1"/>
        </a:solidFill>
        <a:latin typeface="Segoe UI Light" panose="020B0502040204020203" pitchFamily="34" charset="0"/>
        <a:ea typeface="+mn-ea"/>
        <a:cs typeface="Segoe UI Light" panose="020B0502040204020203"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2" pos="2880" userDrawn="1">
          <p15:clr>
            <a:srgbClr val="F26B43"/>
          </p15:clr>
        </p15:guide>
        <p15:guide id="3" pos="5452" userDrawn="1">
          <p15:clr>
            <a:srgbClr val="F26B43"/>
          </p15:clr>
        </p15:guide>
        <p15:guide id="4" pos="28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46313" y="242888"/>
            <a:ext cx="4613275" cy="2595562"/>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8026631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298299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827777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04345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159325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624904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028559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93356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501652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870810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55028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048577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439505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83526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752954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648129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342054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624698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793963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268071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588401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950613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944526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365652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67268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688802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51709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591209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072021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306516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554362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205052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92262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a:pPr/>
              <a:t>5</a:t>
            </a:fld>
            <a:endParaRPr lang="en-US" dirty="0"/>
          </a:p>
        </p:txBody>
      </p:sp>
    </p:spTree>
    <p:extLst>
      <p:ext uri="{BB962C8B-B14F-4D97-AF65-F5344CB8AC3E}">
        <p14:creationId xmlns:p14="http://schemas.microsoft.com/office/powerpoint/2010/main" val="373935828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7093669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94655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6006844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985730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9374089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7493454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2517449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719351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9563027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788817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8123059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364619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7503896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1538915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4856345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7824335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7381729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519297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82753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455672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626396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6868192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7660647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0635205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4308559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3912677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0E294D-184F-1745-9F56-FE79EDA75039}"/>
              </a:ext>
            </a:extLst>
          </p:cNvPr>
          <p:cNvSpPr>
            <a:spLocks noGrp="1" noChangeArrowheads="1"/>
          </p:cNvSpPr>
          <p:nvPr>
            <p:ph type="sldNum"/>
          </p:nvPr>
        </p:nvSpPr>
        <p:spPr>
          <a:ln/>
        </p:spPr>
        <p:txBody>
          <a:bodyPr/>
          <a:lstStyle/>
          <a:p>
            <a:fld id="{17A0FA25-07BA-1044-92CA-7F9FD7093EAF}" type="slidenum">
              <a:rPr lang="en-US" altLang="en-US"/>
              <a:pPr/>
              <a:t>75</a:t>
            </a:fld>
            <a:endParaRPr lang="en-US" altLang="en-US" dirty="0"/>
          </a:p>
        </p:txBody>
      </p:sp>
      <p:sp>
        <p:nvSpPr>
          <p:cNvPr id="4097" name="Text Box 1">
            <a:extLst>
              <a:ext uri="{FF2B5EF4-FFF2-40B4-BE49-F238E27FC236}">
                <a16:creationId xmlns:a16="http://schemas.microsoft.com/office/drawing/2014/main" id="{B5B4251C-D248-BC47-B98A-C172AF328527}"/>
              </a:ext>
            </a:extLst>
          </p:cNvPr>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4098" name="Text Box 2">
            <a:extLst>
              <a:ext uri="{FF2B5EF4-FFF2-40B4-BE49-F238E27FC236}">
                <a16:creationId xmlns:a16="http://schemas.microsoft.com/office/drawing/2014/main" id="{312F3B6F-72E6-F04C-9E6C-E6015AAA7F7B}"/>
              </a:ext>
            </a:extLst>
          </p:cNvPr>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dirty="0"/>
          </a:p>
        </p:txBody>
      </p:sp>
    </p:spTree>
    <p:extLst>
      <p:ext uri="{BB962C8B-B14F-4D97-AF65-F5344CB8AC3E}">
        <p14:creationId xmlns:p14="http://schemas.microsoft.com/office/powerpoint/2010/main" val="75700221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5039424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0494997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492525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99669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965914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242789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2" name="Picture placeholder">
            <a:extLst>
              <a:ext uri="{FF2B5EF4-FFF2-40B4-BE49-F238E27FC236}">
                <a16:creationId xmlns:a16="http://schemas.microsoft.com/office/drawing/2014/main" id="{51889213-BEAB-466C-A368-97CC503724DD}"/>
              </a:ext>
            </a:extLst>
          </p:cNvPr>
          <p:cNvSpPr>
            <a:spLocks noGrp="1"/>
          </p:cNvSpPr>
          <p:nvPr>
            <p:ph type="pic" sz="quarter" idx="13" hasCustomPrompt="1"/>
          </p:nvPr>
        </p:nvSpPr>
        <p:spPr>
          <a:xfrm>
            <a:off x="0" y="98322"/>
            <a:ext cx="12192000" cy="6759678"/>
          </a:xfrm>
          <a:custGeom>
            <a:avLst/>
            <a:gdLst>
              <a:gd name="connsiteX0" fmla="*/ 1114141 w 12192000"/>
              <a:gd name="connsiteY0" fmla="*/ 543060 h 6760800"/>
              <a:gd name="connsiteX1" fmla="*/ 1143812 w 12192000"/>
              <a:gd name="connsiteY1" fmla="*/ 584579 h 6760800"/>
              <a:gd name="connsiteX2" fmla="*/ 1114141 w 12192000"/>
              <a:gd name="connsiteY2" fmla="*/ 624614 h 6760800"/>
              <a:gd name="connsiteX3" fmla="*/ 1084469 w 12192000"/>
              <a:gd name="connsiteY3" fmla="*/ 584579 h 6760800"/>
              <a:gd name="connsiteX4" fmla="*/ 1114141 w 12192000"/>
              <a:gd name="connsiteY4" fmla="*/ 543060 h 6760800"/>
              <a:gd name="connsiteX5" fmla="*/ 1324809 w 12192000"/>
              <a:gd name="connsiteY5" fmla="*/ 538613 h 6760800"/>
              <a:gd name="connsiteX6" fmla="*/ 1354481 w 12192000"/>
              <a:gd name="connsiteY6" fmla="*/ 584579 h 6760800"/>
              <a:gd name="connsiteX7" fmla="*/ 1324809 w 12192000"/>
              <a:gd name="connsiteY7" fmla="*/ 630545 h 6760800"/>
              <a:gd name="connsiteX8" fmla="*/ 1295138 w 12192000"/>
              <a:gd name="connsiteY8" fmla="*/ 584579 h 6760800"/>
              <a:gd name="connsiteX9" fmla="*/ 1324809 w 12192000"/>
              <a:gd name="connsiteY9" fmla="*/ 538613 h 6760800"/>
              <a:gd name="connsiteX10" fmla="*/ 1829226 w 12192000"/>
              <a:gd name="connsiteY10" fmla="*/ 529715 h 6760800"/>
              <a:gd name="connsiteX11" fmla="*/ 1861865 w 12192000"/>
              <a:gd name="connsiteY11" fmla="*/ 563819 h 6760800"/>
              <a:gd name="connsiteX12" fmla="*/ 1798071 w 12192000"/>
              <a:gd name="connsiteY12" fmla="*/ 563819 h 6760800"/>
              <a:gd name="connsiteX13" fmla="*/ 1829226 w 12192000"/>
              <a:gd name="connsiteY13" fmla="*/ 529715 h 6760800"/>
              <a:gd name="connsiteX14" fmla="*/ 562251 w 12192000"/>
              <a:gd name="connsiteY14" fmla="*/ 529715 h 6760800"/>
              <a:gd name="connsiteX15" fmla="*/ 594889 w 12192000"/>
              <a:gd name="connsiteY15" fmla="*/ 563819 h 6760800"/>
              <a:gd name="connsiteX16" fmla="*/ 531095 w 12192000"/>
              <a:gd name="connsiteY16" fmla="*/ 563819 h 6760800"/>
              <a:gd name="connsiteX17" fmla="*/ 562251 w 12192000"/>
              <a:gd name="connsiteY17" fmla="*/ 529715 h 6760800"/>
              <a:gd name="connsiteX18" fmla="*/ 1422726 w 12192000"/>
              <a:gd name="connsiteY18" fmla="*/ 494128 h 6760800"/>
              <a:gd name="connsiteX19" fmla="*/ 1480586 w 12192000"/>
              <a:gd name="connsiteY19" fmla="*/ 673545 h 6760800"/>
              <a:gd name="connsiteX20" fmla="*/ 1550314 w 12192000"/>
              <a:gd name="connsiteY20" fmla="*/ 673545 h 6760800"/>
              <a:gd name="connsiteX21" fmla="*/ 1577018 w 12192000"/>
              <a:gd name="connsiteY21" fmla="*/ 569751 h 6760800"/>
              <a:gd name="connsiteX22" fmla="*/ 1603723 w 12192000"/>
              <a:gd name="connsiteY22" fmla="*/ 673545 h 6760800"/>
              <a:gd name="connsiteX23" fmla="*/ 1676418 w 12192000"/>
              <a:gd name="connsiteY23" fmla="*/ 673545 h 6760800"/>
              <a:gd name="connsiteX24" fmla="*/ 1732794 w 12192000"/>
              <a:gd name="connsiteY24" fmla="*/ 494128 h 6760800"/>
              <a:gd name="connsiteX25" fmla="*/ 1664549 w 12192000"/>
              <a:gd name="connsiteY25" fmla="*/ 494128 h 6760800"/>
              <a:gd name="connsiteX26" fmla="*/ 1637845 w 12192000"/>
              <a:gd name="connsiteY26" fmla="*/ 603855 h 6760800"/>
              <a:gd name="connsiteX27" fmla="*/ 1609657 w 12192000"/>
              <a:gd name="connsiteY27" fmla="*/ 494128 h 6760800"/>
              <a:gd name="connsiteX28" fmla="*/ 1548830 w 12192000"/>
              <a:gd name="connsiteY28" fmla="*/ 494128 h 6760800"/>
              <a:gd name="connsiteX29" fmla="*/ 1520642 w 12192000"/>
              <a:gd name="connsiteY29" fmla="*/ 603855 h 6760800"/>
              <a:gd name="connsiteX30" fmla="*/ 1493938 w 12192000"/>
              <a:gd name="connsiteY30" fmla="*/ 494128 h 6760800"/>
              <a:gd name="connsiteX31" fmla="*/ 2072534 w 12192000"/>
              <a:gd name="connsiteY31" fmla="*/ 489680 h 6760800"/>
              <a:gd name="connsiteX32" fmla="*/ 2016157 w 12192000"/>
              <a:gd name="connsiteY32" fmla="*/ 526750 h 6760800"/>
              <a:gd name="connsiteX33" fmla="*/ 2016157 w 12192000"/>
              <a:gd name="connsiteY33" fmla="*/ 494128 h 6760800"/>
              <a:gd name="connsiteX34" fmla="*/ 1950880 w 12192000"/>
              <a:gd name="connsiteY34" fmla="*/ 494128 h 6760800"/>
              <a:gd name="connsiteX35" fmla="*/ 1950880 w 12192000"/>
              <a:gd name="connsiteY35" fmla="*/ 673545 h 6760800"/>
              <a:gd name="connsiteX36" fmla="*/ 2022092 w 12192000"/>
              <a:gd name="connsiteY36" fmla="*/ 673545 h 6760800"/>
              <a:gd name="connsiteX37" fmla="*/ 2022092 w 12192000"/>
              <a:gd name="connsiteY37" fmla="*/ 599406 h 6760800"/>
              <a:gd name="connsiteX38" fmla="*/ 2063632 w 12192000"/>
              <a:gd name="connsiteY38" fmla="*/ 559370 h 6760800"/>
              <a:gd name="connsiteX39" fmla="*/ 2078468 w 12192000"/>
              <a:gd name="connsiteY39" fmla="*/ 560854 h 6760800"/>
              <a:gd name="connsiteX40" fmla="*/ 2078468 w 12192000"/>
              <a:gd name="connsiteY40" fmla="*/ 489680 h 6760800"/>
              <a:gd name="connsiteX41" fmla="*/ 2072534 w 12192000"/>
              <a:gd name="connsiteY41" fmla="*/ 489680 h 6760800"/>
              <a:gd name="connsiteX42" fmla="*/ 807041 w 12192000"/>
              <a:gd name="connsiteY42" fmla="*/ 489680 h 6760800"/>
              <a:gd name="connsiteX43" fmla="*/ 772918 w 12192000"/>
              <a:gd name="connsiteY43" fmla="*/ 497094 h 6760800"/>
              <a:gd name="connsiteX44" fmla="*/ 746214 w 12192000"/>
              <a:gd name="connsiteY44" fmla="*/ 520818 h 6760800"/>
              <a:gd name="connsiteX45" fmla="*/ 746214 w 12192000"/>
              <a:gd name="connsiteY45" fmla="*/ 494128 h 6760800"/>
              <a:gd name="connsiteX46" fmla="*/ 682420 w 12192000"/>
              <a:gd name="connsiteY46" fmla="*/ 494128 h 6760800"/>
              <a:gd name="connsiteX47" fmla="*/ 682420 w 12192000"/>
              <a:gd name="connsiteY47" fmla="*/ 673545 h 6760800"/>
              <a:gd name="connsiteX48" fmla="*/ 750665 w 12192000"/>
              <a:gd name="connsiteY48" fmla="*/ 673545 h 6760800"/>
              <a:gd name="connsiteX49" fmla="*/ 750665 w 12192000"/>
              <a:gd name="connsiteY49" fmla="*/ 577164 h 6760800"/>
              <a:gd name="connsiteX50" fmla="*/ 756599 w 12192000"/>
              <a:gd name="connsiteY50" fmla="*/ 553440 h 6760800"/>
              <a:gd name="connsiteX51" fmla="*/ 774402 w 12192000"/>
              <a:gd name="connsiteY51" fmla="*/ 546026 h 6760800"/>
              <a:gd name="connsiteX52" fmla="*/ 793688 w 12192000"/>
              <a:gd name="connsiteY52" fmla="*/ 553440 h 6760800"/>
              <a:gd name="connsiteX53" fmla="*/ 799623 w 12192000"/>
              <a:gd name="connsiteY53" fmla="*/ 580129 h 6760800"/>
              <a:gd name="connsiteX54" fmla="*/ 799623 w 12192000"/>
              <a:gd name="connsiteY54" fmla="*/ 673545 h 6760800"/>
              <a:gd name="connsiteX55" fmla="*/ 869351 w 12192000"/>
              <a:gd name="connsiteY55" fmla="*/ 673545 h 6760800"/>
              <a:gd name="connsiteX56" fmla="*/ 869351 w 12192000"/>
              <a:gd name="connsiteY56" fmla="*/ 578647 h 6760800"/>
              <a:gd name="connsiteX57" fmla="*/ 875285 w 12192000"/>
              <a:gd name="connsiteY57" fmla="*/ 553440 h 6760800"/>
              <a:gd name="connsiteX58" fmla="*/ 894572 w 12192000"/>
              <a:gd name="connsiteY58" fmla="*/ 546026 h 6760800"/>
              <a:gd name="connsiteX59" fmla="*/ 912375 w 12192000"/>
              <a:gd name="connsiteY59" fmla="*/ 553440 h 6760800"/>
              <a:gd name="connsiteX60" fmla="*/ 918309 w 12192000"/>
              <a:gd name="connsiteY60" fmla="*/ 578647 h 6760800"/>
              <a:gd name="connsiteX61" fmla="*/ 918309 w 12192000"/>
              <a:gd name="connsiteY61" fmla="*/ 675029 h 6760800"/>
              <a:gd name="connsiteX62" fmla="*/ 988037 w 12192000"/>
              <a:gd name="connsiteY62" fmla="*/ 675029 h 6760800"/>
              <a:gd name="connsiteX63" fmla="*/ 988037 w 12192000"/>
              <a:gd name="connsiteY63" fmla="*/ 551957 h 6760800"/>
              <a:gd name="connsiteX64" fmla="*/ 970234 w 12192000"/>
              <a:gd name="connsiteY64" fmla="*/ 505990 h 6760800"/>
              <a:gd name="connsiteX65" fmla="*/ 921276 w 12192000"/>
              <a:gd name="connsiteY65" fmla="*/ 489680 h 6760800"/>
              <a:gd name="connsiteX66" fmla="*/ 887154 w 12192000"/>
              <a:gd name="connsiteY66" fmla="*/ 497094 h 6760800"/>
              <a:gd name="connsiteX67" fmla="*/ 858966 w 12192000"/>
              <a:gd name="connsiteY67" fmla="*/ 520818 h 6760800"/>
              <a:gd name="connsiteX68" fmla="*/ 836712 w 12192000"/>
              <a:gd name="connsiteY68" fmla="*/ 497094 h 6760800"/>
              <a:gd name="connsiteX69" fmla="*/ 807041 w 12192000"/>
              <a:gd name="connsiteY69" fmla="*/ 489680 h 6760800"/>
              <a:gd name="connsiteX70" fmla="*/ 1324809 w 12192000"/>
              <a:gd name="connsiteY70" fmla="*/ 488198 h 6760800"/>
              <a:gd name="connsiteX71" fmla="*/ 1223926 w 12192000"/>
              <a:gd name="connsiteY71" fmla="*/ 584579 h 6760800"/>
              <a:gd name="connsiteX72" fmla="*/ 1324809 w 12192000"/>
              <a:gd name="connsiteY72" fmla="*/ 680960 h 6760800"/>
              <a:gd name="connsiteX73" fmla="*/ 1425693 w 12192000"/>
              <a:gd name="connsiteY73" fmla="*/ 584579 h 6760800"/>
              <a:gd name="connsiteX74" fmla="*/ 1324809 w 12192000"/>
              <a:gd name="connsiteY74" fmla="*/ 488198 h 6760800"/>
              <a:gd name="connsiteX75" fmla="*/ 1136394 w 12192000"/>
              <a:gd name="connsiteY75" fmla="*/ 488198 h 6760800"/>
              <a:gd name="connsiteX76" fmla="*/ 1078535 w 12192000"/>
              <a:gd name="connsiteY76" fmla="*/ 516370 h 6760800"/>
              <a:gd name="connsiteX77" fmla="*/ 1078535 w 12192000"/>
              <a:gd name="connsiteY77" fmla="*/ 494128 h 6760800"/>
              <a:gd name="connsiteX78" fmla="*/ 1016225 w 12192000"/>
              <a:gd name="connsiteY78" fmla="*/ 494128 h 6760800"/>
              <a:gd name="connsiteX79" fmla="*/ 1016225 w 12192000"/>
              <a:gd name="connsiteY79" fmla="*/ 744719 h 6760800"/>
              <a:gd name="connsiteX80" fmla="*/ 1085953 w 12192000"/>
              <a:gd name="connsiteY80" fmla="*/ 744719 h 6760800"/>
              <a:gd name="connsiteX81" fmla="*/ 1085953 w 12192000"/>
              <a:gd name="connsiteY81" fmla="*/ 655753 h 6760800"/>
              <a:gd name="connsiteX82" fmla="*/ 1136394 w 12192000"/>
              <a:gd name="connsiteY82" fmla="*/ 677994 h 6760800"/>
              <a:gd name="connsiteX83" fmla="*/ 1215024 w 12192000"/>
              <a:gd name="connsiteY83" fmla="*/ 583096 h 6760800"/>
              <a:gd name="connsiteX84" fmla="*/ 1136394 w 12192000"/>
              <a:gd name="connsiteY84" fmla="*/ 488198 h 6760800"/>
              <a:gd name="connsiteX85" fmla="*/ 1829226 w 12192000"/>
              <a:gd name="connsiteY85" fmla="*/ 486714 h 6760800"/>
              <a:gd name="connsiteX86" fmla="*/ 1726859 w 12192000"/>
              <a:gd name="connsiteY86" fmla="*/ 584578 h 6760800"/>
              <a:gd name="connsiteX87" fmla="*/ 1827742 w 12192000"/>
              <a:gd name="connsiteY87" fmla="*/ 679476 h 6760800"/>
              <a:gd name="connsiteX88" fmla="*/ 1927142 w 12192000"/>
              <a:gd name="connsiteY88" fmla="*/ 620165 h 6760800"/>
              <a:gd name="connsiteX89" fmla="*/ 1927142 w 12192000"/>
              <a:gd name="connsiteY89" fmla="*/ 618683 h 6760800"/>
              <a:gd name="connsiteX90" fmla="*/ 1857414 w 12192000"/>
              <a:gd name="connsiteY90" fmla="*/ 618683 h 6760800"/>
              <a:gd name="connsiteX91" fmla="*/ 1830710 w 12192000"/>
              <a:gd name="connsiteY91" fmla="*/ 633510 h 6760800"/>
              <a:gd name="connsiteX92" fmla="*/ 1798071 w 12192000"/>
              <a:gd name="connsiteY92" fmla="*/ 597924 h 6760800"/>
              <a:gd name="connsiteX93" fmla="*/ 1931593 w 12192000"/>
              <a:gd name="connsiteY93" fmla="*/ 597924 h 6760800"/>
              <a:gd name="connsiteX94" fmla="*/ 1931593 w 12192000"/>
              <a:gd name="connsiteY94" fmla="*/ 593475 h 6760800"/>
              <a:gd name="connsiteX95" fmla="*/ 1829226 w 12192000"/>
              <a:gd name="connsiteY95" fmla="*/ 486714 h 6760800"/>
              <a:gd name="connsiteX96" fmla="*/ 560767 w 12192000"/>
              <a:gd name="connsiteY96" fmla="*/ 486714 h 6760800"/>
              <a:gd name="connsiteX97" fmla="*/ 458400 w 12192000"/>
              <a:gd name="connsiteY97" fmla="*/ 584578 h 6760800"/>
              <a:gd name="connsiteX98" fmla="*/ 559283 w 12192000"/>
              <a:gd name="connsiteY98" fmla="*/ 679476 h 6760800"/>
              <a:gd name="connsiteX99" fmla="*/ 658683 w 12192000"/>
              <a:gd name="connsiteY99" fmla="*/ 620165 h 6760800"/>
              <a:gd name="connsiteX100" fmla="*/ 658683 w 12192000"/>
              <a:gd name="connsiteY100" fmla="*/ 618683 h 6760800"/>
              <a:gd name="connsiteX101" fmla="*/ 588955 w 12192000"/>
              <a:gd name="connsiteY101" fmla="*/ 618683 h 6760800"/>
              <a:gd name="connsiteX102" fmla="*/ 562251 w 12192000"/>
              <a:gd name="connsiteY102" fmla="*/ 633510 h 6760800"/>
              <a:gd name="connsiteX103" fmla="*/ 529612 w 12192000"/>
              <a:gd name="connsiteY103" fmla="*/ 597924 h 6760800"/>
              <a:gd name="connsiteX104" fmla="*/ 663134 w 12192000"/>
              <a:gd name="connsiteY104" fmla="*/ 597924 h 6760800"/>
              <a:gd name="connsiteX105" fmla="*/ 663134 w 12192000"/>
              <a:gd name="connsiteY105" fmla="*/ 593475 h 6760800"/>
              <a:gd name="connsiteX106" fmla="*/ 560767 w 12192000"/>
              <a:gd name="connsiteY106" fmla="*/ 486714 h 6760800"/>
              <a:gd name="connsiteX107" fmla="*/ 2222374 w 12192000"/>
              <a:gd name="connsiteY107" fmla="*/ 428886 h 6760800"/>
              <a:gd name="connsiteX108" fmla="*/ 2216440 w 12192000"/>
              <a:gd name="connsiteY108" fmla="*/ 434817 h 6760800"/>
              <a:gd name="connsiteX109" fmla="*/ 2216440 w 12192000"/>
              <a:gd name="connsiteY109" fmla="*/ 535647 h 6760800"/>
              <a:gd name="connsiteX110" fmla="*/ 2222374 w 12192000"/>
              <a:gd name="connsiteY110" fmla="*/ 541578 h 6760800"/>
              <a:gd name="connsiteX111" fmla="*/ 2323258 w 12192000"/>
              <a:gd name="connsiteY111" fmla="*/ 541578 h 6760800"/>
              <a:gd name="connsiteX112" fmla="*/ 2329192 w 12192000"/>
              <a:gd name="connsiteY112" fmla="*/ 535647 h 6760800"/>
              <a:gd name="connsiteX113" fmla="*/ 2329192 w 12192000"/>
              <a:gd name="connsiteY113" fmla="*/ 434817 h 6760800"/>
              <a:gd name="connsiteX114" fmla="*/ 2323258 w 12192000"/>
              <a:gd name="connsiteY114" fmla="*/ 428886 h 6760800"/>
              <a:gd name="connsiteX115" fmla="*/ 2140777 w 12192000"/>
              <a:gd name="connsiteY115" fmla="*/ 428886 h 6760800"/>
              <a:gd name="connsiteX116" fmla="*/ 2134843 w 12192000"/>
              <a:gd name="connsiteY116" fmla="*/ 434817 h 6760800"/>
              <a:gd name="connsiteX117" fmla="*/ 2134843 w 12192000"/>
              <a:gd name="connsiteY117" fmla="*/ 479301 h 6760800"/>
              <a:gd name="connsiteX118" fmla="*/ 2140777 w 12192000"/>
              <a:gd name="connsiteY118" fmla="*/ 485232 h 6760800"/>
              <a:gd name="connsiteX119" fmla="*/ 2185285 w 12192000"/>
              <a:gd name="connsiteY119" fmla="*/ 485232 h 6760800"/>
              <a:gd name="connsiteX120" fmla="*/ 2191219 w 12192000"/>
              <a:gd name="connsiteY120" fmla="*/ 479301 h 6760800"/>
              <a:gd name="connsiteX121" fmla="*/ 2191219 w 12192000"/>
              <a:gd name="connsiteY121" fmla="*/ 434817 h 6760800"/>
              <a:gd name="connsiteX122" fmla="*/ 2185285 w 12192000"/>
              <a:gd name="connsiteY122" fmla="*/ 428886 h 6760800"/>
              <a:gd name="connsiteX123" fmla="*/ 2084401 w 12192000"/>
              <a:gd name="connsiteY123" fmla="*/ 292469 h 6760800"/>
              <a:gd name="connsiteX124" fmla="*/ 2078467 w 12192000"/>
              <a:gd name="connsiteY124" fmla="*/ 298400 h 6760800"/>
              <a:gd name="connsiteX125" fmla="*/ 2078467 w 12192000"/>
              <a:gd name="connsiteY125" fmla="*/ 399230 h 6760800"/>
              <a:gd name="connsiteX126" fmla="*/ 2084401 w 12192000"/>
              <a:gd name="connsiteY126" fmla="*/ 405161 h 6760800"/>
              <a:gd name="connsiteX127" fmla="*/ 2185285 w 12192000"/>
              <a:gd name="connsiteY127" fmla="*/ 405161 h 6760800"/>
              <a:gd name="connsiteX128" fmla="*/ 2191219 w 12192000"/>
              <a:gd name="connsiteY128" fmla="*/ 399230 h 6760800"/>
              <a:gd name="connsiteX129" fmla="*/ 2191219 w 12192000"/>
              <a:gd name="connsiteY129" fmla="*/ 298400 h 6760800"/>
              <a:gd name="connsiteX130" fmla="*/ 2185285 w 12192000"/>
              <a:gd name="connsiteY130" fmla="*/ 292469 h 6760800"/>
              <a:gd name="connsiteX131" fmla="*/ 2222375 w 12192000"/>
              <a:gd name="connsiteY131" fmla="*/ 221296 h 6760800"/>
              <a:gd name="connsiteX132" fmla="*/ 2214957 w 12192000"/>
              <a:gd name="connsiteY132" fmla="*/ 227227 h 6760800"/>
              <a:gd name="connsiteX133" fmla="*/ 2216441 w 12192000"/>
              <a:gd name="connsiteY133" fmla="*/ 399231 h 6760800"/>
              <a:gd name="connsiteX134" fmla="*/ 2222375 w 12192000"/>
              <a:gd name="connsiteY134" fmla="*/ 405162 h 6760800"/>
              <a:gd name="connsiteX135" fmla="*/ 2392986 w 12192000"/>
              <a:gd name="connsiteY135" fmla="*/ 405162 h 6760800"/>
              <a:gd name="connsiteX136" fmla="*/ 2398921 w 12192000"/>
              <a:gd name="connsiteY136" fmla="*/ 399231 h 6760800"/>
              <a:gd name="connsiteX137" fmla="*/ 2398921 w 12192000"/>
              <a:gd name="connsiteY137" fmla="*/ 313229 h 6760800"/>
              <a:gd name="connsiteX138" fmla="*/ 2306939 w 12192000"/>
              <a:gd name="connsiteY138" fmla="*/ 221296 h 6760800"/>
              <a:gd name="connsiteX139" fmla="*/ 0 w 12192000"/>
              <a:gd name="connsiteY139" fmla="*/ 0 h 6760800"/>
              <a:gd name="connsiteX140" fmla="*/ 12192000 w 12192000"/>
              <a:gd name="connsiteY140" fmla="*/ 0 h 6760800"/>
              <a:gd name="connsiteX141" fmla="*/ 12192000 w 12192000"/>
              <a:gd name="connsiteY141" fmla="*/ 27000 h 6760800"/>
              <a:gd name="connsiteX142" fmla="*/ 12192000 w 12192000"/>
              <a:gd name="connsiteY142" fmla="*/ 6760800 h 6760800"/>
              <a:gd name="connsiteX143" fmla="*/ 0 w 12192000"/>
              <a:gd name="connsiteY143" fmla="*/ 6760800 h 6760800"/>
              <a:gd name="connsiteX144" fmla="*/ 0 w 12192000"/>
              <a:gd name="connsiteY144" fmla="*/ 27000 h 676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2192000" h="6760800">
                <a:moveTo>
                  <a:pt x="1114141" y="543060"/>
                </a:moveTo>
                <a:cubicBezTo>
                  <a:pt x="1133427" y="543060"/>
                  <a:pt x="1142329" y="556406"/>
                  <a:pt x="1143812" y="584579"/>
                </a:cubicBezTo>
                <a:cubicBezTo>
                  <a:pt x="1143812" y="611269"/>
                  <a:pt x="1133427" y="624614"/>
                  <a:pt x="1114141" y="624614"/>
                </a:cubicBezTo>
                <a:cubicBezTo>
                  <a:pt x="1094854" y="624614"/>
                  <a:pt x="1084469" y="611269"/>
                  <a:pt x="1084469" y="584579"/>
                </a:cubicBezTo>
                <a:cubicBezTo>
                  <a:pt x="1084469" y="556406"/>
                  <a:pt x="1093371" y="543060"/>
                  <a:pt x="1114141" y="543060"/>
                </a:cubicBezTo>
                <a:close/>
                <a:moveTo>
                  <a:pt x="1324809" y="538613"/>
                </a:moveTo>
                <a:cubicBezTo>
                  <a:pt x="1347063" y="538613"/>
                  <a:pt x="1354481" y="553441"/>
                  <a:pt x="1354481" y="584579"/>
                </a:cubicBezTo>
                <a:cubicBezTo>
                  <a:pt x="1354481" y="615717"/>
                  <a:pt x="1347063" y="630545"/>
                  <a:pt x="1324809" y="630545"/>
                </a:cubicBezTo>
                <a:cubicBezTo>
                  <a:pt x="1304039" y="630545"/>
                  <a:pt x="1296621" y="615717"/>
                  <a:pt x="1295138" y="584579"/>
                </a:cubicBezTo>
                <a:cubicBezTo>
                  <a:pt x="1295138" y="553441"/>
                  <a:pt x="1302556" y="538613"/>
                  <a:pt x="1324809" y="538613"/>
                </a:cubicBezTo>
                <a:close/>
                <a:moveTo>
                  <a:pt x="1829226" y="529715"/>
                </a:moveTo>
                <a:cubicBezTo>
                  <a:pt x="1849996" y="529715"/>
                  <a:pt x="1860381" y="541577"/>
                  <a:pt x="1861865" y="563819"/>
                </a:cubicBezTo>
                <a:lnTo>
                  <a:pt x="1798071" y="563819"/>
                </a:lnTo>
                <a:cubicBezTo>
                  <a:pt x="1799554" y="541577"/>
                  <a:pt x="1809939" y="529715"/>
                  <a:pt x="1829226" y="529715"/>
                </a:cubicBezTo>
                <a:close/>
                <a:moveTo>
                  <a:pt x="562251" y="529715"/>
                </a:moveTo>
                <a:cubicBezTo>
                  <a:pt x="583021" y="529715"/>
                  <a:pt x="593406" y="541577"/>
                  <a:pt x="594889" y="563819"/>
                </a:cubicBezTo>
                <a:lnTo>
                  <a:pt x="531095" y="563819"/>
                </a:lnTo>
                <a:cubicBezTo>
                  <a:pt x="532579" y="541577"/>
                  <a:pt x="542964" y="529715"/>
                  <a:pt x="562251" y="529715"/>
                </a:cubicBezTo>
                <a:close/>
                <a:moveTo>
                  <a:pt x="1422726" y="494128"/>
                </a:moveTo>
                <a:lnTo>
                  <a:pt x="1480586" y="673545"/>
                </a:lnTo>
                <a:lnTo>
                  <a:pt x="1550314" y="673545"/>
                </a:lnTo>
                <a:lnTo>
                  <a:pt x="1577018" y="569751"/>
                </a:lnTo>
                <a:lnTo>
                  <a:pt x="1603723" y="673545"/>
                </a:lnTo>
                <a:lnTo>
                  <a:pt x="1676418" y="673545"/>
                </a:lnTo>
                <a:lnTo>
                  <a:pt x="1732794" y="494128"/>
                </a:lnTo>
                <a:lnTo>
                  <a:pt x="1664549" y="494128"/>
                </a:lnTo>
                <a:lnTo>
                  <a:pt x="1637845" y="603855"/>
                </a:lnTo>
                <a:lnTo>
                  <a:pt x="1609657" y="494128"/>
                </a:lnTo>
                <a:lnTo>
                  <a:pt x="1548830" y="494128"/>
                </a:lnTo>
                <a:lnTo>
                  <a:pt x="1520642" y="603855"/>
                </a:lnTo>
                <a:lnTo>
                  <a:pt x="1493938" y="494128"/>
                </a:lnTo>
                <a:close/>
                <a:moveTo>
                  <a:pt x="2072534" y="489680"/>
                </a:moveTo>
                <a:cubicBezTo>
                  <a:pt x="2042862" y="489680"/>
                  <a:pt x="2025059" y="500059"/>
                  <a:pt x="2016157" y="526750"/>
                </a:cubicBezTo>
                <a:lnTo>
                  <a:pt x="2016157" y="494128"/>
                </a:lnTo>
                <a:lnTo>
                  <a:pt x="1950880" y="494128"/>
                </a:lnTo>
                <a:lnTo>
                  <a:pt x="1950880" y="673545"/>
                </a:lnTo>
                <a:lnTo>
                  <a:pt x="2022092" y="673545"/>
                </a:lnTo>
                <a:lnTo>
                  <a:pt x="2022092" y="599406"/>
                </a:lnTo>
                <a:cubicBezTo>
                  <a:pt x="2022092" y="571233"/>
                  <a:pt x="2035444" y="559370"/>
                  <a:pt x="2063632" y="559370"/>
                </a:cubicBezTo>
                <a:cubicBezTo>
                  <a:pt x="2068083" y="559370"/>
                  <a:pt x="2072534" y="560854"/>
                  <a:pt x="2078468" y="560854"/>
                </a:cubicBezTo>
                <a:lnTo>
                  <a:pt x="2078468" y="489680"/>
                </a:lnTo>
                <a:cubicBezTo>
                  <a:pt x="2076984" y="489680"/>
                  <a:pt x="2074017" y="489680"/>
                  <a:pt x="2072534" y="489680"/>
                </a:cubicBezTo>
                <a:close/>
                <a:moveTo>
                  <a:pt x="807041" y="489680"/>
                </a:moveTo>
                <a:cubicBezTo>
                  <a:pt x="793688" y="489680"/>
                  <a:pt x="783303" y="492645"/>
                  <a:pt x="772918" y="497094"/>
                </a:cubicBezTo>
                <a:cubicBezTo>
                  <a:pt x="762533" y="503025"/>
                  <a:pt x="753632" y="510439"/>
                  <a:pt x="746214" y="520818"/>
                </a:cubicBezTo>
                <a:lnTo>
                  <a:pt x="746214" y="494128"/>
                </a:lnTo>
                <a:lnTo>
                  <a:pt x="682420" y="494128"/>
                </a:lnTo>
                <a:lnTo>
                  <a:pt x="682420" y="673545"/>
                </a:lnTo>
                <a:lnTo>
                  <a:pt x="750665" y="673545"/>
                </a:lnTo>
                <a:lnTo>
                  <a:pt x="750665" y="577164"/>
                </a:lnTo>
                <a:cubicBezTo>
                  <a:pt x="750665" y="566785"/>
                  <a:pt x="752148" y="559370"/>
                  <a:pt x="756599" y="553440"/>
                </a:cubicBezTo>
                <a:cubicBezTo>
                  <a:pt x="761050" y="548991"/>
                  <a:pt x="766984" y="546026"/>
                  <a:pt x="774402" y="546026"/>
                </a:cubicBezTo>
                <a:cubicBezTo>
                  <a:pt x="783303" y="546026"/>
                  <a:pt x="789238" y="547509"/>
                  <a:pt x="793688" y="553440"/>
                </a:cubicBezTo>
                <a:cubicBezTo>
                  <a:pt x="798139" y="559370"/>
                  <a:pt x="799623" y="568268"/>
                  <a:pt x="799623" y="580129"/>
                </a:cubicBezTo>
                <a:lnTo>
                  <a:pt x="799623" y="673545"/>
                </a:lnTo>
                <a:lnTo>
                  <a:pt x="869351" y="673545"/>
                </a:lnTo>
                <a:lnTo>
                  <a:pt x="869351" y="578647"/>
                </a:lnTo>
                <a:cubicBezTo>
                  <a:pt x="869351" y="566785"/>
                  <a:pt x="870834" y="559370"/>
                  <a:pt x="875285" y="553440"/>
                </a:cubicBezTo>
                <a:cubicBezTo>
                  <a:pt x="879736" y="548991"/>
                  <a:pt x="885670" y="546026"/>
                  <a:pt x="894572" y="546026"/>
                </a:cubicBezTo>
                <a:cubicBezTo>
                  <a:pt x="901990" y="546026"/>
                  <a:pt x="907924" y="548991"/>
                  <a:pt x="912375" y="553440"/>
                </a:cubicBezTo>
                <a:cubicBezTo>
                  <a:pt x="916825" y="559370"/>
                  <a:pt x="918309" y="566785"/>
                  <a:pt x="918309" y="578647"/>
                </a:cubicBezTo>
                <a:lnTo>
                  <a:pt x="918309" y="675029"/>
                </a:lnTo>
                <a:lnTo>
                  <a:pt x="988037" y="675029"/>
                </a:lnTo>
                <a:lnTo>
                  <a:pt x="988037" y="551957"/>
                </a:lnTo>
                <a:cubicBezTo>
                  <a:pt x="988037" y="532681"/>
                  <a:pt x="982103" y="516370"/>
                  <a:pt x="970234" y="505990"/>
                </a:cubicBezTo>
                <a:cubicBezTo>
                  <a:pt x="958366" y="495611"/>
                  <a:pt x="942046" y="489680"/>
                  <a:pt x="921276" y="489680"/>
                </a:cubicBezTo>
                <a:cubicBezTo>
                  <a:pt x="909408" y="489680"/>
                  <a:pt x="897539" y="492645"/>
                  <a:pt x="887154" y="497094"/>
                </a:cubicBezTo>
                <a:cubicBezTo>
                  <a:pt x="876769" y="501542"/>
                  <a:pt x="867867" y="510439"/>
                  <a:pt x="858966" y="520818"/>
                </a:cubicBezTo>
                <a:cubicBezTo>
                  <a:pt x="853032" y="510439"/>
                  <a:pt x="845614" y="501542"/>
                  <a:pt x="836712" y="497094"/>
                </a:cubicBezTo>
                <a:cubicBezTo>
                  <a:pt x="829294" y="492645"/>
                  <a:pt x="818909" y="489680"/>
                  <a:pt x="807041" y="489680"/>
                </a:cubicBezTo>
                <a:close/>
                <a:moveTo>
                  <a:pt x="1324809" y="488198"/>
                </a:moveTo>
                <a:cubicBezTo>
                  <a:pt x="1262499" y="488198"/>
                  <a:pt x="1223926" y="523785"/>
                  <a:pt x="1223926" y="584579"/>
                </a:cubicBezTo>
                <a:cubicBezTo>
                  <a:pt x="1223926" y="643890"/>
                  <a:pt x="1261015" y="680960"/>
                  <a:pt x="1324809" y="680960"/>
                </a:cubicBezTo>
                <a:cubicBezTo>
                  <a:pt x="1387120" y="680960"/>
                  <a:pt x="1425693" y="643890"/>
                  <a:pt x="1425693" y="584579"/>
                </a:cubicBezTo>
                <a:cubicBezTo>
                  <a:pt x="1425693" y="525268"/>
                  <a:pt x="1388603" y="488198"/>
                  <a:pt x="1324809" y="488198"/>
                </a:cubicBezTo>
                <a:close/>
                <a:moveTo>
                  <a:pt x="1136394" y="488198"/>
                </a:moveTo>
                <a:cubicBezTo>
                  <a:pt x="1111174" y="488198"/>
                  <a:pt x="1093371" y="497094"/>
                  <a:pt x="1078535" y="516370"/>
                </a:cubicBezTo>
                <a:lnTo>
                  <a:pt x="1078535" y="494128"/>
                </a:lnTo>
                <a:lnTo>
                  <a:pt x="1016225" y="494128"/>
                </a:lnTo>
                <a:lnTo>
                  <a:pt x="1016225" y="744719"/>
                </a:lnTo>
                <a:lnTo>
                  <a:pt x="1085953" y="744719"/>
                </a:lnTo>
                <a:lnTo>
                  <a:pt x="1085953" y="655753"/>
                </a:lnTo>
                <a:cubicBezTo>
                  <a:pt x="1097821" y="670580"/>
                  <a:pt x="1114141" y="677994"/>
                  <a:pt x="1136394" y="677994"/>
                </a:cubicBezTo>
                <a:cubicBezTo>
                  <a:pt x="1183869" y="677994"/>
                  <a:pt x="1215024" y="640925"/>
                  <a:pt x="1215024" y="583096"/>
                </a:cubicBezTo>
                <a:cubicBezTo>
                  <a:pt x="1215024" y="525268"/>
                  <a:pt x="1182385" y="488198"/>
                  <a:pt x="1136394" y="488198"/>
                </a:cubicBezTo>
                <a:close/>
                <a:moveTo>
                  <a:pt x="1829226" y="486714"/>
                </a:moveTo>
                <a:cubicBezTo>
                  <a:pt x="1765432" y="486714"/>
                  <a:pt x="1726859" y="523785"/>
                  <a:pt x="1726859" y="584578"/>
                </a:cubicBezTo>
                <a:cubicBezTo>
                  <a:pt x="1726859" y="642407"/>
                  <a:pt x="1765432" y="679476"/>
                  <a:pt x="1827742" y="679476"/>
                </a:cubicBezTo>
                <a:cubicBezTo>
                  <a:pt x="1884118" y="679476"/>
                  <a:pt x="1916757" y="658717"/>
                  <a:pt x="1927142" y="620165"/>
                </a:cubicBezTo>
                <a:lnTo>
                  <a:pt x="1927142" y="618683"/>
                </a:lnTo>
                <a:lnTo>
                  <a:pt x="1857414" y="618683"/>
                </a:lnTo>
                <a:cubicBezTo>
                  <a:pt x="1854447" y="627579"/>
                  <a:pt x="1844062" y="633510"/>
                  <a:pt x="1830710" y="633510"/>
                </a:cubicBezTo>
                <a:cubicBezTo>
                  <a:pt x="1809939" y="633510"/>
                  <a:pt x="1798071" y="620165"/>
                  <a:pt x="1798071" y="597924"/>
                </a:cubicBezTo>
                <a:lnTo>
                  <a:pt x="1931593" y="597924"/>
                </a:lnTo>
                <a:cubicBezTo>
                  <a:pt x="1931593" y="596441"/>
                  <a:pt x="1931593" y="594957"/>
                  <a:pt x="1931593" y="593475"/>
                </a:cubicBezTo>
                <a:cubicBezTo>
                  <a:pt x="1931593" y="526750"/>
                  <a:pt x="1893020" y="486714"/>
                  <a:pt x="1829226" y="486714"/>
                </a:cubicBezTo>
                <a:close/>
                <a:moveTo>
                  <a:pt x="560767" y="486714"/>
                </a:moveTo>
                <a:cubicBezTo>
                  <a:pt x="496973" y="486714"/>
                  <a:pt x="458400" y="523785"/>
                  <a:pt x="458400" y="584578"/>
                </a:cubicBezTo>
                <a:cubicBezTo>
                  <a:pt x="458400" y="642407"/>
                  <a:pt x="496973" y="679476"/>
                  <a:pt x="559283" y="679476"/>
                </a:cubicBezTo>
                <a:cubicBezTo>
                  <a:pt x="615659" y="679476"/>
                  <a:pt x="648298" y="658717"/>
                  <a:pt x="658683" y="620165"/>
                </a:cubicBezTo>
                <a:lnTo>
                  <a:pt x="658683" y="618683"/>
                </a:lnTo>
                <a:lnTo>
                  <a:pt x="588955" y="618683"/>
                </a:lnTo>
                <a:cubicBezTo>
                  <a:pt x="585988" y="627579"/>
                  <a:pt x="575603" y="633510"/>
                  <a:pt x="562251" y="633510"/>
                </a:cubicBezTo>
                <a:cubicBezTo>
                  <a:pt x="541480" y="633510"/>
                  <a:pt x="529612" y="620165"/>
                  <a:pt x="529612" y="597924"/>
                </a:cubicBezTo>
                <a:lnTo>
                  <a:pt x="663134" y="597924"/>
                </a:lnTo>
                <a:cubicBezTo>
                  <a:pt x="663134" y="596441"/>
                  <a:pt x="663134" y="594957"/>
                  <a:pt x="663134" y="593475"/>
                </a:cubicBezTo>
                <a:cubicBezTo>
                  <a:pt x="663134" y="526750"/>
                  <a:pt x="624561" y="486714"/>
                  <a:pt x="560767" y="486714"/>
                </a:cubicBezTo>
                <a:close/>
                <a:moveTo>
                  <a:pt x="2222374" y="428886"/>
                </a:moveTo>
                <a:lnTo>
                  <a:pt x="2216440" y="434817"/>
                </a:lnTo>
                <a:lnTo>
                  <a:pt x="2216440" y="535647"/>
                </a:lnTo>
                <a:lnTo>
                  <a:pt x="2222374" y="541578"/>
                </a:lnTo>
                <a:lnTo>
                  <a:pt x="2323258" y="541578"/>
                </a:lnTo>
                <a:lnTo>
                  <a:pt x="2329192" y="535647"/>
                </a:lnTo>
                <a:lnTo>
                  <a:pt x="2329192" y="434817"/>
                </a:lnTo>
                <a:lnTo>
                  <a:pt x="2323258" y="428886"/>
                </a:lnTo>
                <a:close/>
                <a:moveTo>
                  <a:pt x="2140777" y="428886"/>
                </a:moveTo>
                <a:lnTo>
                  <a:pt x="2134843" y="434817"/>
                </a:lnTo>
                <a:lnTo>
                  <a:pt x="2134843" y="479301"/>
                </a:lnTo>
                <a:lnTo>
                  <a:pt x="2140777" y="485232"/>
                </a:lnTo>
                <a:lnTo>
                  <a:pt x="2185285" y="485232"/>
                </a:lnTo>
                <a:lnTo>
                  <a:pt x="2191219" y="479301"/>
                </a:lnTo>
                <a:lnTo>
                  <a:pt x="2191219" y="434817"/>
                </a:lnTo>
                <a:lnTo>
                  <a:pt x="2185285" y="428886"/>
                </a:lnTo>
                <a:close/>
                <a:moveTo>
                  <a:pt x="2084401" y="292469"/>
                </a:moveTo>
                <a:lnTo>
                  <a:pt x="2078467" y="298400"/>
                </a:lnTo>
                <a:lnTo>
                  <a:pt x="2078467" y="399230"/>
                </a:lnTo>
                <a:lnTo>
                  <a:pt x="2084401" y="405161"/>
                </a:lnTo>
                <a:lnTo>
                  <a:pt x="2185285" y="405161"/>
                </a:lnTo>
                <a:lnTo>
                  <a:pt x="2191219" y="399230"/>
                </a:lnTo>
                <a:lnTo>
                  <a:pt x="2191219" y="298400"/>
                </a:lnTo>
                <a:lnTo>
                  <a:pt x="2185285" y="292469"/>
                </a:lnTo>
                <a:close/>
                <a:moveTo>
                  <a:pt x="2222375" y="221296"/>
                </a:moveTo>
                <a:lnTo>
                  <a:pt x="2214957" y="227227"/>
                </a:lnTo>
                <a:lnTo>
                  <a:pt x="2216441" y="399231"/>
                </a:lnTo>
                <a:lnTo>
                  <a:pt x="2222375" y="405162"/>
                </a:lnTo>
                <a:lnTo>
                  <a:pt x="2392986" y="405162"/>
                </a:lnTo>
                <a:lnTo>
                  <a:pt x="2398921" y="399231"/>
                </a:lnTo>
                <a:lnTo>
                  <a:pt x="2398921" y="313229"/>
                </a:lnTo>
                <a:lnTo>
                  <a:pt x="2306939" y="221296"/>
                </a:lnTo>
                <a:close/>
                <a:moveTo>
                  <a:pt x="0" y="0"/>
                </a:moveTo>
                <a:lnTo>
                  <a:pt x="12192000" y="0"/>
                </a:lnTo>
                <a:lnTo>
                  <a:pt x="12192000" y="27000"/>
                </a:lnTo>
                <a:lnTo>
                  <a:pt x="12192000" y="6760800"/>
                </a:lnTo>
                <a:lnTo>
                  <a:pt x="0" y="6760800"/>
                </a:lnTo>
                <a:lnTo>
                  <a:pt x="0" y="27000"/>
                </a:lnTo>
                <a:close/>
              </a:path>
            </a:pathLst>
          </a:custGeom>
          <a:solidFill>
            <a:schemeClr val="accent1"/>
          </a:solidFill>
        </p:spPr>
        <p:txBody>
          <a:bodyPr vert="horz" wrap="square" lIns="0" tIns="0" rIns="0" bIns="3276000" rtlCol="0" anchor="ctr">
            <a:noAutofit/>
          </a:bodyPr>
          <a:lstStyle>
            <a:lvl1pPr algn="ctr">
              <a:spcBef>
                <a:spcPts val="0"/>
              </a:spcBef>
              <a:spcAft>
                <a:spcPts val="0"/>
              </a:spcAft>
              <a:defRPr lang="de-DE" sz="2000" i="0" noProof="0" dirty="0">
                <a:solidFill>
                  <a:schemeClr val="bg1"/>
                </a:solidFill>
                <a:latin typeface="+mj-lt"/>
              </a:defRPr>
            </a:lvl1pPr>
          </a:lstStyle>
          <a:p>
            <a:pPr marL="0" lvl="0" indent="0" algn="ctr">
              <a:buNone/>
            </a:pPr>
            <a:r>
              <a:rPr lang="de-DE" noProof="0" dirty="0" err="1"/>
              <a:t>Please</a:t>
            </a:r>
            <a:r>
              <a:rPr lang="de-DE" noProof="0" dirty="0"/>
              <a:t> </a:t>
            </a:r>
            <a:r>
              <a:rPr lang="de-DE" noProof="0" dirty="0" err="1"/>
              <a:t>click</a:t>
            </a:r>
            <a:r>
              <a:rPr lang="de-DE" noProof="0" dirty="0"/>
              <a:t> </a:t>
            </a:r>
            <a:r>
              <a:rPr lang="de-DE" noProof="0" dirty="0" err="1"/>
              <a:t>here</a:t>
            </a:r>
            <a:r>
              <a:rPr lang="de-DE" noProof="0" dirty="0"/>
              <a:t> and </a:t>
            </a:r>
            <a:r>
              <a:rPr lang="de-DE" noProof="0" dirty="0" err="1"/>
              <a:t>insert</a:t>
            </a:r>
            <a:r>
              <a:rPr lang="de-DE" noProof="0" dirty="0"/>
              <a:t> a </a:t>
            </a:r>
            <a:r>
              <a:rPr lang="de-DE" noProof="0" dirty="0" err="1"/>
              <a:t>picture</a:t>
            </a:r>
            <a:r>
              <a:rPr lang="de-DE" noProof="0" dirty="0"/>
              <a:t> </a:t>
            </a:r>
            <a:br>
              <a:rPr lang="de-DE" noProof="0" dirty="0"/>
            </a:br>
            <a:endParaRPr lang="de-DE" noProof="0" dirty="0"/>
          </a:p>
        </p:txBody>
      </p:sp>
      <p:sp>
        <p:nvSpPr>
          <p:cNvPr id="13" name="Titel 12">
            <a:extLst>
              <a:ext uri="{FF2B5EF4-FFF2-40B4-BE49-F238E27FC236}">
                <a16:creationId xmlns:a16="http://schemas.microsoft.com/office/drawing/2014/main" id="{D5EF7968-483B-45DB-96A0-41EC9F5DD790}"/>
              </a:ext>
            </a:extLst>
          </p:cNvPr>
          <p:cNvSpPr>
            <a:spLocks noGrp="1"/>
          </p:cNvSpPr>
          <p:nvPr>
            <p:ph type="title" hasCustomPrompt="1"/>
          </p:nvPr>
        </p:nvSpPr>
        <p:spPr>
          <a:xfrm>
            <a:off x="2013579" y="2359025"/>
            <a:ext cx="8164842" cy="1944775"/>
          </a:xfrm>
          <a:custGeom>
            <a:avLst/>
            <a:gdLst>
              <a:gd name="connsiteX0" fmla="*/ 0 w 8164842"/>
              <a:gd name="connsiteY0" fmla="*/ 0 h 1944775"/>
              <a:gd name="connsiteX1" fmla="*/ 8164842 w 8164842"/>
              <a:gd name="connsiteY1" fmla="*/ 0 h 1944775"/>
              <a:gd name="connsiteX2" fmla="*/ 8164842 w 8164842"/>
              <a:gd name="connsiteY2" fmla="*/ 1944775 h 1944775"/>
              <a:gd name="connsiteX3" fmla="*/ 0 w 8164842"/>
              <a:gd name="connsiteY3" fmla="*/ 1944775 h 1944775"/>
            </a:gdLst>
            <a:ahLst/>
            <a:cxnLst>
              <a:cxn ang="0">
                <a:pos x="connsiteX0" y="connsiteY0"/>
              </a:cxn>
              <a:cxn ang="0">
                <a:pos x="connsiteX1" y="connsiteY1"/>
              </a:cxn>
              <a:cxn ang="0">
                <a:pos x="connsiteX2" y="connsiteY2"/>
              </a:cxn>
              <a:cxn ang="0">
                <a:pos x="connsiteX3" y="connsiteY3"/>
              </a:cxn>
            </a:cxnLst>
            <a:rect l="l" t="t" r="r" b="b"/>
            <a:pathLst>
              <a:path w="8164842" h="1944775">
                <a:moveTo>
                  <a:pt x="0" y="0"/>
                </a:moveTo>
                <a:lnTo>
                  <a:pt x="8164842" y="0"/>
                </a:lnTo>
                <a:lnTo>
                  <a:pt x="8164842" y="1944775"/>
                </a:lnTo>
                <a:lnTo>
                  <a:pt x="0" y="1944775"/>
                </a:lnTo>
                <a:close/>
              </a:path>
            </a:pathLst>
          </a:custGeom>
        </p:spPr>
        <p:txBody>
          <a:bodyPr vert="horz" wrap="square" lIns="0" tIns="97200" rIns="0" bIns="97200" rtlCol="0" anchor="b" anchorCtr="0">
            <a:noAutofit/>
          </a:bodyPr>
          <a:lstStyle>
            <a:lvl1pPr algn="ctr">
              <a:lnSpc>
                <a:spcPts val="7000"/>
              </a:lnSpc>
              <a:defRPr lang="de-DE" sz="7200" b="0" i="0" spc="-300" baseline="0" dirty="0">
                <a:solidFill>
                  <a:schemeClr val="bg1"/>
                </a:solidFill>
                <a:latin typeface="Segoe UI Semibold" panose="020B0502040204020203" pitchFamily="34" charset="0"/>
                <a:cs typeface="Segoe UI Semibold" panose="020B0502040204020203" pitchFamily="34" charset="0"/>
              </a:defRPr>
            </a:lvl1pPr>
          </a:lstStyle>
          <a:p>
            <a:pPr lvl="0"/>
            <a:r>
              <a:rPr lang="en-US" noProof="0" dirty="0"/>
              <a:t>Click to edit Master title style</a:t>
            </a:r>
            <a:endParaRPr lang="de-DE" noProof="0" dirty="0"/>
          </a:p>
        </p:txBody>
      </p:sp>
      <p:sp>
        <p:nvSpPr>
          <p:cNvPr id="3" name="Subtitle">
            <a:extLst>
              <a:ext uri="{FF2B5EF4-FFF2-40B4-BE49-F238E27FC236}">
                <a16:creationId xmlns:a16="http://schemas.microsoft.com/office/drawing/2014/main" id="{6A1564E3-F5C6-4926-B102-8F6E6F83E8F3}"/>
              </a:ext>
            </a:extLst>
          </p:cNvPr>
          <p:cNvSpPr>
            <a:spLocks noGrp="1"/>
          </p:cNvSpPr>
          <p:nvPr>
            <p:ph type="subTitle" idx="1" hasCustomPrompt="1"/>
          </p:nvPr>
        </p:nvSpPr>
        <p:spPr>
          <a:xfrm>
            <a:off x="2013600" y="4303800"/>
            <a:ext cx="8165450" cy="971463"/>
          </a:xfrm>
          <a:prstGeom prst="rect">
            <a:avLst/>
          </a:prstGeom>
        </p:spPr>
        <p:txBody>
          <a:bodyPr vert="horz" lIns="0" tIns="0" rIns="0" bIns="0" rtlCol="0">
            <a:noAutofit/>
          </a:bodyPr>
          <a:lstStyle>
            <a:lvl1pPr algn="ctr">
              <a:lnSpc>
                <a:spcPct val="100000"/>
              </a:lnSpc>
              <a:defRPr lang="de-DE" sz="2400" b="0" baseline="0" dirty="0">
                <a:solidFill>
                  <a:schemeClr val="bg1"/>
                </a:solidFill>
                <a:latin typeface="+mj-lt"/>
                <a:ea typeface="+mj-ea"/>
                <a:cs typeface="+mj-cs"/>
              </a:defRPr>
            </a:lvl1pPr>
          </a:lstStyle>
          <a:p>
            <a:pPr lvl="0" algn="ctr" defTabSz="972000">
              <a:lnSpc>
                <a:spcPct val="100000"/>
              </a:lnSpc>
              <a:buClr>
                <a:schemeClr val="tx2"/>
              </a:buClr>
            </a:pPr>
            <a:r>
              <a:rPr lang="de-DE" dirty="0"/>
              <a:t>Master-Untertitelformat bearbeiten</a:t>
            </a:r>
          </a:p>
        </p:txBody>
      </p:sp>
      <p:sp>
        <p:nvSpPr>
          <p:cNvPr id="133" name="Datumsplatzhalter 132" hidden="1">
            <a:extLst>
              <a:ext uri="{FF2B5EF4-FFF2-40B4-BE49-F238E27FC236}">
                <a16:creationId xmlns:a16="http://schemas.microsoft.com/office/drawing/2014/main" id="{CF2460D3-1367-4056-BB37-5940795BD604}"/>
              </a:ext>
            </a:extLst>
          </p:cNvPr>
          <p:cNvSpPr>
            <a:spLocks noGrp="1"/>
          </p:cNvSpPr>
          <p:nvPr>
            <p:ph type="dt" sz="half" idx="14"/>
          </p:nvPr>
        </p:nvSpPr>
        <p:spPr/>
        <p:txBody>
          <a:bodyPr/>
          <a:lstStyle/>
          <a:p>
            <a:endParaRPr lang="de-DE"/>
          </a:p>
        </p:txBody>
      </p:sp>
      <p:sp>
        <p:nvSpPr>
          <p:cNvPr id="134" name="Fußzeilenplatzhalter 133" hidden="1">
            <a:extLst>
              <a:ext uri="{FF2B5EF4-FFF2-40B4-BE49-F238E27FC236}">
                <a16:creationId xmlns:a16="http://schemas.microsoft.com/office/drawing/2014/main" id="{2F93CA02-0090-4D10-9DCE-B182CCE0AF55}"/>
              </a:ext>
            </a:extLst>
          </p:cNvPr>
          <p:cNvSpPr>
            <a:spLocks noGrp="1"/>
          </p:cNvSpPr>
          <p:nvPr>
            <p:ph type="ftr" sz="quarter" idx="15"/>
          </p:nvPr>
        </p:nvSpPr>
        <p:spPr/>
        <p:txBody>
          <a:bodyPr/>
          <a:lstStyle/>
          <a:p>
            <a:endParaRPr lang="de-DE"/>
          </a:p>
        </p:txBody>
      </p:sp>
      <p:sp>
        <p:nvSpPr>
          <p:cNvPr id="135" name="Foliennummernplatzhalter 134" hidden="1">
            <a:extLst>
              <a:ext uri="{FF2B5EF4-FFF2-40B4-BE49-F238E27FC236}">
                <a16:creationId xmlns:a16="http://schemas.microsoft.com/office/drawing/2014/main" id="{CB30FC07-0889-4C45-8353-1A92537EB00F}"/>
              </a:ext>
            </a:extLst>
          </p:cNvPr>
          <p:cNvSpPr>
            <a:spLocks noGrp="1"/>
          </p:cNvSpPr>
          <p:nvPr>
            <p:ph type="sldNum" sz="quarter" idx="16"/>
          </p:nvPr>
        </p:nvSpPr>
        <p:spPr/>
        <p:txBody>
          <a:bodyPr/>
          <a:lstStyle/>
          <a:p>
            <a:fld id="{895CC360-39D1-4D3A-B6C9-5AECCFD4809A}" type="slidenum">
              <a:rPr lang="de-DE"/>
              <a:pPr/>
              <a:t>‹Nr.›</a:t>
            </a:fld>
            <a:endParaRPr lang="de-DE"/>
          </a:p>
        </p:txBody>
      </p:sp>
      <p:sp>
        <p:nvSpPr>
          <p:cNvPr id="2" name="Master field_Confidentiality EN" hidden="1">
            <a:extLst>
              <a:ext uri="{FF2B5EF4-FFF2-40B4-BE49-F238E27FC236}">
                <a16:creationId xmlns:a16="http://schemas.microsoft.com/office/drawing/2014/main" id="{3FC74506-C830-4435-A307-6BE92497A7A3}"/>
              </a:ext>
            </a:extLst>
          </p:cNvPr>
          <p:cNvSpPr txBox="1">
            <a:spLocks/>
          </p:cNvSpPr>
          <p:nvPr userDrawn="1">
            <p:custDataLst>
              <p:tags r:id="rId1"/>
            </p:custDataLst>
          </p:nvPr>
        </p:nvSpPr>
        <p:spPr>
          <a:xfrm>
            <a:off x="4346400" y="6636601"/>
            <a:ext cx="3499200" cy="194415"/>
          </a:xfrm>
          <a:prstGeom prst="rect">
            <a:avLst/>
          </a:prstGeom>
          <a:noFill/>
        </p:spPr>
        <p:txBody>
          <a:bodyPr vert="horz" wrap="square" lIns="0" tIns="0" rIns="0" bIns="0" rtlCol="0">
            <a:noAutofit/>
          </a:bodyPr>
          <a:lstStyle/>
          <a:p>
            <a:pPr marL="457200" lvl="1" indent="-457200" algn="ctr">
              <a:buFont typeface="+mj-lt"/>
              <a:buNone/>
            </a:pPr>
            <a:endParaRPr lang="de-DE" sz="900" b="1"/>
          </a:p>
        </p:txBody>
      </p:sp>
      <p:sp>
        <p:nvSpPr>
          <p:cNvPr id="4" name="Masterfeld_Vertraulichkeit DE" hidden="1">
            <a:extLst>
              <a:ext uri="{FF2B5EF4-FFF2-40B4-BE49-F238E27FC236}">
                <a16:creationId xmlns:a16="http://schemas.microsoft.com/office/drawing/2014/main" id="{8E2716C5-029D-4FAE-B39A-DF13611ADF81}"/>
              </a:ext>
            </a:extLst>
          </p:cNvPr>
          <p:cNvSpPr txBox="1">
            <a:spLocks/>
          </p:cNvSpPr>
          <p:nvPr userDrawn="1">
            <p:custDataLst>
              <p:tags r:id="rId2"/>
            </p:custDataLst>
          </p:nvPr>
        </p:nvSpPr>
        <p:spPr>
          <a:xfrm>
            <a:off x="4346400" y="6636601"/>
            <a:ext cx="3499200" cy="194415"/>
          </a:xfrm>
          <a:prstGeom prst="rect">
            <a:avLst/>
          </a:prstGeom>
          <a:noFill/>
        </p:spPr>
        <p:txBody>
          <a:bodyPr vert="horz" wrap="square" lIns="0" tIns="0" rIns="0" bIns="0" rtlCol="0">
            <a:noAutofit/>
          </a:bodyPr>
          <a:lstStyle/>
          <a:p>
            <a:pPr marL="457200" lvl="1" indent="-457200" algn="ctr">
              <a:buFont typeface="+mj-lt"/>
              <a:buNone/>
            </a:pPr>
            <a:endParaRPr lang="de-DE" sz="900"/>
          </a:p>
        </p:txBody>
      </p:sp>
    </p:spTree>
    <p:extLst>
      <p:ext uri="{BB962C8B-B14F-4D97-AF65-F5344CB8AC3E}">
        <p14:creationId xmlns:p14="http://schemas.microsoft.com/office/powerpoint/2010/main" val="914519248"/>
      </p:ext>
    </p:extLst>
  </p:cSld>
  <p:clrMapOvr>
    <a:masterClrMapping/>
  </p:clrMapOvr>
  <mc:AlternateContent xmlns:mc="http://schemas.openxmlformats.org/markup-compatibility/2006" xmlns:p14="http://schemas.microsoft.com/office/powerpoint/2010/main">
    <mc:Choice Requires="p14">
      <p:transition spd="med">
        <p14:pan/>
      </p:transition>
    </mc:Choice>
    <mc:Fallback xmlns:p15="http://schemas.microsoft.com/office/powerpoint/2012/main" xmlns:a16="http://schemas.microsoft.com/office/drawing/2014/main" xmlns="">
      <p:transition spd="med">
        <p:fade/>
      </p:transition>
    </mc:Fallback>
  </mc:AlternateContent>
  <p:hf sldNum="0" hdr="0" ftr="0" dt="0"/>
  <p:extLst>
    <p:ext uri="{DCECCB84-F9BA-43D5-87BE-67443E8EF086}">
      <p15:sldGuideLst xmlns:p15="http://schemas.microsoft.com/office/powerpoint/2012/main">
        <p15:guide id="1" pos="1268">
          <p15:clr>
            <a:srgbClr val="547EBF"/>
          </p15:clr>
        </p15:guide>
        <p15:guide id="2" pos="6412">
          <p15:clr>
            <a:srgbClr val="547EBF"/>
          </p15:clr>
        </p15:guide>
        <p15:guide id="3" orient="horz" pos="1486">
          <p15:clr>
            <a:srgbClr val="547EBF"/>
          </p15:clr>
        </p15:guide>
        <p15:guide id="4" orient="horz" pos="2711">
          <p15:clr>
            <a:srgbClr val="547EBF"/>
          </p15:clr>
        </p15:guide>
        <p15:guide id="5" orient="horz" pos="332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xAndClipArt" preserve="1">
  <p:cSld name="Content with&#10;2/3 imag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7D4DF720-FC23-45C2-8016-3D431C0FE280}"/>
              </a:ext>
            </a:extLst>
          </p:cNvPr>
          <p:cNvSpPr>
            <a:spLocks noGrp="1"/>
          </p:cNvSpPr>
          <p:nvPr>
            <p:ph type="title"/>
          </p:nvPr>
        </p:nvSpPr>
        <p:spPr>
          <a:xfrm>
            <a:off x="458400" y="318601"/>
            <a:ext cx="7387200" cy="583200"/>
          </a:xfrm>
        </p:spPr>
        <p:txBody>
          <a:bodyPr/>
          <a:lstStyle/>
          <a:p>
            <a:r>
              <a:rPr lang="en-US"/>
              <a:t>Click to edit Master title style</a:t>
            </a:r>
          </a:p>
        </p:txBody>
      </p:sp>
      <p:sp>
        <p:nvSpPr>
          <p:cNvPr id="7" name="Content placeholder">
            <a:extLst>
              <a:ext uri="{FF2B5EF4-FFF2-40B4-BE49-F238E27FC236}">
                <a16:creationId xmlns:a16="http://schemas.microsoft.com/office/drawing/2014/main" id="{EF6A0E3D-0F3F-48A4-8CB4-3ED3260C86C0}"/>
              </a:ext>
            </a:extLst>
          </p:cNvPr>
          <p:cNvSpPr>
            <a:spLocks noGrp="1"/>
          </p:cNvSpPr>
          <p:nvPr>
            <p:ph sz="quarter" idx="13"/>
          </p:nvPr>
        </p:nvSpPr>
        <p:spPr>
          <a:xfrm>
            <a:off x="458788" y="1387475"/>
            <a:ext cx="7386812" cy="5054600"/>
          </a:xfrm>
        </p:spPr>
        <p:txBody>
          <a:bodyPr>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8" name="Picture placeholder">
            <a:extLst>
              <a:ext uri="{FF2B5EF4-FFF2-40B4-BE49-F238E27FC236}">
                <a16:creationId xmlns:a16="http://schemas.microsoft.com/office/drawing/2014/main" id="{D8C158F4-8406-4C77-8504-FFCC13CA1F89}"/>
              </a:ext>
            </a:extLst>
          </p:cNvPr>
          <p:cNvSpPr>
            <a:spLocks noGrp="1"/>
          </p:cNvSpPr>
          <p:nvPr>
            <p:ph type="pic" sz="quarter" idx="14"/>
          </p:nvPr>
        </p:nvSpPr>
        <p:spPr>
          <a:xfrm>
            <a:off x="8234400" y="97199"/>
            <a:ext cx="3957600" cy="6760801"/>
          </a:xfrm>
          <a:solidFill>
            <a:schemeClr val="bg1"/>
          </a:solidFill>
        </p:spPr>
        <p:txBody>
          <a:bodyPr vert="horz" wrap="square" lIns="0" tIns="0" rIns="0" bIns="756000" rtlCol="0" anchor="ctr">
            <a:noAutofit/>
          </a:bodyPr>
          <a:lstStyle>
            <a:lvl1pPr>
              <a:defRPr lang="en-US"/>
            </a:lvl1pPr>
          </a:lstStyle>
          <a:p>
            <a:pPr lvl="0" algn="ctr"/>
            <a:r>
              <a:rPr lang="en-US"/>
              <a:t>Click icon to add picture</a:t>
            </a:r>
          </a:p>
        </p:txBody>
      </p:sp>
      <p:sp>
        <p:nvSpPr>
          <p:cNvPr id="3" name="Datumsplatzhalter 2">
            <a:extLst>
              <a:ext uri="{FF2B5EF4-FFF2-40B4-BE49-F238E27FC236}">
                <a16:creationId xmlns:a16="http://schemas.microsoft.com/office/drawing/2014/main" id="{E17BD5A3-FD1B-4133-B010-6FFA76FD43FE}"/>
              </a:ext>
            </a:extLst>
          </p:cNvPr>
          <p:cNvSpPr>
            <a:spLocks noGrp="1"/>
          </p:cNvSpPr>
          <p:nvPr>
            <p:ph type="dt" sz="half" idx="10"/>
          </p:nvPr>
        </p:nvSpPr>
        <p:spPr/>
        <p:txBody>
          <a:bodyPr/>
          <a:lstStyle/>
          <a:p>
            <a:endParaRPr lang="en-US"/>
          </a:p>
        </p:txBody>
      </p:sp>
      <p:sp>
        <p:nvSpPr>
          <p:cNvPr id="4" name="Fußzeilenplatzhalter 3">
            <a:extLst>
              <a:ext uri="{FF2B5EF4-FFF2-40B4-BE49-F238E27FC236}">
                <a16:creationId xmlns:a16="http://schemas.microsoft.com/office/drawing/2014/main" id="{D7822A3E-E60C-4747-89A1-27BFCBA559C8}"/>
              </a:ext>
            </a:extLst>
          </p:cNvPr>
          <p:cNvSpPr>
            <a:spLocks noGrp="1"/>
          </p:cNvSpPr>
          <p:nvPr>
            <p:ph type="ftr" sz="quarter" idx="11"/>
          </p:nvPr>
        </p:nvSpPr>
        <p:spPr/>
        <p:txBody>
          <a:bodyPr/>
          <a:lstStyle/>
          <a:p>
            <a:endParaRPr lang="en-US"/>
          </a:p>
        </p:txBody>
      </p:sp>
      <p:sp>
        <p:nvSpPr>
          <p:cNvPr id="5" name="Foliennummernplatzhalter 4">
            <a:extLst>
              <a:ext uri="{FF2B5EF4-FFF2-40B4-BE49-F238E27FC236}">
                <a16:creationId xmlns:a16="http://schemas.microsoft.com/office/drawing/2014/main" id="{9190479B-AEF2-40F1-BB30-D531AD0F30ED}"/>
              </a:ext>
            </a:extLst>
          </p:cNvPr>
          <p:cNvSpPr>
            <a:spLocks noGrp="1"/>
          </p:cNvSpPr>
          <p:nvPr>
            <p:ph type="sldNum" sz="quarter" idx="12"/>
          </p:nvPr>
        </p:nvSpPr>
        <p:spPr/>
        <p:txBody>
          <a:bodyPr/>
          <a:lstStyle/>
          <a:p>
            <a:fld id="{895CC360-39D1-4D3A-B6C9-5AECCFD4809A}" type="slidenum">
              <a:rPr lang="en-US"/>
              <a:pPr/>
              <a:t>‹Nr.›</a:t>
            </a:fld>
            <a:endParaRPr lang="en-US"/>
          </a:p>
        </p:txBody>
      </p:sp>
      <p:sp>
        <p:nvSpPr>
          <p:cNvPr id="10" name="Layoutschutz" hidden="1">
            <a:extLst>
              <a:ext uri="{FF2B5EF4-FFF2-40B4-BE49-F238E27FC236}">
                <a16:creationId xmlns:a16="http://schemas.microsoft.com/office/drawing/2014/main" id="{2C74372E-B21D-4B8A-81C0-EC3BD137CFA1}"/>
              </a:ext>
            </a:extLst>
          </p:cNvPr>
          <p:cNvSpPr/>
          <p:nvPr userDrawn="1">
            <p:custDataLst>
              <p:tags r:id="rId1"/>
            </p:custDataLst>
          </p:nvPr>
        </p:nvSpPr>
        <p:spPr>
          <a:xfrm>
            <a:off x="254000" y="1295400"/>
            <a:ext cx="11760200" cy="55626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2146229705"/>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hf sldNum="0" hdr="0" ftr="0" dt="0"/>
  <p:extLst>
    <p:ext uri="{DCECCB84-F9BA-43D5-87BE-67443E8EF086}">
      <p15:sldGuideLst xmlns:p15="http://schemas.microsoft.com/office/powerpoint/2012/main">
        <p15:guide id="1" pos="5187">
          <p15:clr>
            <a:srgbClr val="547EBF"/>
          </p15:clr>
        </p15:guide>
        <p15:guide id="2" pos="4942">
          <p15:clr>
            <a:srgbClr val="547EBF"/>
          </p15:clr>
        </p15:guide>
        <p15:guide id="3" pos="289">
          <p15:clr>
            <a:srgbClr val="547EBF"/>
          </p15:clr>
        </p15:guide>
        <p15:guide id="4" orient="horz" pos="201">
          <p15:clr>
            <a:srgbClr val="547EBF"/>
          </p15:clr>
        </p15:guide>
        <p15:guide id="6" orient="horz" pos="874">
          <p15:clr>
            <a:srgbClr val="547EBF"/>
          </p15:clr>
        </p15:guide>
        <p15:guide id="7" orient="horz" pos="4058">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mediaAndTx" preserve="1">
  <p:cSld name="Statement&#10;with imag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8DA59A2-B45F-4067-8FD9-D1BEC70D1968}"/>
              </a:ext>
            </a:extLst>
          </p:cNvPr>
          <p:cNvSpPr>
            <a:spLocks noGrp="1"/>
          </p:cNvSpPr>
          <p:nvPr>
            <p:ph type="title"/>
          </p:nvPr>
        </p:nvSpPr>
        <p:spPr>
          <a:xfrm>
            <a:off x="458400" y="318600"/>
            <a:ext cx="3499200" cy="2624399"/>
          </a:xfrm>
        </p:spPr>
        <p:txBody>
          <a:bodyPr anchor="b"/>
          <a:lstStyle/>
          <a:p>
            <a:r>
              <a:rPr lang="en-US"/>
              <a:t>Click to edit Master title style</a:t>
            </a:r>
          </a:p>
        </p:txBody>
      </p:sp>
      <p:sp>
        <p:nvSpPr>
          <p:cNvPr id="7" name="Text placeholder">
            <a:extLst>
              <a:ext uri="{FF2B5EF4-FFF2-40B4-BE49-F238E27FC236}">
                <a16:creationId xmlns:a16="http://schemas.microsoft.com/office/drawing/2014/main" id="{27B26DE4-3790-4A19-B48A-06E2CC45DF8F}"/>
              </a:ext>
            </a:extLst>
          </p:cNvPr>
          <p:cNvSpPr>
            <a:spLocks noGrp="1"/>
          </p:cNvSpPr>
          <p:nvPr>
            <p:ph type="body" sz="quarter" idx="13" hasCustomPrompt="1"/>
          </p:nvPr>
        </p:nvSpPr>
        <p:spPr>
          <a:xfrm>
            <a:off x="458788" y="2943225"/>
            <a:ext cx="3498850" cy="34988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Picture placeholder">
            <a:extLst>
              <a:ext uri="{FF2B5EF4-FFF2-40B4-BE49-F238E27FC236}">
                <a16:creationId xmlns:a16="http://schemas.microsoft.com/office/drawing/2014/main" id="{3175ECCA-4759-4237-AFD0-F9138BA22036}"/>
              </a:ext>
            </a:extLst>
          </p:cNvPr>
          <p:cNvSpPr>
            <a:spLocks noGrp="1"/>
          </p:cNvSpPr>
          <p:nvPr>
            <p:ph type="pic" sz="quarter" idx="14"/>
          </p:nvPr>
        </p:nvSpPr>
        <p:spPr>
          <a:xfrm>
            <a:off x="4346400" y="97199"/>
            <a:ext cx="7845600" cy="6760801"/>
          </a:xfrm>
          <a:solidFill>
            <a:schemeClr val="bg1"/>
          </a:solidFill>
        </p:spPr>
        <p:txBody>
          <a:bodyPr vert="horz" wrap="square" lIns="0" tIns="0" rIns="0" bIns="756000" rtlCol="0" anchor="ctr">
            <a:noAutofit/>
          </a:bodyPr>
          <a:lstStyle>
            <a:lvl1pPr>
              <a:defRPr lang="en-US"/>
            </a:lvl1pPr>
          </a:lstStyle>
          <a:p>
            <a:pPr lvl="0" algn="ctr"/>
            <a:r>
              <a:rPr lang="en-US"/>
              <a:t>Click icon to add picture</a:t>
            </a:r>
          </a:p>
        </p:txBody>
      </p:sp>
      <p:sp>
        <p:nvSpPr>
          <p:cNvPr id="3" name="Datumsplatzhalter 2">
            <a:extLst>
              <a:ext uri="{FF2B5EF4-FFF2-40B4-BE49-F238E27FC236}">
                <a16:creationId xmlns:a16="http://schemas.microsoft.com/office/drawing/2014/main" id="{697E6C92-A38F-4452-8068-731F8799A028}"/>
              </a:ext>
            </a:extLst>
          </p:cNvPr>
          <p:cNvSpPr>
            <a:spLocks noGrp="1"/>
          </p:cNvSpPr>
          <p:nvPr>
            <p:ph type="dt" sz="half" idx="10"/>
          </p:nvPr>
        </p:nvSpPr>
        <p:spPr/>
        <p:txBody>
          <a:bodyPr/>
          <a:lstStyle/>
          <a:p>
            <a:endParaRPr lang="en-US"/>
          </a:p>
        </p:txBody>
      </p:sp>
      <p:sp>
        <p:nvSpPr>
          <p:cNvPr id="4" name="Fußzeilenplatzhalter 3">
            <a:extLst>
              <a:ext uri="{FF2B5EF4-FFF2-40B4-BE49-F238E27FC236}">
                <a16:creationId xmlns:a16="http://schemas.microsoft.com/office/drawing/2014/main" id="{16DC8248-A082-44C8-9946-CC6B843C34B9}"/>
              </a:ext>
            </a:extLst>
          </p:cNvPr>
          <p:cNvSpPr>
            <a:spLocks noGrp="1"/>
          </p:cNvSpPr>
          <p:nvPr>
            <p:ph type="ftr" sz="quarter" idx="11"/>
          </p:nvPr>
        </p:nvSpPr>
        <p:spPr/>
        <p:txBody>
          <a:bodyPr/>
          <a:lstStyle/>
          <a:p>
            <a:endParaRPr lang="en-US"/>
          </a:p>
        </p:txBody>
      </p:sp>
      <p:sp>
        <p:nvSpPr>
          <p:cNvPr id="5" name="Foliennummernplatzhalter 4">
            <a:extLst>
              <a:ext uri="{FF2B5EF4-FFF2-40B4-BE49-F238E27FC236}">
                <a16:creationId xmlns:a16="http://schemas.microsoft.com/office/drawing/2014/main" id="{13D7BCA5-D3B8-4083-9E26-AF818DE7523B}"/>
              </a:ext>
            </a:extLst>
          </p:cNvPr>
          <p:cNvSpPr>
            <a:spLocks noGrp="1"/>
          </p:cNvSpPr>
          <p:nvPr>
            <p:ph type="sldNum" sz="quarter" idx="12"/>
          </p:nvPr>
        </p:nvSpPr>
        <p:spPr/>
        <p:txBody>
          <a:bodyPr/>
          <a:lstStyle/>
          <a:p>
            <a:fld id="{895CC360-39D1-4D3A-B6C9-5AECCFD4809A}" type="slidenum">
              <a:rPr lang="en-US"/>
              <a:pPr/>
              <a:t>‹Nr.›</a:t>
            </a:fld>
            <a:endParaRPr lang="en-US"/>
          </a:p>
        </p:txBody>
      </p:sp>
      <p:sp>
        <p:nvSpPr>
          <p:cNvPr id="10" name="Layoutschutz" hidden="1">
            <a:extLst>
              <a:ext uri="{FF2B5EF4-FFF2-40B4-BE49-F238E27FC236}">
                <a16:creationId xmlns:a16="http://schemas.microsoft.com/office/drawing/2014/main" id="{88E2495E-5DB4-48B7-B13C-C23C0FB3B505}"/>
              </a:ext>
            </a:extLst>
          </p:cNvPr>
          <p:cNvSpPr/>
          <p:nvPr userDrawn="1">
            <p:custDataLst>
              <p:tags r:id="rId1"/>
            </p:custDataLst>
          </p:nvPr>
        </p:nvSpPr>
        <p:spPr>
          <a:xfrm>
            <a:off x="254000" y="318600"/>
            <a:ext cx="11760200" cy="65394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4210695430"/>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hf sldNum="0" hdr="0" ftr="0" dt="0"/>
  <p:extLst>
    <p:ext uri="{DCECCB84-F9BA-43D5-87BE-67443E8EF086}">
      <p15:sldGuideLst xmlns:p15="http://schemas.microsoft.com/office/powerpoint/2012/main">
        <p15:guide id="1" pos="2493">
          <p15:clr>
            <a:srgbClr val="547EBF"/>
          </p15:clr>
        </p15:guide>
        <p15:guide id="2" orient="horz" pos="1854">
          <p15:clr>
            <a:srgbClr val="547EBF"/>
          </p15:clr>
        </p15:guide>
        <p15:guide id="3" pos="2738">
          <p15:clr>
            <a:srgbClr val="547EBF"/>
          </p15:clr>
        </p15:guide>
        <p15:guide id="4" pos="289">
          <p15:clr>
            <a:srgbClr val="547EBF"/>
          </p15:clr>
        </p15:guide>
        <p15:guide id="5" orient="horz" pos="4058">
          <p15:clr>
            <a:srgbClr val="547EBF"/>
          </p15:clr>
        </p15:guide>
        <p15:guide id="7" orient="horz" pos="20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10;with 3 text">
    <p:spTree>
      <p:nvGrpSpPr>
        <p:cNvPr id="1" name=""/>
        <p:cNvGrpSpPr/>
        <p:nvPr/>
      </p:nvGrpSpPr>
      <p:grpSpPr>
        <a:xfrm>
          <a:off x="0" y="0"/>
          <a:ext cx="0" cy="0"/>
          <a:chOff x="0" y="0"/>
          <a:chExt cx="0" cy="0"/>
        </a:xfrm>
      </p:grpSpPr>
      <p:sp>
        <p:nvSpPr>
          <p:cNvPr id="3" name="Headline left">
            <a:extLst>
              <a:ext uri="{FF2B5EF4-FFF2-40B4-BE49-F238E27FC236}">
                <a16:creationId xmlns:a16="http://schemas.microsoft.com/office/drawing/2014/main" id="{3E42108B-CCF6-4E5E-B72B-211E4C5B1D2B}"/>
              </a:ext>
            </a:extLst>
          </p:cNvPr>
          <p:cNvSpPr>
            <a:spLocks noGrp="1"/>
          </p:cNvSpPr>
          <p:nvPr>
            <p:ph type="body" idx="1"/>
          </p:nvPr>
        </p:nvSpPr>
        <p:spPr>
          <a:xfrm>
            <a:off x="458400" y="3623400"/>
            <a:ext cx="3499200" cy="486000"/>
          </a:xfrm>
          <a:prstGeom prst="rect">
            <a:avLst/>
          </a:prstGeom>
        </p:spPr>
        <p:txBody>
          <a:bodyPr anchor="t">
            <a:noAutofit/>
          </a:bodyPr>
          <a:lstStyle>
            <a:lvl1pPr marL="0" indent="0" algn="ctr">
              <a:lnSpc>
                <a:spcPct val="100000"/>
              </a:lnSpc>
              <a:buNone/>
              <a:defRPr sz="20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Headline center">
            <a:extLst>
              <a:ext uri="{FF2B5EF4-FFF2-40B4-BE49-F238E27FC236}">
                <a16:creationId xmlns:a16="http://schemas.microsoft.com/office/drawing/2014/main" id="{DBFC60C6-E96F-4262-9F25-D8D3332367DD}"/>
              </a:ext>
            </a:extLst>
          </p:cNvPr>
          <p:cNvSpPr>
            <a:spLocks noGrp="1"/>
          </p:cNvSpPr>
          <p:nvPr>
            <p:ph type="body" sz="quarter" idx="3"/>
          </p:nvPr>
        </p:nvSpPr>
        <p:spPr>
          <a:xfrm>
            <a:off x="4346400" y="3623400"/>
            <a:ext cx="3499200" cy="486000"/>
          </a:xfrm>
          <a:prstGeom prst="rect">
            <a:avLst/>
          </a:prstGeom>
        </p:spPr>
        <p:txBody>
          <a:bodyPr anchor="t">
            <a:noAutofit/>
          </a:bodyPr>
          <a:lstStyle>
            <a:lvl1pPr marL="0" indent="0" algn="ctr">
              <a:lnSpc>
                <a:spcPct val="100000"/>
              </a:lnSpc>
              <a:buNone/>
              <a:defRPr sz="20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Headline right">
            <a:extLst>
              <a:ext uri="{FF2B5EF4-FFF2-40B4-BE49-F238E27FC236}">
                <a16:creationId xmlns:a16="http://schemas.microsoft.com/office/drawing/2014/main" id="{E7920CA0-579D-47FA-9A0A-7A5B020DE42E}"/>
              </a:ext>
            </a:extLst>
          </p:cNvPr>
          <p:cNvSpPr>
            <a:spLocks noGrp="1"/>
          </p:cNvSpPr>
          <p:nvPr>
            <p:ph type="body" sz="quarter" idx="13"/>
          </p:nvPr>
        </p:nvSpPr>
        <p:spPr>
          <a:xfrm>
            <a:off x="8234400" y="3623400"/>
            <a:ext cx="3499200" cy="486000"/>
          </a:xfrm>
          <a:prstGeom prst="rect">
            <a:avLst/>
          </a:prstGeom>
        </p:spPr>
        <p:txBody>
          <a:bodyPr anchor="t">
            <a:noAutofit/>
          </a:bodyPr>
          <a:lstStyle>
            <a:lvl1pPr marL="0" indent="0" algn="ctr">
              <a:lnSpc>
                <a:spcPct val="100000"/>
              </a:lnSpc>
              <a:buNone/>
              <a:defRPr sz="20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left">
            <a:extLst>
              <a:ext uri="{FF2B5EF4-FFF2-40B4-BE49-F238E27FC236}">
                <a16:creationId xmlns:a16="http://schemas.microsoft.com/office/drawing/2014/main" id="{1C94A9F3-77E7-4052-ADF3-47B5617F9CAF}"/>
              </a:ext>
            </a:extLst>
          </p:cNvPr>
          <p:cNvSpPr>
            <a:spLocks noGrp="1"/>
          </p:cNvSpPr>
          <p:nvPr>
            <p:ph sz="half" idx="2" hasCustomPrompt="1"/>
          </p:nvPr>
        </p:nvSpPr>
        <p:spPr>
          <a:xfrm>
            <a:off x="458400" y="4109400"/>
            <a:ext cx="3498850" cy="2332800"/>
          </a:xfrm>
          <a:prstGeom prst="rect">
            <a:avLst/>
          </a:prstGeom>
        </p:spPr>
        <p:txBody>
          <a:bodyPr/>
          <a:lstStyle>
            <a:lvl1pPr algn="ct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Content placeholder center">
            <a:extLst>
              <a:ext uri="{FF2B5EF4-FFF2-40B4-BE49-F238E27FC236}">
                <a16:creationId xmlns:a16="http://schemas.microsoft.com/office/drawing/2014/main" id="{3F80F379-FCC2-4D63-BD67-E81435B9D782}"/>
              </a:ext>
            </a:extLst>
          </p:cNvPr>
          <p:cNvSpPr>
            <a:spLocks noGrp="1"/>
          </p:cNvSpPr>
          <p:nvPr>
            <p:ph sz="quarter" idx="4" hasCustomPrompt="1"/>
          </p:nvPr>
        </p:nvSpPr>
        <p:spPr>
          <a:xfrm>
            <a:off x="4346400" y="4109400"/>
            <a:ext cx="3498850" cy="2332800"/>
          </a:xfrm>
          <a:prstGeom prst="rect">
            <a:avLst/>
          </a:prstGeom>
        </p:spPr>
        <p:txBody>
          <a:bodyPr/>
          <a:lstStyle>
            <a:lvl1pPr algn="ct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right">
            <a:extLst>
              <a:ext uri="{FF2B5EF4-FFF2-40B4-BE49-F238E27FC236}">
                <a16:creationId xmlns:a16="http://schemas.microsoft.com/office/drawing/2014/main" id="{F9AF96E0-53C6-482E-95AD-957DBCFA5CE9}"/>
              </a:ext>
            </a:extLst>
          </p:cNvPr>
          <p:cNvSpPr>
            <a:spLocks noGrp="1"/>
          </p:cNvSpPr>
          <p:nvPr>
            <p:ph sz="quarter" idx="14" hasCustomPrompt="1"/>
          </p:nvPr>
        </p:nvSpPr>
        <p:spPr>
          <a:xfrm>
            <a:off x="8234400" y="4109400"/>
            <a:ext cx="3498850" cy="2332800"/>
          </a:xfrm>
          <a:prstGeom prst="rect">
            <a:avLst/>
          </a:prstGeom>
        </p:spPr>
        <p:txBody>
          <a:bodyPr/>
          <a:lstStyle>
            <a:lvl1pPr algn="ct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Datumsplatzhalter 13" hidden="1">
            <a:extLst>
              <a:ext uri="{FF2B5EF4-FFF2-40B4-BE49-F238E27FC236}">
                <a16:creationId xmlns:a16="http://schemas.microsoft.com/office/drawing/2014/main" id="{60AFF17C-B3DD-45F6-AED7-89DE2B67F6AC}"/>
              </a:ext>
            </a:extLst>
          </p:cNvPr>
          <p:cNvSpPr>
            <a:spLocks noGrp="1"/>
          </p:cNvSpPr>
          <p:nvPr>
            <p:ph type="dt" sz="half" idx="10"/>
          </p:nvPr>
        </p:nvSpPr>
        <p:spPr/>
        <p:txBody>
          <a:bodyPr/>
          <a:lstStyle/>
          <a:p>
            <a:endParaRPr lang="en-US"/>
          </a:p>
        </p:txBody>
      </p:sp>
      <p:sp>
        <p:nvSpPr>
          <p:cNvPr id="15" name="Fußzeilenplatzhalter 14" hidden="1">
            <a:extLst>
              <a:ext uri="{FF2B5EF4-FFF2-40B4-BE49-F238E27FC236}">
                <a16:creationId xmlns:a16="http://schemas.microsoft.com/office/drawing/2014/main" id="{17F53DD0-788A-4520-A290-1E20981D3B81}"/>
              </a:ext>
            </a:extLst>
          </p:cNvPr>
          <p:cNvSpPr>
            <a:spLocks noGrp="1"/>
          </p:cNvSpPr>
          <p:nvPr>
            <p:ph type="ftr" sz="quarter" idx="11"/>
          </p:nvPr>
        </p:nvSpPr>
        <p:spPr/>
        <p:txBody>
          <a:bodyPr/>
          <a:lstStyle/>
          <a:p>
            <a:endParaRPr lang="en-US"/>
          </a:p>
        </p:txBody>
      </p:sp>
      <p:sp>
        <p:nvSpPr>
          <p:cNvPr id="16" name="Foliennummernplatzhalter 15" hidden="1">
            <a:extLst>
              <a:ext uri="{FF2B5EF4-FFF2-40B4-BE49-F238E27FC236}">
                <a16:creationId xmlns:a16="http://schemas.microsoft.com/office/drawing/2014/main" id="{517AB4B9-E4B2-4336-AE32-034908CCB42F}"/>
              </a:ext>
            </a:extLst>
          </p:cNvPr>
          <p:cNvSpPr>
            <a:spLocks noGrp="1"/>
          </p:cNvSpPr>
          <p:nvPr>
            <p:ph type="sldNum" sz="quarter" idx="12"/>
          </p:nvPr>
        </p:nvSpPr>
        <p:spPr/>
        <p:txBody>
          <a:bodyPr/>
          <a:lstStyle/>
          <a:p>
            <a:fld id="{895CC360-39D1-4D3A-B6C9-5AECCFD4809A}" type="slidenum">
              <a:rPr lang="en-US"/>
              <a:pPr/>
              <a:t>‹Nr.›</a:t>
            </a:fld>
            <a:endParaRPr lang="en-US"/>
          </a:p>
        </p:txBody>
      </p:sp>
      <p:sp>
        <p:nvSpPr>
          <p:cNvPr id="7" name="Bildplatzhalter 6">
            <a:extLst>
              <a:ext uri="{FF2B5EF4-FFF2-40B4-BE49-F238E27FC236}">
                <a16:creationId xmlns:a16="http://schemas.microsoft.com/office/drawing/2014/main" id="{962DE87C-124A-49FC-91EF-74CB75A3C669}"/>
              </a:ext>
            </a:extLst>
          </p:cNvPr>
          <p:cNvSpPr>
            <a:spLocks noGrp="1"/>
          </p:cNvSpPr>
          <p:nvPr>
            <p:ph type="pic" sz="quarter" idx="15" hasCustomPrompt="1"/>
          </p:nvPr>
        </p:nvSpPr>
        <p:spPr>
          <a:xfrm>
            <a:off x="0" y="97197"/>
            <a:ext cx="12192000" cy="3247581"/>
          </a:xfrm>
          <a:pattFill prst="pct50">
            <a:fgClr>
              <a:schemeClr val="bg2"/>
            </a:fgClr>
            <a:bgClr>
              <a:schemeClr val="bg1"/>
            </a:bgClr>
          </a:pattFill>
        </p:spPr>
        <p:txBody>
          <a:bodyPr vert="horz" wrap="square" lIns="0" tIns="0" rIns="0" bIns="756000" rtlCol="0" anchor="ctr">
            <a:noAutofit/>
          </a:bodyPr>
          <a:lstStyle>
            <a:lvl1pPr>
              <a:defRPr lang="de-DE"/>
            </a:lvl1pPr>
          </a:lstStyle>
          <a:p>
            <a:pPr lvl="0" algn="ctr"/>
            <a:r>
              <a:rPr lang="de-DE"/>
              <a:t> </a:t>
            </a:r>
          </a:p>
        </p:txBody>
      </p:sp>
      <p:sp>
        <p:nvSpPr>
          <p:cNvPr id="19" name="Titel 18">
            <a:extLst>
              <a:ext uri="{FF2B5EF4-FFF2-40B4-BE49-F238E27FC236}">
                <a16:creationId xmlns:a16="http://schemas.microsoft.com/office/drawing/2014/main" id="{FD947069-9BD4-4079-8CEA-F1140652DE55}"/>
              </a:ext>
            </a:extLst>
          </p:cNvPr>
          <p:cNvSpPr>
            <a:spLocks noGrp="1"/>
          </p:cNvSpPr>
          <p:nvPr>
            <p:ph type="title"/>
          </p:nvPr>
        </p:nvSpPr>
        <p:spPr>
          <a:xfrm>
            <a:off x="1287065" y="901800"/>
            <a:ext cx="9608457" cy="2041425"/>
          </a:xfrm>
          <a:custGeom>
            <a:avLst/>
            <a:gdLst>
              <a:gd name="connsiteX0" fmla="*/ 0 w 9608457"/>
              <a:gd name="connsiteY0" fmla="*/ 0 h 2041425"/>
              <a:gd name="connsiteX1" fmla="*/ 9608457 w 9608457"/>
              <a:gd name="connsiteY1" fmla="*/ 0 h 2041425"/>
              <a:gd name="connsiteX2" fmla="*/ 9608457 w 9608457"/>
              <a:gd name="connsiteY2" fmla="*/ 2041425 h 2041425"/>
              <a:gd name="connsiteX3" fmla="*/ 0 w 9608457"/>
              <a:gd name="connsiteY3" fmla="*/ 2041425 h 2041425"/>
            </a:gdLst>
            <a:ahLst/>
            <a:cxnLst>
              <a:cxn ang="0">
                <a:pos x="connsiteX0" y="connsiteY0"/>
              </a:cxn>
              <a:cxn ang="0">
                <a:pos x="connsiteX1" y="connsiteY1"/>
              </a:cxn>
              <a:cxn ang="0">
                <a:pos x="connsiteX2" y="connsiteY2"/>
              </a:cxn>
              <a:cxn ang="0">
                <a:pos x="connsiteX3" y="connsiteY3"/>
              </a:cxn>
            </a:cxnLst>
            <a:rect l="l" t="t" r="r" b="b"/>
            <a:pathLst>
              <a:path w="9608457" h="2041425">
                <a:moveTo>
                  <a:pt x="0" y="0"/>
                </a:moveTo>
                <a:lnTo>
                  <a:pt x="9608457" y="0"/>
                </a:lnTo>
                <a:lnTo>
                  <a:pt x="9608457" y="2041425"/>
                </a:lnTo>
                <a:lnTo>
                  <a:pt x="0" y="2041425"/>
                </a:lnTo>
                <a:close/>
              </a:path>
            </a:pathLst>
          </a:custGeom>
        </p:spPr>
        <p:txBody>
          <a:bodyPr wrap="square" anchor="ctr">
            <a:noAutofit/>
          </a:bodyPr>
          <a:lstStyle>
            <a:lvl1pPr algn="ctr">
              <a:defRPr lang="de-DE" sz="4800" b="0" i="0" kern="1200" spc="-100" baseline="0" dirty="0">
                <a:solidFill>
                  <a:schemeClr val="bg1"/>
                </a:solidFill>
                <a:latin typeface="Segoe UI Semibold" panose="020B0502040204020203" pitchFamily="34" charset="0"/>
                <a:ea typeface="+mj-ea"/>
                <a:cs typeface="Segoe UI Semibold" panose="020B0502040204020203" pitchFamily="34" charset="0"/>
              </a:defRPr>
            </a:lvl1pPr>
          </a:lstStyle>
          <a:p>
            <a:r>
              <a:rPr lang="en-US"/>
              <a:t>Click to edit Master title style</a:t>
            </a:r>
            <a:endParaRPr lang="de-DE"/>
          </a:p>
        </p:txBody>
      </p:sp>
      <p:sp>
        <p:nvSpPr>
          <p:cNvPr id="17" name="Layoutschutz" hidden="1">
            <a:extLst>
              <a:ext uri="{FF2B5EF4-FFF2-40B4-BE49-F238E27FC236}">
                <a16:creationId xmlns:a16="http://schemas.microsoft.com/office/drawing/2014/main" id="{8463CA59-8900-4388-B5F3-A974786C6D0C}"/>
              </a:ext>
            </a:extLst>
          </p:cNvPr>
          <p:cNvSpPr/>
          <p:nvPr userDrawn="1">
            <p:custDataLst>
              <p:tags r:id="rId1"/>
            </p:custDataLst>
          </p:nvPr>
        </p:nvSpPr>
        <p:spPr>
          <a:xfrm>
            <a:off x="254000" y="1295400"/>
            <a:ext cx="11760200" cy="55626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931133208"/>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hf sldNum="0" hdr="0" ftr="0" dt="0"/>
  <p:extLst>
    <p:ext uri="{DCECCB84-F9BA-43D5-87BE-67443E8EF086}">
      <p15:sldGuideLst xmlns:p15="http://schemas.microsoft.com/office/powerpoint/2012/main">
        <p15:guide id="1" pos="2493">
          <p15:clr>
            <a:srgbClr val="547EBF"/>
          </p15:clr>
        </p15:guide>
        <p15:guide id="2" orient="horz" pos="1854">
          <p15:clr>
            <a:srgbClr val="547EBF"/>
          </p15:clr>
        </p15:guide>
        <p15:guide id="3" orient="horz" pos="2099">
          <p15:clr>
            <a:srgbClr val="547EBF"/>
          </p15:clr>
        </p15:guide>
        <p15:guide id="5" pos="2738">
          <p15:clr>
            <a:srgbClr val="547EBF"/>
          </p15:clr>
        </p15:guide>
        <p15:guide id="6" pos="289">
          <p15:clr>
            <a:srgbClr val="547EBF"/>
          </p15:clr>
        </p15:guide>
        <p15:guide id="7" pos="4942">
          <p15:clr>
            <a:srgbClr val="547EBF"/>
          </p15:clr>
        </p15:guide>
        <p15:guide id="8" pos="5187">
          <p15:clr>
            <a:srgbClr val="547EBF"/>
          </p15:clr>
        </p15:guide>
        <p15:guide id="9" pos="7391">
          <p15:clr>
            <a:srgbClr val="547EBF"/>
          </p15:clr>
        </p15:guide>
        <p15:guide id="10" orient="horz" pos="2282">
          <p15:clr>
            <a:srgbClr val="547EBF"/>
          </p15:clr>
        </p15:guide>
        <p15:guide id="11" orient="horz" pos="1364">
          <p15:clr>
            <a:srgbClr val="A4A3A4"/>
          </p15:clr>
        </p15:guide>
        <p15:guide id="12" pos="1391">
          <p15:clr>
            <a:srgbClr val="A4A3A4"/>
          </p15:clr>
        </p15:guide>
        <p15:guide id="13" pos="3840">
          <p15:clr>
            <a:srgbClr val="A4A3A4"/>
          </p15:clr>
        </p15:guide>
        <p15:guide id="14" pos="6289">
          <p15:clr>
            <a:srgbClr val="A4A3A4"/>
          </p15:clr>
        </p15:guide>
        <p15:guide id="15" orient="horz" pos="874">
          <p15:clr>
            <a:srgbClr val="547EBF"/>
          </p15:clr>
        </p15:guide>
        <p15:guide id="16" orient="horz" pos="4058">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xOverObj" preserve="1">
  <p:cSld name="Picture&#10;with title">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8B88125F-4DBA-4A5C-98A5-541E3DF3AB8F}"/>
              </a:ext>
            </a:extLst>
          </p:cNvPr>
          <p:cNvSpPr>
            <a:spLocks noGrp="1"/>
          </p:cNvSpPr>
          <p:nvPr>
            <p:ph type="pic" sz="quarter" idx="13"/>
          </p:nvPr>
        </p:nvSpPr>
        <p:spPr>
          <a:xfrm>
            <a:off x="0" y="97199"/>
            <a:ext cx="12192000" cy="6760801"/>
          </a:xfrm>
          <a:solidFill>
            <a:schemeClr val="bg1"/>
          </a:solidFill>
        </p:spPr>
        <p:txBody>
          <a:bodyPr vert="horz" wrap="square" lIns="0" tIns="0" rIns="0" bIns="756000" rtlCol="0" anchor="ctr">
            <a:noAutofit/>
          </a:bodyPr>
          <a:lstStyle>
            <a:lvl1pPr>
              <a:defRPr lang="en-US"/>
            </a:lvl1pPr>
          </a:lstStyle>
          <a:p>
            <a:pPr lvl="0" algn="ctr"/>
            <a:r>
              <a:rPr lang="en-US"/>
              <a:t>Click icon to add picture</a:t>
            </a:r>
          </a:p>
        </p:txBody>
      </p:sp>
      <p:sp>
        <p:nvSpPr>
          <p:cNvPr id="2" name="Title">
            <a:extLst>
              <a:ext uri="{FF2B5EF4-FFF2-40B4-BE49-F238E27FC236}">
                <a16:creationId xmlns:a16="http://schemas.microsoft.com/office/drawing/2014/main" id="{C87E576D-4985-4B1A-9F9A-7E8D864B0ACF}"/>
              </a:ext>
            </a:extLst>
          </p:cNvPr>
          <p:cNvSpPr>
            <a:spLocks noGrp="1"/>
          </p:cNvSpPr>
          <p:nvPr>
            <p:ph type="title"/>
          </p:nvPr>
        </p:nvSpPr>
        <p:spPr>
          <a:xfrm>
            <a:off x="0" y="318601"/>
            <a:ext cx="9984000" cy="583200"/>
          </a:xfrm>
          <a:solidFill>
            <a:srgbClr val="FFFFFF">
              <a:alpha val="80000"/>
            </a:srgbClr>
          </a:solidFill>
        </p:spPr>
        <p:txBody>
          <a:bodyPr vert="horz" lIns="457200" tIns="0" rIns="97200" bIns="97200" rtlCol="0" anchor="t" anchorCtr="0">
            <a:noAutofit/>
          </a:bodyPr>
          <a:lstStyle>
            <a:lvl1pPr>
              <a:defRPr lang="en-US" sz="3600" dirty="0"/>
            </a:lvl1pPr>
          </a:lstStyle>
          <a:p>
            <a:pPr lvl="0"/>
            <a:r>
              <a:rPr lang="en-US"/>
              <a:t>Click to edit Master title style</a:t>
            </a:r>
          </a:p>
        </p:txBody>
      </p:sp>
      <p:sp>
        <p:nvSpPr>
          <p:cNvPr id="3" name="Datumsplatzhalter 2">
            <a:extLst>
              <a:ext uri="{FF2B5EF4-FFF2-40B4-BE49-F238E27FC236}">
                <a16:creationId xmlns:a16="http://schemas.microsoft.com/office/drawing/2014/main" id="{5D316513-3054-476F-B5C4-D6CFC9A98797}"/>
              </a:ext>
            </a:extLst>
          </p:cNvPr>
          <p:cNvSpPr>
            <a:spLocks noGrp="1"/>
          </p:cNvSpPr>
          <p:nvPr>
            <p:ph type="dt" sz="half" idx="10"/>
          </p:nvPr>
        </p:nvSpPr>
        <p:spPr/>
        <p:txBody>
          <a:bodyPr/>
          <a:lstStyle/>
          <a:p>
            <a:endParaRPr lang="en-US"/>
          </a:p>
        </p:txBody>
      </p:sp>
      <p:sp>
        <p:nvSpPr>
          <p:cNvPr id="4" name="Fußzeilenplatzhalter 3">
            <a:extLst>
              <a:ext uri="{FF2B5EF4-FFF2-40B4-BE49-F238E27FC236}">
                <a16:creationId xmlns:a16="http://schemas.microsoft.com/office/drawing/2014/main" id="{F6E6828F-D2D6-4849-9C87-46464C75F544}"/>
              </a:ext>
            </a:extLst>
          </p:cNvPr>
          <p:cNvSpPr>
            <a:spLocks noGrp="1"/>
          </p:cNvSpPr>
          <p:nvPr>
            <p:ph type="ftr" sz="quarter" idx="11"/>
          </p:nvPr>
        </p:nvSpPr>
        <p:spPr/>
        <p:txBody>
          <a:bodyPr/>
          <a:lstStyle/>
          <a:p>
            <a:endParaRPr lang="en-US"/>
          </a:p>
        </p:txBody>
      </p:sp>
      <p:sp>
        <p:nvSpPr>
          <p:cNvPr id="5" name="Foliennummernplatzhalter 4">
            <a:extLst>
              <a:ext uri="{FF2B5EF4-FFF2-40B4-BE49-F238E27FC236}">
                <a16:creationId xmlns:a16="http://schemas.microsoft.com/office/drawing/2014/main" id="{7B440484-8DA9-4382-848F-71BF1C062389}"/>
              </a:ext>
            </a:extLst>
          </p:cNvPr>
          <p:cNvSpPr>
            <a:spLocks noGrp="1"/>
          </p:cNvSpPr>
          <p:nvPr>
            <p:ph type="sldNum" sz="quarter" idx="12"/>
          </p:nvPr>
        </p:nvSpPr>
        <p:spPr/>
        <p:txBody>
          <a:bodyPr/>
          <a:lstStyle/>
          <a:p>
            <a:fld id="{895CC360-39D1-4D3A-B6C9-5AECCFD4809A}" type="slidenum">
              <a:rPr lang="en-US"/>
              <a:pPr/>
              <a:t>‹Nr.›</a:t>
            </a:fld>
            <a:endParaRPr lang="en-US"/>
          </a:p>
        </p:txBody>
      </p:sp>
    </p:spTree>
    <p:extLst>
      <p:ext uri="{BB962C8B-B14F-4D97-AF65-F5344CB8AC3E}">
        <p14:creationId xmlns:p14="http://schemas.microsoft.com/office/powerpoint/2010/main" val="1604007347"/>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10;with text">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8B88125F-4DBA-4A5C-98A5-541E3DF3AB8F}"/>
              </a:ext>
            </a:extLst>
          </p:cNvPr>
          <p:cNvSpPr>
            <a:spLocks noGrp="1"/>
          </p:cNvSpPr>
          <p:nvPr>
            <p:ph type="pic" sz="quarter" idx="13"/>
          </p:nvPr>
        </p:nvSpPr>
        <p:spPr>
          <a:xfrm>
            <a:off x="0" y="97199"/>
            <a:ext cx="12192000" cy="6760799"/>
          </a:xfrm>
          <a:solidFill>
            <a:schemeClr val="bg1"/>
          </a:solidFill>
        </p:spPr>
        <p:txBody>
          <a:bodyPr vert="horz" wrap="square" lIns="0" tIns="0" rIns="0" bIns="756000" rtlCol="0" anchor="ctr">
            <a:noAutofit/>
          </a:bodyPr>
          <a:lstStyle>
            <a:lvl1pPr>
              <a:defRPr lang="en-US"/>
            </a:lvl1pPr>
          </a:lstStyle>
          <a:p>
            <a:pPr lvl="0" algn="ctr"/>
            <a:r>
              <a:rPr lang="en-US"/>
              <a:t>Click icon to add picture</a:t>
            </a:r>
          </a:p>
        </p:txBody>
      </p:sp>
      <p:sp>
        <p:nvSpPr>
          <p:cNvPr id="8" name="Text placeholder top">
            <a:extLst>
              <a:ext uri="{FF2B5EF4-FFF2-40B4-BE49-F238E27FC236}">
                <a16:creationId xmlns:a16="http://schemas.microsoft.com/office/drawing/2014/main" id="{8C9608EC-C812-41A8-AA89-8985667C2A72}"/>
              </a:ext>
            </a:extLst>
          </p:cNvPr>
          <p:cNvSpPr>
            <a:spLocks noGrp="1"/>
          </p:cNvSpPr>
          <p:nvPr>
            <p:ph type="body" sz="quarter" idx="14"/>
          </p:nvPr>
        </p:nvSpPr>
        <p:spPr>
          <a:xfrm>
            <a:off x="0" y="3914775"/>
            <a:ext cx="9020675" cy="738664"/>
          </a:xfrm>
          <a:solidFill>
            <a:schemeClr val="bg1">
              <a:alpha val="80000"/>
            </a:schemeClr>
          </a:solidFill>
        </p:spPr>
        <p:txBody>
          <a:bodyPr vert="horz" wrap="none" lIns="457200" tIns="0" rIns="457200" bIns="0" rtlCol="0" anchor="t">
            <a:spAutoFit/>
          </a:bodyPr>
          <a:lstStyle>
            <a:lvl1pPr>
              <a:lnSpc>
                <a:spcPct val="100000"/>
              </a:lnSpc>
              <a:spcBef>
                <a:spcPts val="0"/>
              </a:spcBef>
              <a:spcAft>
                <a:spcPts val="0"/>
              </a:spcAft>
              <a:defRPr lang="de-DE" sz="4800" b="1" i="0" baseline="0" dirty="0">
                <a:latin typeface="+mj-lt"/>
                <a:ea typeface="+mj-ea"/>
                <a:cs typeface="+mj-cs"/>
              </a:defRPr>
            </a:lvl1pPr>
          </a:lstStyle>
          <a:p>
            <a:pPr lvl="0"/>
            <a:r>
              <a:rPr lang="en-US" dirty="0"/>
              <a:t>Click to edit Master text styles</a:t>
            </a:r>
          </a:p>
        </p:txBody>
      </p:sp>
      <p:sp>
        <p:nvSpPr>
          <p:cNvPr id="3" name="Datumsplatzhalter 2">
            <a:extLst>
              <a:ext uri="{FF2B5EF4-FFF2-40B4-BE49-F238E27FC236}">
                <a16:creationId xmlns:a16="http://schemas.microsoft.com/office/drawing/2014/main" id="{5D316513-3054-476F-B5C4-D6CFC9A98797}"/>
              </a:ext>
            </a:extLst>
          </p:cNvPr>
          <p:cNvSpPr>
            <a:spLocks noGrp="1"/>
          </p:cNvSpPr>
          <p:nvPr>
            <p:ph type="dt" sz="half" idx="10"/>
          </p:nvPr>
        </p:nvSpPr>
        <p:spPr/>
        <p:txBody>
          <a:bodyPr/>
          <a:lstStyle/>
          <a:p>
            <a:endParaRPr lang="en-US"/>
          </a:p>
        </p:txBody>
      </p:sp>
      <p:sp>
        <p:nvSpPr>
          <p:cNvPr id="4" name="Fußzeilenplatzhalter 3">
            <a:extLst>
              <a:ext uri="{FF2B5EF4-FFF2-40B4-BE49-F238E27FC236}">
                <a16:creationId xmlns:a16="http://schemas.microsoft.com/office/drawing/2014/main" id="{F6E6828F-D2D6-4849-9C87-46464C75F544}"/>
              </a:ext>
            </a:extLst>
          </p:cNvPr>
          <p:cNvSpPr>
            <a:spLocks noGrp="1"/>
          </p:cNvSpPr>
          <p:nvPr>
            <p:ph type="ftr" sz="quarter" idx="11"/>
          </p:nvPr>
        </p:nvSpPr>
        <p:spPr/>
        <p:txBody>
          <a:bodyPr/>
          <a:lstStyle/>
          <a:p>
            <a:endParaRPr lang="en-US"/>
          </a:p>
        </p:txBody>
      </p:sp>
      <p:sp>
        <p:nvSpPr>
          <p:cNvPr id="5" name="Foliennummernplatzhalter 4">
            <a:extLst>
              <a:ext uri="{FF2B5EF4-FFF2-40B4-BE49-F238E27FC236}">
                <a16:creationId xmlns:a16="http://schemas.microsoft.com/office/drawing/2014/main" id="{7B440484-8DA9-4382-848F-71BF1C062389}"/>
              </a:ext>
            </a:extLst>
          </p:cNvPr>
          <p:cNvSpPr>
            <a:spLocks noGrp="1"/>
          </p:cNvSpPr>
          <p:nvPr>
            <p:ph type="sldNum" sz="quarter" idx="12"/>
          </p:nvPr>
        </p:nvSpPr>
        <p:spPr/>
        <p:txBody>
          <a:bodyPr/>
          <a:lstStyle/>
          <a:p>
            <a:fld id="{895CC360-39D1-4D3A-B6C9-5AECCFD4809A}" type="slidenum">
              <a:rPr lang="en-US"/>
              <a:pPr/>
              <a:t>‹Nr.›</a:t>
            </a:fld>
            <a:endParaRPr lang="en-US"/>
          </a:p>
        </p:txBody>
      </p:sp>
    </p:spTree>
    <p:extLst>
      <p:ext uri="{BB962C8B-B14F-4D97-AF65-F5344CB8AC3E}">
        <p14:creationId xmlns:p14="http://schemas.microsoft.com/office/powerpoint/2010/main" val="3204385935"/>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466">
          <p15:clr>
            <a:srgbClr val="547EBF"/>
          </p15:clr>
        </p15:guide>
        <p15:guide id="4" orient="horz" pos="3078">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10;with shadow">
    <p:bg>
      <p:bgRef idx="1001">
        <a:schemeClr val="bg2"/>
      </p:bgRef>
    </p:bg>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A7ADD926-F1E6-4465-8EDD-314341AB131D}"/>
              </a:ext>
            </a:extLst>
          </p:cNvPr>
          <p:cNvSpPr>
            <a:spLocks/>
          </p:cNvSpPr>
          <p:nvPr userDrawn="1"/>
        </p:nvSpPr>
        <p:spPr>
          <a:xfrm>
            <a:off x="458401" y="1387800"/>
            <a:ext cx="11275200" cy="5054400"/>
          </a:xfrm>
          <a:prstGeom prst="rect">
            <a:avLst/>
          </a:prstGeom>
          <a:solidFill>
            <a:schemeClr val="bg1"/>
          </a:solidFill>
          <a:effectLst>
            <a:outerShdw blurRad="127000" algn="ctr" rotWithShape="0">
              <a:prstClr val="black">
                <a:alpha val="25000"/>
              </a:prstClr>
            </a:outerShdw>
          </a:effectLst>
        </p:spPr>
        <p:txBody>
          <a:bodyPr vert="horz" lIns="360000" tIns="360000" rIns="360000" bIns="360000" rtlCol="0">
            <a:noAutofit/>
          </a:bodyPr>
          <a:lstStyle/>
          <a:p>
            <a:pPr lvl="0" indent="0">
              <a:lnSpc>
                <a:spcPct val="120000"/>
              </a:lnSpc>
              <a:spcBef>
                <a:spcPts val="1200"/>
              </a:spcBef>
              <a:spcAft>
                <a:spcPts val="300"/>
              </a:spcAft>
              <a:buClr>
                <a:schemeClr val="tx2"/>
              </a:buClr>
              <a:buFont typeface="Wingdings" pitchFamily="2" charset="2"/>
              <a:buNone/>
            </a:pPr>
            <a:endParaRPr lang="en-US" sz="2400" b="1">
              <a:solidFill>
                <a:schemeClr val="tx1"/>
              </a:solidFill>
              <a:latin typeface="Segoe UI Light" panose="020B0502040204020203" pitchFamily="34" charset="0"/>
              <a:cs typeface="Segoe UI Light" panose="020B0502040204020203" pitchFamily="34" charset="0"/>
            </a:endParaRPr>
          </a:p>
        </p:txBody>
      </p:sp>
      <p:sp>
        <p:nvSpPr>
          <p:cNvPr id="2" name="Title">
            <a:extLst>
              <a:ext uri="{FF2B5EF4-FFF2-40B4-BE49-F238E27FC236}">
                <a16:creationId xmlns:a16="http://schemas.microsoft.com/office/drawing/2014/main" id="{72770FE5-7639-45B7-BE4F-32E8CC074E62}"/>
              </a:ext>
            </a:extLst>
          </p:cNvPr>
          <p:cNvSpPr>
            <a:spLocks noGrp="1"/>
          </p:cNvSpPr>
          <p:nvPr>
            <p:ph type="title"/>
          </p:nvPr>
        </p:nvSpPr>
        <p:spPr/>
        <p:txBody>
          <a:bodyPr/>
          <a:lstStyle/>
          <a:p>
            <a:r>
              <a:rPr lang="en-US"/>
              <a:t>Click to edit Master title style</a:t>
            </a:r>
          </a:p>
        </p:txBody>
      </p:sp>
      <p:sp>
        <p:nvSpPr>
          <p:cNvPr id="11" name="Headline">
            <a:extLst>
              <a:ext uri="{FF2B5EF4-FFF2-40B4-BE49-F238E27FC236}">
                <a16:creationId xmlns:a16="http://schemas.microsoft.com/office/drawing/2014/main" id="{EE1EC685-53EC-42AA-A2B2-BBBC73012515}"/>
              </a:ext>
            </a:extLst>
          </p:cNvPr>
          <p:cNvSpPr>
            <a:spLocks noGrp="1"/>
          </p:cNvSpPr>
          <p:nvPr>
            <p:ph type="body" sz="quarter" idx="13"/>
          </p:nvPr>
        </p:nvSpPr>
        <p:spPr>
          <a:xfrm>
            <a:off x="847725" y="2359800"/>
            <a:ext cx="4081463" cy="583200"/>
          </a:xfrm>
        </p:spPr>
        <p:txBody>
          <a:bodyPr wrap="none"/>
          <a:lstStyle>
            <a:lvl1pPr>
              <a:defRPr sz="2400" b="1" i="0" baseline="0">
                <a:latin typeface="+mj-lt"/>
                <a:ea typeface="+mj-ea"/>
                <a:cs typeface="+mj-cs"/>
              </a:defRPr>
            </a:lvl1pPr>
            <a:lvl2pPr marL="0" indent="0">
              <a:buNone/>
              <a:defRPr/>
            </a:lvl2pPr>
          </a:lstStyle>
          <a:p>
            <a:pPr lvl="0"/>
            <a:r>
              <a:rPr lang="en-US"/>
              <a:t>Click to edit Master text styles</a:t>
            </a:r>
          </a:p>
        </p:txBody>
      </p:sp>
      <p:sp>
        <p:nvSpPr>
          <p:cNvPr id="13" name="Text placeholder">
            <a:extLst>
              <a:ext uri="{FF2B5EF4-FFF2-40B4-BE49-F238E27FC236}">
                <a16:creationId xmlns:a16="http://schemas.microsoft.com/office/drawing/2014/main" id="{D1F1FC03-E13C-4DBC-B6B4-BEEBF31F835D}"/>
              </a:ext>
            </a:extLst>
          </p:cNvPr>
          <p:cNvSpPr>
            <a:spLocks noGrp="1"/>
          </p:cNvSpPr>
          <p:nvPr>
            <p:ph type="body" sz="quarter" idx="14" hasCustomPrompt="1"/>
          </p:nvPr>
        </p:nvSpPr>
        <p:spPr>
          <a:xfrm>
            <a:off x="847935" y="2942999"/>
            <a:ext cx="4081253" cy="3206975"/>
          </a:xfrm>
        </p:spPr>
        <p:txBody>
          <a:bodyPr/>
          <a:lstStyle>
            <a:lvl1pPr defTabSz="486000">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Datumsplatzhalter 2">
            <a:extLst>
              <a:ext uri="{FF2B5EF4-FFF2-40B4-BE49-F238E27FC236}">
                <a16:creationId xmlns:a16="http://schemas.microsoft.com/office/drawing/2014/main" id="{81A653C2-B73F-4372-9BE7-13E42E96FD59}"/>
              </a:ext>
            </a:extLst>
          </p:cNvPr>
          <p:cNvSpPr>
            <a:spLocks noGrp="1"/>
          </p:cNvSpPr>
          <p:nvPr>
            <p:ph type="dt" sz="half" idx="10"/>
          </p:nvPr>
        </p:nvSpPr>
        <p:spPr/>
        <p:txBody>
          <a:bodyPr/>
          <a:lstStyle/>
          <a:p>
            <a:endParaRPr lang="en-US"/>
          </a:p>
        </p:txBody>
      </p:sp>
      <p:sp>
        <p:nvSpPr>
          <p:cNvPr id="4" name="Fußzeilenplatzhalter 3">
            <a:extLst>
              <a:ext uri="{FF2B5EF4-FFF2-40B4-BE49-F238E27FC236}">
                <a16:creationId xmlns:a16="http://schemas.microsoft.com/office/drawing/2014/main" id="{8C8A9466-E19E-43C7-97FD-9BDFF7521B23}"/>
              </a:ext>
            </a:extLst>
          </p:cNvPr>
          <p:cNvSpPr>
            <a:spLocks noGrp="1"/>
          </p:cNvSpPr>
          <p:nvPr>
            <p:ph type="ftr" sz="quarter" idx="11"/>
          </p:nvPr>
        </p:nvSpPr>
        <p:spPr/>
        <p:txBody>
          <a:bodyPr/>
          <a:lstStyle/>
          <a:p>
            <a:endParaRPr lang="en-US"/>
          </a:p>
        </p:txBody>
      </p:sp>
      <p:sp>
        <p:nvSpPr>
          <p:cNvPr id="5" name="Foliennummernplatzhalter 4">
            <a:extLst>
              <a:ext uri="{FF2B5EF4-FFF2-40B4-BE49-F238E27FC236}">
                <a16:creationId xmlns:a16="http://schemas.microsoft.com/office/drawing/2014/main" id="{7547145D-73D2-4B00-B66C-BDE16DFB7781}"/>
              </a:ext>
            </a:extLst>
          </p:cNvPr>
          <p:cNvSpPr>
            <a:spLocks noGrp="1"/>
          </p:cNvSpPr>
          <p:nvPr>
            <p:ph type="sldNum" sz="quarter" idx="12"/>
          </p:nvPr>
        </p:nvSpPr>
        <p:spPr/>
        <p:txBody>
          <a:bodyPr/>
          <a:lstStyle/>
          <a:p>
            <a:fld id="{895CC360-39D1-4D3A-B6C9-5AECCFD4809A}" type="slidenum">
              <a:rPr lang="en-US"/>
              <a:pPr/>
              <a:t>‹Nr.›</a:t>
            </a:fld>
            <a:endParaRPr lang="en-US"/>
          </a:p>
        </p:txBody>
      </p:sp>
      <p:sp>
        <p:nvSpPr>
          <p:cNvPr id="10" name="Layoutschutz" hidden="1">
            <a:extLst>
              <a:ext uri="{FF2B5EF4-FFF2-40B4-BE49-F238E27FC236}">
                <a16:creationId xmlns:a16="http://schemas.microsoft.com/office/drawing/2014/main" id="{DDF26409-216B-41E3-9787-EEAF419251B4}"/>
              </a:ext>
            </a:extLst>
          </p:cNvPr>
          <p:cNvSpPr/>
          <p:nvPr userDrawn="1">
            <p:custDataLst>
              <p:tags r:id="rId1"/>
            </p:custDataLst>
          </p:nvPr>
        </p:nvSpPr>
        <p:spPr>
          <a:xfrm>
            <a:off x="254000" y="1295400"/>
            <a:ext cx="11760200" cy="55626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2267920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hf sldNum="0" hdr="0" ftr="0" dt="0"/>
  <p:extLst>
    <p:ext uri="{DCECCB84-F9BA-43D5-87BE-67443E8EF086}">
      <p15:sldGuideLst xmlns:p15="http://schemas.microsoft.com/office/powerpoint/2012/main">
        <p15:guide id="1" pos="534">
          <p15:clr>
            <a:srgbClr val="547EBF"/>
          </p15:clr>
        </p15:guide>
        <p15:guide id="2" pos="3105">
          <p15:clr>
            <a:srgbClr val="547EBF"/>
          </p15:clr>
        </p15:guide>
        <p15:guide id="3" pos="3350">
          <p15:clr>
            <a:srgbClr val="547EBF"/>
          </p15:clr>
        </p15:guide>
        <p15:guide id="4" pos="7146">
          <p15:clr>
            <a:srgbClr val="547EBF"/>
          </p15:clr>
        </p15:guide>
        <p15:guide id="6" orient="horz" pos="1486">
          <p15:clr>
            <a:srgbClr val="547EBF"/>
          </p15:clr>
        </p15:guide>
        <p15:guide id="7" orient="horz" pos="1854">
          <p15:clr>
            <a:srgbClr val="547EBF"/>
          </p15:clr>
        </p15:guide>
        <p15:guide id="8" orient="horz" pos="3874">
          <p15:clr>
            <a:srgbClr val="547EBF"/>
          </p15:clr>
        </p15:guide>
        <p15:guide id="9" orient="horz" pos="1119">
          <p15:clr>
            <a:srgbClr val="547EBF"/>
          </p15:clr>
        </p15:guide>
        <p15:guide id="10" orient="horz" pos="1303">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10;with shadow">
    <p:bg>
      <p:bgRef idx="1001">
        <a:schemeClr val="bg2"/>
      </p:bgRef>
    </p:bg>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A7ADD926-F1E6-4465-8EDD-314341AB131D}"/>
              </a:ext>
            </a:extLst>
          </p:cNvPr>
          <p:cNvSpPr>
            <a:spLocks/>
          </p:cNvSpPr>
          <p:nvPr userDrawn="1"/>
        </p:nvSpPr>
        <p:spPr>
          <a:xfrm>
            <a:off x="458401" y="1387800"/>
            <a:ext cx="11275200" cy="5054400"/>
          </a:xfrm>
          <a:prstGeom prst="rect">
            <a:avLst/>
          </a:prstGeom>
          <a:solidFill>
            <a:schemeClr val="bg1"/>
          </a:solidFill>
          <a:effectLst>
            <a:outerShdw blurRad="127000" algn="ctr" rotWithShape="0">
              <a:prstClr val="black">
                <a:alpha val="25000"/>
              </a:prstClr>
            </a:outerShdw>
          </a:effectLst>
        </p:spPr>
        <p:txBody>
          <a:bodyPr vert="horz" lIns="360000" tIns="360000" rIns="360000" bIns="360000" rtlCol="0">
            <a:noAutofit/>
          </a:bodyPr>
          <a:lstStyle/>
          <a:p>
            <a:pPr lvl="0" indent="0">
              <a:lnSpc>
                <a:spcPct val="120000"/>
              </a:lnSpc>
              <a:spcBef>
                <a:spcPts val="1200"/>
              </a:spcBef>
              <a:spcAft>
                <a:spcPts val="300"/>
              </a:spcAft>
              <a:buClr>
                <a:schemeClr val="tx2"/>
              </a:buClr>
              <a:buFont typeface="Wingdings" pitchFamily="2" charset="2"/>
              <a:buNone/>
            </a:pPr>
            <a:endParaRPr lang="en-US" sz="2400" b="1">
              <a:solidFill>
                <a:schemeClr val="tx1"/>
              </a:solidFill>
              <a:latin typeface="Segoe UI Light" panose="020B0502040204020203" pitchFamily="34" charset="0"/>
              <a:cs typeface="Segoe UI Light" panose="020B0502040204020203" pitchFamily="34" charset="0"/>
            </a:endParaRPr>
          </a:p>
        </p:txBody>
      </p:sp>
      <p:sp>
        <p:nvSpPr>
          <p:cNvPr id="2" name="Title">
            <a:extLst>
              <a:ext uri="{FF2B5EF4-FFF2-40B4-BE49-F238E27FC236}">
                <a16:creationId xmlns:a16="http://schemas.microsoft.com/office/drawing/2014/main" id="{72770FE5-7639-45B7-BE4F-32E8CC074E62}"/>
              </a:ext>
            </a:extLst>
          </p:cNvPr>
          <p:cNvSpPr>
            <a:spLocks noGrp="1"/>
          </p:cNvSpPr>
          <p:nvPr>
            <p:ph type="title"/>
          </p:nvPr>
        </p:nvSpPr>
        <p:spPr/>
        <p:txBody>
          <a:bodyPr/>
          <a:lstStyle/>
          <a:p>
            <a:r>
              <a:rPr lang="en-US"/>
              <a:t>Click to edit Master title style</a:t>
            </a:r>
          </a:p>
        </p:txBody>
      </p:sp>
      <p:sp>
        <p:nvSpPr>
          <p:cNvPr id="3" name="Datumsplatzhalter 2" hidden="1">
            <a:extLst>
              <a:ext uri="{FF2B5EF4-FFF2-40B4-BE49-F238E27FC236}">
                <a16:creationId xmlns:a16="http://schemas.microsoft.com/office/drawing/2014/main" id="{81A653C2-B73F-4372-9BE7-13E42E96FD59}"/>
              </a:ext>
            </a:extLst>
          </p:cNvPr>
          <p:cNvSpPr>
            <a:spLocks noGrp="1"/>
          </p:cNvSpPr>
          <p:nvPr>
            <p:ph type="dt" sz="half" idx="10"/>
          </p:nvPr>
        </p:nvSpPr>
        <p:spPr/>
        <p:txBody>
          <a:bodyPr/>
          <a:lstStyle/>
          <a:p>
            <a:endParaRPr lang="en-US"/>
          </a:p>
        </p:txBody>
      </p:sp>
      <p:sp>
        <p:nvSpPr>
          <p:cNvPr id="4" name="Fußzeilenplatzhalter 3" hidden="1">
            <a:extLst>
              <a:ext uri="{FF2B5EF4-FFF2-40B4-BE49-F238E27FC236}">
                <a16:creationId xmlns:a16="http://schemas.microsoft.com/office/drawing/2014/main" id="{8C8A9466-E19E-43C7-97FD-9BDFF7521B23}"/>
              </a:ext>
            </a:extLst>
          </p:cNvPr>
          <p:cNvSpPr>
            <a:spLocks noGrp="1"/>
          </p:cNvSpPr>
          <p:nvPr>
            <p:ph type="ftr" sz="quarter" idx="11"/>
          </p:nvPr>
        </p:nvSpPr>
        <p:spPr/>
        <p:txBody>
          <a:bodyPr/>
          <a:lstStyle/>
          <a:p>
            <a:endParaRPr lang="en-US"/>
          </a:p>
        </p:txBody>
      </p:sp>
      <p:sp>
        <p:nvSpPr>
          <p:cNvPr id="5" name="Foliennummernplatzhalter 4" hidden="1">
            <a:extLst>
              <a:ext uri="{FF2B5EF4-FFF2-40B4-BE49-F238E27FC236}">
                <a16:creationId xmlns:a16="http://schemas.microsoft.com/office/drawing/2014/main" id="{7547145D-73D2-4B00-B66C-BDE16DFB7781}"/>
              </a:ext>
            </a:extLst>
          </p:cNvPr>
          <p:cNvSpPr>
            <a:spLocks noGrp="1"/>
          </p:cNvSpPr>
          <p:nvPr>
            <p:ph type="sldNum" sz="quarter" idx="12"/>
          </p:nvPr>
        </p:nvSpPr>
        <p:spPr/>
        <p:txBody>
          <a:bodyPr/>
          <a:lstStyle/>
          <a:p>
            <a:fld id="{895CC360-39D1-4D3A-B6C9-5AECCFD4809A}" type="slidenum">
              <a:rPr lang="en-US"/>
              <a:pPr/>
              <a:t>‹Nr.›</a:t>
            </a:fld>
            <a:endParaRPr lang="en-US"/>
          </a:p>
        </p:txBody>
      </p:sp>
      <p:sp>
        <p:nvSpPr>
          <p:cNvPr id="9" name="Layoutschutz" hidden="1">
            <a:extLst>
              <a:ext uri="{FF2B5EF4-FFF2-40B4-BE49-F238E27FC236}">
                <a16:creationId xmlns:a16="http://schemas.microsoft.com/office/drawing/2014/main" id="{A40F6ECE-9194-4162-9BA4-8B3A057A1EAA}"/>
              </a:ext>
            </a:extLst>
          </p:cNvPr>
          <p:cNvSpPr/>
          <p:nvPr userDrawn="1">
            <p:custDataLst>
              <p:tags r:id="rId1"/>
            </p:custDataLst>
          </p:nvPr>
        </p:nvSpPr>
        <p:spPr>
          <a:xfrm>
            <a:off x="254000" y="1295400"/>
            <a:ext cx="11760200" cy="55626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3735822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hf sldNum="0" hdr="0" ftr="0" dt="0"/>
  <p:extLst>
    <p:ext uri="{DCECCB84-F9BA-43D5-87BE-67443E8EF086}">
      <p15:sldGuideLst xmlns:p15="http://schemas.microsoft.com/office/powerpoint/2012/main">
        <p15:guide id="1" pos="534">
          <p15:clr>
            <a:srgbClr val="547EBF"/>
          </p15:clr>
        </p15:guide>
        <p15:guide id="2" pos="3105">
          <p15:clr>
            <a:srgbClr val="547EBF"/>
          </p15:clr>
        </p15:guide>
        <p15:guide id="3" pos="3350">
          <p15:clr>
            <a:srgbClr val="547EBF"/>
          </p15:clr>
        </p15:guide>
        <p15:guide id="4" pos="7146">
          <p15:clr>
            <a:srgbClr val="547EBF"/>
          </p15:clr>
        </p15:guide>
        <p15:guide id="6" orient="horz" pos="1486">
          <p15:clr>
            <a:srgbClr val="547EBF"/>
          </p15:clr>
        </p15:guide>
        <p15:guide id="7" orient="horz" pos="1854">
          <p15:clr>
            <a:srgbClr val="547EBF"/>
          </p15:clr>
        </p15:guide>
        <p15:guide id="8" orient="horz" pos="3874">
          <p15:clr>
            <a:srgbClr val="547EBF"/>
          </p15:clr>
        </p15:guide>
        <p15:guide id="9" orient="horz" pos="1119">
          <p15:clr>
            <a:srgbClr val="547EBF"/>
          </p15:clr>
        </p15:guide>
        <p15:guide id="10" orient="horz" pos="1303">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18C845-93F0-4295-951F-C4DA418DC55E}"/>
              </a:ext>
            </a:extLst>
          </p:cNvPr>
          <p:cNvSpPr>
            <a:spLocks noGrp="1"/>
          </p:cNvSpPr>
          <p:nvPr>
            <p:ph type="title" hasCustomPrompt="1"/>
          </p:nvPr>
        </p:nvSpPr>
        <p:spPr>
          <a:xfrm>
            <a:off x="458400" y="318600"/>
            <a:ext cx="6442463" cy="583200"/>
          </a:xfrm>
        </p:spPr>
        <p:txBody>
          <a:bodyPr/>
          <a:lstStyle>
            <a:lvl1pPr>
              <a:defRPr/>
            </a:lvl1pPr>
          </a:lstStyle>
          <a:p>
            <a:r>
              <a:rPr lang="en-US" dirty="0"/>
              <a:t>Click to edit Master title style       </a:t>
            </a:r>
          </a:p>
        </p:txBody>
      </p:sp>
      <p:sp>
        <p:nvSpPr>
          <p:cNvPr id="3" name="Datumsplatzhalter 2">
            <a:extLst>
              <a:ext uri="{FF2B5EF4-FFF2-40B4-BE49-F238E27FC236}">
                <a16:creationId xmlns:a16="http://schemas.microsoft.com/office/drawing/2014/main" id="{A85CC5E9-9858-4C3D-80AD-6307B98936E7}"/>
              </a:ext>
            </a:extLst>
          </p:cNvPr>
          <p:cNvSpPr>
            <a:spLocks noGrp="1"/>
          </p:cNvSpPr>
          <p:nvPr>
            <p:ph type="dt" sz="half" idx="10"/>
          </p:nvPr>
        </p:nvSpPr>
        <p:spPr/>
        <p:txBody>
          <a:bodyPr/>
          <a:lstStyle/>
          <a:p>
            <a:fld id="{4BB15BD6-27E9-4759-BF84-A7ADBF6583F9}" type="datetimeFigureOut">
              <a:rPr lang="de-DE"/>
              <a:pPr/>
              <a:t>29.10.2021</a:t>
            </a:fld>
            <a:endParaRPr lang="de-DE"/>
          </a:p>
        </p:txBody>
      </p:sp>
      <p:sp>
        <p:nvSpPr>
          <p:cNvPr id="6" name="Fußzeilenplatzhalter 5">
            <a:extLst>
              <a:ext uri="{FF2B5EF4-FFF2-40B4-BE49-F238E27FC236}">
                <a16:creationId xmlns:a16="http://schemas.microsoft.com/office/drawing/2014/main" id="{8CDEC93B-3918-4791-8004-F8CABFEC34A9}"/>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055BF443-7404-4CF2-9990-16AF4594FBE5}"/>
              </a:ext>
            </a:extLst>
          </p:cNvPr>
          <p:cNvSpPr>
            <a:spLocks noGrp="1"/>
          </p:cNvSpPr>
          <p:nvPr>
            <p:ph type="sldNum" sz="quarter" idx="12"/>
          </p:nvPr>
        </p:nvSpPr>
        <p:spPr/>
        <p:txBody>
          <a:bodyPr/>
          <a:lstStyle/>
          <a:p>
            <a:fld id="{895CC360-39D1-4D3A-B6C9-5AECCFD4809A}" type="slidenum">
              <a:rPr lang="de-DE"/>
              <a:pPr/>
              <a:t>‹Nr.›</a:t>
            </a:fld>
            <a:endParaRPr lang="de-DE"/>
          </a:p>
        </p:txBody>
      </p:sp>
      <p:sp>
        <p:nvSpPr>
          <p:cNvPr id="8" name="Picture Placeholder 4">
            <a:extLst>
              <a:ext uri="{FF2B5EF4-FFF2-40B4-BE49-F238E27FC236}">
                <a16:creationId xmlns:a16="http://schemas.microsoft.com/office/drawing/2014/main" id="{F8BA1034-15DD-4813-943D-A78747A0C576}"/>
              </a:ext>
            </a:extLst>
          </p:cNvPr>
          <p:cNvSpPr>
            <a:spLocks noGrp="1"/>
          </p:cNvSpPr>
          <p:nvPr>
            <p:ph type="pic" sz="quarter" idx="16" hasCustomPrompt="1"/>
          </p:nvPr>
        </p:nvSpPr>
        <p:spPr>
          <a:xfrm>
            <a:off x="8232000" y="96065"/>
            <a:ext cx="3960000" cy="6761933"/>
          </a:xfrm>
          <a:solidFill>
            <a:schemeClr val="bg2"/>
          </a:solidFill>
        </p:spPr>
        <p:txBody>
          <a:bodyPr bIns="756000" anchor="ctr"/>
          <a:lstStyle>
            <a:lvl1pPr marL="0" indent="0" algn="ctr">
              <a:buNone/>
              <a:defRPr/>
            </a:lvl1pPr>
          </a:lstStyle>
          <a:p>
            <a:r>
              <a:rPr lang="de-DE" noProof="0" dirty="0"/>
              <a:t> </a:t>
            </a:r>
          </a:p>
        </p:txBody>
      </p:sp>
      <p:sp>
        <p:nvSpPr>
          <p:cNvPr id="2" name="Rectangle 1" hidden="1">
            <a:extLst>
              <a:ext uri="{FF2B5EF4-FFF2-40B4-BE49-F238E27FC236}">
                <a16:creationId xmlns:a16="http://schemas.microsoft.com/office/drawing/2014/main" id="{D037FC98-3807-4028-A1FA-3C7D0B2A4F53}"/>
              </a:ext>
            </a:extLst>
          </p:cNvPr>
          <p:cNvSpPr/>
          <p:nvPr userDrawn="1">
            <p:custDataLst>
              <p:tags r:id="rId1"/>
            </p:custDataLst>
          </p:nvPr>
        </p:nvSpPr>
        <p:spPr>
          <a:xfrm>
            <a:off x="1" y="1"/>
            <a:ext cx="12192000" cy="6858000"/>
          </a:xfrm>
          <a:prstGeom prst="rect">
            <a:avLst/>
          </a:prstGeom>
          <a:solidFill>
            <a:srgbClr val="FFC000">
              <a:alpha val="7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
        <p:nvSpPr>
          <p:cNvPr id="9" name="Layoutschutz" hidden="1">
            <a:extLst>
              <a:ext uri="{FF2B5EF4-FFF2-40B4-BE49-F238E27FC236}">
                <a16:creationId xmlns:a16="http://schemas.microsoft.com/office/drawing/2014/main" id="{3947B45A-9FEF-4948-A5B1-17AD846B07B6}"/>
              </a:ext>
            </a:extLst>
          </p:cNvPr>
          <p:cNvSpPr/>
          <p:nvPr userDrawn="1">
            <p:custDataLst>
              <p:tags r:id="rId2"/>
            </p:custDataLst>
          </p:nvPr>
        </p:nvSpPr>
        <p:spPr>
          <a:xfrm>
            <a:off x="-55289" y="-114833"/>
            <a:ext cx="12282731" cy="7145079"/>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2662250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extLst>
    <p:ext uri="{DCECCB84-F9BA-43D5-87BE-67443E8EF086}">
      <p15:sldGuideLst xmlns:p15="http://schemas.microsoft.com/office/powerpoint/2012/main">
        <p15:guide id="1" pos="289">
          <p15:clr>
            <a:srgbClr val="547EBF"/>
          </p15:clr>
        </p15:guide>
        <p15:guide id="2" pos="7391">
          <p15:clr>
            <a:srgbClr val="547EBF"/>
          </p15:clr>
        </p15:guide>
        <p15:guide id="3" orient="horz" pos="201">
          <p15:clr>
            <a:srgbClr val="547EBF"/>
          </p15:clr>
        </p15:guide>
        <p15:guide id="4" orient="horz" pos="568">
          <p15:clr>
            <a:srgbClr val="547EBF"/>
          </p15:clr>
        </p15:guide>
        <p15:guide id="5" orient="horz" pos="874">
          <p15:clr>
            <a:srgbClr val="547EBF"/>
          </p15:clr>
        </p15:guide>
        <p15:guide id="6" orient="horz" pos="4119">
          <p15:clr>
            <a:srgbClr val="547EBF"/>
          </p15:clr>
        </p15:guide>
        <p15:guide id="7" pos="3718">
          <p15:clr>
            <a:srgbClr val="A4A3A4"/>
          </p15:clr>
        </p15:guide>
        <p15:guide id="8" pos="3962">
          <p15:clr>
            <a:srgbClr val="A4A3A4"/>
          </p15:clr>
        </p15:guide>
        <p15:guide id="10" pos="7680">
          <p15:clr>
            <a:srgbClr val="A4A3A4"/>
          </p15:clr>
        </p15:guide>
        <p15:guide id="11" pos="4942">
          <p15:clr>
            <a:srgbClr val="A4A3A4"/>
          </p15:clr>
        </p15:guide>
        <p15:guide id="12" pos="5187">
          <p15:clr>
            <a:srgbClr val="A4A3A4"/>
          </p15:clr>
        </p15:guide>
        <p15:guide id="15" pos="6167">
          <p15:clr>
            <a:srgbClr val="A4A3A4"/>
          </p15:clr>
        </p15:guide>
        <p15:guide id="16" pos="6412">
          <p15:clr>
            <a:srgbClr val="A4A3A4"/>
          </p15:clr>
        </p15:guide>
        <p15:guide id="19" pos="2738">
          <p15:clr>
            <a:srgbClr val="A4A3A4"/>
          </p15:clr>
        </p15:guide>
        <p15:guide id="20" pos="2493">
          <p15:clr>
            <a:srgbClr val="A4A3A4"/>
          </p15:clr>
        </p15:guide>
        <p15:guide id="26" orient="horz" pos="1854">
          <p15:clr>
            <a:srgbClr val="A4A3A4"/>
          </p15:clr>
        </p15:guide>
        <p15:guide id="27" orient="horz" pos="2099">
          <p15:clr>
            <a:srgbClr val="A4A3A4"/>
          </p15:clr>
        </p15:guide>
        <p15:guide id="29" orient="horz" pos="3078">
          <p15:clr>
            <a:srgbClr val="A4A3A4"/>
          </p15:clr>
        </p15:guide>
        <p15:guide id="30" orient="horz" pos="3323">
          <p15:clr>
            <a:srgbClr val="A4A3A4"/>
          </p15:clr>
        </p15:guide>
        <p15:guide id="33" pos="1513">
          <p15:clr>
            <a:srgbClr val="A4A3A4"/>
          </p15:clr>
        </p15:guide>
        <p15:guide id="34" pos="1268">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10;">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38662048-C826-4783-A5CE-20B3E7DE2CD3}"/>
              </a:ext>
            </a:extLst>
          </p:cNvPr>
          <p:cNvSpPr>
            <a:spLocks noGrp="1"/>
          </p:cNvSpPr>
          <p:nvPr>
            <p:ph type="dt" sz="half" idx="10"/>
          </p:nvPr>
        </p:nvSpPr>
        <p:spPr/>
        <p:txBody>
          <a:bodyPr/>
          <a:lstStyle/>
          <a:p>
            <a:endParaRPr lang="en-US"/>
          </a:p>
        </p:txBody>
      </p:sp>
      <p:sp>
        <p:nvSpPr>
          <p:cNvPr id="4" name="Fußzeilenplatzhalter 3">
            <a:extLst>
              <a:ext uri="{FF2B5EF4-FFF2-40B4-BE49-F238E27FC236}">
                <a16:creationId xmlns:a16="http://schemas.microsoft.com/office/drawing/2014/main" id="{0D0D0533-7A19-452F-8365-DFA883BF7323}"/>
              </a:ext>
            </a:extLst>
          </p:cNvPr>
          <p:cNvSpPr>
            <a:spLocks noGrp="1"/>
          </p:cNvSpPr>
          <p:nvPr>
            <p:ph type="ftr" sz="quarter" idx="11"/>
          </p:nvPr>
        </p:nvSpPr>
        <p:spPr/>
        <p:txBody>
          <a:bodyPr/>
          <a:lstStyle/>
          <a:p>
            <a:endParaRPr lang="en-US"/>
          </a:p>
        </p:txBody>
      </p:sp>
      <p:sp>
        <p:nvSpPr>
          <p:cNvPr id="5" name="Foliennummernplatzhalter 4">
            <a:extLst>
              <a:ext uri="{FF2B5EF4-FFF2-40B4-BE49-F238E27FC236}">
                <a16:creationId xmlns:a16="http://schemas.microsoft.com/office/drawing/2014/main" id="{327558B4-C5C8-4B1F-A7A9-4A7960C1E0DE}"/>
              </a:ext>
            </a:extLst>
          </p:cNvPr>
          <p:cNvSpPr>
            <a:spLocks noGrp="1"/>
          </p:cNvSpPr>
          <p:nvPr>
            <p:ph type="sldNum" sz="quarter" idx="12"/>
          </p:nvPr>
        </p:nvSpPr>
        <p:spPr/>
        <p:txBody>
          <a:bodyPr/>
          <a:lstStyle/>
          <a:p>
            <a:fld id="{895CC360-39D1-4D3A-B6C9-5AECCFD4809A}" type="slidenum">
              <a:rPr lang="en-US"/>
              <a:pPr/>
              <a:t>‹Nr.›</a:t>
            </a:fld>
            <a:endParaRPr lang="en-US"/>
          </a:p>
        </p:txBody>
      </p:sp>
      <p:sp>
        <p:nvSpPr>
          <p:cNvPr id="7" name="Layoutschutz" hidden="1">
            <a:extLst>
              <a:ext uri="{FF2B5EF4-FFF2-40B4-BE49-F238E27FC236}">
                <a16:creationId xmlns:a16="http://schemas.microsoft.com/office/drawing/2014/main" id="{243CC649-AF1F-4C3F-B66A-183E7DDCFE08}"/>
              </a:ext>
            </a:extLst>
          </p:cNvPr>
          <p:cNvSpPr/>
          <p:nvPr userDrawn="1">
            <p:custDataLst>
              <p:tags r:id="rId1"/>
            </p:custDataLst>
          </p:nvPr>
        </p:nvSpPr>
        <p:spPr>
          <a:xfrm>
            <a:off x="0" y="101600"/>
            <a:ext cx="12192000" cy="67564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
        <p:nvSpPr>
          <p:cNvPr id="6" name="Title">
            <a:extLst>
              <a:ext uri="{FF2B5EF4-FFF2-40B4-BE49-F238E27FC236}">
                <a16:creationId xmlns:a16="http://schemas.microsoft.com/office/drawing/2014/main" id="{895D1F0F-7C4E-4A1D-9C8F-E8BFBCA201F0}"/>
              </a:ext>
            </a:extLst>
          </p:cNvPr>
          <p:cNvSpPr>
            <a:spLocks noGrp="1"/>
          </p:cNvSpPr>
          <p:nvPr>
            <p:ph type="title"/>
          </p:nvPr>
        </p:nvSpPr>
        <p:spPr>
          <a:xfrm>
            <a:off x="458400" y="318601"/>
            <a:ext cx="11275200" cy="583200"/>
          </a:xfrm>
        </p:spPr>
        <p:txBody>
          <a:bodyPr/>
          <a:lstStyle/>
          <a:p>
            <a:r>
              <a:rPr lang="en-US"/>
              <a:t>Click to edit Master title style</a:t>
            </a:r>
          </a:p>
        </p:txBody>
      </p:sp>
    </p:spTree>
    <p:extLst>
      <p:ext uri="{BB962C8B-B14F-4D97-AF65-F5344CB8AC3E}">
        <p14:creationId xmlns:p14="http://schemas.microsoft.com/office/powerpoint/2010/main" val="1692047606"/>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ogo">
    <p:spTree>
      <p:nvGrpSpPr>
        <p:cNvPr id="1" name=""/>
        <p:cNvGrpSpPr/>
        <p:nvPr/>
      </p:nvGrpSpPr>
      <p:grpSpPr>
        <a:xfrm>
          <a:off x="0" y="0"/>
          <a:ext cx="0" cy="0"/>
          <a:chOff x="0" y="0"/>
          <a:chExt cx="0" cy="0"/>
        </a:xfrm>
      </p:grpSpPr>
      <p:sp>
        <p:nvSpPr>
          <p:cNvPr id="8" name="Datumsplatzhalter 7">
            <a:extLst>
              <a:ext uri="{FF2B5EF4-FFF2-40B4-BE49-F238E27FC236}">
                <a16:creationId xmlns:a16="http://schemas.microsoft.com/office/drawing/2014/main" id="{19E84BD6-4448-4AA8-A712-DDA0680E126F}"/>
              </a:ext>
            </a:extLst>
          </p:cNvPr>
          <p:cNvSpPr>
            <a:spLocks noGrp="1"/>
          </p:cNvSpPr>
          <p:nvPr>
            <p:ph type="dt" sz="half" idx="10"/>
          </p:nvPr>
        </p:nvSpPr>
        <p:spPr/>
        <p:txBody>
          <a:bodyPr/>
          <a:lstStyle/>
          <a:p>
            <a:endParaRPr lang="en-US"/>
          </a:p>
        </p:txBody>
      </p:sp>
      <p:sp>
        <p:nvSpPr>
          <p:cNvPr id="9" name="Fußzeilenplatzhalter 8">
            <a:extLst>
              <a:ext uri="{FF2B5EF4-FFF2-40B4-BE49-F238E27FC236}">
                <a16:creationId xmlns:a16="http://schemas.microsoft.com/office/drawing/2014/main" id="{47A61216-B201-4C21-95A7-55D8C0EE04EE}"/>
              </a:ext>
            </a:extLst>
          </p:cNvPr>
          <p:cNvSpPr>
            <a:spLocks noGrp="1"/>
          </p:cNvSpPr>
          <p:nvPr>
            <p:ph type="ftr" sz="quarter" idx="11"/>
          </p:nvPr>
        </p:nvSpPr>
        <p:spPr/>
        <p:txBody>
          <a:bodyPr/>
          <a:lstStyle/>
          <a:p>
            <a:endParaRPr lang="en-US"/>
          </a:p>
        </p:txBody>
      </p:sp>
      <p:sp>
        <p:nvSpPr>
          <p:cNvPr id="10" name="Foliennummernplatzhalter 9">
            <a:extLst>
              <a:ext uri="{FF2B5EF4-FFF2-40B4-BE49-F238E27FC236}">
                <a16:creationId xmlns:a16="http://schemas.microsoft.com/office/drawing/2014/main" id="{77E14833-6258-4928-8137-8DB18764CCD5}"/>
              </a:ext>
            </a:extLst>
          </p:cNvPr>
          <p:cNvSpPr>
            <a:spLocks noGrp="1"/>
          </p:cNvSpPr>
          <p:nvPr>
            <p:ph type="sldNum" sz="quarter" idx="12"/>
          </p:nvPr>
        </p:nvSpPr>
        <p:spPr/>
        <p:txBody>
          <a:bodyPr/>
          <a:lstStyle/>
          <a:p>
            <a:fld id="{895CC360-39D1-4D3A-B6C9-5AECCFD4809A}" type="slidenum">
              <a:rPr lang="en-US"/>
              <a:pPr/>
              <a:t>‹Nr.›</a:t>
            </a:fld>
            <a:endParaRPr lang="en-US"/>
          </a:p>
        </p:txBody>
      </p:sp>
      <p:grpSp>
        <p:nvGrpSpPr>
          <p:cNvPr id="2" name="MIO_LOGOPLACEHOLDER#LastSlide">
            <a:extLst>
              <a:ext uri="{FF2B5EF4-FFF2-40B4-BE49-F238E27FC236}">
                <a16:creationId xmlns:a16="http://schemas.microsoft.com/office/drawing/2014/main" id="{DC42C80C-C39E-4399-8778-822EFABDA8F9}"/>
              </a:ext>
            </a:extLst>
          </p:cNvPr>
          <p:cNvGrpSpPr/>
          <p:nvPr userDrawn="1"/>
        </p:nvGrpSpPr>
        <p:grpSpPr>
          <a:xfrm>
            <a:off x="4395000" y="2829626"/>
            <a:ext cx="3403663" cy="1197081"/>
            <a:chOff x="4395000" y="2829626"/>
            <a:chExt cx="3403663" cy="1197081"/>
          </a:xfrm>
        </p:grpSpPr>
        <p:grpSp>
          <p:nvGrpSpPr>
            <p:cNvPr id="46" name="Claim">
              <a:extLst>
                <a:ext uri="{FF2B5EF4-FFF2-40B4-BE49-F238E27FC236}">
                  <a16:creationId xmlns:a16="http://schemas.microsoft.com/office/drawing/2014/main" id="{0FA7724D-DA30-4E37-BA41-EEE62F9CD4CA}"/>
                </a:ext>
              </a:extLst>
            </p:cNvPr>
            <p:cNvGrpSpPr/>
            <p:nvPr/>
          </p:nvGrpSpPr>
          <p:grpSpPr>
            <a:xfrm>
              <a:off x="5647579" y="3797503"/>
              <a:ext cx="2151084" cy="229204"/>
              <a:chOff x="5647579" y="3797503"/>
              <a:chExt cx="2151084" cy="229204"/>
            </a:xfrm>
            <a:solidFill>
              <a:srgbClr val="676767"/>
            </a:solidFill>
          </p:grpSpPr>
          <p:sp>
            <p:nvSpPr>
              <p:cNvPr id="47" name="Freihandform: Form 46">
                <a:extLst>
                  <a:ext uri="{FF2B5EF4-FFF2-40B4-BE49-F238E27FC236}">
                    <a16:creationId xmlns:a16="http://schemas.microsoft.com/office/drawing/2014/main" id="{76D4E4FA-075E-4183-9221-9BAD8931E148}"/>
                  </a:ext>
                </a:extLst>
              </p:cNvPr>
              <p:cNvSpPr/>
              <p:nvPr/>
            </p:nvSpPr>
            <p:spPr>
              <a:xfrm>
                <a:off x="5647579" y="3797503"/>
                <a:ext cx="105483" cy="180367"/>
              </a:xfrm>
              <a:custGeom>
                <a:avLst/>
                <a:gdLst>
                  <a:gd name="connsiteX0" fmla="*/ 89351 w 105483"/>
                  <a:gd name="connsiteY0" fmla="*/ 129309 h 180367"/>
                  <a:gd name="connsiteX1" fmla="*/ 47173 w 105483"/>
                  <a:gd name="connsiteY1" fmla="*/ 172597 h 180367"/>
                  <a:gd name="connsiteX2" fmla="*/ 31079 w 105483"/>
                  <a:gd name="connsiteY2" fmla="*/ 180367 h 180367"/>
                  <a:gd name="connsiteX3" fmla="*/ 26639 w 105483"/>
                  <a:gd name="connsiteY3" fmla="*/ 178702 h 180367"/>
                  <a:gd name="connsiteX4" fmla="*/ 24974 w 105483"/>
                  <a:gd name="connsiteY4" fmla="*/ 174262 h 180367"/>
                  <a:gd name="connsiteX5" fmla="*/ 27194 w 105483"/>
                  <a:gd name="connsiteY5" fmla="*/ 168713 h 180367"/>
                  <a:gd name="connsiteX6" fmla="*/ 34408 w 105483"/>
                  <a:gd name="connsiteY6" fmla="*/ 164273 h 180367"/>
                  <a:gd name="connsiteX7" fmla="*/ 64932 w 105483"/>
                  <a:gd name="connsiteY7" fmla="*/ 143184 h 180367"/>
                  <a:gd name="connsiteX8" fmla="*/ 86576 w 105483"/>
                  <a:gd name="connsiteY8" fmla="*/ 114325 h 180367"/>
                  <a:gd name="connsiteX9" fmla="*/ 94346 w 105483"/>
                  <a:gd name="connsiteY9" fmla="*/ 87131 h 180367"/>
                  <a:gd name="connsiteX10" fmla="*/ 92126 w 105483"/>
                  <a:gd name="connsiteY10" fmla="*/ 79917 h 180367"/>
                  <a:gd name="connsiteX11" fmla="*/ 85466 w 105483"/>
                  <a:gd name="connsiteY11" fmla="*/ 77697 h 180367"/>
                  <a:gd name="connsiteX12" fmla="*/ 64377 w 105483"/>
                  <a:gd name="connsiteY12" fmla="*/ 86021 h 180367"/>
                  <a:gd name="connsiteX13" fmla="*/ 44398 w 105483"/>
                  <a:gd name="connsiteY13" fmla="*/ 107665 h 180367"/>
                  <a:gd name="connsiteX14" fmla="*/ 30524 w 105483"/>
                  <a:gd name="connsiteY14" fmla="*/ 132084 h 180367"/>
                  <a:gd name="connsiteX15" fmla="*/ 20534 w 105483"/>
                  <a:gd name="connsiteY15" fmla="*/ 162608 h 180367"/>
                  <a:gd name="connsiteX16" fmla="*/ 12209 w 105483"/>
                  <a:gd name="connsiteY16" fmla="*/ 170932 h 180367"/>
                  <a:gd name="connsiteX17" fmla="*/ 8325 w 105483"/>
                  <a:gd name="connsiteY17" fmla="*/ 168158 h 180367"/>
                  <a:gd name="connsiteX18" fmla="*/ 6105 w 105483"/>
                  <a:gd name="connsiteY18" fmla="*/ 162608 h 180367"/>
                  <a:gd name="connsiteX19" fmla="*/ 3885 w 105483"/>
                  <a:gd name="connsiteY19" fmla="*/ 79362 h 180367"/>
                  <a:gd name="connsiteX20" fmla="*/ 1110 w 105483"/>
                  <a:gd name="connsiteY20" fmla="*/ 16649 h 180367"/>
                  <a:gd name="connsiteX21" fmla="*/ 1110 w 105483"/>
                  <a:gd name="connsiteY21" fmla="*/ 13874 h 180367"/>
                  <a:gd name="connsiteX22" fmla="*/ 555 w 105483"/>
                  <a:gd name="connsiteY22" fmla="*/ 11100 h 180367"/>
                  <a:gd name="connsiteX23" fmla="*/ 0 w 105483"/>
                  <a:gd name="connsiteY23" fmla="*/ 8325 h 180367"/>
                  <a:gd name="connsiteX24" fmla="*/ 0 w 105483"/>
                  <a:gd name="connsiteY24" fmla="*/ 5550 h 180367"/>
                  <a:gd name="connsiteX25" fmla="*/ 4995 w 105483"/>
                  <a:gd name="connsiteY25" fmla="*/ 0 h 180367"/>
                  <a:gd name="connsiteX26" fmla="*/ 11655 w 105483"/>
                  <a:gd name="connsiteY26" fmla="*/ 4995 h 180367"/>
                  <a:gd name="connsiteX27" fmla="*/ 14429 w 105483"/>
                  <a:gd name="connsiteY27" fmla="*/ 16649 h 180367"/>
                  <a:gd name="connsiteX28" fmla="*/ 14429 w 105483"/>
                  <a:gd name="connsiteY28" fmla="*/ 29414 h 180367"/>
                  <a:gd name="connsiteX29" fmla="*/ 16094 w 105483"/>
                  <a:gd name="connsiteY29" fmla="*/ 118765 h 180367"/>
                  <a:gd name="connsiteX30" fmla="*/ 18314 w 105483"/>
                  <a:gd name="connsiteY30" fmla="*/ 135969 h 180367"/>
                  <a:gd name="connsiteX31" fmla="*/ 26639 w 105483"/>
                  <a:gd name="connsiteY31" fmla="*/ 118210 h 180367"/>
                  <a:gd name="connsiteX32" fmla="*/ 38848 w 105483"/>
                  <a:gd name="connsiteY32" fmla="*/ 99896 h 180367"/>
                  <a:gd name="connsiteX33" fmla="*/ 63822 w 105483"/>
                  <a:gd name="connsiteY33" fmla="*/ 74922 h 180367"/>
                  <a:gd name="connsiteX34" fmla="*/ 88241 w 105483"/>
                  <a:gd name="connsiteY34" fmla="*/ 65487 h 180367"/>
                  <a:gd name="connsiteX35" fmla="*/ 100451 w 105483"/>
                  <a:gd name="connsiteY35" fmla="*/ 70482 h 180367"/>
                  <a:gd name="connsiteX36" fmla="*/ 105445 w 105483"/>
                  <a:gd name="connsiteY36" fmla="*/ 84356 h 180367"/>
                  <a:gd name="connsiteX37" fmla="*/ 89351 w 105483"/>
                  <a:gd name="connsiteY37" fmla="*/ 129309 h 180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5483" h="180367">
                    <a:moveTo>
                      <a:pt x="89351" y="129309"/>
                    </a:moveTo>
                    <a:cubicBezTo>
                      <a:pt x="78252" y="145404"/>
                      <a:pt x="64377" y="159833"/>
                      <a:pt x="47173" y="172597"/>
                    </a:cubicBezTo>
                    <a:cubicBezTo>
                      <a:pt x="39958" y="178147"/>
                      <a:pt x="34408" y="180367"/>
                      <a:pt x="31079" y="180367"/>
                    </a:cubicBezTo>
                    <a:cubicBezTo>
                      <a:pt x="29414" y="180367"/>
                      <a:pt x="27749" y="179812"/>
                      <a:pt x="26639" y="178702"/>
                    </a:cubicBezTo>
                    <a:cubicBezTo>
                      <a:pt x="25529" y="177592"/>
                      <a:pt x="24974" y="175927"/>
                      <a:pt x="24974" y="174262"/>
                    </a:cubicBezTo>
                    <a:cubicBezTo>
                      <a:pt x="24974" y="172597"/>
                      <a:pt x="25529" y="170932"/>
                      <a:pt x="27194" y="168713"/>
                    </a:cubicBezTo>
                    <a:cubicBezTo>
                      <a:pt x="28859" y="167048"/>
                      <a:pt x="31079" y="165383"/>
                      <a:pt x="34408" y="164273"/>
                    </a:cubicBezTo>
                    <a:cubicBezTo>
                      <a:pt x="45508" y="159278"/>
                      <a:pt x="56053" y="152618"/>
                      <a:pt x="64932" y="143184"/>
                    </a:cubicBezTo>
                    <a:cubicBezTo>
                      <a:pt x="74367" y="133749"/>
                      <a:pt x="81581" y="124315"/>
                      <a:pt x="86576" y="114325"/>
                    </a:cubicBezTo>
                    <a:cubicBezTo>
                      <a:pt x="91571" y="104335"/>
                      <a:pt x="94346" y="94901"/>
                      <a:pt x="94346" y="87131"/>
                    </a:cubicBezTo>
                    <a:cubicBezTo>
                      <a:pt x="94346" y="83801"/>
                      <a:pt x="93791" y="81581"/>
                      <a:pt x="92126" y="79917"/>
                    </a:cubicBezTo>
                    <a:cubicBezTo>
                      <a:pt x="91016" y="78252"/>
                      <a:pt x="88241" y="77697"/>
                      <a:pt x="85466" y="77697"/>
                    </a:cubicBezTo>
                    <a:cubicBezTo>
                      <a:pt x="78806" y="77697"/>
                      <a:pt x="71592" y="80471"/>
                      <a:pt x="64377" y="86021"/>
                    </a:cubicBezTo>
                    <a:cubicBezTo>
                      <a:pt x="57162" y="91571"/>
                      <a:pt x="50503" y="98786"/>
                      <a:pt x="44398" y="107665"/>
                    </a:cubicBezTo>
                    <a:cubicBezTo>
                      <a:pt x="39958" y="114325"/>
                      <a:pt x="34963" y="122650"/>
                      <a:pt x="30524" y="132084"/>
                    </a:cubicBezTo>
                    <a:cubicBezTo>
                      <a:pt x="26084" y="141519"/>
                      <a:pt x="22754" y="151508"/>
                      <a:pt x="20534" y="162608"/>
                    </a:cubicBezTo>
                    <a:cubicBezTo>
                      <a:pt x="19424" y="168158"/>
                      <a:pt x="16649" y="170932"/>
                      <a:pt x="12209" y="170932"/>
                    </a:cubicBezTo>
                    <a:cubicBezTo>
                      <a:pt x="11100" y="170932"/>
                      <a:pt x="9990" y="169823"/>
                      <a:pt x="8325" y="168158"/>
                    </a:cubicBezTo>
                    <a:cubicBezTo>
                      <a:pt x="7215" y="165938"/>
                      <a:pt x="6105" y="164273"/>
                      <a:pt x="6105" y="162608"/>
                    </a:cubicBezTo>
                    <a:cubicBezTo>
                      <a:pt x="6105" y="143739"/>
                      <a:pt x="5550" y="115990"/>
                      <a:pt x="3885" y="79362"/>
                    </a:cubicBezTo>
                    <a:cubicBezTo>
                      <a:pt x="2775" y="42733"/>
                      <a:pt x="1665" y="22199"/>
                      <a:pt x="1110" y="16649"/>
                    </a:cubicBezTo>
                    <a:cubicBezTo>
                      <a:pt x="1110" y="15539"/>
                      <a:pt x="1110" y="14984"/>
                      <a:pt x="1110" y="13874"/>
                    </a:cubicBezTo>
                    <a:cubicBezTo>
                      <a:pt x="1110" y="12764"/>
                      <a:pt x="555" y="12210"/>
                      <a:pt x="555" y="11100"/>
                    </a:cubicBezTo>
                    <a:cubicBezTo>
                      <a:pt x="555" y="9990"/>
                      <a:pt x="0" y="8880"/>
                      <a:pt x="0" y="8325"/>
                    </a:cubicBezTo>
                    <a:cubicBezTo>
                      <a:pt x="0" y="7215"/>
                      <a:pt x="0" y="6105"/>
                      <a:pt x="0" y="5550"/>
                    </a:cubicBezTo>
                    <a:cubicBezTo>
                      <a:pt x="0" y="1665"/>
                      <a:pt x="1665" y="0"/>
                      <a:pt x="4995" y="0"/>
                    </a:cubicBezTo>
                    <a:cubicBezTo>
                      <a:pt x="7770" y="0"/>
                      <a:pt x="9990" y="1665"/>
                      <a:pt x="11655" y="4995"/>
                    </a:cubicBezTo>
                    <a:cubicBezTo>
                      <a:pt x="13319" y="8325"/>
                      <a:pt x="14429" y="12210"/>
                      <a:pt x="14429" y="16649"/>
                    </a:cubicBezTo>
                    <a:lnTo>
                      <a:pt x="14429" y="29414"/>
                    </a:lnTo>
                    <a:cubicBezTo>
                      <a:pt x="14429" y="68262"/>
                      <a:pt x="14984" y="97676"/>
                      <a:pt x="16094" y="118765"/>
                    </a:cubicBezTo>
                    <a:cubicBezTo>
                      <a:pt x="16649" y="128754"/>
                      <a:pt x="17204" y="134859"/>
                      <a:pt x="18314" y="135969"/>
                    </a:cubicBezTo>
                    <a:cubicBezTo>
                      <a:pt x="19979" y="130419"/>
                      <a:pt x="22754" y="124869"/>
                      <a:pt x="26639" y="118210"/>
                    </a:cubicBezTo>
                    <a:cubicBezTo>
                      <a:pt x="30524" y="111550"/>
                      <a:pt x="34408" y="105445"/>
                      <a:pt x="38848" y="99896"/>
                    </a:cubicBezTo>
                    <a:cubicBezTo>
                      <a:pt x="46618" y="89351"/>
                      <a:pt x="54943" y="81026"/>
                      <a:pt x="63822" y="74922"/>
                    </a:cubicBezTo>
                    <a:cubicBezTo>
                      <a:pt x="72702" y="68817"/>
                      <a:pt x="81026" y="65487"/>
                      <a:pt x="88241" y="65487"/>
                    </a:cubicBezTo>
                    <a:cubicBezTo>
                      <a:pt x="93236" y="65487"/>
                      <a:pt x="97121" y="67152"/>
                      <a:pt x="100451" y="70482"/>
                    </a:cubicBezTo>
                    <a:cubicBezTo>
                      <a:pt x="103780" y="73812"/>
                      <a:pt x="105445" y="78252"/>
                      <a:pt x="105445" y="84356"/>
                    </a:cubicBezTo>
                    <a:cubicBezTo>
                      <a:pt x="106000" y="98231"/>
                      <a:pt x="100451" y="113215"/>
                      <a:pt x="89351" y="129309"/>
                    </a:cubicBezTo>
                    <a:close/>
                  </a:path>
                </a:pathLst>
              </a:custGeom>
              <a:solidFill>
                <a:srgbClr val="676767"/>
              </a:solidFill>
              <a:ln w="5547" cap="flat">
                <a:noFill/>
                <a:prstDash val="solid"/>
                <a:miter/>
              </a:ln>
            </p:spPr>
            <p:txBody>
              <a:bodyPr rtlCol="0" anchor="ctr"/>
              <a:lstStyle/>
              <a:p>
                <a:endParaRPr lang="en-US"/>
              </a:p>
            </p:txBody>
          </p:sp>
          <p:sp>
            <p:nvSpPr>
              <p:cNvPr id="48" name="Freihandform: Form 47">
                <a:extLst>
                  <a:ext uri="{FF2B5EF4-FFF2-40B4-BE49-F238E27FC236}">
                    <a16:creationId xmlns:a16="http://schemas.microsoft.com/office/drawing/2014/main" id="{B2B29A97-3EA4-4979-98D1-F2CECB2C3EC3}"/>
                  </a:ext>
                </a:extLst>
              </p:cNvPr>
              <p:cNvSpPr/>
              <p:nvPr/>
            </p:nvSpPr>
            <p:spPr>
              <a:xfrm>
                <a:off x="5771338" y="3857440"/>
                <a:ext cx="94900" cy="119874"/>
              </a:xfrm>
              <a:custGeom>
                <a:avLst/>
                <a:gdLst>
                  <a:gd name="connsiteX0" fmla="*/ 94901 w 94900"/>
                  <a:gd name="connsiteY0" fmla="*/ 59937 h 119874"/>
                  <a:gd name="connsiteX1" fmla="*/ 88241 w 94900"/>
                  <a:gd name="connsiteY1" fmla="*/ 79362 h 119874"/>
                  <a:gd name="connsiteX2" fmla="*/ 68817 w 94900"/>
                  <a:gd name="connsiteY2" fmla="*/ 107110 h 119874"/>
                  <a:gd name="connsiteX3" fmla="*/ 36628 w 94900"/>
                  <a:gd name="connsiteY3" fmla="*/ 119875 h 119874"/>
                  <a:gd name="connsiteX4" fmla="*/ 10544 w 94900"/>
                  <a:gd name="connsiteY4" fmla="*/ 109885 h 119874"/>
                  <a:gd name="connsiteX5" fmla="*/ 0 w 94900"/>
                  <a:gd name="connsiteY5" fmla="*/ 79917 h 119874"/>
                  <a:gd name="connsiteX6" fmla="*/ 8880 w 94900"/>
                  <a:gd name="connsiteY6" fmla="*/ 42178 h 119874"/>
                  <a:gd name="connsiteX7" fmla="*/ 31634 w 94900"/>
                  <a:gd name="connsiteY7" fmla="*/ 11655 h 119874"/>
                  <a:gd name="connsiteX8" fmla="*/ 61047 w 94900"/>
                  <a:gd name="connsiteY8" fmla="*/ 0 h 119874"/>
                  <a:gd name="connsiteX9" fmla="*/ 76032 w 94900"/>
                  <a:gd name="connsiteY9" fmla="*/ 3885 h 119874"/>
                  <a:gd name="connsiteX10" fmla="*/ 82136 w 94900"/>
                  <a:gd name="connsiteY10" fmla="*/ 15539 h 119874"/>
                  <a:gd name="connsiteX11" fmla="*/ 72702 w 94900"/>
                  <a:gd name="connsiteY11" fmla="*/ 32189 h 119874"/>
                  <a:gd name="connsiteX12" fmla="*/ 47728 w 94900"/>
                  <a:gd name="connsiteY12" fmla="*/ 46063 h 119874"/>
                  <a:gd name="connsiteX13" fmla="*/ 16094 w 94900"/>
                  <a:gd name="connsiteY13" fmla="*/ 54943 h 119874"/>
                  <a:gd name="connsiteX14" fmla="*/ 13319 w 94900"/>
                  <a:gd name="connsiteY14" fmla="*/ 76587 h 119874"/>
                  <a:gd name="connsiteX15" fmla="*/ 19979 w 94900"/>
                  <a:gd name="connsiteY15" fmla="*/ 98231 h 119874"/>
                  <a:gd name="connsiteX16" fmla="*/ 38848 w 94900"/>
                  <a:gd name="connsiteY16" fmla="*/ 106000 h 119874"/>
                  <a:gd name="connsiteX17" fmla="*/ 69372 w 94900"/>
                  <a:gd name="connsiteY17" fmla="*/ 92681 h 119874"/>
                  <a:gd name="connsiteX18" fmla="*/ 88796 w 94900"/>
                  <a:gd name="connsiteY18" fmla="*/ 62712 h 119874"/>
                  <a:gd name="connsiteX19" fmla="*/ 90461 w 94900"/>
                  <a:gd name="connsiteY19" fmla="*/ 58827 h 119874"/>
                  <a:gd name="connsiteX20" fmla="*/ 92681 w 94900"/>
                  <a:gd name="connsiteY20" fmla="*/ 56053 h 119874"/>
                  <a:gd name="connsiteX21" fmla="*/ 94901 w 94900"/>
                  <a:gd name="connsiteY21" fmla="*/ 59937 h 119874"/>
                  <a:gd name="connsiteX22" fmla="*/ 68262 w 94900"/>
                  <a:gd name="connsiteY22" fmla="*/ 12209 h 119874"/>
                  <a:gd name="connsiteX23" fmla="*/ 58827 w 94900"/>
                  <a:gd name="connsiteY23" fmla="*/ 9990 h 119874"/>
                  <a:gd name="connsiteX24" fmla="*/ 41068 w 94900"/>
                  <a:gd name="connsiteY24" fmla="*/ 16094 h 119874"/>
                  <a:gd name="connsiteX25" fmla="*/ 26639 w 94900"/>
                  <a:gd name="connsiteY25" fmla="*/ 30524 h 119874"/>
                  <a:gd name="connsiteX26" fmla="*/ 19424 w 94900"/>
                  <a:gd name="connsiteY26" fmla="*/ 45508 h 119874"/>
                  <a:gd name="connsiteX27" fmla="*/ 43288 w 94900"/>
                  <a:gd name="connsiteY27" fmla="*/ 39403 h 119874"/>
                  <a:gd name="connsiteX28" fmla="*/ 63822 w 94900"/>
                  <a:gd name="connsiteY28" fmla="*/ 28304 h 119874"/>
                  <a:gd name="connsiteX29" fmla="*/ 72147 w 94900"/>
                  <a:gd name="connsiteY29" fmla="*/ 18314 h 119874"/>
                  <a:gd name="connsiteX30" fmla="*/ 68262 w 94900"/>
                  <a:gd name="connsiteY30" fmla="*/ 12209 h 11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4900" h="119874">
                    <a:moveTo>
                      <a:pt x="94901" y="59937"/>
                    </a:moveTo>
                    <a:cubicBezTo>
                      <a:pt x="94901" y="62712"/>
                      <a:pt x="92681" y="69372"/>
                      <a:pt x="88241" y="79362"/>
                    </a:cubicBezTo>
                    <a:cubicBezTo>
                      <a:pt x="83801" y="89351"/>
                      <a:pt x="77697" y="98231"/>
                      <a:pt x="68817" y="107110"/>
                    </a:cubicBezTo>
                    <a:cubicBezTo>
                      <a:pt x="59937" y="115435"/>
                      <a:pt x="49393" y="119875"/>
                      <a:pt x="36628" y="119875"/>
                    </a:cubicBezTo>
                    <a:cubicBezTo>
                      <a:pt x="26084" y="119875"/>
                      <a:pt x="17759" y="116545"/>
                      <a:pt x="10544" y="109885"/>
                    </a:cubicBezTo>
                    <a:cubicBezTo>
                      <a:pt x="3330" y="103225"/>
                      <a:pt x="0" y="93236"/>
                      <a:pt x="0" y="79917"/>
                    </a:cubicBezTo>
                    <a:cubicBezTo>
                      <a:pt x="0" y="67152"/>
                      <a:pt x="2775" y="54943"/>
                      <a:pt x="8880" y="42178"/>
                    </a:cubicBezTo>
                    <a:cubicBezTo>
                      <a:pt x="14984" y="29969"/>
                      <a:pt x="22199" y="19424"/>
                      <a:pt x="31634" y="11655"/>
                    </a:cubicBezTo>
                    <a:cubicBezTo>
                      <a:pt x="41068" y="3885"/>
                      <a:pt x="51058" y="0"/>
                      <a:pt x="61047" y="0"/>
                    </a:cubicBezTo>
                    <a:cubicBezTo>
                      <a:pt x="67152" y="0"/>
                      <a:pt x="72147" y="1110"/>
                      <a:pt x="76032" y="3885"/>
                    </a:cubicBezTo>
                    <a:cubicBezTo>
                      <a:pt x="79916" y="6660"/>
                      <a:pt x="82136" y="10545"/>
                      <a:pt x="82136" y="15539"/>
                    </a:cubicBezTo>
                    <a:cubicBezTo>
                      <a:pt x="82136" y="21089"/>
                      <a:pt x="78807" y="26639"/>
                      <a:pt x="72702" y="32189"/>
                    </a:cubicBezTo>
                    <a:cubicBezTo>
                      <a:pt x="66042" y="37738"/>
                      <a:pt x="57717" y="42178"/>
                      <a:pt x="47728" y="46063"/>
                    </a:cubicBezTo>
                    <a:cubicBezTo>
                      <a:pt x="37738" y="49948"/>
                      <a:pt x="27194" y="53278"/>
                      <a:pt x="16094" y="54943"/>
                    </a:cubicBezTo>
                    <a:cubicBezTo>
                      <a:pt x="13874" y="62157"/>
                      <a:pt x="13319" y="69927"/>
                      <a:pt x="13319" y="76587"/>
                    </a:cubicBezTo>
                    <a:cubicBezTo>
                      <a:pt x="13319" y="86021"/>
                      <a:pt x="15539" y="93236"/>
                      <a:pt x="19979" y="98231"/>
                    </a:cubicBezTo>
                    <a:cubicBezTo>
                      <a:pt x="24419" y="103225"/>
                      <a:pt x="31079" y="106000"/>
                      <a:pt x="38848" y="106000"/>
                    </a:cubicBezTo>
                    <a:cubicBezTo>
                      <a:pt x="51613" y="106000"/>
                      <a:pt x="61602" y="101561"/>
                      <a:pt x="69372" y="92681"/>
                    </a:cubicBezTo>
                    <a:cubicBezTo>
                      <a:pt x="77142" y="83801"/>
                      <a:pt x="83801" y="73812"/>
                      <a:pt x="88796" y="62712"/>
                    </a:cubicBezTo>
                    <a:cubicBezTo>
                      <a:pt x="89351" y="62157"/>
                      <a:pt x="89906" y="61047"/>
                      <a:pt x="90461" y="58827"/>
                    </a:cubicBezTo>
                    <a:cubicBezTo>
                      <a:pt x="91016" y="57162"/>
                      <a:pt x="92126" y="56053"/>
                      <a:pt x="92681" y="56053"/>
                    </a:cubicBezTo>
                    <a:cubicBezTo>
                      <a:pt x="94346" y="56607"/>
                      <a:pt x="94901" y="57718"/>
                      <a:pt x="94901" y="59937"/>
                    </a:cubicBezTo>
                    <a:close/>
                    <a:moveTo>
                      <a:pt x="68262" y="12209"/>
                    </a:moveTo>
                    <a:cubicBezTo>
                      <a:pt x="65487" y="10545"/>
                      <a:pt x="62712" y="9990"/>
                      <a:pt x="58827" y="9990"/>
                    </a:cubicBezTo>
                    <a:cubicBezTo>
                      <a:pt x="52723" y="9990"/>
                      <a:pt x="46618" y="12209"/>
                      <a:pt x="41068" y="16094"/>
                    </a:cubicBezTo>
                    <a:cubicBezTo>
                      <a:pt x="35518" y="19979"/>
                      <a:pt x="30524" y="24974"/>
                      <a:pt x="26639" y="30524"/>
                    </a:cubicBezTo>
                    <a:cubicBezTo>
                      <a:pt x="22754" y="36073"/>
                      <a:pt x="20534" y="41068"/>
                      <a:pt x="19424" y="45508"/>
                    </a:cubicBezTo>
                    <a:cubicBezTo>
                      <a:pt x="26639" y="44953"/>
                      <a:pt x="34963" y="42733"/>
                      <a:pt x="43288" y="39403"/>
                    </a:cubicBezTo>
                    <a:cubicBezTo>
                      <a:pt x="51613" y="36073"/>
                      <a:pt x="58272" y="32189"/>
                      <a:pt x="63822" y="28304"/>
                    </a:cubicBezTo>
                    <a:cubicBezTo>
                      <a:pt x="69372" y="24419"/>
                      <a:pt x="72147" y="21089"/>
                      <a:pt x="72147" y="18314"/>
                    </a:cubicBezTo>
                    <a:cubicBezTo>
                      <a:pt x="72147" y="15539"/>
                      <a:pt x="70482" y="13874"/>
                      <a:pt x="68262" y="12209"/>
                    </a:cubicBezTo>
                    <a:close/>
                  </a:path>
                </a:pathLst>
              </a:custGeom>
              <a:solidFill>
                <a:srgbClr val="676767"/>
              </a:solidFill>
              <a:ln w="5547" cap="flat">
                <a:noFill/>
                <a:prstDash val="solid"/>
                <a:miter/>
              </a:ln>
            </p:spPr>
            <p:txBody>
              <a:bodyPr rtlCol="0" anchor="ctr"/>
              <a:lstStyle/>
              <a:p>
                <a:endParaRPr lang="en-US"/>
              </a:p>
            </p:txBody>
          </p:sp>
          <p:sp>
            <p:nvSpPr>
              <p:cNvPr id="49" name="Freihandform: Form 48">
                <a:extLst>
                  <a:ext uri="{FF2B5EF4-FFF2-40B4-BE49-F238E27FC236}">
                    <a16:creationId xmlns:a16="http://schemas.microsoft.com/office/drawing/2014/main" id="{D2390278-BE7B-4120-AC7D-E17D45B1E9A1}"/>
                  </a:ext>
                </a:extLst>
              </p:cNvPr>
              <p:cNvSpPr/>
              <p:nvPr/>
            </p:nvSpPr>
            <p:spPr>
              <a:xfrm>
                <a:off x="5950041" y="3860770"/>
                <a:ext cx="86021" cy="165937"/>
              </a:xfrm>
              <a:custGeom>
                <a:avLst/>
                <a:gdLst>
                  <a:gd name="connsiteX0" fmla="*/ 83246 w 86021"/>
                  <a:gd name="connsiteY0" fmla="*/ 32189 h 165937"/>
                  <a:gd name="connsiteX1" fmla="*/ 79916 w 86021"/>
                  <a:gd name="connsiteY1" fmla="*/ 56052 h 165937"/>
                  <a:gd name="connsiteX2" fmla="*/ 75477 w 86021"/>
                  <a:gd name="connsiteY2" fmla="*/ 101561 h 165937"/>
                  <a:gd name="connsiteX3" fmla="*/ 74367 w 86021"/>
                  <a:gd name="connsiteY3" fmla="*/ 129864 h 165937"/>
                  <a:gd name="connsiteX4" fmla="*/ 76032 w 86021"/>
                  <a:gd name="connsiteY4" fmla="*/ 146513 h 165937"/>
                  <a:gd name="connsiteX5" fmla="*/ 79361 w 86021"/>
                  <a:gd name="connsiteY5" fmla="*/ 155948 h 165937"/>
                  <a:gd name="connsiteX6" fmla="*/ 81026 w 86021"/>
                  <a:gd name="connsiteY6" fmla="*/ 160388 h 165937"/>
                  <a:gd name="connsiteX7" fmla="*/ 77142 w 86021"/>
                  <a:gd name="connsiteY7" fmla="*/ 164273 h 165937"/>
                  <a:gd name="connsiteX8" fmla="*/ 69372 w 86021"/>
                  <a:gd name="connsiteY8" fmla="*/ 165938 h 165937"/>
                  <a:gd name="connsiteX9" fmla="*/ 64377 w 86021"/>
                  <a:gd name="connsiteY9" fmla="*/ 157613 h 165937"/>
                  <a:gd name="connsiteX10" fmla="*/ 62712 w 86021"/>
                  <a:gd name="connsiteY10" fmla="*/ 130974 h 165937"/>
                  <a:gd name="connsiteX11" fmla="*/ 65487 w 86021"/>
                  <a:gd name="connsiteY11" fmla="*/ 94346 h 165937"/>
                  <a:gd name="connsiteX12" fmla="*/ 69372 w 86021"/>
                  <a:gd name="connsiteY12" fmla="*/ 60492 h 165937"/>
                  <a:gd name="connsiteX13" fmla="*/ 53278 w 86021"/>
                  <a:gd name="connsiteY13" fmla="*/ 84911 h 165937"/>
                  <a:gd name="connsiteX14" fmla="*/ 33299 w 86021"/>
                  <a:gd name="connsiteY14" fmla="*/ 96566 h 165937"/>
                  <a:gd name="connsiteX15" fmla="*/ 16094 w 86021"/>
                  <a:gd name="connsiteY15" fmla="*/ 79916 h 165937"/>
                  <a:gd name="connsiteX16" fmla="*/ 4440 w 86021"/>
                  <a:gd name="connsiteY16" fmla="*/ 42178 h 165937"/>
                  <a:gd name="connsiteX17" fmla="*/ 0 w 86021"/>
                  <a:gd name="connsiteY17" fmla="*/ 11654 h 165937"/>
                  <a:gd name="connsiteX18" fmla="*/ 3885 w 86021"/>
                  <a:gd name="connsiteY18" fmla="*/ 5550 h 165937"/>
                  <a:gd name="connsiteX19" fmla="*/ 10544 w 86021"/>
                  <a:gd name="connsiteY19" fmla="*/ 15539 h 165937"/>
                  <a:gd name="connsiteX20" fmla="*/ 36073 w 86021"/>
                  <a:gd name="connsiteY20" fmla="*/ 83246 h 165937"/>
                  <a:gd name="connsiteX21" fmla="*/ 47728 w 86021"/>
                  <a:gd name="connsiteY21" fmla="*/ 78251 h 165937"/>
                  <a:gd name="connsiteX22" fmla="*/ 59382 w 86021"/>
                  <a:gd name="connsiteY22" fmla="*/ 62157 h 165937"/>
                  <a:gd name="connsiteX23" fmla="*/ 66042 w 86021"/>
                  <a:gd name="connsiteY23" fmla="*/ 48283 h 165937"/>
                  <a:gd name="connsiteX24" fmla="*/ 71592 w 86021"/>
                  <a:gd name="connsiteY24" fmla="*/ 34408 h 165937"/>
                  <a:gd name="connsiteX25" fmla="*/ 73257 w 86021"/>
                  <a:gd name="connsiteY25" fmla="*/ 9990 h 165937"/>
                  <a:gd name="connsiteX26" fmla="*/ 74922 w 86021"/>
                  <a:gd name="connsiteY26" fmla="*/ 2220 h 165937"/>
                  <a:gd name="connsiteX27" fmla="*/ 78806 w 86021"/>
                  <a:gd name="connsiteY27" fmla="*/ 0 h 165937"/>
                  <a:gd name="connsiteX28" fmla="*/ 83801 w 86021"/>
                  <a:gd name="connsiteY28" fmla="*/ 2775 h 165937"/>
                  <a:gd name="connsiteX29" fmla="*/ 86021 w 86021"/>
                  <a:gd name="connsiteY29" fmla="*/ 8325 h 165937"/>
                  <a:gd name="connsiteX30" fmla="*/ 83246 w 86021"/>
                  <a:gd name="connsiteY30" fmla="*/ 32189 h 16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6021" h="165937">
                    <a:moveTo>
                      <a:pt x="83246" y="32189"/>
                    </a:moveTo>
                    <a:cubicBezTo>
                      <a:pt x="81026" y="46618"/>
                      <a:pt x="80471" y="54388"/>
                      <a:pt x="79916" y="56052"/>
                    </a:cubicBezTo>
                    <a:cubicBezTo>
                      <a:pt x="77697" y="76032"/>
                      <a:pt x="76032" y="91016"/>
                      <a:pt x="75477" y="101561"/>
                    </a:cubicBezTo>
                    <a:cubicBezTo>
                      <a:pt x="74367" y="112105"/>
                      <a:pt x="74367" y="121540"/>
                      <a:pt x="74367" y="129864"/>
                    </a:cubicBezTo>
                    <a:cubicBezTo>
                      <a:pt x="74367" y="137079"/>
                      <a:pt x="74922" y="142074"/>
                      <a:pt x="76032" y="146513"/>
                    </a:cubicBezTo>
                    <a:cubicBezTo>
                      <a:pt x="77142" y="150953"/>
                      <a:pt x="78251" y="153728"/>
                      <a:pt x="79361" y="155948"/>
                    </a:cubicBezTo>
                    <a:cubicBezTo>
                      <a:pt x="80471" y="158168"/>
                      <a:pt x="81026" y="159833"/>
                      <a:pt x="81026" y="160388"/>
                    </a:cubicBezTo>
                    <a:cubicBezTo>
                      <a:pt x="81026" y="162053"/>
                      <a:pt x="79916" y="163163"/>
                      <a:pt x="77142" y="164273"/>
                    </a:cubicBezTo>
                    <a:cubicBezTo>
                      <a:pt x="74367" y="165383"/>
                      <a:pt x="71592" y="165938"/>
                      <a:pt x="69372" y="165938"/>
                    </a:cubicBezTo>
                    <a:cubicBezTo>
                      <a:pt x="67152" y="165938"/>
                      <a:pt x="65487" y="163163"/>
                      <a:pt x="64377" y="157613"/>
                    </a:cubicBezTo>
                    <a:cubicBezTo>
                      <a:pt x="63267" y="152063"/>
                      <a:pt x="62712" y="143184"/>
                      <a:pt x="62712" y="130974"/>
                    </a:cubicBezTo>
                    <a:cubicBezTo>
                      <a:pt x="62712" y="122095"/>
                      <a:pt x="63822" y="109885"/>
                      <a:pt x="65487" y="94346"/>
                    </a:cubicBezTo>
                    <a:lnTo>
                      <a:pt x="69372" y="60492"/>
                    </a:lnTo>
                    <a:cubicBezTo>
                      <a:pt x="64932" y="68817"/>
                      <a:pt x="59382" y="77142"/>
                      <a:pt x="53278" y="84911"/>
                    </a:cubicBezTo>
                    <a:cubicBezTo>
                      <a:pt x="46618" y="92681"/>
                      <a:pt x="40513" y="96566"/>
                      <a:pt x="33299" y="96566"/>
                    </a:cubicBezTo>
                    <a:cubicBezTo>
                      <a:pt x="27194" y="96566"/>
                      <a:pt x="21089" y="91016"/>
                      <a:pt x="16094" y="79916"/>
                    </a:cubicBezTo>
                    <a:cubicBezTo>
                      <a:pt x="11100" y="68817"/>
                      <a:pt x="7215" y="56607"/>
                      <a:pt x="4440" y="42178"/>
                    </a:cubicBezTo>
                    <a:cubicBezTo>
                      <a:pt x="1665" y="27749"/>
                      <a:pt x="0" y="17759"/>
                      <a:pt x="0" y="11654"/>
                    </a:cubicBezTo>
                    <a:cubicBezTo>
                      <a:pt x="0" y="7770"/>
                      <a:pt x="1110" y="5550"/>
                      <a:pt x="3885" y="5550"/>
                    </a:cubicBezTo>
                    <a:cubicBezTo>
                      <a:pt x="7215" y="5550"/>
                      <a:pt x="9989" y="8880"/>
                      <a:pt x="10544" y="15539"/>
                    </a:cubicBezTo>
                    <a:cubicBezTo>
                      <a:pt x="16649" y="60492"/>
                      <a:pt x="25529" y="83246"/>
                      <a:pt x="36073" y="83246"/>
                    </a:cubicBezTo>
                    <a:cubicBezTo>
                      <a:pt x="40513" y="83246"/>
                      <a:pt x="44398" y="81581"/>
                      <a:pt x="47728" y="78251"/>
                    </a:cubicBezTo>
                    <a:cubicBezTo>
                      <a:pt x="51058" y="74922"/>
                      <a:pt x="54943" y="69372"/>
                      <a:pt x="59382" y="62157"/>
                    </a:cubicBezTo>
                    <a:cubicBezTo>
                      <a:pt x="61602" y="58827"/>
                      <a:pt x="63822" y="54388"/>
                      <a:pt x="66042" y="48283"/>
                    </a:cubicBezTo>
                    <a:cubicBezTo>
                      <a:pt x="68262" y="42733"/>
                      <a:pt x="70482" y="37738"/>
                      <a:pt x="71592" y="34408"/>
                    </a:cubicBezTo>
                    <a:lnTo>
                      <a:pt x="73257" y="9990"/>
                    </a:lnTo>
                    <a:cubicBezTo>
                      <a:pt x="73812" y="6105"/>
                      <a:pt x="73812" y="3885"/>
                      <a:pt x="74922" y="2220"/>
                    </a:cubicBezTo>
                    <a:cubicBezTo>
                      <a:pt x="75477" y="555"/>
                      <a:pt x="77142" y="0"/>
                      <a:pt x="78806" y="0"/>
                    </a:cubicBezTo>
                    <a:cubicBezTo>
                      <a:pt x="80471" y="0"/>
                      <a:pt x="82136" y="1110"/>
                      <a:pt x="83801" y="2775"/>
                    </a:cubicBezTo>
                    <a:cubicBezTo>
                      <a:pt x="85466" y="4440"/>
                      <a:pt x="86021" y="6660"/>
                      <a:pt x="86021" y="8325"/>
                    </a:cubicBezTo>
                    <a:cubicBezTo>
                      <a:pt x="86021" y="11654"/>
                      <a:pt x="84911" y="19424"/>
                      <a:pt x="83246" y="32189"/>
                    </a:cubicBezTo>
                    <a:close/>
                  </a:path>
                </a:pathLst>
              </a:custGeom>
              <a:solidFill>
                <a:srgbClr val="676767"/>
              </a:solidFill>
              <a:ln w="5547" cap="flat">
                <a:noFill/>
                <a:prstDash val="solid"/>
                <a:miter/>
              </a:ln>
            </p:spPr>
            <p:txBody>
              <a:bodyPr rtlCol="0" anchor="ctr"/>
              <a:lstStyle/>
              <a:p>
                <a:endParaRPr lang="en-US"/>
              </a:p>
            </p:txBody>
          </p:sp>
          <p:sp>
            <p:nvSpPr>
              <p:cNvPr id="50" name="Freihandform: Form 49">
                <a:extLst>
                  <a:ext uri="{FF2B5EF4-FFF2-40B4-BE49-F238E27FC236}">
                    <a16:creationId xmlns:a16="http://schemas.microsoft.com/office/drawing/2014/main" id="{C56E5A71-7CF0-425D-A519-2BC6523318AF}"/>
                  </a:ext>
                </a:extLst>
              </p:cNvPr>
              <p:cNvSpPr/>
              <p:nvPr/>
            </p:nvSpPr>
            <p:spPr>
              <a:xfrm>
                <a:off x="6055486" y="3866320"/>
                <a:ext cx="87686" cy="110995"/>
              </a:xfrm>
              <a:custGeom>
                <a:avLst/>
                <a:gdLst>
                  <a:gd name="connsiteX0" fmla="*/ 81026 w 87686"/>
                  <a:gd name="connsiteY0" fmla="*/ 81026 h 110995"/>
                  <a:gd name="connsiteX1" fmla="*/ 61047 w 87686"/>
                  <a:gd name="connsiteY1" fmla="*/ 102115 h 110995"/>
                  <a:gd name="connsiteX2" fmla="*/ 31633 w 87686"/>
                  <a:gd name="connsiteY2" fmla="*/ 110995 h 110995"/>
                  <a:gd name="connsiteX3" fmla="*/ 7770 w 87686"/>
                  <a:gd name="connsiteY3" fmla="*/ 102115 h 110995"/>
                  <a:gd name="connsiteX4" fmla="*/ 0 w 87686"/>
                  <a:gd name="connsiteY4" fmla="*/ 79916 h 110995"/>
                  <a:gd name="connsiteX5" fmla="*/ 4440 w 87686"/>
                  <a:gd name="connsiteY5" fmla="*/ 51058 h 110995"/>
                  <a:gd name="connsiteX6" fmla="*/ 16649 w 87686"/>
                  <a:gd name="connsiteY6" fmla="*/ 19979 h 110995"/>
                  <a:gd name="connsiteX7" fmla="*/ 20534 w 87686"/>
                  <a:gd name="connsiteY7" fmla="*/ 12764 h 110995"/>
                  <a:gd name="connsiteX8" fmla="*/ 28304 w 87686"/>
                  <a:gd name="connsiteY8" fmla="*/ 3330 h 110995"/>
                  <a:gd name="connsiteX9" fmla="*/ 37738 w 87686"/>
                  <a:gd name="connsiteY9" fmla="*/ 0 h 110995"/>
                  <a:gd name="connsiteX10" fmla="*/ 41623 w 87686"/>
                  <a:gd name="connsiteY10" fmla="*/ 1110 h 110995"/>
                  <a:gd name="connsiteX11" fmla="*/ 43288 w 87686"/>
                  <a:gd name="connsiteY11" fmla="*/ 3885 h 110995"/>
                  <a:gd name="connsiteX12" fmla="*/ 42178 w 87686"/>
                  <a:gd name="connsiteY12" fmla="*/ 6105 h 110995"/>
                  <a:gd name="connsiteX13" fmla="*/ 39958 w 87686"/>
                  <a:gd name="connsiteY13" fmla="*/ 8880 h 110995"/>
                  <a:gd name="connsiteX14" fmla="*/ 26639 w 87686"/>
                  <a:gd name="connsiteY14" fmla="*/ 28304 h 110995"/>
                  <a:gd name="connsiteX15" fmla="*/ 16094 w 87686"/>
                  <a:gd name="connsiteY15" fmla="*/ 52723 h 110995"/>
                  <a:gd name="connsiteX16" fmla="*/ 12209 w 87686"/>
                  <a:gd name="connsiteY16" fmla="*/ 79362 h 110995"/>
                  <a:gd name="connsiteX17" fmla="*/ 35518 w 87686"/>
                  <a:gd name="connsiteY17" fmla="*/ 98786 h 110995"/>
                  <a:gd name="connsiteX18" fmla="*/ 56052 w 87686"/>
                  <a:gd name="connsiteY18" fmla="*/ 92681 h 110995"/>
                  <a:gd name="connsiteX19" fmla="*/ 71037 w 87686"/>
                  <a:gd name="connsiteY19" fmla="*/ 77142 h 110995"/>
                  <a:gd name="connsiteX20" fmla="*/ 76587 w 87686"/>
                  <a:gd name="connsiteY20" fmla="*/ 60492 h 110995"/>
                  <a:gd name="connsiteX21" fmla="*/ 71037 w 87686"/>
                  <a:gd name="connsiteY21" fmla="*/ 45508 h 110995"/>
                  <a:gd name="connsiteX22" fmla="*/ 55498 w 87686"/>
                  <a:gd name="connsiteY22" fmla="*/ 32189 h 110995"/>
                  <a:gd name="connsiteX23" fmla="*/ 46063 w 87686"/>
                  <a:gd name="connsiteY23" fmla="*/ 24419 h 110995"/>
                  <a:gd name="connsiteX24" fmla="*/ 43288 w 87686"/>
                  <a:gd name="connsiteY24" fmla="*/ 19424 h 110995"/>
                  <a:gd name="connsiteX25" fmla="*/ 47173 w 87686"/>
                  <a:gd name="connsiteY25" fmla="*/ 14429 h 110995"/>
                  <a:gd name="connsiteX26" fmla="*/ 57162 w 87686"/>
                  <a:gd name="connsiteY26" fmla="*/ 12764 h 110995"/>
                  <a:gd name="connsiteX27" fmla="*/ 61047 w 87686"/>
                  <a:gd name="connsiteY27" fmla="*/ 13319 h 110995"/>
                  <a:gd name="connsiteX28" fmla="*/ 62157 w 87686"/>
                  <a:gd name="connsiteY28" fmla="*/ 14429 h 110995"/>
                  <a:gd name="connsiteX29" fmla="*/ 61047 w 87686"/>
                  <a:gd name="connsiteY29" fmla="*/ 16094 h 110995"/>
                  <a:gd name="connsiteX30" fmla="*/ 59937 w 87686"/>
                  <a:gd name="connsiteY30" fmla="*/ 17759 h 110995"/>
                  <a:gd name="connsiteX31" fmla="*/ 64932 w 87686"/>
                  <a:gd name="connsiteY31" fmla="*/ 22754 h 110995"/>
                  <a:gd name="connsiteX32" fmla="*/ 81026 w 87686"/>
                  <a:gd name="connsiteY32" fmla="*/ 38848 h 110995"/>
                  <a:gd name="connsiteX33" fmla="*/ 87686 w 87686"/>
                  <a:gd name="connsiteY33" fmla="*/ 58272 h 110995"/>
                  <a:gd name="connsiteX34" fmla="*/ 81026 w 87686"/>
                  <a:gd name="connsiteY34" fmla="*/ 81026 h 110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7686" h="110995">
                    <a:moveTo>
                      <a:pt x="81026" y="81026"/>
                    </a:moveTo>
                    <a:cubicBezTo>
                      <a:pt x="76032" y="89351"/>
                      <a:pt x="69372" y="96566"/>
                      <a:pt x="61047" y="102115"/>
                    </a:cubicBezTo>
                    <a:cubicBezTo>
                      <a:pt x="52168" y="108220"/>
                      <a:pt x="42733" y="110995"/>
                      <a:pt x="31633" y="110995"/>
                    </a:cubicBezTo>
                    <a:cubicBezTo>
                      <a:pt x="20534" y="110995"/>
                      <a:pt x="12764" y="108220"/>
                      <a:pt x="7770" y="102115"/>
                    </a:cubicBezTo>
                    <a:cubicBezTo>
                      <a:pt x="2775" y="96011"/>
                      <a:pt x="0" y="88796"/>
                      <a:pt x="0" y="79916"/>
                    </a:cubicBezTo>
                    <a:cubicBezTo>
                      <a:pt x="0" y="72147"/>
                      <a:pt x="1665" y="62712"/>
                      <a:pt x="4440" y="51058"/>
                    </a:cubicBezTo>
                    <a:cubicBezTo>
                      <a:pt x="7215" y="39403"/>
                      <a:pt x="11100" y="29414"/>
                      <a:pt x="16649" y="19979"/>
                    </a:cubicBezTo>
                    <a:cubicBezTo>
                      <a:pt x="17204" y="19424"/>
                      <a:pt x="18314" y="17204"/>
                      <a:pt x="20534" y="12764"/>
                    </a:cubicBezTo>
                    <a:cubicBezTo>
                      <a:pt x="22754" y="8880"/>
                      <a:pt x="25529" y="5550"/>
                      <a:pt x="28304" y="3330"/>
                    </a:cubicBezTo>
                    <a:cubicBezTo>
                      <a:pt x="31078" y="1110"/>
                      <a:pt x="34408" y="0"/>
                      <a:pt x="37738" y="0"/>
                    </a:cubicBezTo>
                    <a:cubicBezTo>
                      <a:pt x="39403" y="0"/>
                      <a:pt x="40513" y="555"/>
                      <a:pt x="41623" y="1110"/>
                    </a:cubicBezTo>
                    <a:cubicBezTo>
                      <a:pt x="42733" y="1665"/>
                      <a:pt x="43288" y="2775"/>
                      <a:pt x="43288" y="3885"/>
                    </a:cubicBezTo>
                    <a:cubicBezTo>
                      <a:pt x="43288" y="4440"/>
                      <a:pt x="42733" y="4995"/>
                      <a:pt x="42178" y="6105"/>
                    </a:cubicBezTo>
                    <a:cubicBezTo>
                      <a:pt x="41068" y="7215"/>
                      <a:pt x="40513" y="8325"/>
                      <a:pt x="39958" y="8880"/>
                    </a:cubicBezTo>
                    <a:cubicBezTo>
                      <a:pt x="34408" y="15539"/>
                      <a:pt x="29969" y="22199"/>
                      <a:pt x="26639" y="28304"/>
                    </a:cubicBezTo>
                    <a:cubicBezTo>
                      <a:pt x="22199" y="36628"/>
                      <a:pt x="18314" y="44953"/>
                      <a:pt x="16094" y="52723"/>
                    </a:cubicBezTo>
                    <a:cubicBezTo>
                      <a:pt x="13319" y="61047"/>
                      <a:pt x="12209" y="69927"/>
                      <a:pt x="12209" y="79362"/>
                    </a:cubicBezTo>
                    <a:cubicBezTo>
                      <a:pt x="12209" y="92126"/>
                      <a:pt x="19979" y="98786"/>
                      <a:pt x="35518" y="98786"/>
                    </a:cubicBezTo>
                    <a:cubicBezTo>
                      <a:pt x="42733" y="98786"/>
                      <a:pt x="49393" y="96566"/>
                      <a:pt x="56052" y="92681"/>
                    </a:cubicBezTo>
                    <a:cubicBezTo>
                      <a:pt x="62157" y="88241"/>
                      <a:pt x="67152" y="83246"/>
                      <a:pt x="71037" y="77142"/>
                    </a:cubicBezTo>
                    <a:cubicBezTo>
                      <a:pt x="74922" y="71037"/>
                      <a:pt x="76587" y="65487"/>
                      <a:pt x="76587" y="60492"/>
                    </a:cubicBezTo>
                    <a:cubicBezTo>
                      <a:pt x="76587" y="54943"/>
                      <a:pt x="74922" y="49948"/>
                      <a:pt x="71037" y="45508"/>
                    </a:cubicBezTo>
                    <a:cubicBezTo>
                      <a:pt x="67152" y="41068"/>
                      <a:pt x="62157" y="36628"/>
                      <a:pt x="55498" y="32189"/>
                    </a:cubicBezTo>
                    <a:cubicBezTo>
                      <a:pt x="51058" y="28859"/>
                      <a:pt x="48283" y="26639"/>
                      <a:pt x="46063" y="24419"/>
                    </a:cubicBezTo>
                    <a:cubicBezTo>
                      <a:pt x="43843" y="22754"/>
                      <a:pt x="43288" y="21089"/>
                      <a:pt x="43288" y="19424"/>
                    </a:cubicBezTo>
                    <a:cubicBezTo>
                      <a:pt x="43288" y="17204"/>
                      <a:pt x="44398" y="16094"/>
                      <a:pt x="47173" y="14429"/>
                    </a:cubicBezTo>
                    <a:cubicBezTo>
                      <a:pt x="49948" y="13319"/>
                      <a:pt x="53278" y="12764"/>
                      <a:pt x="57162" y="12764"/>
                    </a:cubicBezTo>
                    <a:cubicBezTo>
                      <a:pt x="59382" y="12764"/>
                      <a:pt x="60492" y="12764"/>
                      <a:pt x="61047" y="13319"/>
                    </a:cubicBezTo>
                    <a:cubicBezTo>
                      <a:pt x="61602" y="13319"/>
                      <a:pt x="62157" y="13874"/>
                      <a:pt x="62157" y="14429"/>
                    </a:cubicBezTo>
                    <a:cubicBezTo>
                      <a:pt x="62157" y="14984"/>
                      <a:pt x="61602" y="15539"/>
                      <a:pt x="61047" y="16094"/>
                    </a:cubicBezTo>
                    <a:cubicBezTo>
                      <a:pt x="60492" y="16649"/>
                      <a:pt x="59937" y="17204"/>
                      <a:pt x="59937" y="17759"/>
                    </a:cubicBezTo>
                    <a:cubicBezTo>
                      <a:pt x="59937" y="18314"/>
                      <a:pt x="61602" y="19979"/>
                      <a:pt x="64932" y="22754"/>
                    </a:cubicBezTo>
                    <a:cubicBezTo>
                      <a:pt x="71592" y="28304"/>
                      <a:pt x="76587" y="33299"/>
                      <a:pt x="81026" y="38848"/>
                    </a:cubicBezTo>
                    <a:cubicBezTo>
                      <a:pt x="85466" y="44398"/>
                      <a:pt x="87686" y="51058"/>
                      <a:pt x="87686" y="58272"/>
                    </a:cubicBezTo>
                    <a:cubicBezTo>
                      <a:pt x="87686" y="65487"/>
                      <a:pt x="85466" y="72702"/>
                      <a:pt x="81026" y="81026"/>
                    </a:cubicBezTo>
                    <a:close/>
                  </a:path>
                </a:pathLst>
              </a:custGeom>
              <a:solidFill>
                <a:srgbClr val="676767"/>
              </a:solidFill>
              <a:ln w="5547" cap="flat">
                <a:noFill/>
                <a:prstDash val="solid"/>
                <a:miter/>
              </a:ln>
            </p:spPr>
            <p:txBody>
              <a:bodyPr rtlCol="0" anchor="ctr"/>
              <a:lstStyle/>
              <a:p>
                <a:endParaRPr lang="en-US"/>
              </a:p>
            </p:txBody>
          </p:sp>
          <p:sp>
            <p:nvSpPr>
              <p:cNvPr id="51" name="Freihandform: Form 50">
                <a:extLst>
                  <a:ext uri="{FF2B5EF4-FFF2-40B4-BE49-F238E27FC236}">
                    <a16:creationId xmlns:a16="http://schemas.microsoft.com/office/drawing/2014/main" id="{08444EF6-CCD4-4D06-87E1-81EDB4B86FD5}"/>
                  </a:ext>
                </a:extLst>
              </p:cNvPr>
              <p:cNvSpPr/>
              <p:nvPr/>
            </p:nvSpPr>
            <p:spPr>
              <a:xfrm>
                <a:off x="6163706" y="3859105"/>
                <a:ext cx="101005" cy="120984"/>
              </a:xfrm>
              <a:custGeom>
                <a:avLst/>
                <a:gdLst>
                  <a:gd name="connsiteX0" fmla="*/ 98786 w 101005"/>
                  <a:gd name="connsiteY0" fmla="*/ 118765 h 120984"/>
                  <a:gd name="connsiteX1" fmla="*/ 92681 w 101005"/>
                  <a:gd name="connsiteY1" fmla="*/ 120985 h 120984"/>
                  <a:gd name="connsiteX2" fmla="*/ 83801 w 101005"/>
                  <a:gd name="connsiteY2" fmla="*/ 110995 h 120984"/>
                  <a:gd name="connsiteX3" fmla="*/ 78806 w 101005"/>
                  <a:gd name="connsiteY3" fmla="*/ 89906 h 120984"/>
                  <a:gd name="connsiteX4" fmla="*/ 77142 w 101005"/>
                  <a:gd name="connsiteY4" fmla="*/ 47728 h 120984"/>
                  <a:gd name="connsiteX5" fmla="*/ 77142 w 101005"/>
                  <a:gd name="connsiteY5" fmla="*/ 37183 h 120984"/>
                  <a:gd name="connsiteX6" fmla="*/ 77142 w 101005"/>
                  <a:gd name="connsiteY6" fmla="*/ 28304 h 120984"/>
                  <a:gd name="connsiteX7" fmla="*/ 57717 w 101005"/>
                  <a:gd name="connsiteY7" fmla="*/ 66597 h 120984"/>
                  <a:gd name="connsiteX8" fmla="*/ 33299 w 101005"/>
                  <a:gd name="connsiteY8" fmla="*/ 103225 h 120984"/>
                  <a:gd name="connsiteX9" fmla="*/ 13319 w 101005"/>
                  <a:gd name="connsiteY9" fmla="*/ 118765 h 120984"/>
                  <a:gd name="connsiteX10" fmla="*/ 2775 w 101005"/>
                  <a:gd name="connsiteY10" fmla="*/ 110440 h 120984"/>
                  <a:gd name="connsiteX11" fmla="*/ 0 w 101005"/>
                  <a:gd name="connsiteY11" fmla="*/ 83246 h 120984"/>
                  <a:gd name="connsiteX12" fmla="*/ 4440 w 101005"/>
                  <a:gd name="connsiteY12" fmla="*/ 43843 h 120984"/>
                  <a:gd name="connsiteX13" fmla="*/ 14984 w 101005"/>
                  <a:gd name="connsiteY13" fmla="*/ 10545 h 120984"/>
                  <a:gd name="connsiteX14" fmla="*/ 18869 w 101005"/>
                  <a:gd name="connsiteY14" fmla="*/ 3330 h 120984"/>
                  <a:gd name="connsiteX15" fmla="*/ 22754 w 101005"/>
                  <a:gd name="connsiteY15" fmla="*/ 1665 h 120984"/>
                  <a:gd name="connsiteX16" fmla="*/ 28859 w 101005"/>
                  <a:gd name="connsiteY16" fmla="*/ 3885 h 120984"/>
                  <a:gd name="connsiteX17" fmla="*/ 26639 w 101005"/>
                  <a:gd name="connsiteY17" fmla="*/ 9435 h 120984"/>
                  <a:gd name="connsiteX18" fmla="*/ 14984 w 101005"/>
                  <a:gd name="connsiteY18" fmla="*/ 38848 h 120984"/>
                  <a:gd name="connsiteX19" fmla="*/ 9989 w 101005"/>
                  <a:gd name="connsiteY19" fmla="*/ 84356 h 120984"/>
                  <a:gd name="connsiteX20" fmla="*/ 15539 w 101005"/>
                  <a:gd name="connsiteY20" fmla="*/ 103780 h 120984"/>
                  <a:gd name="connsiteX21" fmla="*/ 32744 w 101005"/>
                  <a:gd name="connsiteY21" fmla="*/ 89906 h 120984"/>
                  <a:gd name="connsiteX22" fmla="*/ 54388 w 101005"/>
                  <a:gd name="connsiteY22" fmla="*/ 56607 h 120984"/>
                  <a:gd name="connsiteX23" fmla="*/ 70482 w 101005"/>
                  <a:gd name="connsiteY23" fmla="*/ 22754 h 120984"/>
                  <a:gd name="connsiteX24" fmla="*/ 74922 w 101005"/>
                  <a:gd name="connsiteY24" fmla="*/ 7770 h 120984"/>
                  <a:gd name="connsiteX25" fmla="*/ 76587 w 101005"/>
                  <a:gd name="connsiteY25" fmla="*/ 1665 h 120984"/>
                  <a:gd name="connsiteX26" fmla="*/ 78251 w 101005"/>
                  <a:gd name="connsiteY26" fmla="*/ 0 h 120984"/>
                  <a:gd name="connsiteX27" fmla="*/ 83801 w 101005"/>
                  <a:gd name="connsiteY27" fmla="*/ 2220 h 120984"/>
                  <a:gd name="connsiteX28" fmla="*/ 87131 w 101005"/>
                  <a:gd name="connsiteY28" fmla="*/ 6660 h 120984"/>
                  <a:gd name="connsiteX29" fmla="*/ 88241 w 101005"/>
                  <a:gd name="connsiteY29" fmla="*/ 46618 h 120984"/>
                  <a:gd name="connsiteX30" fmla="*/ 90461 w 101005"/>
                  <a:gd name="connsiteY30" fmla="*/ 86021 h 120984"/>
                  <a:gd name="connsiteX31" fmla="*/ 93791 w 101005"/>
                  <a:gd name="connsiteY31" fmla="*/ 101006 h 120984"/>
                  <a:gd name="connsiteX32" fmla="*/ 98786 w 101005"/>
                  <a:gd name="connsiteY32" fmla="*/ 109330 h 120984"/>
                  <a:gd name="connsiteX33" fmla="*/ 101005 w 101005"/>
                  <a:gd name="connsiteY33" fmla="*/ 113215 h 120984"/>
                  <a:gd name="connsiteX34" fmla="*/ 98786 w 101005"/>
                  <a:gd name="connsiteY34" fmla="*/ 118765 h 120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1005" h="120984">
                    <a:moveTo>
                      <a:pt x="98786" y="118765"/>
                    </a:moveTo>
                    <a:cubicBezTo>
                      <a:pt x="97121" y="120430"/>
                      <a:pt x="95456" y="120985"/>
                      <a:pt x="92681" y="120985"/>
                    </a:cubicBezTo>
                    <a:cubicBezTo>
                      <a:pt x="89351" y="120985"/>
                      <a:pt x="86576" y="117655"/>
                      <a:pt x="83801" y="110995"/>
                    </a:cubicBezTo>
                    <a:cubicBezTo>
                      <a:pt x="81026" y="104335"/>
                      <a:pt x="79361" y="97121"/>
                      <a:pt x="78806" y="89906"/>
                    </a:cubicBezTo>
                    <a:cubicBezTo>
                      <a:pt x="78251" y="82691"/>
                      <a:pt x="77697" y="68817"/>
                      <a:pt x="77142" y="47728"/>
                    </a:cubicBezTo>
                    <a:cubicBezTo>
                      <a:pt x="77142" y="44398"/>
                      <a:pt x="77142" y="41068"/>
                      <a:pt x="77142" y="37183"/>
                    </a:cubicBezTo>
                    <a:cubicBezTo>
                      <a:pt x="77142" y="33854"/>
                      <a:pt x="77142" y="30524"/>
                      <a:pt x="77142" y="28304"/>
                    </a:cubicBezTo>
                    <a:cubicBezTo>
                      <a:pt x="72702" y="39403"/>
                      <a:pt x="66042" y="52168"/>
                      <a:pt x="57717" y="66597"/>
                    </a:cubicBezTo>
                    <a:cubicBezTo>
                      <a:pt x="49393" y="81026"/>
                      <a:pt x="41623" y="93236"/>
                      <a:pt x="33299" y="103225"/>
                    </a:cubicBezTo>
                    <a:cubicBezTo>
                      <a:pt x="24974" y="113215"/>
                      <a:pt x="18314" y="118765"/>
                      <a:pt x="13319" y="118765"/>
                    </a:cubicBezTo>
                    <a:cubicBezTo>
                      <a:pt x="7770" y="118765"/>
                      <a:pt x="4440" y="115990"/>
                      <a:pt x="2775" y="110440"/>
                    </a:cubicBezTo>
                    <a:cubicBezTo>
                      <a:pt x="1110" y="104890"/>
                      <a:pt x="0" y="96011"/>
                      <a:pt x="0" y="83246"/>
                    </a:cubicBezTo>
                    <a:cubicBezTo>
                      <a:pt x="0" y="71592"/>
                      <a:pt x="1665" y="58827"/>
                      <a:pt x="4440" y="43843"/>
                    </a:cubicBezTo>
                    <a:cubicBezTo>
                      <a:pt x="7215" y="29414"/>
                      <a:pt x="11100" y="18314"/>
                      <a:pt x="14984" y="10545"/>
                    </a:cubicBezTo>
                    <a:cubicBezTo>
                      <a:pt x="16649" y="7215"/>
                      <a:pt x="17759" y="4995"/>
                      <a:pt x="18869" y="3330"/>
                    </a:cubicBezTo>
                    <a:cubicBezTo>
                      <a:pt x="19979" y="2220"/>
                      <a:pt x="21089" y="1665"/>
                      <a:pt x="22754" y="1665"/>
                    </a:cubicBezTo>
                    <a:cubicBezTo>
                      <a:pt x="26639" y="1665"/>
                      <a:pt x="28859" y="2220"/>
                      <a:pt x="28859" y="3885"/>
                    </a:cubicBezTo>
                    <a:cubicBezTo>
                      <a:pt x="28859" y="4440"/>
                      <a:pt x="28304" y="6660"/>
                      <a:pt x="26639" y="9435"/>
                    </a:cubicBezTo>
                    <a:cubicBezTo>
                      <a:pt x="22199" y="17759"/>
                      <a:pt x="18314" y="27194"/>
                      <a:pt x="14984" y="38848"/>
                    </a:cubicBezTo>
                    <a:cubicBezTo>
                      <a:pt x="11654" y="49948"/>
                      <a:pt x="9989" y="65487"/>
                      <a:pt x="9989" y="84356"/>
                    </a:cubicBezTo>
                    <a:cubicBezTo>
                      <a:pt x="9989" y="97121"/>
                      <a:pt x="11654" y="103780"/>
                      <a:pt x="15539" y="103780"/>
                    </a:cubicBezTo>
                    <a:cubicBezTo>
                      <a:pt x="19979" y="103780"/>
                      <a:pt x="25529" y="99341"/>
                      <a:pt x="32744" y="89906"/>
                    </a:cubicBezTo>
                    <a:cubicBezTo>
                      <a:pt x="39958" y="80471"/>
                      <a:pt x="47173" y="69372"/>
                      <a:pt x="54388" y="56607"/>
                    </a:cubicBezTo>
                    <a:cubicBezTo>
                      <a:pt x="61602" y="43843"/>
                      <a:pt x="67152" y="32189"/>
                      <a:pt x="70482" y="22754"/>
                    </a:cubicBezTo>
                    <a:cubicBezTo>
                      <a:pt x="71592" y="19424"/>
                      <a:pt x="73257" y="14429"/>
                      <a:pt x="74922" y="7770"/>
                    </a:cubicBezTo>
                    <a:cubicBezTo>
                      <a:pt x="75477" y="4995"/>
                      <a:pt x="76032" y="2775"/>
                      <a:pt x="76587" y="1665"/>
                    </a:cubicBezTo>
                    <a:cubicBezTo>
                      <a:pt x="77142" y="555"/>
                      <a:pt x="77697" y="0"/>
                      <a:pt x="78251" y="0"/>
                    </a:cubicBezTo>
                    <a:cubicBezTo>
                      <a:pt x="79916" y="0"/>
                      <a:pt x="82136" y="555"/>
                      <a:pt x="83801" y="2220"/>
                    </a:cubicBezTo>
                    <a:cubicBezTo>
                      <a:pt x="86021" y="3885"/>
                      <a:pt x="87131" y="4995"/>
                      <a:pt x="87131" y="6660"/>
                    </a:cubicBezTo>
                    <a:cubicBezTo>
                      <a:pt x="87131" y="14429"/>
                      <a:pt x="87686" y="27749"/>
                      <a:pt x="88241" y="46618"/>
                    </a:cubicBezTo>
                    <a:cubicBezTo>
                      <a:pt x="88796" y="65487"/>
                      <a:pt x="89351" y="78807"/>
                      <a:pt x="90461" y="86021"/>
                    </a:cubicBezTo>
                    <a:cubicBezTo>
                      <a:pt x="91016" y="92126"/>
                      <a:pt x="92126" y="97121"/>
                      <a:pt x="93791" y="101006"/>
                    </a:cubicBezTo>
                    <a:cubicBezTo>
                      <a:pt x="95456" y="104335"/>
                      <a:pt x="97121" y="107110"/>
                      <a:pt x="98786" y="109330"/>
                    </a:cubicBezTo>
                    <a:cubicBezTo>
                      <a:pt x="100450" y="111550"/>
                      <a:pt x="101005" y="112660"/>
                      <a:pt x="101005" y="113215"/>
                    </a:cubicBezTo>
                    <a:cubicBezTo>
                      <a:pt x="101005" y="115435"/>
                      <a:pt x="100450" y="117655"/>
                      <a:pt x="98786" y="118765"/>
                    </a:cubicBezTo>
                    <a:close/>
                  </a:path>
                </a:pathLst>
              </a:custGeom>
              <a:solidFill>
                <a:srgbClr val="676767"/>
              </a:solidFill>
              <a:ln w="5547" cap="flat">
                <a:noFill/>
                <a:prstDash val="solid"/>
                <a:miter/>
              </a:ln>
            </p:spPr>
            <p:txBody>
              <a:bodyPr rtlCol="0" anchor="ctr"/>
              <a:lstStyle/>
              <a:p>
                <a:endParaRPr lang="en-US"/>
              </a:p>
            </p:txBody>
          </p:sp>
          <p:sp>
            <p:nvSpPr>
              <p:cNvPr id="52" name="Freihandform: Form 51">
                <a:extLst>
                  <a:ext uri="{FF2B5EF4-FFF2-40B4-BE49-F238E27FC236}">
                    <a16:creationId xmlns:a16="http://schemas.microsoft.com/office/drawing/2014/main" id="{BCFF2555-6839-4D51-8D12-64CE54B3393F}"/>
                  </a:ext>
                </a:extLst>
              </p:cNvPr>
              <p:cNvSpPr/>
              <p:nvPr/>
            </p:nvSpPr>
            <p:spPr>
              <a:xfrm>
                <a:off x="6288021" y="3857995"/>
                <a:ext cx="79916" cy="123204"/>
              </a:xfrm>
              <a:custGeom>
                <a:avLst/>
                <a:gdLst>
                  <a:gd name="connsiteX0" fmla="*/ 77142 w 79916"/>
                  <a:gd name="connsiteY0" fmla="*/ 20534 h 123204"/>
                  <a:gd name="connsiteX1" fmla="*/ 72147 w 79916"/>
                  <a:gd name="connsiteY1" fmla="*/ 23309 h 123204"/>
                  <a:gd name="connsiteX2" fmla="*/ 68817 w 79916"/>
                  <a:gd name="connsiteY2" fmla="*/ 21644 h 123204"/>
                  <a:gd name="connsiteX3" fmla="*/ 65487 w 79916"/>
                  <a:gd name="connsiteY3" fmla="*/ 17759 h 123204"/>
                  <a:gd name="connsiteX4" fmla="*/ 61047 w 79916"/>
                  <a:gd name="connsiteY4" fmla="*/ 13874 h 123204"/>
                  <a:gd name="connsiteX5" fmla="*/ 55498 w 79916"/>
                  <a:gd name="connsiteY5" fmla="*/ 12209 h 123204"/>
                  <a:gd name="connsiteX6" fmla="*/ 36628 w 79916"/>
                  <a:gd name="connsiteY6" fmla="*/ 31079 h 123204"/>
                  <a:gd name="connsiteX7" fmla="*/ 13319 w 79916"/>
                  <a:gd name="connsiteY7" fmla="*/ 77697 h 123204"/>
                  <a:gd name="connsiteX8" fmla="*/ 14429 w 79916"/>
                  <a:gd name="connsiteY8" fmla="*/ 91571 h 123204"/>
                  <a:gd name="connsiteX9" fmla="*/ 15539 w 79916"/>
                  <a:gd name="connsiteY9" fmla="*/ 104335 h 123204"/>
                  <a:gd name="connsiteX10" fmla="*/ 16094 w 79916"/>
                  <a:gd name="connsiteY10" fmla="*/ 114325 h 123204"/>
                  <a:gd name="connsiteX11" fmla="*/ 14429 w 79916"/>
                  <a:gd name="connsiteY11" fmla="*/ 120430 h 123204"/>
                  <a:gd name="connsiteX12" fmla="*/ 8880 w 79916"/>
                  <a:gd name="connsiteY12" fmla="*/ 123205 h 123204"/>
                  <a:gd name="connsiteX13" fmla="*/ 3330 w 79916"/>
                  <a:gd name="connsiteY13" fmla="*/ 112105 h 123204"/>
                  <a:gd name="connsiteX14" fmla="*/ 1665 w 79916"/>
                  <a:gd name="connsiteY14" fmla="*/ 79916 h 123204"/>
                  <a:gd name="connsiteX15" fmla="*/ 1110 w 79916"/>
                  <a:gd name="connsiteY15" fmla="*/ 64377 h 123204"/>
                  <a:gd name="connsiteX16" fmla="*/ 555 w 79916"/>
                  <a:gd name="connsiteY16" fmla="*/ 40513 h 123204"/>
                  <a:gd name="connsiteX17" fmla="*/ 0 w 79916"/>
                  <a:gd name="connsiteY17" fmla="*/ 10545 h 123204"/>
                  <a:gd name="connsiteX18" fmla="*/ 6660 w 79916"/>
                  <a:gd name="connsiteY18" fmla="*/ 4995 h 123204"/>
                  <a:gd name="connsiteX19" fmla="*/ 11655 w 79916"/>
                  <a:gd name="connsiteY19" fmla="*/ 8325 h 123204"/>
                  <a:gd name="connsiteX20" fmla="*/ 12764 w 79916"/>
                  <a:gd name="connsiteY20" fmla="*/ 21644 h 123204"/>
                  <a:gd name="connsiteX21" fmla="*/ 12764 w 79916"/>
                  <a:gd name="connsiteY21" fmla="*/ 60492 h 123204"/>
                  <a:gd name="connsiteX22" fmla="*/ 28304 w 79916"/>
                  <a:gd name="connsiteY22" fmla="*/ 28304 h 123204"/>
                  <a:gd name="connsiteX23" fmla="*/ 44953 w 79916"/>
                  <a:gd name="connsiteY23" fmla="*/ 7215 h 123204"/>
                  <a:gd name="connsiteX24" fmla="*/ 59382 w 79916"/>
                  <a:gd name="connsiteY24" fmla="*/ 0 h 123204"/>
                  <a:gd name="connsiteX25" fmla="*/ 69372 w 79916"/>
                  <a:gd name="connsiteY25" fmla="*/ 2220 h 123204"/>
                  <a:gd name="connsiteX26" fmla="*/ 77142 w 79916"/>
                  <a:gd name="connsiteY26" fmla="*/ 8325 h 123204"/>
                  <a:gd name="connsiteX27" fmla="*/ 79916 w 79916"/>
                  <a:gd name="connsiteY27" fmla="*/ 15539 h 123204"/>
                  <a:gd name="connsiteX28" fmla="*/ 77142 w 79916"/>
                  <a:gd name="connsiteY28" fmla="*/ 20534 h 123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9916" h="123204">
                    <a:moveTo>
                      <a:pt x="77142" y="20534"/>
                    </a:moveTo>
                    <a:cubicBezTo>
                      <a:pt x="74922" y="22199"/>
                      <a:pt x="73257" y="23309"/>
                      <a:pt x="72147" y="23309"/>
                    </a:cubicBezTo>
                    <a:cubicBezTo>
                      <a:pt x="71037" y="23309"/>
                      <a:pt x="69927" y="22754"/>
                      <a:pt x="68817" y="21644"/>
                    </a:cubicBezTo>
                    <a:cubicBezTo>
                      <a:pt x="67707" y="20534"/>
                      <a:pt x="66597" y="19424"/>
                      <a:pt x="65487" y="17759"/>
                    </a:cubicBezTo>
                    <a:cubicBezTo>
                      <a:pt x="64377" y="16094"/>
                      <a:pt x="62712" y="14984"/>
                      <a:pt x="61047" y="13874"/>
                    </a:cubicBezTo>
                    <a:cubicBezTo>
                      <a:pt x="59382" y="12764"/>
                      <a:pt x="57162" y="12209"/>
                      <a:pt x="55498" y="12209"/>
                    </a:cubicBezTo>
                    <a:cubicBezTo>
                      <a:pt x="51058" y="12209"/>
                      <a:pt x="44398" y="18314"/>
                      <a:pt x="36628" y="31079"/>
                    </a:cubicBezTo>
                    <a:cubicBezTo>
                      <a:pt x="28859" y="43288"/>
                      <a:pt x="21089" y="59382"/>
                      <a:pt x="13319" y="77697"/>
                    </a:cubicBezTo>
                    <a:cubicBezTo>
                      <a:pt x="13319" y="81581"/>
                      <a:pt x="13874" y="86021"/>
                      <a:pt x="14429" y="91571"/>
                    </a:cubicBezTo>
                    <a:cubicBezTo>
                      <a:pt x="14984" y="97121"/>
                      <a:pt x="14984" y="101561"/>
                      <a:pt x="15539" y="104335"/>
                    </a:cubicBezTo>
                    <a:lnTo>
                      <a:pt x="16094" y="114325"/>
                    </a:lnTo>
                    <a:cubicBezTo>
                      <a:pt x="16094" y="116545"/>
                      <a:pt x="15539" y="118765"/>
                      <a:pt x="14429" y="120430"/>
                    </a:cubicBezTo>
                    <a:cubicBezTo>
                      <a:pt x="13319" y="122095"/>
                      <a:pt x="11655" y="123205"/>
                      <a:pt x="8880" y="123205"/>
                    </a:cubicBezTo>
                    <a:cubicBezTo>
                      <a:pt x="6105" y="123205"/>
                      <a:pt x="4440" y="119320"/>
                      <a:pt x="3330" y="112105"/>
                    </a:cubicBezTo>
                    <a:cubicBezTo>
                      <a:pt x="2775" y="104890"/>
                      <a:pt x="2220" y="93791"/>
                      <a:pt x="1665" y="79916"/>
                    </a:cubicBezTo>
                    <a:cubicBezTo>
                      <a:pt x="1665" y="76587"/>
                      <a:pt x="1110" y="71037"/>
                      <a:pt x="1110" y="64377"/>
                    </a:cubicBezTo>
                    <a:cubicBezTo>
                      <a:pt x="1110" y="57717"/>
                      <a:pt x="555" y="49948"/>
                      <a:pt x="555" y="40513"/>
                    </a:cubicBezTo>
                    <a:cubicBezTo>
                      <a:pt x="0" y="26639"/>
                      <a:pt x="0" y="16649"/>
                      <a:pt x="0" y="10545"/>
                    </a:cubicBezTo>
                    <a:cubicBezTo>
                      <a:pt x="0" y="6660"/>
                      <a:pt x="2220" y="4995"/>
                      <a:pt x="6660" y="4995"/>
                    </a:cubicBezTo>
                    <a:cubicBezTo>
                      <a:pt x="9434" y="4995"/>
                      <a:pt x="11100" y="6105"/>
                      <a:pt x="11655" y="8325"/>
                    </a:cubicBezTo>
                    <a:cubicBezTo>
                      <a:pt x="12209" y="10545"/>
                      <a:pt x="12764" y="14984"/>
                      <a:pt x="12764" y="21644"/>
                    </a:cubicBezTo>
                    <a:lnTo>
                      <a:pt x="12764" y="60492"/>
                    </a:lnTo>
                    <a:cubicBezTo>
                      <a:pt x="17759" y="48283"/>
                      <a:pt x="22754" y="37183"/>
                      <a:pt x="28304" y="28304"/>
                    </a:cubicBezTo>
                    <a:cubicBezTo>
                      <a:pt x="33854" y="19424"/>
                      <a:pt x="39403" y="12209"/>
                      <a:pt x="44953" y="7215"/>
                    </a:cubicBezTo>
                    <a:cubicBezTo>
                      <a:pt x="50503" y="2220"/>
                      <a:pt x="55498" y="0"/>
                      <a:pt x="59382" y="0"/>
                    </a:cubicBezTo>
                    <a:cubicBezTo>
                      <a:pt x="62712" y="0"/>
                      <a:pt x="66597" y="555"/>
                      <a:pt x="69372" y="2220"/>
                    </a:cubicBezTo>
                    <a:cubicBezTo>
                      <a:pt x="72702" y="3885"/>
                      <a:pt x="75477" y="6105"/>
                      <a:pt x="77142" y="8325"/>
                    </a:cubicBezTo>
                    <a:cubicBezTo>
                      <a:pt x="79361" y="11100"/>
                      <a:pt x="79916" y="13319"/>
                      <a:pt x="79916" y="15539"/>
                    </a:cubicBezTo>
                    <a:cubicBezTo>
                      <a:pt x="79916" y="17204"/>
                      <a:pt x="78806" y="18869"/>
                      <a:pt x="77142" y="20534"/>
                    </a:cubicBezTo>
                    <a:close/>
                  </a:path>
                </a:pathLst>
              </a:custGeom>
              <a:solidFill>
                <a:srgbClr val="676767"/>
              </a:solidFill>
              <a:ln w="5547" cap="flat">
                <a:noFill/>
                <a:prstDash val="solid"/>
                <a:miter/>
              </a:ln>
            </p:spPr>
            <p:txBody>
              <a:bodyPr rtlCol="0" anchor="ctr"/>
              <a:lstStyle/>
              <a:p>
                <a:endParaRPr lang="en-US"/>
              </a:p>
            </p:txBody>
          </p:sp>
          <p:sp>
            <p:nvSpPr>
              <p:cNvPr id="53" name="Freihandform: Form 52">
                <a:extLst>
                  <a:ext uri="{FF2B5EF4-FFF2-40B4-BE49-F238E27FC236}">
                    <a16:creationId xmlns:a16="http://schemas.microsoft.com/office/drawing/2014/main" id="{34F9369B-4BE2-4DE3-8C71-5E7F56C4B1DE}"/>
                  </a:ext>
                </a:extLst>
              </p:cNvPr>
              <p:cNvSpPr/>
              <p:nvPr/>
            </p:nvSpPr>
            <p:spPr>
              <a:xfrm>
                <a:off x="6453958" y="3797503"/>
                <a:ext cx="104928" cy="180367"/>
              </a:xfrm>
              <a:custGeom>
                <a:avLst/>
                <a:gdLst>
                  <a:gd name="connsiteX0" fmla="*/ 89351 w 104928"/>
                  <a:gd name="connsiteY0" fmla="*/ 129309 h 180367"/>
                  <a:gd name="connsiteX1" fmla="*/ 47173 w 104928"/>
                  <a:gd name="connsiteY1" fmla="*/ 172597 h 180367"/>
                  <a:gd name="connsiteX2" fmla="*/ 31079 w 104928"/>
                  <a:gd name="connsiteY2" fmla="*/ 180367 h 180367"/>
                  <a:gd name="connsiteX3" fmla="*/ 26639 w 104928"/>
                  <a:gd name="connsiteY3" fmla="*/ 178702 h 180367"/>
                  <a:gd name="connsiteX4" fmla="*/ 24974 w 104928"/>
                  <a:gd name="connsiteY4" fmla="*/ 174262 h 180367"/>
                  <a:gd name="connsiteX5" fmla="*/ 27194 w 104928"/>
                  <a:gd name="connsiteY5" fmla="*/ 168713 h 180367"/>
                  <a:gd name="connsiteX6" fmla="*/ 34409 w 104928"/>
                  <a:gd name="connsiteY6" fmla="*/ 164273 h 180367"/>
                  <a:gd name="connsiteX7" fmla="*/ 64932 w 104928"/>
                  <a:gd name="connsiteY7" fmla="*/ 143184 h 180367"/>
                  <a:gd name="connsiteX8" fmla="*/ 86576 w 104928"/>
                  <a:gd name="connsiteY8" fmla="*/ 114325 h 180367"/>
                  <a:gd name="connsiteX9" fmla="*/ 94346 w 104928"/>
                  <a:gd name="connsiteY9" fmla="*/ 87131 h 180367"/>
                  <a:gd name="connsiteX10" fmla="*/ 92126 w 104928"/>
                  <a:gd name="connsiteY10" fmla="*/ 79917 h 180367"/>
                  <a:gd name="connsiteX11" fmla="*/ 85466 w 104928"/>
                  <a:gd name="connsiteY11" fmla="*/ 77697 h 180367"/>
                  <a:gd name="connsiteX12" fmla="*/ 64377 w 104928"/>
                  <a:gd name="connsiteY12" fmla="*/ 86021 h 180367"/>
                  <a:gd name="connsiteX13" fmla="*/ 44398 w 104928"/>
                  <a:gd name="connsiteY13" fmla="*/ 107665 h 180367"/>
                  <a:gd name="connsiteX14" fmla="*/ 30524 w 104928"/>
                  <a:gd name="connsiteY14" fmla="*/ 132084 h 180367"/>
                  <a:gd name="connsiteX15" fmla="*/ 20534 w 104928"/>
                  <a:gd name="connsiteY15" fmla="*/ 162608 h 180367"/>
                  <a:gd name="connsiteX16" fmla="*/ 12210 w 104928"/>
                  <a:gd name="connsiteY16" fmla="*/ 170932 h 180367"/>
                  <a:gd name="connsiteX17" fmla="*/ 8325 w 104928"/>
                  <a:gd name="connsiteY17" fmla="*/ 168158 h 180367"/>
                  <a:gd name="connsiteX18" fmla="*/ 6105 w 104928"/>
                  <a:gd name="connsiteY18" fmla="*/ 162608 h 180367"/>
                  <a:gd name="connsiteX19" fmla="*/ 3885 w 104928"/>
                  <a:gd name="connsiteY19" fmla="*/ 79362 h 180367"/>
                  <a:gd name="connsiteX20" fmla="*/ 1110 w 104928"/>
                  <a:gd name="connsiteY20" fmla="*/ 16649 h 180367"/>
                  <a:gd name="connsiteX21" fmla="*/ 1110 w 104928"/>
                  <a:gd name="connsiteY21" fmla="*/ 13874 h 180367"/>
                  <a:gd name="connsiteX22" fmla="*/ 555 w 104928"/>
                  <a:gd name="connsiteY22" fmla="*/ 11100 h 180367"/>
                  <a:gd name="connsiteX23" fmla="*/ 0 w 104928"/>
                  <a:gd name="connsiteY23" fmla="*/ 8325 h 180367"/>
                  <a:gd name="connsiteX24" fmla="*/ 0 w 104928"/>
                  <a:gd name="connsiteY24" fmla="*/ 5550 h 180367"/>
                  <a:gd name="connsiteX25" fmla="*/ 4995 w 104928"/>
                  <a:gd name="connsiteY25" fmla="*/ 0 h 180367"/>
                  <a:gd name="connsiteX26" fmla="*/ 11655 w 104928"/>
                  <a:gd name="connsiteY26" fmla="*/ 4995 h 180367"/>
                  <a:gd name="connsiteX27" fmla="*/ 14429 w 104928"/>
                  <a:gd name="connsiteY27" fmla="*/ 16649 h 180367"/>
                  <a:gd name="connsiteX28" fmla="*/ 14429 w 104928"/>
                  <a:gd name="connsiteY28" fmla="*/ 29414 h 180367"/>
                  <a:gd name="connsiteX29" fmla="*/ 16094 w 104928"/>
                  <a:gd name="connsiteY29" fmla="*/ 118765 h 180367"/>
                  <a:gd name="connsiteX30" fmla="*/ 17759 w 104928"/>
                  <a:gd name="connsiteY30" fmla="*/ 135969 h 180367"/>
                  <a:gd name="connsiteX31" fmla="*/ 26084 w 104928"/>
                  <a:gd name="connsiteY31" fmla="*/ 118210 h 180367"/>
                  <a:gd name="connsiteX32" fmla="*/ 38293 w 104928"/>
                  <a:gd name="connsiteY32" fmla="*/ 99896 h 180367"/>
                  <a:gd name="connsiteX33" fmla="*/ 63267 w 104928"/>
                  <a:gd name="connsiteY33" fmla="*/ 74922 h 180367"/>
                  <a:gd name="connsiteX34" fmla="*/ 87686 w 104928"/>
                  <a:gd name="connsiteY34" fmla="*/ 65487 h 180367"/>
                  <a:gd name="connsiteX35" fmla="*/ 99896 w 104928"/>
                  <a:gd name="connsiteY35" fmla="*/ 70482 h 180367"/>
                  <a:gd name="connsiteX36" fmla="*/ 104890 w 104928"/>
                  <a:gd name="connsiteY36" fmla="*/ 84356 h 180367"/>
                  <a:gd name="connsiteX37" fmla="*/ 89351 w 104928"/>
                  <a:gd name="connsiteY37" fmla="*/ 129309 h 180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4928" h="180367">
                    <a:moveTo>
                      <a:pt x="89351" y="129309"/>
                    </a:moveTo>
                    <a:cubicBezTo>
                      <a:pt x="78252" y="145404"/>
                      <a:pt x="64377" y="159833"/>
                      <a:pt x="47173" y="172597"/>
                    </a:cubicBezTo>
                    <a:cubicBezTo>
                      <a:pt x="39958" y="178147"/>
                      <a:pt x="34963" y="180367"/>
                      <a:pt x="31079" y="180367"/>
                    </a:cubicBezTo>
                    <a:cubicBezTo>
                      <a:pt x="29414" y="180367"/>
                      <a:pt x="27749" y="179812"/>
                      <a:pt x="26639" y="178702"/>
                    </a:cubicBezTo>
                    <a:cubicBezTo>
                      <a:pt x="25529" y="177592"/>
                      <a:pt x="24974" y="175927"/>
                      <a:pt x="24974" y="174262"/>
                    </a:cubicBezTo>
                    <a:cubicBezTo>
                      <a:pt x="24974" y="172597"/>
                      <a:pt x="25529" y="170932"/>
                      <a:pt x="27194" y="168713"/>
                    </a:cubicBezTo>
                    <a:cubicBezTo>
                      <a:pt x="28859" y="167048"/>
                      <a:pt x="31079" y="165383"/>
                      <a:pt x="34409" y="164273"/>
                    </a:cubicBezTo>
                    <a:cubicBezTo>
                      <a:pt x="45508" y="159278"/>
                      <a:pt x="56053" y="152618"/>
                      <a:pt x="64932" y="143184"/>
                    </a:cubicBezTo>
                    <a:cubicBezTo>
                      <a:pt x="74367" y="133749"/>
                      <a:pt x="81581" y="124315"/>
                      <a:pt x="86576" y="114325"/>
                    </a:cubicBezTo>
                    <a:cubicBezTo>
                      <a:pt x="91571" y="104335"/>
                      <a:pt x="94346" y="94901"/>
                      <a:pt x="94346" y="87131"/>
                    </a:cubicBezTo>
                    <a:cubicBezTo>
                      <a:pt x="94346" y="83801"/>
                      <a:pt x="93791" y="81581"/>
                      <a:pt x="92126" y="79917"/>
                    </a:cubicBezTo>
                    <a:cubicBezTo>
                      <a:pt x="91016" y="78252"/>
                      <a:pt x="88241" y="77697"/>
                      <a:pt x="85466" y="77697"/>
                    </a:cubicBezTo>
                    <a:cubicBezTo>
                      <a:pt x="78807" y="77697"/>
                      <a:pt x="71592" y="80471"/>
                      <a:pt x="64377" y="86021"/>
                    </a:cubicBezTo>
                    <a:cubicBezTo>
                      <a:pt x="57162" y="91571"/>
                      <a:pt x="50503" y="98786"/>
                      <a:pt x="44398" y="107665"/>
                    </a:cubicBezTo>
                    <a:cubicBezTo>
                      <a:pt x="39958" y="114325"/>
                      <a:pt x="34963" y="122650"/>
                      <a:pt x="30524" y="132084"/>
                    </a:cubicBezTo>
                    <a:cubicBezTo>
                      <a:pt x="26084" y="141519"/>
                      <a:pt x="22754" y="151508"/>
                      <a:pt x="20534" y="162608"/>
                    </a:cubicBezTo>
                    <a:cubicBezTo>
                      <a:pt x="19424" y="168158"/>
                      <a:pt x="16649" y="170932"/>
                      <a:pt x="12210" y="170932"/>
                    </a:cubicBezTo>
                    <a:cubicBezTo>
                      <a:pt x="11100" y="170932"/>
                      <a:pt x="9989" y="169823"/>
                      <a:pt x="8325" y="168158"/>
                    </a:cubicBezTo>
                    <a:cubicBezTo>
                      <a:pt x="7215" y="165938"/>
                      <a:pt x="6105" y="164273"/>
                      <a:pt x="6105" y="162608"/>
                    </a:cubicBezTo>
                    <a:cubicBezTo>
                      <a:pt x="6105" y="143739"/>
                      <a:pt x="5550" y="115990"/>
                      <a:pt x="3885" y="79362"/>
                    </a:cubicBezTo>
                    <a:cubicBezTo>
                      <a:pt x="2220" y="42733"/>
                      <a:pt x="1665" y="22199"/>
                      <a:pt x="1110" y="16649"/>
                    </a:cubicBezTo>
                    <a:cubicBezTo>
                      <a:pt x="1110" y="15539"/>
                      <a:pt x="1110" y="14984"/>
                      <a:pt x="1110" y="13874"/>
                    </a:cubicBezTo>
                    <a:cubicBezTo>
                      <a:pt x="1110" y="12764"/>
                      <a:pt x="555" y="12210"/>
                      <a:pt x="555" y="11100"/>
                    </a:cubicBezTo>
                    <a:cubicBezTo>
                      <a:pt x="555" y="9990"/>
                      <a:pt x="0" y="8880"/>
                      <a:pt x="0" y="8325"/>
                    </a:cubicBezTo>
                    <a:cubicBezTo>
                      <a:pt x="0" y="7215"/>
                      <a:pt x="0" y="6105"/>
                      <a:pt x="0" y="5550"/>
                    </a:cubicBezTo>
                    <a:cubicBezTo>
                      <a:pt x="0" y="1665"/>
                      <a:pt x="1665" y="0"/>
                      <a:pt x="4995" y="0"/>
                    </a:cubicBezTo>
                    <a:cubicBezTo>
                      <a:pt x="7770" y="0"/>
                      <a:pt x="9989" y="1665"/>
                      <a:pt x="11655" y="4995"/>
                    </a:cubicBezTo>
                    <a:cubicBezTo>
                      <a:pt x="13319" y="8325"/>
                      <a:pt x="14429" y="12210"/>
                      <a:pt x="14429" y="16649"/>
                    </a:cubicBezTo>
                    <a:lnTo>
                      <a:pt x="14429" y="29414"/>
                    </a:lnTo>
                    <a:cubicBezTo>
                      <a:pt x="14429" y="68262"/>
                      <a:pt x="14984" y="97676"/>
                      <a:pt x="16094" y="118765"/>
                    </a:cubicBezTo>
                    <a:cubicBezTo>
                      <a:pt x="16649" y="128754"/>
                      <a:pt x="17204" y="134859"/>
                      <a:pt x="17759" y="135969"/>
                    </a:cubicBezTo>
                    <a:cubicBezTo>
                      <a:pt x="19424" y="130419"/>
                      <a:pt x="22199" y="124869"/>
                      <a:pt x="26084" y="118210"/>
                    </a:cubicBezTo>
                    <a:cubicBezTo>
                      <a:pt x="29969" y="111550"/>
                      <a:pt x="33854" y="105445"/>
                      <a:pt x="38293" y="99896"/>
                    </a:cubicBezTo>
                    <a:cubicBezTo>
                      <a:pt x="46063" y="89351"/>
                      <a:pt x="54388" y="81026"/>
                      <a:pt x="63267" y="74922"/>
                    </a:cubicBezTo>
                    <a:cubicBezTo>
                      <a:pt x="72147" y="68817"/>
                      <a:pt x="80471" y="65487"/>
                      <a:pt x="87686" y="65487"/>
                    </a:cubicBezTo>
                    <a:cubicBezTo>
                      <a:pt x="92681" y="65487"/>
                      <a:pt x="96566" y="67152"/>
                      <a:pt x="99896" y="70482"/>
                    </a:cubicBezTo>
                    <a:cubicBezTo>
                      <a:pt x="103225" y="73812"/>
                      <a:pt x="104890" y="78252"/>
                      <a:pt x="104890" y="84356"/>
                    </a:cubicBezTo>
                    <a:cubicBezTo>
                      <a:pt x="105445" y="98231"/>
                      <a:pt x="99896" y="113215"/>
                      <a:pt x="89351" y="129309"/>
                    </a:cubicBezTo>
                    <a:close/>
                  </a:path>
                </a:pathLst>
              </a:custGeom>
              <a:solidFill>
                <a:srgbClr val="676767"/>
              </a:solidFill>
              <a:ln w="5547" cap="flat">
                <a:noFill/>
                <a:prstDash val="solid"/>
                <a:miter/>
              </a:ln>
            </p:spPr>
            <p:txBody>
              <a:bodyPr rtlCol="0" anchor="ctr"/>
              <a:lstStyle/>
              <a:p>
                <a:endParaRPr lang="en-US"/>
              </a:p>
            </p:txBody>
          </p:sp>
          <p:sp>
            <p:nvSpPr>
              <p:cNvPr id="54" name="Freihandform: Form 53">
                <a:extLst>
                  <a:ext uri="{FF2B5EF4-FFF2-40B4-BE49-F238E27FC236}">
                    <a16:creationId xmlns:a16="http://schemas.microsoft.com/office/drawing/2014/main" id="{DF507AD3-1AB6-41A3-B080-22C42ED53F81}"/>
                  </a:ext>
                </a:extLst>
              </p:cNvPr>
              <p:cNvSpPr/>
              <p:nvPr/>
            </p:nvSpPr>
            <p:spPr>
              <a:xfrm>
                <a:off x="6577718" y="3857440"/>
                <a:ext cx="94900" cy="119874"/>
              </a:xfrm>
              <a:custGeom>
                <a:avLst/>
                <a:gdLst>
                  <a:gd name="connsiteX0" fmla="*/ 94901 w 94900"/>
                  <a:gd name="connsiteY0" fmla="*/ 59937 h 119874"/>
                  <a:gd name="connsiteX1" fmla="*/ 88241 w 94900"/>
                  <a:gd name="connsiteY1" fmla="*/ 79362 h 119874"/>
                  <a:gd name="connsiteX2" fmla="*/ 68817 w 94900"/>
                  <a:gd name="connsiteY2" fmla="*/ 107110 h 119874"/>
                  <a:gd name="connsiteX3" fmla="*/ 36628 w 94900"/>
                  <a:gd name="connsiteY3" fmla="*/ 119875 h 119874"/>
                  <a:gd name="connsiteX4" fmla="*/ 10545 w 94900"/>
                  <a:gd name="connsiteY4" fmla="*/ 109885 h 119874"/>
                  <a:gd name="connsiteX5" fmla="*/ 0 w 94900"/>
                  <a:gd name="connsiteY5" fmla="*/ 79917 h 119874"/>
                  <a:gd name="connsiteX6" fmla="*/ 8880 w 94900"/>
                  <a:gd name="connsiteY6" fmla="*/ 42178 h 119874"/>
                  <a:gd name="connsiteX7" fmla="*/ 31634 w 94900"/>
                  <a:gd name="connsiteY7" fmla="*/ 11655 h 119874"/>
                  <a:gd name="connsiteX8" fmla="*/ 61047 w 94900"/>
                  <a:gd name="connsiteY8" fmla="*/ 0 h 119874"/>
                  <a:gd name="connsiteX9" fmla="*/ 76032 w 94900"/>
                  <a:gd name="connsiteY9" fmla="*/ 3885 h 119874"/>
                  <a:gd name="connsiteX10" fmla="*/ 82136 w 94900"/>
                  <a:gd name="connsiteY10" fmla="*/ 15539 h 119874"/>
                  <a:gd name="connsiteX11" fmla="*/ 72702 w 94900"/>
                  <a:gd name="connsiteY11" fmla="*/ 32189 h 119874"/>
                  <a:gd name="connsiteX12" fmla="*/ 47728 w 94900"/>
                  <a:gd name="connsiteY12" fmla="*/ 46063 h 119874"/>
                  <a:gd name="connsiteX13" fmla="*/ 16094 w 94900"/>
                  <a:gd name="connsiteY13" fmla="*/ 54943 h 119874"/>
                  <a:gd name="connsiteX14" fmla="*/ 13320 w 94900"/>
                  <a:gd name="connsiteY14" fmla="*/ 76587 h 119874"/>
                  <a:gd name="connsiteX15" fmla="*/ 19979 w 94900"/>
                  <a:gd name="connsiteY15" fmla="*/ 98231 h 119874"/>
                  <a:gd name="connsiteX16" fmla="*/ 38848 w 94900"/>
                  <a:gd name="connsiteY16" fmla="*/ 106000 h 119874"/>
                  <a:gd name="connsiteX17" fmla="*/ 69372 w 94900"/>
                  <a:gd name="connsiteY17" fmla="*/ 92681 h 119874"/>
                  <a:gd name="connsiteX18" fmla="*/ 88796 w 94900"/>
                  <a:gd name="connsiteY18" fmla="*/ 62712 h 119874"/>
                  <a:gd name="connsiteX19" fmla="*/ 90461 w 94900"/>
                  <a:gd name="connsiteY19" fmla="*/ 58827 h 119874"/>
                  <a:gd name="connsiteX20" fmla="*/ 92681 w 94900"/>
                  <a:gd name="connsiteY20" fmla="*/ 56053 h 119874"/>
                  <a:gd name="connsiteX21" fmla="*/ 94901 w 94900"/>
                  <a:gd name="connsiteY21" fmla="*/ 59937 h 119874"/>
                  <a:gd name="connsiteX22" fmla="*/ 67707 w 94900"/>
                  <a:gd name="connsiteY22" fmla="*/ 12209 h 119874"/>
                  <a:gd name="connsiteX23" fmla="*/ 58272 w 94900"/>
                  <a:gd name="connsiteY23" fmla="*/ 9990 h 119874"/>
                  <a:gd name="connsiteX24" fmla="*/ 40513 w 94900"/>
                  <a:gd name="connsiteY24" fmla="*/ 16094 h 119874"/>
                  <a:gd name="connsiteX25" fmla="*/ 26084 w 94900"/>
                  <a:gd name="connsiteY25" fmla="*/ 30524 h 119874"/>
                  <a:gd name="connsiteX26" fmla="*/ 18869 w 94900"/>
                  <a:gd name="connsiteY26" fmla="*/ 45508 h 119874"/>
                  <a:gd name="connsiteX27" fmla="*/ 42733 w 94900"/>
                  <a:gd name="connsiteY27" fmla="*/ 39403 h 119874"/>
                  <a:gd name="connsiteX28" fmla="*/ 63267 w 94900"/>
                  <a:gd name="connsiteY28" fmla="*/ 28304 h 119874"/>
                  <a:gd name="connsiteX29" fmla="*/ 71592 w 94900"/>
                  <a:gd name="connsiteY29" fmla="*/ 18314 h 119874"/>
                  <a:gd name="connsiteX30" fmla="*/ 67707 w 94900"/>
                  <a:gd name="connsiteY30" fmla="*/ 12209 h 11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4900" h="119874">
                    <a:moveTo>
                      <a:pt x="94901" y="59937"/>
                    </a:moveTo>
                    <a:cubicBezTo>
                      <a:pt x="94901" y="62712"/>
                      <a:pt x="92681" y="69372"/>
                      <a:pt x="88241" y="79362"/>
                    </a:cubicBezTo>
                    <a:cubicBezTo>
                      <a:pt x="83801" y="89351"/>
                      <a:pt x="77697" y="98231"/>
                      <a:pt x="68817" y="107110"/>
                    </a:cubicBezTo>
                    <a:cubicBezTo>
                      <a:pt x="59937" y="115435"/>
                      <a:pt x="49393" y="119875"/>
                      <a:pt x="36628" y="119875"/>
                    </a:cubicBezTo>
                    <a:cubicBezTo>
                      <a:pt x="26084" y="119875"/>
                      <a:pt x="17759" y="116545"/>
                      <a:pt x="10545" y="109885"/>
                    </a:cubicBezTo>
                    <a:cubicBezTo>
                      <a:pt x="3330" y="103225"/>
                      <a:pt x="0" y="93236"/>
                      <a:pt x="0" y="79917"/>
                    </a:cubicBezTo>
                    <a:cubicBezTo>
                      <a:pt x="0" y="67152"/>
                      <a:pt x="2775" y="54943"/>
                      <a:pt x="8880" y="42178"/>
                    </a:cubicBezTo>
                    <a:cubicBezTo>
                      <a:pt x="14984" y="29969"/>
                      <a:pt x="22199" y="19424"/>
                      <a:pt x="31634" y="11655"/>
                    </a:cubicBezTo>
                    <a:cubicBezTo>
                      <a:pt x="41068" y="3885"/>
                      <a:pt x="50503" y="0"/>
                      <a:pt x="61047" y="0"/>
                    </a:cubicBezTo>
                    <a:cubicBezTo>
                      <a:pt x="67152" y="0"/>
                      <a:pt x="72147" y="1110"/>
                      <a:pt x="76032" y="3885"/>
                    </a:cubicBezTo>
                    <a:cubicBezTo>
                      <a:pt x="79917" y="6660"/>
                      <a:pt x="82136" y="10545"/>
                      <a:pt x="82136" y="15539"/>
                    </a:cubicBezTo>
                    <a:cubicBezTo>
                      <a:pt x="82136" y="21089"/>
                      <a:pt x="78807" y="26639"/>
                      <a:pt x="72702" y="32189"/>
                    </a:cubicBezTo>
                    <a:cubicBezTo>
                      <a:pt x="66042" y="37738"/>
                      <a:pt x="57718" y="42178"/>
                      <a:pt x="47728" y="46063"/>
                    </a:cubicBezTo>
                    <a:cubicBezTo>
                      <a:pt x="37738" y="49948"/>
                      <a:pt x="27194" y="53278"/>
                      <a:pt x="16094" y="54943"/>
                    </a:cubicBezTo>
                    <a:cubicBezTo>
                      <a:pt x="14429" y="62157"/>
                      <a:pt x="13320" y="69927"/>
                      <a:pt x="13320" y="76587"/>
                    </a:cubicBezTo>
                    <a:cubicBezTo>
                      <a:pt x="13320" y="86021"/>
                      <a:pt x="15539" y="93236"/>
                      <a:pt x="19979" y="98231"/>
                    </a:cubicBezTo>
                    <a:cubicBezTo>
                      <a:pt x="24419" y="103225"/>
                      <a:pt x="31079" y="106000"/>
                      <a:pt x="38848" y="106000"/>
                    </a:cubicBezTo>
                    <a:cubicBezTo>
                      <a:pt x="51613" y="106000"/>
                      <a:pt x="61602" y="101561"/>
                      <a:pt x="69372" y="92681"/>
                    </a:cubicBezTo>
                    <a:cubicBezTo>
                      <a:pt x="77142" y="83801"/>
                      <a:pt x="83801" y="73812"/>
                      <a:pt x="88796" y="62712"/>
                    </a:cubicBezTo>
                    <a:cubicBezTo>
                      <a:pt x="89351" y="62157"/>
                      <a:pt x="89906" y="61047"/>
                      <a:pt x="90461" y="58827"/>
                    </a:cubicBezTo>
                    <a:cubicBezTo>
                      <a:pt x="91016" y="57162"/>
                      <a:pt x="92126" y="56053"/>
                      <a:pt x="92681" y="56053"/>
                    </a:cubicBezTo>
                    <a:cubicBezTo>
                      <a:pt x="94346" y="56607"/>
                      <a:pt x="94901" y="57718"/>
                      <a:pt x="94901" y="59937"/>
                    </a:cubicBezTo>
                    <a:close/>
                    <a:moveTo>
                      <a:pt x="67707" y="12209"/>
                    </a:moveTo>
                    <a:cubicBezTo>
                      <a:pt x="64932" y="10545"/>
                      <a:pt x="62157" y="9990"/>
                      <a:pt x="58272" y="9990"/>
                    </a:cubicBezTo>
                    <a:cubicBezTo>
                      <a:pt x="52168" y="9990"/>
                      <a:pt x="46063" y="12209"/>
                      <a:pt x="40513" y="16094"/>
                    </a:cubicBezTo>
                    <a:cubicBezTo>
                      <a:pt x="34964" y="19979"/>
                      <a:pt x="29969" y="24974"/>
                      <a:pt x="26084" y="30524"/>
                    </a:cubicBezTo>
                    <a:cubicBezTo>
                      <a:pt x="22199" y="36073"/>
                      <a:pt x="19979" y="41068"/>
                      <a:pt x="18869" y="45508"/>
                    </a:cubicBezTo>
                    <a:cubicBezTo>
                      <a:pt x="26084" y="44953"/>
                      <a:pt x="34409" y="42733"/>
                      <a:pt x="42733" y="39403"/>
                    </a:cubicBezTo>
                    <a:cubicBezTo>
                      <a:pt x="51058" y="36073"/>
                      <a:pt x="57718" y="32189"/>
                      <a:pt x="63267" y="28304"/>
                    </a:cubicBezTo>
                    <a:cubicBezTo>
                      <a:pt x="68817" y="24419"/>
                      <a:pt x="71592" y="21089"/>
                      <a:pt x="71592" y="18314"/>
                    </a:cubicBezTo>
                    <a:cubicBezTo>
                      <a:pt x="71592" y="15539"/>
                      <a:pt x="70482" y="13874"/>
                      <a:pt x="67707" y="12209"/>
                    </a:cubicBezTo>
                    <a:close/>
                  </a:path>
                </a:pathLst>
              </a:custGeom>
              <a:solidFill>
                <a:srgbClr val="676767"/>
              </a:solidFill>
              <a:ln w="5547" cap="flat">
                <a:noFill/>
                <a:prstDash val="solid"/>
                <a:miter/>
              </a:ln>
            </p:spPr>
            <p:txBody>
              <a:bodyPr rtlCol="0" anchor="ctr"/>
              <a:lstStyle/>
              <a:p>
                <a:endParaRPr lang="en-US"/>
              </a:p>
            </p:txBody>
          </p:sp>
          <p:sp>
            <p:nvSpPr>
              <p:cNvPr id="55" name="Freihandform: Form 54">
                <a:extLst>
                  <a:ext uri="{FF2B5EF4-FFF2-40B4-BE49-F238E27FC236}">
                    <a16:creationId xmlns:a16="http://schemas.microsoft.com/office/drawing/2014/main" id="{576E0C06-7F1C-41AE-8F8A-91A517AB6429}"/>
                  </a:ext>
                </a:extLst>
              </p:cNvPr>
              <p:cNvSpPr/>
              <p:nvPr/>
            </p:nvSpPr>
            <p:spPr>
              <a:xfrm>
                <a:off x="6688713" y="3855220"/>
                <a:ext cx="90461" cy="128754"/>
              </a:xfrm>
              <a:custGeom>
                <a:avLst/>
                <a:gdLst>
                  <a:gd name="connsiteX0" fmla="*/ 82136 w 90461"/>
                  <a:gd name="connsiteY0" fmla="*/ 107110 h 128754"/>
                  <a:gd name="connsiteX1" fmla="*/ 59382 w 90461"/>
                  <a:gd name="connsiteY1" fmla="*/ 122650 h 128754"/>
                  <a:gd name="connsiteX2" fmla="*/ 29969 w 90461"/>
                  <a:gd name="connsiteY2" fmla="*/ 128754 h 128754"/>
                  <a:gd name="connsiteX3" fmla="*/ 16094 w 90461"/>
                  <a:gd name="connsiteY3" fmla="*/ 126534 h 128754"/>
                  <a:gd name="connsiteX4" fmla="*/ 12210 w 90461"/>
                  <a:gd name="connsiteY4" fmla="*/ 120985 h 128754"/>
                  <a:gd name="connsiteX5" fmla="*/ 17759 w 90461"/>
                  <a:gd name="connsiteY5" fmla="*/ 113215 h 128754"/>
                  <a:gd name="connsiteX6" fmla="*/ 25529 w 90461"/>
                  <a:gd name="connsiteY6" fmla="*/ 107665 h 128754"/>
                  <a:gd name="connsiteX7" fmla="*/ 28304 w 90461"/>
                  <a:gd name="connsiteY7" fmla="*/ 108775 h 128754"/>
                  <a:gd name="connsiteX8" fmla="*/ 27194 w 90461"/>
                  <a:gd name="connsiteY8" fmla="*/ 110995 h 128754"/>
                  <a:gd name="connsiteX9" fmla="*/ 26084 w 90461"/>
                  <a:gd name="connsiteY9" fmla="*/ 112660 h 128754"/>
                  <a:gd name="connsiteX10" fmla="*/ 28859 w 90461"/>
                  <a:gd name="connsiteY10" fmla="*/ 114325 h 128754"/>
                  <a:gd name="connsiteX11" fmla="*/ 36073 w 90461"/>
                  <a:gd name="connsiteY11" fmla="*/ 115435 h 128754"/>
                  <a:gd name="connsiteX12" fmla="*/ 56608 w 90461"/>
                  <a:gd name="connsiteY12" fmla="*/ 111550 h 128754"/>
                  <a:gd name="connsiteX13" fmla="*/ 73812 w 90461"/>
                  <a:gd name="connsiteY13" fmla="*/ 101561 h 128754"/>
                  <a:gd name="connsiteX14" fmla="*/ 80471 w 90461"/>
                  <a:gd name="connsiteY14" fmla="*/ 88796 h 128754"/>
                  <a:gd name="connsiteX15" fmla="*/ 76587 w 90461"/>
                  <a:gd name="connsiteY15" fmla="*/ 78251 h 128754"/>
                  <a:gd name="connsiteX16" fmla="*/ 66042 w 90461"/>
                  <a:gd name="connsiteY16" fmla="*/ 72702 h 128754"/>
                  <a:gd name="connsiteX17" fmla="*/ 44953 w 90461"/>
                  <a:gd name="connsiteY17" fmla="*/ 67707 h 128754"/>
                  <a:gd name="connsiteX18" fmla="*/ 19979 w 90461"/>
                  <a:gd name="connsiteY18" fmla="*/ 61047 h 128754"/>
                  <a:gd name="connsiteX19" fmla="*/ 5550 w 90461"/>
                  <a:gd name="connsiteY19" fmla="*/ 53833 h 128754"/>
                  <a:gd name="connsiteX20" fmla="*/ 0 w 90461"/>
                  <a:gd name="connsiteY20" fmla="*/ 42733 h 128754"/>
                  <a:gd name="connsiteX21" fmla="*/ 11655 w 90461"/>
                  <a:gd name="connsiteY21" fmla="*/ 21089 h 128754"/>
                  <a:gd name="connsiteX22" fmla="*/ 37738 w 90461"/>
                  <a:gd name="connsiteY22" fmla="*/ 5550 h 128754"/>
                  <a:gd name="connsiteX23" fmla="*/ 60492 w 90461"/>
                  <a:gd name="connsiteY23" fmla="*/ 0 h 128754"/>
                  <a:gd name="connsiteX24" fmla="*/ 68817 w 90461"/>
                  <a:gd name="connsiteY24" fmla="*/ 4995 h 128754"/>
                  <a:gd name="connsiteX25" fmla="*/ 67152 w 90461"/>
                  <a:gd name="connsiteY25" fmla="*/ 11654 h 128754"/>
                  <a:gd name="connsiteX26" fmla="*/ 61047 w 90461"/>
                  <a:gd name="connsiteY26" fmla="*/ 14984 h 128754"/>
                  <a:gd name="connsiteX27" fmla="*/ 57718 w 90461"/>
                  <a:gd name="connsiteY27" fmla="*/ 13874 h 128754"/>
                  <a:gd name="connsiteX28" fmla="*/ 54388 w 90461"/>
                  <a:gd name="connsiteY28" fmla="*/ 12764 h 128754"/>
                  <a:gd name="connsiteX29" fmla="*/ 38848 w 90461"/>
                  <a:gd name="connsiteY29" fmla="*/ 16094 h 128754"/>
                  <a:gd name="connsiteX30" fmla="*/ 19979 w 90461"/>
                  <a:gd name="connsiteY30" fmla="*/ 25529 h 128754"/>
                  <a:gd name="connsiteX31" fmla="*/ 11655 w 90461"/>
                  <a:gd name="connsiteY31" fmla="*/ 41068 h 128754"/>
                  <a:gd name="connsiteX32" fmla="*/ 18314 w 90461"/>
                  <a:gd name="connsiteY32" fmla="*/ 49948 h 128754"/>
                  <a:gd name="connsiteX33" fmla="*/ 43288 w 90461"/>
                  <a:gd name="connsiteY33" fmla="*/ 57162 h 128754"/>
                  <a:gd name="connsiteX34" fmla="*/ 47728 w 90461"/>
                  <a:gd name="connsiteY34" fmla="*/ 58272 h 128754"/>
                  <a:gd name="connsiteX35" fmla="*/ 51613 w 90461"/>
                  <a:gd name="connsiteY35" fmla="*/ 59382 h 128754"/>
                  <a:gd name="connsiteX36" fmla="*/ 80471 w 90461"/>
                  <a:gd name="connsiteY36" fmla="*/ 69372 h 128754"/>
                  <a:gd name="connsiteX37" fmla="*/ 90461 w 90461"/>
                  <a:gd name="connsiteY37" fmla="*/ 86021 h 128754"/>
                  <a:gd name="connsiteX38" fmla="*/ 82136 w 90461"/>
                  <a:gd name="connsiteY38" fmla="*/ 107110 h 128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0461" h="128754">
                    <a:moveTo>
                      <a:pt x="82136" y="107110"/>
                    </a:moveTo>
                    <a:cubicBezTo>
                      <a:pt x="76587" y="113770"/>
                      <a:pt x="68817" y="118765"/>
                      <a:pt x="59382" y="122650"/>
                    </a:cubicBezTo>
                    <a:cubicBezTo>
                      <a:pt x="49948" y="126534"/>
                      <a:pt x="39958" y="128754"/>
                      <a:pt x="29969" y="128754"/>
                    </a:cubicBezTo>
                    <a:cubicBezTo>
                      <a:pt x="22754" y="128754"/>
                      <a:pt x="18314" y="128199"/>
                      <a:pt x="16094" y="126534"/>
                    </a:cubicBezTo>
                    <a:cubicBezTo>
                      <a:pt x="13874" y="124869"/>
                      <a:pt x="12210" y="123205"/>
                      <a:pt x="12210" y="120985"/>
                    </a:cubicBezTo>
                    <a:cubicBezTo>
                      <a:pt x="12210" y="119320"/>
                      <a:pt x="13874" y="117100"/>
                      <a:pt x="17759" y="113215"/>
                    </a:cubicBezTo>
                    <a:cubicBezTo>
                      <a:pt x="21644" y="109330"/>
                      <a:pt x="23864" y="107665"/>
                      <a:pt x="25529" y="107665"/>
                    </a:cubicBezTo>
                    <a:cubicBezTo>
                      <a:pt x="27194" y="107665"/>
                      <a:pt x="28304" y="108220"/>
                      <a:pt x="28304" y="108775"/>
                    </a:cubicBezTo>
                    <a:cubicBezTo>
                      <a:pt x="28304" y="109330"/>
                      <a:pt x="27749" y="109885"/>
                      <a:pt x="27194" y="110995"/>
                    </a:cubicBezTo>
                    <a:cubicBezTo>
                      <a:pt x="26639" y="111550"/>
                      <a:pt x="26084" y="112105"/>
                      <a:pt x="26084" y="112660"/>
                    </a:cubicBezTo>
                    <a:cubicBezTo>
                      <a:pt x="26084" y="113215"/>
                      <a:pt x="27194" y="113770"/>
                      <a:pt x="28859" y="114325"/>
                    </a:cubicBezTo>
                    <a:cubicBezTo>
                      <a:pt x="31079" y="114880"/>
                      <a:pt x="33299" y="115435"/>
                      <a:pt x="36073" y="115435"/>
                    </a:cubicBezTo>
                    <a:cubicBezTo>
                      <a:pt x="42733" y="115435"/>
                      <a:pt x="49948" y="114325"/>
                      <a:pt x="56608" y="111550"/>
                    </a:cubicBezTo>
                    <a:cubicBezTo>
                      <a:pt x="63267" y="108775"/>
                      <a:pt x="69372" y="106000"/>
                      <a:pt x="73812" y="101561"/>
                    </a:cubicBezTo>
                    <a:cubicBezTo>
                      <a:pt x="78252" y="97676"/>
                      <a:pt x="80471" y="93236"/>
                      <a:pt x="80471" y="88796"/>
                    </a:cubicBezTo>
                    <a:cubicBezTo>
                      <a:pt x="80471" y="84356"/>
                      <a:pt x="79362" y="81026"/>
                      <a:pt x="76587" y="78251"/>
                    </a:cubicBezTo>
                    <a:cubicBezTo>
                      <a:pt x="73812" y="75477"/>
                      <a:pt x="70482" y="73812"/>
                      <a:pt x="66042" y="72702"/>
                    </a:cubicBezTo>
                    <a:cubicBezTo>
                      <a:pt x="62157" y="71592"/>
                      <a:pt x="54943" y="69927"/>
                      <a:pt x="44953" y="67707"/>
                    </a:cubicBezTo>
                    <a:cubicBezTo>
                      <a:pt x="34409" y="65487"/>
                      <a:pt x="26084" y="63267"/>
                      <a:pt x="19979" y="61047"/>
                    </a:cubicBezTo>
                    <a:cubicBezTo>
                      <a:pt x="13874" y="59382"/>
                      <a:pt x="9435" y="56607"/>
                      <a:pt x="5550" y="53833"/>
                    </a:cubicBezTo>
                    <a:cubicBezTo>
                      <a:pt x="2220" y="51058"/>
                      <a:pt x="0" y="47173"/>
                      <a:pt x="0" y="42733"/>
                    </a:cubicBezTo>
                    <a:cubicBezTo>
                      <a:pt x="0" y="34963"/>
                      <a:pt x="3885" y="27749"/>
                      <a:pt x="11655" y="21089"/>
                    </a:cubicBezTo>
                    <a:cubicBezTo>
                      <a:pt x="19424" y="14429"/>
                      <a:pt x="28304" y="9435"/>
                      <a:pt x="37738" y="5550"/>
                    </a:cubicBezTo>
                    <a:cubicBezTo>
                      <a:pt x="47728" y="1665"/>
                      <a:pt x="55498" y="0"/>
                      <a:pt x="60492" y="0"/>
                    </a:cubicBezTo>
                    <a:cubicBezTo>
                      <a:pt x="66042" y="0"/>
                      <a:pt x="68817" y="1665"/>
                      <a:pt x="68817" y="4995"/>
                    </a:cubicBezTo>
                    <a:cubicBezTo>
                      <a:pt x="68817" y="6660"/>
                      <a:pt x="68262" y="8880"/>
                      <a:pt x="67152" y="11654"/>
                    </a:cubicBezTo>
                    <a:cubicBezTo>
                      <a:pt x="66042" y="13874"/>
                      <a:pt x="63822" y="14984"/>
                      <a:pt x="61047" y="14984"/>
                    </a:cubicBezTo>
                    <a:cubicBezTo>
                      <a:pt x="59937" y="14984"/>
                      <a:pt x="58827" y="14429"/>
                      <a:pt x="57718" y="13874"/>
                    </a:cubicBezTo>
                    <a:cubicBezTo>
                      <a:pt x="56608" y="13319"/>
                      <a:pt x="55498" y="12764"/>
                      <a:pt x="54388" y="12764"/>
                    </a:cubicBezTo>
                    <a:cubicBezTo>
                      <a:pt x="51058" y="12764"/>
                      <a:pt x="46063" y="13874"/>
                      <a:pt x="38848" y="16094"/>
                    </a:cubicBezTo>
                    <a:cubicBezTo>
                      <a:pt x="31634" y="18314"/>
                      <a:pt x="25529" y="21089"/>
                      <a:pt x="19979" y="25529"/>
                    </a:cubicBezTo>
                    <a:cubicBezTo>
                      <a:pt x="14429" y="29969"/>
                      <a:pt x="11655" y="34963"/>
                      <a:pt x="11655" y="41068"/>
                    </a:cubicBezTo>
                    <a:cubicBezTo>
                      <a:pt x="11655" y="44953"/>
                      <a:pt x="13874" y="47728"/>
                      <a:pt x="18314" y="49948"/>
                    </a:cubicBezTo>
                    <a:cubicBezTo>
                      <a:pt x="22754" y="51613"/>
                      <a:pt x="31079" y="54388"/>
                      <a:pt x="43288" y="57162"/>
                    </a:cubicBezTo>
                    <a:cubicBezTo>
                      <a:pt x="44953" y="57717"/>
                      <a:pt x="46063" y="58272"/>
                      <a:pt x="47728" y="58272"/>
                    </a:cubicBezTo>
                    <a:cubicBezTo>
                      <a:pt x="49393" y="58272"/>
                      <a:pt x="50503" y="58827"/>
                      <a:pt x="51613" y="59382"/>
                    </a:cubicBezTo>
                    <a:cubicBezTo>
                      <a:pt x="63822" y="62157"/>
                      <a:pt x="73812" y="65487"/>
                      <a:pt x="80471" y="69372"/>
                    </a:cubicBezTo>
                    <a:cubicBezTo>
                      <a:pt x="87131" y="73257"/>
                      <a:pt x="90461" y="78807"/>
                      <a:pt x="90461" y="86021"/>
                    </a:cubicBezTo>
                    <a:cubicBezTo>
                      <a:pt x="90461" y="93791"/>
                      <a:pt x="87686" y="101006"/>
                      <a:pt x="82136" y="107110"/>
                    </a:cubicBezTo>
                    <a:close/>
                  </a:path>
                </a:pathLst>
              </a:custGeom>
              <a:solidFill>
                <a:srgbClr val="676767"/>
              </a:solidFill>
              <a:ln w="5547" cap="flat">
                <a:noFill/>
                <a:prstDash val="solid"/>
                <a:miter/>
              </a:ln>
            </p:spPr>
            <p:txBody>
              <a:bodyPr rtlCol="0" anchor="ctr"/>
              <a:lstStyle/>
              <a:p>
                <a:endParaRPr lang="en-US"/>
              </a:p>
            </p:txBody>
          </p:sp>
          <p:sp>
            <p:nvSpPr>
              <p:cNvPr id="56" name="Freihandform: Form 55">
                <a:extLst>
                  <a:ext uri="{FF2B5EF4-FFF2-40B4-BE49-F238E27FC236}">
                    <a16:creationId xmlns:a16="http://schemas.microsoft.com/office/drawing/2014/main" id="{4A8CC901-5F7C-4D57-A566-510C810B70D0}"/>
                  </a:ext>
                </a:extLst>
              </p:cNvPr>
              <p:cNvSpPr/>
              <p:nvPr/>
            </p:nvSpPr>
            <p:spPr>
              <a:xfrm>
                <a:off x="6788608" y="3824697"/>
                <a:ext cx="119319" cy="155393"/>
              </a:xfrm>
              <a:custGeom>
                <a:avLst/>
                <a:gdLst>
                  <a:gd name="connsiteX0" fmla="*/ 115990 w 119319"/>
                  <a:gd name="connsiteY0" fmla="*/ 57162 h 155393"/>
                  <a:gd name="connsiteX1" fmla="*/ 103225 w 119319"/>
                  <a:gd name="connsiteY1" fmla="*/ 60492 h 155393"/>
                  <a:gd name="connsiteX2" fmla="*/ 78252 w 119319"/>
                  <a:gd name="connsiteY2" fmla="*/ 64932 h 155393"/>
                  <a:gd name="connsiteX3" fmla="*/ 62712 w 119319"/>
                  <a:gd name="connsiteY3" fmla="*/ 67707 h 155393"/>
                  <a:gd name="connsiteX4" fmla="*/ 63267 w 119319"/>
                  <a:gd name="connsiteY4" fmla="*/ 94346 h 155393"/>
                  <a:gd name="connsiteX5" fmla="*/ 64377 w 119319"/>
                  <a:gd name="connsiteY5" fmla="*/ 118765 h 155393"/>
                  <a:gd name="connsiteX6" fmla="*/ 67707 w 119319"/>
                  <a:gd name="connsiteY6" fmla="*/ 140409 h 155393"/>
                  <a:gd name="connsiteX7" fmla="*/ 70482 w 119319"/>
                  <a:gd name="connsiteY7" fmla="*/ 148733 h 155393"/>
                  <a:gd name="connsiteX8" fmla="*/ 67707 w 119319"/>
                  <a:gd name="connsiteY8" fmla="*/ 153173 h 155393"/>
                  <a:gd name="connsiteX9" fmla="*/ 62157 w 119319"/>
                  <a:gd name="connsiteY9" fmla="*/ 155393 h 155393"/>
                  <a:gd name="connsiteX10" fmla="*/ 59937 w 119319"/>
                  <a:gd name="connsiteY10" fmla="*/ 154283 h 155393"/>
                  <a:gd name="connsiteX11" fmla="*/ 58272 w 119319"/>
                  <a:gd name="connsiteY11" fmla="*/ 151508 h 155393"/>
                  <a:gd name="connsiteX12" fmla="*/ 55498 w 119319"/>
                  <a:gd name="connsiteY12" fmla="*/ 138744 h 155393"/>
                  <a:gd name="connsiteX13" fmla="*/ 53278 w 119319"/>
                  <a:gd name="connsiteY13" fmla="*/ 118210 h 155393"/>
                  <a:gd name="connsiteX14" fmla="*/ 52168 w 119319"/>
                  <a:gd name="connsiteY14" fmla="*/ 94901 h 155393"/>
                  <a:gd name="connsiteX15" fmla="*/ 51613 w 119319"/>
                  <a:gd name="connsiteY15" fmla="*/ 69372 h 155393"/>
                  <a:gd name="connsiteX16" fmla="*/ 23864 w 119319"/>
                  <a:gd name="connsiteY16" fmla="*/ 74922 h 155393"/>
                  <a:gd name="connsiteX17" fmla="*/ 8325 w 119319"/>
                  <a:gd name="connsiteY17" fmla="*/ 77697 h 155393"/>
                  <a:gd name="connsiteX18" fmla="*/ 2775 w 119319"/>
                  <a:gd name="connsiteY18" fmla="*/ 76032 h 155393"/>
                  <a:gd name="connsiteX19" fmla="*/ 0 w 119319"/>
                  <a:gd name="connsiteY19" fmla="*/ 71592 h 155393"/>
                  <a:gd name="connsiteX20" fmla="*/ 2220 w 119319"/>
                  <a:gd name="connsiteY20" fmla="*/ 67707 h 155393"/>
                  <a:gd name="connsiteX21" fmla="*/ 9435 w 119319"/>
                  <a:gd name="connsiteY21" fmla="*/ 66597 h 155393"/>
                  <a:gd name="connsiteX22" fmla="*/ 19979 w 119319"/>
                  <a:gd name="connsiteY22" fmla="*/ 65487 h 155393"/>
                  <a:gd name="connsiteX23" fmla="*/ 28859 w 119319"/>
                  <a:gd name="connsiteY23" fmla="*/ 63822 h 155393"/>
                  <a:gd name="connsiteX24" fmla="*/ 51058 w 119319"/>
                  <a:gd name="connsiteY24" fmla="*/ 59937 h 155393"/>
                  <a:gd name="connsiteX25" fmla="*/ 50503 w 119319"/>
                  <a:gd name="connsiteY25" fmla="*/ 46618 h 155393"/>
                  <a:gd name="connsiteX26" fmla="*/ 49948 w 119319"/>
                  <a:gd name="connsiteY26" fmla="*/ 29414 h 155393"/>
                  <a:gd name="connsiteX27" fmla="*/ 50503 w 119319"/>
                  <a:gd name="connsiteY27" fmla="*/ 14429 h 155393"/>
                  <a:gd name="connsiteX28" fmla="*/ 52723 w 119319"/>
                  <a:gd name="connsiteY28" fmla="*/ 4995 h 155393"/>
                  <a:gd name="connsiteX29" fmla="*/ 59937 w 119319"/>
                  <a:gd name="connsiteY29" fmla="*/ 0 h 155393"/>
                  <a:gd name="connsiteX30" fmla="*/ 62712 w 119319"/>
                  <a:gd name="connsiteY30" fmla="*/ 555 h 155393"/>
                  <a:gd name="connsiteX31" fmla="*/ 63267 w 119319"/>
                  <a:gd name="connsiteY31" fmla="*/ 3330 h 155393"/>
                  <a:gd name="connsiteX32" fmla="*/ 62157 w 119319"/>
                  <a:gd name="connsiteY32" fmla="*/ 11654 h 155393"/>
                  <a:gd name="connsiteX33" fmla="*/ 61047 w 119319"/>
                  <a:gd name="connsiteY33" fmla="*/ 30524 h 155393"/>
                  <a:gd name="connsiteX34" fmla="*/ 61602 w 119319"/>
                  <a:gd name="connsiteY34" fmla="*/ 50503 h 155393"/>
                  <a:gd name="connsiteX35" fmla="*/ 61602 w 119319"/>
                  <a:gd name="connsiteY35" fmla="*/ 57162 h 155393"/>
                  <a:gd name="connsiteX36" fmla="*/ 104890 w 119319"/>
                  <a:gd name="connsiteY36" fmla="*/ 48283 h 155393"/>
                  <a:gd name="connsiteX37" fmla="*/ 108220 w 119319"/>
                  <a:gd name="connsiteY37" fmla="*/ 44953 h 155393"/>
                  <a:gd name="connsiteX38" fmla="*/ 110995 w 119319"/>
                  <a:gd name="connsiteY38" fmla="*/ 42178 h 155393"/>
                  <a:gd name="connsiteX39" fmla="*/ 116545 w 119319"/>
                  <a:gd name="connsiteY39" fmla="*/ 44953 h 155393"/>
                  <a:gd name="connsiteX40" fmla="*/ 119320 w 119319"/>
                  <a:gd name="connsiteY40" fmla="*/ 51058 h 155393"/>
                  <a:gd name="connsiteX41" fmla="*/ 115990 w 119319"/>
                  <a:gd name="connsiteY41" fmla="*/ 57162 h 155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9319" h="155393">
                    <a:moveTo>
                      <a:pt x="115990" y="57162"/>
                    </a:moveTo>
                    <a:cubicBezTo>
                      <a:pt x="113770" y="58827"/>
                      <a:pt x="109330" y="59937"/>
                      <a:pt x="103225" y="60492"/>
                    </a:cubicBezTo>
                    <a:cubicBezTo>
                      <a:pt x="88241" y="63267"/>
                      <a:pt x="79917" y="64377"/>
                      <a:pt x="78252" y="64932"/>
                    </a:cubicBezTo>
                    <a:lnTo>
                      <a:pt x="62712" y="67707"/>
                    </a:lnTo>
                    <a:cubicBezTo>
                      <a:pt x="62712" y="76032"/>
                      <a:pt x="62712" y="84911"/>
                      <a:pt x="63267" y="94346"/>
                    </a:cubicBezTo>
                    <a:cubicBezTo>
                      <a:pt x="63267" y="103780"/>
                      <a:pt x="63822" y="111550"/>
                      <a:pt x="64377" y="118765"/>
                    </a:cubicBezTo>
                    <a:cubicBezTo>
                      <a:pt x="64932" y="128199"/>
                      <a:pt x="66042" y="135414"/>
                      <a:pt x="67707" y="140409"/>
                    </a:cubicBezTo>
                    <a:cubicBezTo>
                      <a:pt x="69372" y="145404"/>
                      <a:pt x="70482" y="148178"/>
                      <a:pt x="70482" y="148733"/>
                    </a:cubicBezTo>
                    <a:cubicBezTo>
                      <a:pt x="70482" y="150398"/>
                      <a:pt x="69372" y="152063"/>
                      <a:pt x="67707" y="153173"/>
                    </a:cubicBezTo>
                    <a:cubicBezTo>
                      <a:pt x="65487" y="154283"/>
                      <a:pt x="63822" y="155393"/>
                      <a:pt x="62157" y="155393"/>
                    </a:cubicBezTo>
                    <a:cubicBezTo>
                      <a:pt x="61047" y="155393"/>
                      <a:pt x="60492" y="154838"/>
                      <a:pt x="59937" y="154283"/>
                    </a:cubicBezTo>
                    <a:cubicBezTo>
                      <a:pt x="59382" y="153728"/>
                      <a:pt x="58827" y="152618"/>
                      <a:pt x="58272" y="151508"/>
                    </a:cubicBezTo>
                    <a:cubicBezTo>
                      <a:pt x="57163" y="149288"/>
                      <a:pt x="56608" y="144849"/>
                      <a:pt x="55498" y="138744"/>
                    </a:cubicBezTo>
                    <a:cubicBezTo>
                      <a:pt x="54388" y="132639"/>
                      <a:pt x="53833" y="125979"/>
                      <a:pt x="53278" y="118210"/>
                    </a:cubicBezTo>
                    <a:cubicBezTo>
                      <a:pt x="52723" y="111550"/>
                      <a:pt x="52168" y="103780"/>
                      <a:pt x="52168" y="94901"/>
                    </a:cubicBezTo>
                    <a:cubicBezTo>
                      <a:pt x="52168" y="86021"/>
                      <a:pt x="51613" y="77697"/>
                      <a:pt x="51613" y="69372"/>
                    </a:cubicBezTo>
                    <a:cubicBezTo>
                      <a:pt x="42733" y="71037"/>
                      <a:pt x="33299" y="72702"/>
                      <a:pt x="23864" y="74922"/>
                    </a:cubicBezTo>
                    <a:cubicBezTo>
                      <a:pt x="15539" y="76587"/>
                      <a:pt x="9990" y="77697"/>
                      <a:pt x="8325" y="77697"/>
                    </a:cubicBezTo>
                    <a:cubicBezTo>
                      <a:pt x="6105" y="77697"/>
                      <a:pt x="4440" y="77142"/>
                      <a:pt x="2775" y="76032"/>
                    </a:cubicBezTo>
                    <a:cubicBezTo>
                      <a:pt x="1110" y="74922"/>
                      <a:pt x="0" y="73257"/>
                      <a:pt x="0" y="71592"/>
                    </a:cubicBezTo>
                    <a:cubicBezTo>
                      <a:pt x="0" y="69372"/>
                      <a:pt x="555" y="68262"/>
                      <a:pt x="2220" y="67707"/>
                    </a:cubicBezTo>
                    <a:cubicBezTo>
                      <a:pt x="3885" y="67152"/>
                      <a:pt x="6105" y="66597"/>
                      <a:pt x="9435" y="66597"/>
                    </a:cubicBezTo>
                    <a:cubicBezTo>
                      <a:pt x="11655" y="66597"/>
                      <a:pt x="15539" y="66042"/>
                      <a:pt x="19979" y="65487"/>
                    </a:cubicBezTo>
                    <a:cubicBezTo>
                      <a:pt x="24419" y="64377"/>
                      <a:pt x="27749" y="63822"/>
                      <a:pt x="28859" y="63822"/>
                    </a:cubicBezTo>
                    <a:cubicBezTo>
                      <a:pt x="39958" y="61602"/>
                      <a:pt x="47173" y="60492"/>
                      <a:pt x="51058" y="59937"/>
                    </a:cubicBezTo>
                    <a:cubicBezTo>
                      <a:pt x="51058" y="56607"/>
                      <a:pt x="51058" y="52168"/>
                      <a:pt x="50503" y="46618"/>
                    </a:cubicBezTo>
                    <a:cubicBezTo>
                      <a:pt x="49948" y="39403"/>
                      <a:pt x="49948" y="33299"/>
                      <a:pt x="49948" y="29414"/>
                    </a:cubicBezTo>
                    <a:cubicBezTo>
                      <a:pt x="49948" y="23309"/>
                      <a:pt x="49948" y="18314"/>
                      <a:pt x="50503" y="14429"/>
                    </a:cubicBezTo>
                    <a:cubicBezTo>
                      <a:pt x="51058" y="11100"/>
                      <a:pt x="51613" y="7770"/>
                      <a:pt x="52723" y="4995"/>
                    </a:cubicBezTo>
                    <a:cubicBezTo>
                      <a:pt x="53833" y="1665"/>
                      <a:pt x="56608" y="0"/>
                      <a:pt x="59937" y="0"/>
                    </a:cubicBezTo>
                    <a:cubicBezTo>
                      <a:pt x="61602" y="0"/>
                      <a:pt x="62157" y="0"/>
                      <a:pt x="62712" y="555"/>
                    </a:cubicBezTo>
                    <a:cubicBezTo>
                      <a:pt x="63267" y="1110"/>
                      <a:pt x="63267" y="1665"/>
                      <a:pt x="63267" y="3330"/>
                    </a:cubicBezTo>
                    <a:cubicBezTo>
                      <a:pt x="63267" y="4440"/>
                      <a:pt x="62712" y="7215"/>
                      <a:pt x="62157" y="11654"/>
                    </a:cubicBezTo>
                    <a:cubicBezTo>
                      <a:pt x="61602" y="16649"/>
                      <a:pt x="61047" y="22754"/>
                      <a:pt x="61047" y="30524"/>
                    </a:cubicBezTo>
                    <a:cubicBezTo>
                      <a:pt x="61047" y="36628"/>
                      <a:pt x="61047" y="43288"/>
                      <a:pt x="61602" y="50503"/>
                    </a:cubicBezTo>
                    <a:lnTo>
                      <a:pt x="61602" y="57162"/>
                    </a:lnTo>
                    <a:cubicBezTo>
                      <a:pt x="68817" y="56052"/>
                      <a:pt x="83246" y="53278"/>
                      <a:pt x="104890" y="48283"/>
                    </a:cubicBezTo>
                    <a:cubicBezTo>
                      <a:pt x="106000" y="47728"/>
                      <a:pt x="107110" y="46618"/>
                      <a:pt x="108220" y="44953"/>
                    </a:cubicBezTo>
                    <a:cubicBezTo>
                      <a:pt x="109330" y="43288"/>
                      <a:pt x="109885" y="42178"/>
                      <a:pt x="110995" y="42178"/>
                    </a:cubicBezTo>
                    <a:cubicBezTo>
                      <a:pt x="112660" y="42178"/>
                      <a:pt x="114880" y="43288"/>
                      <a:pt x="116545" y="44953"/>
                    </a:cubicBezTo>
                    <a:cubicBezTo>
                      <a:pt x="118210" y="47173"/>
                      <a:pt x="119320" y="48838"/>
                      <a:pt x="119320" y="51058"/>
                    </a:cubicBezTo>
                    <a:cubicBezTo>
                      <a:pt x="119320" y="53278"/>
                      <a:pt x="118210" y="55498"/>
                      <a:pt x="115990" y="57162"/>
                    </a:cubicBezTo>
                    <a:close/>
                  </a:path>
                </a:pathLst>
              </a:custGeom>
              <a:solidFill>
                <a:srgbClr val="676767"/>
              </a:solidFill>
              <a:ln w="5547" cap="flat">
                <a:noFill/>
                <a:prstDash val="solid"/>
                <a:miter/>
              </a:ln>
            </p:spPr>
            <p:txBody>
              <a:bodyPr rtlCol="0" anchor="ctr"/>
              <a:lstStyle/>
              <a:p>
                <a:endParaRPr lang="en-US"/>
              </a:p>
            </p:txBody>
          </p:sp>
          <p:sp>
            <p:nvSpPr>
              <p:cNvPr id="57" name="Freihandform: Form 56">
                <a:extLst>
                  <a:ext uri="{FF2B5EF4-FFF2-40B4-BE49-F238E27FC236}">
                    <a16:creationId xmlns:a16="http://schemas.microsoft.com/office/drawing/2014/main" id="{40173BFE-3FE2-4393-ADD9-88208DFDD16C}"/>
                  </a:ext>
                </a:extLst>
              </p:cNvPr>
              <p:cNvSpPr/>
              <p:nvPr/>
            </p:nvSpPr>
            <p:spPr>
              <a:xfrm>
                <a:off x="6985070" y="3857995"/>
                <a:ext cx="109330" cy="120429"/>
              </a:xfrm>
              <a:custGeom>
                <a:avLst/>
                <a:gdLst>
                  <a:gd name="connsiteX0" fmla="*/ 107665 w 109330"/>
                  <a:gd name="connsiteY0" fmla="*/ 106000 h 120429"/>
                  <a:gd name="connsiteX1" fmla="*/ 109330 w 109330"/>
                  <a:gd name="connsiteY1" fmla="*/ 108775 h 120429"/>
                  <a:gd name="connsiteX2" fmla="*/ 107110 w 109330"/>
                  <a:gd name="connsiteY2" fmla="*/ 115435 h 120429"/>
                  <a:gd name="connsiteX3" fmla="*/ 102115 w 109330"/>
                  <a:gd name="connsiteY3" fmla="*/ 119320 h 120429"/>
                  <a:gd name="connsiteX4" fmla="*/ 96011 w 109330"/>
                  <a:gd name="connsiteY4" fmla="*/ 114325 h 120429"/>
                  <a:gd name="connsiteX5" fmla="*/ 93791 w 109330"/>
                  <a:gd name="connsiteY5" fmla="*/ 102670 h 120429"/>
                  <a:gd name="connsiteX6" fmla="*/ 94346 w 109330"/>
                  <a:gd name="connsiteY6" fmla="*/ 67707 h 120429"/>
                  <a:gd name="connsiteX7" fmla="*/ 94346 w 109330"/>
                  <a:gd name="connsiteY7" fmla="*/ 58272 h 120429"/>
                  <a:gd name="connsiteX8" fmla="*/ 91571 w 109330"/>
                  <a:gd name="connsiteY8" fmla="*/ 50503 h 120429"/>
                  <a:gd name="connsiteX9" fmla="*/ 71037 w 109330"/>
                  <a:gd name="connsiteY9" fmla="*/ 82691 h 120429"/>
                  <a:gd name="connsiteX10" fmla="*/ 47173 w 109330"/>
                  <a:gd name="connsiteY10" fmla="*/ 108220 h 120429"/>
                  <a:gd name="connsiteX11" fmla="*/ 16649 w 109330"/>
                  <a:gd name="connsiteY11" fmla="*/ 120430 h 120429"/>
                  <a:gd name="connsiteX12" fmla="*/ 4440 w 109330"/>
                  <a:gd name="connsiteY12" fmla="*/ 115435 h 120429"/>
                  <a:gd name="connsiteX13" fmla="*/ 0 w 109330"/>
                  <a:gd name="connsiteY13" fmla="*/ 102670 h 120429"/>
                  <a:gd name="connsiteX14" fmla="*/ 8879 w 109330"/>
                  <a:gd name="connsiteY14" fmla="*/ 76032 h 120429"/>
                  <a:gd name="connsiteX15" fmla="*/ 31078 w 109330"/>
                  <a:gd name="connsiteY15" fmla="*/ 41623 h 120429"/>
                  <a:gd name="connsiteX16" fmla="*/ 58272 w 109330"/>
                  <a:gd name="connsiteY16" fmla="*/ 12764 h 120429"/>
                  <a:gd name="connsiteX17" fmla="*/ 72702 w 109330"/>
                  <a:gd name="connsiteY17" fmla="*/ 2775 h 120429"/>
                  <a:gd name="connsiteX18" fmla="*/ 82136 w 109330"/>
                  <a:gd name="connsiteY18" fmla="*/ 0 h 120429"/>
                  <a:gd name="connsiteX19" fmla="*/ 89906 w 109330"/>
                  <a:gd name="connsiteY19" fmla="*/ 2220 h 120429"/>
                  <a:gd name="connsiteX20" fmla="*/ 97121 w 109330"/>
                  <a:gd name="connsiteY20" fmla="*/ 8880 h 120429"/>
                  <a:gd name="connsiteX21" fmla="*/ 99896 w 109330"/>
                  <a:gd name="connsiteY21" fmla="*/ 18869 h 120429"/>
                  <a:gd name="connsiteX22" fmla="*/ 96011 w 109330"/>
                  <a:gd name="connsiteY22" fmla="*/ 33299 h 120429"/>
                  <a:gd name="connsiteX23" fmla="*/ 99896 w 109330"/>
                  <a:gd name="connsiteY23" fmla="*/ 32189 h 120429"/>
                  <a:gd name="connsiteX24" fmla="*/ 103225 w 109330"/>
                  <a:gd name="connsiteY24" fmla="*/ 38848 h 120429"/>
                  <a:gd name="connsiteX25" fmla="*/ 103780 w 109330"/>
                  <a:gd name="connsiteY25" fmla="*/ 54388 h 120429"/>
                  <a:gd name="connsiteX26" fmla="*/ 104335 w 109330"/>
                  <a:gd name="connsiteY26" fmla="*/ 73812 h 120429"/>
                  <a:gd name="connsiteX27" fmla="*/ 104890 w 109330"/>
                  <a:gd name="connsiteY27" fmla="*/ 89351 h 120429"/>
                  <a:gd name="connsiteX28" fmla="*/ 105445 w 109330"/>
                  <a:gd name="connsiteY28" fmla="*/ 101006 h 120429"/>
                  <a:gd name="connsiteX29" fmla="*/ 107665 w 109330"/>
                  <a:gd name="connsiteY29" fmla="*/ 106000 h 120429"/>
                  <a:gd name="connsiteX30" fmla="*/ 45508 w 109330"/>
                  <a:gd name="connsiteY30" fmla="*/ 97121 h 120429"/>
                  <a:gd name="connsiteX31" fmla="*/ 67152 w 109330"/>
                  <a:gd name="connsiteY31" fmla="*/ 73812 h 120429"/>
                  <a:gd name="connsiteX32" fmla="*/ 88241 w 109330"/>
                  <a:gd name="connsiteY32" fmla="*/ 40513 h 120429"/>
                  <a:gd name="connsiteX33" fmla="*/ 91016 w 109330"/>
                  <a:gd name="connsiteY33" fmla="*/ 24974 h 120429"/>
                  <a:gd name="connsiteX34" fmla="*/ 88241 w 109330"/>
                  <a:gd name="connsiteY34" fmla="*/ 16094 h 120429"/>
                  <a:gd name="connsiteX35" fmla="*/ 79916 w 109330"/>
                  <a:gd name="connsiteY35" fmla="*/ 12209 h 120429"/>
                  <a:gd name="connsiteX36" fmla="*/ 64377 w 109330"/>
                  <a:gd name="connsiteY36" fmla="*/ 20534 h 120429"/>
                  <a:gd name="connsiteX37" fmla="*/ 41068 w 109330"/>
                  <a:gd name="connsiteY37" fmla="*/ 45508 h 120429"/>
                  <a:gd name="connsiteX38" fmla="*/ 21089 w 109330"/>
                  <a:gd name="connsiteY38" fmla="*/ 76032 h 120429"/>
                  <a:gd name="connsiteX39" fmla="*/ 13319 w 109330"/>
                  <a:gd name="connsiteY39" fmla="*/ 99896 h 120429"/>
                  <a:gd name="connsiteX40" fmla="*/ 19979 w 109330"/>
                  <a:gd name="connsiteY40" fmla="*/ 107110 h 120429"/>
                  <a:gd name="connsiteX41" fmla="*/ 45508 w 109330"/>
                  <a:gd name="connsiteY41" fmla="*/ 97121 h 120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09330" h="120429">
                    <a:moveTo>
                      <a:pt x="107665" y="106000"/>
                    </a:moveTo>
                    <a:cubicBezTo>
                      <a:pt x="108775" y="107110"/>
                      <a:pt x="109330" y="108220"/>
                      <a:pt x="109330" y="108775"/>
                    </a:cubicBezTo>
                    <a:cubicBezTo>
                      <a:pt x="109330" y="110440"/>
                      <a:pt x="108775" y="113215"/>
                      <a:pt x="107110" y="115435"/>
                    </a:cubicBezTo>
                    <a:cubicBezTo>
                      <a:pt x="105445" y="118210"/>
                      <a:pt x="103780" y="119320"/>
                      <a:pt x="102115" y="119320"/>
                    </a:cubicBezTo>
                    <a:cubicBezTo>
                      <a:pt x="99341" y="119320"/>
                      <a:pt x="97121" y="117655"/>
                      <a:pt x="96011" y="114325"/>
                    </a:cubicBezTo>
                    <a:cubicBezTo>
                      <a:pt x="94346" y="110995"/>
                      <a:pt x="93791" y="107110"/>
                      <a:pt x="93791" y="102670"/>
                    </a:cubicBezTo>
                    <a:cubicBezTo>
                      <a:pt x="93791" y="98786"/>
                      <a:pt x="93791" y="87131"/>
                      <a:pt x="94346" y="67707"/>
                    </a:cubicBezTo>
                    <a:lnTo>
                      <a:pt x="94346" y="58272"/>
                    </a:lnTo>
                    <a:cubicBezTo>
                      <a:pt x="94346" y="54388"/>
                      <a:pt x="93236" y="51613"/>
                      <a:pt x="91571" y="50503"/>
                    </a:cubicBezTo>
                    <a:cubicBezTo>
                      <a:pt x="84356" y="62712"/>
                      <a:pt x="77697" y="73812"/>
                      <a:pt x="71037" y="82691"/>
                    </a:cubicBezTo>
                    <a:cubicBezTo>
                      <a:pt x="64932" y="91571"/>
                      <a:pt x="56607" y="100451"/>
                      <a:pt x="47173" y="108220"/>
                    </a:cubicBezTo>
                    <a:cubicBezTo>
                      <a:pt x="37183" y="115990"/>
                      <a:pt x="27194" y="120430"/>
                      <a:pt x="16649" y="120430"/>
                    </a:cubicBezTo>
                    <a:cubicBezTo>
                      <a:pt x="11654" y="120430"/>
                      <a:pt x="7215" y="118765"/>
                      <a:pt x="4440" y="115435"/>
                    </a:cubicBezTo>
                    <a:cubicBezTo>
                      <a:pt x="1665" y="112105"/>
                      <a:pt x="0" y="108220"/>
                      <a:pt x="0" y="102670"/>
                    </a:cubicBezTo>
                    <a:cubicBezTo>
                      <a:pt x="0" y="96011"/>
                      <a:pt x="2775" y="87131"/>
                      <a:pt x="8879" y="76032"/>
                    </a:cubicBezTo>
                    <a:cubicBezTo>
                      <a:pt x="14984" y="64932"/>
                      <a:pt x="22199" y="53278"/>
                      <a:pt x="31078" y="41623"/>
                    </a:cubicBezTo>
                    <a:cubicBezTo>
                      <a:pt x="39958" y="29969"/>
                      <a:pt x="49393" y="20534"/>
                      <a:pt x="58272" y="12764"/>
                    </a:cubicBezTo>
                    <a:cubicBezTo>
                      <a:pt x="64377" y="7770"/>
                      <a:pt x="68817" y="4440"/>
                      <a:pt x="72702" y="2775"/>
                    </a:cubicBezTo>
                    <a:cubicBezTo>
                      <a:pt x="76032" y="1110"/>
                      <a:pt x="79361" y="0"/>
                      <a:pt x="82136" y="0"/>
                    </a:cubicBezTo>
                    <a:cubicBezTo>
                      <a:pt x="84911" y="0"/>
                      <a:pt x="87131" y="555"/>
                      <a:pt x="89906" y="2220"/>
                    </a:cubicBezTo>
                    <a:cubicBezTo>
                      <a:pt x="92681" y="3885"/>
                      <a:pt x="94901" y="6105"/>
                      <a:pt x="97121" y="8880"/>
                    </a:cubicBezTo>
                    <a:cubicBezTo>
                      <a:pt x="99341" y="11654"/>
                      <a:pt x="99896" y="14984"/>
                      <a:pt x="99896" y="18869"/>
                    </a:cubicBezTo>
                    <a:cubicBezTo>
                      <a:pt x="99896" y="23864"/>
                      <a:pt x="98786" y="28859"/>
                      <a:pt x="96011" y="33299"/>
                    </a:cubicBezTo>
                    <a:lnTo>
                      <a:pt x="99896" y="32189"/>
                    </a:lnTo>
                    <a:cubicBezTo>
                      <a:pt x="101560" y="32189"/>
                      <a:pt x="102670" y="34408"/>
                      <a:pt x="103225" y="38848"/>
                    </a:cubicBezTo>
                    <a:cubicBezTo>
                      <a:pt x="103225" y="41623"/>
                      <a:pt x="103780" y="46618"/>
                      <a:pt x="103780" y="54388"/>
                    </a:cubicBezTo>
                    <a:cubicBezTo>
                      <a:pt x="103780" y="62157"/>
                      <a:pt x="104335" y="68817"/>
                      <a:pt x="104335" y="73812"/>
                    </a:cubicBezTo>
                    <a:cubicBezTo>
                      <a:pt x="104335" y="79362"/>
                      <a:pt x="104890" y="84356"/>
                      <a:pt x="104890" y="89351"/>
                    </a:cubicBezTo>
                    <a:cubicBezTo>
                      <a:pt x="104890" y="94346"/>
                      <a:pt x="105445" y="98231"/>
                      <a:pt x="105445" y="101006"/>
                    </a:cubicBezTo>
                    <a:cubicBezTo>
                      <a:pt x="106000" y="103780"/>
                      <a:pt x="106555" y="104890"/>
                      <a:pt x="107665" y="106000"/>
                    </a:cubicBezTo>
                    <a:close/>
                    <a:moveTo>
                      <a:pt x="45508" y="97121"/>
                    </a:moveTo>
                    <a:cubicBezTo>
                      <a:pt x="53833" y="90461"/>
                      <a:pt x="61047" y="82691"/>
                      <a:pt x="67152" y="73812"/>
                    </a:cubicBezTo>
                    <a:cubicBezTo>
                      <a:pt x="73812" y="64932"/>
                      <a:pt x="80471" y="53833"/>
                      <a:pt x="88241" y="40513"/>
                    </a:cubicBezTo>
                    <a:cubicBezTo>
                      <a:pt x="89906" y="35518"/>
                      <a:pt x="91016" y="30524"/>
                      <a:pt x="91016" y="24974"/>
                    </a:cubicBezTo>
                    <a:cubicBezTo>
                      <a:pt x="91016" y="21644"/>
                      <a:pt x="89906" y="18869"/>
                      <a:pt x="88241" y="16094"/>
                    </a:cubicBezTo>
                    <a:cubicBezTo>
                      <a:pt x="86576" y="13319"/>
                      <a:pt x="83246" y="12209"/>
                      <a:pt x="79916" y="12209"/>
                    </a:cubicBezTo>
                    <a:cubicBezTo>
                      <a:pt x="76032" y="12209"/>
                      <a:pt x="70482" y="14984"/>
                      <a:pt x="64377" y="20534"/>
                    </a:cubicBezTo>
                    <a:cubicBezTo>
                      <a:pt x="57162" y="26639"/>
                      <a:pt x="49393" y="34963"/>
                      <a:pt x="41068" y="45508"/>
                    </a:cubicBezTo>
                    <a:cubicBezTo>
                      <a:pt x="32744" y="56052"/>
                      <a:pt x="26084" y="66042"/>
                      <a:pt x="21089" y="76032"/>
                    </a:cubicBezTo>
                    <a:cubicBezTo>
                      <a:pt x="15539" y="86021"/>
                      <a:pt x="13319" y="93791"/>
                      <a:pt x="13319" y="99896"/>
                    </a:cubicBezTo>
                    <a:cubicBezTo>
                      <a:pt x="13319" y="104890"/>
                      <a:pt x="15539" y="107110"/>
                      <a:pt x="19979" y="107110"/>
                    </a:cubicBezTo>
                    <a:cubicBezTo>
                      <a:pt x="28859" y="107110"/>
                      <a:pt x="37183" y="103780"/>
                      <a:pt x="45508" y="97121"/>
                    </a:cubicBezTo>
                    <a:close/>
                  </a:path>
                </a:pathLst>
              </a:custGeom>
              <a:solidFill>
                <a:srgbClr val="676767"/>
              </a:solidFill>
              <a:ln w="5547" cap="flat">
                <a:noFill/>
                <a:prstDash val="solid"/>
                <a:miter/>
              </a:ln>
            </p:spPr>
            <p:txBody>
              <a:bodyPr rtlCol="0" anchor="ctr"/>
              <a:lstStyle/>
              <a:p>
                <a:endParaRPr lang="en-US"/>
              </a:p>
            </p:txBody>
          </p:sp>
          <p:sp>
            <p:nvSpPr>
              <p:cNvPr id="58" name="Freihandform: Form 57">
                <a:extLst>
                  <a:ext uri="{FF2B5EF4-FFF2-40B4-BE49-F238E27FC236}">
                    <a16:creationId xmlns:a16="http://schemas.microsoft.com/office/drawing/2014/main" id="{212C33C4-2749-44CE-BDEF-6876F7A3A684}"/>
                  </a:ext>
                </a:extLst>
              </p:cNvPr>
              <p:cNvSpPr/>
              <p:nvPr/>
            </p:nvSpPr>
            <p:spPr>
              <a:xfrm>
                <a:off x="7107164" y="3824697"/>
                <a:ext cx="119319" cy="155393"/>
              </a:xfrm>
              <a:custGeom>
                <a:avLst/>
                <a:gdLst>
                  <a:gd name="connsiteX0" fmla="*/ 115990 w 119319"/>
                  <a:gd name="connsiteY0" fmla="*/ 57162 h 155393"/>
                  <a:gd name="connsiteX1" fmla="*/ 103225 w 119319"/>
                  <a:gd name="connsiteY1" fmla="*/ 60492 h 155393"/>
                  <a:gd name="connsiteX2" fmla="*/ 78251 w 119319"/>
                  <a:gd name="connsiteY2" fmla="*/ 64932 h 155393"/>
                  <a:gd name="connsiteX3" fmla="*/ 62712 w 119319"/>
                  <a:gd name="connsiteY3" fmla="*/ 67707 h 155393"/>
                  <a:gd name="connsiteX4" fmla="*/ 63267 w 119319"/>
                  <a:gd name="connsiteY4" fmla="*/ 94346 h 155393"/>
                  <a:gd name="connsiteX5" fmla="*/ 64377 w 119319"/>
                  <a:gd name="connsiteY5" fmla="*/ 118765 h 155393"/>
                  <a:gd name="connsiteX6" fmla="*/ 67707 w 119319"/>
                  <a:gd name="connsiteY6" fmla="*/ 140409 h 155393"/>
                  <a:gd name="connsiteX7" fmla="*/ 70482 w 119319"/>
                  <a:gd name="connsiteY7" fmla="*/ 148733 h 155393"/>
                  <a:gd name="connsiteX8" fmla="*/ 67707 w 119319"/>
                  <a:gd name="connsiteY8" fmla="*/ 153173 h 155393"/>
                  <a:gd name="connsiteX9" fmla="*/ 62157 w 119319"/>
                  <a:gd name="connsiteY9" fmla="*/ 155393 h 155393"/>
                  <a:gd name="connsiteX10" fmla="*/ 59937 w 119319"/>
                  <a:gd name="connsiteY10" fmla="*/ 154283 h 155393"/>
                  <a:gd name="connsiteX11" fmla="*/ 58272 w 119319"/>
                  <a:gd name="connsiteY11" fmla="*/ 151508 h 155393"/>
                  <a:gd name="connsiteX12" fmla="*/ 55498 w 119319"/>
                  <a:gd name="connsiteY12" fmla="*/ 138744 h 155393"/>
                  <a:gd name="connsiteX13" fmla="*/ 53278 w 119319"/>
                  <a:gd name="connsiteY13" fmla="*/ 118210 h 155393"/>
                  <a:gd name="connsiteX14" fmla="*/ 52168 w 119319"/>
                  <a:gd name="connsiteY14" fmla="*/ 94901 h 155393"/>
                  <a:gd name="connsiteX15" fmla="*/ 51613 w 119319"/>
                  <a:gd name="connsiteY15" fmla="*/ 69372 h 155393"/>
                  <a:gd name="connsiteX16" fmla="*/ 23864 w 119319"/>
                  <a:gd name="connsiteY16" fmla="*/ 74922 h 155393"/>
                  <a:gd name="connsiteX17" fmla="*/ 8325 w 119319"/>
                  <a:gd name="connsiteY17" fmla="*/ 77697 h 155393"/>
                  <a:gd name="connsiteX18" fmla="*/ 2775 w 119319"/>
                  <a:gd name="connsiteY18" fmla="*/ 76032 h 155393"/>
                  <a:gd name="connsiteX19" fmla="*/ 0 w 119319"/>
                  <a:gd name="connsiteY19" fmla="*/ 71592 h 155393"/>
                  <a:gd name="connsiteX20" fmla="*/ 2220 w 119319"/>
                  <a:gd name="connsiteY20" fmla="*/ 67707 h 155393"/>
                  <a:gd name="connsiteX21" fmla="*/ 9434 w 119319"/>
                  <a:gd name="connsiteY21" fmla="*/ 66597 h 155393"/>
                  <a:gd name="connsiteX22" fmla="*/ 19979 w 119319"/>
                  <a:gd name="connsiteY22" fmla="*/ 65487 h 155393"/>
                  <a:gd name="connsiteX23" fmla="*/ 28859 w 119319"/>
                  <a:gd name="connsiteY23" fmla="*/ 63822 h 155393"/>
                  <a:gd name="connsiteX24" fmla="*/ 51058 w 119319"/>
                  <a:gd name="connsiteY24" fmla="*/ 59937 h 155393"/>
                  <a:gd name="connsiteX25" fmla="*/ 50503 w 119319"/>
                  <a:gd name="connsiteY25" fmla="*/ 46618 h 155393"/>
                  <a:gd name="connsiteX26" fmla="*/ 49948 w 119319"/>
                  <a:gd name="connsiteY26" fmla="*/ 29414 h 155393"/>
                  <a:gd name="connsiteX27" fmla="*/ 50503 w 119319"/>
                  <a:gd name="connsiteY27" fmla="*/ 14429 h 155393"/>
                  <a:gd name="connsiteX28" fmla="*/ 52723 w 119319"/>
                  <a:gd name="connsiteY28" fmla="*/ 4995 h 155393"/>
                  <a:gd name="connsiteX29" fmla="*/ 59937 w 119319"/>
                  <a:gd name="connsiteY29" fmla="*/ 0 h 155393"/>
                  <a:gd name="connsiteX30" fmla="*/ 62712 w 119319"/>
                  <a:gd name="connsiteY30" fmla="*/ 555 h 155393"/>
                  <a:gd name="connsiteX31" fmla="*/ 63267 w 119319"/>
                  <a:gd name="connsiteY31" fmla="*/ 3330 h 155393"/>
                  <a:gd name="connsiteX32" fmla="*/ 62157 w 119319"/>
                  <a:gd name="connsiteY32" fmla="*/ 11654 h 155393"/>
                  <a:gd name="connsiteX33" fmla="*/ 61047 w 119319"/>
                  <a:gd name="connsiteY33" fmla="*/ 30524 h 155393"/>
                  <a:gd name="connsiteX34" fmla="*/ 61602 w 119319"/>
                  <a:gd name="connsiteY34" fmla="*/ 50503 h 155393"/>
                  <a:gd name="connsiteX35" fmla="*/ 61602 w 119319"/>
                  <a:gd name="connsiteY35" fmla="*/ 57162 h 155393"/>
                  <a:gd name="connsiteX36" fmla="*/ 104890 w 119319"/>
                  <a:gd name="connsiteY36" fmla="*/ 48283 h 155393"/>
                  <a:gd name="connsiteX37" fmla="*/ 108220 w 119319"/>
                  <a:gd name="connsiteY37" fmla="*/ 44953 h 155393"/>
                  <a:gd name="connsiteX38" fmla="*/ 110995 w 119319"/>
                  <a:gd name="connsiteY38" fmla="*/ 42178 h 155393"/>
                  <a:gd name="connsiteX39" fmla="*/ 116545 w 119319"/>
                  <a:gd name="connsiteY39" fmla="*/ 44953 h 155393"/>
                  <a:gd name="connsiteX40" fmla="*/ 119320 w 119319"/>
                  <a:gd name="connsiteY40" fmla="*/ 51058 h 155393"/>
                  <a:gd name="connsiteX41" fmla="*/ 115990 w 119319"/>
                  <a:gd name="connsiteY41" fmla="*/ 57162 h 155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9319" h="155393">
                    <a:moveTo>
                      <a:pt x="115990" y="57162"/>
                    </a:moveTo>
                    <a:cubicBezTo>
                      <a:pt x="113770" y="58827"/>
                      <a:pt x="109330" y="59937"/>
                      <a:pt x="103225" y="60492"/>
                    </a:cubicBezTo>
                    <a:cubicBezTo>
                      <a:pt x="88241" y="63267"/>
                      <a:pt x="79916" y="64377"/>
                      <a:pt x="78251" y="64932"/>
                    </a:cubicBezTo>
                    <a:lnTo>
                      <a:pt x="62712" y="67707"/>
                    </a:lnTo>
                    <a:cubicBezTo>
                      <a:pt x="62712" y="76032"/>
                      <a:pt x="62712" y="84911"/>
                      <a:pt x="63267" y="94346"/>
                    </a:cubicBezTo>
                    <a:cubicBezTo>
                      <a:pt x="63267" y="103780"/>
                      <a:pt x="63822" y="111550"/>
                      <a:pt x="64377" y="118765"/>
                    </a:cubicBezTo>
                    <a:cubicBezTo>
                      <a:pt x="64932" y="128199"/>
                      <a:pt x="66042" y="135414"/>
                      <a:pt x="67707" y="140409"/>
                    </a:cubicBezTo>
                    <a:cubicBezTo>
                      <a:pt x="69372" y="145404"/>
                      <a:pt x="70482" y="148178"/>
                      <a:pt x="70482" y="148733"/>
                    </a:cubicBezTo>
                    <a:cubicBezTo>
                      <a:pt x="70482" y="150398"/>
                      <a:pt x="69372" y="152063"/>
                      <a:pt x="67707" y="153173"/>
                    </a:cubicBezTo>
                    <a:cubicBezTo>
                      <a:pt x="65487" y="154283"/>
                      <a:pt x="63822" y="155393"/>
                      <a:pt x="62157" y="155393"/>
                    </a:cubicBezTo>
                    <a:cubicBezTo>
                      <a:pt x="61047" y="155393"/>
                      <a:pt x="60492" y="154838"/>
                      <a:pt x="59937" y="154283"/>
                    </a:cubicBezTo>
                    <a:cubicBezTo>
                      <a:pt x="59382" y="153728"/>
                      <a:pt x="58827" y="152618"/>
                      <a:pt x="58272" y="151508"/>
                    </a:cubicBezTo>
                    <a:cubicBezTo>
                      <a:pt x="57162" y="149288"/>
                      <a:pt x="56607" y="144849"/>
                      <a:pt x="55498" y="138744"/>
                    </a:cubicBezTo>
                    <a:cubicBezTo>
                      <a:pt x="54388" y="132639"/>
                      <a:pt x="53833" y="125979"/>
                      <a:pt x="53278" y="118210"/>
                    </a:cubicBezTo>
                    <a:cubicBezTo>
                      <a:pt x="52723" y="111550"/>
                      <a:pt x="52168" y="103780"/>
                      <a:pt x="52168" y="94901"/>
                    </a:cubicBezTo>
                    <a:cubicBezTo>
                      <a:pt x="52168" y="86021"/>
                      <a:pt x="51613" y="77697"/>
                      <a:pt x="51613" y="69372"/>
                    </a:cubicBezTo>
                    <a:cubicBezTo>
                      <a:pt x="42733" y="71037"/>
                      <a:pt x="33299" y="72702"/>
                      <a:pt x="23864" y="74922"/>
                    </a:cubicBezTo>
                    <a:cubicBezTo>
                      <a:pt x="15539" y="76587"/>
                      <a:pt x="9989" y="77697"/>
                      <a:pt x="8325" y="77697"/>
                    </a:cubicBezTo>
                    <a:cubicBezTo>
                      <a:pt x="6105" y="77697"/>
                      <a:pt x="4440" y="77142"/>
                      <a:pt x="2775" y="76032"/>
                    </a:cubicBezTo>
                    <a:cubicBezTo>
                      <a:pt x="1110" y="74922"/>
                      <a:pt x="0" y="73257"/>
                      <a:pt x="0" y="71592"/>
                    </a:cubicBezTo>
                    <a:cubicBezTo>
                      <a:pt x="0" y="69372"/>
                      <a:pt x="555" y="68262"/>
                      <a:pt x="2220" y="67707"/>
                    </a:cubicBezTo>
                    <a:cubicBezTo>
                      <a:pt x="3885" y="67152"/>
                      <a:pt x="6105" y="66597"/>
                      <a:pt x="9434" y="66597"/>
                    </a:cubicBezTo>
                    <a:cubicBezTo>
                      <a:pt x="11654" y="66597"/>
                      <a:pt x="15539" y="66042"/>
                      <a:pt x="19979" y="65487"/>
                    </a:cubicBezTo>
                    <a:cubicBezTo>
                      <a:pt x="24419" y="64377"/>
                      <a:pt x="27749" y="63822"/>
                      <a:pt x="28859" y="63822"/>
                    </a:cubicBezTo>
                    <a:cubicBezTo>
                      <a:pt x="39958" y="61602"/>
                      <a:pt x="47173" y="60492"/>
                      <a:pt x="51058" y="59937"/>
                    </a:cubicBezTo>
                    <a:cubicBezTo>
                      <a:pt x="51058" y="56607"/>
                      <a:pt x="51058" y="52168"/>
                      <a:pt x="50503" y="46618"/>
                    </a:cubicBezTo>
                    <a:cubicBezTo>
                      <a:pt x="49948" y="39403"/>
                      <a:pt x="49948" y="33299"/>
                      <a:pt x="49948" y="29414"/>
                    </a:cubicBezTo>
                    <a:cubicBezTo>
                      <a:pt x="49948" y="23309"/>
                      <a:pt x="49948" y="18314"/>
                      <a:pt x="50503" y="14429"/>
                    </a:cubicBezTo>
                    <a:cubicBezTo>
                      <a:pt x="51058" y="11100"/>
                      <a:pt x="51613" y="7770"/>
                      <a:pt x="52723" y="4995"/>
                    </a:cubicBezTo>
                    <a:cubicBezTo>
                      <a:pt x="53833" y="1665"/>
                      <a:pt x="56607" y="0"/>
                      <a:pt x="59937" y="0"/>
                    </a:cubicBezTo>
                    <a:cubicBezTo>
                      <a:pt x="61602" y="0"/>
                      <a:pt x="62157" y="0"/>
                      <a:pt x="62712" y="555"/>
                    </a:cubicBezTo>
                    <a:cubicBezTo>
                      <a:pt x="63267" y="1110"/>
                      <a:pt x="63267" y="1665"/>
                      <a:pt x="63267" y="3330"/>
                    </a:cubicBezTo>
                    <a:cubicBezTo>
                      <a:pt x="63267" y="4440"/>
                      <a:pt x="62712" y="7215"/>
                      <a:pt x="62157" y="11654"/>
                    </a:cubicBezTo>
                    <a:cubicBezTo>
                      <a:pt x="61602" y="16649"/>
                      <a:pt x="61047" y="22754"/>
                      <a:pt x="61047" y="30524"/>
                    </a:cubicBezTo>
                    <a:cubicBezTo>
                      <a:pt x="61047" y="36628"/>
                      <a:pt x="61047" y="43288"/>
                      <a:pt x="61602" y="50503"/>
                    </a:cubicBezTo>
                    <a:lnTo>
                      <a:pt x="61602" y="57162"/>
                    </a:lnTo>
                    <a:cubicBezTo>
                      <a:pt x="68817" y="56052"/>
                      <a:pt x="83246" y="53278"/>
                      <a:pt x="104890" y="48283"/>
                    </a:cubicBezTo>
                    <a:cubicBezTo>
                      <a:pt x="106000" y="47728"/>
                      <a:pt x="107110" y="46618"/>
                      <a:pt x="108220" y="44953"/>
                    </a:cubicBezTo>
                    <a:cubicBezTo>
                      <a:pt x="109330" y="43288"/>
                      <a:pt x="109885" y="42178"/>
                      <a:pt x="110995" y="42178"/>
                    </a:cubicBezTo>
                    <a:cubicBezTo>
                      <a:pt x="112660" y="42178"/>
                      <a:pt x="114880" y="43288"/>
                      <a:pt x="116545" y="44953"/>
                    </a:cubicBezTo>
                    <a:cubicBezTo>
                      <a:pt x="118210" y="47173"/>
                      <a:pt x="119320" y="48838"/>
                      <a:pt x="119320" y="51058"/>
                    </a:cubicBezTo>
                    <a:cubicBezTo>
                      <a:pt x="119320" y="53278"/>
                      <a:pt x="118210" y="55498"/>
                      <a:pt x="115990" y="57162"/>
                    </a:cubicBezTo>
                    <a:close/>
                  </a:path>
                </a:pathLst>
              </a:custGeom>
              <a:solidFill>
                <a:srgbClr val="676767"/>
              </a:solidFill>
              <a:ln w="5547" cap="flat">
                <a:noFill/>
                <a:prstDash val="solid"/>
                <a:miter/>
              </a:ln>
            </p:spPr>
            <p:txBody>
              <a:bodyPr rtlCol="0" anchor="ctr"/>
              <a:lstStyle/>
              <a:p>
                <a:endParaRPr lang="en-US"/>
              </a:p>
            </p:txBody>
          </p:sp>
          <p:sp>
            <p:nvSpPr>
              <p:cNvPr id="59" name="Freihandform: Form 58">
                <a:extLst>
                  <a:ext uri="{FF2B5EF4-FFF2-40B4-BE49-F238E27FC236}">
                    <a16:creationId xmlns:a16="http://schemas.microsoft.com/office/drawing/2014/main" id="{D6B9FA15-6D6A-48F5-8791-9544CF8A1F41}"/>
                  </a:ext>
                </a:extLst>
              </p:cNvPr>
              <p:cNvSpPr/>
              <p:nvPr/>
            </p:nvSpPr>
            <p:spPr>
              <a:xfrm>
                <a:off x="7300296" y="3860770"/>
                <a:ext cx="158722" cy="128199"/>
              </a:xfrm>
              <a:custGeom>
                <a:avLst/>
                <a:gdLst>
                  <a:gd name="connsiteX0" fmla="*/ 152618 w 158722"/>
                  <a:gd name="connsiteY0" fmla="*/ 66042 h 128199"/>
                  <a:gd name="connsiteX1" fmla="*/ 137634 w 158722"/>
                  <a:gd name="connsiteY1" fmla="*/ 102670 h 128199"/>
                  <a:gd name="connsiteX2" fmla="*/ 123759 w 158722"/>
                  <a:gd name="connsiteY2" fmla="*/ 116545 h 128199"/>
                  <a:gd name="connsiteX3" fmla="*/ 109885 w 158722"/>
                  <a:gd name="connsiteY3" fmla="*/ 102670 h 128199"/>
                  <a:gd name="connsiteX4" fmla="*/ 98786 w 158722"/>
                  <a:gd name="connsiteY4" fmla="*/ 68817 h 128199"/>
                  <a:gd name="connsiteX5" fmla="*/ 93791 w 158722"/>
                  <a:gd name="connsiteY5" fmla="*/ 32744 h 128199"/>
                  <a:gd name="connsiteX6" fmla="*/ 79917 w 158722"/>
                  <a:gd name="connsiteY6" fmla="*/ 61602 h 128199"/>
                  <a:gd name="connsiteX7" fmla="*/ 68262 w 158722"/>
                  <a:gd name="connsiteY7" fmla="*/ 88796 h 128199"/>
                  <a:gd name="connsiteX8" fmla="*/ 56608 w 158722"/>
                  <a:gd name="connsiteY8" fmla="*/ 122650 h 128199"/>
                  <a:gd name="connsiteX9" fmla="*/ 56052 w 158722"/>
                  <a:gd name="connsiteY9" fmla="*/ 124869 h 128199"/>
                  <a:gd name="connsiteX10" fmla="*/ 54943 w 158722"/>
                  <a:gd name="connsiteY10" fmla="*/ 127644 h 128199"/>
                  <a:gd name="connsiteX11" fmla="*/ 52168 w 158722"/>
                  <a:gd name="connsiteY11" fmla="*/ 128199 h 128199"/>
                  <a:gd name="connsiteX12" fmla="*/ 46618 w 158722"/>
                  <a:gd name="connsiteY12" fmla="*/ 126534 h 128199"/>
                  <a:gd name="connsiteX13" fmla="*/ 43288 w 158722"/>
                  <a:gd name="connsiteY13" fmla="*/ 121540 h 128199"/>
                  <a:gd name="connsiteX14" fmla="*/ 41068 w 158722"/>
                  <a:gd name="connsiteY14" fmla="*/ 111550 h 128199"/>
                  <a:gd name="connsiteX15" fmla="*/ 31634 w 158722"/>
                  <a:gd name="connsiteY15" fmla="*/ 66042 h 128199"/>
                  <a:gd name="connsiteX16" fmla="*/ 20534 w 158722"/>
                  <a:gd name="connsiteY16" fmla="*/ 29414 h 128199"/>
                  <a:gd name="connsiteX17" fmla="*/ 12210 w 158722"/>
                  <a:gd name="connsiteY17" fmla="*/ 14984 h 128199"/>
                  <a:gd name="connsiteX18" fmla="*/ 9435 w 158722"/>
                  <a:gd name="connsiteY18" fmla="*/ 16649 h 128199"/>
                  <a:gd name="connsiteX19" fmla="*/ 5550 w 158722"/>
                  <a:gd name="connsiteY19" fmla="*/ 19424 h 128199"/>
                  <a:gd name="connsiteX20" fmla="*/ 2775 w 158722"/>
                  <a:gd name="connsiteY20" fmla="*/ 19979 h 128199"/>
                  <a:gd name="connsiteX21" fmla="*/ 0 w 158722"/>
                  <a:gd name="connsiteY21" fmla="*/ 16649 h 128199"/>
                  <a:gd name="connsiteX22" fmla="*/ 2775 w 158722"/>
                  <a:gd name="connsiteY22" fmla="*/ 10545 h 128199"/>
                  <a:gd name="connsiteX23" fmla="*/ 9435 w 158722"/>
                  <a:gd name="connsiteY23" fmla="*/ 3330 h 128199"/>
                  <a:gd name="connsiteX24" fmla="*/ 16094 w 158722"/>
                  <a:gd name="connsiteY24" fmla="*/ 0 h 128199"/>
                  <a:gd name="connsiteX25" fmla="*/ 19979 w 158722"/>
                  <a:gd name="connsiteY25" fmla="*/ 1110 h 128199"/>
                  <a:gd name="connsiteX26" fmla="*/ 23309 w 158722"/>
                  <a:gd name="connsiteY26" fmla="*/ 4440 h 128199"/>
                  <a:gd name="connsiteX27" fmla="*/ 32189 w 158722"/>
                  <a:gd name="connsiteY27" fmla="*/ 23864 h 128199"/>
                  <a:gd name="connsiteX28" fmla="*/ 42178 w 158722"/>
                  <a:gd name="connsiteY28" fmla="*/ 60492 h 128199"/>
                  <a:gd name="connsiteX29" fmla="*/ 52168 w 158722"/>
                  <a:gd name="connsiteY29" fmla="*/ 103225 h 128199"/>
                  <a:gd name="connsiteX30" fmla="*/ 72702 w 158722"/>
                  <a:gd name="connsiteY30" fmla="*/ 51613 h 128199"/>
                  <a:gd name="connsiteX31" fmla="*/ 93791 w 158722"/>
                  <a:gd name="connsiteY31" fmla="*/ 8880 h 128199"/>
                  <a:gd name="connsiteX32" fmla="*/ 103780 w 158722"/>
                  <a:gd name="connsiteY32" fmla="*/ 555 h 128199"/>
                  <a:gd name="connsiteX33" fmla="*/ 109330 w 158722"/>
                  <a:gd name="connsiteY33" fmla="*/ 2775 h 128199"/>
                  <a:gd name="connsiteX34" fmla="*/ 111550 w 158722"/>
                  <a:gd name="connsiteY34" fmla="*/ 6660 h 128199"/>
                  <a:gd name="connsiteX35" fmla="*/ 110440 w 158722"/>
                  <a:gd name="connsiteY35" fmla="*/ 8880 h 128199"/>
                  <a:gd name="connsiteX36" fmla="*/ 108220 w 158722"/>
                  <a:gd name="connsiteY36" fmla="*/ 11100 h 128199"/>
                  <a:gd name="connsiteX37" fmla="*/ 105445 w 158722"/>
                  <a:gd name="connsiteY37" fmla="*/ 17204 h 128199"/>
                  <a:gd name="connsiteX38" fmla="*/ 104335 w 158722"/>
                  <a:gd name="connsiteY38" fmla="*/ 27749 h 128199"/>
                  <a:gd name="connsiteX39" fmla="*/ 107110 w 158722"/>
                  <a:gd name="connsiteY39" fmla="*/ 54388 h 128199"/>
                  <a:gd name="connsiteX40" fmla="*/ 115435 w 158722"/>
                  <a:gd name="connsiteY40" fmla="*/ 87131 h 128199"/>
                  <a:gd name="connsiteX41" fmla="*/ 126534 w 158722"/>
                  <a:gd name="connsiteY41" fmla="*/ 101561 h 128199"/>
                  <a:gd name="connsiteX42" fmla="*/ 135414 w 158722"/>
                  <a:gd name="connsiteY42" fmla="*/ 89351 h 128199"/>
                  <a:gd name="connsiteX43" fmla="*/ 144848 w 158722"/>
                  <a:gd name="connsiteY43" fmla="*/ 59382 h 128199"/>
                  <a:gd name="connsiteX44" fmla="*/ 148733 w 158722"/>
                  <a:gd name="connsiteY44" fmla="*/ 24974 h 128199"/>
                  <a:gd name="connsiteX45" fmla="*/ 145404 w 158722"/>
                  <a:gd name="connsiteY45" fmla="*/ 17204 h 128199"/>
                  <a:gd name="connsiteX46" fmla="*/ 142629 w 158722"/>
                  <a:gd name="connsiteY46" fmla="*/ 11654 h 128199"/>
                  <a:gd name="connsiteX47" fmla="*/ 144848 w 158722"/>
                  <a:gd name="connsiteY47" fmla="*/ 7215 h 128199"/>
                  <a:gd name="connsiteX48" fmla="*/ 149843 w 158722"/>
                  <a:gd name="connsiteY48" fmla="*/ 4440 h 128199"/>
                  <a:gd name="connsiteX49" fmla="*/ 155948 w 158722"/>
                  <a:gd name="connsiteY49" fmla="*/ 9435 h 128199"/>
                  <a:gd name="connsiteX50" fmla="*/ 158723 w 158722"/>
                  <a:gd name="connsiteY50" fmla="*/ 19424 h 128199"/>
                  <a:gd name="connsiteX51" fmla="*/ 152618 w 158722"/>
                  <a:gd name="connsiteY51" fmla="*/ 66042 h 128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58722" h="128199">
                    <a:moveTo>
                      <a:pt x="152618" y="66042"/>
                    </a:moveTo>
                    <a:cubicBezTo>
                      <a:pt x="148178" y="81026"/>
                      <a:pt x="143184" y="93236"/>
                      <a:pt x="137634" y="102670"/>
                    </a:cubicBezTo>
                    <a:cubicBezTo>
                      <a:pt x="132084" y="112105"/>
                      <a:pt x="127644" y="116545"/>
                      <a:pt x="123759" y="116545"/>
                    </a:cubicBezTo>
                    <a:cubicBezTo>
                      <a:pt x="118765" y="116545"/>
                      <a:pt x="114325" y="112105"/>
                      <a:pt x="109885" y="102670"/>
                    </a:cubicBezTo>
                    <a:cubicBezTo>
                      <a:pt x="105445" y="93236"/>
                      <a:pt x="102116" y="82136"/>
                      <a:pt x="98786" y="68817"/>
                    </a:cubicBezTo>
                    <a:cubicBezTo>
                      <a:pt x="96011" y="55498"/>
                      <a:pt x="94346" y="43288"/>
                      <a:pt x="93791" y="32744"/>
                    </a:cubicBezTo>
                    <a:cubicBezTo>
                      <a:pt x="89351" y="41068"/>
                      <a:pt x="84911" y="50503"/>
                      <a:pt x="79917" y="61602"/>
                    </a:cubicBezTo>
                    <a:cubicBezTo>
                      <a:pt x="74922" y="72147"/>
                      <a:pt x="71037" y="81026"/>
                      <a:pt x="68262" y="88796"/>
                    </a:cubicBezTo>
                    <a:cubicBezTo>
                      <a:pt x="63822" y="100451"/>
                      <a:pt x="59937" y="111550"/>
                      <a:pt x="56608" y="122650"/>
                    </a:cubicBezTo>
                    <a:cubicBezTo>
                      <a:pt x="56608" y="123205"/>
                      <a:pt x="56052" y="123760"/>
                      <a:pt x="56052" y="124869"/>
                    </a:cubicBezTo>
                    <a:cubicBezTo>
                      <a:pt x="55498" y="125979"/>
                      <a:pt x="55498" y="127089"/>
                      <a:pt x="54943" y="127644"/>
                    </a:cubicBezTo>
                    <a:cubicBezTo>
                      <a:pt x="54388" y="128199"/>
                      <a:pt x="53278" y="128199"/>
                      <a:pt x="52168" y="128199"/>
                    </a:cubicBezTo>
                    <a:cubicBezTo>
                      <a:pt x="49948" y="128199"/>
                      <a:pt x="47728" y="127644"/>
                      <a:pt x="46618" y="126534"/>
                    </a:cubicBezTo>
                    <a:cubicBezTo>
                      <a:pt x="45508" y="125424"/>
                      <a:pt x="44398" y="123760"/>
                      <a:pt x="43288" y="121540"/>
                    </a:cubicBezTo>
                    <a:lnTo>
                      <a:pt x="41068" y="111550"/>
                    </a:lnTo>
                    <a:cubicBezTo>
                      <a:pt x="38293" y="95456"/>
                      <a:pt x="34963" y="80471"/>
                      <a:pt x="31634" y="66042"/>
                    </a:cubicBezTo>
                    <a:cubicBezTo>
                      <a:pt x="28304" y="51058"/>
                      <a:pt x="24419" y="38848"/>
                      <a:pt x="20534" y="29414"/>
                    </a:cubicBezTo>
                    <a:cubicBezTo>
                      <a:pt x="16649" y="19979"/>
                      <a:pt x="13874" y="14984"/>
                      <a:pt x="12210" y="14984"/>
                    </a:cubicBezTo>
                    <a:cubicBezTo>
                      <a:pt x="11654" y="14984"/>
                      <a:pt x="10545" y="15539"/>
                      <a:pt x="9435" y="16649"/>
                    </a:cubicBezTo>
                    <a:cubicBezTo>
                      <a:pt x="8325" y="17759"/>
                      <a:pt x="6660" y="18314"/>
                      <a:pt x="5550" y="19424"/>
                    </a:cubicBezTo>
                    <a:cubicBezTo>
                      <a:pt x="4440" y="19979"/>
                      <a:pt x="3330" y="19979"/>
                      <a:pt x="2775" y="19979"/>
                    </a:cubicBezTo>
                    <a:cubicBezTo>
                      <a:pt x="555" y="18869"/>
                      <a:pt x="0" y="17759"/>
                      <a:pt x="0" y="16649"/>
                    </a:cubicBezTo>
                    <a:cubicBezTo>
                      <a:pt x="0" y="15539"/>
                      <a:pt x="1110" y="13319"/>
                      <a:pt x="2775" y="10545"/>
                    </a:cubicBezTo>
                    <a:cubicBezTo>
                      <a:pt x="4995" y="7770"/>
                      <a:pt x="7215" y="5550"/>
                      <a:pt x="9435" y="3330"/>
                    </a:cubicBezTo>
                    <a:cubicBezTo>
                      <a:pt x="11654" y="1110"/>
                      <a:pt x="14429" y="0"/>
                      <a:pt x="16094" y="0"/>
                    </a:cubicBezTo>
                    <a:cubicBezTo>
                      <a:pt x="17759" y="0"/>
                      <a:pt x="18869" y="555"/>
                      <a:pt x="19979" y="1110"/>
                    </a:cubicBezTo>
                    <a:cubicBezTo>
                      <a:pt x="21089" y="1665"/>
                      <a:pt x="22199" y="2775"/>
                      <a:pt x="23309" y="4440"/>
                    </a:cubicBezTo>
                    <a:cubicBezTo>
                      <a:pt x="25529" y="7215"/>
                      <a:pt x="28304" y="13874"/>
                      <a:pt x="32189" y="23864"/>
                    </a:cubicBezTo>
                    <a:cubicBezTo>
                      <a:pt x="36073" y="33853"/>
                      <a:pt x="39403" y="46063"/>
                      <a:pt x="42178" y="60492"/>
                    </a:cubicBezTo>
                    <a:lnTo>
                      <a:pt x="52168" y="103225"/>
                    </a:lnTo>
                    <a:cubicBezTo>
                      <a:pt x="59382" y="82691"/>
                      <a:pt x="66597" y="65487"/>
                      <a:pt x="72702" y="51613"/>
                    </a:cubicBezTo>
                    <a:cubicBezTo>
                      <a:pt x="78807" y="37738"/>
                      <a:pt x="86021" y="23864"/>
                      <a:pt x="93791" y="8880"/>
                    </a:cubicBezTo>
                    <a:cubicBezTo>
                      <a:pt x="97121" y="3330"/>
                      <a:pt x="99896" y="555"/>
                      <a:pt x="103780" y="555"/>
                    </a:cubicBezTo>
                    <a:cubicBezTo>
                      <a:pt x="106000" y="555"/>
                      <a:pt x="107665" y="1110"/>
                      <a:pt x="109330" y="2775"/>
                    </a:cubicBezTo>
                    <a:cubicBezTo>
                      <a:pt x="110995" y="4440"/>
                      <a:pt x="111550" y="5550"/>
                      <a:pt x="111550" y="6660"/>
                    </a:cubicBezTo>
                    <a:cubicBezTo>
                      <a:pt x="111550" y="7215"/>
                      <a:pt x="110995" y="7770"/>
                      <a:pt x="110440" y="8880"/>
                    </a:cubicBezTo>
                    <a:cubicBezTo>
                      <a:pt x="109885" y="9990"/>
                      <a:pt x="108775" y="10545"/>
                      <a:pt x="108220" y="11100"/>
                    </a:cubicBezTo>
                    <a:cubicBezTo>
                      <a:pt x="107110" y="12764"/>
                      <a:pt x="106000" y="14984"/>
                      <a:pt x="105445" y="17204"/>
                    </a:cubicBezTo>
                    <a:cubicBezTo>
                      <a:pt x="104890" y="19424"/>
                      <a:pt x="104335" y="22754"/>
                      <a:pt x="104335" y="27749"/>
                    </a:cubicBezTo>
                    <a:cubicBezTo>
                      <a:pt x="104335" y="33299"/>
                      <a:pt x="105445" y="42178"/>
                      <a:pt x="107110" y="54388"/>
                    </a:cubicBezTo>
                    <a:cubicBezTo>
                      <a:pt x="109330" y="66597"/>
                      <a:pt x="112105" y="77142"/>
                      <a:pt x="115435" y="87131"/>
                    </a:cubicBezTo>
                    <a:cubicBezTo>
                      <a:pt x="118765" y="96566"/>
                      <a:pt x="122649" y="101561"/>
                      <a:pt x="126534" y="101561"/>
                    </a:cubicBezTo>
                    <a:cubicBezTo>
                      <a:pt x="128754" y="101561"/>
                      <a:pt x="132084" y="97676"/>
                      <a:pt x="135414" y="89351"/>
                    </a:cubicBezTo>
                    <a:cubicBezTo>
                      <a:pt x="138744" y="81026"/>
                      <a:pt x="142074" y="71037"/>
                      <a:pt x="144848" y="59382"/>
                    </a:cubicBezTo>
                    <a:cubicBezTo>
                      <a:pt x="147623" y="47728"/>
                      <a:pt x="148733" y="36073"/>
                      <a:pt x="148733" y="24974"/>
                    </a:cubicBezTo>
                    <a:cubicBezTo>
                      <a:pt x="148733" y="22754"/>
                      <a:pt x="147623" y="19979"/>
                      <a:pt x="145404" y="17204"/>
                    </a:cubicBezTo>
                    <a:cubicBezTo>
                      <a:pt x="143739" y="14984"/>
                      <a:pt x="142629" y="12764"/>
                      <a:pt x="142629" y="11654"/>
                    </a:cubicBezTo>
                    <a:cubicBezTo>
                      <a:pt x="142629" y="10545"/>
                      <a:pt x="143184" y="9435"/>
                      <a:pt x="144848" y="7215"/>
                    </a:cubicBezTo>
                    <a:cubicBezTo>
                      <a:pt x="146514" y="5550"/>
                      <a:pt x="148178" y="4440"/>
                      <a:pt x="149843" y="4440"/>
                    </a:cubicBezTo>
                    <a:cubicBezTo>
                      <a:pt x="152063" y="4440"/>
                      <a:pt x="153728" y="6105"/>
                      <a:pt x="155948" y="9435"/>
                    </a:cubicBezTo>
                    <a:cubicBezTo>
                      <a:pt x="157613" y="12764"/>
                      <a:pt x="158723" y="16094"/>
                      <a:pt x="158723" y="19424"/>
                    </a:cubicBezTo>
                    <a:cubicBezTo>
                      <a:pt x="158723" y="35518"/>
                      <a:pt x="156503" y="51058"/>
                      <a:pt x="152618" y="66042"/>
                    </a:cubicBezTo>
                    <a:close/>
                  </a:path>
                </a:pathLst>
              </a:custGeom>
              <a:solidFill>
                <a:srgbClr val="676767"/>
              </a:solidFill>
              <a:ln w="5547" cap="flat">
                <a:noFill/>
                <a:prstDash val="solid"/>
                <a:miter/>
              </a:ln>
            </p:spPr>
            <p:txBody>
              <a:bodyPr rtlCol="0" anchor="ctr"/>
              <a:lstStyle/>
              <a:p>
                <a:endParaRPr lang="en-US"/>
              </a:p>
            </p:txBody>
          </p:sp>
          <p:sp>
            <p:nvSpPr>
              <p:cNvPr id="60" name="Freihandform: Form 59">
                <a:extLst>
                  <a:ext uri="{FF2B5EF4-FFF2-40B4-BE49-F238E27FC236}">
                    <a16:creationId xmlns:a16="http://schemas.microsoft.com/office/drawing/2014/main" id="{1954E6BF-4268-4ED4-BB8B-5D81C6D5676D}"/>
                  </a:ext>
                </a:extLst>
              </p:cNvPr>
              <p:cNvSpPr/>
              <p:nvPr/>
            </p:nvSpPr>
            <p:spPr>
              <a:xfrm>
                <a:off x="7478998" y="3866320"/>
                <a:ext cx="87686" cy="110995"/>
              </a:xfrm>
              <a:custGeom>
                <a:avLst/>
                <a:gdLst>
                  <a:gd name="connsiteX0" fmla="*/ 81026 w 87686"/>
                  <a:gd name="connsiteY0" fmla="*/ 81026 h 110995"/>
                  <a:gd name="connsiteX1" fmla="*/ 61047 w 87686"/>
                  <a:gd name="connsiteY1" fmla="*/ 102115 h 110995"/>
                  <a:gd name="connsiteX2" fmla="*/ 31634 w 87686"/>
                  <a:gd name="connsiteY2" fmla="*/ 110995 h 110995"/>
                  <a:gd name="connsiteX3" fmla="*/ 7769 w 87686"/>
                  <a:gd name="connsiteY3" fmla="*/ 102115 h 110995"/>
                  <a:gd name="connsiteX4" fmla="*/ 0 w 87686"/>
                  <a:gd name="connsiteY4" fmla="*/ 79916 h 110995"/>
                  <a:gd name="connsiteX5" fmla="*/ 4440 w 87686"/>
                  <a:gd name="connsiteY5" fmla="*/ 51058 h 110995"/>
                  <a:gd name="connsiteX6" fmla="*/ 16649 w 87686"/>
                  <a:gd name="connsiteY6" fmla="*/ 19979 h 110995"/>
                  <a:gd name="connsiteX7" fmla="*/ 20534 w 87686"/>
                  <a:gd name="connsiteY7" fmla="*/ 12764 h 110995"/>
                  <a:gd name="connsiteX8" fmla="*/ 28304 w 87686"/>
                  <a:gd name="connsiteY8" fmla="*/ 3330 h 110995"/>
                  <a:gd name="connsiteX9" fmla="*/ 37738 w 87686"/>
                  <a:gd name="connsiteY9" fmla="*/ 0 h 110995"/>
                  <a:gd name="connsiteX10" fmla="*/ 41623 w 87686"/>
                  <a:gd name="connsiteY10" fmla="*/ 1110 h 110995"/>
                  <a:gd name="connsiteX11" fmla="*/ 43288 w 87686"/>
                  <a:gd name="connsiteY11" fmla="*/ 3885 h 110995"/>
                  <a:gd name="connsiteX12" fmla="*/ 42178 w 87686"/>
                  <a:gd name="connsiteY12" fmla="*/ 6105 h 110995"/>
                  <a:gd name="connsiteX13" fmla="*/ 39958 w 87686"/>
                  <a:gd name="connsiteY13" fmla="*/ 8880 h 110995"/>
                  <a:gd name="connsiteX14" fmla="*/ 26639 w 87686"/>
                  <a:gd name="connsiteY14" fmla="*/ 28304 h 110995"/>
                  <a:gd name="connsiteX15" fmla="*/ 16094 w 87686"/>
                  <a:gd name="connsiteY15" fmla="*/ 52723 h 110995"/>
                  <a:gd name="connsiteX16" fmla="*/ 12210 w 87686"/>
                  <a:gd name="connsiteY16" fmla="*/ 79362 h 110995"/>
                  <a:gd name="connsiteX17" fmla="*/ 35518 w 87686"/>
                  <a:gd name="connsiteY17" fmla="*/ 98786 h 110995"/>
                  <a:gd name="connsiteX18" fmla="*/ 56052 w 87686"/>
                  <a:gd name="connsiteY18" fmla="*/ 92681 h 110995"/>
                  <a:gd name="connsiteX19" fmla="*/ 71037 w 87686"/>
                  <a:gd name="connsiteY19" fmla="*/ 77142 h 110995"/>
                  <a:gd name="connsiteX20" fmla="*/ 76587 w 87686"/>
                  <a:gd name="connsiteY20" fmla="*/ 60492 h 110995"/>
                  <a:gd name="connsiteX21" fmla="*/ 71037 w 87686"/>
                  <a:gd name="connsiteY21" fmla="*/ 45508 h 110995"/>
                  <a:gd name="connsiteX22" fmla="*/ 55498 w 87686"/>
                  <a:gd name="connsiteY22" fmla="*/ 32189 h 110995"/>
                  <a:gd name="connsiteX23" fmla="*/ 46063 w 87686"/>
                  <a:gd name="connsiteY23" fmla="*/ 24419 h 110995"/>
                  <a:gd name="connsiteX24" fmla="*/ 43288 w 87686"/>
                  <a:gd name="connsiteY24" fmla="*/ 19424 h 110995"/>
                  <a:gd name="connsiteX25" fmla="*/ 47173 w 87686"/>
                  <a:gd name="connsiteY25" fmla="*/ 14429 h 110995"/>
                  <a:gd name="connsiteX26" fmla="*/ 57162 w 87686"/>
                  <a:gd name="connsiteY26" fmla="*/ 12764 h 110995"/>
                  <a:gd name="connsiteX27" fmla="*/ 61047 w 87686"/>
                  <a:gd name="connsiteY27" fmla="*/ 13319 h 110995"/>
                  <a:gd name="connsiteX28" fmla="*/ 62157 w 87686"/>
                  <a:gd name="connsiteY28" fmla="*/ 14429 h 110995"/>
                  <a:gd name="connsiteX29" fmla="*/ 61047 w 87686"/>
                  <a:gd name="connsiteY29" fmla="*/ 16094 h 110995"/>
                  <a:gd name="connsiteX30" fmla="*/ 59937 w 87686"/>
                  <a:gd name="connsiteY30" fmla="*/ 17759 h 110995"/>
                  <a:gd name="connsiteX31" fmla="*/ 64932 w 87686"/>
                  <a:gd name="connsiteY31" fmla="*/ 22754 h 110995"/>
                  <a:gd name="connsiteX32" fmla="*/ 81026 w 87686"/>
                  <a:gd name="connsiteY32" fmla="*/ 38848 h 110995"/>
                  <a:gd name="connsiteX33" fmla="*/ 87686 w 87686"/>
                  <a:gd name="connsiteY33" fmla="*/ 58272 h 110995"/>
                  <a:gd name="connsiteX34" fmla="*/ 81026 w 87686"/>
                  <a:gd name="connsiteY34" fmla="*/ 81026 h 110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7686" h="110995">
                    <a:moveTo>
                      <a:pt x="81026" y="81026"/>
                    </a:moveTo>
                    <a:cubicBezTo>
                      <a:pt x="76587" y="89351"/>
                      <a:pt x="69927" y="96566"/>
                      <a:pt x="61047" y="102115"/>
                    </a:cubicBezTo>
                    <a:cubicBezTo>
                      <a:pt x="52167" y="108220"/>
                      <a:pt x="42733" y="110995"/>
                      <a:pt x="31634" y="110995"/>
                    </a:cubicBezTo>
                    <a:cubicBezTo>
                      <a:pt x="20534" y="110995"/>
                      <a:pt x="12764" y="108220"/>
                      <a:pt x="7769" y="102115"/>
                    </a:cubicBezTo>
                    <a:cubicBezTo>
                      <a:pt x="2775" y="96011"/>
                      <a:pt x="0" y="88796"/>
                      <a:pt x="0" y="79916"/>
                    </a:cubicBezTo>
                    <a:cubicBezTo>
                      <a:pt x="0" y="72147"/>
                      <a:pt x="1665" y="62712"/>
                      <a:pt x="4440" y="51058"/>
                    </a:cubicBezTo>
                    <a:cubicBezTo>
                      <a:pt x="7215" y="39403"/>
                      <a:pt x="11100" y="29414"/>
                      <a:pt x="16649" y="19979"/>
                    </a:cubicBezTo>
                    <a:cubicBezTo>
                      <a:pt x="17204" y="19424"/>
                      <a:pt x="18314" y="17204"/>
                      <a:pt x="20534" y="12764"/>
                    </a:cubicBezTo>
                    <a:cubicBezTo>
                      <a:pt x="22754" y="8880"/>
                      <a:pt x="25529" y="5550"/>
                      <a:pt x="28304" y="3330"/>
                    </a:cubicBezTo>
                    <a:cubicBezTo>
                      <a:pt x="31078" y="1110"/>
                      <a:pt x="34409" y="0"/>
                      <a:pt x="37738" y="0"/>
                    </a:cubicBezTo>
                    <a:cubicBezTo>
                      <a:pt x="39403" y="0"/>
                      <a:pt x="40513" y="555"/>
                      <a:pt x="41623" y="1110"/>
                    </a:cubicBezTo>
                    <a:cubicBezTo>
                      <a:pt x="42733" y="1665"/>
                      <a:pt x="43288" y="2775"/>
                      <a:pt x="43288" y="3885"/>
                    </a:cubicBezTo>
                    <a:cubicBezTo>
                      <a:pt x="43288" y="4440"/>
                      <a:pt x="42733" y="4995"/>
                      <a:pt x="42178" y="6105"/>
                    </a:cubicBezTo>
                    <a:cubicBezTo>
                      <a:pt x="41068" y="7215"/>
                      <a:pt x="40513" y="8325"/>
                      <a:pt x="39958" y="8880"/>
                    </a:cubicBezTo>
                    <a:cubicBezTo>
                      <a:pt x="34409" y="15539"/>
                      <a:pt x="29968" y="22199"/>
                      <a:pt x="26639" y="28304"/>
                    </a:cubicBezTo>
                    <a:cubicBezTo>
                      <a:pt x="22199" y="36628"/>
                      <a:pt x="18314" y="44953"/>
                      <a:pt x="16094" y="52723"/>
                    </a:cubicBezTo>
                    <a:cubicBezTo>
                      <a:pt x="13319" y="61047"/>
                      <a:pt x="12210" y="69927"/>
                      <a:pt x="12210" y="79362"/>
                    </a:cubicBezTo>
                    <a:cubicBezTo>
                      <a:pt x="12210" y="92126"/>
                      <a:pt x="19979" y="98786"/>
                      <a:pt x="35518" y="98786"/>
                    </a:cubicBezTo>
                    <a:cubicBezTo>
                      <a:pt x="42733" y="98786"/>
                      <a:pt x="49393" y="96566"/>
                      <a:pt x="56052" y="92681"/>
                    </a:cubicBezTo>
                    <a:cubicBezTo>
                      <a:pt x="62157" y="88241"/>
                      <a:pt x="67152" y="83246"/>
                      <a:pt x="71037" y="77142"/>
                    </a:cubicBezTo>
                    <a:cubicBezTo>
                      <a:pt x="74922" y="71037"/>
                      <a:pt x="76587" y="65487"/>
                      <a:pt x="76587" y="60492"/>
                    </a:cubicBezTo>
                    <a:cubicBezTo>
                      <a:pt x="76587" y="54943"/>
                      <a:pt x="74922" y="49948"/>
                      <a:pt x="71037" y="45508"/>
                    </a:cubicBezTo>
                    <a:cubicBezTo>
                      <a:pt x="67152" y="41068"/>
                      <a:pt x="62157" y="36628"/>
                      <a:pt x="55498" y="32189"/>
                    </a:cubicBezTo>
                    <a:cubicBezTo>
                      <a:pt x="51058" y="28859"/>
                      <a:pt x="48283" y="26639"/>
                      <a:pt x="46063" y="24419"/>
                    </a:cubicBezTo>
                    <a:cubicBezTo>
                      <a:pt x="44398" y="22754"/>
                      <a:pt x="43288" y="21089"/>
                      <a:pt x="43288" y="19424"/>
                    </a:cubicBezTo>
                    <a:cubicBezTo>
                      <a:pt x="43288" y="17204"/>
                      <a:pt x="44398" y="16094"/>
                      <a:pt x="47173" y="14429"/>
                    </a:cubicBezTo>
                    <a:cubicBezTo>
                      <a:pt x="49948" y="13319"/>
                      <a:pt x="53278" y="12764"/>
                      <a:pt x="57162" y="12764"/>
                    </a:cubicBezTo>
                    <a:cubicBezTo>
                      <a:pt x="59382" y="12764"/>
                      <a:pt x="60492" y="12764"/>
                      <a:pt x="61047" y="13319"/>
                    </a:cubicBezTo>
                    <a:cubicBezTo>
                      <a:pt x="61602" y="13319"/>
                      <a:pt x="62157" y="13874"/>
                      <a:pt x="62157" y="14429"/>
                    </a:cubicBezTo>
                    <a:cubicBezTo>
                      <a:pt x="62157" y="14984"/>
                      <a:pt x="61602" y="15539"/>
                      <a:pt x="61047" y="16094"/>
                    </a:cubicBezTo>
                    <a:cubicBezTo>
                      <a:pt x="60492" y="16649"/>
                      <a:pt x="59937" y="17204"/>
                      <a:pt x="59937" y="17759"/>
                    </a:cubicBezTo>
                    <a:cubicBezTo>
                      <a:pt x="59937" y="18314"/>
                      <a:pt x="61602" y="19979"/>
                      <a:pt x="64932" y="22754"/>
                    </a:cubicBezTo>
                    <a:cubicBezTo>
                      <a:pt x="71592" y="28304"/>
                      <a:pt x="76587" y="33299"/>
                      <a:pt x="81026" y="38848"/>
                    </a:cubicBezTo>
                    <a:cubicBezTo>
                      <a:pt x="85466" y="44398"/>
                      <a:pt x="87686" y="51058"/>
                      <a:pt x="87686" y="58272"/>
                    </a:cubicBezTo>
                    <a:cubicBezTo>
                      <a:pt x="87686" y="65487"/>
                      <a:pt x="85466" y="72702"/>
                      <a:pt x="81026" y="81026"/>
                    </a:cubicBezTo>
                    <a:close/>
                  </a:path>
                </a:pathLst>
              </a:custGeom>
              <a:solidFill>
                <a:srgbClr val="676767"/>
              </a:solidFill>
              <a:ln w="5547" cap="flat">
                <a:noFill/>
                <a:prstDash val="solid"/>
                <a:miter/>
              </a:ln>
            </p:spPr>
            <p:txBody>
              <a:bodyPr rtlCol="0" anchor="ctr"/>
              <a:lstStyle/>
              <a:p>
                <a:endParaRPr lang="en-US"/>
              </a:p>
            </p:txBody>
          </p:sp>
          <p:sp>
            <p:nvSpPr>
              <p:cNvPr id="61" name="Freihandform: Form 60">
                <a:extLst>
                  <a:ext uri="{FF2B5EF4-FFF2-40B4-BE49-F238E27FC236}">
                    <a16:creationId xmlns:a16="http://schemas.microsoft.com/office/drawing/2014/main" id="{EE769933-56FE-4AD7-850D-64E441EE46D5}"/>
                  </a:ext>
                </a:extLst>
              </p:cNvPr>
              <p:cNvSpPr/>
              <p:nvPr/>
            </p:nvSpPr>
            <p:spPr>
              <a:xfrm>
                <a:off x="7589993" y="3857995"/>
                <a:ext cx="79916" cy="123204"/>
              </a:xfrm>
              <a:custGeom>
                <a:avLst/>
                <a:gdLst>
                  <a:gd name="connsiteX0" fmla="*/ 77141 w 79916"/>
                  <a:gd name="connsiteY0" fmla="*/ 20534 h 123204"/>
                  <a:gd name="connsiteX1" fmla="*/ 72147 w 79916"/>
                  <a:gd name="connsiteY1" fmla="*/ 23309 h 123204"/>
                  <a:gd name="connsiteX2" fmla="*/ 68817 w 79916"/>
                  <a:gd name="connsiteY2" fmla="*/ 21644 h 123204"/>
                  <a:gd name="connsiteX3" fmla="*/ 65487 w 79916"/>
                  <a:gd name="connsiteY3" fmla="*/ 17759 h 123204"/>
                  <a:gd name="connsiteX4" fmla="*/ 61047 w 79916"/>
                  <a:gd name="connsiteY4" fmla="*/ 13874 h 123204"/>
                  <a:gd name="connsiteX5" fmla="*/ 55498 w 79916"/>
                  <a:gd name="connsiteY5" fmla="*/ 12209 h 123204"/>
                  <a:gd name="connsiteX6" fmla="*/ 36628 w 79916"/>
                  <a:gd name="connsiteY6" fmla="*/ 31079 h 123204"/>
                  <a:gd name="connsiteX7" fmla="*/ 13319 w 79916"/>
                  <a:gd name="connsiteY7" fmla="*/ 77697 h 123204"/>
                  <a:gd name="connsiteX8" fmla="*/ 14429 w 79916"/>
                  <a:gd name="connsiteY8" fmla="*/ 91571 h 123204"/>
                  <a:gd name="connsiteX9" fmla="*/ 15539 w 79916"/>
                  <a:gd name="connsiteY9" fmla="*/ 104335 h 123204"/>
                  <a:gd name="connsiteX10" fmla="*/ 16094 w 79916"/>
                  <a:gd name="connsiteY10" fmla="*/ 114325 h 123204"/>
                  <a:gd name="connsiteX11" fmla="*/ 14429 w 79916"/>
                  <a:gd name="connsiteY11" fmla="*/ 120430 h 123204"/>
                  <a:gd name="connsiteX12" fmla="*/ 8879 w 79916"/>
                  <a:gd name="connsiteY12" fmla="*/ 123205 h 123204"/>
                  <a:gd name="connsiteX13" fmla="*/ 3330 w 79916"/>
                  <a:gd name="connsiteY13" fmla="*/ 112105 h 123204"/>
                  <a:gd name="connsiteX14" fmla="*/ 1665 w 79916"/>
                  <a:gd name="connsiteY14" fmla="*/ 79916 h 123204"/>
                  <a:gd name="connsiteX15" fmla="*/ 1110 w 79916"/>
                  <a:gd name="connsiteY15" fmla="*/ 64377 h 123204"/>
                  <a:gd name="connsiteX16" fmla="*/ 555 w 79916"/>
                  <a:gd name="connsiteY16" fmla="*/ 40513 h 123204"/>
                  <a:gd name="connsiteX17" fmla="*/ 0 w 79916"/>
                  <a:gd name="connsiteY17" fmla="*/ 10545 h 123204"/>
                  <a:gd name="connsiteX18" fmla="*/ 6660 w 79916"/>
                  <a:gd name="connsiteY18" fmla="*/ 4995 h 123204"/>
                  <a:gd name="connsiteX19" fmla="*/ 11654 w 79916"/>
                  <a:gd name="connsiteY19" fmla="*/ 8325 h 123204"/>
                  <a:gd name="connsiteX20" fmla="*/ 12764 w 79916"/>
                  <a:gd name="connsiteY20" fmla="*/ 21644 h 123204"/>
                  <a:gd name="connsiteX21" fmla="*/ 12764 w 79916"/>
                  <a:gd name="connsiteY21" fmla="*/ 60492 h 123204"/>
                  <a:gd name="connsiteX22" fmla="*/ 28304 w 79916"/>
                  <a:gd name="connsiteY22" fmla="*/ 28304 h 123204"/>
                  <a:gd name="connsiteX23" fmla="*/ 44953 w 79916"/>
                  <a:gd name="connsiteY23" fmla="*/ 7215 h 123204"/>
                  <a:gd name="connsiteX24" fmla="*/ 59382 w 79916"/>
                  <a:gd name="connsiteY24" fmla="*/ 0 h 123204"/>
                  <a:gd name="connsiteX25" fmla="*/ 69372 w 79916"/>
                  <a:gd name="connsiteY25" fmla="*/ 2220 h 123204"/>
                  <a:gd name="connsiteX26" fmla="*/ 77141 w 79916"/>
                  <a:gd name="connsiteY26" fmla="*/ 8325 h 123204"/>
                  <a:gd name="connsiteX27" fmla="*/ 79916 w 79916"/>
                  <a:gd name="connsiteY27" fmla="*/ 15539 h 123204"/>
                  <a:gd name="connsiteX28" fmla="*/ 77141 w 79916"/>
                  <a:gd name="connsiteY28" fmla="*/ 20534 h 123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9916" h="123204">
                    <a:moveTo>
                      <a:pt x="77141" y="20534"/>
                    </a:moveTo>
                    <a:cubicBezTo>
                      <a:pt x="74922" y="22199"/>
                      <a:pt x="73257" y="23309"/>
                      <a:pt x="72147" y="23309"/>
                    </a:cubicBezTo>
                    <a:cubicBezTo>
                      <a:pt x="71037" y="23309"/>
                      <a:pt x="69927" y="22754"/>
                      <a:pt x="68817" y="21644"/>
                    </a:cubicBezTo>
                    <a:cubicBezTo>
                      <a:pt x="67707" y="20534"/>
                      <a:pt x="66597" y="19424"/>
                      <a:pt x="65487" y="17759"/>
                    </a:cubicBezTo>
                    <a:cubicBezTo>
                      <a:pt x="64377" y="16094"/>
                      <a:pt x="62712" y="14984"/>
                      <a:pt x="61047" y="13874"/>
                    </a:cubicBezTo>
                    <a:cubicBezTo>
                      <a:pt x="59382" y="12764"/>
                      <a:pt x="57162" y="12209"/>
                      <a:pt x="55498" y="12209"/>
                    </a:cubicBezTo>
                    <a:cubicBezTo>
                      <a:pt x="51058" y="12209"/>
                      <a:pt x="44398" y="18314"/>
                      <a:pt x="36628" y="31079"/>
                    </a:cubicBezTo>
                    <a:cubicBezTo>
                      <a:pt x="28859" y="43288"/>
                      <a:pt x="21089" y="59382"/>
                      <a:pt x="13319" y="77697"/>
                    </a:cubicBezTo>
                    <a:cubicBezTo>
                      <a:pt x="13319" y="81581"/>
                      <a:pt x="13874" y="86021"/>
                      <a:pt x="14429" y="91571"/>
                    </a:cubicBezTo>
                    <a:cubicBezTo>
                      <a:pt x="14984" y="97121"/>
                      <a:pt x="14984" y="101561"/>
                      <a:pt x="15539" y="104335"/>
                    </a:cubicBezTo>
                    <a:lnTo>
                      <a:pt x="16094" y="114325"/>
                    </a:lnTo>
                    <a:cubicBezTo>
                      <a:pt x="16094" y="116545"/>
                      <a:pt x="15539" y="118765"/>
                      <a:pt x="14429" y="120430"/>
                    </a:cubicBezTo>
                    <a:cubicBezTo>
                      <a:pt x="13319" y="122095"/>
                      <a:pt x="11654" y="123205"/>
                      <a:pt x="8879" y="123205"/>
                    </a:cubicBezTo>
                    <a:cubicBezTo>
                      <a:pt x="6105" y="123205"/>
                      <a:pt x="4440" y="119320"/>
                      <a:pt x="3330" y="112105"/>
                    </a:cubicBezTo>
                    <a:cubicBezTo>
                      <a:pt x="2775" y="104890"/>
                      <a:pt x="2220" y="93791"/>
                      <a:pt x="1665" y="79916"/>
                    </a:cubicBezTo>
                    <a:cubicBezTo>
                      <a:pt x="1665" y="76587"/>
                      <a:pt x="1110" y="71037"/>
                      <a:pt x="1110" y="64377"/>
                    </a:cubicBezTo>
                    <a:cubicBezTo>
                      <a:pt x="1110" y="57717"/>
                      <a:pt x="555" y="49948"/>
                      <a:pt x="555" y="40513"/>
                    </a:cubicBezTo>
                    <a:cubicBezTo>
                      <a:pt x="0" y="26639"/>
                      <a:pt x="0" y="16649"/>
                      <a:pt x="0" y="10545"/>
                    </a:cubicBezTo>
                    <a:cubicBezTo>
                      <a:pt x="0" y="6660"/>
                      <a:pt x="2220" y="4995"/>
                      <a:pt x="6660" y="4995"/>
                    </a:cubicBezTo>
                    <a:cubicBezTo>
                      <a:pt x="9435" y="4995"/>
                      <a:pt x="11100" y="6105"/>
                      <a:pt x="11654" y="8325"/>
                    </a:cubicBezTo>
                    <a:cubicBezTo>
                      <a:pt x="12210" y="10545"/>
                      <a:pt x="12764" y="14984"/>
                      <a:pt x="12764" y="21644"/>
                    </a:cubicBezTo>
                    <a:lnTo>
                      <a:pt x="12764" y="60492"/>
                    </a:lnTo>
                    <a:cubicBezTo>
                      <a:pt x="17759" y="48283"/>
                      <a:pt x="22754" y="37183"/>
                      <a:pt x="28304" y="28304"/>
                    </a:cubicBezTo>
                    <a:cubicBezTo>
                      <a:pt x="33853" y="19424"/>
                      <a:pt x="39403" y="12209"/>
                      <a:pt x="44953" y="7215"/>
                    </a:cubicBezTo>
                    <a:cubicBezTo>
                      <a:pt x="50503" y="2220"/>
                      <a:pt x="55498" y="0"/>
                      <a:pt x="59382" y="0"/>
                    </a:cubicBezTo>
                    <a:cubicBezTo>
                      <a:pt x="62712" y="0"/>
                      <a:pt x="66597" y="555"/>
                      <a:pt x="69372" y="2220"/>
                    </a:cubicBezTo>
                    <a:cubicBezTo>
                      <a:pt x="72702" y="3885"/>
                      <a:pt x="75477" y="6105"/>
                      <a:pt x="77141" y="8325"/>
                    </a:cubicBezTo>
                    <a:cubicBezTo>
                      <a:pt x="79361" y="11100"/>
                      <a:pt x="79916" y="13319"/>
                      <a:pt x="79916" y="15539"/>
                    </a:cubicBezTo>
                    <a:cubicBezTo>
                      <a:pt x="79916" y="17204"/>
                      <a:pt x="79361" y="18869"/>
                      <a:pt x="77141" y="20534"/>
                    </a:cubicBezTo>
                    <a:close/>
                  </a:path>
                </a:pathLst>
              </a:custGeom>
              <a:solidFill>
                <a:srgbClr val="676767"/>
              </a:solidFill>
              <a:ln w="5547" cap="flat">
                <a:noFill/>
                <a:prstDash val="solid"/>
                <a:miter/>
              </a:ln>
            </p:spPr>
            <p:txBody>
              <a:bodyPr rtlCol="0" anchor="ctr"/>
              <a:lstStyle/>
              <a:p>
                <a:endParaRPr lang="en-US"/>
              </a:p>
            </p:txBody>
          </p:sp>
          <p:sp>
            <p:nvSpPr>
              <p:cNvPr id="62" name="Freihandform: Form 61">
                <a:extLst>
                  <a:ext uri="{FF2B5EF4-FFF2-40B4-BE49-F238E27FC236}">
                    <a16:creationId xmlns:a16="http://schemas.microsoft.com/office/drawing/2014/main" id="{60306F70-8858-410F-A41A-BF99DE55E76A}"/>
                  </a:ext>
                </a:extLst>
              </p:cNvPr>
              <p:cNvSpPr/>
              <p:nvPr/>
            </p:nvSpPr>
            <p:spPr>
              <a:xfrm>
                <a:off x="7688778" y="3801388"/>
                <a:ext cx="109885" cy="182586"/>
              </a:xfrm>
              <a:custGeom>
                <a:avLst/>
                <a:gdLst>
                  <a:gd name="connsiteX0" fmla="*/ 106000 w 109885"/>
                  <a:gd name="connsiteY0" fmla="*/ 77142 h 182586"/>
                  <a:gd name="connsiteX1" fmla="*/ 99896 w 109885"/>
                  <a:gd name="connsiteY1" fmla="*/ 81026 h 182586"/>
                  <a:gd name="connsiteX2" fmla="*/ 95456 w 109885"/>
                  <a:gd name="connsiteY2" fmla="*/ 78807 h 182586"/>
                  <a:gd name="connsiteX3" fmla="*/ 92126 w 109885"/>
                  <a:gd name="connsiteY3" fmla="*/ 76587 h 182586"/>
                  <a:gd name="connsiteX4" fmla="*/ 71037 w 109885"/>
                  <a:gd name="connsiteY4" fmla="*/ 85466 h 182586"/>
                  <a:gd name="connsiteX5" fmla="*/ 41623 w 109885"/>
                  <a:gd name="connsiteY5" fmla="*/ 106555 h 182586"/>
                  <a:gd name="connsiteX6" fmla="*/ 18314 w 109885"/>
                  <a:gd name="connsiteY6" fmla="*/ 127089 h 182586"/>
                  <a:gd name="connsiteX7" fmla="*/ 18314 w 109885"/>
                  <a:gd name="connsiteY7" fmla="*/ 131529 h 182586"/>
                  <a:gd name="connsiteX8" fmla="*/ 59382 w 109885"/>
                  <a:gd name="connsiteY8" fmla="*/ 149843 h 182586"/>
                  <a:gd name="connsiteX9" fmla="*/ 91016 w 109885"/>
                  <a:gd name="connsiteY9" fmla="*/ 161498 h 182586"/>
                  <a:gd name="connsiteX10" fmla="*/ 97676 w 109885"/>
                  <a:gd name="connsiteY10" fmla="*/ 162053 h 182586"/>
                  <a:gd name="connsiteX11" fmla="*/ 102670 w 109885"/>
                  <a:gd name="connsiteY11" fmla="*/ 162053 h 182586"/>
                  <a:gd name="connsiteX12" fmla="*/ 106555 w 109885"/>
                  <a:gd name="connsiteY12" fmla="*/ 162053 h 182586"/>
                  <a:gd name="connsiteX13" fmla="*/ 108220 w 109885"/>
                  <a:gd name="connsiteY13" fmla="*/ 163163 h 182586"/>
                  <a:gd name="connsiteX14" fmla="*/ 103780 w 109885"/>
                  <a:gd name="connsiteY14" fmla="*/ 169268 h 182586"/>
                  <a:gd name="connsiteX15" fmla="*/ 90461 w 109885"/>
                  <a:gd name="connsiteY15" fmla="*/ 172042 h 182586"/>
                  <a:gd name="connsiteX16" fmla="*/ 68817 w 109885"/>
                  <a:gd name="connsiteY16" fmla="*/ 165938 h 182586"/>
                  <a:gd name="connsiteX17" fmla="*/ 36073 w 109885"/>
                  <a:gd name="connsiteY17" fmla="*/ 150398 h 182586"/>
                  <a:gd name="connsiteX18" fmla="*/ 20534 w 109885"/>
                  <a:gd name="connsiteY18" fmla="*/ 142629 h 182586"/>
                  <a:gd name="connsiteX19" fmla="*/ 23864 w 109885"/>
                  <a:gd name="connsiteY19" fmla="*/ 176482 h 182586"/>
                  <a:gd name="connsiteX20" fmla="*/ 21089 w 109885"/>
                  <a:gd name="connsiteY20" fmla="*/ 180922 h 182586"/>
                  <a:gd name="connsiteX21" fmla="*/ 14984 w 109885"/>
                  <a:gd name="connsiteY21" fmla="*/ 182587 h 182586"/>
                  <a:gd name="connsiteX22" fmla="*/ 11654 w 109885"/>
                  <a:gd name="connsiteY22" fmla="*/ 176482 h 182586"/>
                  <a:gd name="connsiteX23" fmla="*/ 8879 w 109885"/>
                  <a:gd name="connsiteY23" fmla="*/ 153173 h 182586"/>
                  <a:gd name="connsiteX24" fmla="*/ 7215 w 109885"/>
                  <a:gd name="connsiteY24" fmla="*/ 138189 h 182586"/>
                  <a:gd name="connsiteX25" fmla="*/ 2220 w 109885"/>
                  <a:gd name="connsiteY25" fmla="*/ 134859 h 182586"/>
                  <a:gd name="connsiteX26" fmla="*/ 0 w 109885"/>
                  <a:gd name="connsiteY26" fmla="*/ 130419 h 182586"/>
                  <a:gd name="connsiteX27" fmla="*/ 4995 w 109885"/>
                  <a:gd name="connsiteY27" fmla="*/ 123759 h 182586"/>
                  <a:gd name="connsiteX28" fmla="*/ 3885 w 109885"/>
                  <a:gd name="connsiteY28" fmla="*/ 86021 h 182586"/>
                  <a:gd name="connsiteX29" fmla="*/ 2220 w 109885"/>
                  <a:gd name="connsiteY29" fmla="*/ 50503 h 182586"/>
                  <a:gd name="connsiteX30" fmla="*/ 1110 w 109885"/>
                  <a:gd name="connsiteY30" fmla="*/ 16649 h 182586"/>
                  <a:gd name="connsiteX31" fmla="*/ 2775 w 109885"/>
                  <a:gd name="connsiteY31" fmla="*/ 4995 h 182586"/>
                  <a:gd name="connsiteX32" fmla="*/ 10545 w 109885"/>
                  <a:gd name="connsiteY32" fmla="*/ 0 h 182586"/>
                  <a:gd name="connsiteX33" fmla="*/ 13320 w 109885"/>
                  <a:gd name="connsiteY33" fmla="*/ 1110 h 182586"/>
                  <a:gd name="connsiteX34" fmla="*/ 13874 w 109885"/>
                  <a:gd name="connsiteY34" fmla="*/ 4440 h 182586"/>
                  <a:gd name="connsiteX35" fmla="*/ 15539 w 109885"/>
                  <a:gd name="connsiteY35" fmla="*/ 56607 h 182586"/>
                  <a:gd name="connsiteX36" fmla="*/ 18314 w 109885"/>
                  <a:gd name="connsiteY36" fmla="*/ 114880 h 182586"/>
                  <a:gd name="connsiteX37" fmla="*/ 97676 w 109885"/>
                  <a:gd name="connsiteY37" fmla="*/ 63267 h 182586"/>
                  <a:gd name="connsiteX38" fmla="*/ 106555 w 109885"/>
                  <a:gd name="connsiteY38" fmla="*/ 64932 h 182586"/>
                  <a:gd name="connsiteX39" fmla="*/ 109885 w 109885"/>
                  <a:gd name="connsiteY39" fmla="*/ 68817 h 182586"/>
                  <a:gd name="connsiteX40" fmla="*/ 106000 w 109885"/>
                  <a:gd name="connsiteY40" fmla="*/ 77142 h 182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9885" h="182586">
                    <a:moveTo>
                      <a:pt x="106000" y="77142"/>
                    </a:moveTo>
                    <a:cubicBezTo>
                      <a:pt x="103780" y="79916"/>
                      <a:pt x="101560" y="81026"/>
                      <a:pt x="99896" y="81026"/>
                    </a:cubicBezTo>
                    <a:cubicBezTo>
                      <a:pt x="98786" y="81026"/>
                      <a:pt x="97121" y="80471"/>
                      <a:pt x="95456" y="78807"/>
                    </a:cubicBezTo>
                    <a:cubicBezTo>
                      <a:pt x="93791" y="77697"/>
                      <a:pt x="92681" y="76587"/>
                      <a:pt x="92126" y="76587"/>
                    </a:cubicBezTo>
                    <a:cubicBezTo>
                      <a:pt x="87686" y="76587"/>
                      <a:pt x="81026" y="79361"/>
                      <a:pt x="71037" y="85466"/>
                    </a:cubicBezTo>
                    <a:cubicBezTo>
                      <a:pt x="61602" y="91571"/>
                      <a:pt x="51613" y="98786"/>
                      <a:pt x="41623" y="106555"/>
                    </a:cubicBezTo>
                    <a:cubicBezTo>
                      <a:pt x="31634" y="114880"/>
                      <a:pt x="23864" y="121540"/>
                      <a:pt x="18314" y="127089"/>
                    </a:cubicBezTo>
                    <a:lnTo>
                      <a:pt x="18314" y="131529"/>
                    </a:lnTo>
                    <a:cubicBezTo>
                      <a:pt x="30524" y="137079"/>
                      <a:pt x="44398" y="143184"/>
                      <a:pt x="59382" y="149843"/>
                    </a:cubicBezTo>
                    <a:cubicBezTo>
                      <a:pt x="74367" y="156503"/>
                      <a:pt x="84911" y="160388"/>
                      <a:pt x="91016" y="161498"/>
                    </a:cubicBezTo>
                    <a:cubicBezTo>
                      <a:pt x="93236" y="162053"/>
                      <a:pt x="95456" y="162053"/>
                      <a:pt x="97676" y="162053"/>
                    </a:cubicBezTo>
                    <a:cubicBezTo>
                      <a:pt x="99896" y="162053"/>
                      <a:pt x="101560" y="162053"/>
                      <a:pt x="102670" y="162053"/>
                    </a:cubicBezTo>
                    <a:cubicBezTo>
                      <a:pt x="104335" y="162053"/>
                      <a:pt x="105445" y="162053"/>
                      <a:pt x="106555" y="162053"/>
                    </a:cubicBezTo>
                    <a:cubicBezTo>
                      <a:pt x="107665" y="162053"/>
                      <a:pt x="108220" y="162608"/>
                      <a:pt x="108220" y="163163"/>
                    </a:cubicBezTo>
                    <a:cubicBezTo>
                      <a:pt x="108220" y="165383"/>
                      <a:pt x="106555" y="167048"/>
                      <a:pt x="103780" y="169268"/>
                    </a:cubicBezTo>
                    <a:cubicBezTo>
                      <a:pt x="101006" y="171487"/>
                      <a:pt x="96011" y="172042"/>
                      <a:pt x="90461" y="172042"/>
                    </a:cubicBezTo>
                    <a:cubicBezTo>
                      <a:pt x="84911" y="172042"/>
                      <a:pt x="77697" y="169822"/>
                      <a:pt x="68817" y="165938"/>
                    </a:cubicBezTo>
                    <a:cubicBezTo>
                      <a:pt x="59937" y="162053"/>
                      <a:pt x="48838" y="156503"/>
                      <a:pt x="36073" y="150398"/>
                    </a:cubicBezTo>
                    <a:lnTo>
                      <a:pt x="20534" y="142629"/>
                    </a:lnTo>
                    <a:cubicBezTo>
                      <a:pt x="22754" y="163163"/>
                      <a:pt x="23864" y="174817"/>
                      <a:pt x="23864" y="176482"/>
                    </a:cubicBezTo>
                    <a:cubicBezTo>
                      <a:pt x="23864" y="178147"/>
                      <a:pt x="22754" y="179812"/>
                      <a:pt x="21089" y="180922"/>
                    </a:cubicBezTo>
                    <a:cubicBezTo>
                      <a:pt x="19424" y="182032"/>
                      <a:pt x="17204" y="182587"/>
                      <a:pt x="14984" y="182587"/>
                    </a:cubicBezTo>
                    <a:cubicBezTo>
                      <a:pt x="13874" y="182587"/>
                      <a:pt x="12764" y="180367"/>
                      <a:pt x="11654" y="176482"/>
                    </a:cubicBezTo>
                    <a:cubicBezTo>
                      <a:pt x="11100" y="172597"/>
                      <a:pt x="9989" y="164828"/>
                      <a:pt x="8879" y="153173"/>
                    </a:cubicBezTo>
                    <a:lnTo>
                      <a:pt x="7215" y="138189"/>
                    </a:lnTo>
                    <a:cubicBezTo>
                      <a:pt x="4995" y="137634"/>
                      <a:pt x="3330" y="135969"/>
                      <a:pt x="2220" y="134859"/>
                    </a:cubicBezTo>
                    <a:cubicBezTo>
                      <a:pt x="555" y="133194"/>
                      <a:pt x="0" y="132084"/>
                      <a:pt x="0" y="130419"/>
                    </a:cubicBezTo>
                    <a:cubicBezTo>
                      <a:pt x="0" y="128199"/>
                      <a:pt x="1665" y="125979"/>
                      <a:pt x="4995" y="123759"/>
                    </a:cubicBezTo>
                    <a:cubicBezTo>
                      <a:pt x="4995" y="114880"/>
                      <a:pt x="4440" y="102670"/>
                      <a:pt x="3885" y="86021"/>
                    </a:cubicBezTo>
                    <a:cubicBezTo>
                      <a:pt x="3330" y="69927"/>
                      <a:pt x="2775" y="57717"/>
                      <a:pt x="2220" y="50503"/>
                    </a:cubicBezTo>
                    <a:lnTo>
                      <a:pt x="1110" y="16649"/>
                    </a:lnTo>
                    <a:cubicBezTo>
                      <a:pt x="1110" y="12209"/>
                      <a:pt x="1665" y="8325"/>
                      <a:pt x="2775" y="4995"/>
                    </a:cubicBezTo>
                    <a:cubicBezTo>
                      <a:pt x="3885" y="1665"/>
                      <a:pt x="6660" y="0"/>
                      <a:pt x="10545" y="0"/>
                    </a:cubicBezTo>
                    <a:cubicBezTo>
                      <a:pt x="12210" y="0"/>
                      <a:pt x="12764" y="555"/>
                      <a:pt x="13320" y="1110"/>
                    </a:cubicBezTo>
                    <a:cubicBezTo>
                      <a:pt x="13874" y="1665"/>
                      <a:pt x="13874" y="2775"/>
                      <a:pt x="13874" y="4440"/>
                    </a:cubicBezTo>
                    <a:cubicBezTo>
                      <a:pt x="13874" y="11654"/>
                      <a:pt x="14429" y="29414"/>
                      <a:pt x="15539" y="56607"/>
                    </a:cubicBezTo>
                    <a:cubicBezTo>
                      <a:pt x="16649" y="83801"/>
                      <a:pt x="17204" y="103225"/>
                      <a:pt x="18314" y="114880"/>
                    </a:cubicBezTo>
                    <a:cubicBezTo>
                      <a:pt x="54388" y="80471"/>
                      <a:pt x="81026" y="63267"/>
                      <a:pt x="97676" y="63267"/>
                    </a:cubicBezTo>
                    <a:cubicBezTo>
                      <a:pt x="101006" y="63267"/>
                      <a:pt x="103780" y="63822"/>
                      <a:pt x="106555" y="64932"/>
                    </a:cubicBezTo>
                    <a:cubicBezTo>
                      <a:pt x="108775" y="66042"/>
                      <a:pt x="109885" y="67152"/>
                      <a:pt x="109885" y="68817"/>
                    </a:cubicBezTo>
                    <a:cubicBezTo>
                      <a:pt x="109330" y="72147"/>
                      <a:pt x="108220" y="74367"/>
                      <a:pt x="106000" y="77142"/>
                    </a:cubicBezTo>
                    <a:close/>
                  </a:path>
                </a:pathLst>
              </a:custGeom>
              <a:solidFill>
                <a:srgbClr val="676767"/>
              </a:solidFill>
              <a:ln w="5547" cap="flat">
                <a:noFill/>
                <a:prstDash val="solid"/>
                <a:miter/>
              </a:ln>
            </p:spPr>
            <p:txBody>
              <a:bodyPr rtlCol="0" anchor="ctr"/>
              <a:lstStyle/>
              <a:p>
                <a:endParaRPr lang="en-US"/>
              </a:p>
            </p:txBody>
          </p:sp>
        </p:grpSp>
        <p:sp>
          <p:nvSpPr>
            <p:cNvPr id="63" name="Freihandform: Form 62">
              <a:extLst>
                <a:ext uri="{FF2B5EF4-FFF2-40B4-BE49-F238E27FC236}">
                  <a16:creationId xmlns:a16="http://schemas.microsoft.com/office/drawing/2014/main" id="{40121200-3C7A-4333-8690-8C4EF7B79B6F}"/>
                </a:ext>
              </a:extLst>
            </p:cNvPr>
            <p:cNvSpPr/>
            <p:nvPr/>
          </p:nvSpPr>
          <p:spPr>
            <a:xfrm>
              <a:off x="7235918" y="2953385"/>
              <a:ext cx="198126" cy="198681"/>
            </a:xfrm>
            <a:custGeom>
              <a:avLst/>
              <a:gdLst>
                <a:gd name="connsiteX0" fmla="*/ 187582 w 198126"/>
                <a:gd name="connsiteY0" fmla="*/ 198681 h 198681"/>
                <a:gd name="connsiteX1" fmla="*/ 10544 w 198126"/>
                <a:gd name="connsiteY1" fmla="*/ 198681 h 198681"/>
                <a:gd name="connsiteX2" fmla="*/ 0 w 198126"/>
                <a:gd name="connsiteY2" fmla="*/ 188137 h 198681"/>
                <a:gd name="connsiteX3" fmla="*/ 0 w 198126"/>
                <a:gd name="connsiteY3" fmla="*/ 10545 h 198681"/>
                <a:gd name="connsiteX4" fmla="*/ 10544 w 198126"/>
                <a:gd name="connsiteY4" fmla="*/ 0 h 198681"/>
                <a:gd name="connsiteX5" fmla="*/ 187582 w 198126"/>
                <a:gd name="connsiteY5" fmla="*/ 0 h 198681"/>
                <a:gd name="connsiteX6" fmla="*/ 198126 w 198126"/>
                <a:gd name="connsiteY6" fmla="*/ 10545 h 198681"/>
                <a:gd name="connsiteX7" fmla="*/ 198126 w 198126"/>
                <a:gd name="connsiteY7" fmla="*/ 188137 h 19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126" h="198681">
                  <a:moveTo>
                    <a:pt x="187582" y="198681"/>
                  </a:moveTo>
                  <a:lnTo>
                    <a:pt x="10544" y="198681"/>
                  </a:lnTo>
                  <a:lnTo>
                    <a:pt x="0" y="188137"/>
                  </a:lnTo>
                  <a:lnTo>
                    <a:pt x="0" y="10545"/>
                  </a:lnTo>
                  <a:lnTo>
                    <a:pt x="10544" y="0"/>
                  </a:lnTo>
                  <a:lnTo>
                    <a:pt x="187582" y="0"/>
                  </a:lnTo>
                  <a:lnTo>
                    <a:pt x="198126" y="10545"/>
                  </a:lnTo>
                  <a:lnTo>
                    <a:pt x="198126" y="188137"/>
                  </a:lnTo>
                  <a:close/>
                </a:path>
              </a:pathLst>
            </a:custGeom>
            <a:solidFill>
              <a:srgbClr val="123F6E"/>
            </a:solidFill>
            <a:ln w="5547" cap="flat">
              <a:noFill/>
              <a:prstDash val="solid"/>
              <a:miter/>
            </a:ln>
          </p:spPr>
          <p:txBody>
            <a:bodyPr rtlCol="0" anchor="ctr"/>
            <a:lstStyle/>
            <a:p>
              <a:endParaRPr lang="en-US"/>
            </a:p>
          </p:txBody>
        </p:sp>
        <p:sp>
          <p:nvSpPr>
            <p:cNvPr id="64" name="Freihandform: Form 63">
              <a:extLst>
                <a:ext uri="{FF2B5EF4-FFF2-40B4-BE49-F238E27FC236}">
                  <a16:creationId xmlns:a16="http://schemas.microsoft.com/office/drawing/2014/main" id="{0048A05D-4693-40D7-92A6-81C9D4DE26D7}"/>
                </a:ext>
              </a:extLst>
            </p:cNvPr>
            <p:cNvSpPr/>
            <p:nvPr/>
          </p:nvSpPr>
          <p:spPr>
            <a:xfrm>
              <a:off x="7475668" y="3193689"/>
              <a:ext cx="198681" cy="198681"/>
            </a:xfrm>
            <a:custGeom>
              <a:avLst/>
              <a:gdLst>
                <a:gd name="connsiteX0" fmla="*/ 188137 w 198681"/>
                <a:gd name="connsiteY0" fmla="*/ 198681 h 198681"/>
                <a:gd name="connsiteX1" fmla="*/ 10545 w 198681"/>
                <a:gd name="connsiteY1" fmla="*/ 198681 h 198681"/>
                <a:gd name="connsiteX2" fmla="*/ 0 w 198681"/>
                <a:gd name="connsiteY2" fmla="*/ 187582 h 198681"/>
                <a:gd name="connsiteX3" fmla="*/ 0 w 198681"/>
                <a:gd name="connsiteY3" fmla="*/ 10545 h 198681"/>
                <a:gd name="connsiteX4" fmla="*/ 10545 w 198681"/>
                <a:gd name="connsiteY4" fmla="*/ 0 h 198681"/>
                <a:gd name="connsiteX5" fmla="*/ 188137 w 198681"/>
                <a:gd name="connsiteY5" fmla="*/ 0 h 198681"/>
                <a:gd name="connsiteX6" fmla="*/ 198681 w 198681"/>
                <a:gd name="connsiteY6" fmla="*/ 10545 h 198681"/>
                <a:gd name="connsiteX7" fmla="*/ 198681 w 198681"/>
                <a:gd name="connsiteY7" fmla="*/ 187582 h 19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681" h="198681">
                  <a:moveTo>
                    <a:pt x="188137" y="198681"/>
                  </a:moveTo>
                  <a:lnTo>
                    <a:pt x="10545" y="198681"/>
                  </a:lnTo>
                  <a:lnTo>
                    <a:pt x="0" y="187582"/>
                  </a:lnTo>
                  <a:lnTo>
                    <a:pt x="0" y="10545"/>
                  </a:lnTo>
                  <a:lnTo>
                    <a:pt x="10545" y="0"/>
                  </a:lnTo>
                  <a:lnTo>
                    <a:pt x="188137" y="0"/>
                  </a:lnTo>
                  <a:lnTo>
                    <a:pt x="198681" y="10545"/>
                  </a:lnTo>
                  <a:lnTo>
                    <a:pt x="198681" y="187582"/>
                  </a:lnTo>
                  <a:close/>
                </a:path>
              </a:pathLst>
            </a:custGeom>
            <a:solidFill>
              <a:srgbClr val="123F6E"/>
            </a:solidFill>
            <a:ln w="5547" cap="flat">
              <a:noFill/>
              <a:prstDash val="solid"/>
              <a:miter/>
            </a:ln>
          </p:spPr>
          <p:txBody>
            <a:bodyPr rtlCol="0" anchor="ctr"/>
            <a:lstStyle/>
            <a:p>
              <a:endParaRPr lang="en-US"/>
            </a:p>
          </p:txBody>
        </p:sp>
        <p:sp>
          <p:nvSpPr>
            <p:cNvPr id="65" name="Freihandform: Form 64">
              <a:extLst>
                <a:ext uri="{FF2B5EF4-FFF2-40B4-BE49-F238E27FC236}">
                  <a16:creationId xmlns:a16="http://schemas.microsoft.com/office/drawing/2014/main" id="{91AA81A3-262D-47E1-8918-AE460CAF84D6}"/>
                </a:ext>
              </a:extLst>
            </p:cNvPr>
            <p:cNvSpPr/>
            <p:nvPr/>
          </p:nvSpPr>
          <p:spPr>
            <a:xfrm>
              <a:off x="7475668" y="2829626"/>
              <a:ext cx="322440" cy="322440"/>
            </a:xfrm>
            <a:custGeom>
              <a:avLst/>
              <a:gdLst>
                <a:gd name="connsiteX0" fmla="*/ 311896 w 322440"/>
                <a:gd name="connsiteY0" fmla="*/ 322441 h 322440"/>
                <a:gd name="connsiteX1" fmla="*/ 10545 w 322440"/>
                <a:gd name="connsiteY1" fmla="*/ 322441 h 322440"/>
                <a:gd name="connsiteX2" fmla="*/ 0 w 322440"/>
                <a:gd name="connsiteY2" fmla="*/ 311896 h 322440"/>
                <a:gd name="connsiteX3" fmla="*/ 0 w 322440"/>
                <a:gd name="connsiteY3" fmla="*/ 10545 h 322440"/>
                <a:gd name="connsiteX4" fmla="*/ 10545 w 322440"/>
                <a:gd name="connsiteY4" fmla="*/ 0 h 322440"/>
                <a:gd name="connsiteX5" fmla="*/ 161498 w 322440"/>
                <a:gd name="connsiteY5" fmla="*/ 0 h 322440"/>
                <a:gd name="connsiteX6" fmla="*/ 322441 w 322440"/>
                <a:gd name="connsiteY6" fmla="*/ 160943 h 322440"/>
                <a:gd name="connsiteX7" fmla="*/ 322441 w 322440"/>
                <a:gd name="connsiteY7" fmla="*/ 311896 h 322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440" h="322440">
                  <a:moveTo>
                    <a:pt x="311896" y="322441"/>
                  </a:moveTo>
                  <a:lnTo>
                    <a:pt x="10545" y="322441"/>
                  </a:lnTo>
                  <a:lnTo>
                    <a:pt x="0" y="311896"/>
                  </a:lnTo>
                  <a:lnTo>
                    <a:pt x="0" y="10545"/>
                  </a:lnTo>
                  <a:lnTo>
                    <a:pt x="10545" y="0"/>
                  </a:lnTo>
                  <a:lnTo>
                    <a:pt x="161498" y="0"/>
                  </a:lnTo>
                  <a:lnTo>
                    <a:pt x="322441" y="160943"/>
                  </a:lnTo>
                  <a:lnTo>
                    <a:pt x="322441" y="311896"/>
                  </a:lnTo>
                  <a:close/>
                </a:path>
              </a:pathLst>
            </a:custGeom>
            <a:solidFill>
              <a:srgbClr val="123F6E"/>
            </a:solidFill>
            <a:ln w="5547" cap="flat">
              <a:noFill/>
              <a:prstDash val="solid"/>
              <a:miter/>
            </a:ln>
          </p:spPr>
          <p:txBody>
            <a:bodyPr rtlCol="0" anchor="ctr"/>
            <a:lstStyle/>
            <a:p>
              <a:endParaRPr lang="en-US"/>
            </a:p>
          </p:txBody>
        </p:sp>
        <p:sp>
          <p:nvSpPr>
            <p:cNvPr id="66" name="Freihandform: Form 65">
              <a:extLst>
                <a:ext uri="{FF2B5EF4-FFF2-40B4-BE49-F238E27FC236}">
                  <a16:creationId xmlns:a16="http://schemas.microsoft.com/office/drawing/2014/main" id="{D8CFD276-1544-4C99-BDD7-ABE7001657D3}"/>
                </a:ext>
              </a:extLst>
            </p:cNvPr>
            <p:cNvSpPr/>
            <p:nvPr/>
          </p:nvSpPr>
          <p:spPr>
            <a:xfrm>
              <a:off x="7335259" y="3193689"/>
              <a:ext cx="98785" cy="99340"/>
            </a:xfrm>
            <a:custGeom>
              <a:avLst/>
              <a:gdLst>
                <a:gd name="connsiteX0" fmla="*/ 88241 w 98785"/>
                <a:gd name="connsiteY0" fmla="*/ 99341 h 99340"/>
                <a:gd name="connsiteX1" fmla="*/ 10545 w 98785"/>
                <a:gd name="connsiteY1" fmla="*/ 99341 h 99340"/>
                <a:gd name="connsiteX2" fmla="*/ 0 w 98785"/>
                <a:gd name="connsiteY2" fmla="*/ 88796 h 99340"/>
                <a:gd name="connsiteX3" fmla="*/ 0 w 98785"/>
                <a:gd name="connsiteY3" fmla="*/ 10545 h 99340"/>
                <a:gd name="connsiteX4" fmla="*/ 10545 w 98785"/>
                <a:gd name="connsiteY4" fmla="*/ 0 h 99340"/>
                <a:gd name="connsiteX5" fmla="*/ 88241 w 98785"/>
                <a:gd name="connsiteY5" fmla="*/ 0 h 99340"/>
                <a:gd name="connsiteX6" fmla="*/ 98786 w 98785"/>
                <a:gd name="connsiteY6" fmla="*/ 10545 h 99340"/>
                <a:gd name="connsiteX7" fmla="*/ 98786 w 98785"/>
                <a:gd name="connsiteY7" fmla="*/ 88796 h 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785" h="99340">
                  <a:moveTo>
                    <a:pt x="88241" y="99341"/>
                  </a:moveTo>
                  <a:lnTo>
                    <a:pt x="10545" y="99341"/>
                  </a:lnTo>
                  <a:lnTo>
                    <a:pt x="0" y="88796"/>
                  </a:lnTo>
                  <a:lnTo>
                    <a:pt x="0" y="10545"/>
                  </a:lnTo>
                  <a:lnTo>
                    <a:pt x="10545" y="0"/>
                  </a:lnTo>
                  <a:lnTo>
                    <a:pt x="88241" y="0"/>
                  </a:lnTo>
                  <a:lnTo>
                    <a:pt x="98786" y="10545"/>
                  </a:lnTo>
                  <a:lnTo>
                    <a:pt x="98786" y="88796"/>
                  </a:lnTo>
                  <a:close/>
                </a:path>
              </a:pathLst>
            </a:custGeom>
            <a:solidFill>
              <a:srgbClr val="123F6E"/>
            </a:solidFill>
            <a:ln w="5547" cap="flat">
              <a:noFill/>
              <a:prstDash val="solid"/>
              <a:miter/>
            </a:ln>
          </p:spPr>
          <p:txBody>
            <a:bodyPr rtlCol="0" anchor="ctr"/>
            <a:lstStyle/>
            <a:p>
              <a:endParaRPr lang="en-US"/>
            </a:p>
          </p:txBody>
        </p:sp>
        <p:sp>
          <p:nvSpPr>
            <p:cNvPr id="67" name="Freihandform: Form 66">
              <a:extLst>
                <a:ext uri="{FF2B5EF4-FFF2-40B4-BE49-F238E27FC236}">
                  <a16:creationId xmlns:a16="http://schemas.microsoft.com/office/drawing/2014/main" id="{5ECB2BD9-46D5-42C7-B351-7D348B238FC9}"/>
                </a:ext>
              </a:extLst>
            </p:cNvPr>
            <p:cNvSpPr/>
            <p:nvPr/>
          </p:nvSpPr>
          <p:spPr>
            <a:xfrm>
              <a:off x="4784592" y="3299690"/>
              <a:ext cx="539991" cy="325215"/>
            </a:xfrm>
            <a:custGeom>
              <a:avLst/>
              <a:gdLst>
                <a:gd name="connsiteX0" fmla="*/ 0 w 539991"/>
                <a:gd name="connsiteY0" fmla="*/ 324106 h 325215"/>
                <a:gd name="connsiteX1" fmla="*/ 0 w 539991"/>
                <a:gd name="connsiteY1" fmla="*/ 8325 h 325215"/>
                <a:gd name="connsiteX2" fmla="*/ 113215 w 539991"/>
                <a:gd name="connsiteY2" fmla="*/ 8325 h 325215"/>
                <a:gd name="connsiteX3" fmla="*/ 113215 w 539991"/>
                <a:gd name="connsiteY3" fmla="*/ 54388 h 325215"/>
                <a:gd name="connsiteX4" fmla="*/ 159833 w 539991"/>
                <a:gd name="connsiteY4" fmla="*/ 13319 h 325215"/>
                <a:gd name="connsiteX5" fmla="*/ 219215 w 539991"/>
                <a:gd name="connsiteY5" fmla="*/ 0 h 325215"/>
                <a:gd name="connsiteX6" fmla="*/ 272493 w 539991"/>
                <a:gd name="connsiteY6" fmla="*/ 13319 h 325215"/>
                <a:gd name="connsiteX7" fmla="*/ 312451 w 539991"/>
                <a:gd name="connsiteY7" fmla="*/ 54943 h 325215"/>
                <a:gd name="connsiteX8" fmla="*/ 362399 w 539991"/>
                <a:gd name="connsiteY8" fmla="*/ 13319 h 325215"/>
                <a:gd name="connsiteX9" fmla="*/ 423446 w 539991"/>
                <a:gd name="connsiteY9" fmla="*/ 0 h 325215"/>
                <a:gd name="connsiteX10" fmla="*/ 509467 w 539991"/>
                <a:gd name="connsiteY10" fmla="*/ 28859 h 325215"/>
                <a:gd name="connsiteX11" fmla="*/ 539991 w 539991"/>
                <a:gd name="connsiteY11" fmla="*/ 109330 h 325215"/>
                <a:gd name="connsiteX12" fmla="*/ 539991 w 539991"/>
                <a:gd name="connsiteY12" fmla="*/ 324661 h 325215"/>
                <a:gd name="connsiteX13" fmla="*/ 417341 w 539991"/>
                <a:gd name="connsiteY13" fmla="*/ 324661 h 325215"/>
                <a:gd name="connsiteX14" fmla="*/ 417341 w 539991"/>
                <a:gd name="connsiteY14" fmla="*/ 155948 h 325215"/>
                <a:gd name="connsiteX15" fmla="*/ 407352 w 539991"/>
                <a:gd name="connsiteY15" fmla="*/ 113215 h 325215"/>
                <a:gd name="connsiteX16" fmla="*/ 375163 w 539991"/>
                <a:gd name="connsiteY16" fmla="*/ 99896 h 325215"/>
                <a:gd name="connsiteX17" fmla="*/ 341865 w 539991"/>
                <a:gd name="connsiteY17" fmla="*/ 113770 h 325215"/>
                <a:gd name="connsiteX18" fmla="*/ 331320 w 539991"/>
                <a:gd name="connsiteY18" fmla="*/ 157058 h 325215"/>
                <a:gd name="connsiteX19" fmla="*/ 331320 w 539991"/>
                <a:gd name="connsiteY19" fmla="*/ 324661 h 325215"/>
                <a:gd name="connsiteX20" fmla="*/ 209226 w 539991"/>
                <a:gd name="connsiteY20" fmla="*/ 324661 h 325215"/>
                <a:gd name="connsiteX21" fmla="*/ 209226 w 539991"/>
                <a:gd name="connsiteY21" fmla="*/ 159833 h 325215"/>
                <a:gd name="connsiteX22" fmla="*/ 199236 w 539991"/>
                <a:gd name="connsiteY22" fmla="*/ 113215 h 325215"/>
                <a:gd name="connsiteX23" fmla="*/ 165938 w 539991"/>
                <a:gd name="connsiteY23" fmla="*/ 99341 h 325215"/>
                <a:gd name="connsiteX24" fmla="*/ 134304 w 539991"/>
                <a:gd name="connsiteY24" fmla="*/ 113770 h 325215"/>
                <a:gd name="connsiteX25" fmla="*/ 123760 w 539991"/>
                <a:gd name="connsiteY25" fmla="*/ 155393 h 325215"/>
                <a:gd name="connsiteX26" fmla="*/ 123760 w 539991"/>
                <a:gd name="connsiteY26" fmla="*/ 325216 h 325215"/>
                <a:gd name="connsiteX27" fmla="*/ 0 w 539991"/>
                <a:gd name="connsiteY27" fmla="*/ 325216 h 325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39991" h="325215">
                  <a:moveTo>
                    <a:pt x="0" y="324106"/>
                  </a:moveTo>
                  <a:lnTo>
                    <a:pt x="0" y="8325"/>
                  </a:lnTo>
                  <a:lnTo>
                    <a:pt x="113215" y="8325"/>
                  </a:lnTo>
                  <a:lnTo>
                    <a:pt x="113215" y="54388"/>
                  </a:lnTo>
                  <a:cubicBezTo>
                    <a:pt x="127089" y="36073"/>
                    <a:pt x="142629" y="22199"/>
                    <a:pt x="159833" y="13319"/>
                  </a:cubicBezTo>
                  <a:cubicBezTo>
                    <a:pt x="177037" y="4440"/>
                    <a:pt x="197016" y="0"/>
                    <a:pt x="219215" y="0"/>
                  </a:cubicBezTo>
                  <a:cubicBezTo>
                    <a:pt x="239749" y="0"/>
                    <a:pt x="257509" y="4440"/>
                    <a:pt x="272493" y="13319"/>
                  </a:cubicBezTo>
                  <a:cubicBezTo>
                    <a:pt x="287477" y="22199"/>
                    <a:pt x="300797" y="36073"/>
                    <a:pt x="312451" y="54943"/>
                  </a:cubicBezTo>
                  <a:cubicBezTo>
                    <a:pt x="327435" y="36073"/>
                    <a:pt x="344085" y="22199"/>
                    <a:pt x="362399" y="13319"/>
                  </a:cubicBezTo>
                  <a:cubicBezTo>
                    <a:pt x="380713" y="4440"/>
                    <a:pt x="400692" y="0"/>
                    <a:pt x="423446" y="0"/>
                  </a:cubicBezTo>
                  <a:cubicBezTo>
                    <a:pt x="460075" y="0"/>
                    <a:pt x="488933" y="9435"/>
                    <a:pt x="509467" y="28859"/>
                  </a:cubicBezTo>
                  <a:cubicBezTo>
                    <a:pt x="530002" y="48283"/>
                    <a:pt x="539991" y="74922"/>
                    <a:pt x="539991" y="109330"/>
                  </a:cubicBezTo>
                  <a:lnTo>
                    <a:pt x="539991" y="324661"/>
                  </a:lnTo>
                  <a:lnTo>
                    <a:pt x="417341" y="324661"/>
                  </a:lnTo>
                  <a:lnTo>
                    <a:pt x="417341" y="155948"/>
                  </a:lnTo>
                  <a:cubicBezTo>
                    <a:pt x="417341" y="135969"/>
                    <a:pt x="414012" y="122095"/>
                    <a:pt x="407352" y="113215"/>
                  </a:cubicBezTo>
                  <a:cubicBezTo>
                    <a:pt x="400692" y="104335"/>
                    <a:pt x="390148" y="99896"/>
                    <a:pt x="375163" y="99896"/>
                  </a:cubicBezTo>
                  <a:cubicBezTo>
                    <a:pt x="360179" y="99896"/>
                    <a:pt x="349080" y="104335"/>
                    <a:pt x="341865" y="113770"/>
                  </a:cubicBezTo>
                  <a:cubicBezTo>
                    <a:pt x="334650" y="123205"/>
                    <a:pt x="331320" y="137634"/>
                    <a:pt x="331320" y="157058"/>
                  </a:cubicBezTo>
                  <a:lnTo>
                    <a:pt x="331320" y="324661"/>
                  </a:lnTo>
                  <a:lnTo>
                    <a:pt x="209226" y="324661"/>
                  </a:lnTo>
                  <a:lnTo>
                    <a:pt x="209226" y="159833"/>
                  </a:lnTo>
                  <a:cubicBezTo>
                    <a:pt x="209226" y="138189"/>
                    <a:pt x="205896" y="122650"/>
                    <a:pt x="199236" y="113215"/>
                  </a:cubicBezTo>
                  <a:cubicBezTo>
                    <a:pt x="192576" y="103780"/>
                    <a:pt x="181477" y="99341"/>
                    <a:pt x="165938" y="99341"/>
                  </a:cubicBezTo>
                  <a:cubicBezTo>
                    <a:pt x="152063" y="99341"/>
                    <a:pt x="141519" y="104335"/>
                    <a:pt x="134304" y="113770"/>
                  </a:cubicBezTo>
                  <a:cubicBezTo>
                    <a:pt x="127089" y="123205"/>
                    <a:pt x="123760" y="137079"/>
                    <a:pt x="123760" y="155393"/>
                  </a:cubicBezTo>
                  <a:lnTo>
                    <a:pt x="123760" y="325216"/>
                  </a:lnTo>
                  <a:lnTo>
                    <a:pt x="0" y="325216"/>
                  </a:lnTo>
                  <a:close/>
                </a:path>
              </a:pathLst>
            </a:custGeom>
            <a:solidFill>
              <a:srgbClr val="676767"/>
            </a:solidFill>
            <a:ln w="5547" cap="flat">
              <a:noFill/>
              <a:prstDash val="solid"/>
              <a:miter/>
            </a:ln>
          </p:spPr>
          <p:txBody>
            <a:bodyPr rtlCol="0" anchor="ctr"/>
            <a:lstStyle/>
            <a:p>
              <a:endParaRPr lang="en-US"/>
            </a:p>
          </p:txBody>
        </p:sp>
        <p:sp>
          <p:nvSpPr>
            <p:cNvPr id="68" name="Freihandform: Form 67">
              <a:extLst>
                <a:ext uri="{FF2B5EF4-FFF2-40B4-BE49-F238E27FC236}">
                  <a16:creationId xmlns:a16="http://schemas.microsoft.com/office/drawing/2014/main" id="{80D33C0B-A98E-4362-8A9B-F27F846CB301}"/>
                </a:ext>
              </a:extLst>
            </p:cNvPr>
            <p:cNvSpPr/>
            <p:nvPr/>
          </p:nvSpPr>
          <p:spPr>
            <a:xfrm>
              <a:off x="4395000" y="3297470"/>
              <a:ext cx="359624" cy="337425"/>
            </a:xfrm>
            <a:custGeom>
              <a:avLst/>
              <a:gdLst>
                <a:gd name="connsiteX0" fmla="*/ 349634 w 359624"/>
                <a:gd name="connsiteY0" fmla="*/ 233090 h 337425"/>
                <a:gd name="connsiteX1" fmla="*/ 175927 w 359624"/>
                <a:gd name="connsiteY1" fmla="*/ 337425 h 337425"/>
                <a:gd name="connsiteX2" fmla="*/ 0 w 359624"/>
                <a:gd name="connsiteY2" fmla="*/ 171487 h 337425"/>
                <a:gd name="connsiteX3" fmla="*/ 180922 w 359624"/>
                <a:gd name="connsiteY3" fmla="*/ 0 h 337425"/>
                <a:gd name="connsiteX4" fmla="*/ 359624 w 359624"/>
                <a:gd name="connsiteY4" fmla="*/ 188692 h 337425"/>
                <a:gd name="connsiteX5" fmla="*/ 359624 w 359624"/>
                <a:gd name="connsiteY5" fmla="*/ 196461 h 337425"/>
                <a:gd name="connsiteX6" fmla="*/ 124869 w 359624"/>
                <a:gd name="connsiteY6" fmla="*/ 196461 h 337425"/>
                <a:gd name="connsiteX7" fmla="*/ 183142 w 359624"/>
                <a:gd name="connsiteY7" fmla="*/ 259174 h 337425"/>
                <a:gd name="connsiteX8" fmla="*/ 229760 w 359624"/>
                <a:gd name="connsiteY8" fmla="*/ 233090 h 337425"/>
                <a:gd name="connsiteX9" fmla="*/ 349634 w 359624"/>
                <a:gd name="connsiteY9" fmla="*/ 233090 h 337425"/>
                <a:gd name="connsiteX10" fmla="*/ 236420 w 359624"/>
                <a:gd name="connsiteY10" fmla="*/ 133749 h 337425"/>
                <a:gd name="connsiteX11" fmla="*/ 179812 w 359624"/>
                <a:gd name="connsiteY11" fmla="*/ 74922 h 337425"/>
                <a:gd name="connsiteX12" fmla="*/ 125424 w 359624"/>
                <a:gd name="connsiteY12" fmla="*/ 133749 h 337425"/>
                <a:gd name="connsiteX13" fmla="*/ 236420 w 359624"/>
                <a:gd name="connsiteY13" fmla="*/ 133749 h 33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624" h="337425">
                  <a:moveTo>
                    <a:pt x="349634" y="233090"/>
                  </a:moveTo>
                  <a:cubicBezTo>
                    <a:pt x="332430" y="301352"/>
                    <a:pt x="273048" y="337425"/>
                    <a:pt x="175927" y="337425"/>
                  </a:cubicBezTo>
                  <a:cubicBezTo>
                    <a:pt x="67152" y="337425"/>
                    <a:pt x="0" y="271938"/>
                    <a:pt x="0" y="171487"/>
                  </a:cubicBezTo>
                  <a:cubicBezTo>
                    <a:pt x="0" y="66042"/>
                    <a:pt x="68817" y="0"/>
                    <a:pt x="180922" y="0"/>
                  </a:cubicBezTo>
                  <a:cubicBezTo>
                    <a:pt x="292472" y="0"/>
                    <a:pt x="359624" y="69927"/>
                    <a:pt x="359624" y="188692"/>
                  </a:cubicBezTo>
                  <a:cubicBezTo>
                    <a:pt x="359624" y="190912"/>
                    <a:pt x="359624" y="194241"/>
                    <a:pt x="359624" y="196461"/>
                  </a:cubicBezTo>
                  <a:lnTo>
                    <a:pt x="124869" y="196461"/>
                  </a:lnTo>
                  <a:cubicBezTo>
                    <a:pt x="125979" y="236975"/>
                    <a:pt x="147068" y="259174"/>
                    <a:pt x="183142" y="259174"/>
                  </a:cubicBezTo>
                  <a:cubicBezTo>
                    <a:pt x="207561" y="259174"/>
                    <a:pt x="224210" y="249739"/>
                    <a:pt x="229760" y="233090"/>
                  </a:cubicBezTo>
                  <a:lnTo>
                    <a:pt x="349634" y="233090"/>
                  </a:lnTo>
                  <a:close/>
                  <a:moveTo>
                    <a:pt x="236420" y="133749"/>
                  </a:moveTo>
                  <a:cubicBezTo>
                    <a:pt x="234200" y="94901"/>
                    <a:pt x="215330" y="74922"/>
                    <a:pt x="179812" y="74922"/>
                  </a:cubicBezTo>
                  <a:cubicBezTo>
                    <a:pt x="147068" y="74922"/>
                    <a:pt x="127089" y="96011"/>
                    <a:pt x="125424" y="133749"/>
                  </a:cubicBezTo>
                  <a:lnTo>
                    <a:pt x="236420" y="133749"/>
                  </a:lnTo>
                  <a:close/>
                </a:path>
              </a:pathLst>
            </a:custGeom>
            <a:solidFill>
              <a:srgbClr val="676767"/>
            </a:solidFill>
            <a:ln w="5547" cap="flat">
              <a:noFill/>
              <a:prstDash val="solid"/>
              <a:miter/>
            </a:ln>
          </p:spPr>
          <p:txBody>
            <a:bodyPr rtlCol="0" anchor="ctr"/>
            <a:lstStyle/>
            <a:p>
              <a:endParaRPr lang="en-US"/>
            </a:p>
          </p:txBody>
        </p:sp>
        <p:sp>
          <p:nvSpPr>
            <p:cNvPr id="69" name="Freihandform: Form 68">
              <a:extLst>
                <a:ext uri="{FF2B5EF4-FFF2-40B4-BE49-F238E27FC236}">
                  <a16:creationId xmlns:a16="http://schemas.microsoft.com/office/drawing/2014/main" id="{9A37EBA1-AA84-4B2F-8AD1-4741F9164122}"/>
                </a:ext>
              </a:extLst>
            </p:cNvPr>
            <p:cNvSpPr/>
            <p:nvPr/>
          </p:nvSpPr>
          <p:spPr>
            <a:xfrm>
              <a:off x="5368981" y="3300800"/>
              <a:ext cx="350189" cy="448975"/>
            </a:xfrm>
            <a:custGeom>
              <a:avLst/>
              <a:gdLst>
                <a:gd name="connsiteX0" fmla="*/ 0 w 350189"/>
                <a:gd name="connsiteY0" fmla="*/ 8325 h 448975"/>
                <a:gd name="connsiteX1" fmla="*/ 110995 w 350189"/>
                <a:gd name="connsiteY1" fmla="*/ 8325 h 448975"/>
                <a:gd name="connsiteX2" fmla="*/ 110995 w 350189"/>
                <a:gd name="connsiteY2" fmla="*/ 48838 h 448975"/>
                <a:gd name="connsiteX3" fmla="*/ 213111 w 350189"/>
                <a:gd name="connsiteY3" fmla="*/ 0 h 448975"/>
                <a:gd name="connsiteX4" fmla="*/ 350190 w 350189"/>
                <a:gd name="connsiteY4" fmla="*/ 166493 h 448975"/>
                <a:gd name="connsiteX5" fmla="*/ 210891 w 350189"/>
                <a:gd name="connsiteY5" fmla="*/ 333540 h 448975"/>
                <a:gd name="connsiteX6" fmla="*/ 122095 w 350189"/>
                <a:gd name="connsiteY6" fmla="*/ 293027 h 448975"/>
                <a:gd name="connsiteX7" fmla="*/ 122095 w 350189"/>
                <a:gd name="connsiteY7" fmla="*/ 448975 h 448975"/>
                <a:gd name="connsiteX8" fmla="*/ 555 w 350189"/>
                <a:gd name="connsiteY8" fmla="*/ 448975 h 448975"/>
                <a:gd name="connsiteX9" fmla="*/ 555 w 350189"/>
                <a:gd name="connsiteY9" fmla="*/ 8325 h 448975"/>
                <a:gd name="connsiteX10" fmla="*/ 174262 w 350189"/>
                <a:gd name="connsiteY10" fmla="*/ 93791 h 448975"/>
                <a:gd name="connsiteX11" fmla="*/ 121540 w 350189"/>
                <a:gd name="connsiteY11" fmla="*/ 166493 h 448975"/>
                <a:gd name="connsiteX12" fmla="*/ 173152 w 350189"/>
                <a:gd name="connsiteY12" fmla="*/ 237529 h 448975"/>
                <a:gd name="connsiteX13" fmla="*/ 224765 w 350189"/>
                <a:gd name="connsiteY13" fmla="*/ 166493 h 448975"/>
                <a:gd name="connsiteX14" fmla="*/ 174262 w 350189"/>
                <a:gd name="connsiteY14" fmla="*/ 93791 h 44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0189" h="448975">
                  <a:moveTo>
                    <a:pt x="0" y="8325"/>
                  </a:moveTo>
                  <a:lnTo>
                    <a:pt x="110995" y="8325"/>
                  </a:lnTo>
                  <a:lnTo>
                    <a:pt x="110995" y="48838"/>
                  </a:lnTo>
                  <a:cubicBezTo>
                    <a:pt x="135969" y="14984"/>
                    <a:pt x="167603" y="0"/>
                    <a:pt x="213111" y="0"/>
                  </a:cubicBezTo>
                  <a:cubicBezTo>
                    <a:pt x="293027" y="0"/>
                    <a:pt x="350190" y="64932"/>
                    <a:pt x="350190" y="166493"/>
                  </a:cubicBezTo>
                  <a:cubicBezTo>
                    <a:pt x="350190" y="269163"/>
                    <a:pt x="295247" y="333540"/>
                    <a:pt x="210891" y="333540"/>
                  </a:cubicBezTo>
                  <a:cubicBezTo>
                    <a:pt x="172597" y="333540"/>
                    <a:pt x="143739" y="321331"/>
                    <a:pt x="122095" y="293027"/>
                  </a:cubicBezTo>
                  <a:lnTo>
                    <a:pt x="122095" y="448975"/>
                  </a:lnTo>
                  <a:lnTo>
                    <a:pt x="555" y="448975"/>
                  </a:lnTo>
                  <a:lnTo>
                    <a:pt x="555" y="8325"/>
                  </a:lnTo>
                  <a:close/>
                  <a:moveTo>
                    <a:pt x="174262" y="93791"/>
                  </a:moveTo>
                  <a:cubicBezTo>
                    <a:pt x="137079" y="93791"/>
                    <a:pt x="121540" y="117100"/>
                    <a:pt x="121540" y="166493"/>
                  </a:cubicBezTo>
                  <a:cubicBezTo>
                    <a:pt x="121540" y="213666"/>
                    <a:pt x="138744" y="237529"/>
                    <a:pt x="173152" y="237529"/>
                  </a:cubicBezTo>
                  <a:cubicBezTo>
                    <a:pt x="207006" y="237529"/>
                    <a:pt x="224765" y="213666"/>
                    <a:pt x="224765" y="166493"/>
                  </a:cubicBezTo>
                  <a:cubicBezTo>
                    <a:pt x="224210" y="117100"/>
                    <a:pt x="208116" y="93791"/>
                    <a:pt x="174262" y="93791"/>
                  </a:cubicBezTo>
                  <a:close/>
                </a:path>
              </a:pathLst>
            </a:custGeom>
            <a:solidFill>
              <a:srgbClr val="676767"/>
            </a:solidFill>
            <a:ln w="5547" cap="flat">
              <a:noFill/>
              <a:prstDash val="solid"/>
              <a:miter/>
            </a:ln>
          </p:spPr>
          <p:txBody>
            <a:bodyPr rtlCol="0" anchor="ctr"/>
            <a:lstStyle/>
            <a:p>
              <a:endParaRPr lang="en-US"/>
            </a:p>
          </p:txBody>
        </p:sp>
        <p:sp>
          <p:nvSpPr>
            <p:cNvPr id="70" name="Freihandform: Form 69">
              <a:extLst>
                <a:ext uri="{FF2B5EF4-FFF2-40B4-BE49-F238E27FC236}">
                  <a16:creationId xmlns:a16="http://schemas.microsoft.com/office/drawing/2014/main" id="{02163009-6CDC-4E72-8A0C-B6146F043E4D}"/>
                </a:ext>
              </a:extLst>
            </p:cNvPr>
            <p:cNvSpPr/>
            <p:nvPr/>
          </p:nvSpPr>
          <p:spPr>
            <a:xfrm>
              <a:off x="5735820" y="3298025"/>
              <a:ext cx="355184" cy="336870"/>
            </a:xfrm>
            <a:custGeom>
              <a:avLst/>
              <a:gdLst>
                <a:gd name="connsiteX0" fmla="*/ 177592 w 355184"/>
                <a:gd name="connsiteY0" fmla="*/ 0 h 336870"/>
                <a:gd name="connsiteX1" fmla="*/ 355184 w 355184"/>
                <a:gd name="connsiteY1" fmla="*/ 168158 h 336870"/>
                <a:gd name="connsiteX2" fmla="*/ 177592 w 355184"/>
                <a:gd name="connsiteY2" fmla="*/ 336870 h 336870"/>
                <a:gd name="connsiteX3" fmla="*/ 0 w 355184"/>
                <a:gd name="connsiteY3" fmla="*/ 168158 h 336870"/>
                <a:gd name="connsiteX4" fmla="*/ 177592 w 355184"/>
                <a:gd name="connsiteY4" fmla="*/ 0 h 336870"/>
                <a:gd name="connsiteX5" fmla="*/ 177592 w 355184"/>
                <a:gd name="connsiteY5" fmla="*/ 249739 h 336870"/>
                <a:gd name="connsiteX6" fmla="*/ 229760 w 355184"/>
                <a:gd name="connsiteY6" fmla="*/ 168158 h 336870"/>
                <a:gd name="connsiteX7" fmla="*/ 177592 w 355184"/>
                <a:gd name="connsiteY7" fmla="*/ 87131 h 336870"/>
                <a:gd name="connsiteX8" fmla="*/ 125979 w 355184"/>
                <a:gd name="connsiteY8" fmla="*/ 168158 h 336870"/>
                <a:gd name="connsiteX9" fmla="*/ 177592 w 355184"/>
                <a:gd name="connsiteY9" fmla="*/ 249739 h 336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184" h="336870">
                  <a:moveTo>
                    <a:pt x="177592" y="0"/>
                  </a:moveTo>
                  <a:cubicBezTo>
                    <a:pt x="288587" y="0"/>
                    <a:pt x="355184" y="63822"/>
                    <a:pt x="355184" y="168158"/>
                  </a:cubicBezTo>
                  <a:cubicBezTo>
                    <a:pt x="355184" y="272493"/>
                    <a:pt x="288032" y="336870"/>
                    <a:pt x="177592" y="336870"/>
                  </a:cubicBezTo>
                  <a:cubicBezTo>
                    <a:pt x="66597" y="336870"/>
                    <a:pt x="0" y="272493"/>
                    <a:pt x="0" y="168158"/>
                  </a:cubicBezTo>
                  <a:cubicBezTo>
                    <a:pt x="0" y="63822"/>
                    <a:pt x="67152" y="0"/>
                    <a:pt x="177592" y="0"/>
                  </a:cubicBezTo>
                  <a:close/>
                  <a:moveTo>
                    <a:pt x="177592" y="249739"/>
                  </a:moveTo>
                  <a:cubicBezTo>
                    <a:pt x="215330" y="249739"/>
                    <a:pt x="229760" y="223655"/>
                    <a:pt x="229760" y="168158"/>
                  </a:cubicBezTo>
                  <a:cubicBezTo>
                    <a:pt x="229760" y="112660"/>
                    <a:pt x="215330" y="87131"/>
                    <a:pt x="177592" y="87131"/>
                  </a:cubicBezTo>
                  <a:cubicBezTo>
                    <a:pt x="139854" y="87131"/>
                    <a:pt x="125979" y="112660"/>
                    <a:pt x="125979" y="168158"/>
                  </a:cubicBezTo>
                  <a:cubicBezTo>
                    <a:pt x="126534" y="223655"/>
                    <a:pt x="139854" y="249739"/>
                    <a:pt x="177592" y="249739"/>
                  </a:cubicBezTo>
                  <a:close/>
                </a:path>
              </a:pathLst>
            </a:custGeom>
            <a:solidFill>
              <a:srgbClr val="676767"/>
            </a:solidFill>
            <a:ln w="5547" cap="flat">
              <a:noFill/>
              <a:prstDash val="solid"/>
              <a:miter/>
            </a:ln>
          </p:spPr>
          <p:txBody>
            <a:bodyPr rtlCol="0" anchor="ctr"/>
            <a:lstStyle/>
            <a:p>
              <a:endParaRPr lang="en-US"/>
            </a:p>
          </p:txBody>
        </p:sp>
        <p:sp>
          <p:nvSpPr>
            <p:cNvPr id="71" name="Freihandform: Form 70">
              <a:extLst>
                <a:ext uri="{FF2B5EF4-FFF2-40B4-BE49-F238E27FC236}">
                  <a16:creationId xmlns:a16="http://schemas.microsoft.com/office/drawing/2014/main" id="{DD8703C0-45DC-42B6-913F-C43E9E7D8F09}"/>
                </a:ext>
              </a:extLst>
            </p:cNvPr>
            <p:cNvSpPr/>
            <p:nvPr/>
          </p:nvSpPr>
          <p:spPr>
            <a:xfrm>
              <a:off x="6084899" y="3309124"/>
              <a:ext cx="539436" cy="314671"/>
            </a:xfrm>
            <a:custGeom>
              <a:avLst/>
              <a:gdLst>
                <a:gd name="connsiteX0" fmla="*/ 0 w 539436"/>
                <a:gd name="connsiteY0" fmla="*/ 0 h 314671"/>
                <a:gd name="connsiteX1" fmla="*/ 123759 w 539436"/>
                <a:gd name="connsiteY1" fmla="*/ 0 h 314671"/>
                <a:gd name="connsiteX2" fmla="*/ 170378 w 539436"/>
                <a:gd name="connsiteY2" fmla="*/ 192022 h 314671"/>
                <a:gd name="connsiteX3" fmla="*/ 219215 w 539436"/>
                <a:gd name="connsiteY3" fmla="*/ 0 h 314671"/>
                <a:gd name="connsiteX4" fmla="*/ 324661 w 539436"/>
                <a:gd name="connsiteY4" fmla="*/ 0 h 314671"/>
                <a:gd name="connsiteX5" fmla="*/ 373498 w 539436"/>
                <a:gd name="connsiteY5" fmla="*/ 192022 h 314671"/>
                <a:gd name="connsiteX6" fmla="*/ 420116 w 539436"/>
                <a:gd name="connsiteY6" fmla="*/ 0 h 314671"/>
                <a:gd name="connsiteX7" fmla="*/ 539436 w 539436"/>
                <a:gd name="connsiteY7" fmla="*/ 0 h 314671"/>
                <a:gd name="connsiteX8" fmla="*/ 440650 w 539436"/>
                <a:gd name="connsiteY8" fmla="*/ 314671 h 314671"/>
                <a:gd name="connsiteX9" fmla="*/ 318001 w 539436"/>
                <a:gd name="connsiteY9" fmla="*/ 314671 h 314671"/>
                <a:gd name="connsiteX10" fmla="*/ 272493 w 539436"/>
                <a:gd name="connsiteY10" fmla="*/ 132639 h 314671"/>
                <a:gd name="connsiteX11" fmla="*/ 226985 w 539436"/>
                <a:gd name="connsiteY11" fmla="*/ 314671 h 314671"/>
                <a:gd name="connsiteX12" fmla="*/ 104335 w 539436"/>
                <a:gd name="connsiteY12" fmla="*/ 314671 h 314671"/>
                <a:gd name="connsiteX13" fmla="*/ 0 w 539436"/>
                <a:gd name="connsiteY13" fmla="*/ 0 h 314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9436" h="314671">
                  <a:moveTo>
                    <a:pt x="0" y="0"/>
                  </a:moveTo>
                  <a:lnTo>
                    <a:pt x="123759" y="0"/>
                  </a:lnTo>
                  <a:lnTo>
                    <a:pt x="170378" y="192022"/>
                  </a:lnTo>
                  <a:lnTo>
                    <a:pt x="219215" y="0"/>
                  </a:lnTo>
                  <a:lnTo>
                    <a:pt x="324661" y="0"/>
                  </a:lnTo>
                  <a:lnTo>
                    <a:pt x="373498" y="192022"/>
                  </a:lnTo>
                  <a:lnTo>
                    <a:pt x="420116" y="0"/>
                  </a:lnTo>
                  <a:lnTo>
                    <a:pt x="539436" y="0"/>
                  </a:lnTo>
                  <a:lnTo>
                    <a:pt x="440650" y="314671"/>
                  </a:lnTo>
                  <a:lnTo>
                    <a:pt x="318001" y="314671"/>
                  </a:lnTo>
                  <a:lnTo>
                    <a:pt x="272493" y="132639"/>
                  </a:lnTo>
                  <a:lnTo>
                    <a:pt x="226985" y="314671"/>
                  </a:lnTo>
                  <a:lnTo>
                    <a:pt x="104335" y="314671"/>
                  </a:lnTo>
                  <a:lnTo>
                    <a:pt x="0" y="0"/>
                  </a:lnTo>
                  <a:close/>
                </a:path>
              </a:pathLst>
            </a:custGeom>
            <a:solidFill>
              <a:srgbClr val="676767"/>
            </a:solidFill>
            <a:ln w="5547" cap="flat">
              <a:noFill/>
              <a:prstDash val="solid"/>
              <a:miter/>
            </a:ln>
          </p:spPr>
          <p:txBody>
            <a:bodyPr rtlCol="0" anchor="ctr"/>
            <a:lstStyle/>
            <a:p>
              <a:endParaRPr lang="en-US"/>
            </a:p>
          </p:txBody>
        </p:sp>
        <p:sp>
          <p:nvSpPr>
            <p:cNvPr id="72" name="Freihandform: Form 71">
              <a:extLst>
                <a:ext uri="{FF2B5EF4-FFF2-40B4-BE49-F238E27FC236}">
                  <a16:creationId xmlns:a16="http://schemas.microsoft.com/office/drawing/2014/main" id="{9733F160-0095-4B3F-BC03-55433D6287BA}"/>
                </a:ext>
              </a:extLst>
            </p:cNvPr>
            <p:cNvSpPr/>
            <p:nvPr/>
          </p:nvSpPr>
          <p:spPr>
            <a:xfrm>
              <a:off x="6618786" y="3297470"/>
              <a:ext cx="359623" cy="337425"/>
            </a:xfrm>
            <a:custGeom>
              <a:avLst/>
              <a:gdLst>
                <a:gd name="connsiteX0" fmla="*/ 349634 w 359623"/>
                <a:gd name="connsiteY0" fmla="*/ 233090 h 337425"/>
                <a:gd name="connsiteX1" fmla="*/ 175927 w 359623"/>
                <a:gd name="connsiteY1" fmla="*/ 337425 h 337425"/>
                <a:gd name="connsiteX2" fmla="*/ 0 w 359623"/>
                <a:gd name="connsiteY2" fmla="*/ 171487 h 337425"/>
                <a:gd name="connsiteX3" fmla="*/ 180922 w 359623"/>
                <a:gd name="connsiteY3" fmla="*/ 0 h 337425"/>
                <a:gd name="connsiteX4" fmla="*/ 359624 w 359623"/>
                <a:gd name="connsiteY4" fmla="*/ 188692 h 337425"/>
                <a:gd name="connsiteX5" fmla="*/ 359624 w 359623"/>
                <a:gd name="connsiteY5" fmla="*/ 196461 h 337425"/>
                <a:gd name="connsiteX6" fmla="*/ 124869 w 359623"/>
                <a:gd name="connsiteY6" fmla="*/ 196461 h 337425"/>
                <a:gd name="connsiteX7" fmla="*/ 183142 w 359623"/>
                <a:gd name="connsiteY7" fmla="*/ 259174 h 337425"/>
                <a:gd name="connsiteX8" fmla="*/ 229760 w 359623"/>
                <a:gd name="connsiteY8" fmla="*/ 233090 h 337425"/>
                <a:gd name="connsiteX9" fmla="*/ 349634 w 359623"/>
                <a:gd name="connsiteY9" fmla="*/ 233090 h 337425"/>
                <a:gd name="connsiteX10" fmla="*/ 236419 w 359623"/>
                <a:gd name="connsiteY10" fmla="*/ 133749 h 337425"/>
                <a:gd name="connsiteX11" fmla="*/ 179812 w 359623"/>
                <a:gd name="connsiteY11" fmla="*/ 74922 h 337425"/>
                <a:gd name="connsiteX12" fmla="*/ 125424 w 359623"/>
                <a:gd name="connsiteY12" fmla="*/ 133749 h 337425"/>
                <a:gd name="connsiteX13" fmla="*/ 236419 w 359623"/>
                <a:gd name="connsiteY13" fmla="*/ 133749 h 33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623" h="337425">
                  <a:moveTo>
                    <a:pt x="349634" y="233090"/>
                  </a:moveTo>
                  <a:cubicBezTo>
                    <a:pt x="332430" y="301352"/>
                    <a:pt x="273048" y="337425"/>
                    <a:pt x="175927" y="337425"/>
                  </a:cubicBezTo>
                  <a:cubicBezTo>
                    <a:pt x="67152" y="337425"/>
                    <a:pt x="0" y="271938"/>
                    <a:pt x="0" y="171487"/>
                  </a:cubicBezTo>
                  <a:cubicBezTo>
                    <a:pt x="0" y="66042"/>
                    <a:pt x="68817" y="0"/>
                    <a:pt x="180922" y="0"/>
                  </a:cubicBezTo>
                  <a:cubicBezTo>
                    <a:pt x="292472" y="0"/>
                    <a:pt x="359624" y="69927"/>
                    <a:pt x="359624" y="188692"/>
                  </a:cubicBezTo>
                  <a:cubicBezTo>
                    <a:pt x="359624" y="190912"/>
                    <a:pt x="359624" y="194241"/>
                    <a:pt x="359624" y="196461"/>
                  </a:cubicBezTo>
                  <a:lnTo>
                    <a:pt x="124869" y="196461"/>
                  </a:lnTo>
                  <a:cubicBezTo>
                    <a:pt x="125979" y="236975"/>
                    <a:pt x="146513" y="259174"/>
                    <a:pt x="183142" y="259174"/>
                  </a:cubicBezTo>
                  <a:cubicBezTo>
                    <a:pt x="207561" y="259174"/>
                    <a:pt x="224210" y="249739"/>
                    <a:pt x="229760" y="233090"/>
                  </a:cubicBezTo>
                  <a:lnTo>
                    <a:pt x="349634" y="233090"/>
                  </a:lnTo>
                  <a:close/>
                  <a:moveTo>
                    <a:pt x="236419" y="133749"/>
                  </a:moveTo>
                  <a:cubicBezTo>
                    <a:pt x="234200" y="94901"/>
                    <a:pt x="215330" y="74922"/>
                    <a:pt x="179812" y="74922"/>
                  </a:cubicBezTo>
                  <a:cubicBezTo>
                    <a:pt x="147068" y="74922"/>
                    <a:pt x="127089" y="96011"/>
                    <a:pt x="125424" y="133749"/>
                  </a:cubicBezTo>
                  <a:lnTo>
                    <a:pt x="236419" y="133749"/>
                  </a:lnTo>
                  <a:close/>
                </a:path>
              </a:pathLst>
            </a:custGeom>
            <a:solidFill>
              <a:srgbClr val="676767"/>
            </a:solidFill>
            <a:ln w="5547" cap="flat">
              <a:noFill/>
              <a:prstDash val="solid"/>
              <a:miter/>
            </a:ln>
          </p:spPr>
          <p:txBody>
            <a:bodyPr rtlCol="0" anchor="ctr"/>
            <a:lstStyle/>
            <a:p>
              <a:endParaRPr lang="en-US"/>
            </a:p>
          </p:txBody>
        </p:sp>
        <p:sp>
          <p:nvSpPr>
            <p:cNvPr id="73" name="Freihandform: Form 72">
              <a:extLst>
                <a:ext uri="{FF2B5EF4-FFF2-40B4-BE49-F238E27FC236}">
                  <a16:creationId xmlns:a16="http://schemas.microsoft.com/office/drawing/2014/main" id="{E70C7C95-CC18-4914-BB47-58D2615D02F3}"/>
                </a:ext>
              </a:extLst>
            </p:cNvPr>
            <p:cNvSpPr/>
            <p:nvPr/>
          </p:nvSpPr>
          <p:spPr>
            <a:xfrm>
              <a:off x="7011153" y="3300800"/>
              <a:ext cx="224210" cy="322995"/>
            </a:xfrm>
            <a:custGeom>
              <a:avLst/>
              <a:gdLst>
                <a:gd name="connsiteX0" fmla="*/ 0 w 224210"/>
                <a:gd name="connsiteY0" fmla="*/ 8325 h 322995"/>
                <a:gd name="connsiteX1" fmla="*/ 115435 w 224210"/>
                <a:gd name="connsiteY1" fmla="*/ 8325 h 322995"/>
                <a:gd name="connsiteX2" fmla="*/ 115435 w 224210"/>
                <a:gd name="connsiteY2" fmla="*/ 66042 h 322995"/>
                <a:gd name="connsiteX3" fmla="*/ 213111 w 224210"/>
                <a:gd name="connsiteY3" fmla="*/ 0 h 322995"/>
                <a:gd name="connsiteX4" fmla="*/ 224210 w 224210"/>
                <a:gd name="connsiteY4" fmla="*/ 0 h 322995"/>
                <a:gd name="connsiteX5" fmla="*/ 224210 w 224210"/>
                <a:gd name="connsiteY5" fmla="*/ 124869 h 322995"/>
                <a:gd name="connsiteX6" fmla="*/ 198681 w 224210"/>
                <a:gd name="connsiteY6" fmla="*/ 123205 h 322995"/>
                <a:gd name="connsiteX7" fmla="*/ 125424 w 224210"/>
                <a:gd name="connsiteY7" fmla="*/ 193686 h 322995"/>
                <a:gd name="connsiteX8" fmla="*/ 125424 w 224210"/>
                <a:gd name="connsiteY8" fmla="*/ 322996 h 322995"/>
                <a:gd name="connsiteX9" fmla="*/ 0 w 224210"/>
                <a:gd name="connsiteY9" fmla="*/ 322996 h 322995"/>
                <a:gd name="connsiteX10" fmla="*/ 0 w 224210"/>
                <a:gd name="connsiteY10" fmla="*/ 8325 h 32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4210" h="322995">
                  <a:moveTo>
                    <a:pt x="0" y="8325"/>
                  </a:moveTo>
                  <a:lnTo>
                    <a:pt x="115435" y="8325"/>
                  </a:lnTo>
                  <a:lnTo>
                    <a:pt x="115435" y="66042"/>
                  </a:lnTo>
                  <a:cubicBezTo>
                    <a:pt x="132084" y="19979"/>
                    <a:pt x="162053" y="0"/>
                    <a:pt x="213111" y="0"/>
                  </a:cubicBezTo>
                  <a:cubicBezTo>
                    <a:pt x="216440" y="0"/>
                    <a:pt x="220880" y="0"/>
                    <a:pt x="224210" y="0"/>
                  </a:cubicBezTo>
                  <a:lnTo>
                    <a:pt x="224210" y="124869"/>
                  </a:lnTo>
                  <a:cubicBezTo>
                    <a:pt x="214776" y="123760"/>
                    <a:pt x="206451" y="123205"/>
                    <a:pt x="198681" y="123205"/>
                  </a:cubicBezTo>
                  <a:cubicBezTo>
                    <a:pt x="148178" y="123205"/>
                    <a:pt x="125424" y="145404"/>
                    <a:pt x="125424" y="193686"/>
                  </a:cubicBezTo>
                  <a:lnTo>
                    <a:pt x="125424" y="322996"/>
                  </a:lnTo>
                  <a:lnTo>
                    <a:pt x="0" y="322996"/>
                  </a:lnTo>
                  <a:lnTo>
                    <a:pt x="0" y="8325"/>
                  </a:lnTo>
                  <a:close/>
                </a:path>
              </a:pathLst>
            </a:custGeom>
            <a:solidFill>
              <a:srgbClr val="676767"/>
            </a:solidFill>
            <a:ln w="5547" cap="flat">
              <a:noFill/>
              <a:prstDash val="solid"/>
              <a:miter/>
            </a:ln>
          </p:spPr>
          <p:txBody>
            <a:bodyPr rtlCol="0" anchor="ctr"/>
            <a:lstStyle/>
            <a:p>
              <a:endParaRPr lang="en-US"/>
            </a:p>
          </p:txBody>
        </p:sp>
      </p:grpSp>
      <p:sp>
        <p:nvSpPr>
          <p:cNvPr id="34" name="MIO_AGENDA_LAST_SLIDE" hidden="1">
            <a:extLst>
              <a:ext uri="{FF2B5EF4-FFF2-40B4-BE49-F238E27FC236}">
                <a16:creationId xmlns:a16="http://schemas.microsoft.com/office/drawing/2014/main" id="{B202F153-78E6-4268-A965-70853F9B6568}"/>
              </a:ext>
            </a:extLst>
          </p:cNvPr>
          <p:cNvSpPr/>
          <p:nvPr userDrawn="1">
            <p:custDataLst>
              <p:tags r:id="rId1"/>
            </p:custDataLst>
          </p:nvPr>
        </p:nvSpPr>
        <p:spPr>
          <a:xfrm>
            <a:off x="0" y="101600"/>
            <a:ext cx="12192000" cy="67564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329585172"/>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10;with picture">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9216FF1A-DC4D-4193-B093-8415568FD187}"/>
              </a:ext>
            </a:extLst>
          </p:cNvPr>
          <p:cNvSpPr>
            <a:spLocks noGrp="1"/>
          </p:cNvSpPr>
          <p:nvPr>
            <p:ph type="pic" sz="quarter" idx="13"/>
          </p:nvPr>
        </p:nvSpPr>
        <p:spPr>
          <a:xfrm>
            <a:off x="0" y="97201"/>
            <a:ext cx="12192000" cy="6760799"/>
          </a:xfrm>
          <a:solidFill>
            <a:schemeClr val="bg1"/>
          </a:solidFill>
        </p:spPr>
        <p:txBody>
          <a:bodyPr bIns="972000" anchor="ctr"/>
          <a:lstStyle>
            <a:lvl1pPr algn="ctr">
              <a:defRPr/>
            </a:lvl1pPr>
          </a:lstStyle>
          <a:p>
            <a:r>
              <a:rPr lang="en-US"/>
              <a:t>Click icon to add picture</a:t>
            </a:r>
          </a:p>
        </p:txBody>
      </p:sp>
      <p:sp>
        <p:nvSpPr>
          <p:cNvPr id="2" name="Title">
            <a:extLst>
              <a:ext uri="{FF2B5EF4-FFF2-40B4-BE49-F238E27FC236}">
                <a16:creationId xmlns:a16="http://schemas.microsoft.com/office/drawing/2014/main" id="{353E13F2-393C-4C28-8FBF-51B67475634E}"/>
              </a:ext>
            </a:extLst>
          </p:cNvPr>
          <p:cNvSpPr>
            <a:spLocks noGrp="1"/>
          </p:cNvSpPr>
          <p:nvPr>
            <p:ph type="title"/>
          </p:nvPr>
        </p:nvSpPr>
        <p:spPr>
          <a:xfrm>
            <a:off x="0" y="4110038"/>
            <a:ext cx="10178400" cy="971550"/>
          </a:xfrm>
          <a:solidFill>
            <a:srgbClr val="FFFFFF">
              <a:alpha val="80000"/>
            </a:srgbClr>
          </a:solidFill>
        </p:spPr>
        <p:txBody>
          <a:bodyPr lIns="457200" rIns="97200" bIns="97200" anchor="t"/>
          <a:lstStyle>
            <a:lvl1pPr>
              <a:defRPr sz="5400" baseline="0"/>
            </a:lvl1pPr>
          </a:lstStyle>
          <a:p>
            <a:r>
              <a:rPr lang="en-US"/>
              <a:t>Click to edit Master title style</a:t>
            </a:r>
            <a:endParaRPr lang="de-DE"/>
          </a:p>
        </p:txBody>
      </p:sp>
      <p:sp>
        <p:nvSpPr>
          <p:cNvPr id="3" name="Section number">
            <a:extLst>
              <a:ext uri="{FF2B5EF4-FFF2-40B4-BE49-F238E27FC236}">
                <a16:creationId xmlns:a16="http://schemas.microsoft.com/office/drawing/2014/main" id="{B1BD64D5-D9CB-4EEC-8DC6-67BB452D5B24}"/>
              </a:ext>
            </a:extLst>
          </p:cNvPr>
          <p:cNvSpPr>
            <a:spLocks noGrp="1"/>
          </p:cNvSpPr>
          <p:nvPr>
            <p:ph type="body" idx="1" hasCustomPrompt="1"/>
          </p:nvPr>
        </p:nvSpPr>
        <p:spPr>
          <a:xfrm>
            <a:off x="-1" y="2359800"/>
            <a:ext cx="2208001" cy="1555750"/>
          </a:xfrm>
          <a:prstGeom prst="rect">
            <a:avLst/>
          </a:prstGeom>
          <a:solidFill>
            <a:schemeClr val="bg1">
              <a:alpha val="80000"/>
            </a:schemeClr>
          </a:solidFill>
        </p:spPr>
        <p:txBody>
          <a:bodyPr lIns="457200" anchor="b">
            <a:noAutofit/>
          </a:bodyPr>
          <a:lstStyle>
            <a:lvl1pPr marL="0" indent="0">
              <a:buNone/>
              <a:defRPr sz="9600" b="1" i="0" baseline="0">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a:t>
            </a:r>
          </a:p>
        </p:txBody>
      </p:sp>
      <p:sp>
        <p:nvSpPr>
          <p:cNvPr id="9" name="Datumsplatzhalter 8" hidden="1">
            <a:extLst>
              <a:ext uri="{FF2B5EF4-FFF2-40B4-BE49-F238E27FC236}">
                <a16:creationId xmlns:a16="http://schemas.microsoft.com/office/drawing/2014/main" id="{E3160AFB-A001-46E5-812A-AED9FE265221}"/>
              </a:ext>
            </a:extLst>
          </p:cNvPr>
          <p:cNvSpPr>
            <a:spLocks noGrp="1"/>
          </p:cNvSpPr>
          <p:nvPr>
            <p:ph type="dt" sz="half" idx="14"/>
          </p:nvPr>
        </p:nvSpPr>
        <p:spPr/>
        <p:txBody>
          <a:bodyPr/>
          <a:lstStyle/>
          <a:p>
            <a:endParaRPr lang="en-US"/>
          </a:p>
        </p:txBody>
      </p:sp>
      <p:sp>
        <p:nvSpPr>
          <p:cNvPr id="10" name="Fußzeilenplatzhalter 9" hidden="1">
            <a:extLst>
              <a:ext uri="{FF2B5EF4-FFF2-40B4-BE49-F238E27FC236}">
                <a16:creationId xmlns:a16="http://schemas.microsoft.com/office/drawing/2014/main" id="{F4E9AD7E-F42A-4B85-B84D-209EDD40E6B1}"/>
              </a:ext>
            </a:extLst>
          </p:cNvPr>
          <p:cNvSpPr>
            <a:spLocks noGrp="1"/>
          </p:cNvSpPr>
          <p:nvPr>
            <p:ph type="ftr" sz="quarter" idx="15"/>
          </p:nvPr>
        </p:nvSpPr>
        <p:spPr/>
        <p:txBody>
          <a:bodyPr/>
          <a:lstStyle/>
          <a:p>
            <a:endParaRPr lang="en-US"/>
          </a:p>
        </p:txBody>
      </p:sp>
      <p:sp>
        <p:nvSpPr>
          <p:cNvPr id="11" name="Foliennummernplatzhalter 10" hidden="1">
            <a:extLst>
              <a:ext uri="{FF2B5EF4-FFF2-40B4-BE49-F238E27FC236}">
                <a16:creationId xmlns:a16="http://schemas.microsoft.com/office/drawing/2014/main" id="{AD2A8790-FA62-42F7-8E09-1C93064AB933}"/>
              </a:ext>
            </a:extLst>
          </p:cNvPr>
          <p:cNvSpPr>
            <a:spLocks noGrp="1"/>
          </p:cNvSpPr>
          <p:nvPr>
            <p:ph type="sldNum" sz="quarter" idx="16"/>
          </p:nvPr>
        </p:nvSpPr>
        <p:spPr/>
        <p:txBody>
          <a:bodyPr/>
          <a:lstStyle/>
          <a:p>
            <a:fld id="{895CC360-39D1-4D3A-B6C9-5AECCFD4809A}" type="slidenum">
              <a:rPr lang="en-US"/>
              <a:pPr/>
              <a:t>‹Nr.›</a:t>
            </a:fld>
            <a:endParaRPr lang="en-US"/>
          </a:p>
        </p:txBody>
      </p:sp>
    </p:spTree>
    <p:extLst>
      <p:ext uri="{BB962C8B-B14F-4D97-AF65-F5344CB8AC3E}">
        <p14:creationId xmlns:p14="http://schemas.microsoft.com/office/powerpoint/2010/main" val="1690321473"/>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hf sldNum="0" hdr="0" ftr="0" dt="0"/>
  <p:extLst>
    <p:ext uri="{DCECCB84-F9BA-43D5-87BE-67443E8EF086}">
      <p15:sldGuideLst xmlns:p15="http://schemas.microsoft.com/office/powerpoint/2012/main">
        <p15:guide id="1" orient="horz" pos="3201">
          <p15:clr>
            <a:srgbClr val="547EBF"/>
          </p15:clr>
        </p15:guide>
        <p15:guide id="2" orient="horz" pos="2589">
          <p15:clr>
            <a:srgbClr val="547EBF"/>
          </p15:clr>
        </p15:guide>
        <p15:guide id="3" orient="horz" pos="2466">
          <p15:clr>
            <a:srgbClr val="547EBF"/>
          </p15:clr>
        </p15:guide>
        <p15:guide id="4" orient="horz" pos="1486">
          <p15:clr>
            <a:srgbClr val="547EBF"/>
          </p15:clr>
        </p15:guide>
        <p15:guide id="5" pos="1391">
          <p15:clr>
            <a:srgbClr val="547EB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3709287-CD78-49B6-93E1-98209353989D}"/>
              </a:ext>
            </a:extLst>
          </p:cNvPr>
          <p:cNvSpPr>
            <a:spLocks noGrp="1"/>
          </p:cNvSpPr>
          <p:nvPr>
            <p:ph type="title"/>
          </p:nvPr>
        </p:nvSpPr>
        <p:spPr>
          <a:xfrm>
            <a:off x="458400" y="318601"/>
            <a:ext cx="11275200" cy="583200"/>
          </a:xfrm>
        </p:spPr>
        <p:txBody>
          <a:bodyPr/>
          <a:lstStyle/>
          <a:p>
            <a:r>
              <a:rPr lang="en-US"/>
              <a:t>Click to edit Master title style</a:t>
            </a:r>
          </a:p>
        </p:txBody>
      </p:sp>
    </p:spTree>
    <p:extLst>
      <p:ext uri="{BB962C8B-B14F-4D97-AF65-F5344CB8AC3E}">
        <p14:creationId xmlns:p14="http://schemas.microsoft.com/office/powerpoint/2010/main" val="20005487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Multiple Phone Mockup">
    <p:spTree>
      <p:nvGrpSpPr>
        <p:cNvPr id="1" name=""/>
        <p:cNvGrpSpPr/>
        <p:nvPr/>
      </p:nvGrpSpPr>
      <p:grpSpPr>
        <a:xfrm>
          <a:off x="0" y="0"/>
          <a:ext cx="0" cy="0"/>
          <a:chOff x="0" y="0"/>
          <a:chExt cx="0" cy="0"/>
        </a:xfrm>
      </p:grpSpPr>
      <p:sp>
        <p:nvSpPr>
          <p:cNvPr id="3" name="Picture Placeholder 29">
            <a:extLst>
              <a:ext uri="{FF2B5EF4-FFF2-40B4-BE49-F238E27FC236}">
                <a16:creationId xmlns:a16="http://schemas.microsoft.com/office/drawing/2014/main" id="{40E8243B-9C0F-8D44-B90E-09CD0C03AE48}"/>
              </a:ext>
            </a:extLst>
          </p:cNvPr>
          <p:cNvSpPr>
            <a:spLocks noGrp="1"/>
          </p:cNvSpPr>
          <p:nvPr>
            <p:ph type="pic" sz="quarter" idx="14" hasCustomPrompt="1"/>
          </p:nvPr>
        </p:nvSpPr>
        <p:spPr>
          <a:xfrm>
            <a:off x="4393835" y="2243667"/>
            <a:ext cx="1700731" cy="3663884"/>
          </a:xfrm>
          <a:custGeom>
            <a:avLst/>
            <a:gdLst>
              <a:gd name="connsiteX0" fmla="*/ 0 w 3867993"/>
              <a:gd name="connsiteY0" fmla="*/ 0 h 8367894"/>
              <a:gd name="connsiteX1" fmla="*/ 3867993 w 3867993"/>
              <a:gd name="connsiteY1" fmla="*/ 0 h 8367894"/>
              <a:gd name="connsiteX2" fmla="*/ 3867993 w 3867993"/>
              <a:gd name="connsiteY2" fmla="*/ 8367894 h 8367894"/>
              <a:gd name="connsiteX3" fmla="*/ 0 w 3867993"/>
              <a:gd name="connsiteY3" fmla="*/ 8367894 h 8367894"/>
            </a:gdLst>
            <a:ahLst/>
            <a:cxnLst>
              <a:cxn ang="0">
                <a:pos x="connsiteX0" y="connsiteY0"/>
              </a:cxn>
              <a:cxn ang="0">
                <a:pos x="connsiteX1" y="connsiteY1"/>
              </a:cxn>
              <a:cxn ang="0">
                <a:pos x="connsiteX2" y="connsiteY2"/>
              </a:cxn>
              <a:cxn ang="0">
                <a:pos x="connsiteX3" y="connsiteY3"/>
              </a:cxn>
            </a:cxnLst>
            <a:rect l="l" t="t" r="r" b="b"/>
            <a:pathLst>
              <a:path w="3867993" h="8367894">
                <a:moveTo>
                  <a:pt x="0" y="0"/>
                </a:moveTo>
                <a:lnTo>
                  <a:pt x="3867993" y="0"/>
                </a:lnTo>
                <a:lnTo>
                  <a:pt x="3867993" y="8367894"/>
                </a:lnTo>
                <a:lnTo>
                  <a:pt x="0" y="8367894"/>
                </a:lnTo>
                <a:close/>
              </a:path>
            </a:pathLst>
          </a:custGeom>
          <a:solidFill>
            <a:schemeClr val="bg2">
              <a:lumMod val="95000"/>
            </a:schemeClr>
          </a:solidFill>
        </p:spPr>
        <p:txBody>
          <a:bodyPr anchor="ctr">
            <a:normAutofit/>
          </a:bodyPr>
          <a:lstStyle>
            <a:lvl1pPr marL="0" indent="0" algn="ctr">
              <a:buNone/>
              <a:defRPr lang="en-US" sz="1200" dirty="0"/>
            </a:lvl1pPr>
          </a:lstStyle>
          <a:p>
            <a:pPr lvl="0"/>
            <a:r>
              <a:rPr lang="en-US" dirty="0"/>
              <a:t>Drag and drop picture</a:t>
            </a:r>
          </a:p>
        </p:txBody>
      </p:sp>
      <p:sp>
        <p:nvSpPr>
          <p:cNvPr id="4" name="Picture Placeholder 29">
            <a:extLst>
              <a:ext uri="{FF2B5EF4-FFF2-40B4-BE49-F238E27FC236}">
                <a16:creationId xmlns:a16="http://schemas.microsoft.com/office/drawing/2014/main" id="{C4B9E844-F2EE-0241-B786-D7A2563713D4}"/>
              </a:ext>
            </a:extLst>
          </p:cNvPr>
          <p:cNvSpPr>
            <a:spLocks noGrp="1"/>
          </p:cNvSpPr>
          <p:nvPr>
            <p:ph type="pic" sz="quarter" idx="15" hasCustomPrompt="1"/>
          </p:nvPr>
        </p:nvSpPr>
        <p:spPr>
          <a:xfrm>
            <a:off x="1003177" y="2237805"/>
            <a:ext cx="1700731" cy="3663884"/>
          </a:xfrm>
          <a:custGeom>
            <a:avLst/>
            <a:gdLst>
              <a:gd name="connsiteX0" fmla="*/ 0 w 3867993"/>
              <a:gd name="connsiteY0" fmla="*/ 0 h 8367894"/>
              <a:gd name="connsiteX1" fmla="*/ 3867993 w 3867993"/>
              <a:gd name="connsiteY1" fmla="*/ 0 h 8367894"/>
              <a:gd name="connsiteX2" fmla="*/ 3867993 w 3867993"/>
              <a:gd name="connsiteY2" fmla="*/ 8367894 h 8367894"/>
              <a:gd name="connsiteX3" fmla="*/ 0 w 3867993"/>
              <a:gd name="connsiteY3" fmla="*/ 8367894 h 8367894"/>
            </a:gdLst>
            <a:ahLst/>
            <a:cxnLst>
              <a:cxn ang="0">
                <a:pos x="connsiteX0" y="connsiteY0"/>
              </a:cxn>
              <a:cxn ang="0">
                <a:pos x="connsiteX1" y="connsiteY1"/>
              </a:cxn>
              <a:cxn ang="0">
                <a:pos x="connsiteX2" y="connsiteY2"/>
              </a:cxn>
              <a:cxn ang="0">
                <a:pos x="connsiteX3" y="connsiteY3"/>
              </a:cxn>
            </a:cxnLst>
            <a:rect l="l" t="t" r="r" b="b"/>
            <a:pathLst>
              <a:path w="3867993" h="8367894">
                <a:moveTo>
                  <a:pt x="0" y="0"/>
                </a:moveTo>
                <a:lnTo>
                  <a:pt x="3867993" y="0"/>
                </a:lnTo>
                <a:lnTo>
                  <a:pt x="3867993" y="8367894"/>
                </a:lnTo>
                <a:lnTo>
                  <a:pt x="0" y="8367894"/>
                </a:lnTo>
                <a:close/>
              </a:path>
            </a:pathLst>
          </a:custGeom>
          <a:solidFill>
            <a:schemeClr val="bg2">
              <a:lumMod val="95000"/>
            </a:schemeClr>
          </a:solidFill>
        </p:spPr>
        <p:txBody>
          <a:bodyPr anchor="ctr">
            <a:normAutofit/>
          </a:bodyPr>
          <a:lstStyle>
            <a:lvl1pPr marL="0" indent="0" algn="ctr">
              <a:buNone/>
              <a:defRPr lang="en-US" sz="1200" dirty="0"/>
            </a:lvl1pPr>
          </a:lstStyle>
          <a:p>
            <a:pPr lvl="0"/>
            <a:r>
              <a:rPr lang="en-US" dirty="0"/>
              <a:t>Drag and drop picture</a:t>
            </a:r>
          </a:p>
        </p:txBody>
      </p:sp>
      <p:sp>
        <p:nvSpPr>
          <p:cNvPr id="41" name="Picture Placeholder 29">
            <a:extLst>
              <a:ext uri="{FF2B5EF4-FFF2-40B4-BE49-F238E27FC236}">
                <a16:creationId xmlns:a16="http://schemas.microsoft.com/office/drawing/2014/main" id="{5BC7FBE8-AE1E-AD48-9D55-E40B106D075B}"/>
              </a:ext>
            </a:extLst>
          </p:cNvPr>
          <p:cNvSpPr>
            <a:spLocks noGrp="1"/>
          </p:cNvSpPr>
          <p:nvPr>
            <p:ph type="pic" sz="quarter" idx="13" hasCustomPrompt="1"/>
          </p:nvPr>
        </p:nvSpPr>
        <p:spPr>
          <a:xfrm>
            <a:off x="2497218" y="1809978"/>
            <a:ext cx="2103357" cy="4531262"/>
          </a:xfrm>
          <a:custGeom>
            <a:avLst/>
            <a:gdLst>
              <a:gd name="connsiteX0" fmla="*/ 0 w 3867993"/>
              <a:gd name="connsiteY0" fmla="*/ 0 h 8367894"/>
              <a:gd name="connsiteX1" fmla="*/ 3867993 w 3867993"/>
              <a:gd name="connsiteY1" fmla="*/ 0 h 8367894"/>
              <a:gd name="connsiteX2" fmla="*/ 3867993 w 3867993"/>
              <a:gd name="connsiteY2" fmla="*/ 8367894 h 8367894"/>
              <a:gd name="connsiteX3" fmla="*/ 0 w 3867993"/>
              <a:gd name="connsiteY3" fmla="*/ 8367894 h 8367894"/>
            </a:gdLst>
            <a:ahLst/>
            <a:cxnLst>
              <a:cxn ang="0">
                <a:pos x="connsiteX0" y="connsiteY0"/>
              </a:cxn>
              <a:cxn ang="0">
                <a:pos x="connsiteX1" y="connsiteY1"/>
              </a:cxn>
              <a:cxn ang="0">
                <a:pos x="connsiteX2" y="connsiteY2"/>
              </a:cxn>
              <a:cxn ang="0">
                <a:pos x="connsiteX3" y="connsiteY3"/>
              </a:cxn>
            </a:cxnLst>
            <a:rect l="l" t="t" r="r" b="b"/>
            <a:pathLst>
              <a:path w="3867993" h="8367894">
                <a:moveTo>
                  <a:pt x="0" y="0"/>
                </a:moveTo>
                <a:lnTo>
                  <a:pt x="3867993" y="0"/>
                </a:lnTo>
                <a:lnTo>
                  <a:pt x="3867993" y="8367894"/>
                </a:lnTo>
                <a:lnTo>
                  <a:pt x="0" y="8367894"/>
                </a:lnTo>
                <a:close/>
              </a:path>
            </a:pathLst>
          </a:custGeom>
          <a:solidFill>
            <a:schemeClr val="bg2">
              <a:lumMod val="95000"/>
            </a:schemeClr>
          </a:solidFill>
        </p:spPr>
        <p:txBody>
          <a:bodyPr anchor="ctr">
            <a:normAutofit/>
          </a:bodyPr>
          <a:lstStyle>
            <a:lvl1pPr marL="0" indent="0" algn="ctr">
              <a:buNone/>
              <a:defRPr lang="en-US" sz="1200" dirty="0"/>
            </a:lvl1pPr>
          </a:lstStyle>
          <a:p>
            <a:pPr lvl="0"/>
            <a:r>
              <a:rPr lang="en-US" dirty="0"/>
              <a:t>Drag and drop picture</a:t>
            </a:r>
          </a:p>
        </p:txBody>
      </p:sp>
    </p:spTree>
    <p:extLst>
      <p:ext uri="{BB962C8B-B14F-4D97-AF65-F5344CB8AC3E}">
        <p14:creationId xmlns:p14="http://schemas.microsoft.com/office/powerpoint/2010/main" val="19154867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FC96A954-3FF3-407B-A65C-604495F7AF69}"/>
              </a:ext>
            </a:extLst>
          </p:cNvPr>
          <p:cNvSpPr>
            <a:spLocks noGrp="1"/>
          </p:cNvSpPr>
          <p:nvPr>
            <p:ph type="title"/>
          </p:nvPr>
        </p:nvSpPr>
        <p:spPr>
          <a:xfrm>
            <a:off x="458400" y="318601"/>
            <a:ext cx="11275200" cy="583200"/>
          </a:xfrm>
        </p:spPr>
        <p:txBody>
          <a:bodyPr/>
          <a:lstStyle/>
          <a:p>
            <a:r>
              <a:rPr lang="en-US"/>
              <a:t>Click to edit Master title style</a:t>
            </a:r>
          </a:p>
        </p:txBody>
      </p:sp>
    </p:spTree>
    <p:extLst>
      <p:ext uri="{BB962C8B-B14F-4D97-AF65-F5344CB8AC3E}">
        <p14:creationId xmlns:p14="http://schemas.microsoft.com/office/powerpoint/2010/main" val="10185176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esktop Maockup">
    <p:spTree>
      <p:nvGrpSpPr>
        <p:cNvPr id="1" name=""/>
        <p:cNvGrpSpPr/>
        <p:nvPr/>
      </p:nvGrpSpPr>
      <p:grpSpPr>
        <a:xfrm>
          <a:off x="0" y="0"/>
          <a:ext cx="0" cy="0"/>
          <a:chOff x="0" y="0"/>
          <a:chExt cx="0" cy="0"/>
        </a:xfrm>
      </p:grpSpPr>
      <p:sp>
        <p:nvSpPr>
          <p:cNvPr id="4" name="Picture Placeholder 10">
            <a:extLst>
              <a:ext uri="{FF2B5EF4-FFF2-40B4-BE49-F238E27FC236}">
                <a16:creationId xmlns:a16="http://schemas.microsoft.com/office/drawing/2014/main" id="{75AC599F-D966-1244-8682-69358B7539F4}"/>
              </a:ext>
            </a:extLst>
          </p:cNvPr>
          <p:cNvSpPr>
            <a:spLocks noGrp="1"/>
          </p:cNvSpPr>
          <p:nvPr>
            <p:ph type="pic" sz="quarter" idx="10" hasCustomPrompt="1"/>
          </p:nvPr>
        </p:nvSpPr>
        <p:spPr>
          <a:xfrm>
            <a:off x="-5078" y="1811932"/>
            <a:ext cx="6083389" cy="3478818"/>
          </a:xfrm>
          <a:custGeom>
            <a:avLst/>
            <a:gdLst>
              <a:gd name="connsiteX0" fmla="*/ 0 w 3867993"/>
              <a:gd name="connsiteY0" fmla="*/ 0 h 8367894"/>
              <a:gd name="connsiteX1" fmla="*/ 3867993 w 3867993"/>
              <a:gd name="connsiteY1" fmla="*/ 0 h 8367894"/>
              <a:gd name="connsiteX2" fmla="*/ 3867993 w 3867993"/>
              <a:gd name="connsiteY2" fmla="*/ 8367894 h 8367894"/>
              <a:gd name="connsiteX3" fmla="*/ 0 w 3867993"/>
              <a:gd name="connsiteY3" fmla="*/ 8367894 h 8367894"/>
            </a:gdLst>
            <a:ahLst/>
            <a:cxnLst>
              <a:cxn ang="0">
                <a:pos x="connsiteX0" y="connsiteY0"/>
              </a:cxn>
              <a:cxn ang="0">
                <a:pos x="connsiteX1" y="connsiteY1"/>
              </a:cxn>
              <a:cxn ang="0">
                <a:pos x="connsiteX2" y="connsiteY2"/>
              </a:cxn>
              <a:cxn ang="0">
                <a:pos x="connsiteX3" y="connsiteY3"/>
              </a:cxn>
            </a:cxnLst>
            <a:rect l="l" t="t" r="r" b="b"/>
            <a:pathLst>
              <a:path w="3867993" h="8367894">
                <a:moveTo>
                  <a:pt x="0" y="0"/>
                </a:moveTo>
                <a:lnTo>
                  <a:pt x="3867993" y="0"/>
                </a:lnTo>
                <a:lnTo>
                  <a:pt x="3867993" y="8367894"/>
                </a:lnTo>
                <a:lnTo>
                  <a:pt x="0" y="8367894"/>
                </a:lnTo>
                <a:close/>
              </a:path>
            </a:pathLst>
          </a:custGeom>
          <a:solidFill>
            <a:schemeClr val="bg2">
              <a:lumMod val="95000"/>
            </a:schemeClr>
          </a:solidFill>
        </p:spPr>
        <p:txBody>
          <a:bodyPr anchor="ctr">
            <a:normAutofit/>
          </a:bodyPr>
          <a:lstStyle>
            <a:lvl1pPr marL="0" indent="0" algn="ctr">
              <a:buNone/>
              <a:defRPr lang="en-US" sz="1200" dirty="0"/>
            </a:lvl1pPr>
          </a:lstStyle>
          <a:p>
            <a:pPr lvl="0"/>
            <a:r>
              <a:rPr lang="en-US" dirty="0"/>
              <a:t>Drag and drop picture</a:t>
            </a:r>
          </a:p>
        </p:txBody>
      </p:sp>
    </p:spTree>
    <p:extLst>
      <p:ext uri="{BB962C8B-B14F-4D97-AF65-F5344CB8AC3E}">
        <p14:creationId xmlns:p14="http://schemas.microsoft.com/office/powerpoint/2010/main" val="22051293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Only Picture right">
    <p:spTree>
      <p:nvGrpSpPr>
        <p:cNvPr id="1" name=""/>
        <p:cNvGrpSpPr/>
        <p:nvPr/>
      </p:nvGrpSpPr>
      <p:grpSpPr>
        <a:xfrm>
          <a:off x="0" y="0"/>
          <a:ext cx="0" cy="0"/>
          <a:chOff x="0" y="0"/>
          <a:chExt cx="0" cy="0"/>
        </a:xfrm>
      </p:grpSpPr>
      <p:sp>
        <p:nvSpPr>
          <p:cNvPr id="6" name="Picture placeholder">
            <a:extLst>
              <a:ext uri="{FF2B5EF4-FFF2-40B4-BE49-F238E27FC236}">
                <a16:creationId xmlns:a16="http://schemas.microsoft.com/office/drawing/2014/main" id="{E315226F-C453-47CF-B99F-4A0FB92B5325}"/>
              </a:ext>
            </a:extLst>
          </p:cNvPr>
          <p:cNvSpPr>
            <a:spLocks noGrp="1"/>
          </p:cNvSpPr>
          <p:nvPr>
            <p:ph type="pic" sz="quarter" idx="14"/>
          </p:nvPr>
        </p:nvSpPr>
        <p:spPr>
          <a:xfrm>
            <a:off x="4346400" y="97201"/>
            <a:ext cx="7845600" cy="6760799"/>
          </a:xfrm>
          <a:solidFill>
            <a:schemeClr val="bg1"/>
          </a:solidFill>
        </p:spPr>
        <p:txBody>
          <a:bodyPr vert="horz" wrap="square" lIns="0" tIns="0" rIns="0" bIns="756000" rtlCol="0" anchor="ctr">
            <a:noAutofit/>
          </a:bodyPr>
          <a:lstStyle>
            <a:lvl1pPr algn="ctr">
              <a:defRPr lang="en-US"/>
            </a:lvl1pPr>
          </a:lstStyle>
          <a:p>
            <a:pPr lvl="0" algn="ctr"/>
            <a:endParaRPr lang="en-US"/>
          </a:p>
        </p:txBody>
      </p:sp>
      <p:sp>
        <p:nvSpPr>
          <p:cNvPr id="3" name="Datumsplatzhalter 2">
            <a:extLst>
              <a:ext uri="{FF2B5EF4-FFF2-40B4-BE49-F238E27FC236}">
                <a16:creationId xmlns:a16="http://schemas.microsoft.com/office/drawing/2014/main" id="{379A447B-072B-467D-8989-61AA4165F1B4}"/>
              </a:ext>
            </a:extLst>
          </p:cNvPr>
          <p:cNvSpPr>
            <a:spLocks noGrp="1"/>
          </p:cNvSpPr>
          <p:nvPr>
            <p:ph type="dt" sz="half" idx="10"/>
          </p:nvPr>
        </p:nvSpPr>
        <p:spPr/>
        <p:txBody>
          <a:bodyPr/>
          <a:lstStyle/>
          <a:p>
            <a:endParaRPr lang="de-DE"/>
          </a:p>
        </p:txBody>
      </p:sp>
      <p:sp>
        <p:nvSpPr>
          <p:cNvPr id="4" name="Fußzeilenplatzhalter 3">
            <a:extLst>
              <a:ext uri="{FF2B5EF4-FFF2-40B4-BE49-F238E27FC236}">
                <a16:creationId xmlns:a16="http://schemas.microsoft.com/office/drawing/2014/main" id="{3E1EF901-ED0B-477E-8615-A9FF71AEFAE1}"/>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F18DB9C7-D4EB-4783-AA70-496D80AD2493}"/>
              </a:ext>
            </a:extLst>
          </p:cNvPr>
          <p:cNvSpPr>
            <a:spLocks noGrp="1"/>
          </p:cNvSpPr>
          <p:nvPr>
            <p:ph type="sldNum" sz="quarter" idx="12"/>
          </p:nvPr>
        </p:nvSpPr>
        <p:spPr/>
        <p:txBody>
          <a:bodyPr/>
          <a:lstStyle/>
          <a:p>
            <a:fld id="{895CC360-39D1-4D3A-B6C9-5AECCFD4809A}" type="slidenum">
              <a:rPr lang="de-DE" smtClean="0"/>
              <a:pPr/>
              <a:t>‹Nr.›</a:t>
            </a:fld>
            <a:endParaRPr lang="de-DE"/>
          </a:p>
        </p:txBody>
      </p:sp>
      <p:sp>
        <p:nvSpPr>
          <p:cNvPr id="7" name="MIO_VALID_LAYOUT" hidden="1">
            <a:extLst>
              <a:ext uri="{FF2B5EF4-FFF2-40B4-BE49-F238E27FC236}">
                <a16:creationId xmlns:a16="http://schemas.microsoft.com/office/drawing/2014/main" id="{A3217262-64D2-413C-9813-A592A32A5003}"/>
              </a:ext>
            </a:extLst>
          </p:cNvPr>
          <p:cNvSpPr/>
          <p:nvPr userDrawn="1"/>
        </p:nvSpPr>
        <p:spPr>
          <a:xfrm>
            <a:off x="11830800" y="97201"/>
            <a:ext cx="221887" cy="221887"/>
          </a:xfrm>
          <a:prstGeom prst="noSmoking">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de-DE" sz="1600">
              <a:solidFill>
                <a:schemeClr val="tx1"/>
              </a:solidFill>
            </a:endParaRPr>
          </a:p>
        </p:txBody>
      </p:sp>
      <p:sp>
        <p:nvSpPr>
          <p:cNvPr id="8" name="Rectangle 7" hidden="1">
            <a:extLst>
              <a:ext uri="{FF2B5EF4-FFF2-40B4-BE49-F238E27FC236}">
                <a16:creationId xmlns:a16="http://schemas.microsoft.com/office/drawing/2014/main" id="{FFD47779-3FF5-4126-AA72-5FE24CB7FF56}"/>
              </a:ext>
            </a:extLst>
          </p:cNvPr>
          <p:cNvSpPr/>
          <p:nvPr userDrawn="1">
            <p:custDataLst>
              <p:tags r:id="rId1"/>
            </p:custDataLst>
          </p:nvPr>
        </p:nvSpPr>
        <p:spPr>
          <a:xfrm>
            <a:off x="-66675" y="97201"/>
            <a:ext cx="12363450" cy="6836999"/>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3770277183"/>
      </p:ext>
    </p:extLst>
  </p:cSld>
  <p:clrMapOvr>
    <a:masterClrMapping/>
  </p:clrMapOvr>
  <p:hf sldNum="0" hdr="0" ftr="0" dt="0"/>
  <p:extLst>
    <p:ext uri="{DCECCB84-F9BA-43D5-87BE-67443E8EF086}">
      <p15:sldGuideLst xmlns:p15="http://schemas.microsoft.com/office/powerpoint/2012/main">
        <p15:guide id="1" pos="2493">
          <p15:clr>
            <a:srgbClr val="547EBF"/>
          </p15:clr>
        </p15:guide>
        <p15:guide id="2" pos="289">
          <p15:clr>
            <a:srgbClr val="547EBF"/>
          </p15:clr>
        </p15:guide>
        <p15:guide id="3" pos="2738">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xAndMedia">
  <p:cSld name="Statement right&#10;with pictur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8DA59A2-B45F-4067-8FD9-D1BEC70D1968}"/>
              </a:ext>
            </a:extLst>
          </p:cNvPr>
          <p:cNvSpPr>
            <a:spLocks noGrp="1"/>
          </p:cNvSpPr>
          <p:nvPr>
            <p:ph type="title"/>
          </p:nvPr>
        </p:nvSpPr>
        <p:spPr>
          <a:xfrm>
            <a:off x="8234399" y="318600"/>
            <a:ext cx="3499200" cy="2624399"/>
          </a:xfrm>
        </p:spPr>
        <p:txBody>
          <a:bodyPr anchor="b"/>
          <a:lstStyle/>
          <a:p>
            <a:r>
              <a:rPr lang="de-DE"/>
              <a:t>Mastertitelformat bearbeiten</a:t>
            </a:r>
            <a:endParaRPr lang="en-US"/>
          </a:p>
        </p:txBody>
      </p:sp>
      <p:sp>
        <p:nvSpPr>
          <p:cNvPr id="7" name="Text placeholder">
            <a:extLst>
              <a:ext uri="{FF2B5EF4-FFF2-40B4-BE49-F238E27FC236}">
                <a16:creationId xmlns:a16="http://schemas.microsoft.com/office/drawing/2014/main" id="{27B26DE4-3790-4A19-B48A-06E2CC45DF8F}"/>
              </a:ext>
            </a:extLst>
          </p:cNvPr>
          <p:cNvSpPr>
            <a:spLocks noGrp="1"/>
          </p:cNvSpPr>
          <p:nvPr>
            <p:ph type="body" sz="quarter" idx="13"/>
          </p:nvPr>
        </p:nvSpPr>
        <p:spPr>
          <a:xfrm>
            <a:off x="8234750" y="2943225"/>
            <a:ext cx="3498850" cy="349885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8" name="Picture placeholder">
            <a:extLst>
              <a:ext uri="{FF2B5EF4-FFF2-40B4-BE49-F238E27FC236}">
                <a16:creationId xmlns:a16="http://schemas.microsoft.com/office/drawing/2014/main" id="{3175ECCA-4759-4237-AFD0-F9138BA22036}"/>
              </a:ext>
            </a:extLst>
          </p:cNvPr>
          <p:cNvSpPr>
            <a:spLocks noGrp="1"/>
          </p:cNvSpPr>
          <p:nvPr>
            <p:ph type="pic" sz="quarter" idx="14"/>
          </p:nvPr>
        </p:nvSpPr>
        <p:spPr>
          <a:xfrm>
            <a:off x="0" y="97201"/>
            <a:ext cx="7845600" cy="6760799"/>
          </a:xfrm>
          <a:solidFill>
            <a:schemeClr val="bg1"/>
          </a:solidFill>
        </p:spPr>
        <p:txBody>
          <a:bodyPr vert="horz" wrap="square" lIns="0" tIns="0" rIns="0" bIns="756000" rtlCol="0" anchor="ctr">
            <a:noAutofit/>
          </a:bodyPr>
          <a:lstStyle>
            <a:lvl1pPr algn="ctr">
              <a:defRPr lang="en-US"/>
            </a:lvl1pPr>
          </a:lstStyle>
          <a:p>
            <a:pPr lvl="0" algn="ctr"/>
            <a:endParaRPr lang="en-US"/>
          </a:p>
        </p:txBody>
      </p:sp>
      <p:sp>
        <p:nvSpPr>
          <p:cNvPr id="3" name="Datumsplatzhalter 2">
            <a:extLst>
              <a:ext uri="{FF2B5EF4-FFF2-40B4-BE49-F238E27FC236}">
                <a16:creationId xmlns:a16="http://schemas.microsoft.com/office/drawing/2014/main" id="{697E6C92-A38F-4452-8068-731F8799A028}"/>
              </a:ext>
            </a:extLst>
          </p:cNvPr>
          <p:cNvSpPr>
            <a:spLocks noGrp="1"/>
          </p:cNvSpPr>
          <p:nvPr>
            <p:ph type="dt" sz="half" idx="10"/>
          </p:nvPr>
        </p:nvSpPr>
        <p:spPr/>
        <p:txBody>
          <a:bodyPr/>
          <a:lstStyle/>
          <a:p>
            <a:endParaRPr lang="en-US"/>
          </a:p>
        </p:txBody>
      </p:sp>
      <p:sp>
        <p:nvSpPr>
          <p:cNvPr id="4" name="Fußzeilenplatzhalter 3">
            <a:extLst>
              <a:ext uri="{FF2B5EF4-FFF2-40B4-BE49-F238E27FC236}">
                <a16:creationId xmlns:a16="http://schemas.microsoft.com/office/drawing/2014/main" id="{16DC8248-A082-44C8-9946-CC6B843C34B9}"/>
              </a:ext>
            </a:extLst>
          </p:cNvPr>
          <p:cNvSpPr>
            <a:spLocks noGrp="1"/>
          </p:cNvSpPr>
          <p:nvPr>
            <p:ph type="ftr" sz="quarter" idx="11"/>
          </p:nvPr>
        </p:nvSpPr>
        <p:spPr/>
        <p:txBody>
          <a:bodyPr/>
          <a:lstStyle/>
          <a:p>
            <a:endParaRPr lang="en-US"/>
          </a:p>
        </p:txBody>
      </p:sp>
      <p:sp>
        <p:nvSpPr>
          <p:cNvPr id="5" name="Foliennummernplatzhalter 4">
            <a:extLst>
              <a:ext uri="{FF2B5EF4-FFF2-40B4-BE49-F238E27FC236}">
                <a16:creationId xmlns:a16="http://schemas.microsoft.com/office/drawing/2014/main" id="{13D7BCA5-D3B8-4083-9E26-AF818DE7523B}"/>
              </a:ext>
            </a:extLst>
          </p:cNvPr>
          <p:cNvSpPr>
            <a:spLocks noGrp="1"/>
          </p:cNvSpPr>
          <p:nvPr>
            <p:ph type="sldNum" sz="quarter" idx="12"/>
          </p:nvPr>
        </p:nvSpPr>
        <p:spPr/>
        <p:txBody>
          <a:bodyPr/>
          <a:lstStyle/>
          <a:p>
            <a:fld id="{895CC360-39D1-4D3A-B6C9-5AECCFD4809A}" type="slidenum">
              <a:rPr lang="en-US" smtClean="0"/>
              <a:pPr/>
              <a:t>‹Nr.›</a:t>
            </a:fld>
            <a:endParaRPr lang="en-US"/>
          </a:p>
        </p:txBody>
      </p:sp>
      <p:sp>
        <p:nvSpPr>
          <p:cNvPr id="6" name="MIO_VALID_LAYOUT" hidden="1">
            <a:extLst>
              <a:ext uri="{FF2B5EF4-FFF2-40B4-BE49-F238E27FC236}">
                <a16:creationId xmlns:a16="http://schemas.microsoft.com/office/drawing/2014/main" id="{DC03A179-220E-40A7-A006-3973684CC464}"/>
              </a:ext>
            </a:extLst>
          </p:cNvPr>
          <p:cNvSpPr/>
          <p:nvPr userDrawn="1"/>
        </p:nvSpPr>
        <p:spPr>
          <a:xfrm>
            <a:off x="11830800" y="97201"/>
            <a:ext cx="221887" cy="221887"/>
          </a:xfrm>
          <a:prstGeom prst="noSmoking">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de-DE" sz="1600">
              <a:solidFill>
                <a:schemeClr val="tx1"/>
              </a:solidFill>
            </a:endParaRPr>
          </a:p>
        </p:txBody>
      </p:sp>
      <p:sp>
        <p:nvSpPr>
          <p:cNvPr id="10" name="Rectangle 9" hidden="1">
            <a:extLst>
              <a:ext uri="{FF2B5EF4-FFF2-40B4-BE49-F238E27FC236}">
                <a16:creationId xmlns:a16="http://schemas.microsoft.com/office/drawing/2014/main" id="{39820187-861A-43BE-B27A-5DF717A212C3}"/>
              </a:ext>
            </a:extLst>
          </p:cNvPr>
          <p:cNvSpPr>
            <a:spLocks/>
          </p:cNvSpPr>
          <p:nvPr userDrawn="1">
            <p:custDataLst>
              <p:tags r:id="rId1"/>
            </p:custDataLst>
          </p:nvPr>
        </p:nvSpPr>
        <p:spPr>
          <a:xfrm>
            <a:off x="-26602" y="15874"/>
            <a:ext cx="12218601" cy="6842125"/>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1305655990"/>
      </p:ext>
    </p:extLst>
  </p:cSld>
  <p:clrMapOvr>
    <a:masterClrMapping/>
  </p:clrMapOvr>
  <p:hf sldNum="0" hdr="0" ftr="0" dt="0"/>
  <p:extLst>
    <p:ext uri="{DCECCB84-F9BA-43D5-87BE-67443E8EF086}">
      <p15:sldGuideLst xmlns:p15="http://schemas.microsoft.com/office/powerpoint/2012/main">
        <p15:guide id="1" pos="5187">
          <p15:clr>
            <a:srgbClr val="547EBF"/>
          </p15:clr>
        </p15:guide>
        <p15:guide id="2" orient="horz" pos="1854">
          <p15:clr>
            <a:srgbClr val="547EBF"/>
          </p15:clr>
        </p15:guide>
        <p15:guide id="3" pos="2729">
          <p15:clr>
            <a:srgbClr val="547EBF"/>
          </p15:clr>
        </p15:guide>
        <p15:guide id="4" pos="7391">
          <p15:clr>
            <a:srgbClr val="547EBF"/>
          </p15:clr>
        </p15:guide>
        <p15:guide id="5" orient="horz" pos="4058">
          <p15:clr>
            <a:srgbClr val="547EBF"/>
          </p15:clr>
        </p15:guide>
        <p15:guide id="7" orient="horz" pos="201">
          <p15:clr>
            <a:srgbClr val="547EBF"/>
          </p15:clr>
        </p15:guide>
        <p15:guide id="8" pos="4942">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Picture with&#10;title and text (left)">
    <p:spTree>
      <p:nvGrpSpPr>
        <p:cNvPr id="1" name=""/>
        <p:cNvGrpSpPr/>
        <p:nvPr/>
      </p:nvGrpSpPr>
      <p:grpSpPr>
        <a:xfrm>
          <a:off x="0" y="0"/>
          <a:ext cx="0" cy="0"/>
          <a:chOff x="0" y="0"/>
          <a:chExt cx="0" cy="0"/>
        </a:xfrm>
      </p:grpSpPr>
      <p:sp>
        <p:nvSpPr>
          <p:cNvPr id="6" name="Picture placeholder">
            <a:extLst>
              <a:ext uri="{FF2B5EF4-FFF2-40B4-BE49-F238E27FC236}">
                <a16:creationId xmlns:a16="http://schemas.microsoft.com/office/drawing/2014/main" id="{E315226F-C453-47CF-B99F-4A0FB92B5325}"/>
              </a:ext>
            </a:extLst>
          </p:cNvPr>
          <p:cNvSpPr>
            <a:spLocks noGrp="1"/>
          </p:cNvSpPr>
          <p:nvPr>
            <p:ph type="pic" sz="quarter" idx="14"/>
          </p:nvPr>
        </p:nvSpPr>
        <p:spPr>
          <a:xfrm>
            <a:off x="0" y="97201"/>
            <a:ext cx="12192000" cy="6760799"/>
          </a:xfrm>
          <a:solidFill>
            <a:schemeClr val="bg1"/>
          </a:solidFill>
        </p:spPr>
        <p:txBody>
          <a:bodyPr vert="horz" wrap="none" lIns="0" tIns="0" rIns="0" bIns="756000" rtlCol="0" anchor="ctr">
            <a:noAutofit/>
          </a:bodyPr>
          <a:lstStyle>
            <a:lvl1pPr algn="ctr">
              <a:defRPr lang="en-US"/>
            </a:lvl1pPr>
          </a:lstStyle>
          <a:p>
            <a:pPr lvl="0" algn="ctr"/>
            <a:endParaRPr lang="en-US"/>
          </a:p>
        </p:txBody>
      </p:sp>
      <p:sp>
        <p:nvSpPr>
          <p:cNvPr id="3" name="Datumsplatzhalter 2">
            <a:extLst>
              <a:ext uri="{FF2B5EF4-FFF2-40B4-BE49-F238E27FC236}">
                <a16:creationId xmlns:a16="http://schemas.microsoft.com/office/drawing/2014/main" id="{379A447B-072B-467D-8989-61AA4165F1B4}"/>
              </a:ext>
            </a:extLst>
          </p:cNvPr>
          <p:cNvSpPr>
            <a:spLocks noGrp="1"/>
          </p:cNvSpPr>
          <p:nvPr>
            <p:ph type="dt" sz="half" idx="10"/>
          </p:nvPr>
        </p:nvSpPr>
        <p:spPr/>
        <p:txBody>
          <a:bodyPr/>
          <a:lstStyle/>
          <a:p>
            <a:endParaRPr lang="de-DE"/>
          </a:p>
        </p:txBody>
      </p:sp>
      <p:sp>
        <p:nvSpPr>
          <p:cNvPr id="4" name="Fußzeilenplatzhalter 3">
            <a:extLst>
              <a:ext uri="{FF2B5EF4-FFF2-40B4-BE49-F238E27FC236}">
                <a16:creationId xmlns:a16="http://schemas.microsoft.com/office/drawing/2014/main" id="{3E1EF901-ED0B-477E-8615-A9FF71AEFAE1}"/>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F18DB9C7-D4EB-4783-AA70-496D80AD2493}"/>
              </a:ext>
            </a:extLst>
          </p:cNvPr>
          <p:cNvSpPr>
            <a:spLocks noGrp="1"/>
          </p:cNvSpPr>
          <p:nvPr>
            <p:ph type="sldNum" sz="quarter" idx="12"/>
          </p:nvPr>
        </p:nvSpPr>
        <p:spPr/>
        <p:txBody>
          <a:bodyPr/>
          <a:lstStyle/>
          <a:p>
            <a:fld id="{895CC360-39D1-4D3A-B6C9-5AECCFD4809A}" type="slidenum">
              <a:rPr lang="de-DE" smtClean="0"/>
              <a:pPr/>
              <a:t>‹Nr.›</a:t>
            </a:fld>
            <a:endParaRPr lang="de-DE"/>
          </a:p>
        </p:txBody>
      </p:sp>
      <p:sp>
        <p:nvSpPr>
          <p:cNvPr id="7" name="MIO_VALID_LAYOUT" hidden="1">
            <a:extLst>
              <a:ext uri="{FF2B5EF4-FFF2-40B4-BE49-F238E27FC236}">
                <a16:creationId xmlns:a16="http://schemas.microsoft.com/office/drawing/2014/main" id="{A3217262-64D2-413C-9813-A592A32A5003}"/>
              </a:ext>
            </a:extLst>
          </p:cNvPr>
          <p:cNvSpPr/>
          <p:nvPr userDrawn="1"/>
        </p:nvSpPr>
        <p:spPr>
          <a:xfrm>
            <a:off x="11830800" y="97201"/>
            <a:ext cx="221887" cy="221887"/>
          </a:xfrm>
          <a:prstGeom prst="noSmoking">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de-DE" sz="1600">
              <a:solidFill>
                <a:schemeClr val="tx1"/>
              </a:solidFill>
            </a:endParaRPr>
          </a:p>
        </p:txBody>
      </p:sp>
      <p:sp>
        <p:nvSpPr>
          <p:cNvPr id="2" name="Titel 1">
            <a:extLst>
              <a:ext uri="{FF2B5EF4-FFF2-40B4-BE49-F238E27FC236}">
                <a16:creationId xmlns:a16="http://schemas.microsoft.com/office/drawing/2014/main" id="{0AF9F702-5B0A-4547-B179-B09B0F1C7087}"/>
              </a:ext>
            </a:extLst>
          </p:cNvPr>
          <p:cNvSpPr>
            <a:spLocks noGrp="1"/>
          </p:cNvSpPr>
          <p:nvPr>
            <p:ph type="title"/>
          </p:nvPr>
        </p:nvSpPr>
        <p:spPr>
          <a:xfrm>
            <a:off x="0" y="3249201"/>
            <a:ext cx="5902325" cy="1206145"/>
          </a:xfrm>
          <a:solidFill>
            <a:srgbClr val="FFFFFF">
              <a:alpha val="80000"/>
            </a:srgbClr>
          </a:solidFill>
        </p:spPr>
        <p:txBody>
          <a:bodyPr vert="horz" wrap="square" lIns="457200" tIns="0" rIns="97200" bIns="97200" rtlCol="0" anchor="b" anchorCtr="0">
            <a:spAutoFit/>
          </a:bodyPr>
          <a:lstStyle>
            <a:lvl1pPr algn="l">
              <a:defRPr lang="de-DE" sz="3600"/>
            </a:lvl1pPr>
          </a:lstStyle>
          <a:p>
            <a:pPr lvl="0"/>
            <a:r>
              <a:rPr lang="de-DE"/>
              <a:t>Mastertitelformat bearbeiten</a:t>
            </a:r>
          </a:p>
        </p:txBody>
      </p:sp>
      <p:sp>
        <p:nvSpPr>
          <p:cNvPr id="9" name="Textplatzhalter 8">
            <a:extLst>
              <a:ext uri="{FF2B5EF4-FFF2-40B4-BE49-F238E27FC236}">
                <a16:creationId xmlns:a16="http://schemas.microsoft.com/office/drawing/2014/main" id="{5A1DC09E-1F47-4B1F-82CE-C478B1E3B33B}"/>
              </a:ext>
            </a:extLst>
          </p:cNvPr>
          <p:cNvSpPr>
            <a:spLocks noGrp="1"/>
          </p:cNvSpPr>
          <p:nvPr>
            <p:ph type="body" sz="quarter" idx="15"/>
          </p:nvPr>
        </p:nvSpPr>
        <p:spPr>
          <a:xfrm>
            <a:off x="0" y="4455347"/>
            <a:ext cx="5902325" cy="1625023"/>
          </a:xfrm>
          <a:solidFill>
            <a:schemeClr val="bg1">
              <a:alpha val="80000"/>
            </a:schemeClr>
          </a:solidFill>
        </p:spPr>
        <p:txBody>
          <a:bodyPr vert="horz" wrap="square" lIns="457200" tIns="97200" rIns="97200" bIns="97200" rtlCol="0">
            <a:spAutoFit/>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10" name="MIO_VALID_LAYOUT" hidden="1">
            <a:extLst>
              <a:ext uri="{FF2B5EF4-FFF2-40B4-BE49-F238E27FC236}">
                <a16:creationId xmlns:a16="http://schemas.microsoft.com/office/drawing/2014/main" id="{F5C82ACA-62A8-498E-A274-26B60C090407}"/>
              </a:ext>
            </a:extLst>
          </p:cNvPr>
          <p:cNvSpPr/>
          <p:nvPr userDrawn="1"/>
        </p:nvSpPr>
        <p:spPr>
          <a:xfrm>
            <a:off x="11983200" y="249601"/>
            <a:ext cx="221887" cy="221887"/>
          </a:xfrm>
          <a:prstGeom prst="noSmoking">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de-DE" sz="1600">
              <a:solidFill>
                <a:schemeClr val="tx1"/>
              </a:solidFill>
            </a:endParaRPr>
          </a:p>
        </p:txBody>
      </p:sp>
    </p:spTree>
    <p:extLst>
      <p:ext uri="{BB962C8B-B14F-4D97-AF65-F5344CB8AC3E}">
        <p14:creationId xmlns:p14="http://schemas.microsoft.com/office/powerpoint/2010/main" val="3886910068"/>
      </p:ext>
    </p:extLst>
  </p:cSld>
  <p:clrMapOvr>
    <a:masterClrMapping/>
  </p:clrMapOvr>
  <p:hf sldNum="0" hdr="0" ftr="0" dt="0"/>
  <p:extLst>
    <p:ext uri="{DCECCB84-F9BA-43D5-87BE-67443E8EF086}">
      <p15:sldGuideLst xmlns:p15="http://schemas.microsoft.com/office/powerpoint/2012/main">
        <p15:guide id="1" pos="3718">
          <p15:clr>
            <a:srgbClr val="547EBF"/>
          </p15:clr>
        </p15:guide>
        <p15:guide id="2" orient="horz" pos="2772">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ivider">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CDCADD61-C74B-40A1-96F4-049AD481F394}"/>
              </a:ext>
            </a:extLst>
          </p:cNvPr>
          <p:cNvSpPr>
            <a:spLocks noGrp="1"/>
          </p:cNvSpPr>
          <p:nvPr>
            <p:ph type="title"/>
          </p:nvPr>
        </p:nvSpPr>
        <p:spPr>
          <a:xfrm>
            <a:off x="458400" y="4110038"/>
            <a:ext cx="9720000" cy="971550"/>
          </a:xfrm>
        </p:spPr>
        <p:txBody>
          <a:bodyPr lIns="0" tIns="0" rIns="97200" bIns="97200"/>
          <a:lstStyle>
            <a:lvl1pPr algn="l" defTabSz="914400" rtl="0" eaLnBrk="1" latinLnBrk="0" hangingPunct="1">
              <a:lnSpc>
                <a:spcPct val="100000"/>
              </a:lnSpc>
              <a:spcBef>
                <a:spcPct val="0"/>
              </a:spcBef>
              <a:buNone/>
              <a:defRPr lang="en-US" sz="5400" b="0" i="0" kern="1200" spc="-100" baseline="0" dirty="0">
                <a:solidFill>
                  <a:schemeClr val="tx1"/>
                </a:solidFill>
                <a:latin typeface="+mj-lt"/>
                <a:ea typeface="+mj-ea"/>
                <a:cs typeface="+mj-cs"/>
              </a:defRPr>
            </a:lvl1pPr>
          </a:lstStyle>
          <a:p>
            <a:r>
              <a:rPr lang="en-US"/>
              <a:t>Click to edit Master title style</a:t>
            </a:r>
          </a:p>
        </p:txBody>
      </p:sp>
      <p:sp>
        <p:nvSpPr>
          <p:cNvPr id="6" name="Section number">
            <a:extLst>
              <a:ext uri="{FF2B5EF4-FFF2-40B4-BE49-F238E27FC236}">
                <a16:creationId xmlns:a16="http://schemas.microsoft.com/office/drawing/2014/main" id="{6B06C54C-29C7-412C-B0CE-94706D7D219F}"/>
              </a:ext>
            </a:extLst>
          </p:cNvPr>
          <p:cNvSpPr>
            <a:spLocks noGrp="1"/>
          </p:cNvSpPr>
          <p:nvPr>
            <p:ph type="body" idx="1" hasCustomPrompt="1"/>
          </p:nvPr>
        </p:nvSpPr>
        <p:spPr>
          <a:xfrm>
            <a:off x="458400" y="2359800"/>
            <a:ext cx="1749813" cy="1555750"/>
          </a:xfrm>
          <a:prstGeom prst="rect">
            <a:avLst/>
          </a:prstGeom>
          <a:noFill/>
        </p:spPr>
        <p:txBody>
          <a:bodyPr lIns="0" anchor="b">
            <a:noAutofit/>
          </a:bodyPr>
          <a:lstStyle>
            <a:lvl1pPr marL="0" indent="0">
              <a:buNone/>
              <a:defRPr sz="9600" b="1" i="0" baseline="0">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a:t>
            </a:r>
          </a:p>
        </p:txBody>
      </p:sp>
      <p:sp>
        <p:nvSpPr>
          <p:cNvPr id="3" name="Datumsplatzhalter 2">
            <a:extLst>
              <a:ext uri="{FF2B5EF4-FFF2-40B4-BE49-F238E27FC236}">
                <a16:creationId xmlns:a16="http://schemas.microsoft.com/office/drawing/2014/main" id="{9077C2D8-6511-40C2-9881-B168E1472F9A}"/>
              </a:ext>
            </a:extLst>
          </p:cNvPr>
          <p:cNvSpPr>
            <a:spLocks noGrp="1"/>
          </p:cNvSpPr>
          <p:nvPr>
            <p:ph type="dt" sz="half" idx="10"/>
          </p:nvPr>
        </p:nvSpPr>
        <p:spPr/>
        <p:txBody>
          <a:bodyPr/>
          <a:lstStyle/>
          <a:p>
            <a:endParaRPr lang="en-US"/>
          </a:p>
        </p:txBody>
      </p:sp>
      <p:sp>
        <p:nvSpPr>
          <p:cNvPr id="4" name="Fußzeilenplatzhalter 3">
            <a:extLst>
              <a:ext uri="{FF2B5EF4-FFF2-40B4-BE49-F238E27FC236}">
                <a16:creationId xmlns:a16="http://schemas.microsoft.com/office/drawing/2014/main" id="{6EC75488-7C9A-436F-8D24-4644ED82C6E4}"/>
              </a:ext>
            </a:extLst>
          </p:cNvPr>
          <p:cNvSpPr>
            <a:spLocks noGrp="1"/>
          </p:cNvSpPr>
          <p:nvPr>
            <p:ph type="ftr" sz="quarter" idx="11"/>
          </p:nvPr>
        </p:nvSpPr>
        <p:spPr/>
        <p:txBody>
          <a:bodyPr/>
          <a:lstStyle/>
          <a:p>
            <a:endParaRPr lang="en-US"/>
          </a:p>
        </p:txBody>
      </p:sp>
      <p:sp>
        <p:nvSpPr>
          <p:cNvPr id="5" name="Foliennummernplatzhalter 4">
            <a:extLst>
              <a:ext uri="{FF2B5EF4-FFF2-40B4-BE49-F238E27FC236}">
                <a16:creationId xmlns:a16="http://schemas.microsoft.com/office/drawing/2014/main" id="{C6465382-E7B6-43BE-AE10-6F1A156EDF66}"/>
              </a:ext>
            </a:extLst>
          </p:cNvPr>
          <p:cNvSpPr>
            <a:spLocks noGrp="1"/>
          </p:cNvSpPr>
          <p:nvPr>
            <p:ph type="sldNum" sz="quarter" idx="12"/>
          </p:nvPr>
        </p:nvSpPr>
        <p:spPr/>
        <p:txBody>
          <a:bodyPr/>
          <a:lstStyle/>
          <a:p>
            <a:fld id="{895CC360-39D1-4D3A-B6C9-5AECCFD4809A}" type="slidenum">
              <a:rPr lang="en-US"/>
              <a:pPr/>
              <a:t>‹Nr.›</a:t>
            </a:fld>
            <a:endParaRPr lang="en-US"/>
          </a:p>
        </p:txBody>
      </p:sp>
      <p:sp>
        <p:nvSpPr>
          <p:cNvPr id="7" name="Layoutschutz" hidden="1">
            <a:extLst>
              <a:ext uri="{FF2B5EF4-FFF2-40B4-BE49-F238E27FC236}">
                <a16:creationId xmlns:a16="http://schemas.microsoft.com/office/drawing/2014/main" id="{063C1AA5-C6ED-4218-9760-EBB45BB7C919}"/>
              </a:ext>
            </a:extLst>
          </p:cNvPr>
          <p:cNvSpPr/>
          <p:nvPr userDrawn="1">
            <p:custDataLst>
              <p:tags r:id="rId1"/>
            </p:custDataLst>
          </p:nvPr>
        </p:nvSpPr>
        <p:spPr>
          <a:xfrm>
            <a:off x="0" y="101600"/>
            <a:ext cx="12192000" cy="67564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24482283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hf sldNum="0" hdr="0" ftr="0" dt="0"/>
  <p:extLst>
    <p:ext uri="{DCECCB84-F9BA-43D5-87BE-67443E8EF086}">
      <p15:sldGuideLst xmlns:p15="http://schemas.microsoft.com/office/powerpoint/2012/main">
        <p15:guide id="1" orient="horz" pos="1486">
          <p15:clr>
            <a:srgbClr val="547EBF"/>
          </p15:clr>
        </p15:guide>
        <p15:guide id="2" orient="horz" pos="2466">
          <p15:clr>
            <a:srgbClr val="547EBF"/>
          </p15:clr>
        </p15:guide>
        <p15:guide id="3" orient="horz" pos="2589">
          <p15:clr>
            <a:srgbClr val="547EBF"/>
          </p15:clr>
        </p15:guide>
        <p15:guide id="4" orient="horz" pos="3201">
          <p15:clr>
            <a:srgbClr val="547EBF"/>
          </p15:clr>
        </p15:guide>
        <p15:guide id="5" pos="1391">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10;(white background)">
    <p:bg>
      <p:bgRef idx="1001">
        <a:schemeClr val="bg1"/>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C6D96D0-601C-4EF4-89A1-957805A84620}"/>
              </a:ext>
            </a:extLst>
          </p:cNvPr>
          <p:cNvSpPr>
            <a:spLocks noGrp="1"/>
          </p:cNvSpPr>
          <p:nvPr>
            <p:ph type="title"/>
          </p:nvPr>
        </p:nvSpPr>
        <p:spPr/>
        <p:txBody>
          <a:bodyPr/>
          <a:lstStyle/>
          <a:p>
            <a:r>
              <a:rPr lang="en-US"/>
              <a:t>Click to edit Master title style</a:t>
            </a:r>
            <a:endParaRPr lang="de-DE"/>
          </a:p>
        </p:txBody>
      </p:sp>
      <p:sp>
        <p:nvSpPr>
          <p:cNvPr id="6" name="Datumsplatzhalter 5" hidden="1">
            <a:extLst>
              <a:ext uri="{FF2B5EF4-FFF2-40B4-BE49-F238E27FC236}">
                <a16:creationId xmlns:a16="http://schemas.microsoft.com/office/drawing/2014/main" id="{3DA70D42-2270-48BE-A769-DECBB451B080}"/>
              </a:ext>
            </a:extLst>
          </p:cNvPr>
          <p:cNvSpPr>
            <a:spLocks noGrp="1"/>
          </p:cNvSpPr>
          <p:nvPr>
            <p:ph type="dt" sz="half" idx="10"/>
          </p:nvPr>
        </p:nvSpPr>
        <p:spPr/>
        <p:txBody>
          <a:bodyPr/>
          <a:lstStyle/>
          <a:p>
            <a:endParaRPr lang="en-US"/>
          </a:p>
        </p:txBody>
      </p:sp>
      <p:sp>
        <p:nvSpPr>
          <p:cNvPr id="7" name="Fußzeilenplatzhalter 6" hidden="1">
            <a:extLst>
              <a:ext uri="{FF2B5EF4-FFF2-40B4-BE49-F238E27FC236}">
                <a16:creationId xmlns:a16="http://schemas.microsoft.com/office/drawing/2014/main" id="{4294E9C2-A90D-4F0C-9F1C-DEDC85BEB70A}"/>
              </a:ext>
            </a:extLst>
          </p:cNvPr>
          <p:cNvSpPr>
            <a:spLocks noGrp="1"/>
          </p:cNvSpPr>
          <p:nvPr>
            <p:ph type="ftr" sz="quarter" idx="11"/>
          </p:nvPr>
        </p:nvSpPr>
        <p:spPr/>
        <p:txBody>
          <a:bodyPr/>
          <a:lstStyle/>
          <a:p>
            <a:endParaRPr lang="en-US"/>
          </a:p>
        </p:txBody>
      </p:sp>
      <p:sp>
        <p:nvSpPr>
          <p:cNvPr id="8" name="Foliennummernplatzhalter 7" hidden="1">
            <a:extLst>
              <a:ext uri="{FF2B5EF4-FFF2-40B4-BE49-F238E27FC236}">
                <a16:creationId xmlns:a16="http://schemas.microsoft.com/office/drawing/2014/main" id="{38C5FFCA-2161-4F74-8D09-AD7CE0DEF225}"/>
              </a:ext>
            </a:extLst>
          </p:cNvPr>
          <p:cNvSpPr>
            <a:spLocks noGrp="1"/>
          </p:cNvSpPr>
          <p:nvPr>
            <p:ph type="sldNum" sz="quarter" idx="12"/>
          </p:nvPr>
        </p:nvSpPr>
        <p:spPr/>
        <p:txBody>
          <a:bodyPr/>
          <a:lstStyle/>
          <a:p>
            <a:fld id="{895CC360-39D1-4D3A-B6C9-5AECCFD4809A}" type="slidenum">
              <a:rPr lang="en-US"/>
              <a:pPr/>
              <a:t>‹Nr.›</a:t>
            </a:fld>
            <a:endParaRPr lang="en-US"/>
          </a:p>
        </p:txBody>
      </p:sp>
      <p:sp>
        <p:nvSpPr>
          <p:cNvPr id="10" name="Layoutschutz" hidden="1">
            <a:extLst>
              <a:ext uri="{FF2B5EF4-FFF2-40B4-BE49-F238E27FC236}">
                <a16:creationId xmlns:a16="http://schemas.microsoft.com/office/drawing/2014/main" id="{9552A3A9-3B5B-49D3-B1ED-2F567F133A53}"/>
              </a:ext>
            </a:extLst>
          </p:cNvPr>
          <p:cNvSpPr/>
          <p:nvPr userDrawn="1">
            <p:custDataLst>
              <p:tags r:id="rId1"/>
            </p:custDataLst>
          </p:nvPr>
        </p:nvSpPr>
        <p:spPr>
          <a:xfrm>
            <a:off x="254000" y="1295400"/>
            <a:ext cx="11760200" cy="55626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951275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01">
          <p15:clr>
            <a:srgbClr val="547EBF"/>
          </p15:clr>
        </p15:guide>
        <p15:guide id="2" orient="horz" pos="568">
          <p15:clr>
            <a:srgbClr val="547EBF"/>
          </p15:clr>
        </p15:guide>
        <p15:guide id="3" orient="horz" pos="874">
          <p15:clr>
            <a:srgbClr val="547EBF"/>
          </p15:clr>
        </p15:guide>
        <p15:guide id="4" orient="horz" pos="4058">
          <p15:clr>
            <a:srgbClr val="547EBF"/>
          </p15:clr>
        </p15:guide>
        <p15:guide id="5" pos="289">
          <p15:clr>
            <a:srgbClr val="547EBF"/>
          </p15:clr>
        </p15:guide>
        <p15:guide id="6" pos="7391">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10;(grey background)">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C6D96D0-601C-4EF4-89A1-957805A84620}"/>
              </a:ext>
            </a:extLst>
          </p:cNvPr>
          <p:cNvSpPr>
            <a:spLocks noGrp="1"/>
          </p:cNvSpPr>
          <p:nvPr>
            <p:ph type="title"/>
          </p:nvPr>
        </p:nvSpPr>
        <p:spPr/>
        <p:txBody>
          <a:bodyPr/>
          <a:lstStyle/>
          <a:p>
            <a:r>
              <a:rPr lang="en-US"/>
              <a:t>Click to edit Master title style</a:t>
            </a:r>
            <a:endParaRPr lang="de-DE"/>
          </a:p>
        </p:txBody>
      </p:sp>
      <p:sp>
        <p:nvSpPr>
          <p:cNvPr id="6" name="Datumsplatzhalter 5" hidden="1">
            <a:extLst>
              <a:ext uri="{FF2B5EF4-FFF2-40B4-BE49-F238E27FC236}">
                <a16:creationId xmlns:a16="http://schemas.microsoft.com/office/drawing/2014/main" id="{3DA70D42-2270-48BE-A769-DECBB451B080}"/>
              </a:ext>
            </a:extLst>
          </p:cNvPr>
          <p:cNvSpPr>
            <a:spLocks noGrp="1"/>
          </p:cNvSpPr>
          <p:nvPr>
            <p:ph type="dt" sz="half" idx="10"/>
          </p:nvPr>
        </p:nvSpPr>
        <p:spPr/>
        <p:txBody>
          <a:bodyPr/>
          <a:lstStyle/>
          <a:p>
            <a:endParaRPr lang="en-US"/>
          </a:p>
        </p:txBody>
      </p:sp>
      <p:sp>
        <p:nvSpPr>
          <p:cNvPr id="7" name="Fußzeilenplatzhalter 6" hidden="1">
            <a:extLst>
              <a:ext uri="{FF2B5EF4-FFF2-40B4-BE49-F238E27FC236}">
                <a16:creationId xmlns:a16="http://schemas.microsoft.com/office/drawing/2014/main" id="{4294E9C2-A90D-4F0C-9F1C-DEDC85BEB70A}"/>
              </a:ext>
            </a:extLst>
          </p:cNvPr>
          <p:cNvSpPr>
            <a:spLocks noGrp="1"/>
          </p:cNvSpPr>
          <p:nvPr>
            <p:ph type="ftr" sz="quarter" idx="11"/>
          </p:nvPr>
        </p:nvSpPr>
        <p:spPr/>
        <p:txBody>
          <a:bodyPr/>
          <a:lstStyle/>
          <a:p>
            <a:endParaRPr lang="en-US"/>
          </a:p>
        </p:txBody>
      </p:sp>
      <p:sp>
        <p:nvSpPr>
          <p:cNvPr id="8" name="Foliennummernplatzhalter 7" hidden="1">
            <a:extLst>
              <a:ext uri="{FF2B5EF4-FFF2-40B4-BE49-F238E27FC236}">
                <a16:creationId xmlns:a16="http://schemas.microsoft.com/office/drawing/2014/main" id="{38C5FFCA-2161-4F74-8D09-AD7CE0DEF225}"/>
              </a:ext>
            </a:extLst>
          </p:cNvPr>
          <p:cNvSpPr>
            <a:spLocks noGrp="1"/>
          </p:cNvSpPr>
          <p:nvPr>
            <p:ph type="sldNum" sz="quarter" idx="12"/>
          </p:nvPr>
        </p:nvSpPr>
        <p:spPr/>
        <p:txBody>
          <a:bodyPr/>
          <a:lstStyle/>
          <a:p>
            <a:fld id="{895CC360-39D1-4D3A-B6C9-5AECCFD4809A}" type="slidenum">
              <a:rPr lang="en-US"/>
              <a:pPr/>
              <a:t>‹Nr.›</a:t>
            </a:fld>
            <a:endParaRPr lang="en-US"/>
          </a:p>
        </p:txBody>
      </p:sp>
      <p:sp>
        <p:nvSpPr>
          <p:cNvPr id="10" name="Layoutschutz" hidden="1">
            <a:extLst>
              <a:ext uri="{FF2B5EF4-FFF2-40B4-BE49-F238E27FC236}">
                <a16:creationId xmlns:a16="http://schemas.microsoft.com/office/drawing/2014/main" id="{96657572-7DD5-4FBD-9424-0C7DA1DA4BC3}"/>
              </a:ext>
            </a:extLst>
          </p:cNvPr>
          <p:cNvSpPr/>
          <p:nvPr userDrawn="1">
            <p:custDataLst>
              <p:tags r:id="rId1"/>
            </p:custDataLst>
          </p:nvPr>
        </p:nvSpPr>
        <p:spPr>
          <a:xfrm>
            <a:off x="254000" y="1295400"/>
            <a:ext cx="11760200" cy="55626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40877283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hf sldNum="0" hdr="0" ftr="0" dt="0"/>
  <p:extLst>
    <p:ext uri="{DCECCB84-F9BA-43D5-87BE-67443E8EF086}">
      <p15:sldGuideLst xmlns:p15="http://schemas.microsoft.com/office/powerpoint/2012/main">
        <p15:guide id="1" pos="289">
          <p15:clr>
            <a:srgbClr val="547EBF"/>
          </p15:clr>
        </p15:guide>
        <p15:guide id="2" pos="7391">
          <p15:clr>
            <a:srgbClr val="547EBF"/>
          </p15:clr>
        </p15:guide>
        <p15:guide id="3" orient="horz" pos="874">
          <p15:clr>
            <a:srgbClr val="547EBF"/>
          </p15:clr>
        </p15:guide>
        <p15:guide id="4" orient="horz" pos="4058">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10;and content">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71FD0A70-20FA-4139-8554-C480AEC81688}"/>
              </a:ext>
            </a:extLst>
          </p:cNvPr>
          <p:cNvSpPr>
            <a:spLocks noGrp="1"/>
          </p:cNvSpPr>
          <p:nvPr>
            <p:ph type="title"/>
          </p:nvPr>
        </p:nvSpPr>
        <p:spPr>
          <a:xfrm>
            <a:off x="458400" y="318600"/>
            <a:ext cx="11275200" cy="583199"/>
          </a:xfrm>
        </p:spPr>
        <p:txBody>
          <a:bodyPr/>
          <a:lstStyle/>
          <a:p>
            <a:r>
              <a:rPr lang="en-US"/>
              <a:t>Click to edit Master title style</a:t>
            </a:r>
          </a:p>
        </p:txBody>
      </p:sp>
      <p:sp>
        <p:nvSpPr>
          <p:cNvPr id="14" name="Content placeholder">
            <a:extLst>
              <a:ext uri="{FF2B5EF4-FFF2-40B4-BE49-F238E27FC236}">
                <a16:creationId xmlns:a16="http://schemas.microsoft.com/office/drawing/2014/main" id="{E7B4F71A-6BC6-4707-B709-3B671E3736A4}"/>
              </a:ext>
            </a:extLst>
          </p:cNvPr>
          <p:cNvSpPr>
            <a:spLocks noGrp="1"/>
          </p:cNvSpPr>
          <p:nvPr>
            <p:ph sz="quarter" idx="13" hasCustomPrompt="1"/>
          </p:nvPr>
        </p:nvSpPr>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Datumsplatzhalter 7" hidden="1">
            <a:extLst>
              <a:ext uri="{FF2B5EF4-FFF2-40B4-BE49-F238E27FC236}">
                <a16:creationId xmlns:a16="http://schemas.microsoft.com/office/drawing/2014/main" id="{45995338-C075-443E-BCD9-57AC0BD302AB}"/>
              </a:ext>
            </a:extLst>
          </p:cNvPr>
          <p:cNvSpPr>
            <a:spLocks noGrp="1"/>
          </p:cNvSpPr>
          <p:nvPr>
            <p:ph type="dt" sz="half" idx="10"/>
          </p:nvPr>
        </p:nvSpPr>
        <p:spPr/>
        <p:txBody>
          <a:bodyPr/>
          <a:lstStyle/>
          <a:p>
            <a:endParaRPr lang="en-US"/>
          </a:p>
        </p:txBody>
      </p:sp>
      <p:sp>
        <p:nvSpPr>
          <p:cNvPr id="9" name="Fußzeilenplatzhalter 8" hidden="1">
            <a:extLst>
              <a:ext uri="{FF2B5EF4-FFF2-40B4-BE49-F238E27FC236}">
                <a16:creationId xmlns:a16="http://schemas.microsoft.com/office/drawing/2014/main" id="{EDB92EB2-2891-4690-BC8E-12A925966802}"/>
              </a:ext>
            </a:extLst>
          </p:cNvPr>
          <p:cNvSpPr>
            <a:spLocks noGrp="1"/>
          </p:cNvSpPr>
          <p:nvPr>
            <p:ph type="ftr" sz="quarter" idx="11"/>
          </p:nvPr>
        </p:nvSpPr>
        <p:spPr/>
        <p:txBody>
          <a:bodyPr/>
          <a:lstStyle/>
          <a:p>
            <a:endParaRPr lang="en-US"/>
          </a:p>
        </p:txBody>
      </p:sp>
      <p:sp>
        <p:nvSpPr>
          <p:cNvPr id="10" name="Foliennummernplatzhalter 9" hidden="1">
            <a:extLst>
              <a:ext uri="{FF2B5EF4-FFF2-40B4-BE49-F238E27FC236}">
                <a16:creationId xmlns:a16="http://schemas.microsoft.com/office/drawing/2014/main" id="{9E8525FA-DBC8-4755-8063-C0756A0EF3D3}"/>
              </a:ext>
            </a:extLst>
          </p:cNvPr>
          <p:cNvSpPr>
            <a:spLocks noGrp="1"/>
          </p:cNvSpPr>
          <p:nvPr>
            <p:ph type="sldNum" sz="quarter" idx="12"/>
          </p:nvPr>
        </p:nvSpPr>
        <p:spPr/>
        <p:txBody>
          <a:bodyPr/>
          <a:lstStyle/>
          <a:p>
            <a:fld id="{895CC360-39D1-4D3A-B6C9-5AECCFD4809A}" type="slidenum">
              <a:rPr lang="en-US"/>
              <a:pPr/>
              <a:t>‹Nr.›</a:t>
            </a:fld>
            <a:endParaRPr lang="en-US"/>
          </a:p>
        </p:txBody>
      </p:sp>
      <p:sp>
        <p:nvSpPr>
          <p:cNvPr id="11" name="Layoutschutz" hidden="1">
            <a:extLst>
              <a:ext uri="{FF2B5EF4-FFF2-40B4-BE49-F238E27FC236}">
                <a16:creationId xmlns:a16="http://schemas.microsoft.com/office/drawing/2014/main" id="{22926BE3-FAA0-4E52-AF29-7B5EED276C39}"/>
              </a:ext>
            </a:extLst>
          </p:cNvPr>
          <p:cNvSpPr/>
          <p:nvPr userDrawn="1">
            <p:custDataLst>
              <p:tags r:id="rId1"/>
            </p:custDataLst>
          </p:nvPr>
        </p:nvSpPr>
        <p:spPr>
          <a:xfrm>
            <a:off x="254000" y="1295400"/>
            <a:ext cx="11760200" cy="55626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190892778"/>
      </p:ext>
    </p:extLst>
  </p:cSld>
  <p:clrMapOvr>
    <a:masterClrMapping/>
  </p:clrMapOvr>
  <mc:AlternateContent xmlns:mc="http://schemas.openxmlformats.org/markup-compatibility/2006" xmlns:p14="http://schemas.microsoft.com/office/powerpoint/2010/main">
    <mc:Choice Requires="p14">
      <p:transition spd="med">
        <p14:pan/>
      </p:transition>
    </mc:Choice>
    <mc:Fallback xmlns:p15="http://schemas.microsoft.com/office/powerpoint/2012/main" xmlns:a16="http://schemas.microsoft.com/office/drawing/2014/main" xmlns="">
      <p:transition spd="med">
        <p:fade/>
      </p:transition>
    </mc:Fallback>
  </mc:AlternateContent>
  <p:hf sldNum="0" hdr="0" ftr="0" dt="0"/>
  <p:extLst>
    <p:ext uri="{DCECCB84-F9BA-43D5-87BE-67443E8EF086}">
      <p15:sldGuideLst xmlns:p15="http://schemas.microsoft.com/office/powerpoint/2012/main">
        <p15:guide id="1" pos="289">
          <p15:clr>
            <a:srgbClr val="547EBF"/>
          </p15:clr>
        </p15:guide>
        <p15:guide id="2" orient="horz" pos="568">
          <p15:clr>
            <a:srgbClr val="547EBF"/>
          </p15:clr>
        </p15:guide>
        <p15:guide id="3" orient="horz" pos="201">
          <p15:clr>
            <a:srgbClr val="547EBF"/>
          </p15:clr>
        </p15:guide>
        <p15:guide id="4" orient="horz" pos="874">
          <p15:clr>
            <a:srgbClr val="547EBF"/>
          </p15:clr>
        </p15:guide>
        <p15:guide id="5" orient="horz" pos="4058">
          <p15:clr>
            <a:srgbClr val="547EBF"/>
          </p15:clr>
        </p15:guide>
        <p15:guide id="6" pos="739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10;two objects">
    <p:spTree>
      <p:nvGrpSpPr>
        <p:cNvPr id="1" name=""/>
        <p:cNvGrpSpPr/>
        <p:nvPr/>
      </p:nvGrpSpPr>
      <p:grpSpPr>
        <a:xfrm>
          <a:off x="0" y="0"/>
          <a:ext cx="0" cy="0"/>
          <a:chOff x="0" y="0"/>
          <a:chExt cx="0" cy="0"/>
        </a:xfrm>
      </p:grpSpPr>
      <p:sp>
        <p:nvSpPr>
          <p:cNvPr id="10" name="Title">
            <a:extLst>
              <a:ext uri="{FF2B5EF4-FFF2-40B4-BE49-F238E27FC236}">
                <a16:creationId xmlns:a16="http://schemas.microsoft.com/office/drawing/2014/main" id="{4639AF86-5357-4C89-B939-8652EEA149DF}"/>
              </a:ext>
            </a:extLst>
          </p:cNvPr>
          <p:cNvSpPr>
            <a:spLocks noGrp="1"/>
          </p:cNvSpPr>
          <p:nvPr>
            <p:ph type="title"/>
          </p:nvPr>
        </p:nvSpPr>
        <p:spPr/>
        <p:txBody>
          <a:bodyPr/>
          <a:lstStyle/>
          <a:p>
            <a:r>
              <a:rPr lang="en-US"/>
              <a:t>Click to edit Master title style</a:t>
            </a:r>
          </a:p>
        </p:txBody>
      </p:sp>
      <p:sp>
        <p:nvSpPr>
          <p:cNvPr id="3" name="Headline left">
            <a:extLst>
              <a:ext uri="{FF2B5EF4-FFF2-40B4-BE49-F238E27FC236}">
                <a16:creationId xmlns:a16="http://schemas.microsoft.com/office/drawing/2014/main" id="{3E42108B-CCF6-4E5E-B72B-211E4C5B1D2B}"/>
              </a:ext>
            </a:extLst>
          </p:cNvPr>
          <p:cNvSpPr>
            <a:spLocks noGrp="1"/>
          </p:cNvSpPr>
          <p:nvPr>
            <p:ph type="body" idx="1"/>
          </p:nvPr>
        </p:nvSpPr>
        <p:spPr>
          <a:xfrm>
            <a:off x="458401" y="1387801"/>
            <a:ext cx="5443200" cy="583200"/>
          </a:xfrm>
          <a:prstGeom prst="rect">
            <a:avLst/>
          </a:prstGeom>
        </p:spPr>
        <p:txBody>
          <a:bodyPr anchor="t">
            <a:noAutofit/>
          </a:bodyPr>
          <a:lstStyle>
            <a:lvl1pPr marL="0" indent="0">
              <a:lnSpc>
                <a:spcPct val="100000"/>
              </a:lnSpc>
              <a:buNone/>
              <a:defRPr sz="20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Headline right">
            <a:extLst>
              <a:ext uri="{FF2B5EF4-FFF2-40B4-BE49-F238E27FC236}">
                <a16:creationId xmlns:a16="http://schemas.microsoft.com/office/drawing/2014/main" id="{DBFC60C6-E96F-4262-9F25-D8D3332367DD}"/>
              </a:ext>
            </a:extLst>
          </p:cNvPr>
          <p:cNvSpPr>
            <a:spLocks noGrp="1"/>
          </p:cNvSpPr>
          <p:nvPr>
            <p:ph type="body" sz="quarter" idx="3"/>
          </p:nvPr>
        </p:nvSpPr>
        <p:spPr>
          <a:xfrm>
            <a:off x="6290400" y="1387801"/>
            <a:ext cx="5443200" cy="583200"/>
          </a:xfrm>
          <a:prstGeom prst="rect">
            <a:avLst/>
          </a:prstGeom>
        </p:spPr>
        <p:txBody>
          <a:bodyPr anchor="t">
            <a:noAutofit/>
          </a:bodyPr>
          <a:lstStyle>
            <a:lvl1pPr marL="0" indent="0">
              <a:lnSpc>
                <a:spcPct val="100000"/>
              </a:lnSpc>
              <a:buNone/>
              <a:defRPr sz="20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left">
            <a:extLst>
              <a:ext uri="{FF2B5EF4-FFF2-40B4-BE49-F238E27FC236}">
                <a16:creationId xmlns:a16="http://schemas.microsoft.com/office/drawing/2014/main" id="{1C94A9F3-77E7-4052-ADF3-47B5617F9CAF}"/>
              </a:ext>
            </a:extLst>
          </p:cNvPr>
          <p:cNvSpPr>
            <a:spLocks noGrp="1"/>
          </p:cNvSpPr>
          <p:nvPr>
            <p:ph sz="half" idx="2"/>
          </p:nvPr>
        </p:nvSpPr>
        <p:spPr>
          <a:xfrm>
            <a:off x="458401" y="1971000"/>
            <a:ext cx="5443200" cy="4471200"/>
          </a:xfrm>
          <a:prstGeom prst="rect">
            <a:avLst/>
          </a:prstGeom>
        </p:spPr>
        <p:txBody>
          <a:bodyPr>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6" name="Content placeholder right">
            <a:extLst>
              <a:ext uri="{FF2B5EF4-FFF2-40B4-BE49-F238E27FC236}">
                <a16:creationId xmlns:a16="http://schemas.microsoft.com/office/drawing/2014/main" id="{3F80F379-FCC2-4D63-BD67-E81435B9D782}"/>
              </a:ext>
            </a:extLst>
          </p:cNvPr>
          <p:cNvSpPr>
            <a:spLocks noGrp="1"/>
          </p:cNvSpPr>
          <p:nvPr>
            <p:ph sz="quarter" idx="4"/>
          </p:nvPr>
        </p:nvSpPr>
        <p:spPr>
          <a:xfrm>
            <a:off x="6290400" y="1971000"/>
            <a:ext cx="5443200" cy="4471200"/>
          </a:xfrm>
          <a:prstGeom prst="rect">
            <a:avLst/>
          </a:prstGeom>
        </p:spPr>
        <p:txBody>
          <a:bodyPr>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14" name="Datumsplatzhalter 13" hidden="1">
            <a:extLst>
              <a:ext uri="{FF2B5EF4-FFF2-40B4-BE49-F238E27FC236}">
                <a16:creationId xmlns:a16="http://schemas.microsoft.com/office/drawing/2014/main" id="{60AFF17C-B3DD-45F6-AED7-89DE2B67F6AC}"/>
              </a:ext>
            </a:extLst>
          </p:cNvPr>
          <p:cNvSpPr>
            <a:spLocks noGrp="1"/>
          </p:cNvSpPr>
          <p:nvPr>
            <p:ph type="dt" sz="half" idx="10"/>
          </p:nvPr>
        </p:nvSpPr>
        <p:spPr/>
        <p:txBody>
          <a:bodyPr/>
          <a:lstStyle/>
          <a:p>
            <a:endParaRPr lang="en-US"/>
          </a:p>
        </p:txBody>
      </p:sp>
      <p:sp>
        <p:nvSpPr>
          <p:cNvPr id="15" name="Fußzeilenplatzhalter 14" hidden="1">
            <a:extLst>
              <a:ext uri="{FF2B5EF4-FFF2-40B4-BE49-F238E27FC236}">
                <a16:creationId xmlns:a16="http://schemas.microsoft.com/office/drawing/2014/main" id="{17F53DD0-788A-4520-A290-1E20981D3B81}"/>
              </a:ext>
            </a:extLst>
          </p:cNvPr>
          <p:cNvSpPr>
            <a:spLocks noGrp="1"/>
          </p:cNvSpPr>
          <p:nvPr>
            <p:ph type="ftr" sz="quarter" idx="11"/>
          </p:nvPr>
        </p:nvSpPr>
        <p:spPr/>
        <p:txBody>
          <a:bodyPr/>
          <a:lstStyle/>
          <a:p>
            <a:endParaRPr lang="en-US"/>
          </a:p>
        </p:txBody>
      </p:sp>
      <p:sp>
        <p:nvSpPr>
          <p:cNvPr id="16" name="Foliennummernplatzhalter 15" hidden="1">
            <a:extLst>
              <a:ext uri="{FF2B5EF4-FFF2-40B4-BE49-F238E27FC236}">
                <a16:creationId xmlns:a16="http://schemas.microsoft.com/office/drawing/2014/main" id="{517AB4B9-E4B2-4336-AE32-034908CCB42F}"/>
              </a:ext>
            </a:extLst>
          </p:cNvPr>
          <p:cNvSpPr>
            <a:spLocks noGrp="1"/>
          </p:cNvSpPr>
          <p:nvPr>
            <p:ph type="sldNum" sz="quarter" idx="12"/>
          </p:nvPr>
        </p:nvSpPr>
        <p:spPr/>
        <p:txBody>
          <a:bodyPr/>
          <a:lstStyle/>
          <a:p>
            <a:fld id="{895CC360-39D1-4D3A-B6C9-5AECCFD4809A}" type="slidenum">
              <a:rPr lang="en-US"/>
              <a:pPr/>
              <a:t>‹Nr.›</a:t>
            </a:fld>
            <a:endParaRPr lang="en-US"/>
          </a:p>
        </p:txBody>
      </p:sp>
      <p:sp>
        <p:nvSpPr>
          <p:cNvPr id="12" name="Layoutschutz" hidden="1">
            <a:extLst>
              <a:ext uri="{FF2B5EF4-FFF2-40B4-BE49-F238E27FC236}">
                <a16:creationId xmlns:a16="http://schemas.microsoft.com/office/drawing/2014/main" id="{8A35D446-FE94-41E5-AD7A-C82E9941EA6F}"/>
              </a:ext>
            </a:extLst>
          </p:cNvPr>
          <p:cNvSpPr/>
          <p:nvPr userDrawn="1">
            <p:custDataLst>
              <p:tags r:id="rId1"/>
            </p:custDataLst>
          </p:nvPr>
        </p:nvSpPr>
        <p:spPr>
          <a:xfrm>
            <a:off x="254000" y="1295400"/>
            <a:ext cx="11760200" cy="55626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3067012347"/>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hf sldNum="0" hdr="0" ftr="0" dt="0"/>
  <p:extLst>
    <p:ext uri="{DCECCB84-F9BA-43D5-87BE-67443E8EF086}">
      <p15:sldGuideLst xmlns:p15="http://schemas.microsoft.com/office/powerpoint/2012/main">
        <p15:guide id="1" pos="289">
          <p15:clr>
            <a:srgbClr val="547EBF"/>
          </p15:clr>
        </p15:guide>
        <p15:guide id="2" orient="horz" pos="201">
          <p15:clr>
            <a:srgbClr val="547EBF"/>
          </p15:clr>
        </p15:guide>
        <p15:guide id="3" pos="3718">
          <p15:clr>
            <a:srgbClr val="547EBF"/>
          </p15:clr>
        </p15:guide>
        <p15:guide id="4" pos="7391">
          <p15:clr>
            <a:srgbClr val="547EBF"/>
          </p15:clr>
        </p15:guide>
        <p15:guide id="5" pos="3962">
          <p15:clr>
            <a:srgbClr val="547EBF"/>
          </p15:clr>
        </p15:guide>
        <p15:guide id="6" orient="horz" pos="568">
          <p15:clr>
            <a:srgbClr val="547EBF"/>
          </p15:clr>
        </p15:guide>
        <p15:guide id="7" orient="horz" pos="874">
          <p15:clr>
            <a:srgbClr val="547EBF"/>
          </p15:clr>
        </p15:guide>
        <p15:guide id="8" orient="horz" pos="1242">
          <p15:clr>
            <a:srgbClr val="547EBF"/>
          </p15:clr>
        </p15:guide>
        <p15:guide id="9" orient="horz" pos="4058">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10;three objects">
    <p:spTree>
      <p:nvGrpSpPr>
        <p:cNvPr id="1" name=""/>
        <p:cNvGrpSpPr/>
        <p:nvPr/>
      </p:nvGrpSpPr>
      <p:grpSpPr>
        <a:xfrm>
          <a:off x="0" y="0"/>
          <a:ext cx="0" cy="0"/>
          <a:chOff x="0" y="0"/>
          <a:chExt cx="0" cy="0"/>
        </a:xfrm>
      </p:grpSpPr>
      <p:sp>
        <p:nvSpPr>
          <p:cNvPr id="10" name="Title">
            <a:extLst>
              <a:ext uri="{FF2B5EF4-FFF2-40B4-BE49-F238E27FC236}">
                <a16:creationId xmlns:a16="http://schemas.microsoft.com/office/drawing/2014/main" id="{4639AF86-5357-4C89-B939-8652EEA149DF}"/>
              </a:ext>
            </a:extLst>
          </p:cNvPr>
          <p:cNvSpPr>
            <a:spLocks noGrp="1"/>
          </p:cNvSpPr>
          <p:nvPr>
            <p:ph type="title"/>
          </p:nvPr>
        </p:nvSpPr>
        <p:spPr/>
        <p:txBody>
          <a:bodyPr/>
          <a:lstStyle/>
          <a:p>
            <a:r>
              <a:rPr lang="en-US"/>
              <a:t>Click to edit Master title style</a:t>
            </a:r>
          </a:p>
        </p:txBody>
      </p:sp>
      <p:sp>
        <p:nvSpPr>
          <p:cNvPr id="3" name="Headline left">
            <a:extLst>
              <a:ext uri="{FF2B5EF4-FFF2-40B4-BE49-F238E27FC236}">
                <a16:creationId xmlns:a16="http://schemas.microsoft.com/office/drawing/2014/main" id="{3E42108B-CCF6-4E5E-B72B-211E4C5B1D2B}"/>
              </a:ext>
            </a:extLst>
          </p:cNvPr>
          <p:cNvSpPr>
            <a:spLocks noGrp="1"/>
          </p:cNvSpPr>
          <p:nvPr>
            <p:ph type="body" idx="1"/>
          </p:nvPr>
        </p:nvSpPr>
        <p:spPr>
          <a:xfrm>
            <a:off x="458400" y="2943000"/>
            <a:ext cx="3499200" cy="388800"/>
          </a:xfrm>
          <a:prstGeom prst="rect">
            <a:avLst/>
          </a:prstGeom>
        </p:spPr>
        <p:txBody>
          <a:bodyPr anchor="t">
            <a:noAutofit/>
          </a:bodyPr>
          <a:lstStyle>
            <a:lvl1pPr marL="0" indent="0" algn="ctr">
              <a:lnSpc>
                <a:spcPct val="100000"/>
              </a:lnSpc>
              <a:buNone/>
              <a:defRPr sz="20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Headline center">
            <a:extLst>
              <a:ext uri="{FF2B5EF4-FFF2-40B4-BE49-F238E27FC236}">
                <a16:creationId xmlns:a16="http://schemas.microsoft.com/office/drawing/2014/main" id="{DBFC60C6-E96F-4262-9F25-D8D3332367DD}"/>
              </a:ext>
            </a:extLst>
          </p:cNvPr>
          <p:cNvSpPr>
            <a:spLocks noGrp="1"/>
          </p:cNvSpPr>
          <p:nvPr>
            <p:ph type="body" sz="quarter" idx="3"/>
          </p:nvPr>
        </p:nvSpPr>
        <p:spPr>
          <a:xfrm>
            <a:off x="4346400" y="2943000"/>
            <a:ext cx="3499200" cy="388800"/>
          </a:xfrm>
          <a:prstGeom prst="rect">
            <a:avLst/>
          </a:prstGeom>
        </p:spPr>
        <p:txBody>
          <a:bodyPr anchor="t">
            <a:noAutofit/>
          </a:bodyPr>
          <a:lstStyle>
            <a:lvl1pPr marL="0" indent="0" algn="ctr">
              <a:lnSpc>
                <a:spcPct val="100000"/>
              </a:lnSpc>
              <a:buNone/>
              <a:defRPr sz="20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Headline right">
            <a:extLst>
              <a:ext uri="{FF2B5EF4-FFF2-40B4-BE49-F238E27FC236}">
                <a16:creationId xmlns:a16="http://schemas.microsoft.com/office/drawing/2014/main" id="{E7920CA0-579D-47FA-9A0A-7A5B020DE42E}"/>
              </a:ext>
            </a:extLst>
          </p:cNvPr>
          <p:cNvSpPr>
            <a:spLocks noGrp="1"/>
          </p:cNvSpPr>
          <p:nvPr>
            <p:ph type="body" sz="quarter" idx="13"/>
          </p:nvPr>
        </p:nvSpPr>
        <p:spPr>
          <a:xfrm>
            <a:off x="8234400" y="2943000"/>
            <a:ext cx="3499200" cy="388800"/>
          </a:xfrm>
          <a:prstGeom prst="rect">
            <a:avLst/>
          </a:prstGeom>
        </p:spPr>
        <p:txBody>
          <a:bodyPr anchor="t">
            <a:noAutofit/>
          </a:bodyPr>
          <a:lstStyle>
            <a:lvl1pPr marL="0" indent="0" algn="ctr">
              <a:lnSpc>
                <a:spcPct val="100000"/>
              </a:lnSpc>
              <a:buNone/>
              <a:defRPr sz="20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left">
            <a:extLst>
              <a:ext uri="{FF2B5EF4-FFF2-40B4-BE49-F238E27FC236}">
                <a16:creationId xmlns:a16="http://schemas.microsoft.com/office/drawing/2014/main" id="{1C94A9F3-77E7-4052-ADF3-47B5617F9CAF}"/>
              </a:ext>
            </a:extLst>
          </p:cNvPr>
          <p:cNvSpPr>
            <a:spLocks noGrp="1"/>
          </p:cNvSpPr>
          <p:nvPr>
            <p:ph sz="half" idx="2" hasCustomPrompt="1"/>
          </p:nvPr>
        </p:nvSpPr>
        <p:spPr>
          <a:xfrm>
            <a:off x="458400" y="3623400"/>
            <a:ext cx="3498850" cy="2818800"/>
          </a:xfrm>
          <a:prstGeom prst="rect">
            <a:avLst/>
          </a:prstGeom>
        </p:spPr>
        <p:txBody>
          <a:bodyPr/>
          <a:lstStyle>
            <a:lvl1pPr algn="ct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Content placeholder center">
            <a:extLst>
              <a:ext uri="{FF2B5EF4-FFF2-40B4-BE49-F238E27FC236}">
                <a16:creationId xmlns:a16="http://schemas.microsoft.com/office/drawing/2014/main" id="{3F80F379-FCC2-4D63-BD67-E81435B9D782}"/>
              </a:ext>
            </a:extLst>
          </p:cNvPr>
          <p:cNvSpPr>
            <a:spLocks noGrp="1"/>
          </p:cNvSpPr>
          <p:nvPr>
            <p:ph sz="quarter" idx="4" hasCustomPrompt="1"/>
          </p:nvPr>
        </p:nvSpPr>
        <p:spPr>
          <a:xfrm>
            <a:off x="4346400" y="3623400"/>
            <a:ext cx="3498850" cy="2818800"/>
          </a:xfrm>
          <a:prstGeom prst="rect">
            <a:avLst/>
          </a:prstGeom>
        </p:spPr>
        <p:txBody>
          <a:bodyPr/>
          <a:lstStyle>
            <a:lvl1pPr algn="ct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right">
            <a:extLst>
              <a:ext uri="{FF2B5EF4-FFF2-40B4-BE49-F238E27FC236}">
                <a16:creationId xmlns:a16="http://schemas.microsoft.com/office/drawing/2014/main" id="{F9AF96E0-53C6-482E-95AD-957DBCFA5CE9}"/>
              </a:ext>
            </a:extLst>
          </p:cNvPr>
          <p:cNvSpPr>
            <a:spLocks noGrp="1"/>
          </p:cNvSpPr>
          <p:nvPr>
            <p:ph sz="quarter" idx="14" hasCustomPrompt="1"/>
          </p:nvPr>
        </p:nvSpPr>
        <p:spPr>
          <a:xfrm>
            <a:off x="8234400" y="3623400"/>
            <a:ext cx="3498850" cy="2818800"/>
          </a:xfrm>
          <a:prstGeom prst="rect">
            <a:avLst/>
          </a:prstGeom>
        </p:spPr>
        <p:txBody>
          <a:bodyPr/>
          <a:lstStyle>
            <a:lvl1pPr algn="ct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Datumsplatzhalter 13" hidden="1">
            <a:extLst>
              <a:ext uri="{FF2B5EF4-FFF2-40B4-BE49-F238E27FC236}">
                <a16:creationId xmlns:a16="http://schemas.microsoft.com/office/drawing/2014/main" id="{60AFF17C-B3DD-45F6-AED7-89DE2B67F6AC}"/>
              </a:ext>
            </a:extLst>
          </p:cNvPr>
          <p:cNvSpPr>
            <a:spLocks noGrp="1"/>
          </p:cNvSpPr>
          <p:nvPr>
            <p:ph type="dt" sz="half" idx="10"/>
          </p:nvPr>
        </p:nvSpPr>
        <p:spPr/>
        <p:txBody>
          <a:bodyPr/>
          <a:lstStyle/>
          <a:p>
            <a:endParaRPr lang="en-US"/>
          </a:p>
        </p:txBody>
      </p:sp>
      <p:sp>
        <p:nvSpPr>
          <p:cNvPr id="15" name="Fußzeilenplatzhalter 14" hidden="1">
            <a:extLst>
              <a:ext uri="{FF2B5EF4-FFF2-40B4-BE49-F238E27FC236}">
                <a16:creationId xmlns:a16="http://schemas.microsoft.com/office/drawing/2014/main" id="{17F53DD0-788A-4520-A290-1E20981D3B81}"/>
              </a:ext>
            </a:extLst>
          </p:cNvPr>
          <p:cNvSpPr>
            <a:spLocks noGrp="1"/>
          </p:cNvSpPr>
          <p:nvPr>
            <p:ph type="ftr" sz="quarter" idx="11"/>
          </p:nvPr>
        </p:nvSpPr>
        <p:spPr/>
        <p:txBody>
          <a:bodyPr/>
          <a:lstStyle/>
          <a:p>
            <a:endParaRPr lang="en-US"/>
          </a:p>
        </p:txBody>
      </p:sp>
      <p:sp>
        <p:nvSpPr>
          <p:cNvPr id="16" name="Foliennummernplatzhalter 15" hidden="1">
            <a:extLst>
              <a:ext uri="{FF2B5EF4-FFF2-40B4-BE49-F238E27FC236}">
                <a16:creationId xmlns:a16="http://schemas.microsoft.com/office/drawing/2014/main" id="{517AB4B9-E4B2-4336-AE32-034908CCB42F}"/>
              </a:ext>
            </a:extLst>
          </p:cNvPr>
          <p:cNvSpPr>
            <a:spLocks noGrp="1"/>
          </p:cNvSpPr>
          <p:nvPr>
            <p:ph type="sldNum" sz="quarter" idx="12"/>
          </p:nvPr>
        </p:nvSpPr>
        <p:spPr/>
        <p:txBody>
          <a:bodyPr/>
          <a:lstStyle/>
          <a:p>
            <a:fld id="{895CC360-39D1-4D3A-B6C9-5AECCFD4809A}" type="slidenum">
              <a:rPr lang="en-US"/>
              <a:pPr/>
              <a:t>‹Nr.›</a:t>
            </a:fld>
            <a:endParaRPr lang="en-US"/>
          </a:p>
        </p:txBody>
      </p:sp>
      <p:sp>
        <p:nvSpPr>
          <p:cNvPr id="17" name="Layoutschutz" hidden="1">
            <a:extLst>
              <a:ext uri="{FF2B5EF4-FFF2-40B4-BE49-F238E27FC236}">
                <a16:creationId xmlns:a16="http://schemas.microsoft.com/office/drawing/2014/main" id="{BECC4F1C-3610-4748-946F-1288169304CC}"/>
              </a:ext>
            </a:extLst>
          </p:cNvPr>
          <p:cNvSpPr/>
          <p:nvPr userDrawn="1">
            <p:custDataLst>
              <p:tags r:id="rId1"/>
            </p:custDataLst>
          </p:nvPr>
        </p:nvSpPr>
        <p:spPr>
          <a:xfrm>
            <a:off x="254000" y="1295400"/>
            <a:ext cx="11760200" cy="55626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3203009479"/>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hf sldNum="0" hdr="0" ftr="0" dt="0"/>
  <p:extLst>
    <p:ext uri="{DCECCB84-F9BA-43D5-87BE-67443E8EF086}">
      <p15:sldGuideLst xmlns:p15="http://schemas.microsoft.com/office/powerpoint/2012/main">
        <p15:guide id="1" pos="2493">
          <p15:clr>
            <a:srgbClr val="547EBF"/>
          </p15:clr>
        </p15:guide>
        <p15:guide id="2" orient="horz" pos="1854">
          <p15:clr>
            <a:srgbClr val="547EBF"/>
          </p15:clr>
        </p15:guide>
        <p15:guide id="3" orient="horz" pos="2099">
          <p15:clr>
            <a:srgbClr val="547EBF"/>
          </p15:clr>
        </p15:guide>
        <p15:guide id="5" pos="2738">
          <p15:clr>
            <a:srgbClr val="547EBF"/>
          </p15:clr>
        </p15:guide>
        <p15:guide id="6" pos="289">
          <p15:clr>
            <a:srgbClr val="547EBF"/>
          </p15:clr>
        </p15:guide>
        <p15:guide id="7" pos="4942">
          <p15:clr>
            <a:srgbClr val="547EBF"/>
          </p15:clr>
        </p15:guide>
        <p15:guide id="8" pos="5187">
          <p15:clr>
            <a:srgbClr val="547EBF"/>
          </p15:clr>
        </p15:guide>
        <p15:guide id="9" pos="7391">
          <p15:clr>
            <a:srgbClr val="547EBF"/>
          </p15:clr>
        </p15:guide>
        <p15:guide id="10" orient="horz" pos="2282">
          <p15:clr>
            <a:srgbClr val="547EBF"/>
          </p15:clr>
        </p15:guide>
        <p15:guide id="11" orient="horz" pos="1364">
          <p15:clr>
            <a:srgbClr val="A4A3A4"/>
          </p15:clr>
        </p15:guide>
        <p15:guide id="12" pos="1391">
          <p15:clr>
            <a:srgbClr val="A4A3A4"/>
          </p15:clr>
        </p15:guide>
        <p15:guide id="13" pos="3840">
          <p15:clr>
            <a:srgbClr val="A4A3A4"/>
          </p15:clr>
        </p15:guide>
        <p15:guide id="14" pos="6289">
          <p15:clr>
            <a:srgbClr val="A4A3A4"/>
          </p15:clr>
        </p15:guide>
        <p15:guide id="15" orient="horz" pos="874">
          <p15:clr>
            <a:srgbClr val="547EBF"/>
          </p15:clr>
        </p15:guide>
        <p15:guide id="16" orient="horz" pos="4058">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clipArtAndTx" preserve="1">
  <p:cSld name="Content with&#10;1/2 imag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7D4DF720-FC23-45C2-8016-3D431C0FE280}"/>
              </a:ext>
            </a:extLst>
          </p:cNvPr>
          <p:cNvSpPr>
            <a:spLocks noGrp="1"/>
          </p:cNvSpPr>
          <p:nvPr>
            <p:ph type="title"/>
          </p:nvPr>
        </p:nvSpPr>
        <p:spPr>
          <a:xfrm>
            <a:off x="458400" y="318601"/>
            <a:ext cx="5443200" cy="583200"/>
          </a:xfrm>
        </p:spPr>
        <p:txBody>
          <a:bodyPr/>
          <a:lstStyle/>
          <a:p>
            <a:r>
              <a:rPr lang="en-US"/>
              <a:t>Click to edit Master title style</a:t>
            </a:r>
          </a:p>
        </p:txBody>
      </p:sp>
      <p:sp>
        <p:nvSpPr>
          <p:cNvPr id="7" name="Content placeholder">
            <a:extLst>
              <a:ext uri="{FF2B5EF4-FFF2-40B4-BE49-F238E27FC236}">
                <a16:creationId xmlns:a16="http://schemas.microsoft.com/office/drawing/2014/main" id="{EF6A0E3D-0F3F-48A4-8CB4-3ED3260C86C0}"/>
              </a:ext>
            </a:extLst>
          </p:cNvPr>
          <p:cNvSpPr>
            <a:spLocks noGrp="1"/>
          </p:cNvSpPr>
          <p:nvPr>
            <p:ph sz="quarter" idx="13"/>
          </p:nvPr>
        </p:nvSpPr>
        <p:spPr>
          <a:xfrm>
            <a:off x="458788" y="1387475"/>
            <a:ext cx="5443537" cy="5054600"/>
          </a:xfrm>
        </p:spPr>
        <p:txBody>
          <a:bodyPr>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8" name="Picture placeholder">
            <a:extLst>
              <a:ext uri="{FF2B5EF4-FFF2-40B4-BE49-F238E27FC236}">
                <a16:creationId xmlns:a16="http://schemas.microsoft.com/office/drawing/2014/main" id="{D8C158F4-8406-4C77-8504-FFCC13CA1F89}"/>
              </a:ext>
            </a:extLst>
          </p:cNvPr>
          <p:cNvSpPr>
            <a:spLocks noGrp="1"/>
          </p:cNvSpPr>
          <p:nvPr>
            <p:ph type="pic" sz="quarter" idx="14"/>
          </p:nvPr>
        </p:nvSpPr>
        <p:spPr>
          <a:xfrm>
            <a:off x="6290400" y="97201"/>
            <a:ext cx="5901600" cy="6760799"/>
          </a:xfrm>
          <a:solidFill>
            <a:schemeClr val="bg1"/>
          </a:solidFill>
        </p:spPr>
        <p:txBody>
          <a:bodyPr vert="horz" wrap="square" lIns="0" tIns="0" rIns="0" bIns="756000" rtlCol="0" anchor="ctr">
            <a:noAutofit/>
          </a:bodyPr>
          <a:lstStyle>
            <a:lvl1pPr algn="ctr">
              <a:defRPr lang="en-US"/>
            </a:lvl1pPr>
          </a:lstStyle>
          <a:p>
            <a:pPr lvl="0" algn="ctr"/>
            <a:r>
              <a:rPr lang="en-US"/>
              <a:t>Click icon to add picture</a:t>
            </a:r>
          </a:p>
        </p:txBody>
      </p:sp>
      <p:sp>
        <p:nvSpPr>
          <p:cNvPr id="3" name="Datumsplatzhalter 2">
            <a:extLst>
              <a:ext uri="{FF2B5EF4-FFF2-40B4-BE49-F238E27FC236}">
                <a16:creationId xmlns:a16="http://schemas.microsoft.com/office/drawing/2014/main" id="{E17BD5A3-FD1B-4133-B010-6FFA76FD43FE}"/>
              </a:ext>
            </a:extLst>
          </p:cNvPr>
          <p:cNvSpPr>
            <a:spLocks noGrp="1"/>
          </p:cNvSpPr>
          <p:nvPr>
            <p:ph type="dt" sz="half" idx="10"/>
          </p:nvPr>
        </p:nvSpPr>
        <p:spPr/>
        <p:txBody>
          <a:bodyPr/>
          <a:lstStyle/>
          <a:p>
            <a:endParaRPr lang="en-US"/>
          </a:p>
        </p:txBody>
      </p:sp>
      <p:sp>
        <p:nvSpPr>
          <p:cNvPr id="4" name="Fußzeilenplatzhalter 3">
            <a:extLst>
              <a:ext uri="{FF2B5EF4-FFF2-40B4-BE49-F238E27FC236}">
                <a16:creationId xmlns:a16="http://schemas.microsoft.com/office/drawing/2014/main" id="{D7822A3E-E60C-4747-89A1-27BFCBA559C8}"/>
              </a:ext>
            </a:extLst>
          </p:cNvPr>
          <p:cNvSpPr>
            <a:spLocks noGrp="1"/>
          </p:cNvSpPr>
          <p:nvPr>
            <p:ph type="ftr" sz="quarter" idx="11"/>
          </p:nvPr>
        </p:nvSpPr>
        <p:spPr/>
        <p:txBody>
          <a:bodyPr/>
          <a:lstStyle/>
          <a:p>
            <a:endParaRPr lang="en-US"/>
          </a:p>
        </p:txBody>
      </p:sp>
      <p:sp>
        <p:nvSpPr>
          <p:cNvPr id="5" name="Foliennummernplatzhalter 4">
            <a:extLst>
              <a:ext uri="{FF2B5EF4-FFF2-40B4-BE49-F238E27FC236}">
                <a16:creationId xmlns:a16="http://schemas.microsoft.com/office/drawing/2014/main" id="{9190479B-AEF2-40F1-BB30-D531AD0F30ED}"/>
              </a:ext>
            </a:extLst>
          </p:cNvPr>
          <p:cNvSpPr>
            <a:spLocks noGrp="1"/>
          </p:cNvSpPr>
          <p:nvPr>
            <p:ph type="sldNum" sz="quarter" idx="12"/>
          </p:nvPr>
        </p:nvSpPr>
        <p:spPr/>
        <p:txBody>
          <a:bodyPr/>
          <a:lstStyle/>
          <a:p>
            <a:fld id="{895CC360-39D1-4D3A-B6C9-5AECCFD4809A}" type="slidenum">
              <a:rPr lang="en-US"/>
              <a:pPr/>
              <a:t>‹Nr.›</a:t>
            </a:fld>
            <a:endParaRPr lang="en-US"/>
          </a:p>
        </p:txBody>
      </p:sp>
      <p:sp>
        <p:nvSpPr>
          <p:cNvPr id="10" name="Layoutschutz" hidden="1">
            <a:extLst>
              <a:ext uri="{FF2B5EF4-FFF2-40B4-BE49-F238E27FC236}">
                <a16:creationId xmlns:a16="http://schemas.microsoft.com/office/drawing/2014/main" id="{3C2F97AD-E828-40AE-B54D-6B404A76B16A}"/>
              </a:ext>
            </a:extLst>
          </p:cNvPr>
          <p:cNvSpPr/>
          <p:nvPr userDrawn="1">
            <p:custDataLst>
              <p:tags r:id="rId1"/>
            </p:custDataLst>
          </p:nvPr>
        </p:nvSpPr>
        <p:spPr>
          <a:xfrm>
            <a:off x="254000" y="1295400"/>
            <a:ext cx="11760200" cy="55626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544045362"/>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hf sldNum="0" hdr="0" ftr="0" dt="0"/>
  <p:extLst>
    <p:ext uri="{DCECCB84-F9BA-43D5-87BE-67443E8EF086}">
      <p15:sldGuideLst xmlns:p15="http://schemas.microsoft.com/office/powerpoint/2012/main">
        <p15:guide id="1" pos="289">
          <p15:clr>
            <a:srgbClr val="547EBF"/>
          </p15:clr>
        </p15:guide>
        <p15:guide id="2" pos="3718">
          <p15:clr>
            <a:srgbClr val="547EBF"/>
          </p15:clr>
        </p15:guide>
        <p15:guide id="3" pos="3962">
          <p15:clr>
            <a:srgbClr val="547EBF"/>
          </p15:clr>
        </p15:guide>
        <p15:guide id="4" orient="horz" pos="201">
          <p15:clr>
            <a:srgbClr val="547EBF"/>
          </p15:clr>
        </p15:guide>
        <p15:guide id="5" orient="horz" pos="4058">
          <p15:clr>
            <a:srgbClr val="547EBF"/>
          </p15:clr>
        </p15:guide>
        <p15:guide id="6" orient="horz" pos="874">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8.xml"/><Relationship Id="rId42" Type="http://schemas.openxmlformats.org/officeDocument/2006/relationships/tags" Target="../tags/tag1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7.xml"/><Relationship Id="rId38" Type="http://schemas.openxmlformats.org/officeDocument/2006/relationships/tags" Target="../tags/tag1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41"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6.xml"/><Relationship Id="rId37" Type="http://schemas.openxmlformats.org/officeDocument/2006/relationships/tags" Target="../tags/tag11.xml"/><Relationship Id="rId40" Type="http://schemas.openxmlformats.org/officeDocument/2006/relationships/tags" Target="../tags/tag14.xml"/><Relationship Id="rId45"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36" Type="http://schemas.openxmlformats.org/officeDocument/2006/relationships/tags" Target="../tags/tag10.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5.xml"/><Relationship Id="rId4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tags" Target="../tags/tag4.xml"/><Relationship Id="rId35" Type="http://schemas.openxmlformats.org/officeDocument/2006/relationships/tags" Target="../tags/tag9.xml"/><Relationship Id="rId43" Type="http://schemas.openxmlformats.org/officeDocument/2006/relationships/tags" Target="../tags/tag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72" name="Master field_Confidentiality EN" hidden="1">
            <a:extLst>
              <a:ext uri="{FF2B5EF4-FFF2-40B4-BE49-F238E27FC236}">
                <a16:creationId xmlns:a16="http://schemas.microsoft.com/office/drawing/2014/main" id="{E6F180B5-9536-4681-A47C-FA354CB7ADA2}"/>
              </a:ext>
            </a:extLst>
          </p:cNvPr>
          <p:cNvSpPr txBox="1">
            <a:spLocks/>
          </p:cNvSpPr>
          <p:nvPr userDrawn="1">
            <p:custDataLst>
              <p:tags r:id="rId28"/>
            </p:custDataLst>
          </p:nvPr>
        </p:nvSpPr>
        <p:spPr>
          <a:xfrm>
            <a:off x="4346400" y="6636601"/>
            <a:ext cx="3499200" cy="194415"/>
          </a:xfrm>
          <a:prstGeom prst="rect">
            <a:avLst/>
          </a:prstGeom>
          <a:noFill/>
        </p:spPr>
        <p:txBody>
          <a:bodyPr vert="horz" wrap="square" lIns="0" tIns="0" rIns="0" bIns="0" rtlCol="0">
            <a:noAutofit/>
          </a:bodyPr>
          <a:lstStyle/>
          <a:p>
            <a:pPr marL="457200" lvl="1" indent="-457200" algn="ctr">
              <a:buFont typeface="+mj-lt"/>
              <a:buNone/>
            </a:pPr>
            <a:endParaRPr lang="de-DE" sz="900" b="1"/>
          </a:p>
        </p:txBody>
      </p:sp>
      <p:sp>
        <p:nvSpPr>
          <p:cNvPr id="374" name="Masterfeld_Vertraulichkeit DE" hidden="1">
            <a:extLst>
              <a:ext uri="{FF2B5EF4-FFF2-40B4-BE49-F238E27FC236}">
                <a16:creationId xmlns:a16="http://schemas.microsoft.com/office/drawing/2014/main" id="{91E76263-1413-4E56-A73E-0F3B59D1DB49}"/>
              </a:ext>
            </a:extLst>
          </p:cNvPr>
          <p:cNvSpPr txBox="1">
            <a:spLocks/>
          </p:cNvSpPr>
          <p:nvPr userDrawn="1">
            <p:custDataLst>
              <p:tags r:id="rId29"/>
            </p:custDataLst>
          </p:nvPr>
        </p:nvSpPr>
        <p:spPr>
          <a:xfrm>
            <a:off x="4346400" y="6636601"/>
            <a:ext cx="3499200" cy="194415"/>
          </a:xfrm>
          <a:prstGeom prst="rect">
            <a:avLst/>
          </a:prstGeom>
          <a:noFill/>
        </p:spPr>
        <p:txBody>
          <a:bodyPr vert="horz" wrap="square" lIns="0" tIns="0" rIns="0" bIns="0" rtlCol="0">
            <a:noAutofit/>
          </a:bodyPr>
          <a:lstStyle/>
          <a:p>
            <a:pPr marL="457200" lvl="1" indent="-457200" algn="ctr">
              <a:buFont typeface="+mj-lt"/>
              <a:buNone/>
            </a:pPr>
            <a:endParaRPr lang="de-DE" sz="900"/>
          </a:p>
        </p:txBody>
      </p:sp>
      <p:sp>
        <p:nvSpPr>
          <p:cNvPr id="361" name="Master field_Watermark EN" hidden="1">
            <a:extLst>
              <a:ext uri="{FF2B5EF4-FFF2-40B4-BE49-F238E27FC236}">
                <a16:creationId xmlns:a16="http://schemas.microsoft.com/office/drawing/2014/main" id="{2490A5E6-D530-4963-9279-3817B7E6B5CA}"/>
              </a:ext>
            </a:extLst>
          </p:cNvPr>
          <p:cNvSpPr txBox="1"/>
          <p:nvPr userDrawn="1">
            <p:custDataLst>
              <p:tags r:id="rId30"/>
            </p:custDataLst>
          </p:nvPr>
        </p:nvSpPr>
        <p:spPr>
          <a:xfrm rot="20069185">
            <a:off x="-193555" y="2412413"/>
            <a:ext cx="12551509" cy="2071096"/>
          </a:xfrm>
          <a:prstGeom prst="rect">
            <a:avLst/>
          </a:prstGeom>
          <a:noFill/>
        </p:spPr>
        <p:txBody>
          <a:bodyPr vert="horz" wrap="none" lIns="0" tIns="0" rIns="0" bIns="0" rtlCol="0" anchor="ctr">
            <a:noAutofit/>
          </a:bodyPr>
          <a:lstStyle/>
          <a:p>
            <a:pPr lvl="0" algn="ctr" rtl="0" eaLnBrk="1" fontAlgn="auto" hangingPunct="1">
              <a:lnSpc>
                <a:spcPct val="100000"/>
              </a:lnSpc>
              <a:spcBef>
                <a:spcPts val="0"/>
              </a:spcBef>
              <a:spcAft>
                <a:spcPts val="0"/>
              </a:spcAft>
            </a:pPr>
            <a:endParaRPr lang="de-DE" sz="14400" b="0" i="0" u="none" baseline="0">
              <a:solidFill>
                <a:schemeClr val="bg1">
                  <a:lumMod val="95000"/>
                </a:schemeClr>
              </a:solidFill>
              <a:latin typeface="+mj-lt"/>
              <a:cs typeface="Segoe UI Light" panose="020B0502040204020203" pitchFamily="34" charset="0"/>
            </a:endParaRPr>
          </a:p>
        </p:txBody>
      </p:sp>
      <p:sp>
        <p:nvSpPr>
          <p:cNvPr id="353" name="Masterfeld_Wasserzeichen DE" hidden="1">
            <a:extLst>
              <a:ext uri="{FF2B5EF4-FFF2-40B4-BE49-F238E27FC236}">
                <a16:creationId xmlns:a16="http://schemas.microsoft.com/office/drawing/2014/main" id="{0BC60646-8464-4B5A-8398-EAD11080928A}"/>
              </a:ext>
            </a:extLst>
          </p:cNvPr>
          <p:cNvSpPr txBox="1">
            <a:spLocks/>
          </p:cNvSpPr>
          <p:nvPr userDrawn="1">
            <p:custDataLst>
              <p:tags r:id="rId31"/>
            </p:custDataLst>
          </p:nvPr>
        </p:nvSpPr>
        <p:spPr>
          <a:xfrm rot="20069185">
            <a:off x="-193556" y="2412413"/>
            <a:ext cx="12551509" cy="2071096"/>
          </a:xfrm>
          <a:prstGeom prst="rect">
            <a:avLst/>
          </a:prstGeom>
          <a:noFill/>
        </p:spPr>
        <p:txBody>
          <a:bodyPr vert="horz" wrap="none" lIns="0" tIns="0" rIns="0" bIns="0" rtlCol="0" anchor="ctr">
            <a:noAutofit/>
          </a:bodyPr>
          <a:lstStyle/>
          <a:p>
            <a:pPr lvl="0" algn="ctr" rtl="0" eaLnBrk="1" fontAlgn="auto" hangingPunct="1">
              <a:lnSpc>
                <a:spcPct val="100000"/>
              </a:lnSpc>
              <a:spcBef>
                <a:spcPts val="0"/>
              </a:spcBef>
              <a:spcAft>
                <a:spcPts val="0"/>
              </a:spcAft>
            </a:pPr>
            <a:endParaRPr lang="de-DE" sz="14400" b="0" i="0" u="none" baseline="0">
              <a:solidFill>
                <a:schemeClr val="bg1">
                  <a:lumMod val="95000"/>
                </a:schemeClr>
              </a:solidFill>
              <a:latin typeface="+mj-lt"/>
              <a:cs typeface="Segoe UI Light" panose="020B0502040204020203" pitchFamily="34" charset="0"/>
            </a:endParaRPr>
          </a:p>
        </p:txBody>
      </p:sp>
      <p:sp>
        <p:nvSpPr>
          <p:cNvPr id="355" name="Masterfeld_Label ALL" hidden="1">
            <a:extLst>
              <a:ext uri="{FF2B5EF4-FFF2-40B4-BE49-F238E27FC236}">
                <a16:creationId xmlns:a16="http://schemas.microsoft.com/office/drawing/2014/main" id="{8A504E50-55BB-435A-AC4B-D802930701BB}"/>
              </a:ext>
            </a:extLst>
          </p:cNvPr>
          <p:cNvSpPr/>
          <p:nvPr userDrawn="1">
            <p:custDataLst>
              <p:tags r:id="rId32"/>
            </p:custDataLst>
          </p:nvPr>
        </p:nvSpPr>
        <p:spPr>
          <a:xfrm>
            <a:off x="0" y="999000"/>
            <a:ext cx="12192000" cy="291600"/>
          </a:xfrm>
          <a:prstGeom prst="rect">
            <a:avLst/>
          </a:prstGeom>
          <a:solidFill>
            <a:schemeClr val="accent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1" algn="ctr" rtl="0" eaLnBrk="1" fontAlgn="auto" hangingPunct="1">
              <a:lnSpc>
                <a:spcPct val="100000"/>
              </a:lnSpc>
              <a:spcBef>
                <a:spcPts val="0"/>
              </a:spcBef>
              <a:spcAft>
                <a:spcPts val="0"/>
              </a:spcAft>
            </a:pPr>
            <a:endParaRPr lang="de-DE" sz="1600" b="0" i="0" u="none" baseline="0">
              <a:solidFill>
                <a:schemeClr val="bg1"/>
              </a:solidFill>
              <a:latin typeface="+mj-lt"/>
              <a:cs typeface="Segoe UI Light" panose="020B0502040204020203" pitchFamily="34" charset="0"/>
            </a:endParaRPr>
          </a:p>
        </p:txBody>
      </p:sp>
      <p:sp>
        <p:nvSpPr>
          <p:cNvPr id="362" name="Slide number decoration" hidden="1">
            <a:extLst>
              <a:ext uri="{FF2B5EF4-FFF2-40B4-BE49-F238E27FC236}">
                <a16:creationId xmlns:a16="http://schemas.microsoft.com/office/drawing/2014/main" id="{CB9D710C-4428-490E-8149-BCAF590EBEE6}"/>
              </a:ext>
            </a:extLst>
          </p:cNvPr>
          <p:cNvSpPr>
            <a:spLocks/>
          </p:cNvSpPr>
          <p:nvPr userDrawn="1">
            <p:custDataLst>
              <p:tags r:id="rId33"/>
            </p:custDataLst>
          </p:nvPr>
        </p:nvSpPr>
        <p:spPr>
          <a:xfrm>
            <a:off x="11947200" y="6613200"/>
            <a:ext cx="244800" cy="24480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de-DE" sz="1600" b="0" i="0" u="none" baseline="0">
              <a:solidFill>
                <a:srgbClr val="000000"/>
              </a:solidFill>
              <a:latin typeface="Segoe UI Light" panose="020B0502040204020203" pitchFamily="34" charset="0"/>
              <a:cs typeface="Segoe UI Light" panose="020B0502040204020203" pitchFamily="34" charset="0"/>
            </a:endParaRPr>
          </a:p>
        </p:txBody>
      </p:sp>
      <p:sp>
        <p:nvSpPr>
          <p:cNvPr id="364" name="Slide number" hidden="1">
            <a:extLst>
              <a:ext uri="{FF2B5EF4-FFF2-40B4-BE49-F238E27FC236}">
                <a16:creationId xmlns:a16="http://schemas.microsoft.com/office/drawing/2014/main" id="{A41E70FE-9BE9-42DD-8EFC-6528AD602D8D}"/>
              </a:ext>
            </a:extLst>
          </p:cNvPr>
          <p:cNvSpPr txBox="1">
            <a:spLocks/>
          </p:cNvSpPr>
          <p:nvPr userDrawn="1">
            <p:custDataLst>
              <p:tags r:id="rId34"/>
            </p:custDataLst>
          </p:nvPr>
        </p:nvSpPr>
        <p:spPr bwMode="black">
          <a:xfrm>
            <a:off x="11947200" y="6613200"/>
            <a:ext cx="244800" cy="244800"/>
          </a:xfrm>
          <a:prstGeom prst="rect">
            <a:avLst/>
          </a:prstGeom>
          <a:solidFill>
            <a:schemeClr val="accent1"/>
          </a:solidFill>
          <a:ln>
            <a:noFill/>
          </a:ln>
        </p:spPr>
        <p:txBody>
          <a:bodyPr vert="horz" wrap="square" lIns="0" tIns="0" rIns="0" bIns="0" rtlCol="0" anchor="ctr">
            <a:noAutofit/>
          </a:bodyPr>
          <a:lstStyle/>
          <a:p>
            <a:pPr marL="0" indent="0" algn="ctr">
              <a:buFont typeface="+mj-lt"/>
              <a:buNone/>
            </a:pPr>
            <a:fld id="{9D23E012-94D2-42CD-81AD-260BE659DD86}" type="slidenum">
              <a:rPr lang="de-DE" sz="900" b="1" i="0">
                <a:solidFill>
                  <a:schemeClr val="bg1"/>
                </a:solidFill>
                <a:latin typeface="Segoe UI Semibold" panose="020B0502040204020203" pitchFamily="34" charset="0"/>
                <a:cs typeface="Segoe UI Semibold" panose="020B0502040204020203" pitchFamily="34" charset="0"/>
              </a:rPr>
              <a:pPr marL="0" indent="0" algn="ctr">
                <a:buFont typeface="+mj-lt"/>
                <a:buNone/>
              </a:pPr>
              <a:t>‹Nr.›</a:t>
            </a:fld>
            <a:endParaRPr lang="de-DE" sz="900" b="1" i="0">
              <a:solidFill>
                <a:schemeClr val="bg1"/>
              </a:solidFill>
              <a:latin typeface="Segoe UI Semibold" panose="020B0502040204020203" pitchFamily="34" charset="0"/>
              <a:cs typeface="Segoe UI Semibold" panose="020B0502040204020203" pitchFamily="34" charset="0"/>
            </a:endParaRPr>
          </a:p>
        </p:txBody>
      </p:sp>
      <p:sp>
        <p:nvSpPr>
          <p:cNvPr id="339" name="Seitenzahl Dekoration" hidden="1">
            <a:extLst>
              <a:ext uri="{FF2B5EF4-FFF2-40B4-BE49-F238E27FC236}">
                <a16:creationId xmlns:a16="http://schemas.microsoft.com/office/drawing/2014/main" id="{74E615F6-F1BB-4564-B86C-D0367C24F988}"/>
              </a:ext>
            </a:extLst>
          </p:cNvPr>
          <p:cNvSpPr/>
          <p:nvPr userDrawn="1">
            <p:custDataLst>
              <p:tags r:id="rId35"/>
            </p:custDataLst>
          </p:nvPr>
        </p:nvSpPr>
        <p:spPr>
          <a:xfrm>
            <a:off x="11947200" y="6613200"/>
            <a:ext cx="244800" cy="24480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de-DE" sz="1600" b="0" i="0" u="none" baseline="0">
              <a:solidFill>
                <a:srgbClr val="000000"/>
              </a:solidFill>
              <a:latin typeface="Segoe UI Light" panose="020B0502040204020203" pitchFamily="34" charset="0"/>
              <a:cs typeface="Segoe UI Light" panose="020B0502040204020203" pitchFamily="34" charset="0"/>
            </a:endParaRPr>
          </a:p>
        </p:txBody>
      </p:sp>
      <p:sp>
        <p:nvSpPr>
          <p:cNvPr id="340" name="Seitenzahl" hidden="1">
            <a:extLst>
              <a:ext uri="{FF2B5EF4-FFF2-40B4-BE49-F238E27FC236}">
                <a16:creationId xmlns:a16="http://schemas.microsoft.com/office/drawing/2014/main" id="{8EEB9423-3E67-4A2D-8E4E-DD5FE7C77AB8}"/>
              </a:ext>
            </a:extLst>
          </p:cNvPr>
          <p:cNvSpPr txBox="1"/>
          <p:nvPr userDrawn="1">
            <p:custDataLst>
              <p:tags r:id="rId36"/>
            </p:custDataLst>
          </p:nvPr>
        </p:nvSpPr>
        <p:spPr bwMode="black">
          <a:xfrm>
            <a:off x="11947200" y="6637338"/>
            <a:ext cx="244800" cy="193675"/>
          </a:xfrm>
          <a:prstGeom prst="rect">
            <a:avLst/>
          </a:prstGeom>
          <a:solidFill>
            <a:schemeClr val="accent1"/>
          </a:solidFill>
          <a:ln>
            <a:noFill/>
          </a:ln>
        </p:spPr>
        <p:txBody>
          <a:bodyPr vert="horz" wrap="square" lIns="0" tIns="0" rIns="0" bIns="0" rtlCol="0" anchor="ctr">
            <a:noAutofit/>
          </a:bodyPr>
          <a:lstStyle/>
          <a:p>
            <a:pPr marL="0" indent="0" algn="ctr">
              <a:buFont typeface="+mj-lt"/>
              <a:buNone/>
            </a:pPr>
            <a:fld id="{64A3D42F-8054-4016-A926-D2A0D6A99DC0}" type="slidenum">
              <a:rPr lang="de-DE" sz="900" b="1" i="0">
                <a:solidFill>
                  <a:schemeClr val="bg1"/>
                </a:solidFill>
                <a:latin typeface="Segoe UI Semibold" panose="020B0502040204020203" pitchFamily="34" charset="0"/>
                <a:cs typeface="Segoe UI Semibold" panose="020B0502040204020203" pitchFamily="34" charset="0"/>
              </a:rPr>
              <a:t>‹Nr.›</a:t>
            </a:fld>
            <a:endParaRPr lang="de-DE" sz="900" b="1" i="0">
              <a:solidFill>
                <a:schemeClr val="bg1"/>
              </a:solidFill>
              <a:latin typeface="Segoe UI Semibold" panose="020B0502040204020203" pitchFamily="34" charset="0"/>
              <a:cs typeface="Segoe UI Semibold" panose="020B0502040204020203" pitchFamily="34" charset="0"/>
            </a:endParaRPr>
          </a:p>
        </p:txBody>
      </p:sp>
      <p:grpSp>
        <p:nvGrpSpPr>
          <p:cNvPr id="397" name="Master field_Guide lines EN" hidden="1">
            <a:extLst>
              <a:ext uri="{FF2B5EF4-FFF2-40B4-BE49-F238E27FC236}">
                <a16:creationId xmlns:a16="http://schemas.microsoft.com/office/drawing/2014/main" id="{52D2F486-2EA3-4D68-B7F3-E1E8CD207CCE}"/>
              </a:ext>
            </a:extLst>
          </p:cNvPr>
          <p:cNvGrpSpPr/>
          <p:nvPr userDrawn="1">
            <p:custDataLst>
              <p:tags r:id="rId37"/>
            </p:custDataLst>
          </p:nvPr>
        </p:nvGrpSpPr>
        <p:grpSpPr>
          <a:xfrm>
            <a:off x="69600" y="124200"/>
            <a:ext cx="12052800" cy="6636600"/>
            <a:chOff x="69600" y="124200"/>
            <a:chExt cx="12052800" cy="6636600"/>
          </a:xfrm>
        </p:grpSpPr>
        <p:cxnSp>
          <p:nvCxnSpPr>
            <p:cNvPr id="377" name="Gerader Verbinder 376" hidden="1">
              <a:extLst>
                <a:ext uri="{FF2B5EF4-FFF2-40B4-BE49-F238E27FC236}">
                  <a16:creationId xmlns:a16="http://schemas.microsoft.com/office/drawing/2014/main" id="{35A22685-D8FE-422D-8991-859860954513}"/>
                </a:ext>
              </a:extLst>
            </p:cNvPr>
            <p:cNvCxnSpPr>
              <a:cxnSpLocks/>
            </p:cNvCxnSpPr>
            <p:nvPr userDrawn="1"/>
          </p:nvCxnSpPr>
          <p:spPr>
            <a:xfrm>
              <a:off x="4584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8" name="Gerader Verbinder 377" hidden="1">
              <a:extLst>
                <a:ext uri="{FF2B5EF4-FFF2-40B4-BE49-F238E27FC236}">
                  <a16:creationId xmlns:a16="http://schemas.microsoft.com/office/drawing/2014/main" id="{2D619187-5999-4534-B10D-46AF9B321211}"/>
                </a:ext>
              </a:extLst>
            </p:cNvPr>
            <p:cNvCxnSpPr>
              <a:cxnSpLocks/>
            </p:cNvCxnSpPr>
            <p:nvPr userDrawn="1"/>
          </p:nvCxnSpPr>
          <p:spPr>
            <a:xfrm>
              <a:off x="24024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9" name="Gerader Verbinder 378" hidden="1">
              <a:extLst>
                <a:ext uri="{FF2B5EF4-FFF2-40B4-BE49-F238E27FC236}">
                  <a16:creationId xmlns:a16="http://schemas.microsoft.com/office/drawing/2014/main" id="{FDAB62DC-411F-463A-A53D-2A54C77A79F2}"/>
                </a:ext>
              </a:extLst>
            </p:cNvPr>
            <p:cNvCxnSpPr>
              <a:cxnSpLocks/>
            </p:cNvCxnSpPr>
            <p:nvPr userDrawn="1"/>
          </p:nvCxnSpPr>
          <p:spPr>
            <a:xfrm>
              <a:off x="43464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0" name="Gerader Verbinder 379" hidden="1">
              <a:extLst>
                <a:ext uri="{FF2B5EF4-FFF2-40B4-BE49-F238E27FC236}">
                  <a16:creationId xmlns:a16="http://schemas.microsoft.com/office/drawing/2014/main" id="{630DC423-D7D4-435A-9388-74C4F3EC672F}"/>
                </a:ext>
              </a:extLst>
            </p:cNvPr>
            <p:cNvCxnSpPr>
              <a:cxnSpLocks/>
            </p:cNvCxnSpPr>
            <p:nvPr userDrawn="1"/>
          </p:nvCxnSpPr>
          <p:spPr>
            <a:xfrm>
              <a:off x="62904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1" name="Gerader Verbinder 380" hidden="1">
              <a:extLst>
                <a:ext uri="{FF2B5EF4-FFF2-40B4-BE49-F238E27FC236}">
                  <a16:creationId xmlns:a16="http://schemas.microsoft.com/office/drawing/2014/main" id="{C84AB79D-AA3D-498B-B640-F4A82B7ABD72}"/>
                </a:ext>
              </a:extLst>
            </p:cNvPr>
            <p:cNvCxnSpPr>
              <a:cxnSpLocks/>
            </p:cNvCxnSpPr>
            <p:nvPr userDrawn="1"/>
          </p:nvCxnSpPr>
          <p:spPr>
            <a:xfrm>
              <a:off x="82344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2" name="Gerader Verbinder 381" hidden="1">
              <a:extLst>
                <a:ext uri="{FF2B5EF4-FFF2-40B4-BE49-F238E27FC236}">
                  <a16:creationId xmlns:a16="http://schemas.microsoft.com/office/drawing/2014/main" id="{12DE93C4-4D31-4B06-8754-A6601AEC23BE}"/>
                </a:ext>
              </a:extLst>
            </p:cNvPr>
            <p:cNvCxnSpPr>
              <a:cxnSpLocks/>
            </p:cNvCxnSpPr>
            <p:nvPr userDrawn="1"/>
          </p:nvCxnSpPr>
          <p:spPr>
            <a:xfrm>
              <a:off x="101784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3" name="Gerader Verbinder 382" hidden="1">
              <a:extLst>
                <a:ext uri="{FF2B5EF4-FFF2-40B4-BE49-F238E27FC236}">
                  <a16:creationId xmlns:a16="http://schemas.microsoft.com/office/drawing/2014/main" id="{C4E78B12-A65D-4964-BA5D-B02BA842A97F}"/>
                </a:ext>
              </a:extLst>
            </p:cNvPr>
            <p:cNvCxnSpPr>
              <a:cxnSpLocks/>
            </p:cNvCxnSpPr>
            <p:nvPr userDrawn="1"/>
          </p:nvCxnSpPr>
          <p:spPr>
            <a:xfrm>
              <a:off x="117336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4" name="Gerader Verbinder 383" hidden="1">
              <a:extLst>
                <a:ext uri="{FF2B5EF4-FFF2-40B4-BE49-F238E27FC236}">
                  <a16:creationId xmlns:a16="http://schemas.microsoft.com/office/drawing/2014/main" id="{4EEE0AA0-FBFF-4933-A1A8-CF13CDAFD3AE}"/>
                </a:ext>
              </a:extLst>
            </p:cNvPr>
            <p:cNvCxnSpPr>
              <a:cxnSpLocks/>
            </p:cNvCxnSpPr>
            <p:nvPr userDrawn="1"/>
          </p:nvCxnSpPr>
          <p:spPr>
            <a:xfrm>
              <a:off x="97896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5" name="Gerader Verbinder 384" hidden="1">
              <a:extLst>
                <a:ext uri="{FF2B5EF4-FFF2-40B4-BE49-F238E27FC236}">
                  <a16:creationId xmlns:a16="http://schemas.microsoft.com/office/drawing/2014/main" id="{90E5B946-CACA-4D52-AA16-9154F10886BC}"/>
                </a:ext>
              </a:extLst>
            </p:cNvPr>
            <p:cNvCxnSpPr>
              <a:cxnSpLocks/>
            </p:cNvCxnSpPr>
            <p:nvPr userDrawn="1"/>
          </p:nvCxnSpPr>
          <p:spPr>
            <a:xfrm>
              <a:off x="78456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6" name="Gerader Verbinder 385" hidden="1">
              <a:extLst>
                <a:ext uri="{FF2B5EF4-FFF2-40B4-BE49-F238E27FC236}">
                  <a16:creationId xmlns:a16="http://schemas.microsoft.com/office/drawing/2014/main" id="{EB0688EC-171C-4783-9303-D253FB8007C4}"/>
                </a:ext>
              </a:extLst>
            </p:cNvPr>
            <p:cNvCxnSpPr>
              <a:cxnSpLocks/>
            </p:cNvCxnSpPr>
            <p:nvPr userDrawn="1"/>
          </p:nvCxnSpPr>
          <p:spPr>
            <a:xfrm>
              <a:off x="59016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7" name="Gerader Verbinder 386" hidden="1">
              <a:extLst>
                <a:ext uri="{FF2B5EF4-FFF2-40B4-BE49-F238E27FC236}">
                  <a16:creationId xmlns:a16="http://schemas.microsoft.com/office/drawing/2014/main" id="{80327993-6097-4CC3-8E6E-8B24FA674F0D}"/>
                </a:ext>
              </a:extLst>
            </p:cNvPr>
            <p:cNvCxnSpPr>
              <a:cxnSpLocks/>
            </p:cNvCxnSpPr>
            <p:nvPr userDrawn="1"/>
          </p:nvCxnSpPr>
          <p:spPr>
            <a:xfrm>
              <a:off x="39576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8" name="Gerader Verbinder 387" hidden="1">
              <a:extLst>
                <a:ext uri="{FF2B5EF4-FFF2-40B4-BE49-F238E27FC236}">
                  <a16:creationId xmlns:a16="http://schemas.microsoft.com/office/drawing/2014/main" id="{BAB3CC89-54EF-4350-B782-54E20137BA48}"/>
                </a:ext>
              </a:extLst>
            </p:cNvPr>
            <p:cNvCxnSpPr>
              <a:cxnSpLocks/>
            </p:cNvCxnSpPr>
            <p:nvPr userDrawn="1"/>
          </p:nvCxnSpPr>
          <p:spPr>
            <a:xfrm>
              <a:off x="20136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9" name="Gerader Verbinder 388" hidden="1">
              <a:extLst>
                <a:ext uri="{FF2B5EF4-FFF2-40B4-BE49-F238E27FC236}">
                  <a16:creationId xmlns:a16="http://schemas.microsoft.com/office/drawing/2014/main" id="{FEB299E7-65FE-4AD2-B145-AA3E9677D80C}"/>
                </a:ext>
              </a:extLst>
            </p:cNvPr>
            <p:cNvCxnSpPr>
              <a:cxnSpLocks/>
            </p:cNvCxnSpPr>
            <p:nvPr userDrawn="1"/>
          </p:nvCxnSpPr>
          <p:spPr>
            <a:xfrm>
              <a:off x="69600" y="318600"/>
              <a:ext cx="12052800" cy="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0" name="Gerader Verbinder 389" hidden="1">
              <a:extLst>
                <a:ext uri="{FF2B5EF4-FFF2-40B4-BE49-F238E27FC236}">
                  <a16:creationId xmlns:a16="http://schemas.microsoft.com/office/drawing/2014/main" id="{BFB5671E-653B-4B1E-AEED-3B44B2FCFEE7}"/>
                </a:ext>
              </a:extLst>
            </p:cNvPr>
            <p:cNvCxnSpPr>
              <a:cxnSpLocks/>
            </p:cNvCxnSpPr>
            <p:nvPr userDrawn="1"/>
          </p:nvCxnSpPr>
          <p:spPr>
            <a:xfrm>
              <a:off x="69600" y="901800"/>
              <a:ext cx="12052800" cy="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1" name="Gerader Verbinder 390" hidden="1">
              <a:extLst>
                <a:ext uri="{FF2B5EF4-FFF2-40B4-BE49-F238E27FC236}">
                  <a16:creationId xmlns:a16="http://schemas.microsoft.com/office/drawing/2014/main" id="{1AA6AD2C-C78D-4EF0-A510-5F2BE28F66B4}"/>
                </a:ext>
              </a:extLst>
            </p:cNvPr>
            <p:cNvCxnSpPr>
              <a:cxnSpLocks/>
            </p:cNvCxnSpPr>
            <p:nvPr userDrawn="1"/>
          </p:nvCxnSpPr>
          <p:spPr>
            <a:xfrm>
              <a:off x="69600" y="1387800"/>
              <a:ext cx="12052800" cy="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2" name="Gerader Verbinder 391" hidden="1">
              <a:extLst>
                <a:ext uri="{FF2B5EF4-FFF2-40B4-BE49-F238E27FC236}">
                  <a16:creationId xmlns:a16="http://schemas.microsoft.com/office/drawing/2014/main" id="{8ED978A9-5654-488E-9F5E-E05D0CB44843}"/>
                </a:ext>
              </a:extLst>
            </p:cNvPr>
            <p:cNvCxnSpPr>
              <a:cxnSpLocks/>
            </p:cNvCxnSpPr>
            <p:nvPr userDrawn="1"/>
          </p:nvCxnSpPr>
          <p:spPr>
            <a:xfrm>
              <a:off x="69600" y="2943000"/>
              <a:ext cx="12052800" cy="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3" name="Gerader Verbinder 392" hidden="1">
              <a:extLst>
                <a:ext uri="{FF2B5EF4-FFF2-40B4-BE49-F238E27FC236}">
                  <a16:creationId xmlns:a16="http://schemas.microsoft.com/office/drawing/2014/main" id="{92A8A752-8B23-4825-91BF-AD28B79C57BB}"/>
                </a:ext>
              </a:extLst>
            </p:cNvPr>
            <p:cNvCxnSpPr>
              <a:cxnSpLocks/>
            </p:cNvCxnSpPr>
            <p:nvPr userDrawn="1"/>
          </p:nvCxnSpPr>
          <p:spPr>
            <a:xfrm>
              <a:off x="69600" y="5275800"/>
              <a:ext cx="12052800" cy="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4" name="Gerader Verbinder 393" hidden="1">
              <a:extLst>
                <a:ext uri="{FF2B5EF4-FFF2-40B4-BE49-F238E27FC236}">
                  <a16:creationId xmlns:a16="http://schemas.microsoft.com/office/drawing/2014/main" id="{D1A33259-C96B-4348-9AEE-20F0F36BB2DE}"/>
                </a:ext>
              </a:extLst>
            </p:cNvPr>
            <p:cNvCxnSpPr>
              <a:cxnSpLocks/>
            </p:cNvCxnSpPr>
            <p:nvPr userDrawn="1"/>
          </p:nvCxnSpPr>
          <p:spPr>
            <a:xfrm>
              <a:off x="69600" y="6442200"/>
              <a:ext cx="12052800" cy="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5" name="Gerader Verbinder 394" hidden="1">
              <a:extLst>
                <a:ext uri="{FF2B5EF4-FFF2-40B4-BE49-F238E27FC236}">
                  <a16:creationId xmlns:a16="http://schemas.microsoft.com/office/drawing/2014/main" id="{982499CD-773F-4943-AAE2-31A25208920F}"/>
                </a:ext>
              </a:extLst>
            </p:cNvPr>
            <p:cNvCxnSpPr>
              <a:cxnSpLocks/>
            </p:cNvCxnSpPr>
            <p:nvPr userDrawn="1"/>
          </p:nvCxnSpPr>
          <p:spPr>
            <a:xfrm>
              <a:off x="69600" y="3331800"/>
              <a:ext cx="12052800" cy="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6" name="Gerader Verbinder 395" hidden="1">
              <a:extLst>
                <a:ext uri="{FF2B5EF4-FFF2-40B4-BE49-F238E27FC236}">
                  <a16:creationId xmlns:a16="http://schemas.microsoft.com/office/drawing/2014/main" id="{99EE1CED-0A7D-417D-B4CB-7F500CC845AF}"/>
                </a:ext>
              </a:extLst>
            </p:cNvPr>
            <p:cNvCxnSpPr>
              <a:cxnSpLocks/>
            </p:cNvCxnSpPr>
            <p:nvPr userDrawn="1"/>
          </p:nvCxnSpPr>
          <p:spPr>
            <a:xfrm>
              <a:off x="69600" y="4887000"/>
              <a:ext cx="12052800" cy="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334" name="Master field_Support grid EN" hidden="1">
            <a:extLst>
              <a:ext uri="{FF2B5EF4-FFF2-40B4-BE49-F238E27FC236}">
                <a16:creationId xmlns:a16="http://schemas.microsoft.com/office/drawing/2014/main" id="{E9D01B52-8D4C-463B-B858-E5C09B32BDAC}"/>
              </a:ext>
            </a:extLst>
          </p:cNvPr>
          <p:cNvGrpSpPr/>
          <p:nvPr userDrawn="1">
            <p:custDataLst>
              <p:tags r:id="rId38"/>
            </p:custDataLst>
          </p:nvPr>
        </p:nvGrpSpPr>
        <p:grpSpPr>
          <a:xfrm>
            <a:off x="-513599" y="-264599"/>
            <a:ext cx="12927599" cy="7387200"/>
            <a:chOff x="-513599" y="-264599"/>
            <a:chExt cx="12927599" cy="7387200"/>
          </a:xfrm>
        </p:grpSpPr>
        <p:cxnSp>
          <p:nvCxnSpPr>
            <p:cNvPr id="324" name="Gerader Verbinder 323" hidden="1">
              <a:extLst>
                <a:ext uri="{FF2B5EF4-FFF2-40B4-BE49-F238E27FC236}">
                  <a16:creationId xmlns:a16="http://schemas.microsoft.com/office/drawing/2014/main" id="{8B613D61-32FE-456F-87D0-95BD67C6F977}"/>
                </a:ext>
              </a:extLst>
            </p:cNvPr>
            <p:cNvCxnSpPr>
              <a:cxnSpLocks/>
            </p:cNvCxnSpPr>
            <p:nvPr userDrawn="1"/>
          </p:nvCxnSpPr>
          <p:spPr>
            <a:xfrm flipH="1">
              <a:off x="12316800" y="17766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25" name="Gerader Verbinder 324" hidden="1">
              <a:extLst>
                <a:ext uri="{FF2B5EF4-FFF2-40B4-BE49-F238E27FC236}">
                  <a16:creationId xmlns:a16="http://schemas.microsoft.com/office/drawing/2014/main" id="{E414009B-951F-4758-98BA-98EB5568C69A}"/>
                </a:ext>
              </a:extLst>
            </p:cNvPr>
            <p:cNvCxnSpPr>
              <a:cxnSpLocks/>
            </p:cNvCxnSpPr>
            <p:nvPr userDrawn="1"/>
          </p:nvCxnSpPr>
          <p:spPr>
            <a:xfrm flipH="1">
              <a:off x="12316800" y="23598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26" name="Gerader Verbinder 325" hidden="1">
              <a:extLst>
                <a:ext uri="{FF2B5EF4-FFF2-40B4-BE49-F238E27FC236}">
                  <a16:creationId xmlns:a16="http://schemas.microsoft.com/office/drawing/2014/main" id="{68CCF0B9-652A-4FDA-AE73-6C0BD497335A}"/>
                </a:ext>
              </a:extLst>
            </p:cNvPr>
            <p:cNvCxnSpPr>
              <a:cxnSpLocks/>
            </p:cNvCxnSpPr>
            <p:nvPr userDrawn="1"/>
          </p:nvCxnSpPr>
          <p:spPr>
            <a:xfrm flipH="1">
              <a:off x="12316800" y="29430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27" name="Gerader Verbinder 326" hidden="1">
              <a:extLst>
                <a:ext uri="{FF2B5EF4-FFF2-40B4-BE49-F238E27FC236}">
                  <a16:creationId xmlns:a16="http://schemas.microsoft.com/office/drawing/2014/main" id="{0C0AC19C-5E09-40F3-9CC7-41D95CE020BB}"/>
                </a:ext>
              </a:extLst>
            </p:cNvPr>
            <p:cNvCxnSpPr>
              <a:cxnSpLocks/>
            </p:cNvCxnSpPr>
            <p:nvPr userDrawn="1"/>
          </p:nvCxnSpPr>
          <p:spPr>
            <a:xfrm flipH="1">
              <a:off x="12316800" y="35262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28" name="Gerader Verbinder 327" hidden="1">
              <a:extLst>
                <a:ext uri="{FF2B5EF4-FFF2-40B4-BE49-F238E27FC236}">
                  <a16:creationId xmlns:a16="http://schemas.microsoft.com/office/drawing/2014/main" id="{79319A40-DE1D-477A-9B64-E3185C89E2FF}"/>
                </a:ext>
              </a:extLst>
            </p:cNvPr>
            <p:cNvCxnSpPr>
              <a:cxnSpLocks/>
            </p:cNvCxnSpPr>
            <p:nvPr userDrawn="1"/>
          </p:nvCxnSpPr>
          <p:spPr>
            <a:xfrm flipH="1">
              <a:off x="12316800" y="41094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29" name="Gerader Verbinder 328" hidden="1">
              <a:extLst>
                <a:ext uri="{FF2B5EF4-FFF2-40B4-BE49-F238E27FC236}">
                  <a16:creationId xmlns:a16="http://schemas.microsoft.com/office/drawing/2014/main" id="{4C98D0C5-3B4F-4EEC-9E56-E193E56FAF35}"/>
                </a:ext>
              </a:extLst>
            </p:cNvPr>
            <p:cNvCxnSpPr>
              <a:cxnSpLocks/>
            </p:cNvCxnSpPr>
            <p:nvPr userDrawn="1"/>
          </p:nvCxnSpPr>
          <p:spPr>
            <a:xfrm flipH="1">
              <a:off x="12316800" y="46926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30" name="Gerader Verbinder 329" hidden="1">
              <a:extLst>
                <a:ext uri="{FF2B5EF4-FFF2-40B4-BE49-F238E27FC236}">
                  <a16:creationId xmlns:a16="http://schemas.microsoft.com/office/drawing/2014/main" id="{D9908D51-2AAF-4EE9-9EF4-864B40B950D7}"/>
                </a:ext>
              </a:extLst>
            </p:cNvPr>
            <p:cNvCxnSpPr>
              <a:cxnSpLocks/>
            </p:cNvCxnSpPr>
            <p:nvPr userDrawn="1"/>
          </p:nvCxnSpPr>
          <p:spPr>
            <a:xfrm flipH="1">
              <a:off x="12316800" y="52758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31" name="Gerader Verbinder 330" hidden="1">
              <a:extLst>
                <a:ext uri="{FF2B5EF4-FFF2-40B4-BE49-F238E27FC236}">
                  <a16:creationId xmlns:a16="http://schemas.microsoft.com/office/drawing/2014/main" id="{A0289920-BB74-44FF-BC6A-947EB5AF9A7B}"/>
                </a:ext>
              </a:extLst>
            </p:cNvPr>
            <p:cNvCxnSpPr>
              <a:cxnSpLocks/>
            </p:cNvCxnSpPr>
            <p:nvPr userDrawn="1"/>
          </p:nvCxnSpPr>
          <p:spPr>
            <a:xfrm flipH="1">
              <a:off x="12316800" y="58590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32" name="Gerader Verbinder 331" hidden="1">
              <a:extLst>
                <a:ext uri="{FF2B5EF4-FFF2-40B4-BE49-F238E27FC236}">
                  <a16:creationId xmlns:a16="http://schemas.microsoft.com/office/drawing/2014/main" id="{7A26C63B-14A8-44B9-9C41-73D521E690F3}"/>
                </a:ext>
              </a:extLst>
            </p:cNvPr>
            <p:cNvCxnSpPr>
              <a:cxnSpLocks/>
            </p:cNvCxnSpPr>
            <p:nvPr userDrawn="1"/>
          </p:nvCxnSpPr>
          <p:spPr>
            <a:xfrm flipH="1">
              <a:off x="12316800" y="64422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62" name="Gerader Verbinder 161" hidden="1">
              <a:extLst>
                <a:ext uri="{FF2B5EF4-FFF2-40B4-BE49-F238E27FC236}">
                  <a16:creationId xmlns:a16="http://schemas.microsoft.com/office/drawing/2014/main" id="{12A01527-EC36-43A4-8168-EA5ACACD659C}"/>
                </a:ext>
              </a:extLst>
            </p:cNvPr>
            <p:cNvCxnSpPr/>
            <p:nvPr userDrawn="1"/>
          </p:nvCxnSpPr>
          <p:spPr>
            <a:xfrm>
              <a:off x="458401"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63" name="Gerader Verbinder 162" hidden="1">
              <a:extLst>
                <a:ext uri="{FF2B5EF4-FFF2-40B4-BE49-F238E27FC236}">
                  <a16:creationId xmlns:a16="http://schemas.microsoft.com/office/drawing/2014/main" id="{AFF8F76F-07BB-4636-83BB-3E7F688EB6B8}"/>
                </a:ext>
              </a:extLst>
            </p:cNvPr>
            <p:cNvCxnSpPr/>
            <p:nvPr userDrawn="1"/>
          </p:nvCxnSpPr>
          <p:spPr>
            <a:xfrm>
              <a:off x="1041601" y="-221399"/>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64" name="Gerader Verbinder 163" hidden="1">
              <a:extLst>
                <a:ext uri="{FF2B5EF4-FFF2-40B4-BE49-F238E27FC236}">
                  <a16:creationId xmlns:a16="http://schemas.microsoft.com/office/drawing/2014/main" id="{5E3FEA2E-C9BE-48A1-B977-5DEA20160A56}"/>
                </a:ext>
              </a:extLst>
            </p:cNvPr>
            <p:cNvCxnSpPr/>
            <p:nvPr userDrawn="1"/>
          </p:nvCxnSpPr>
          <p:spPr>
            <a:xfrm>
              <a:off x="2013601"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65" name="Gerader Verbinder 164" hidden="1">
              <a:extLst>
                <a:ext uri="{FF2B5EF4-FFF2-40B4-BE49-F238E27FC236}">
                  <a16:creationId xmlns:a16="http://schemas.microsoft.com/office/drawing/2014/main" id="{81AE7047-AFB9-41E6-9784-F1B1BB35D8EE}"/>
                </a:ext>
              </a:extLst>
            </p:cNvPr>
            <p:cNvCxnSpPr/>
            <p:nvPr userDrawn="1"/>
          </p:nvCxnSpPr>
          <p:spPr>
            <a:xfrm>
              <a:off x="1430401" y="-221399"/>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66" name="Gerader Verbinder 165" hidden="1">
              <a:extLst>
                <a:ext uri="{FF2B5EF4-FFF2-40B4-BE49-F238E27FC236}">
                  <a16:creationId xmlns:a16="http://schemas.microsoft.com/office/drawing/2014/main" id="{A58DF263-DEC0-4E83-AADC-EC75EA4E7CA4}"/>
                </a:ext>
              </a:extLst>
            </p:cNvPr>
            <p:cNvCxnSpPr/>
            <p:nvPr userDrawn="1"/>
          </p:nvCxnSpPr>
          <p:spPr>
            <a:xfrm>
              <a:off x="2013601"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67" name="Gerader Verbinder 166" hidden="1">
              <a:extLst>
                <a:ext uri="{FF2B5EF4-FFF2-40B4-BE49-F238E27FC236}">
                  <a16:creationId xmlns:a16="http://schemas.microsoft.com/office/drawing/2014/main" id="{7E5897DD-9E4D-43E6-A151-C859D7D995C1}"/>
                </a:ext>
              </a:extLst>
            </p:cNvPr>
            <p:cNvCxnSpPr/>
            <p:nvPr userDrawn="1"/>
          </p:nvCxnSpPr>
          <p:spPr>
            <a:xfrm>
              <a:off x="2013601"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68" name="Gerader Verbinder 167" hidden="1">
              <a:extLst>
                <a:ext uri="{FF2B5EF4-FFF2-40B4-BE49-F238E27FC236}">
                  <a16:creationId xmlns:a16="http://schemas.microsoft.com/office/drawing/2014/main" id="{3E5BCDC3-814B-42BE-B4E1-583EB9EC9551}"/>
                </a:ext>
              </a:extLst>
            </p:cNvPr>
            <p:cNvCxnSpPr/>
            <p:nvPr userDrawn="1"/>
          </p:nvCxnSpPr>
          <p:spPr>
            <a:xfrm>
              <a:off x="2402401"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69" name="Gerader Verbinder 168" hidden="1">
              <a:extLst>
                <a:ext uri="{FF2B5EF4-FFF2-40B4-BE49-F238E27FC236}">
                  <a16:creationId xmlns:a16="http://schemas.microsoft.com/office/drawing/2014/main" id="{79073897-8DEA-4A99-AAFF-D9E0068EF9CF}"/>
                </a:ext>
              </a:extLst>
            </p:cNvPr>
            <p:cNvCxnSpPr/>
            <p:nvPr userDrawn="1"/>
          </p:nvCxnSpPr>
          <p:spPr>
            <a:xfrm>
              <a:off x="2985601" y="-221399"/>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70" name="Gerader Verbinder 169" hidden="1">
              <a:extLst>
                <a:ext uri="{FF2B5EF4-FFF2-40B4-BE49-F238E27FC236}">
                  <a16:creationId xmlns:a16="http://schemas.microsoft.com/office/drawing/2014/main" id="{BFACF030-DE9E-4641-820A-75CF34D4E0C5}"/>
                </a:ext>
              </a:extLst>
            </p:cNvPr>
            <p:cNvCxnSpPr/>
            <p:nvPr userDrawn="1"/>
          </p:nvCxnSpPr>
          <p:spPr>
            <a:xfrm>
              <a:off x="3957601"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71" name="Gerader Verbinder 170" hidden="1">
              <a:extLst>
                <a:ext uri="{FF2B5EF4-FFF2-40B4-BE49-F238E27FC236}">
                  <a16:creationId xmlns:a16="http://schemas.microsoft.com/office/drawing/2014/main" id="{DFA3D003-C979-45E4-9EDE-7D92C1F54814}"/>
                </a:ext>
              </a:extLst>
            </p:cNvPr>
            <p:cNvCxnSpPr/>
            <p:nvPr userDrawn="1"/>
          </p:nvCxnSpPr>
          <p:spPr>
            <a:xfrm>
              <a:off x="3374401" y="-221399"/>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72" name="Gerader Verbinder 171" hidden="1">
              <a:extLst>
                <a:ext uri="{FF2B5EF4-FFF2-40B4-BE49-F238E27FC236}">
                  <a16:creationId xmlns:a16="http://schemas.microsoft.com/office/drawing/2014/main" id="{138B96AB-ED97-46EF-B58D-B36173E85FF9}"/>
                </a:ext>
              </a:extLst>
            </p:cNvPr>
            <p:cNvCxnSpPr/>
            <p:nvPr userDrawn="1"/>
          </p:nvCxnSpPr>
          <p:spPr>
            <a:xfrm>
              <a:off x="3957601"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73" name="Gerader Verbinder 172" hidden="1">
              <a:extLst>
                <a:ext uri="{FF2B5EF4-FFF2-40B4-BE49-F238E27FC236}">
                  <a16:creationId xmlns:a16="http://schemas.microsoft.com/office/drawing/2014/main" id="{30591B41-29E8-442C-80CA-7E2FCA47B29A}"/>
                </a:ext>
              </a:extLst>
            </p:cNvPr>
            <p:cNvCxnSpPr/>
            <p:nvPr userDrawn="1"/>
          </p:nvCxnSpPr>
          <p:spPr>
            <a:xfrm>
              <a:off x="3957601"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74" name="Gerader Verbinder 173" hidden="1">
              <a:extLst>
                <a:ext uri="{FF2B5EF4-FFF2-40B4-BE49-F238E27FC236}">
                  <a16:creationId xmlns:a16="http://schemas.microsoft.com/office/drawing/2014/main" id="{75C3D05E-9562-4640-9378-4203E30C6405}"/>
                </a:ext>
              </a:extLst>
            </p:cNvPr>
            <p:cNvCxnSpPr/>
            <p:nvPr userDrawn="1"/>
          </p:nvCxnSpPr>
          <p:spPr>
            <a:xfrm>
              <a:off x="4346401"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75" name="Gerader Verbinder 174" hidden="1">
              <a:extLst>
                <a:ext uri="{FF2B5EF4-FFF2-40B4-BE49-F238E27FC236}">
                  <a16:creationId xmlns:a16="http://schemas.microsoft.com/office/drawing/2014/main" id="{B5F7FE3F-AE90-439C-B05E-AB7EB6B2735D}"/>
                </a:ext>
              </a:extLst>
            </p:cNvPr>
            <p:cNvCxnSpPr/>
            <p:nvPr userDrawn="1"/>
          </p:nvCxnSpPr>
          <p:spPr>
            <a:xfrm>
              <a:off x="4929601" y="-221399"/>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76" name="Gerader Verbinder 175" hidden="1">
              <a:extLst>
                <a:ext uri="{FF2B5EF4-FFF2-40B4-BE49-F238E27FC236}">
                  <a16:creationId xmlns:a16="http://schemas.microsoft.com/office/drawing/2014/main" id="{5548312C-FF09-4B93-B32E-3FE399BC7233}"/>
                </a:ext>
              </a:extLst>
            </p:cNvPr>
            <p:cNvCxnSpPr/>
            <p:nvPr userDrawn="1"/>
          </p:nvCxnSpPr>
          <p:spPr>
            <a:xfrm>
              <a:off x="5901600"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77" name="Gerader Verbinder 176" hidden="1">
              <a:extLst>
                <a:ext uri="{FF2B5EF4-FFF2-40B4-BE49-F238E27FC236}">
                  <a16:creationId xmlns:a16="http://schemas.microsoft.com/office/drawing/2014/main" id="{B111A49D-5115-44B3-8D86-28B349B8B6D0}"/>
                </a:ext>
              </a:extLst>
            </p:cNvPr>
            <p:cNvCxnSpPr/>
            <p:nvPr userDrawn="1"/>
          </p:nvCxnSpPr>
          <p:spPr>
            <a:xfrm>
              <a:off x="5318401" y="-221399"/>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78" name="Gerader Verbinder 177" hidden="1">
              <a:extLst>
                <a:ext uri="{FF2B5EF4-FFF2-40B4-BE49-F238E27FC236}">
                  <a16:creationId xmlns:a16="http://schemas.microsoft.com/office/drawing/2014/main" id="{B618976C-AB49-4258-90C6-EC0DE84146EB}"/>
                </a:ext>
              </a:extLst>
            </p:cNvPr>
            <p:cNvCxnSpPr/>
            <p:nvPr userDrawn="1"/>
          </p:nvCxnSpPr>
          <p:spPr>
            <a:xfrm>
              <a:off x="5901600"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79" name="Gerader Verbinder 178" hidden="1">
              <a:extLst>
                <a:ext uri="{FF2B5EF4-FFF2-40B4-BE49-F238E27FC236}">
                  <a16:creationId xmlns:a16="http://schemas.microsoft.com/office/drawing/2014/main" id="{5187CA9E-2E80-4CF2-A164-13C7250B6536}"/>
                </a:ext>
              </a:extLst>
            </p:cNvPr>
            <p:cNvCxnSpPr/>
            <p:nvPr userDrawn="1"/>
          </p:nvCxnSpPr>
          <p:spPr>
            <a:xfrm>
              <a:off x="5901600"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80" name="Gerader Verbinder 179" hidden="1">
              <a:extLst>
                <a:ext uri="{FF2B5EF4-FFF2-40B4-BE49-F238E27FC236}">
                  <a16:creationId xmlns:a16="http://schemas.microsoft.com/office/drawing/2014/main" id="{DE8CCB6F-FF4E-4B7D-AB5D-D01C08011551}"/>
                </a:ext>
              </a:extLst>
            </p:cNvPr>
            <p:cNvCxnSpPr/>
            <p:nvPr userDrawn="1"/>
          </p:nvCxnSpPr>
          <p:spPr>
            <a:xfrm>
              <a:off x="6290400"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81" name="Gerader Verbinder 180" hidden="1">
              <a:extLst>
                <a:ext uri="{FF2B5EF4-FFF2-40B4-BE49-F238E27FC236}">
                  <a16:creationId xmlns:a16="http://schemas.microsoft.com/office/drawing/2014/main" id="{1B5F3707-82A2-43DC-87EB-0C10D9856DAE}"/>
                </a:ext>
              </a:extLst>
            </p:cNvPr>
            <p:cNvCxnSpPr/>
            <p:nvPr userDrawn="1"/>
          </p:nvCxnSpPr>
          <p:spPr>
            <a:xfrm>
              <a:off x="6873600" y="-221399"/>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82" name="Gerader Verbinder 181" hidden="1">
              <a:extLst>
                <a:ext uri="{FF2B5EF4-FFF2-40B4-BE49-F238E27FC236}">
                  <a16:creationId xmlns:a16="http://schemas.microsoft.com/office/drawing/2014/main" id="{D362C5CA-4586-48B4-9B7F-ED51BAA12B2D}"/>
                </a:ext>
              </a:extLst>
            </p:cNvPr>
            <p:cNvCxnSpPr/>
            <p:nvPr userDrawn="1"/>
          </p:nvCxnSpPr>
          <p:spPr>
            <a:xfrm>
              <a:off x="7845600"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83" name="Gerader Verbinder 182" hidden="1">
              <a:extLst>
                <a:ext uri="{FF2B5EF4-FFF2-40B4-BE49-F238E27FC236}">
                  <a16:creationId xmlns:a16="http://schemas.microsoft.com/office/drawing/2014/main" id="{499EF95A-CEBE-4114-AFC7-2C1C51B27680}"/>
                </a:ext>
              </a:extLst>
            </p:cNvPr>
            <p:cNvCxnSpPr/>
            <p:nvPr userDrawn="1"/>
          </p:nvCxnSpPr>
          <p:spPr>
            <a:xfrm>
              <a:off x="7262400" y="-221399"/>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84" name="Gerader Verbinder 183" hidden="1">
              <a:extLst>
                <a:ext uri="{FF2B5EF4-FFF2-40B4-BE49-F238E27FC236}">
                  <a16:creationId xmlns:a16="http://schemas.microsoft.com/office/drawing/2014/main" id="{F7284DE7-CBFA-4980-8F47-4A6CA9BDA2D7}"/>
                </a:ext>
              </a:extLst>
            </p:cNvPr>
            <p:cNvCxnSpPr/>
            <p:nvPr userDrawn="1"/>
          </p:nvCxnSpPr>
          <p:spPr>
            <a:xfrm>
              <a:off x="7845600"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85" name="Gerader Verbinder 184" hidden="1">
              <a:extLst>
                <a:ext uri="{FF2B5EF4-FFF2-40B4-BE49-F238E27FC236}">
                  <a16:creationId xmlns:a16="http://schemas.microsoft.com/office/drawing/2014/main" id="{1D9528E0-0FB8-47FE-95F0-C7276AED0E2C}"/>
                </a:ext>
              </a:extLst>
            </p:cNvPr>
            <p:cNvCxnSpPr/>
            <p:nvPr userDrawn="1"/>
          </p:nvCxnSpPr>
          <p:spPr>
            <a:xfrm>
              <a:off x="7845600"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86" name="Gerader Verbinder 185" hidden="1">
              <a:extLst>
                <a:ext uri="{FF2B5EF4-FFF2-40B4-BE49-F238E27FC236}">
                  <a16:creationId xmlns:a16="http://schemas.microsoft.com/office/drawing/2014/main" id="{90C0D9A5-E032-46C2-AB82-7519F3B5AE53}"/>
                </a:ext>
              </a:extLst>
            </p:cNvPr>
            <p:cNvCxnSpPr/>
            <p:nvPr userDrawn="1"/>
          </p:nvCxnSpPr>
          <p:spPr>
            <a:xfrm>
              <a:off x="8234400"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87" name="Gerader Verbinder 186" hidden="1">
              <a:extLst>
                <a:ext uri="{FF2B5EF4-FFF2-40B4-BE49-F238E27FC236}">
                  <a16:creationId xmlns:a16="http://schemas.microsoft.com/office/drawing/2014/main" id="{1D04C5D2-4EF4-4CCE-B0BB-6E66D6C1B300}"/>
                </a:ext>
              </a:extLst>
            </p:cNvPr>
            <p:cNvCxnSpPr/>
            <p:nvPr userDrawn="1"/>
          </p:nvCxnSpPr>
          <p:spPr>
            <a:xfrm>
              <a:off x="8817600" y="-221399"/>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88" name="Gerader Verbinder 187" hidden="1">
              <a:extLst>
                <a:ext uri="{FF2B5EF4-FFF2-40B4-BE49-F238E27FC236}">
                  <a16:creationId xmlns:a16="http://schemas.microsoft.com/office/drawing/2014/main" id="{98457F24-3621-47D0-A69B-A682B29423BF}"/>
                </a:ext>
              </a:extLst>
            </p:cNvPr>
            <p:cNvCxnSpPr/>
            <p:nvPr userDrawn="1"/>
          </p:nvCxnSpPr>
          <p:spPr>
            <a:xfrm>
              <a:off x="9789600"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89" name="Gerader Verbinder 188" hidden="1">
              <a:extLst>
                <a:ext uri="{FF2B5EF4-FFF2-40B4-BE49-F238E27FC236}">
                  <a16:creationId xmlns:a16="http://schemas.microsoft.com/office/drawing/2014/main" id="{C00D2193-F4E5-4C8F-9AE8-E6AD4CC85ECE}"/>
                </a:ext>
              </a:extLst>
            </p:cNvPr>
            <p:cNvCxnSpPr/>
            <p:nvPr userDrawn="1"/>
          </p:nvCxnSpPr>
          <p:spPr>
            <a:xfrm>
              <a:off x="9206400" y="-221399"/>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90" name="Gerader Verbinder 189" hidden="1">
              <a:extLst>
                <a:ext uri="{FF2B5EF4-FFF2-40B4-BE49-F238E27FC236}">
                  <a16:creationId xmlns:a16="http://schemas.microsoft.com/office/drawing/2014/main" id="{5FFB0FAB-D14D-4AD2-B032-3E709344D13C}"/>
                </a:ext>
              </a:extLst>
            </p:cNvPr>
            <p:cNvCxnSpPr/>
            <p:nvPr userDrawn="1"/>
          </p:nvCxnSpPr>
          <p:spPr>
            <a:xfrm>
              <a:off x="9789600"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91" name="Gerader Verbinder 190" hidden="1">
              <a:extLst>
                <a:ext uri="{FF2B5EF4-FFF2-40B4-BE49-F238E27FC236}">
                  <a16:creationId xmlns:a16="http://schemas.microsoft.com/office/drawing/2014/main" id="{FE89AC90-A430-43C3-BB56-DD93EB13C62E}"/>
                </a:ext>
              </a:extLst>
            </p:cNvPr>
            <p:cNvCxnSpPr/>
            <p:nvPr userDrawn="1"/>
          </p:nvCxnSpPr>
          <p:spPr>
            <a:xfrm>
              <a:off x="9789600"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92" name="Gerader Verbinder 191" hidden="1">
              <a:extLst>
                <a:ext uri="{FF2B5EF4-FFF2-40B4-BE49-F238E27FC236}">
                  <a16:creationId xmlns:a16="http://schemas.microsoft.com/office/drawing/2014/main" id="{B48E20DE-32AA-4705-A4EB-0BBB75A20FEE}"/>
                </a:ext>
              </a:extLst>
            </p:cNvPr>
            <p:cNvCxnSpPr/>
            <p:nvPr userDrawn="1"/>
          </p:nvCxnSpPr>
          <p:spPr>
            <a:xfrm>
              <a:off x="10178400"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93" name="Gerader Verbinder 192" hidden="1">
              <a:extLst>
                <a:ext uri="{FF2B5EF4-FFF2-40B4-BE49-F238E27FC236}">
                  <a16:creationId xmlns:a16="http://schemas.microsoft.com/office/drawing/2014/main" id="{6713BEE0-FB92-4EA1-9C2E-EE88FE407772}"/>
                </a:ext>
              </a:extLst>
            </p:cNvPr>
            <p:cNvCxnSpPr/>
            <p:nvPr userDrawn="1"/>
          </p:nvCxnSpPr>
          <p:spPr>
            <a:xfrm>
              <a:off x="10761600" y="-221399"/>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94" name="Gerader Verbinder 193" hidden="1">
              <a:extLst>
                <a:ext uri="{FF2B5EF4-FFF2-40B4-BE49-F238E27FC236}">
                  <a16:creationId xmlns:a16="http://schemas.microsoft.com/office/drawing/2014/main" id="{FCA209B8-D4D2-4475-9078-8742A39A8F9D}"/>
                </a:ext>
              </a:extLst>
            </p:cNvPr>
            <p:cNvCxnSpPr/>
            <p:nvPr userDrawn="1"/>
          </p:nvCxnSpPr>
          <p:spPr>
            <a:xfrm>
              <a:off x="11733600"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95" name="Gerader Verbinder 194" hidden="1">
              <a:extLst>
                <a:ext uri="{FF2B5EF4-FFF2-40B4-BE49-F238E27FC236}">
                  <a16:creationId xmlns:a16="http://schemas.microsoft.com/office/drawing/2014/main" id="{3199AB2C-8244-46B3-A8B2-0511685143AC}"/>
                </a:ext>
              </a:extLst>
            </p:cNvPr>
            <p:cNvCxnSpPr/>
            <p:nvPr userDrawn="1"/>
          </p:nvCxnSpPr>
          <p:spPr>
            <a:xfrm>
              <a:off x="11150400" y="-221399"/>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96" name="Gerader Verbinder 195" hidden="1">
              <a:extLst>
                <a:ext uri="{FF2B5EF4-FFF2-40B4-BE49-F238E27FC236}">
                  <a16:creationId xmlns:a16="http://schemas.microsoft.com/office/drawing/2014/main" id="{CADE5581-9D53-44DD-9DD4-1C6C6734FA5A}"/>
                </a:ext>
              </a:extLst>
            </p:cNvPr>
            <p:cNvCxnSpPr/>
            <p:nvPr userDrawn="1"/>
          </p:nvCxnSpPr>
          <p:spPr>
            <a:xfrm>
              <a:off x="11733600"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97" name="Gerader Verbinder 196" hidden="1">
              <a:extLst>
                <a:ext uri="{FF2B5EF4-FFF2-40B4-BE49-F238E27FC236}">
                  <a16:creationId xmlns:a16="http://schemas.microsoft.com/office/drawing/2014/main" id="{D54AE410-45D2-4DBC-AD51-05B36DA31CB4}"/>
                </a:ext>
              </a:extLst>
            </p:cNvPr>
            <p:cNvCxnSpPr/>
            <p:nvPr userDrawn="1"/>
          </p:nvCxnSpPr>
          <p:spPr>
            <a:xfrm>
              <a:off x="11733600" y="-264599"/>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98" name="Gerader Verbinder 197" hidden="1">
              <a:extLst>
                <a:ext uri="{FF2B5EF4-FFF2-40B4-BE49-F238E27FC236}">
                  <a16:creationId xmlns:a16="http://schemas.microsoft.com/office/drawing/2014/main" id="{2D994C4A-13EF-4F97-AC98-A7BAE847A2C7}"/>
                </a:ext>
              </a:extLst>
            </p:cNvPr>
            <p:cNvCxnSpPr/>
            <p:nvPr userDrawn="1"/>
          </p:nvCxnSpPr>
          <p:spPr>
            <a:xfrm>
              <a:off x="1236001" y="-192599"/>
              <a:ext cx="0" cy="25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99" name="Gerader Verbinder 198" hidden="1">
              <a:extLst>
                <a:ext uri="{FF2B5EF4-FFF2-40B4-BE49-F238E27FC236}">
                  <a16:creationId xmlns:a16="http://schemas.microsoft.com/office/drawing/2014/main" id="{20348D31-8C8C-4339-845E-14A05F97B186}"/>
                </a:ext>
              </a:extLst>
            </p:cNvPr>
            <p:cNvCxnSpPr/>
            <p:nvPr userDrawn="1"/>
          </p:nvCxnSpPr>
          <p:spPr>
            <a:xfrm>
              <a:off x="3180001" y="-192599"/>
              <a:ext cx="0" cy="25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00" name="Gerader Verbinder 199" hidden="1">
              <a:extLst>
                <a:ext uri="{FF2B5EF4-FFF2-40B4-BE49-F238E27FC236}">
                  <a16:creationId xmlns:a16="http://schemas.microsoft.com/office/drawing/2014/main" id="{0B61F66C-390E-42C3-A174-AC617C867C5D}"/>
                </a:ext>
              </a:extLst>
            </p:cNvPr>
            <p:cNvCxnSpPr/>
            <p:nvPr userDrawn="1"/>
          </p:nvCxnSpPr>
          <p:spPr>
            <a:xfrm>
              <a:off x="5124001" y="-192599"/>
              <a:ext cx="0" cy="25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01" name="Gerader Verbinder 200" hidden="1">
              <a:extLst>
                <a:ext uri="{FF2B5EF4-FFF2-40B4-BE49-F238E27FC236}">
                  <a16:creationId xmlns:a16="http://schemas.microsoft.com/office/drawing/2014/main" id="{E8624E6D-34F1-4B94-BD90-370C4BCEE387}"/>
                </a:ext>
              </a:extLst>
            </p:cNvPr>
            <p:cNvCxnSpPr/>
            <p:nvPr userDrawn="1"/>
          </p:nvCxnSpPr>
          <p:spPr>
            <a:xfrm>
              <a:off x="7068000" y="-192599"/>
              <a:ext cx="0" cy="25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02" name="Gerader Verbinder 201" hidden="1">
              <a:extLst>
                <a:ext uri="{FF2B5EF4-FFF2-40B4-BE49-F238E27FC236}">
                  <a16:creationId xmlns:a16="http://schemas.microsoft.com/office/drawing/2014/main" id="{FC137449-AC46-4A13-A65D-8626AEA2DB8C}"/>
                </a:ext>
              </a:extLst>
            </p:cNvPr>
            <p:cNvCxnSpPr/>
            <p:nvPr userDrawn="1"/>
          </p:nvCxnSpPr>
          <p:spPr>
            <a:xfrm>
              <a:off x="9012000" y="-192599"/>
              <a:ext cx="0" cy="25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03" name="Gerader Verbinder 202" hidden="1">
              <a:extLst>
                <a:ext uri="{FF2B5EF4-FFF2-40B4-BE49-F238E27FC236}">
                  <a16:creationId xmlns:a16="http://schemas.microsoft.com/office/drawing/2014/main" id="{F073F532-5D93-4966-A279-E3EE83DD8E43}"/>
                </a:ext>
              </a:extLst>
            </p:cNvPr>
            <p:cNvCxnSpPr/>
            <p:nvPr userDrawn="1"/>
          </p:nvCxnSpPr>
          <p:spPr>
            <a:xfrm>
              <a:off x="10956000" y="-192599"/>
              <a:ext cx="0" cy="25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04" name="Gerader Verbinder 203" hidden="1">
              <a:extLst>
                <a:ext uri="{FF2B5EF4-FFF2-40B4-BE49-F238E27FC236}">
                  <a16:creationId xmlns:a16="http://schemas.microsoft.com/office/drawing/2014/main" id="{0370F5B8-950E-47DD-866D-FEB2E4D7CE39}"/>
                </a:ext>
              </a:extLst>
            </p:cNvPr>
            <p:cNvCxnSpPr>
              <a:cxnSpLocks/>
            </p:cNvCxnSpPr>
            <p:nvPr userDrawn="1"/>
          </p:nvCxnSpPr>
          <p:spPr>
            <a:xfrm flipH="1">
              <a:off x="-319199" y="318601"/>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05" name="Gerader Verbinder 204" hidden="1">
              <a:extLst>
                <a:ext uri="{FF2B5EF4-FFF2-40B4-BE49-F238E27FC236}">
                  <a16:creationId xmlns:a16="http://schemas.microsoft.com/office/drawing/2014/main" id="{CA2326D1-1B6E-47EF-97D8-E7EBE846498E}"/>
                </a:ext>
              </a:extLst>
            </p:cNvPr>
            <p:cNvCxnSpPr>
              <a:cxnSpLocks/>
            </p:cNvCxnSpPr>
            <p:nvPr userDrawn="1"/>
          </p:nvCxnSpPr>
          <p:spPr>
            <a:xfrm flipH="1">
              <a:off x="-319199" y="901801"/>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06" name="Gerader Verbinder 205" hidden="1">
              <a:extLst>
                <a:ext uri="{FF2B5EF4-FFF2-40B4-BE49-F238E27FC236}">
                  <a16:creationId xmlns:a16="http://schemas.microsoft.com/office/drawing/2014/main" id="{A02A5536-5811-4268-9DC2-CCD8B3C28DC6}"/>
                </a:ext>
              </a:extLst>
            </p:cNvPr>
            <p:cNvCxnSpPr>
              <a:cxnSpLocks/>
            </p:cNvCxnSpPr>
            <p:nvPr userDrawn="1"/>
          </p:nvCxnSpPr>
          <p:spPr>
            <a:xfrm flipH="1">
              <a:off x="-319199" y="1387801"/>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07" name="Gerader Verbinder 206" hidden="1">
              <a:extLst>
                <a:ext uri="{FF2B5EF4-FFF2-40B4-BE49-F238E27FC236}">
                  <a16:creationId xmlns:a16="http://schemas.microsoft.com/office/drawing/2014/main" id="{609E10FA-8C9B-47C8-8DE8-DB3B7050525F}"/>
                </a:ext>
              </a:extLst>
            </p:cNvPr>
            <p:cNvCxnSpPr>
              <a:cxnSpLocks/>
            </p:cNvCxnSpPr>
            <p:nvPr userDrawn="1"/>
          </p:nvCxnSpPr>
          <p:spPr>
            <a:xfrm flipH="1">
              <a:off x="-513599" y="1387801"/>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08" name="Gerader Verbinder 207" hidden="1">
              <a:extLst>
                <a:ext uri="{FF2B5EF4-FFF2-40B4-BE49-F238E27FC236}">
                  <a16:creationId xmlns:a16="http://schemas.microsoft.com/office/drawing/2014/main" id="{091C513C-BED4-4E7D-BFC3-9EEF1DCF093C}"/>
                </a:ext>
              </a:extLst>
            </p:cNvPr>
            <p:cNvCxnSpPr/>
            <p:nvPr userDrawn="1"/>
          </p:nvCxnSpPr>
          <p:spPr>
            <a:xfrm>
              <a:off x="-275999" y="1971001"/>
              <a:ext cx="540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09" name="Gerader Verbinder 208" hidden="1">
              <a:extLst>
                <a:ext uri="{FF2B5EF4-FFF2-40B4-BE49-F238E27FC236}">
                  <a16:creationId xmlns:a16="http://schemas.microsoft.com/office/drawing/2014/main" id="{718DD067-6D4D-4F12-9B96-59EA3A3B8583}"/>
                </a:ext>
              </a:extLst>
            </p:cNvPr>
            <p:cNvCxnSpPr/>
            <p:nvPr userDrawn="1"/>
          </p:nvCxnSpPr>
          <p:spPr>
            <a:xfrm>
              <a:off x="-275999" y="2359801"/>
              <a:ext cx="540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10" name="Gerader Verbinder 209" hidden="1">
              <a:extLst>
                <a:ext uri="{FF2B5EF4-FFF2-40B4-BE49-F238E27FC236}">
                  <a16:creationId xmlns:a16="http://schemas.microsoft.com/office/drawing/2014/main" id="{7EBF0016-2888-4D47-A0F7-0CA6CB724B77}"/>
                </a:ext>
              </a:extLst>
            </p:cNvPr>
            <p:cNvCxnSpPr>
              <a:cxnSpLocks/>
            </p:cNvCxnSpPr>
            <p:nvPr userDrawn="1"/>
          </p:nvCxnSpPr>
          <p:spPr>
            <a:xfrm flipH="1">
              <a:off x="-319199" y="2943001"/>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11" name="Gerader Verbinder 210" hidden="1">
              <a:extLst>
                <a:ext uri="{FF2B5EF4-FFF2-40B4-BE49-F238E27FC236}">
                  <a16:creationId xmlns:a16="http://schemas.microsoft.com/office/drawing/2014/main" id="{A62A6540-DE9B-4577-8388-38EB85E43AA0}"/>
                </a:ext>
              </a:extLst>
            </p:cNvPr>
            <p:cNvCxnSpPr>
              <a:cxnSpLocks/>
            </p:cNvCxnSpPr>
            <p:nvPr userDrawn="1"/>
          </p:nvCxnSpPr>
          <p:spPr>
            <a:xfrm flipH="1">
              <a:off x="-319199" y="3331801"/>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12" name="Gerader Verbinder 211" hidden="1">
              <a:extLst>
                <a:ext uri="{FF2B5EF4-FFF2-40B4-BE49-F238E27FC236}">
                  <a16:creationId xmlns:a16="http://schemas.microsoft.com/office/drawing/2014/main" id="{E789BE1A-34B3-4B25-898D-39C58778FBE5}"/>
                </a:ext>
              </a:extLst>
            </p:cNvPr>
            <p:cNvCxnSpPr/>
            <p:nvPr userDrawn="1"/>
          </p:nvCxnSpPr>
          <p:spPr>
            <a:xfrm>
              <a:off x="-275999" y="3915001"/>
              <a:ext cx="540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13" name="Gerader Verbinder 212" hidden="1">
              <a:extLst>
                <a:ext uri="{FF2B5EF4-FFF2-40B4-BE49-F238E27FC236}">
                  <a16:creationId xmlns:a16="http://schemas.microsoft.com/office/drawing/2014/main" id="{D5390D5A-AC4B-4690-BFA5-71DF6BF85C1E}"/>
                </a:ext>
              </a:extLst>
            </p:cNvPr>
            <p:cNvCxnSpPr/>
            <p:nvPr userDrawn="1"/>
          </p:nvCxnSpPr>
          <p:spPr>
            <a:xfrm>
              <a:off x="-275999" y="4303801"/>
              <a:ext cx="540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14" name="Gerader Verbinder 213" hidden="1">
              <a:extLst>
                <a:ext uri="{FF2B5EF4-FFF2-40B4-BE49-F238E27FC236}">
                  <a16:creationId xmlns:a16="http://schemas.microsoft.com/office/drawing/2014/main" id="{3ABD3FE9-6838-4B04-8915-86A6E9EECBFE}"/>
                </a:ext>
              </a:extLst>
            </p:cNvPr>
            <p:cNvCxnSpPr>
              <a:cxnSpLocks/>
            </p:cNvCxnSpPr>
            <p:nvPr userDrawn="1"/>
          </p:nvCxnSpPr>
          <p:spPr>
            <a:xfrm flipH="1">
              <a:off x="-319199" y="4887001"/>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15" name="Gerader Verbinder 214" hidden="1">
              <a:extLst>
                <a:ext uri="{FF2B5EF4-FFF2-40B4-BE49-F238E27FC236}">
                  <a16:creationId xmlns:a16="http://schemas.microsoft.com/office/drawing/2014/main" id="{22A32F67-D0B1-430C-8587-0283C50CAFA0}"/>
                </a:ext>
              </a:extLst>
            </p:cNvPr>
            <p:cNvCxnSpPr>
              <a:cxnSpLocks/>
            </p:cNvCxnSpPr>
            <p:nvPr userDrawn="1"/>
          </p:nvCxnSpPr>
          <p:spPr>
            <a:xfrm flipH="1">
              <a:off x="-319199" y="5275801"/>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16" name="Gerader Verbinder 215" hidden="1">
              <a:extLst>
                <a:ext uri="{FF2B5EF4-FFF2-40B4-BE49-F238E27FC236}">
                  <a16:creationId xmlns:a16="http://schemas.microsoft.com/office/drawing/2014/main" id="{8F351BDF-12EA-41DB-8379-6C36D42DEF91}"/>
                </a:ext>
              </a:extLst>
            </p:cNvPr>
            <p:cNvCxnSpPr/>
            <p:nvPr userDrawn="1"/>
          </p:nvCxnSpPr>
          <p:spPr>
            <a:xfrm>
              <a:off x="-275999" y="5859001"/>
              <a:ext cx="540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17" name="Gerader Verbinder 216" hidden="1">
              <a:extLst>
                <a:ext uri="{FF2B5EF4-FFF2-40B4-BE49-F238E27FC236}">
                  <a16:creationId xmlns:a16="http://schemas.microsoft.com/office/drawing/2014/main" id="{2CCBA1D8-4C7D-430C-810B-F9DAC99F3BCF}"/>
                </a:ext>
              </a:extLst>
            </p:cNvPr>
            <p:cNvCxnSpPr/>
            <p:nvPr userDrawn="1"/>
          </p:nvCxnSpPr>
          <p:spPr>
            <a:xfrm>
              <a:off x="-275999" y="6247801"/>
              <a:ext cx="540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18" name="Gerader Verbinder 217" hidden="1">
              <a:extLst>
                <a:ext uri="{FF2B5EF4-FFF2-40B4-BE49-F238E27FC236}">
                  <a16:creationId xmlns:a16="http://schemas.microsoft.com/office/drawing/2014/main" id="{641EA8D2-6953-48C6-B258-649D3B3FCC5A}"/>
                </a:ext>
              </a:extLst>
            </p:cNvPr>
            <p:cNvCxnSpPr>
              <a:cxnSpLocks/>
            </p:cNvCxnSpPr>
            <p:nvPr userDrawn="1"/>
          </p:nvCxnSpPr>
          <p:spPr>
            <a:xfrm flipH="1">
              <a:off x="-319199" y="6831001"/>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19" name="Gerader Verbinder 218" hidden="1">
              <a:extLst>
                <a:ext uri="{FF2B5EF4-FFF2-40B4-BE49-F238E27FC236}">
                  <a16:creationId xmlns:a16="http://schemas.microsoft.com/office/drawing/2014/main" id="{FE51091D-0978-45A2-8B29-7B11D4602BAB}"/>
                </a:ext>
              </a:extLst>
            </p:cNvPr>
            <p:cNvCxnSpPr>
              <a:cxnSpLocks/>
            </p:cNvCxnSpPr>
            <p:nvPr userDrawn="1"/>
          </p:nvCxnSpPr>
          <p:spPr>
            <a:xfrm>
              <a:off x="-247199" y="2165401"/>
              <a:ext cx="25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20" name="Gerader Verbinder 219" hidden="1">
              <a:extLst>
                <a:ext uri="{FF2B5EF4-FFF2-40B4-BE49-F238E27FC236}">
                  <a16:creationId xmlns:a16="http://schemas.microsoft.com/office/drawing/2014/main" id="{2B5D0251-B516-4431-8F31-40FA93A333DA}"/>
                </a:ext>
              </a:extLst>
            </p:cNvPr>
            <p:cNvCxnSpPr>
              <a:cxnSpLocks/>
            </p:cNvCxnSpPr>
            <p:nvPr userDrawn="1"/>
          </p:nvCxnSpPr>
          <p:spPr>
            <a:xfrm>
              <a:off x="-247199" y="4109401"/>
              <a:ext cx="25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21" name="Gerader Verbinder 220" hidden="1">
              <a:extLst>
                <a:ext uri="{FF2B5EF4-FFF2-40B4-BE49-F238E27FC236}">
                  <a16:creationId xmlns:a16="http://schemas.microsoft.com/office/drawing/2014/main" id="{10F68145-40EF-4477-A9B8-BCFBB69822AC}"/>
                </a:ext>
              </a:extLst>
            </p:cNvPr>
            <p:cNvCxnSpPr>
              <a:cxnSpLocks/>
            </p:cNvCxnSpPr>
            <p:nvPr userDrawn="1"/>
          </p:nvCxnSpPr>
          <p:spPr>
            <a:xfrm>
              <a:off x="-247199" y="6053401"/>
              <a:ext cx="25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22" name="Gerader Verbinder 221" hidden="1">
              <a:extLst>
                <a:ext uri="{FF2B5EF4-FFF2-40B4-BE49-F238E27FC236}">
                  <a16:creationId xmlns:a16="http://schemas.microsoft.com/office/drawing/2014/main" id="{6A119157-78A0-4DD2-BA5D-466645F72E7C}"/>
                </a:ext>
              </a:extLst>
            </p:cNvPr>
            <p:cNvCxnSpPr/>
            <p:nvPr userDrawn="1"/>
          </p:nvCxnSpPr>
          <p:spPr>
            <a:xfrm>
              <a:off x="-275999" y="6442200"/>
              <a:ext cx="540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23" name="Gerader Verbinder 222" hidden="1">
              <a:extLst>
                <a:ext uri="{FF2B5EF4-FFF2-40B4-BE49-F238E27FC236}">
                  <a16:creationId xmlns:a16="http://schemas.microsoft.com/office/drawing/2014/main" id="{5DA00372-A728-4F01-AA19-0C7297019D30}"/>
                </a:ext>
              </a:extLst>
            </p:cNvPr>
            <p:cNvCxnSpPr/>
            <p:nvPr userDrawn="1"/>
          </p:nvCxnSpPr>
          <p:spPr>
            <a:xfrm>
              <a:off x="-247199" y="6733801"/>
              <a:ext cx="25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24" name="Gerader Verbinder 223" hidden="1">
              <a:extLst>
                <a:ext uri="{FF2B5EF4-FFF2-40B4-BE49-F238E27FC236}">
                  <a16:creationId xmlns:a16="http://schemas.microsoft.com/office/drawing/2014/main" id="{206ABB9D-4CE1-4EEC-B494-D61BF722DFE8}"/>
                </a:ext>
              </a:extLst>
            </p:cNvPr>
            <p:cNvCxnSpPr>
              <a:cxnSpLocks/>
            </p:cNvCxnSpPr>
            <p:nvPr userDrawn="1"/>
          </p:nvCxnSpPr>
          <p:spPr>
            <a:xfrm flipH="1">
              <a:off x="-513599" y="4109401"/>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25" name="Gerader Verbinder 224" hidden="1">
              <a:extLst>
                <a:ext uri="{FF2B5EF4-FFF2-40B4-BE49-F238E27FC236}">
                  <a16:creationId xmlns:a16="http://schemas.microsoft.com/office/drawing/2014/main" id="{098F197A-A85D-4155-B390-D93D2DDC433C}"/>
                </a:ext>
              </a:extLst>
            </p:cNvPr>
            <p:cNvCxnSpPr>
              <a:cxnSpLocks/>
            </p:cNvCxnSpPr>
            <p:nvPr userDrawn="1"/>
          </p:nvCxnSpPr>
          <p:spPr>
            <a:xfrm flipH="1">
              <a:off x="-513599" y="6831001"/>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26" name="Gerader Verbinder 225" hidden="1">
              <a:extLst>
                <a:ext uri="{FF2B5EF4-FFF2-40B4-BE49-F238E27FC236}">
                  <a16:creationId xmlns:a16="http://schemas.microsoft.com/office/drawing/2014/main" id="{1A34EC06-B4FC-4057-88E6-61FC9FC5F688}"/>
                </a:ext>
              </a:extLst>
            </p:cNvPr>
            <p:cNvCxnSpPr/>
            <p:nvPr userDrawn="1"/>
          </p:nvCxnSpPr>
          <p:spPr>
            <a:xfrm>
              <a:off x="458401" y="7025401"/>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27" name="Gerader Verbinder 226" hidden="1">
              <a:extLst>
                <a:ext uri="{FF2B5EF4-FFF2-40B4-BE49-F238E27FC236}">
                  <a16:creationId xmlns:a16="http://schemas.microsoft.com/office/drawing/2014/main" id="{57A91372-B8CF-4DF7-AF20-4E4128C83A9D}"/>
                </a:ext>
              </a:extLst>
            </p:cNvPr>
            <p:cNvCxnSpPr/>
            <p:nvPr userDrawn="1"/>
          </p:nvCxnSpPr>
          <p:spPr>
            <a:xfrm>
              <a:off x="2791201" y="7025401"/>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28" name="Gerader Verbinder 227" hidden="1">
              <a:extLst>
                <a:ext uri="{FF2B5EF4-FFF2-40B4-BE49-F238E27FC236}">
                  <a16:creationId xmlns:a16="http://schemas.microsoft.com/office/drawing/2014/main" id="{079730F2-B7CD-4706-ADBB-54CA70A4DC64}"/>
                </a:ext>
              </a:extLst>
            </p:cNvPr>
            <p:cNvCxnSpPr/>
            <p:nvPr userDrawn="1"/>
          </p:nvCxnSpPr>
          <p:spPr>
            <a:xfrm>
              <a:off x="5124001" y="7025401"/>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29" name="Gerader Verbinder 228" hidden="1">
              <a:extLst>
                <a:ext uri="{FF2B5EF4-FFF2-40B4-BE49-F238E27FC236}">
                  <a16:creationId xmlns:a16="http://schemas.microsoft.com/office/drawing/2014/main" id="{13D76BF3-998F-4051-A925-4240DEE803D0}"/>
                </a:ext>
              </a:extLst>
            </p:cNvPr>
            <p:cNvCxnSpPr/>
            <p:nvPr userDrawn="1"/>
          </p:nvCxnSpPr>
          <p:spPr>
            <a:xfrm>
              <a:off x="7456800" y="7025401"/>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30" name="Gerader Verbinder 229" hidden="1">
              <a:extLst>
                <a:ext uri="{FF2B5EF4-FFF2-40B4-BE49-F238E27FC236}">
                  <a16:creationId xmlns:a16="http://schemas.microsoft.com/office/drawing/2014/main" id="{CE1C37E8-8A1D-4910-92F3-1D6987E8E689}"/>
                </a:ext>
              </a:extLst>
            </p:cNvPr>
            <p:cNvCxnSpPr/>
            <p:nvPr userDrawn="1"/>
          </p:nvCxnSpPr>
          <p:spPr>
            <a:xfrm>
              <a:off x="9789600" y="7025401"/>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31" name="Gerader Verbinder 230" hidden="1">
              <a:extLst>
                <a:ext uri="{FF2B5EF4-FFF2-40B4-BE49-F238E27FC236}">
                  <a16:creationId xmlns:a16="http://schemas.microsoft.com/office/drawing/2014/main" id="{4FE32AA2-1987-49A5-A92D-A07051D43982}"/>
                </a:ext>
              </a:extLst>
            </p:cNvPr>
            <p:cNvCxnSpPr/>
            <p:nvPr userDrawn="1"/>
          </p:nvCxnSpPr>
          <p:spPr>
            <a:xfrm>
              <a:off x="11733600" y="7025401"/>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32" name="Gerader Verbinder 231" hidden="1">
              <a:extLst>
                <a:ext uri="{FF2B5EF4-FFF2-40B4-BE49-F238E27FC236}">
                  <a16:creationId xmlns:a16="http://schemas.microsoft.com/office/drawing/2014/main" id="{F8D51324-936A-41A3-9E3B-410300CA29B0}"/>
                </a:ext>
              </a:extLst>
            </p:cNvPr>
            <p:cNvCxnSpPr/>
            <p:nvPr userDrawn="1"/>
          </p:nvCxnSpPr>
          <p:spPr>
            <a:xfrm>
              <a:off x="9400800" y="7025401"/>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33" name="Gerader Verbinder 232" hidden="1">
              <a:extLst>
                <a:ext uri="{FF2B5EF4-FFF2-40B4-BE49-F238E27FC236}">
                  <a16:creationId xmlns:a16="http://schemas.microsoft.com/office/drawing/2014/main" id="{562D6437-0DCD-4B1F-A0BB-28C4C3A81076}"/>
                </a:ext>
              </a:extLst>
            </p:cNvPr>
            <p:cNvCxnSpPr/>
            <p:nvPr userDrawn="1"/>
          </p:nvCxnSpPr>
          <p:spPr>
            <a:xfrm>
              <a:off x="7068000" y="7025401"/>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34" name="Gerader Verbinder 233" hidden="1">
              <a:extLst>
                <a:ext uri="{FF2B5EF4-FFF2-40B4-BE49-F238E27FC236}">
                  <a16:creationId xmlns:a16="http://schemas.microsoft.com/office/drawing/2014/main" id="{924C55E9-58FA-4729-B9BB-4A24BB2C1DD8}"/>
                </a:ext>
              </a:extLst>
            </p:cNvPr>
            <p:cNvCxnSpPr/>
            <p:nvPr userDrawn="1"/>
          </p:nvCxnSpPr>
          <p:spPr>
            <a:xfrm>
              <a:off x="4735201" y="7025401"/>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35" name="Gerader Verbinder 234" hidden="1">
              <a:extLst>
                <a:ext uri="{FF2B5EF4-FFF2-40B4-BE49-F238E27FC236}">
                  <a16:creationId xmlns:a16="http://schemas.microsoft.com/office/drawing/2014/main" id="{A55BED26-F2F8-4A22-8BB7-DBE68DB55ED0}"/>
                </a:ext>
              </a:extLst>
            </p:cNvPr>
            <p:cNvCxnSpPr/>
            <p:nvPr userDrawn="1"/>
          </p:nvCxnSpPr>
          <p:spPr>
            <a:xfrm>
              <a:off x="2402401" y="7025401"/>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36" name="Gerader Verbinder 235" hidden="1">
              <a:extLst>
                <a:ext uri="{FF2B5EF4-FFF2-40B4-BE49-F238E27FC236}">
                  <a16:creationId xmlns:a16="http://schemas.microsoft.com/office/drawing/2014/main" id="{39677643-CFFC-4C13-AFF4-5CDDB38A3C27}"/>
                </a:ext>
              </a:extLst>
            </p:cNvPr>
            <p:cNvCxnSpPr>
              <a:cxnSpLocks/>
            </p:cNvCxnSpPr>
            <p:nvPr userDrawn="1"/>
          </p:nvCxnSpPr>
          <p:spPr>
            <a:xfrm flipH="1">
              <a:off x="-319199" y="6636601"/>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grpSp>
      <p:grpSp>
        <p:nvGrpSpPr>
          <p:cNvPr id="259" name="Masterfeld_Hilfslinien DE" hidden="1">
            <a:extLst>
              <a:ext uri="{FF2B5EF4-FFF2-40B4-BE49-F238E27FC236}">
                <a16:creationId xmlns:a16="http://schemas.microsoft.com/office/drawing/2014/main" id="{307D8EA7-115C-4D1C-BBF7-B84BA8EC39E9}"/>
              </a:ext>
            </a:extLst>
          </p:cNvPr>
          <p:cNvGrpSpPr/>
          <p:nvPr userDrawn="1">
            <p:custDataLst>
              <p:tags r:id="rId39"/>
            </p:custDataLst>
          </p:nvPr>
        </p:nvGrpSpPr>
        <p:grpSpPr>
          <a:xfrm>
            <a:off x="69600" y="124200"/>
            <a:ext cx="12052800" cy="6636600"/>
            <a:chOff x="69600" y="124200"/>
            <a:chExt cx="12052800" cy="6636600"/>
          </a:xfrm>
        </p:grpSpPr>
        <p:cxnSp>
          <p:nvCxnSpPr>
            <p:cNvPr id="239" name="Gerader Verbinder 238" hidden="1">
              <a:extLst>
                <a:ext uri="{FF2B5EF4-FFF2-40B4-BE49-F238E27FC236}">
                  <a16:creationId xmlns:a16="http://schemas.microsoft.com/office/drawing/2014/main" id="{46047118-8893-44A8-AC01-179E979A6D8C}"/>
                </a:ext>
              </a:extLst>
            </p:cNvPr>
            <p:cNvCxnSpPr>
              <a:cxnSpLocks/>
            </p:cNvCxnSpPr>
            <p:nvPr userDrawn="1"/>
          </p:nvCxnSpPr>
          <p:spPr>
            <a:xfrm>
              <a:off x="4584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0" name="Gerader Verbinder 239" hidden="1">
              <a:extLst>
                <a:ext uri="{FF2B5EF4-FFF2-40B4-BE49-F238E27FC236}">
                  <a16:creationId xmlns:a16="http://schemas.microsoft.com/office/drawing/2014/main" id="{5992CC89-1A21-4D68-9793-A5E4D91D71C1}"/>
                </a:ext>
              </a:extLst>
            </p:cNvPr>
            <p:cNvCxnSpPr>
              <a:cxnSpLocks/>
            </p:cNvCxnSpPr>
            <p:nvPr userDrawn="1"/>
          </p:nvCxnSpPr>
          <p:spPr>
            <a:xfrm>
              <a:off x="24024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1" name="Gerader Verbinder 240" hidden="1">
              <a:extLst>
                <a:ext uri="{FF2B5EF4-FFF2-40B4-BE49-F238E27FC236}">
                  <a16:creationId xmlns:a16="http://schemas.microsoft.com/office/drawing/2014/main" id="{B91F3492-52EC-4A51-A7A9-797498E0711B}"/>
                </a:ext>
              </a:extLst>
            </p:cNvPr>
            <p:cNvCxnSpPr>
              <a:cxnSpLocks/>
            </p:cNvCxnSpPr>
            <p:nvPr userDrawn="1"/>
          </p:nvCxnSpPr>
          <p:spPr>
            <a:xfrm>
              <a:off x="43464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2" name="Gerader Verbinder 241" hidden="1">
              <a:extLst>
                <a:ext uri="{FF2B5EF4-FFF2-40B4-BE49-F238E27FC236}">
                  <a16:creationId xmlns:a16="http://schemas.microsoft.com/office/drawing/2014/main" id="{76182B68-AE2B-42AB-A692-62E7279AD087}"/>
                </a:ext>
              </a:extLst>
            </p:cNvPr>
            <p:cNvCxnSpPr>
              <a:cxnSpLocks/>
            </p:cNvCxnSpPr>
            <p:nvPr userDrawn="1"/>
          </p:nvCxnSpPr>
          <p:spPr>
            <a:xfrm>
              <a:off x="62904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3" name="Gerader Verbinder 242" hidden="1">
              <a:extLst>
                <a:ext uri="{FF2B5EF4-FFF2-40B4-BE49-F238E27FC236}">
                  <a16:creationId xmlns:a16="http://schemas.microsoft.com/office/drawing/2014/main" id="{8EB5A0F3-7B2F-4E49-88DE-73A2989CB311}"/>
                </a:ext>
              </a:extLst>
            </p:cNvPr>
            <p:cNvCxnSpPr>
              <a:cxnSpLocks/>
            </p:cNvCxnSpPr>
            <p:nvPr userDrawn="1"/>
          </p:nvCxnSpPr>
          <p:spPr>
            <a:xfrm>
              <a:off x="82344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4" name="Gerader Verbinder 243" hidden="1">
              <a:extLst>
                <a:ext uri="{FF2B5EF4-FFF2-40B4-BE49-F238E27FC236}">
                  <a16:creationId xmlns:a16="http://schemas.microsoft.com/office/drawing/2014/main" id="{A0180DC6-8D0A-4D5A-9264-F4436BFF7DD9}"/>
                </a:ext>
              </a:extLst>
            </p:cNvPr>
            <p:cNvCxnSpPr>
              <a:cxnSpLocks/>
            </p:cNvCxnSpPr>
            <p:nvPr userDrawn="1"/>
          </p:nvCxnSpPr>
          <p:spPr>
            <a:xfrm>
              <a:off x="101784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5" name="Gerader Verbinder 244" hidden="1">
              <a:extLst>
                <a:ext uri="{FF2B5EF4-FFF2-40B4-BE49-F238E27FC236}">
                  <a16:creationId xmlns:a16="http://schemas.microsoft.com/office/drawing/2014/main" id="{5A55946F-31E6-4043-B827-C77B82DEEF16}"/>
                </a:ext>
              </a:extLst>
            </p:cNvPr>
            <p:cNvCxnSpPr>
              <a:cxnSpLocks/>
            </p:cNvCxnSpPr>
            <p:nvPr userDrawn="1"/>
          </p:nvCxnSpPr>
          <p:spPr>
            <a:xfrm>
              <a:off x="117336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6" name="Gerader Verbinder 245" hidden="1">
              <a:extLst>
                <a:ext uri="{FF2B5EF4-FFF2-40B4-BE49-F238E27FC236}">
                  <a16:creationId xmlns:a16="http://schemas.microsoft.com/office/drawing/2014/main" id="{AD621232-EFB4-4733-A60F-5934D2D7A5B3}"/>
                </a:ext>
              </a:extLst>
            </p:cNvPr>
            <p:cNvCxnSpPr>
              <a:cxnSpLocks/>
            </p:cNvCxnSpPr>
            <p:nvPr userDrawn="1"/>
          </p:nvCxnSpPr>
          <p:spPr>
            <a:xfrm>
              <a:off x="97896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7" name="Gerader Verbinder 246" hidden="1">
              <a:extLst>
                <a:ext uri="{FF2B5EF4-FFF2-40B4-BE49-F238E27FC236}">
                  <a16:creationId xmlns:a16="http://schemas.microsoft.com/office/drawing/2014/main" id="{8C71F772-78C6-4417-B287-C2FCA591AD0B}"/>
                </a:ext>
              </a:extLst>
            </p:cNvPr>
            <p:cNvCxnSpPr>
              <a:cxnSpLocks/>
            </p:cNvCxnSpPr>
            <p:nvPr userDrawn="1"/>
          </p:nvCxnSpPr>
          <p:spPr>
            <a:xfrm>
              <a:off x="78456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8" name="Gerader Verbinder 247" hidden="1">
              <a:extLst>
                <a:ext uri="{FF2B5EF4-FFF2-40B4-BE49-F238E27FC236}">
                  <a16:creationId xmlns:a16="http://schemas.microsoft.com/office/drawing/2014/main" id="{DDF8009F-7AD8-475F-9822-A452261735F3}"/>
                </a:ext>
              </a:extLst>
            </p:cNvPr>
            <p:cNvCxnSpPr>
              <a:cxnSpLocks/>
            </p:cNvCxnSpPr>
            <p:nvPr userDrawn="1"/>
          </p:nvCxnSpPr>
          <p:spPr>
            <a:xfrm>
              <a:off x="59016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9" name="Gerader Verbinder 248" hidden="1">
              <a:extLst>
                <a:ext uri="{FF2B5EF4-FFF2-40B4-BE49-F238E27FC236}">
                  <a16:creationId xmlns:a16="http://schemas.microsoft.com/office/drawing/2014/main" id="{76E180EE-A04A-4C64-85DA-1CBE16A1790B}"/>
                </a:ext>
              </a:extLst>
            </p:cNvPr>
            <p:cNvCxnSpPr>
              <a:cxnSpLocks/>
            </p:cNvCxnSpPr>
            <p:nvPr userDrawn="1"/>
          </p:nvCxnSpPr>
          <p:spPr>
            <a:xfrm>
              <a:off x="39576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0" name="Gerader Verbinder 249" hidden="1">
              <a:extLst>
                <a:ext uri="{FF2B5EF4-FFF2-40B4-BE49-F238E27FC236}">
                  <a16:creationId xmlns:a16="http://schemas.microsoft.com/office/drawing/2014/main" id="{9B7187F6-B2BE-4412-9BED-06CDDD5F532F}"/>
                </a:ext>
              </a:extLst>
            </p:cNvPr>
            <p:cNvCxnSpPr>
              <a:cxnSpLocks/>
            </p:cNvCxnSpPr>
            <p:nvPr userDrawn="1"/>
          </p:nvCxnSpPr>
          <p:spPr>
            <a:xfrm>
              <a:off x="2013600" y="124200"/>
              <a:ext cx="0" cy="663660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1" name="Gerader Verbinder 250" hidden="1">
              <a:extLst>
                <a:ext uri="{FF2B5EF4-FFF2-40B4-BE49-F238E27FC236}">
                  <a16:creationId xmlns:a16="http://schemas.microsoft.com/office/drawing/2014/main" id="{FC6F24F3-59D5-4D99-82EA-0BC7EA93B78C}"/>
                </a:ext>
              </a:extLst>
            </p:cNvPr>
            <p:cNvCxnSpPr>
              <a:cxnSpLocks/>
            </p:cNvCxnSpPr>
            <p:nvPr userDrawn="1"/>
          </p:nvCxnSpPr>
          <p:spPr>
            <a:xfrm>
              <a:off x="69600" y="318600"/>
              <a:ext cx="12052800" cy="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2" name="Gerader Verbinder 251" hidden="1">
              <a:extLst>
                <a:ext uri="{FF2B5EF4-FFF2-40B4-BE49-F238E27FC236}">
                  <a16:creationId xmlns:a16="http://schemas.microsoft.com/office/drawing/2014/main" id="{528B5283-BD87-4265-93A8-513BAEB5DE14}"/>
                </a:ext>
              </a:extLst>
            </p:cNvPr>
            <p:cNvCxnSpPr>
              <a:cxnSpLocks/>
            </p:cNvCxnSpPr>
            <p:nvPr userDrawn="1"/>
          </p:nvCxnSpPr>
          <p:spPr>
            <a:xfrm>
              <a:off x="69600" y="901800"/>
              <a:ext cx="12052800" cy="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3" name="Gerader Verbinder 252" hidden="1">
              <a:extLst>
                <a:ext uri="{FF2B5EF4-FFF2-40B4-BE49-F238E27FC236}">
                  <a16:creationId xmlns:a16="http://schemas.microsoft.com/office/drawing/2014/main" id="{3840FF58-1CB7-4B9F-9D37-66336039EA65}"/>
                </a:ext>
              </a:extLst>
            </p:cNvPr>
            <p:cNvCxnSpPr>
              <a:cxnSpLocks/>
            </p:cNvCxnSpPr>
            <p:nvPr userDrawn="1"/>
          </p:nvCxnSpPr>
          <p:spPr>
            <a:xfrm>
              <a:off x="69600" y="1387800"/>
              <a:ext cx="12052800" cy="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4" name="Gerader Verbinder 253" hidden="1">
              <a:extLst>
                <a:ext uri="{FF2B5EF4-FFF2-40B4-BE49-F238E27FC236}">
                  <a16:creationId xmlns:a16="http://schemas.microsoft.com/office/drawing/2014/main" id="{C8C44AF8-ADE8-480B-93F2-17A674BB3C5D}"/>
                </a:ext>
              </a:extLst>
            </p:cNvPr>
            <p:cNvCxnSpPr>
              <a:cxnSpLocks/>
            </p:cNvCxnSpPr>
            <p:nvPr userDrawn="1"/>
          </p:nvCxnSpPr>
          <p:spPr>
            <a:xfrm>
              <a:off x="69600" y="2943000"/>
              <a:ext cx="12052800" cy="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7" name="Gerader Verbinder 256" hidden="1">
              <a:extLst>
                <a:ext uri="{FF2B5EF4-FFF2-40B4-BE49-F238E27FC236}">
                  <a16:creationId xmlns:a16="http://schemas.microsoft.com/office/drawing/2014/main" id="{9B1CE800-8D7A-483D-867E-7ABFD916E667}"/>
                </a:ext>
              </a:extLst>
            </p:cNvPr>
            <p:cNvCxnSpPr>
              <a:cxnSpLocks/>
            </p:cNvCxnSpPr>
            <p:nvPr userDrawn="1"/>
          </p:nvCxnSpPr>
          <p:spPr>
            <a:xfrm>
              <a:off x="69600" y="5275800"/>
              <a:ext cx="12052800" cy="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8" name="Gerader Verbinder 257" hidden="1">
              <a:extLst>
                <a:ext uri="{FF2B5EF4-FFF2-40B4-BE49-F238E27FC236}">
                  <a16:creationId xmlns:a16="http://schemas.microsoft.com/office/drawing/2014/main" id="{93D7C9FE-1F74-4C1E-B7A6-798ADA7BF636}"/>
                </a:ext>
              </a:extLst>
            </p:cNvPr>
            <p:cNvCxnSpPr>
              <a:cxnSpLocks/>
            </p:cNvCxnSpPr>
            <p:nvPr userDrawn="1"/>
          </p:nvCxnSpPr>
          <p:spPr>
            <a:xfrm>
              <a:off x="69600" y="6442200"/>
              <a:ext cx="12052800" cy="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8" name="Gerader Verbinder 267" hidden="1">
              <a:extLst>
                <a:ext uri="{FF2B5EF4-FFF2-40B4-BE49-F238E27FC236}">
                  <a16:creationId xmlns:a16="http://schemas.microsoft.com/office/drawing/2014/main" id="{AAAE296B-FE46-4D02-869E-874E70520074}"/>
                </a:ext>
              </a:extLst>
            </p:cNvPr>
            <p:cNvCxnSpPr>
              <a:cxnSpLocks/>
            </p:cNvCxnSpPr>
            <p:nvPr userDrawn="1"/>
          </p:nvCxnSpPr>
          <p:spPr>
            <a:xfrm>
              <a:off x="69600" y="3331800"/>
              <a:ext cx="12052800" cy="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6" name="Gerader Verbinder 335" hidden="1">
              <a:extLst>
                <a:ext uri="{FF2B5EF4-FFF2-40B4-BE49-F238E27FC236}">
                  <a16:creationId xmlns:a16="http://schemas.microsoft.com/office/drawing/2014/main" id="{CED59C13-87D3-428A-A942-8D7FB41C9C9B}"/>
                </a:ext>
              </a:extLst>
            </p:cNvPr>
            <p:cNvCxnSpPr>
              <a:cxnSpLocks/>
            </p:cNvCxnSpPr>
            <p:nvPr userDrawn="1"/>
          </p:nvCxnSpPr>
          <p:spPr>
            <a:xfrm>
              <a:off x="69600" y="4887000"/>
              <a:ext cx="12052800" cy="0"/>
            </a:xfrm>
            <a:prstGeom prst="line">
              <a:avLst/>
            </a:prstGeom>
            <a:ln>
              <a:solidFill>
                <a:schemeClr val="tx1">
                  <a:alpha val="2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83" name="Masterfeld_Hilfsmarkierungen DE" hidden="1">
            <a:extLst>
              <a:ext uri="{FF2B5EF4-FFF2-40B4-BE49-F238E27FC236}">
                <a16:creationId xmlns:a16="http://schemas.microsoft.com/office/drawing/2014/main" id="{846349B0-22AB-4F08-8B32-50C2B4967827}"/>
              </a:ext>
            </a:extLst>
          </p:cNvPr>
          <p:cNvGrpSpPr/>
          <p:nvPr userDrawn="1">
            <p:custDataLst>
              <p:tags r:id="rId40"/>
            </p:custDataLst>
          </p:nvPr>
        </p:nvGrpSpPr>
        <p:grpSpPr>
          <a:xfrm>
            <a:off x="-513600" y="-264600"/>
            <a:ext cx="12927600" cy="7387200"/>
            <a:chOff x="-513600" y="-264600"/>
            <a:chExt cx="12927600" cy="7387200"/>
          </a:xfrm>
        </p:grpSpPr>
        <p:cxnSp>
          <p:nvCxnSpPr>
            <p:cNvPr id="8" name="Gerader Verbinder 7" hidden="1">
              <a:extLst>
                <a:ext uri="{FF2B5EF4-FFF2-40B4-BE49-F238E27FC236}">
                  <a16:creationId xmlns:a16="http://schemas.microsoft.com/office/drawing/2014/main" id="{FF16C5B0-8F30-46A0-AC8A-0AB89BE94BE7}"/>
                </a:ext>
              </a:extLst>
            </p:cNvPr>
            <p:cNvCxnSpPr/>
            <p:nvPr userDrawn="1"/>
          </p:nvCxnSpPr>
          <p:spPr>
            <a:xfrm>
              <a:off x="4584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9" name="Gerader Verbinder 8" hidden="1">
              <a:extLst>
                <a:ext uri="{FF2B5EF4-FFF2-40B4-BE49-F238E27FC236}">
                  <a16:creationId xmlns:a16="http://schemas.microsoft.com/office/drawing/2014/main" id="{964B5DB0-C842-4F81-B4A8-4DA32E897533}"/>
                </a:ext>
              </a:extLst>
            </p:cNvPr>
            <p:cNvCxnSpPr/>
            <p:nvPr userDrawn="1"/>
          </p:nvCxnSpPr>
          <p:spPr>
            <a:xfrm>
              <a:off x="1041600" y="-221400"/>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0" name="Gerader Verbinder 9" hidden="1">
              <a:extLst>
                <a:ext uri="{FF2B5EF4-FFF2-40B4-BE49-F238E27FC236}">
                  <a16:creationId xmlns:a16="http://schemas.microsoft.com/office/drawing/2014/main" id="{81994A61-C090-4E9B-9A8C-378E186001C7}"/>
                </a:ext>
              </a:extLst>
            </p:cNvPr>
            <p:cNvCxnSpPr/>
            <p:nvPr userDrawn="1"/>
          </p:nvCxnSpPr>
          <p:spPr>
            <a:xfrm>
              <a:off x="20136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1" name="Gerader Verbinder 10" hidden="1">
              <a:extLst>
                <a:ext uri="{FF2B5EF4-FFF2-40B4-BE49-F238E27FC236}">
                  <a16:creationId xmlns:a16="http://schemas.microsoft.com/office/drawing/2014/main" id="{B756CC88-AAB4-4122-86A3-F02D2F83A904}"/>
                </a:ext>
              </a:extLst>
            </p:cNvPr>
            <p:cNvCxnSpPr/>
            <p:nvPr userDrawn="1"/>
          </p:nvCxnSpPr>
          <p:spPr>
            <a:xfrm>
              <a:off x="1430400" y="-221400"/>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2" name="Gerader Verbinder 11" hidden="1">
              <a:extLst>
                <a:ext uri="{FF2B5EF4-FFF2-40B4-BE49-F238E27FC236}">
                  <a16:creationId xmlns:a16="http://schemas.microsoft.com/office/drawing/2014/main" id="{CFC03B87-D802-4B36-AD8E-2CEE7AFD89FF}"/>
                </a:ext>
              </a:extLst>
            </p:cNvPr>
            <p:cNvCxnSpPr/>
            <p:nvPr userDrawn="1"/>
          </p:nvCxnSpPr>
          <p:spPr>
            <a:xfrm>
              <a:off x="20136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3" name="Gerader Verbinder 12" hidden="1">
              <a:extLst>
                <a:ext uri="{FF2B5EF4-FFF2-40B4-BE49-F238E27FC236}">
                  <a16:creationId xmlns:a16="http://schemas.microsoft.com/office/drawing/2014/main" id="{643F2B8E-2150-4279-B439-BC9E0C429291}"/>
                </a:ext>
              </a:extLst>
            </p:cNvPr>
            <p:cNvCxnSpPr/>
            <p:nvPr userDrawn="1"/>
          </p:nvCxnSpPr>
          <p:spPr>
            <a:xfrm>
              <a:off x="20136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4" name="Gerader Verbinder 13" hidden="1">
              <a:extLst>
                <a:ext uri="{FF2B5EF4-FFF2-40B4-BE49-F238E27FC236}">
                  <a16:creationId xmlns:a16="http://schemas.microsoft.com/office/drawing/2014/main" id="{3DEABF32-A180-49B9-8676-4260EC6D330E}"/>
                </a:ext>
              </a:extLst>
            </p:cNvPr>
            <p:cNvCxnSpPr/>
            <p:nvPr userDrawn="1"/>
          </p:nvCxnSpPr>
          <p:spPr>
            <a:xfrm>
              <a:off x="24024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5" name="Gerader Verbinder 14" hidden="1">
              <a:extLst>
                <a:ext uri="{FF2B5EF4-FFF2-40B4-BE49-F238E27FC236}">
                  <a16:creationId xmlns:a16="http://schemas.microsoft.com/office/drawing/2014/main" id="{C015A03A-EB96-49C8-AB63-A4B788B6E372}"/>
                </a:ext>
              </a:extLst>
            </p:cNvPr>
            <p:cNvCxnSpPr/>
            <p:nvPr userDrawn="1"/>
          </p:nvCxnSpPr>
          <p:spPr>
            <a:xfrm>
              <a:off x="2985600" y="-221400"/>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6" name="Gerader Verbinder 15" hidden="1">
              <a:extLst>
                <a:ext uri="{FF2B5EF4-FFF2-40B4-BE49-F238E27FC236}">
                  <a16:creationId xmlns:a16="http://schemas.microsoft.com/office/drawing/2014/main" id="{E6287E54-B610-4100-B424-D0A93F1C8D0D}"/>
                </a:ext>
              </a:extLst>
            </p:cNvPr>
            <p:cNvCxnSpPr/>
            <p:nvPr userDrawn="1"/>
          </p:nvCxnSpPr>
          <p:spPr>
            <a:xfrm>
              <a:off x="39576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7" name="Gerader Verbinder 16" hidden="1">
              <a:extLst>
                <a:ext uri="{FF2B5EF4-FFF2-40B4-BE49-F238E27FC236}">
                  <a16:creationId xmlns:a16="http://schemas.microsoft.com/office/drawing/2014/main" id="{8044D0E6-CB15-4045-8C15-D3E3DFDF69DA}"/>
                </a:ext>
              </a:extLst>
            </p:cNvPr>
            <p:cNvCxnSpPr/>
            <p:nvPr userDrawn="1"/>
          </p:nvCxnSpPr>
          <p:spPr>
            <a:xfrm>
              <a:off x="3374400" y="-221400"/>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8" name="Gerader Verbinder 17" hidden="1">
              <a:extLst>
                <a:ext uri="{FF2B5EF4-FFF2-40B4-BE49-F238E27FC236}">
                  <a16:creationId xmlns:a16="http://schemas.microsoft.com/office/drawing/2014/main" id="{AEA87CDF-63B6-4E34-AA42-DC3D954E44CE}"/>
                </a:ext>
              </a:extLst>
            </p:cNvPr>
            <p:cNvCxnSpPr/>
            <p:nvPr userDrawn="1"/>
          </p:nvCxnSpPr>
          <p:spPr>
            <a:xfrm>
              <a:off x="39576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9" name="Gerader Verbinder 18" hidden="1">
              <a:extLst>
                <a:ext uri="{FF2B5EF4-FFF2-40B4-BE49-F238E27FC236}">
                  <a16:creationId xmlns:a16="http://schemas.microsoft.com/office/drawing/2014/main" id="{1B80E3DE-93C5-4751-A551-68728725EFCF}"/>
                </a:ext>
              </a:extLst>
            </p:cNvPr>
            <p:cNvCxnSpPr/>
            <p:nvPr userDrawn="1"/>
          </p:nvCxnSpPr>
          <p:spPr>
            <a:xfrm>
              <a:off x="39576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0" name="Gerader Verbinder 19" hidden="1">
              <a:extLst>
                <a:ext uri="{FF2B5EF4-FFF2-40B4-BE49-F238E27FC236}">
                  <a16:creationId xmlns:a16="http://schemas.microsoft.com/office/drawing/2014/main" id="{E46B3950-0AA8-4116-AB00-A9F0FC645C2E}"/>
                </a:ext>
              </a:extLst>
            </p:cNvPr>
            <p:cNvCxnSpPr/>
            <p:nvPr userDrawn="1"/>
          </p:nvCxnSpPr>
          <p:spPr>
            <a:xfrm>
              <a:off x="43464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1" name="Gerader Verbinder 20" hidden="1">
              <a:extLst>
                <a:ext uri="{FF2B5EF4-FFF2-40B4-BE49-F238E27FC236}">
                  <a16:creationId xmlns:a16="http://schemas.microsoft.com/office/drawing/2014/main" id="{CE268F57-869B-423E-AC6D-C8883CEF9B21}"/>
                </a:ext>
              </a:extLst>
            </p:cNvPr>
            <p:cNvCxnSpPr/>
            <p:nvPr userDrawn="1"/>
          </p:nvCxnSpPr>
          <p:spPr>
            <a:xfrm>
              <a:off x="4929600" y="-221400"/>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2" name="Gerader Verbinder 21" hidden="1">
              <a:extLst>
                <a:ext uri="{FF2B5EF4-FFF2-40B4-BE49-F238E27FC236}">
                  <a16:creationId xmlns:a16="http://schemas.microsoft.com/office/drawing/2014/main" id="{7055B86E-A17B-4893-9150-EB4E5CA3B24C}"/>
                </a:ext>
              </a:extLst>
            </p:cNvPr>
            <p:cNvCxnSpPr/>
            <p:nvPr userDrawn="1"/>
          </p:nvCxnSpPr>
          <p:spPr>
            <a:xfrm>
              <a:off x="59016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3" name="Gerader Verbinder 22" hidden="1">
              <a:extLst>
                <a:ext uri="{FF2B5EF4-FFF2-40B4-BE49-F238E27FC236}">
                  <a16:creationId xmlns:a16="http://schemas.microsoft.com/office/drawing/2014/main" id="{D1AE9672-3BA9-40BC-B7F5-AC6BE4C64FAD}"/>
                </a:ext>
              </a:extLst>
            </p:cNvPr>
            <p:cNvCxnSpPr/>
            <p:nvPr userDrawn="1"/>
          </p:nvCxnSpPr>
          <p:spPr>
            <a:xfrm>
              <a:off x="5318400" y="-221400"/>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4" name="Gerader Verbinder 23" hidden="1">
              <a:extLst>
                <a:ext uri="{FF2B5EF4-FFF2-40B4-BE49-F238E27FC236}">
                  <a16:creationId xmlns:a16="http://schemas.microsoft.com/office/drawing/2014/main" id="{6E448D7B-CC07-4E47-9C86-1765DC261ADB}"/>
                </a:ext>
              </a:extLst>
            </p:cNvPr>
            <p:cNvCxnSpPr/>
            <p:nvPr userDrawn="1"/>
          </p:nvCxnSpPr>
          <p:spPr>
            <a:xfrm>
              <a:off x="59016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5" name="Gerader Verbinder 24" hidden="1">
              <a:extLst>
                <a:ext uri="{FF2B5EF4-FFF2-40B4-BE49-F238E27FC236}">
                  <a16:creationId xmlns:a16="http://schemas.microsoft.com/office/drawing/2014/main" id="{9C8A841E-F355-4E31-9A71-3D5FE2B3D5AF}"/>
                </a:ext>
              </a:extLst>
            </p:cNvPr>
            <p:cNvCxnSpPr/>
            <p:nvPr userDrawn="1"/>
          </p:nvCxnSpPr>
          <p:spPr>
            <a:xfrm>
              <a:off x="59016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6" name="Gerader Verbinder 25" hidden="1">
              <a:extLst>
                <a:ext uri="{FF2B5EF4-FFF2-40B4-BE49-F238E27FC236}">
                  <a16:creationId xmlns:a16="http://schemas.microsoft.com/office/drawing/2014/main" id="{69B4811C-1AA9-46B9-8524-E9522A17AFB7}"/>
                </a:ext>
              </a:extLst>
            </p:cNvPr>
            <p:cNvCxnSpPr/>
            <p:nvPr userDrawn="1"/>
          </p:nvCxnSpPr>
          <p:spPr>
            <a:xfrm>
              <a:off x="62904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7" name="Gerader Verbinder 26" hidden="1">
              <a:extLst>
                <a:ext uri="{FF2B5EF4-FFF2-40B4-BE49-F238E27FC236}">
                  <a16:creationId xmlns:a16="http://schemas.microsoft.com/office/drawing/2014/main" id="{9D6C41F4-6DE8-4633-B9F9-CAF2825FEF24}"/>
                </a:ext>
              </a:extLst>
            </p:cNvPr>
            <p:cNvCxnSpPr/>
            <p:nvPr userDrawn="1"/>
          </p:nvCxnSpPr>
          <p:spPr>
            <a:xfrm>
              <a:off x="6873600" y="-221400"/>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8" name="Gerader Verbinder 27" hidden="1">
              <a:extLst>
                <a:ext uri="{FF2B5EF4-FFF2-40B4-BE49-F238E27FC236}">
                  <a16:creationId xmlns:a16="http://schemas.microsoft.com/office/drawing/2014/main" id="{E99E0EA2-4070-43BB-A753-10B05EF1BE4C}"/>
                </a:ext>
              </a:extLst>
            </p:cNvPr>
            <p:cNvCxnSpPr/>
            <p:nvPr userDrawn="1"/>
          </p:nvCxnSpPr>
          <p:spPr>
            <a:xfrm>
              <a:off x="78456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9" name="Gerader Verbinder 28" hidden="1">
              <a:extLst>
                <a:ext uri="{FF2B5EF4-FFF2-40B4-BE49-F238E27FC236}">
                  <a16:creationId xmlns:a16="http://schemas.microsoft.com/office/drawing/2014/main" id="{9B02E612-86D6-40E9-8C07-AA6609FF5011}"/>
                </a:ext>
              </a:extLst>
            </p:cNvPr>
            <p:cNvCxnSpPr/>
            <p:nvPr userDrawn="1"/>
          </p:nvCxnSpPr>
          <p:spPr>
            <a:xfrm>
              <a:off x="7262400" y="-221400"/>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0" name="Gerader Verbinder 29" hidden="1">
              <a:extLst>
                <a:ext uri="{FF2B5EF4-FFF2-40B4-BE49-F238E27FC236}">
                  <a16:creationId xmlns:a16="http://schemas.microsoft.com/office/drawing/2014/main" id="{969B7019-55CC-44FD-8348-C155AC213653}"/>
                </a:ext>
              </a:extLst>
            </p:cNvPr>
            <p:cNvCxnSpPr/>
            <p:nvPr userDrawn="1"/>
          </p:nvCxnSpPr>
          <p:spPr>
            <a:xfrm>
              <a:off x="78456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1" name="Gerader Verbinder 30" hidden="1">
              <a:extLst>
                <a:ext uri="{FF2B5EF4-FFF2-40B4-BE49-F238E27FC236}">
                  <a16:creationId xmlns:a16="http://schemas.microsoft.com/office/drawing/2014/main" id="{5DC0CDCF-DD6C-4E4A-98A2-05479CD2B617}"/>
                </a:ext>
              </a:extLst>
            </p:cNvPr>
            <p:cNvCxnSpPr/>
            <p:nvPr userDrawn="1"/>
          </p:nvCxnSpPr>
          <p:spPr>
            <a:xfrm>
              <a:off x="78456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2" name="Gerader Verbinder 31" hidden="1">
              <a:extLst>
                <a:ext uri="{FF2B5EF4-FFF2-40B4-BE49-F238E27FC236}">
                  <a16:creationId xmlns:a16="http://schemas.microsoft.com/office/drawing/2014/main" id="{9955B781-BCF1-43E9-8966-9B6F3E5506B7}"/>
                </a:ext>
              </a:extLst>
            </p:cNvPr>
            <p:cNvCxnSpPr/>
            <p:nvPr userDrawn="1"/>
          </p:nvCxnSpPr>
          <p:spPr>
            <a:xfrm>
              <a:off x="82344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3" name="Gerader Verbinder 32" hidden="1">
              <a:extLst>
                <a:ext uri="{FF2B5EF4-FFF2-40B4-BE49-F238E27FC236}">
                  <a16:creationId xmlns:a16="http://schemas.microsoft.com/office/drawing/2014/main" id="{6E4EC9AE-C08B-466C-9977-F48CF68E072D}"/>
                </a:ext>
              </a:extLst>
            </p:cNvPr>
            <p:cNvCxnSpPr/>
            <p:nvPr userDrawn="1"/>
          </p:nvCxnSpPr>
          <p:spPr>
            <a:xfrm>
              <a:off x="8817600" y="-221400"/>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4" name="Gerader Verbinder 33" hidden="1">
              <a:extLst>
                <a:ext uri="{FF2B5EF4-FFF2-40B4-BE49-F238E27FC236}">
                  <a16:creationId xmlns:a16="http://schemas.microsoft.com/office/drawing/2014/main" id="{D7221E1A-66A9-4B1C-ADE8-0CEC93DA0B0C}"/>
                </a:ext>
              </a:extLst>
            </p:cNvPr>
            <p:cNvCxnSpPr/>
            <p:nvPr userDrawn="1"/>
          </p:nvCxnSpPr>
          <p:spPr>
            <a:xfrm>
              <a:off x="97896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5" name="Gerader Verbinder 34" hidden="1">
              <a:extLst>
                <a:ext uri="{FF2B5EF4-FFF2-40B4-BE49-F238E27FC236}">
                  <a16:creationId xmlns:a16="http://schemas.microsoft.com/office/drawing/2014/main" id="{B6675E7C-A90C-4499-A858-AE4D5C6D75B3}"/>
                </a:ext>
              </a:extLst>
            </p:cNvPr>
            <p:cNvCxnSpPr/>
            <p:nvPr userDrawn="1"/>
          </p:nvCxnSpPr>
          <p:spPr>
            <a:xfrm>
              <a:off x="9206400" y="-221400"/>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6" name="Gerader Verbinder 35" hidden="1">
              <a:extLst>
                <a:ext uri="{FF2B5EF4-FFF2-40B4-BE49-F238E27FC236}">
                  <a16:creationId xmlns:a16="http://schemas.microsoft.com/office/drawing/2014/main" id="{BF3C336C-B68B-4DE8-B752-6C94A660C57B}"/>
                </a:ext>
              </a:extLst>
            </p:cNvPr>
            <p:cNvCxnSpPr/>
            <p:nvPr userDrawn="1"/>
          </p:nvCxnSpPr>
          <p:spPr>
            <a:xfrm>
              <a:off x="97896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7" name="Gerader Verbinder 36" hidden="1">
              <a:extLst>
                <a:ext uri="{FF2B5EF4-FFF2-40B4-BE49-F238E27FC236}">
                  <a16:creationId xmlns:a16="http://schemas.microsoft.com/office/drawing/2014/main" id="{E0598B98-7E31-442A-A758-C4F2D6B8832D}"/>
                </a:ext>
              </a:extLst>
            </p:cNvPr>
            <p:cNvCxnSpPr/>
            <p:nvPr userDrawn="1"/>
          </p:nvCxnSpPr>
          <p:spPr>
            <a:xfrm>
              <a:off x="97896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8" name="Gerader Verbinder 37" hidden="1">
              <a:extLst>
                <a:ext uri="{FF2B5EF4-FFF2-40B4-BE49-F238E27FC236}">
                  <a16:creationId xmlns:a16="http://schemas.microsoft.com/office/drawing/2014/main" id="{29990A7E-7040-40A1-88B3-25EBC0BBFC65}"/>
                </a:ext>
              </a:extLst>
            </p:cNvPr>
            <p:cNvCxnSpPr/>
            <p:nvPr userDrawn="1"/>
          </p:nvCxnSpPr>
          <p:spPr>
            <a:xfrm>
              <a:off x="101784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9" name="Gerader Verbinder 38" hidden="1">
              <a:extLst>
                <a:ext uri="{FF2B5EF4-FFF2-40B4-BE49-F238E27FC236}">
                  <a16:creationId xmlns:a16="http://schemas.microsoft.com/office/drawing/2014/main" id="{1ED1A5A3-ABC1-45A3-9695-8E9D8269985A}"/>
                </a:ext>
              </a:extLst>
            </p:cNvPr>
            <p:cNvCxnSpPr/>
            <p:nvPr userDrawn="1"/>
          </p:nvCxnSpPr>
          <p:spPr>
            <a:xfrm>
              <a:off x="10761600" y="-221400"/>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40" name="Gerader Verbinder 39" hidden="1">
              <a:extLst>
                <a:ext uri="{FF2B5EF4-FFF2-40B4-BE49-F238E27FC236}">
                  <a16:creationId xmlns:a16="http://schemas.microsoft.com/office/drawing/2014/main" id="{C91BB4FA-B186-4E21-9498-F0A123BC23CE}"/>
                </a:ext>
              </a:extLst>
            </p:cNvPr>
            <p:cNvCxnSpPr/>
            <p:nvPr userDrawn="1"/>
          </p:nvCxnSpPr>
          <p:spPr>
            <a:xfrm>
              <a:off x="117336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41" name="Gerader Verbinder 40" hidden="1">
              <a:extLst>
                <a:ext uri="{FF2B5EF4-FFF2-40B4-BE49-F238E27FC236}">
                  <a16:creationId xmlns:a16="http://schemas.microsoft.com/office/drawing/2014/main" id="{D36AF9AB-7A7D-4444-BCFA-B73ECB5BA3D9}"/>
                </a:ext>
              </a:extLst>
            </p:cNvPr>
            <p:cNvCxnSpPr/>
            <p:nvPr userDrawn="1"/>
          </p:nvCxnSpPr>
          <p:spPr>
            <a:xfrm>
              <a:off x="11150400" y="-221400"/>
              <a:ext cx="0" cy="540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42" name="Gerader Verbinder 41" hidden="1">
              <a:extLst>
                <a:ext uri="{FF2B5EF4-FFF2-40B4-BE49-F238E27FC236}">
                  <a16:creationId xmlns:a16="http://schemas.microsoft.com/office/drawing/2014/main" id="{1E588DD7-1822-4359-896A-CCB5054F74A6}"/>
                </a:ext>
              </a:extLst>
            </p:cNvPr>
            <p:cNvCxnSpPr/>
            <p:nvPr userDrawn="1"/>
          </p:nvCxnSpPr>
          <p:spPr>
            <a:xfrm>
              <a:off x="117336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43" name="Gerader Verbinder 42" hidden="1">
              <a:extLst>
                <a:ext uri="{FF2B5EF4-FFF2-40B4-BE49-F238E27FC236}">
                  <a16:creationId xmlns:a16="http://schemas.microsoft.com/office/drawing/2014/main" id="{E41E115F-4D04-4F7E-A883-8F215D661368}"/>
                </a:ext>
              </a:extLst>
            </p:cNvPr>
            <p:cNvCxnSpPr/>
            <p:nvPr userDrawn="1"/>
          </p:nvCxnSpPr>
          <p:spPr>
            <a:xfrm>
              <a:off x="11733600" y="-2646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44" name="Gerader Verbinder 43" hidden="1">
              <a:extLst>
                <a:ext uri="{FF2B5EF4-FFF2-40B4-BE49-F238E27FC236}">
                  <a16:creationId xmlns:a16="http://schemas.microsoft.com/office/drawing/2014/main" id="{D21FFCD8-D7EB-44DA-AA4A-69DEE2CD2A3C}"/>
                </a:ext>
              </a:extLst>
            </p:cNvPr>
            <p:cNvCxnSpPr/>
            <p:nvPr userDrawn="1"/>
          </p:nvCxnSpPr>
          <p:spPr>
            <a:xfrm>
              <a:off x="1236000" y="-192600"/>
              <a:ext cx="0" cy="25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45" name="Gerader Verbinder 44" hidden="1">
              <a:extLst>
                <a:ext uri="{FF2B5EF4-FFF2-40B4-BE49-F238E27FC236}">
                  <a16:creationId xmlns:a16="http://schemas.microsoft.com/office/drawing/2014/main" id="{F05127D3-BED0-4B20-9545-BA76ECA0EF94}"/>
                </a:ext>
              </a:extLst>
            </p:cNvPr>
            <p:cNvCxnSpPr/>
            <p:nvPr userDrawn="1"/>
          </p:nvCxnSpPr>
          <p:spPr>
            <a:xfrm>
              <a:off x="3180000" y="-192600"/>
              <a:ext cx="0" cy="25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46" name="Gerader Verbinder 45" hidden="1">
              <a:extLst>
                <a:ext uri="{FF2B5EF4-FFF2-40B4-BE49-F238E27FC236}">
                  <a16:creationId xmlns:a16="http://schemas.microsoft.com/office/drawing/2014/main" id="{DE57FE2B-166D-4CD7-875D-ECB00BD38B7E}"/>
                </a:ext>
              </a:extLst>
            </p:cNvPr>
            <p:cNvCxnSpPr/>
            <p:nvPr userDrawn="1"/>
          </p:nvCxnSpPr>
          <p:spPr>
            <a:xfrm>
              <a:off x="5124000" y="-192600"/>
              <a:ext cx="0" cy="25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47" name="Gerader Verbinder 46" hidden="1">
              <a:extLst>
                <a:ext uri="{FF2B5EF4-FFF2-40B4-BE49-F238E27FC236}">
                  <a16:creationId xmlns:a16="http://schemas.microsoft.com/office/drawing/2014/main" id="{1D0E3B90-A08A-4F8D-B740-AB7B9DF3855E}"/>
                </a:ext>
              </a:extLst>
            </p:cNvPr>
            <p:cNvCxnSpPr/>
            <p:nvPr userDrawn="1"/>
          </p:nvCxnSpPr>
          <p:spPr>
            <a:xfrm>
              <a:off x="7068000" y="-192600"/>
              <a:ext cx="0" cy="25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48" name="Gerader Verbinder 47" hidden="1">
              <a:extLst>
                <a:ext uri="{FF2B5EF4-FFF2-40B4-BE49-F238E27FC236}">
                  <a16:creationId xmlns:a16="http://schemas.microsoft.com/office/drawing/2014/main" id="{8D73528F-E385-4614-9CCD-532577EEB745}"/>
                </a:ext>
              </a:extLst>
            </p:cNvPr>
            <p:cNvCxnSpPr/>
            <p:nvPr userDrawn="1"/>
          </p:nvCxnSpPr>
          <p:spPr>
            <a:xfrm>
              <a:off x="9012000" y="-192600"/>
              <a:ext cx="0" cy="25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49" name="Gerader Verbinder 48" hidden="1">
              <a:extLst>
                <a:ext uri="{FF2B5EF4-FFF2-40B4-BE49-F238E27FC236}">
                  <a16:creationId xmlns:a16="http://schemas.microsoft.com/office/drawing/2014/main" id="{6DA73E2C-6A6E-4BFE-9077-0B1349AB26F8}"/>
                </a:ext>
              </a:extLst>
            </p:cNvPr>
            <p:cNvCxnSpPr/>
            <p:nvPr userDrawn="1"/>
          </p:nvCxnSpPr>
          <p:spPr>
            <a:xfrm>
              <a:off x="10956000" y="-192600"/>
              <a:ext cx="0" cy="25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50" name="Gerader Verbinder 49" hidden="1">
              <a:extLst>
                <a:ext uri="{FF2B5EF4-FFF2-40B4-BE49-F238E27FC236}">
                  <a16:creationId xmlns:a16="http://schemas.microsoft.com/office/drawing/2014/main" id="{CB66D52F-DF2F-4E99-A863-30DD9A2B0E65}"/>
                </a:ext>
              </a:extLst>
            </p:cNvPr>
            <p:cNvCxnSpPr>
              <a:cxnSpLocks/>
            </p:cNvCxnSpPr>
            <p:nvPr userDrawn="1"/>
          </p:nvCxnSpPr>
          <p:spPr>
            <a:xfrm flipH="1">
              <a:off x="-319200" y="3186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51" name="Gerader Verbinder 50" hidden="1">
              <a:extLst>
                <a:ext uri="{FF2B5EF4-FFF2-40B4-BE49-F238E27FC236}">
                  <a16:creationId xmlns:a16="http://schemas.microsoft.com/office/drawing/2014/main" id="{0D12DBFF-6DBE-4329-9927-1E4FB0D54936}"/>
                </a:ext>
              </a:extLst>
            </p:cNvPr>
            <p:cNvCxnSpPr>
              <a:cxnSpLocks/>
            </p:cNvCxnSpPr>
            <p:nvPr userDrawn="1"/>
          </p:nvCxnSpPr>
          <p:spPr>
            <a:xfrm flipH="1">
              <a:off x="-319200" y="9018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52" name="Gerader Verbinder 51" hidden="1">
              <a:extLst>
                <a:ext uri="{FF2B5EF4-FFF2-40B4-BE49-F238E27FC236}">
                  <a16:creationId xmlns:a16="http://schemas.microsoft.com/office/drawing/2014/main" id="{CC7C4472-EFA3-46D6-A6D0-B5F37A7E2D57}"/>
                </a:ext>
              </a:extLst>
            </p:cNvPr>
            <p:cNvCxnSpPr>
              <a:cxnSpLocks/>
            </p:cNvCxnSpPr>
            <p:nvPr userDrawn="1"/>
          </p:nvCxnSpPr>
          <p:spPr>
            <a:xfrm flipH="1">
              <a:off x="-319200" y="13878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53" name="Gerader Verbinder 52" hidden="1">
              <a:extLst>
                <a:ext uri="{FF2B5EF4-FFF2-40B4-BE49-F238E27FC236}">
                  <a16:creationId xmlns:a16="http://schemas.microsoft.com/office/drawing/2014/main" id="{3FDE7D94-E342-465D-909C-9845F8880CA1}"/>
                </a:ext>
              </a:extLst>
            </p:cNvPr>
            <p:cNvCxnSpPr>
              <a:cxnSpLocks/>
            </p:cNvCxnSpPr>
            <p:nvPr userDrawn="1"/>
          </p:nvCxnSpPr>
          <p:spPr>
            <a:xfrm flipH="1">
              <a:off x="-513600" y="13878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54" name="Gerader Verbinder 53" hidden="1">
              <a:extLst>
                <a:ext uri="{FF2B5EF4-FFF2-40B4-BE49-F238E27FC236}">
                  <a16:creationId xmlns:a16="http://schemas.microsoft.com/office/drawing/2014/main" id="{434B4DD3-3D38-4520-A913-09BDC88193D0}"/>
                </a:ext>
              </a:extLst>
            </p:cNvPr>
            <p:cNvCxnSpPr/>
            <p:nvPr userDrawn="1"/>
          </p:nvCxnSpPr>
          <p:spPr>
            <a:xfrm>
              <a:off x="-276000" y="1971000"/>
              <a:ext cx="540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55" name="Gerader Verbinder 54" hidden="1">
              <a:extLst>
                <a:ext uri="{FF2B5EF4-FFF2-40B4-BE49-F238E27FC236}">
                  <a16:creationId xmlns:a16="http://schemas.microsoft.com/office/drawing/2014/main" id="{5CF4A037-9768-4455-9C7B-8783E6CAE297}"/>
                </a:ext>
              </a:extLst>
            </p:cNvPr>
            <p:cNvCxnSpPr/>
            <p:nvPr userDrawn="1"/>
          </p:nvCxnSpPr>
          <p:spPr>
            <a:xfrm>
              <a:off x="-276000" y="2359800"/>
              <a:ext cx="540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56" name="Gerader Verbinder 55" hidden="1">
              <a:extLst>
                <a:ext uri="{FF2B5EF4-FFF2-40B4-BE49-F238E27FC236}">
                  <a16:creationId xmlns:a16="http://schemas.microsoft.com/office/drawing/2014/main" id="{A5AF0393-1377-4E39-9854-6D1D46EEBED8}"/>
                </a:ext>
              </a:extLst>
            </p:cNvPr>
            <p:cNvCxnSpPr>
              <a:cxnSpLocks/>
            </p:cNvCxnSpPr>
            <p:nvPr userDrawn="1"/>
          </p:nvCxnSpPr>
          <p:spPr>
            <a:xfrm flipH="1">
              <a:off x="-319200" y="29430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57" name="Gerader Verbinder 56" hidden="1">
              <a:extLst>
                <a:ext uri="{FF2B5EF4-FFF2-40B4-BE49-F238E27FC236}">
                  <a16:creationId xmlns:a16="http://schemas.microsoft.com/office/drawing/2014/main" id="{8F810320-D354-4B47-B096-C4F1C3A5D78A}"/>
                </a:ext>
              </a:extLst>
            </p:cNvPr>
            <p:cNvCxnSpPr>
              <a:cxnSpLocks/>
            </p:cNvCxnSpPr>
            <p:nvPr userDrawn="1"/>
          </p:nvCxnSpPr>
          <p:spPr>
            <a:xfrm flipH="1">
              <a:off x="-319200" y="33318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58" name="Gerader Verbinder 57" hidden="1">
              <a:extLst>
                <a:ext uri="{FF2B5EF4-FFF2-40B4-BE49-F238E27FC236}">
                  <a16:creationId xmlns:a16="http://schemas.microsoft.com/office/drawing/2014/main" id="{ABBE022B-DD24-4FCC-951A-A23ED34B2E9D}"/>
                </a:ext>
              </a:extLst>
            </p:cNvPr>
            <p:cNvCxnSpPr/>
            <p:nvPr userDrawn="1"/>
          </p:nvCxnSpPr>
          <p:spPr>
            <a:xfrm>
              <a:off x="-276000" y="3915000"/>
              <a:ext cx="540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59" name="Gerader Verbinder 58" hidden="1">
              <a:extLst>
                <a:ext uri="{FF2B5EF4-FFF2-40B4-BE49-F238E27FC236}">
                  <a16:creationId xmlns:a16="http://schemas.microsoft.com/office/drawing/2014/main" id="{518AE403-E6BA-4298-8785-2938A20B055E}"/>
                </a:ext>
              </a:extLst>
            </p:cNvPr>
            <p:cNvCxnSpPr/>
            <p:nvPr userDrawn="1"/>
          </p:nvCxnSpPr>
          <p:spPr>
            <a:xfrm>
              <a:off x="-276000" y="4303800"/>
              <a:ext cx="540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0" name="Gerader Verbinder 59" hidden="1">
              <a:extLst>
                <a:ext uri="{FF2B5EF4-FFF2-40B4-BE49-F238E27FC236}">
                  <a16:creationId xmlns:a16="http://schemas.microsoft.com/office/drawing/2014/main" id="{07BAA48B-6B20-4E6C-B2F8-10F0F52EEB32}"/>
                </a:ext>
              </a:extLst>
            </p:cNvPr>
            <p:cNvCxnSpPr>
              <a:cxnSpLocks/>
            </p:cNvCxnSpPr>
            <p:nvPr userDrawn="1"/>
          </p:nvCxnSpPr>
          <p:spPr>
            <a:xfrm flipH="1">
              <a:off x="-319200" y="48870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1" name="Gerader Verbinder 60" hidden="1">
              <a:extLst>
                <a:ext uri="{FF2B5EF4-FFF2-40B4-BE49-F238E27FC236}">
                  <a16:creationId xmlns:a16="http://schemas.microsoft.com/office/drawing/2014/main" id="{6B07DAA5-15EF-44B3-B23E-2ED808617325}"/>
                </a:ext>
              </a:extLst>
            </p:cNvPr>
            <p:cNvCxnSpPr>
              <a:cxnSpLocks/>
            </p:cNvCxnSpPr>
            <p:nvPr userDrawn="1"/>
          </p:nvCxnSpPr>
          <p:spPr>
            <a:xfrm flipH="1">
              <a:off x="-319200" y="52758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2" name="Gerader Verbinder 61" hidden="1">
              <a:extLst>
                <a:ext uri="{FF2B5EF4-FFF2-40B4-BE49-F238E27FC236}">
                  <a16:creationId xmlns:a16="http://schemas.microsoft.com/office/drawing/2014/main" id="{EC5EB6A1-8DB0-475F-98A9-EE652BAF40D3}"/>
                </a:ext>
              </a:extLst>
            </p:cNvPr>
            <p:cNvCxnSpPr/>
            <p:nvPr userDrawn="1"/>
          </p:nvCxnSpPr>
          <p:spPr>
            <a:xfrm>
              <a:off x="-276000" y="5859000"/>
              <a:ext cx="540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3" name="Gerader Verbinder 62" hidden="1">
              <a:extLst>
                <a:ext uri="{FF2B5EF4-FFF2-40B4-BE49-F238E27FC236}">
                  <a16:creationId xmlns:a16="http://schemas.microsoft.com/office/drawing/2014/main" id="{1EFCE728-D858-4063-A7DF-BEE8925F5C29}"/>
                </a:ext>
              </a:extLst>
            </p:cNvPr>
            <p:cNvCxnSpPr/>
            <p:nvPr userDrawn="1"/>
          </p:nvCxnSpPr>
          <p:spPr>
            <a:xfrm>
              <a:off x="-276000" y="6247800"/>
              <a:ext cx="540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4" name="Gerader Verbinder 63" hidden="1">
              <a:extLst>
                <a:ext uri="{FF2B5EF4-FFF2-40B4-BE49-F238E27FC236}">
                  <a16:creationId xmlns:a16="http://schemas.microsoft.com/office/drawing/2014/main" id="{A67257CA-B47E-4F50-A0AA-574DADADAEBD}"/>
                </a:ext>
              </a:extLst>
            </p:cNvPr>
            <p:cNvCxnSpPr>
              <a:cxnSpLocks/>
            </p:cNvCxnSpPr>
            <p:nvPr userDrawn="1"/>
          </p:nvCxnSpPr>
          <p:spPr>
            <a:xfrm flipH="1">
              <a:off x="-319200" y="68310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5" name="Gerader Verbinder 64" hidden="1">
              <a:extLst>
                <a:ext uri="{FF2B5EF4-FFF2-40B4-BE49-F238E27FC236}">
                  <a16:creationId xmlns:a16="http://schemas.microsoft.com/office/drawing/2014/main" id="{8E29FD86-A24C-4644-98D8-AF7A678DA06D}"/>
                </a:ext>
              </a:extLst>
            </p:cNvPr>
            <p:cNvCxnSpPr>
              <a:cxnSpLocks/>
            </p:cNvCxnSpPr>
            <p:nvPr userDrawn="1"/>
          </p:nvCxnSpPr>
          <p:spPr>
            <a:xfrm>
              <a:off x="-247200" y="2165400"/>
              <a:ext cx="25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6" name="Gerader Verbinder 65" hidden="1">
              <a:extLst>
                <a:ext uri="{FF2B5EF4-FFF2-40B4-BE49-F238E27FC236}">
                  <a16:creationId xmlns:a16="http://schemas.microsoft.com/office/drawing/2014/main" id="{08EC4055-3E49-4ACC-8776-2F3B1F7E1869}"/>
                </a:ext>
              </a:extLst>
            </p:cNvPr>
            <p:cNvCxnSpPr>
              <a:cxnSpLocks/>
            </p:cNvCxnSpPr>
            <p:nvPr userDrawn="1"/>
          </p:nvCxnSpPr>
          <p:spPr>
            <a:xfrm>
              <a:off x="-247200" y="4109400"/>
              <a:ext cx="25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7" name="Gerader Verbinder 66" hidden="1">
              <a:extLst>
                <a:ext uri="{FF2B5EF4-FFF2-40B4-BE49-F238E27FC236}">
                  <a16:creationId xmlns:a16="http://schemas.microsoft.com/office/drawing/2014/main" id="{C2319598-A10D-407B-B692-C1760D6902AC}"/>
                </a:ext>
              </a:extLst>
            </p:cNvPr>
            <p:cNvCxnSpPr>
              <a:cxnSpLocks/>
            </p:cNvCxnSpPr>
            <p:nvPr userDrawn="1"/>
          </p:nvCxnSpPr>
          <p:spPr>
            <a:xfrm>
              <a:off x="-247200" y="6053400"/>
              <a:ext cx="25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8" name="Gerader Verbinder 67" hidden="1">
              <a:extLst>
                <a:ext uri="{FF2B5EF4-FFF2-40B4-BE49-F238E27FC236}">
                  <a16:creationId xmlns:a16="http://schemas.microsoft.com/office/drawing/2014/main" id="{00696105-B72A-4737-89BF-579FF02F60E7}"/>
                </a:ext>
              </a:extLst>
            </p:cNvPr>
            <p:cNvCxnSpPr/>
            <p:nvPr userDrawn="1"/>
          </p:nvCxnSpPr>
          <p:spPr>
            <a:xfrm>
              <a:off x="-276000" y="6442200"/>
              <a:ext cx="540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9" name="Gerader Verbinder 68" hidden="1">
              <a:extLst>
                <a:ext uri="{FF2B5EF4-FFF2-40B4-BE49-F238E27FC236}">
                  <a16:creationId xmlns:a16="http://schemas.microsoft.com/office/drawing/2014/main" id="{8E298FB2-A1BB-4F47-B6ED-6FD9395B4BE5}"/>
                </a:ext>
              </a:extLst>
            </p:cNvPr>
            <p:cNvCxnSpPr/>
            <p:nvPr userDrawn="1"/>
          </p:nvCxnSpPr>
          <p:spPr>
            <a:xfrm>
              <a:off x="-247200" y="6733800"/>
              <a:ext cx="25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70" name="Gerader Verbinder 69" hidden="1">
              <a:extLst>
                <a:ext uri="{FF2B5EF4-FFF2-40B4-BE49-F238E27FC236}">
                  <a16:creationId xmlns:a16="http://schemas.microsoft.com/office/drawing/2014/main" id="{A669A67E-8078-4C3B-BA8E-B765C56225AE}"/>
                </a:ext>
              </a:extLst>
            </p:cNvPr>
            <p:cNvCxnSpPr>
              <a:cxnSpLocks/>
            </p:cNvCxnSpPr>
            <p:nvPr userDrawn="1"/>
          </p:nvCxnSpPr>
          <p:spPr>
            <a:xfrm flipH="1">
              <a:off x="-513600" y="41094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71" name="Gerader Verbinder 70" hidden="1">
              <a:extLst>
                <a:ext uri="{FF2B5EF4-FFF2-40B4-BE49-F238E27FC236}">
                  <a16:creationId xmlns:a16="http://schemas.microsoft.com/office/drawing/2014/main" id="{E9607184-55E9-4D45-91BB-0823713AA6A8}"/>
                </a:ext>
              </a:extLst>
            </p:cNvPr>
            <p:cNvCxnSpPr>
              <a:cxnSpLocks/>
            </p:cNvCxnSpPr>
            <p:nvPr userDrawn="1"/>
          </p:nvCxnSpPr>
          <p:spPr>
            <a:xfrm flipH="1">
              <a:off x="-513600" y="68310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72" name="Gerader Verbinder 71" hidden="1">
              <a:extLst>
                <a:ext uri="{FF2B5EF4-FFF2-40B4-BE49-F238E27FC236}">
                  <a16:creationId xmlns:a16="http://schemas.microsoft.com/office/drawing/2014/main" id="{8FC231F3-E093-4EBF-8D98-49D8828F9199}"/>
                </a:ext>
              </a:extLst>
            </p:cNvPr>
            <p:cNvCxnSpPr/>
            <p:nvPr userDrawn="1"/>
          </p:nvCxnSpPr>
          <p:spPr>
            <a:xfrm>
              <a:off x="458400" y="70254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73" name="Gerader Verbinder 72" hidden="1">
              <a:extLst>
                <a:ext uri="{FF2B5EF4-FFF2-40B4-BE49-F238E27FC236}">
                  <a16:creationId xmlns:a16="http://schemas.microsoft.com/office/drawing/2014/main" id="{551DC6B6-82E2-4009-9157-124C78E8698B}"/>
                </a:ext>
              </a:extLst>
            </p:cNvPr>
            <p:cNvCxnSpPr/>
            <p:nvPr userDrawn="1"/>
          </p:nvCxnSpPr>
          <p:spPr>
            <a:xfrm>
              <a:off x="2791200" y="70254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74" name="Gerader Verbinder 73" hidden="1">
              <a:extLst>
                <a:ext uri="{FF2B5EF4-FFF2-40B4-BE49-F238E27FC236}">
                  <a16:creationId xmlns:a16="http://schemas.microsoft.com/office/drawing/2014/main" id="{B49A3D3C-54B2-4D39-B77D-5DFD5292D70B}"/>
                </a:ext>
              </a:extLst>
            </p:cNvPr>
            <p:cNvCxnSpPr/>
            <p:nvPr userDrawn="1"/>
          </p:nvCxnSpPr>
          <p:spPr>
            <a:xfrm>
              <a:off x="5124000" y="70254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75" name="Gerader Verbinder 74" hidden="1">
              <a:extLst>
                <a:ext uri="{FF2B5EF4-FFF2-40B4-BE49-F238E27FC236}">
                  <a16:creationId xmlns:a16="http://schemas.microsoft.com/office/drawing/2014/main" id="{D6C9BCF8-EC2F-418B-B972-4C9D9ACA18DF}"/>
                </a:ext>
              </a:extLst>
            </p:cNvPr>
            <p:cNvCxnSpPr/>
            <p:nvPr userDrawn="1"/>
          </p:nvCxnSpPr>
          <p:spPr>
            <a:xfrm>
              <a:off x="7456800" y="70254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76" name="Gerader Verbinder 75" hidden="1">
              <a:extLst>
                <a:ext uri="{FF2B5EF4-FFF2-40B4-BE49-F238E27FC236}">
                  <a16:creationId xmlns:a16="http://schemas.microsoft.com/office/drawing/2014/main" id="{F49B1E23-A555-4510-B81F-89A1EADE1F52}"/>
                </a:ext>
              </a:extLst>
            </p:cNvPr>
            <p:cNvCxnSpPr/>
            <p:nvPr userDrawn="1"/>
          </p:nvCxnSpPr>
          <p:spPr>
            <a:xfrm>
              <a:off x="9789600" y="70254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77" name="Gerader Verbinder 76" hidden="1">
              <a:extLst>
                <a:ext uri="{FF2B5EF4-FFF2-40B4-BE49-F238E27FC236}">
                  <a16:creationId xmlns:a16="http://schemas.microsoft.com/office/drawing/2014/main" id="{A03D0830-2039-42E7-AC32-3A2171B5B6B8}"/>
                </a:ext>
              </a:extLst>
            </p:cNvPr>
            <p:cNvCxnSpPr/>
            <p:nvPr userDrawn="1"/>
          </p:nvCxnSpPr>
          <p:spPr>
            <a:xfrm>
              <a:off x="11733600" y="70254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78" name="Gerader Verbinder 77" hidden="1">
              <a:extLst>
                <a:ext uri="{FF2B5EF4-FFF2-40B4-BE49-F238E27FC236}">
                  <a16:creationId xmlns:a16="http://schemas.microsoft.com/office/drawing/2014/main" id="{725F9219-8822-4D18-9151-855D27670BBB}"/>
                </a:ext>
              </a:extLst>
            </p:cNvPr>
            <p:cNvCxnSpPr/>
            <p:nvPr userDrawn="1"/>
          </p:nvCxnSpPr>
          <p:spPr>
            <a:xfrm>
              <a:off x="9400800" y="70254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79" name="Gerader Verbinder 78" hidden="1">
              <a:extLst>
                <a:ext uri="{FF2B5EF4-FFF2-40B4-BE49-F238E27FC236}">
                  <a16:creationId xmlns:a16="http://schemas.microsoft.com/office/drawing/2014/main" id="{09A8A872-C152-4027-A9DD-A774C5E5B827}"/>
                </a:ext>
              </a:extLst>
            </p:cNvPr>
            <p:cNvCxnSpPr/>
            <p:nvPr userDrawn="1"/>
          </p:nvCxnSpPr>
          <p:spPr>
            <a:xfrm>
              <a:off x="7068000" y="70254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80" name="Gerader Verbinder 79" hidden="1">
              <a:extLst>
                <a:ext uri="{FF2B5EF4-FFF2-40B4-BE49-F238E27FC236}">
                  <a16:creationId xmlns:a16="http://schemas.microsoft.com/office/drawing/2014/main" id="{B175A82F-1E98-42A8-A9CE-47639CF466A3}"/>
                </a:ext>
              </a:extLst>
            </p:cNvPr>
            <p:cNvCxnSpPr/>
            <p:nvPr userDrawn="1"/>
          </p:nvCxnSpPr>
          <p:spPr>
            <a:xfrm>
              <a:off x="4735200" y="70254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81" name="Gerader Verbinder 80" hidden="1">
              <a:extLst>
                <a:ext uri="{FF2B5EF4-FFF2-40B4-BE49-F238E27FC236}">
                  <a16:creationId xmlns:a16="http://schemas.microsoft.com/office/drawing/2014/main" id="{57638F6E-153C-4415-A426-AB963ABED384}"/>
                </a:ext>
              </a:extLst>
            </p:cNvPr>
            <p:cNvCxnSpPr/>
            <p:nvPr userDrawn="1"/>
          </p:nvCxnSpPr>
          <p:spPr>
            <a:xfrm>
              <a:off x="2402400" y="7025400"/>
              <a:ext cx="0" cy="9720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82" name="Gerader Verbinder 81" hidden="1">
              <a:extLst>
                <a:ext uri="{FF2B5EF4-FFF2-40B4-BE49-F238E27FC236}">
                  <a16:creationId xmlns:a16="http://schemas.microsoft.com/office/drawing/2014/main" id="{1FB8283F-BF95-439D-8D3D-FC9CF0316028}"/>
                </a:ext>
              </a:extLst>
            </p:cNvPr>
            <p:cNvCxnSpPr>
              <a:cxnSpLocks/>
            </p:cNvCxnSpPr>
            <p:nvPr userDrawn="1"/>
          </p:nvCxnSpPr>
          <p:spPr>
            <a:xfrm flipH="1">
              <a:off x="-319200" y="66366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93" name="Gerader Verbinder 292" hidden="1">
              <a:extLst>
                <a:ext uri="{FF2B5EF4-FFF2-40B4-BE49-F238E27FC236}">
                  <a16:creationId xmlns:a16="http://schemas.microsoft.com/office/drawing/2014/main" id="{75BFAE02-3B2C-4A39-9155-75D9A9FFE770}"/>
                </a:ext>
              </a:extLst>
            </p:cNvPr>
            <p:cNvCxnSpPr>
              <a:cxnSpLocks/>
            </p:cNvCxnSpPr>
            <p:nvPr userDrawn="1"/>
          </p:nvCxnSpPr>
          <p:spPr>
            <a:xfrm flipH="1">
              <a:off x="12316800" y="17766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06" name="Gerader Verbinder 305" hidden="1">
              <a:extLst>
                <a:ext uri="{FF2B5EF4-FFF2-40B4-BE49-F238E27FC236}">
                  <a16:creationId xmlns:a16="http://schemas.microsoft.com/office/drawing/2014/main" id="{0289F721-02E5-4CF1-A64E-16C6831DADE4}"/>
                </a:ext>
              </a:extLst>
            </p:cNvPr>
            <p:cNvCxnSpPr>
              <a:cxnSpLocks/>
            </p:cNvCxnSpPr>
            <p:nvPr userDrawn="1"/>
          </p:nvCxnSpPr>
          <p:spPr>
            <a:xfrm flipH="1">
              <a:off x="12316800" y="23598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07" name="Gerader Verbinder 306" hidden="1">
              <a:extLst>
                <a:ext uri="{FF2B5EF4-FFF2-40B4-BE49-F238E27FC236}">
                  <a16:creationId xmlns:a16="http://schemas.microsoft.com/office/drawing/2014/main" id="{736FBFC1-34C0-4556-A64E-7DF51C174069}"/>
                </a:ext>
              </a:extLst>
            </p:cNvPr>
            <p:cNvCxnSpPr>
              <a:cxnSpLocks/>
            </p:cNvCxnSpPr>
            <p:nvPr userDrawn="1"/>
          </p:nvCxnSpPr>
          <p:spPr>
            <a:xfrm flipH="1">
              <a:off x="12316800" y="29430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08" name="Gerader Verbinder 307" hidden="1">
              <a:extLst>
                <a:ext uri="{FF2B5EF4-FFF2-40B4-BE49-F238E27FC236}">
                  <a16:creationId xmlns:a16="http://schemas.microsoft.com/office/drawing/2014/main" id="{1C325AB2-38AC-453D-9604-CB146C3C94EB}"/>
                </a:ext>
              </a:extLst>
            </p:cNvPr>
            <p:cNvCxnSpPr>
              <a:cxnSpLocks/>
            </p:cNvCxnSpPr>
            <p:nvPr userDrawn="1"/>
          </p:nvCxnSpPr>
          <p:spPr>
            <a:xfrm flipH="1">
              <a:off x="12316800" y="35262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09" name="Gerader Verbinder 308" hidden="1">
              <a:extLst>
                <a:ext uri="{FF2B5EF4-FFF2-40B4-BE49-F238E27FC236}">
                  <a16:creationId xmlns:a16="http://schemas.microsoft.com/office/drawing/2014/main" id="{587F643B-B13E-475D-9FE5-8FE8E7C8EE85}"/>
                </a:ext>
              </a:extLst>
            </p:cNvPr>
            <p:cNvCxnSpPr>
              <a:cxnSpLocks/>
            </p:cNvCxnSpPr>
            <p:nvPr userDrawn="1"/>
          </p:nvCxnSpPr>
          <p:spPr>
            <a:xfrm flipH="1">
              <a:off x="12316800" y="41094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10" name="Gerader Verbinder 309" hidden="1">
              <a:extLst>
                <a:ext uri="{FF2B5EF4-FFF2-40B4-BE49-F238E27FC236}">
                  <a16:creationId xmlns:a16="http://schemas.microsoft.com/office/drawing/2014/main" id="{9AE37838-5743-4653-95C0-DAD8239B1B4D}"/>
                </a:ext>
              </a:extLst>
            </p:cNvPr>
            <p:cNvCxnSpPr>
              <a:cxnSpLocks/>
            </p:cNvCxnSpPr>
            <p:nvPr userDrawn="1"/>
          </p:nvCxnSpPr>
          <p:spPr>
            <a:xfrm flipH="1">
              <a:off x="12316800" y="46926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11" name="Gerader Verbinder 310" hidden="1">
              <a:extLst>
                <a:ext uri="{FF2B5EF4-FFF2-40B4-BE49-F238E27FC236}">
                  <a16:creationId xmlns:a16="http://schemas.microsoft.com/office/drawing/2014/main" id="{1CE536AB-0C1C-4B56-8D71-56FDB1B95E46}"/>
                </a:ext>
              </a:extLst>
            </p:cNvPr>
            <p:cNvCxnSpPr>
              <a:cxnSpLocks/>
            </p:cNvCxnSpPr>
            <p:nvPr userDrawn="1"/>
          </p:nvCxnSpPr>
          <p:spPr>
            <a:xfrm flipH="1">
              <a:off x="12316800" y="52758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12" name="Gerader Verbinder 311" hidden="1">
              <a:extLst>
                <a:ext uri="{FF2B5EF4-FFF2-40B4-BE49-F238E27FC236}">
                  <a16:creationId xmlns:a16="http://schemas.microsoft.com/office/drawing/2014/main" id="{5D9691B6-E5DE-4C10-A8BE-3D4FB5259B62}"/>
                </a:ext>
              </a:extLst>
            </p:cNvPr>
            <p:cNvCxnSpPr>
              <a:cxnSpLocks/>
            </p:cNvCxnSpPr>
            <p:nvPr userDrawn="1"/>
          </p:nvCxnSpPr>
          <p:spPr>
            <a:xfrm flipH="1">
              <a:off x="12316800" y="58590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13" name="Gerader Verbinder 312" hidden="1">
              <a:extLst>
                <a:ext uri="{FF2B5EF4-FFF2-40B4-BE49-F238E27FC236}">
                  <a16:creationId xmlns:a16="http://schemas.microsoft.com/office/drawing/2014/main" id="{9937DABA-6870-47B5-ACA2-6AE07F6B1174}"/>
                </a:ext>
              </a:extLst>
            </p:cNvPr>
            <p:cNvCxnSpPr>
              <a:cxnSpLocks/>
            </p:cNvCxnSpPr>
            <p:nvPr userDrawn="1"/>
          </p:nvCxnSpPr>
          <p:spPr>
            <a:xfrm flipH="1">
              <a:off x="12316800" y="6442200"/>
              <a:ext cx="97200"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grpSp>
      <p:sp>
        <p:nvSpPr>
          <p:cNvPr id="338" name="Deco line top">
            <a:extLst>
              <a:ext uri="{FF2B5EF4-FFF2-40B4-BE49-F238E27FC236}">
                <a16:creationId xmlns:a16="http://schemas.microsoft.com/office/drawing/2014/main" id="{D53D8F20-7699-4E47-A42E-13FD9B3AA4C4}"/>
              </a:ext>
            </a:extLst>
          </p:cNvPr>
          <p:cNvSpPr>
            <a:spLocks/>
          </p:cNvSpPr>
          <p:nvPr userDrawn="1"/>
        </p:nvSpPr>
        <p:spPr>
          <a:xfrm>
            <a:off x="0" y="0"/>
            <a:ext cx="12192002" cy="97200"/>
          </a:xfrm>
          <a:prstGeom prst="rect">
            <a:avLst/>
          </a:prstGeom>
          <a:solidFill>
            <a:schemeClr val="accent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de-DE" sz="1600" b="0" i="0" u="none" baseline="0">
              <a:solidFill>
                <a:srgbClr val="000000"/>
              </a:solidFill>
              <a:latin typeface="Segoe UI Light" panose="020B0502040204020203" pitchFamily="34" charset="0"/>
              <a:cs typeface="Segoe UI Light" panose="020B0502040204020203" pitchFamily="34" charset="0"/>
            </a:endParaRPr>
          </a:p>
        </p:txBody>
      </p:sp>
      <p:sp>
        <p:nvSpPr>
          <p:cNvPr id="341" name="Datumsplatzhalter">
            <a:extLst>
              <a:ext uri="{FF2B5EF4-FFF2-40B4-BE49-F238E27FC236}">
                <a16:creationId xmlns:a16="http://schemas.microsoft.com/office/drawing/2014/main" id="{FAFDE583-8891-45F2-B45F-05272564F6E8}"/>
              </a:ext>
            </a:extLst>
          </p:cNvPr>
          <p:cNvSpPr>
            <a:spLocks noGrp="1"/>
          </p:cNvSpPr>
          <p:nvPr userDrawn="1">
            <p:ph type="dt" sz="half" idx="2"/>
          </p:nvPr>
        </p:nvSpPr>
        <p:spPr>
          <a:xfrm>
            <a:off x="12192000" y="6858000"/>
            <a:ext cx="0" cy="0"/>
          </a:xfrm>
          <a:prstGeom prst="rect">
            <a:avLst/>
          </a:prstGeom>
        </p:spPr>
        <p:txBody>
          <a:bodyPr vert="horz" lIns="91440" tIns="45720" rIns="91440" bIns="45720" rtlCol="0" anchor="b"/>
          <a:lstStyle>
            <a:lvl1pPr algn="l">
              <a:defRPr sz="900">
                <a:ln>
                  <a:noFill/>
                </a:ln>
                <a:noFill/>
              </a:defRPr>
            </a:lvl1pPr>
          </a:lstStyle>
          <a:p>
            <a:endParaRPr lang="de-DE"/>
          </a:p>
        </p:txBody>
      </p:sp>
      <p:sp>
        <p:nvSpPr>
          <p:cNvPr id="342" name="Fußzeilenplatzhalter">
            <a:extLst>
              <a:ext uri="{FF2B5EF4-FFF2-40B4-BE49-F238E27FC236}">
                <a16:creationId xmlns:a16="http://schemas.microsoft.com/office/drawing/2014/main" id="{7FE33B54-66C1-45ED-9643-62D6F31238B0}"/>
              </a:ext>
            </a:extLst>
          </p:cNvPr>
          <p:cNvSpPr>
            <a:spLocks noGrp="1"/>
          </p:cNvSpPr>
          <p:nvPr userDrawn="1">
            <p:ph type="ftr" sz="quarter" idx="3"/>
          </p:nvPr>
        </p:nvSpPr>
        <p:spPr>
          <a:xfrm>
            <a:off x="12192000" y="6858000"/>
            <a:ext cx="0" cy="0"/>
          </a:xfrm>
          <a:prstGeom prst="rect">
            <a:avLst/>
          </a:prstGeom>
        </p:spPr>
        <p:txBody>
          <a:bodyPr vert="horz" lIns="91440" tIns="45720" rIns="91440" bIns="45720" rtlCol="0" anchor="b"/>
          <a:lstStyle>
            <a:lvl1pPr algn="ctr">
              <a:defRPr sz="900">
                <a:ln>
                  <a:noFill/>
                </a:ln>
                <a:noFill/>
              </a:defRPr>
            </a:lvl1pPr>
          </a:lstStyle>
          <a:p>
            <a:endParaRPr lang="de-DE"/>
          </a:p>
        </p:txBody>
      </p:sp>
      <p:sp>
        <p:nvSpPr>
          <p:cNvPr id="343" name="Foliennummernplatzhalter">
            <a:extLst>
              <a:ext uri="{FF2B5EF4-FFF2-40B4-BE49-F238E27FC236}">
                <a16:creationId xmlns:a16="http://schemas.microsoft.com/office/drawing/2014/main" id="{CF4DA6C9-B759-461A-BD5C-BF5ADB650424}"/>
              </a:ext>
            </a:extLst>
          </p:cNvPr>
          <p:cNvSpPr>
            <a:spLocks noGrp="1"/>
          </p:cNvSpPr>
          <p:nvPr userDrawn="1">
            <p:ph type="sldNum" sz="quarter" idx="4"/>
          </p:nvPr>
        </p:nvSpPr>
        <p:spPr>
          <a:xfrm>
            <a:off x="12192000" y="6858000"/>
            <a:ext cx="0" cy="0"/>
          </a:xfrm>
          <a:prstGeom prst="rect">
            <a:avLst/>
          </a:prstGeom>
        </p:spPr>
        <p:txBody>
          <a:bodyPr vert="horz" lIns="91440" tIns="45720" rIns="91440" bIns="45720" rtlCol="0" anchor="b"/>
          <a:lstStyle>
            <a:lvl1pPr algn="l">
              <a:defRPr sz="900" baseline="0">
                <a:ln>
                  <a:noFill/>
                </a:ln>
                <a:noFill/>
              </a:defRPr>
            </a:lvl1pPr>
          </a:lstStyle>
          <a:p>
            <a:fld id="{895CC360-39D1-4D3A-B6C9-5AECCFD4809A}" type="slidenum">
              <a:rPr lang="de-DE"/>
              <a:pPr/>
              <a:t>‹Nr.›</a:t>
            </a:fld>
            <a:endParaRPr lang="de-DE"/>
          </a:p>
        </p:txBody>
      </p:sp>
      <p:sp>
        <p:nvSpPr>
          <p:cNvPr id="2" name="Master title">
            <a:extLst>
              <a:ext uri="{FF2B5EF4-FFF2-40B4-BE49-F238E27FC236}">
                <a16:creationId xmlns:a16="http://schemas.microsoft.com/office/drawing/2014/main" id="{9DFAF140-256F-4C34-9FA7-1D6D01D8B7FA}"/>
              </a:ext>
            </a:extLst>
          </p:cNvPr>
          <p:cNvSpPr>
            <a:spLocks noGrp="1"/>
          </p:cNvSpPr>
          <p:nvPr userDrawn="1">
            <p:ph type="title"/>
            <p:custDataLst>
              <p:tags r:id="rId41"/>
            </p:custDataLst>
          </p:nvPr>
        </p:nvSpPr>
        <p:spPr>
          <a:xfrm>
            <a:off x="458400" y="318601"/>
            <a:ext cx="11275200" cy="583200"/>
          </a:xfrm>
          <a:prstGeom prst="rect">
            <a:avLst/>
          </a:prstGeom>
        </p:spPr>
        <p:txBody>
          <a:bodyPr vert="horz" lIns="0" tIns="0" rIns="0" bIns="0" rtlCol="0" anchor="t" anchorCtr="0">
            <a:noAutofit/>
          </a:bodyPr>
          <a:lstStyle/>
          <a:p>
            <a:pPr lvl="0" defTabSz="972000"/>
            <a:endParaRPr lang="de-DE"/>
          </a:p>
        </p:txBody>
      </p:sp>
      <p:sp>
        <p:nvSpPr>
          <p:cNvPr id="400" name="Textplaceholder">
            <a:extLst>
              <a:ext uri="{FF2B5EF4-FFF2-40B4-BE49-F238E27FC236}">
                <a16:creationId xmlns:a16="http://schemas.microsoft.com/office/drawing/2014/main" id="{0C2F4944-B85E-4531-92A5-10D669A4E88B}"/>
              </a:ext>
            </a:extLst>
          </p:cNvPr>
          <p:cNvSpPr>
            <a:spLocks noGrp="1"/>
          </p:cNvSpPr>
          <p:nvPr userDrawn="1">
            <p:ph type="body" idx="1"/>
            <p:custDataLst>
              <p:tags r:id="rId42"/>
            </p:custDataLst>
          </p:nvPr>
        </p:nvSpPr>
        <p:spPr>
          <a:xfrm>
            <a:off x="458400" y="1387800"/>
            <a:ext cx="11275200" cy="5054400"/>
          </a:xfrm>
          <a:prstGeom prst="rect">
            <a:avLst/>
          </a:prstGeom>
        </p:spPr>
        <p:txBody>
          <a:bodyPr vert="horz" lIns="0" tIns="97200" rIns="0" bIns="9720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3" name="empower - DO NOT DELETE!!!" hidden="1">
            <a:extLst>
              <a:ext uri="{FF2B5EF4-FFF2-40B4-BE49-F238E27FC236}">
                <a16:creationId xmlns:a16="http://schemas.microsoft.com/office/drawing/2014/main" id="{6D44CE6F-4A4E-4FB8-A747-629300FE1774}"/>
              </a:ext>
            </a:extLst>
          </p:cNvPr>
          <p:cNvSpPr/>
          <p:nvPr userDrawn="1">
            <p:custDataLst>
              <p:tags r:id="rId43"/>
            </p:custDataLst>
          </p:nvPr>
        </p:nvSpPr>
        <p:spPr>
          <a:xfrm>
            <a:off x="0" y="0"/>
            <a:ext cx="0" cy="0"/>
          </a:xfrm>
          <a:prstGeom prst="ellipse">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lvl="0" algn="ctr" defTabSz="486000"/>
            <a:endParaRPr lang="de-DE" sz="1600">
              <a:solidFill>
                <a:schemeClr val="tx1"/>
              </a:solidFill>
            </a:endParaRPr>
          </a:p>
        </p:txBody>
      </p:sp>
    </p:spTree>
    <p:extLst>
      <p:ext uri="{BB962C8B-B14F-4D97-AF65-F5344CB8AC3E}">
        <p14:creationId xmlns:p14="http://schemas.microsoft.com/office/powerpoint/2010/main" val="283890596"/>
      </p:ext>
    </p:extLst>
  </p:cSld>
  <p:clrMap bg1="lt1" tx1="dk1" bg2="lt2" tx2="dk2" accent1="accent1" accent2="accent2" accent3="accent3" accent4="accent4" accent5="accent5" accent6="accent6" hlink="hlink" folHlink="folHlink"/>
  <p:sldLayoutIdLst>
    <p:sldLayoutId id="2147483924" r:id="rId1"/>
    <p:sldLayoutId id="2147483926" r:id="rId2"/>
    <p:sldLayoutId id="2147483925" r:id="rId3"/>
    <p:sldLayoutId id="2147483928" r:id="rId4"/>
    <p:sldLayoutId id="2147483927"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 id="2147483937" r:id="rId14"/>
    <p:sldLayoutId id="2147483938" r:id="rId15"/>
    <p:sldLayoutId id="2147483939" r:id="rId16"/>
    <p:sldLayoutId id="2147483955" r:id="rId17"/>
    <p:sldLayoutId id="2147483940" r:id="rId18"/>
    <p:sldLayoutId id="2147483941" r:id="rId19"/>
    <p:sldLayoutId id="2147483956" r:id="rId20"/>
    <p:sldLayoutId id="2147483960" r:id="rId21"/>
    <p:sldLayoutId id="2147483964" r:id="rId22"/>
    <p:sldLayoutId id="2147483965" r:id="rId23"/>
    <p:sldLayoutId id="2147483971" r:id="rId24"/>
    <p:sldLayoutId id="2147483972" r:id="rId25"/>
    <p:sldLayoutId id="2147483973" r:id="rId26"/>
  </p:sldLayoutIdLst>
  <mc:AlternateContent xmlns:mc="http://schemas.openxmlformats.org/markup-compatibility/2006" xmlns:p14="http://schemas.microsoft.com/office/powerpoint/2010/main">
    <mc:Choice Requires="p14">
      <p:transition spd="med">
        <p14:pan/>
      </p:transition>
    </mc:Choice>
    <mc:Fallback xmlns:p15="http://schemas.microsoft.com/office/powerpoint/2012/main" xmlns:asvg="http://schemas.microsoft.com/office/drawing/2016/SVG/main" xmlns:a14="http://schemas.microsoft.com/office/drawing/2010/main" xmlns:a16="http://schemas.microsoft.com/office/drawing/2014/main" xmlns="">
      <p:transition spd="med">
        <p:fade/>
      </p:transition>
    </mc:Fallback>
  </mc:AlternateContent>
  <p:hf sldNum="0" hdr="0" ftr="0" dt="0"/>
  <p:txStyles>
    <p:title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p:titleStyle>
    <p:bodyStyle>
      <a:lvl1pPr marL="0" indent="0" algn="l" defTabSz="486000" rtl="0" eaLnBrk="1" latinLnBrk="0" hangingPunct="1">
        <a:lnSpc>
          <a:spcPct val="120000"/>
        </a:lnSpc>
        <a:spcBef>
          <a:spcPts val="765"/>
        </a:spcBef>
        <a:spcAft>
          <a:spcPts val="765"/>
        </a:spcAft>
        <a:buFontTx/>
        <a:buNone/>
        <a:defRPr sz="1600" kern="1200" baseline="0">
          <a:solidFill>
            <a:schemeClr val="tx1"/>
          </a:solidFill>
          <a:latin typeface="+mn-lt"/>
          <a:ea typeface="+mn-ea"/>
          <a:cs typeface="+mn-cs"/>
        </a:defRPr>
      </a:lvl1pPr>
      <a:lvl2pPr marL="291600" indent="-291600" algn="l" defTabSz="486000" rtl="0" eaLnBrk="1" latinLnBrk="0" hangingPunct="1">
        <a:lnSpc>
          <a:spcPct val="120000"/>
        </a:lnSpc>
        <a:spcBef>
          <a:spcPts val="0"/>
        </a:spcBef>
        <a:spcAft>
          <a:spcPts val="765"/>
        </a:spcAft>
        <a:buClr>
          <a:schemeClr val="accent1"/>
        </a:buClr>
        <a:buFont typeface="Wingdings" panose="05000000000000000000" pitchFamily="2" charset="2"/>
        <a:buChar char="§"/>
        <a:defRPr lang="en-US" sz="1600" kern="1200" baseline="0" noProof="0" dirty="0">
          <a:solidFill>
            <a:schemeClr val="tx1"/>
          </a:solidFill>
          <a:latin typeface="+mn-lt"/>
          <a:ea typeface="+mn-ea"/>
          <a:cs typeface="+mn-cs"/>
        </a:defRPr>
      </a:lvl2pPr>
      <a:lvl3pPr marL="583200" indent="-291600" algn="l" defTabSz="486000" rtl="0" eaLnBrk="1" latinLnBrk="0" hangingPunct="1">
        <a:lnSpc>
          <a:spcPct val="120000"/>
        </a:lnSpc>
        <a:spcBef>
          <a:spcPts val="0"/>
        </a:spcBef>
        <a:spcAft>
          <a:spcPts val="765"/>
        </a:spcAft>
        <a:buFont typeface="Symbol" panose="05050102010706020507" pitchFamily="18" charset="2"/>
        <a:buChar char="-"/>
        <a:defRPr lang="en-US" sz="1600" kern="1200" baseline="0" dirty="0">
          <a:solidFill>
            <a:schemeClr val="tx1"/>
          </a:solidFill>
          <a:latin typeface="+mn-lt"/>
          <a:ea typeface="+mn-ea"/>
          <a:cs typeface="+mn-cs"/>
        </a:defRPr>
      </a:lvl3pPr>
      <a:lvl4pPr marL="874800" indent="-291600" algn="l" defTabSz="486000" rtl="0" eaLnBrk="1" latinLnBrk="0" hangingPunct="1">
        <a:lnSpc>
          <a:spcPct val="120000"/>
        </a:lnSpc>
        <a:spcBef>
          <a:spcPts val="0"/>
        </a:spcBef>
        <a:spcAft>
          <a:spcPts val="765"/>
        </a:spcAft>
        <a:buFont typeface="Symbol" panose="05050102010706020507" pitchFamily="18" charset="2"/>
        <a:buChar char="-"/>
        <a:defRPr lang="en-US" sz="1400" kern="1200" baseline="0" dirty="0">
          <a:solidFill>
            <a:schemeClr val="tx1"/>
          </a:solidFill>
          <a:latin typeface="+mn-lt"/>
          <a:ea typeface="+mn-ea"/>
          <a:cs typeface="+mn-cs"/>
        </a:defRPr>
      </a:lvl4pPr>
      <a:lvl5pPr marL="0" indent="0" algn="l" defTabSz="486000" rtl="0" eaLnBrk="1" latinLnBrk="0" hangingPunct="1">
        <a:lnSpc>
          <a:spcPct val="100000"/>
        </a:lnSpc>
        <a:spcBef>
          <a:spcPts val="0"/>
        </a:spcBef>
        <a:buFontTx/>
        <a:buNone/>
        <a:defRPr lang="en-US" sz="1100" kern="1200" baseline="0" dirty="0">
          <a:solidFill>
            <a:schemeClr val="tx1"/>
          </a:solidFill>
          <a:latin typeface="+mn-lt"/>
          <a:ea typeface="+mn-ea"/>
          <a:cs typeface="+mn-cs"/>
        </a:defRPr>
      </a:lvl5pPr>
      <a:lvl6pPr marL="342900" indent="-342900" algn="l" defTabSz="486000" rtl="0" eaLnBrk="1" latinLnBrk="0" hangingPunct="1">
        <a:lnSpc>
          <a:spcPct val="120000"/>
        </a:lnSpc>
        <a:spcBef>
          <a:spcPts val="0"/>
        </a:spcBef>
        <a:spcAft>
          <a:spcPts val="765"/>
        </a:spcAft>
        <a:buFont typeface="+mj-lt"/>
        <a:buAutoNum type="arabicPeriod"/>
        <a:defRPr lang="en-US" sz="1600" kern="1200" baseline="0" noProof="0" dirty="0">
          <a:solidFill>
            <a:schemeClr val="tx1"/>
          </a:solidFill>
          <a:latin typeface="+mn-lt"/>
          <a:ea typeface="+mn-ea"/>
          <a:cs typeface="+mn-cs"/>
        </a:defRPr>
      </a:lvl6pPr>
      <a:lvl7pPr marL="583200" indent="-291600" algn="l" defTabSz="486000" rtl="0" eaLnBrk="1" latinLnBrk="0" hangingPunct="1">
        <a:lnSpc>
          <a:spcPct val="100000"/>
        </a:lnSpc>
        <a:spcBef>
          <a:spcPts val="0"/>
        </a:spcBef>
        <a:spcAft>
          <a:spcPts val="765"/>
        </a:spcAft>
        <a:buFont typeface="+mj-lt"/>
        <a:buAutoNum type="alphaLcPeriod"/>
        <a:defRPr lang="en-US" sz="1600" kern="1200" baseline="0" noProof="0" dirty="0">
          <a:solidFill>
            <a:schemeClr val="tx1"/>
          </a:solidFill>
          <a:latin typeface="+mn-lt"/>
          <a:ea typeface="+mn-ea"/>
          <a:cs typeface="+mn-cs"/>
        </a:defRPr>
      </a:lvl7pPr>
      <a:lvl8pPr marL="291600" indent="-291600" algn="l" defTabSz="486000" rtl="0" eaLnBrk="1" latinLnBrk="0" hangingPunct="1">
        <a:lnSpc>
          <a:spcPct val="120000"/>
        </a:lnSpc>
        <a:spcBef>
          <a:spcPts val="0"/>
        </a:spcBef>
        <a:spcAft>
          <a:spcPts val="765"/>
        </a:spcAft>
        <a:buFontTx/>
        <a:buBlip>
          <a:blip r:embed="rId44">
            <a:extLst>
              <a:ext uri="{96DAC541-7B7A-43D3-8B79-37D633B846F1}">
                <asvg:svgBlip xmlns:asvg="http://schemas.microsoft.com/office/drawing/2016/SVG/main" r:embed="rId45"/>
              </a:ext>
            </a:extLst>
          </a:blip>
        </a:buBlip>
        <a:defRPr lang="en-US" sz="1600" kern="1200" baseline="0" noProof="0" dirty="0">
          <a:solidFill>
            <a:schemeClr val="tx1"/>
          </a:solidFill>
          <a:latin typeface="+mn-lt"/>
          <a:ea typeface="+mn-ea"/>
          <a:cs typeface="+mn-cs"/>
        </a:defRPr>
      </a:lvl8pPr>
      <a:lvl9pPr marL="291600" indent="-291600" algn="l" defTabSz="486000" rtl="0" eaLnBrk="1" latinLnBrk="0" hangingPunct="1">
        <a:lnSpc>
          <a:spcPct val="120000"/>
        </a:lnSpc>
        <a:spcBef>
          <a:spcPts val="0"/>
        </a:spcBef>
        <a:spcAft>
          <a:spcPts val="765"/>
        </a:spcAft>
        <a:buFont typeface="Wingdings" panose="05000000000000000000" pitchFamily="2" charset="2"/>
        <a:buChar char="û"/>
        <a:defRPr lang="en-US" sz="1600" kern="1200" baseline="0" noProof="0" dirty="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8.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0.xml"/><Relationship Id="rId1" Type="http://schemas.openxmlformats.org/officeDocument/2006/relationships/tags" Target="../tags/tag47.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0.xml"/><Relationship Id="rId1" Type="http://schemas.openxmlformats.org/officeDocument/2006/relationships/tags" Target="../tags/tag4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0.xml"/><Relationship Id="rId1" Type="http://schemas.openxmlformats.org/officeDocument/2006/relationships/tags" Target="../tags/tag49.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0.xml"/><Relationship Id="rId1" Type="http://schemas.openxmlformats.org/officeDocument/2006/relationships/tags" Target="../tags/tag50.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0.xml"/><Relationship Id="rId1" Type="http://schemas.openxmlformats.org/officeDocument/2006/relationships/tags" Target="../tags/tag51.xml"/></Relationships>
</file>

<file path=ppt/slides/_rels/slide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Layout" Target="../slideLayouts/slideLayout14.xml"/><Relationship Id="rId1" Type="http://schemas.openxmlformats.org/officeDocument/2006/relationships/tags" Target="../tags/tag52.xml"/><Relationship Id="rId4" Type="http://schemas.openxmlformats.org/officeDocument/2006/relationships/image" Target="../media/image18.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0.xml"/><Relationship Id="rId1" Type="http://schemas.openxmlformats.org/officeDocument/2006/relationships/tags" Target="../tags/tag5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0.xml"/><Relationship Id="rId1" Type="http://schemas.openxmlformats.org/officeDocument/2006/relationships/tags" Target="../tags/tag5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0.xml"/><Relationship Id="rId1" Type="http://schemas.openxmlformats.org/officeDocument/2006/relationships/tags" Target="../tags/tag55.xml"/></Relationships>
</file>

<file path=ppt/slides/_rels/slide19.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svg"/><Relationship Id="rId3" Type="http://schemas.openxmlformats.org/officeDocument/2006/relationships/notesSlide" Target="../notesSlides/notesSlide17.xml"/><Relationship Id="rId7" Type="http://schemas.openxmlformats.org/officeDocument/2006/relationships/image" Target="../media/image22.svg"/><Relationship Id="rId12" Type="http://schemas.openxmlformats.org/officeDocument/2006/relationships/image" Target="../media/image27.png"/><Relationship Id="rId2" Type="http://schemas.openxmlformats.org/officeDocument/2006/relationships/slideLayout" Target="../slideLayouts/slideLayout18.xml"/><Relationship Id="rId1" Type="http://schemas.openxmlformats.org/officeDocument/2006/relationships/tags" Target="../tags/tag56.xml"/><Relationship Id="rId6" Type="http://schemas.openxmlformats.org/officeDocument/2006/relationships/image" Target="../media/image21.png"/><Relationship Id="rId11" Type="http://schemas.openxmlformats.org/officeDocument/2006/relationships/image" Target="../media/image26.svg"/><Relationship Id="rId5" Type="http://schemas.openxmlformats.org/officeDocument/2006/relationships/image" Target="../media/image20.svg"/><Relationship Id="rId15" Type="http://schemas.openxmlformats.org/officeDocument/2006/relationships/image" Target="../media/image30.sv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svg"/><Relationship Id="rId14" Type="http://schemas.openxmlformats.org/officeDocument/2006/relationships/image" Target="../media/image29.pn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14.xml"/><Relationship Id="rId1" Type="http://schemas.openxmlformats.org/officeDocument/2006/relationships/tags" Target="../tags/tag39.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0.xml"/><Relationship Id="rId1" Type="http://schemas.openxmlformats.org/officeDocument/2006/relationships/tags" Target="../tags/tag57.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0.xml"/><Relationship Id="rId1" Type="http://schemas.openxmlformats.org/officeDocument/2006/relationships/tags" Target="../tags/tag58.xml"/></Relationships>
</file>

<file path=ppt/slides/_rels/slide2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slideLayout" Target="../slideLayouts/slideLayout14.xml"/><Relationship Id="rId1" Type="http://schemas.openxmlformats.org/officeDocument/2006/relationships/tags" Target="../tags/tag5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60.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notesSlide" Target="../notesSlides/notesSlide21.xml"/></Relationships>
</file>

<file path=ppt/slides/_rels/slide25.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tags" Target="../tags/tag65.xml"/><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notesSlide" Target="../notesSlides/notesSlide22.xml"/><Relationship Id="rId10" Type="http://schemas.openxmlformats.org/officeDocument/2006/relationships/image" Target="../media/image36.png"/><Relationship Id="rId4" Type="http://schemas.openxmlformats.org/officeDocument/2006/relationships/slideLayout" Target="../slideLayouts/slideLayout4.xml"/><Relationship Id="rId9" Type="http://schemas.openxmlformats.org/officeDocument/2006/relationships/image" Target="../media/image35.sv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7.xml"/><Relationship Id="rId1" Type="http://schemas.openxmlformats.org/officeDocument/2006/relationships/tags" Target="../tags/tag66.xml"/><Relationship Id="rId4" Type="http://schemas.openxmlformats.org/officeDocument/2006/relationships/notesSlide" Target="../notesSlides/notesSlide23.xml"/></Relationships>
</file>

<file path=ppt/slides/_rels/slide27.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svg"/><Relationship Id="rId18" Type="http://schemas.openxmlformats.org/officeDocument/2006/relationships/image" Target="../media/image54.png"/><Relationship Id="rId3" Type="http://schemas.openxmlformats.org/officeDocument/2006/relationships/notesSlide" Target="../notesSlides/notesSlide24.xml"/><Relationship Id="rId21" Type="http://schemas.openxmlformats.org/officeDocument/2006/relationships/image" Target="../media/image57.svg"/><Relationship Id="rId7" Type="http://schemas.openxmlformats.org/officeDocument/2006/relationships/image" Target="../media/image43.svg"/><Relationship Id="rId12" Type="http://schemas.openxmlformats.org/officeDocument/2006/relationships/image" Target="../media/image48.png"/><Relationship Id="rId17" Type="http://schemas.openxmlformats.org/officeDocument/2006/relationships/image" Target="../media/image53.svg"/><Relationship Id="rId2" Type="http://schemas.openxmlformats.org/officeDocument/2006/relationships/slideLayout" Target="../slideLayouts/slideLayout4.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tags" Target="../tags/tag68.xml"/><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image" Target="../media/image41.svg"/><Relationship Id="rId15" Type="http://schemas.openxmlformats.org/officeDocument/2006/relationships/image" Target="../media/image51.svg"/><Relationship Id="rId10" Type="http://schemas.openxmlformats.org/officeDocument/2006/relationships/image" Target="../media/image46.png"/><Relationship Id="rId19" Type="http://schemas.openxmlformats.org/officeDocument/2006/relationships/image" Target="../media/image55.svg"/><Relationship Id="rId4" Type="http://schemas.openxmlformats.org/officeDocument/2006/relationships/image" Target="../media/image40.png"/><Relationship Id="rId9" Type="http://schemas.openxmlformats.org/officeDocument/2006/relationships/image" Target="../media/image45.svg"/><Relationship Id="rId14" Type="http://schemas.openxmlformats.org/officeDocument/2006/relationships/image" Target="../media/image50.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0.xml"/><Relationship Id="rId1" Type="http://schemas.openxmlformats.org/officeDocument/2006/relationships/tags" Target="../tags/tag69.xml"/><Relationship Id="rId4" Type="http://schemas.openxmlformats.org/officeDocument/2006/relationships/notesSlide" Target="../notesSlides/notesSlide25.xml"/></Relationships>
</file>

<file path=ppt/slides/_rels/slide29.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tags" Target="../tags/tag73.xml"/><Relationship Id="rId7" Type="http://schemas.openxmlformats.org/officeDocument/2006/relationships/image" Target="../media/image58.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notesSlide" Target="../notesSlides/notesSlide26.xml"/><Relationship Id="rId5" Type="http://schemas.openxmlformats.org/officeDocument/2006/relationships/slideLayout" Target="../slideLayouts/slideLayout4.xml"/><Relationship Id="rId4" Type="http://schemas.openxmlformats.org/officeDocument/2006/relationships/tags" Target="../tags/tag7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0.xml"/><Relationship Id="rId1" Type="http://schemas.openxmlformats.org/officeDocument/2006/relationships/tags" Target="../tags/tag40.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49.svg"/><Relationship Id="rId2" Type="http://schemas.openxmlformats.org/officeDocument/2006/relationships/slideLayout" Target="../slideLayouts/slideLayout4.xml"/><Relationship Id="rId1" Type="http://schemas.openxmlformats.org/officeDocument/2006/relationships/tags" Target="../tags/tag75.xml"/><Relationship Id="rId6" Type="http://schemas.openxmlformats.org/officeDocument/2006/relationships/image" Target="../media/image48.png"/><Relationship Id="rId5" Type="http://schemas.openxmlformats.org/officeDocument/2006/relationships/image" Target="../media/image41.svg"/><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chart" Target="../charts/chart7.xml"/><Relationship Id="rId2" Type="http://schemas.openxmlformats.org/officeDocument/2006/relationships/slideLayout" Target="../slideLayouts/slideLayout4.xml"/><Relationship Id="rId1" Type="http://schemas.openxmlformats.org/officeDocument/2006/relationships/tags" Target="../tags/tag76.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s>
</file>

<file path=ppt/slides/_rels/slide3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slideLayout" Target="../slideLayouts/slideLayout14.xml"/><Relationship Id="rId1" Type="http://schemas.openxmlformats.org/officeDocument/2006/relationships/tags" Target="../tags/tag77.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0.xml"/><Relationship Id="rId1" Type="http://schemas.openxmlformats.org/officeDocument/2006/relationships/tags" Target="../tags/tag78.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0.xml"/><Relationship Id="rId1" Type="http://schemas.openxmlformats.org/officeDocument/2006/relationships/tags" Target="../tags/tag79.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0.xml"/><Relationship Id="rId1" Type="http://schemas.openxmlformats.org/officeDocument/2006/relationships/tags" Target="../tags/tag80.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0.xml"/><Relationship Id="rId1" Type="http://schemas.openxmlformats.org/officeDocument/2006/relationships/tags" Target="../tags/tag81.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0.xml"/><Relationship Id="rId1" Type="http://schemas.openxmlformats.org/officeDocument/2006/relationships/tags" Target="../tags/tag82.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tags" Target="../tags/tag83.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0.xml"/><Relationship Id="rId1" Type="http://schemas.openxmlformats.org/officeDocument/2006/relationships/tags" Target="../tags/tag8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0.xml"/><Relationship Id="rId1" Type="http://schemas.openxmlformats.org/officeDocument/2006/relationships/tags" Target="../tags/tag41.xml"/></Relationships>
</file>

<file path=ppt/slides/_rels/slide40.xml.rels><?xml version="1.0" encoding="UTF-8" standalone="yes"?>
<Relationships xmlns="http://schemas.openxmlformats.org/package/2006/relationships"><Relationship Id="rId3" Type="http://schemas.openxmlformats.org/officeDocument/2006/relationships/image" Target="../media/image61.1&amp;q=80&amp;w=1920"/><Relationship Id="rId2" Type="http://schemas.openxmlformats.org/officeDocument/2006/relationships/slideLayout" Target="../slideLayouts/slideLayout14.xml"/><Relationship Id="rId1" Type="http://schemas.openxmlformats.org/officeDocument/2006/relationships/tags" Target="../tags/tag85.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3.xml"/><Relationship Id="rId1" Type="http://schemas.openxmlformats.org/officeDocument/2006/relationships/tags" Target="../tags/tag86.xml"/><Relationship Id="rId4" Type="http://schemas.openxmlformats.org/officeDocument/2006/relationships/image" Target="../media/image62.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0.xml"/><Relationship Id="rId1" Type="http://schemas.openxmlformats.org/officeDocument/2006/relationships/tags" Target="../tags/tag87.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1.xml"/><Relationship Id="rId1" Type="http://schemas.openxmlformats.org/officeDocument/2006/relationships/tags" Target="../tags/tag88.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0.xml"/><Relationship Id="rId1" Type="http://schemas.openxmlformats.org/officeDocument/2006/relationships/tags" Target="../tags/tag89.xml"/></Relationships>
</file>

<file path=ppt/slides/_rels/slide45.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slideLayout" Target="../slideLayouts/slideLayout14.xml"/><Relationship Id="rId1" Type="http://schemas.openxmlformats.org/officeDocument/2006/relationships/tags" Target="../tags/tag90.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64.jpeg"/><Relationship Id="rId4" Type="http://schemas.openxmlformats.org/officeDocument/2006/relationships/notesSlide" Target="../notesSlides/notesSlide40.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65.jpeg"/><Relationship Id="rId4" Type="http://schemas.openxmlformats.org/officeDocument/2006/relationships/notesSlide" Target="../notesSlides/notesSlide41.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image" Target="../media/image66.jpeg"/><Relationship Id="rId4" Type="http://schemas.openxmlformats.org/officeDocument/2006/relationships/notesSlide" Target="../notesSlides/notesSlide42.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67.jpeg"/><Relationship Id="rId4" Type="http://schemas.openxmlformats.org/officeDocument/2006/relationships/notesSlide" Target="../notesSlides/notesSlide4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0.xml"/><Relationship Id="rId1" Type="http://schemas.openxmlformats.org/officeDocument/2006/relationships/tags" Target="../tags/tag42.xml"/></Relationships>
</file>

<file path=ppt/slides/_rels/slide50.xml.rels><?xml version="1.0" encoding="UTF-8" standalone="yes"?>
<Relationships xmlns="http://schemas.openxmlformats.org/package/2006/relationships"><Relationship Id="rId3" Type="http://schemas.openxmlformats.org/officeDocument/2006/relationships/image" Target="../media/image68.1&amp;q=80&amp;w=1920"/><Relationship Id="rId2" Type="http://schemas.openxmlformats.org/officeDocument/2006/relationships/slideLayout" Target="../slideLayouts/slideLayout14.xml"/><Relationship Id="rId1" Type="http://schemas.openxmlformats.org/officeDocument/2006/relationships/tags" Target="../tags/tag99.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5.xml"/><Relationship Id="rId1" Type="http://schemas.openxmlformats.org/officeDocument/2006/relationships/tags" Target="../tags/tag100.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5.xml"/><Relationship Id="rId1" Type="http://schemas.openxmlformats.org/officeDocument/2006/relationships/tags" Target="../tags/tag101.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5.xml"/><Relationship Id="rId1" Type="http://schemas.openxmlformats.org/officeDocument/2006/relationships/tags" Target="../tags/tag102.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5.xml"/><Relationship Id="rId1" Type="http://schemas.openxmlformats.org/officeDocument/2006/relationships/tags" Target="../tags/tag103.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5.xml"/><Relationship Id="rId1" Type="http://schemas.openxmlformats.org/officeDocument/2006/relationships/tags" Target="../tags/tag104.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5.xml"/><Relationship Id="rId1" Type="http://schemas.openxmlformats.org/officeDocument/2006/relationships/tags" Target="../tags/tag105.xml"/></Relationships>
</file>

<file path=ppt/slides/_rels/slide57.xml.rels><?xml version="1.0" encoding="UTF-8" standalone="yes"?>
<Relationships xmlns="http://schemas.openxmlformats.org/package/2006/relationships"><Relationship Id="rId3" Type="http://schemas.openxmlformats.org/officeDocument/2006/relationships/image" Target="../media/image69.1&amp;q=80&amp;w=1920"/><Relationship Id="rId2" Type="http://schemas.openxmlformats.org/officeDocument/2006/relationships/slideLayout" Target="../slideLayouts/slideLayout14.xml"/><Relationship Id="rId1" Type="http://schemas.openxmlformats.org/officeDocument/2006/relationships/tags" Target="../tags/tag106.xml"/></Relationships>
</file>

<file path=ppt/slides/_rels/slide58.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chart" Target="../charts/chart8.xml"/><Relationship Id="rId5" Type="http://schemas.openxmlformats.org/officeDocument/2006/relationships/notesSlide" Target="../notesSlides/notesSlide50.xml"/><Relationship Id="rId4"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4.xml"/><Relationship Id="rId1" Type="http://schemas.openxmlformats.org/officeDocument/2006/relationships/tags" Target="../tags/tag110.xml"/><Relationship Id="rId5" Type="http://schemas.openxmlformats.org/officeDocument/2006/relationships/chart" Target="../charts/chart10.xml"/><Relationship Id="rId4" Type="http://schemas.openxmlformats.org/officeDocument/2006/relationships/chart" Target="../charts/chart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0.xml"/><Relationship Id="rId1" Type="http://schemas.openxmlformats.org/officeDocument/2006/relationships/tags" Target="../tags/tag43.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xml"/><Relationship Id="rId1" Type="http://schemas.openxmlformats.org/officeDocument/2006/relationships/tags" Target="../tags/tag111.xml"/><Relationship Id="rId4" Type="http://schemas.openxmlformats.org/officeDocument/2006/relationships/chart" Target="../charts/chart11.xml"/></Relationships>
</file>

<file path=ppt/slides/_rels/slide61.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slideLayout" Target="../slideLayouts/slideLayout14.xml"/><Relationship Id="rId1" Type="http://schemas.openxmlformats.org/officeDocument/2006/relationships/tags" Target="../tags/tag112.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xml"/><Relationship Id="rId1" Type="http://schemas.openxmlformats.org/officeDocument/2006/relationships/tags" Target="../tags/tag113.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chart" Target="../charts/chart15.xml"/><Relationship Id="rId2" Type="http://schemas.openxmlformats.org/officeDocument/2006/relationships/slideLayout" Target="../slideLayouts/slideLayout4.xml"/><Relationship Id="rId1" Type="http://schemas.openxmlformats.org/officeDocument/2006/relationships/tags" Target="../tags/tag114.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64.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slideLayout" Target="../slideLayouts/slideLayout5.xml"/><Relationship Id="rId7" Type="http://schemas.openxmlformats.org/officeDocument/2006/relationships/image" Target="../media/image74.pn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73.svg"/><Relationship Id="rId5" Type="http://schemas.openxmlformats.org/officeDocument/2006/relationships/image" Target="../media/image72.png"/><Relationship Id="rId10" Type="http://schemas.openxmlformats.org/officeDocument/2006/relationships/image" Target="../media/image77.svg"/><Relationship Id="rId4" Type="http://schemas.openxmlformats.org/officeDocument/2006/relationships/notesSlide" Target="../notesSlides/notesSlide55.xml"/><Relationship Id="rId9" Type="http://schemas.openxmlformats.org/officeDocument/2006/relationships/image" Target="../media/image76.png"/></Relationships>
</file>

<file path=ppt/slides/_rels/slide65.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slideLayout" Target="../slideLayouts/slideLayout14.xml"/><Relationship Id="rId1" Type="http://schemas.openxmlformats.org/officeDocument/2006/relationships/tags" Target="../tags/tag117.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20.xml"/><Relationship Id="rId1" Type="http://schemas.openxmlformats.org/officeDocument/2006/relationships/tags" Target="../tags/tag118.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20.xml"/><Relationship Id="rId1" Type="http://schemas.openxmlformats.org/officeDocument/2006/relationships/tags" Target="../tags/tag119.xml"/><Relationship Id="rId4" Type="http://schemas.openxmlformats.org/officeDocument/2006/relationships/image" Target="../media/image79.png"/></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20.xml"/><Relationship Id="rId1" Type="http://schemas.openxmlformats.org/officeDocument/2006/relationships/tags" Target="../tags/tag120.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20.xml"/><Relationship Id="rId1" Type="http://schemas.openxmlformats.org/officeDocument/2006/relationships/tags" Target="../tags/tag12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0.xml"/><Relationship Id="rId1" Type="http://schemas.openxmlformats.org/officeDocument/2006/relationships/tags" Target="../tags/tag44.xml"/></Relationships>
</file>

<file path=ppt/slides/_rels/slide70.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slideLayout" Target="../slideLayouts/slideLayout14.xml"/><Relationship Id="rId1" Type="http://schemas.openxmlformats.org/officeDocument/2006/relationships/tags" Target="../tags/tag122.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20.xml"/><Relationship Id="rId1" Type="http://schemas.openxmlformats.org/officeDocument/2006/relationships/tags" Target="../tags/tag123.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20.xml"/><Relationship Id="rId1" Type="http://schemas.openxmlformats.org/officeDocument/2006/relationships/tags" Target="../tags/tag124.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20.xml"/><Relationship Id="rId1" Type="http://schemas.openxmlformats.org/officeDocument/2006/relationships/tags" Target="../tags/tag125.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20.xml"/><Relationship Id="rId1" Type="http://schemas.openxmlformats.org/officeDocument/2006/relationships/tags" Target="../tags/tag126.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20.xml"/><Relationship Id="rId1" Type="http://schemas.openxmlformats.org/officeDocument/2006/relationships/tags" Target="../tags/tag127.xml"/></Relationships>
</file>

<file path=ppt/slides/_rels/slide76.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slideLayout" Target="../slideLayouts/slideLayout14.xml"/><Relationship Id="rId1" Type="http://schemas.openxmlformats.org/officeDocument/2006/relationships/tags" Target="../tags/tag128.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22.xml"/><Relationship Id="rId1" Type="http://schemas.openxmlformats.org/officeDocument/2006/relationships/tags" Target="../tags/tag129.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66.xml"/><Relationship Id="rId7" Type="http://schemas.openxmlformats.org/officeDocument/2006/relationships/chart" Target="../charts/chart19.xml"/><Relationship Id="rId2" Type="http://schemas.openxmlformats.org/officeDocument/2006/relationships/slideLayout" Target="../slideLayouts/slideLayout20.xml"/><Relationship Id="rId1" Type="http://schemas.openxmlformats.org/officeDocument/2006/relationships/tags" Target="../tags/tag130.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chart" Target="../charts/chart16.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20.xml"/><Relationship Id="rId1" Type="http://schemas.openxmlformats.org/officeDocument/2006/relationships/tags" Target="../tags/tag131.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notesSlide" Target="../notesSlides/notesSlide7.xml"/><Relationship Id="rId7" Type="http://schemas.openxmlformats.org/officeDocument/2006/relationships/image" Target="../media/image8.svg"/><Relationship Id="rId12"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6.svg"/><Relationship Id="rId15" Type="http://schemas.openxmlformats.org/officeDocument/2006/relationships/image" Target="../media/image16.sv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svg"/><Relationship Id="rId14" Type="http://schemas.openxmlformats.org/officeDocument/2006/relationships/image" Target="../media/image15.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0.xml"/><Relationship Id="rId1" Type="http://schemas.openxmlformats.org/officeDocument/2006/relationships/tags" Target="../tags/tag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T" descr="A desk with a computer on a table&#10;&#10;Description automatically generated">
            <a:extLst>
              <a:ext uri="{FF2B5EF4-FFF2-40B4-BE49-F238E27FC236}">
                <a16:creationId xmlns:a16="http://schemas.microsoft.com/office/drawing/2014/main" id="{10CD6B2C-3C86-4020-BE7D-FF8461E22886}"/>
              </a:ext>
            </a:extLst>
          </p:cNvPr>
          <p:cNvPicPr>
            <a:picLocks noGrp="1" noChangeAspect="1"/>
          </p:cNvPicPr>
          <p:nvPr>
            <p:ph type="pic" sz="quarter" idx="4294967295"/>
            <p:custDataLst>
              <p:tags r:id="rId1"/>
            </p:custDataLst>
          </p:nvPr>
        </p:nvPicPr>
        <p:blipFill>
          <a:blip r:embed="rId4">
            <a:extLst>
              <a:ext uri="{28A0092B-C50C-407E-A947-70E740481C1C}">
                <a14:useLocalDpi xmlns:a14="http://schemas.microsoft.com/office/drawing/2010/main" val="0"/>
              </a:ext>
            </a:extLst>
          </a:blip>
          <a:srcRect t="199" b="199"/>
          <a:stretch>
            <a:fillRect/>
          </a:stretch>
        </p:blipFill>
        <p:spPr>
          <a:xfrm>
            <a:off x="2" y="96838"/>
            <a:ext cx="12191347" cy="6760800"/>
          </a:xfrm>
        </p:spPr>
      </p:pic>
      <p:sp>
        <p:nvSpPr>
          <p:cNvPr id="12" name="Title 11">
            <a:extLst>
              <a:ext uri="{FF2B5EF4-FFF2-40B4-BE49-F238E27FC236}">
                <a16:creationId xmlns:a16="http://schemas.microsoft.com/office/drawing/2014/main" id="{F736F18A-8DF7-4C1C-BE4F-F0923F0DA416}"/>
              </a:ext>
            </a:extLst>
          </p:cNvPr>
          <p:cNvSpPr>
            <a:spLocks noGrp="1"/>
          </p:cNvSpPr>
          <p:nvPr>
            <p:ph type="title"/>
          </p:nvPr>
        </p:nvSpPr>
        <p:spPr/>
        <p:txBody>
          <a:bodyPr/>
          <a:lstStyle/>
          <a:p>
            <a:r>
              <a:rPr lang="de-DE" dirty="0"/>
              <a:t>Business PowerPoint Template</a:t>
            </a:r>
            <a:endParaRPr lang="en-US" dirty="0"/>
          </a:p>
        </p:txBody>
      </p:sp>
      <p:sp>
        <p:nvSpPr>
          <p:cNvPr id="13" name="Subtitle 12">
            <a:extLst>
              <a:ext uri="{FF2B5EF4-FFF2-40B4-BE49-F238E27FC236}">
                <a16:creationId xmlns:a16="http://schemas.microsoft.com/office/drawing/2014/main" id="{EF5A9105-E933-4836-A6B5-A5BA8A4A5C63}"/>
              </a:ext>
            </a:extLst>
          </p:cNvPr>
          <p:cNvSpPr>
            <a:spLocks noGrp="1"/>
          </p:cNvSpPr>
          <p:nvPr>
            <p:ph type="subTitle" idx="1"/>
          </p:nvPr>
        </p:nvSpPr>
        <p:spPr/>
        <p:txBody>
          <a:bodyPr/>
          <a:lstStyle/>
          <a:p>
            <a:endParaRPr lang="en-US" dirty="0"/>
          </a:p>
        </p:txBody>
      </p:sp>
      <p:sp>
        <p:nvSpPr>
          <p:cNvPr id="2" name="Rectangle 1" hidden="1">
            <a:extLst>
              <a:ext uri="{FF2B5EF4-FFF2-40B4-BE49-F238E27FC236}">
                <a16:creationId xmlns:a16="http://schemas.microsoft.com/office/drawing/2014/main" id="{0F936236-6289-449E-962E-6FC4BD945E99}"/>
              </a:ext>
            </a:extLst>
          </p:cNvPr>
          <p:cNvSpPr/>
          <p:nvPr/>
        </p:nvSpPr>
        <p:spPr>
          <a:xfrm>
            <a:off x="2468" y="0"/>
            <a:ext cx="12252684" cy="6858000"/>
          </a:xfrm>
          <a:prstGeom prst="rect">
            <a:avLst/>
          </a:prstGeom>
          <a:solidFill>
            <a:schemeClr val="accent1">
              <a:alpha val="5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219467880"/>
      </p:ext>
    </p:extLst>
  </p:cSld>
  <p:clrMapOvr>
    <a:masterClrMapping/>
  </p:clrMapOvr>
  <mc:AlternateContent xmlns:mc="http://schemas.openxmlformats.org/markup-compatibility/2006" xmlns:p14="http://schemas.microsoft.com/office/powerpoint/2010/main">
    <mc:Choice Requires="p14">
      <p:transition spd="med">
        <p14:pan/>
      </p:transition>
    </mc:Choice>
    <mc:Fallback xmlns:a14="http://schemas.microsoft.com/office/drawing/2010/main"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97">
            <a:extLst>
              <a:ext uri="{FF2B5EF4-FFF2-40B4-BE49-F238E27FC236}">
                <a16:creationId xmlns:a16="http://schemas.microsoft.com/office/drawing/2014/main" id="{F2D6AE7B-01A0-B24A-A24E-324CCC812DE1}"/>
              </a:ext>
            </a:extLst>
          </p:cNvPr>
          <p:cNvSpPr>
            <a:spLocks/>
          </p:cNvSpPr>
          <p:nvPr/>
        </p:nvSpPr>
        <p:spPr bwMode="auto">
          <a:xfrm>
            <a:off x="2973192" y="3709357"/>
            <a:ext cx="3458927" cy="431103"/>
          </a:xfrm>
          <a:custGeom>
            <a:avLst/>
            <a:gdLst>
              <a:gd name="T0" fmla="*/ 303 w 1433"/>
              <a:gd name="T1" fmla="*/ 179 h 179"/>
              <a:gd name="T2" fmla="*/ 716 w 1433"/>
              <a:gd name="T3" fmla="*/ 161 h 179"/>
              <a:gd name="T4" fmla="*/ 1130 w 1433"/>
              <a:gd name="T5" fmla="*/ 179 h 179"/>
              <a:gd name="T6" fmla="*/ 1433 w 1433"/>
              <a:gd name="T7" fmla="*/ 98 h 179"/>
              <a:gd name="T8" fmla="*/ 716 w 1433"/>
              <a:gd name="T9" fmla="*/ 0 h 179"/>
              <a:gd name="T10" fmla="*/ 0 w 1433"/>
              <a:gd name="T11" fmla="*/ 98 h 179"/>
              <a:gd name="T12" fmla="*/ 303 w 1433"/>
              <a:gd name="T13" fmla="*/ 179 h 179"/>
            </a:gdLst>
            <a:ahLst/>
            <a:cxnLst>
              <a:cxn ang="0">
                <a:pos x="T0" y="T1"/>
              </a:cxn>
              <a:cxn ang="0">
                <a:pos x="T2" y="T3"/>
              </a:cxn>
              <a:cxn ang="0">
                <a:pos x="T4" y="T5"/>
              </a:cxn>
              <a:cxn ang="0">
                <a:pos x="T6" y="T7"/>
              </a:cxn>
              <a:cxn ang="0">
                <a:pos x="T8" y="T9"/>
              </a:cxn>
              <a:cxn ang="0">
                <a:pos x="T10" y="T11"/>
              </a:cxn>
              <a:cxn ang="0">
                <a:pos x="T12" y="T13"/>
              </a:cxn>
            </a:cxnLst>
            <a:rect l="0" t="0" r="r" b="b"/>
            <a:pathLst>
              <a:path w="1433" h="179">
                <a:moveTo>
                  <a:pt x="303" y="179"/>
                </a:moveTo>
                <a:cubicBezTo>
                  <a:pt x="420" y="167"/>
                  <a:pt x="562" y="161"/>
                  <a:pt x="716" y="161"/>
                </a:cubicBezTo>
                <a:cubicBezTo>
                  <a:pt x="870" y="161"/>
                  <a:pt x="1013" y="167"/>
                  <a:pt x="1130" y="179"/>
                </a:cubicBezTo>
                <a:cubicBezTo>
                  <a:pt x="1313" y="161"/>
                  <a:pt x="1433" y="131"/>
                  <a:pt x="1433" y="98"/>
                </a:cubicBezTo>
                <a:cubicBezTo>
                  <a:pt x="1433" y="44"/>
                  <a:pt x="1112" y="0"/>
                  <a:pt x="716" y="0"/>
                </a:cubicBezTo>
                <a:cubicBezTo>
                  <a:pt x="321" y="0"/>
                  <a:pt x="0" y="44"/>
                  <a:pt x="0" y="98"/>
                </a:cubicBezTo>
                <a:cubicBezTo>
                  <a:pt x="0" y="131"/>
                  <a:pt x="119" y="161"/>
                  <a:pt x="303" y="179"/>
                </a:cubicBezTo>
              </a:path>
            </a:pathLst>
          </a:custGeom>
          <a:solidFill>
            <a:schemeClr val="accent2">
              <a:lumMod val="75000"/>
            </a:schemeClr>
          </a:solidFill>
          <a:ln>
            <a:noFill/>
          </a:ln>
        </p:spPr>
        <p:txBody>
          <a:bodyPr vert="horz" wrap="square" lIns="91416" tIns="45708" rIns="91416" bIns="45708" numCol="1" anchor="t" anchorCtr="0" compatLnSpc="1">
            <a:prstTxWarp prst="textNoShape">
              <a:avLst/>
            </a:prstTxWarp>
          </a:bodyPr>
          <a:lstStyle/>
          <a:p>
            <a:endParaRPr lang="en-US" sz="3599" dirty="0">
              <a:latin typeface="Muli ExtraLight" panose="02000303000000000000" pitchFamily="2" charset="77"/>
            </a:endParaRPr>
          </a:p>
        </p:txBody>
      </p:sp>
      <p:sp>
        <p:nvSpPr>
          <p:cNvPr id="3" name="Freeform 196">
            <a:extLst>
              <a:ext uri="{FF2B5EF4-FFF2-40B4-BE49-F238E27FC236}">
                <a16:creationId xmlns:a16="http://schemas.microsoft.com/office/drawing/2014/main" id="{A53A0FEF-60DE-0E40-9357-2F0FD288A89D}"/>
              </a:ext>
            </a:extLst>
          </p:cNvPr>
          <p:cNvSpPr>
            <a:spLocks/>
          </p:cNvSpPr>
          <p:nvPr/>
        </p:nvSpPr>
        <p:spPr bwMode="auto">
          <a:xfrm>
            <a:off x="3493547" y="4723123"/>
            <a:ext cx="2416535" cy="311540"/>
          </a:xfrm>
          <a:custGeom>
            <a:avLst/>
            <a:gdLst>
              <a:gd name="T0" fmla="*/ 200 w 1001"/>
              <a:gd name="T1" fmla="*/ 129 h 129"/>
              <a:gd name="T2" fmla="*/ 501 w 1001"/>
              <a:gd name="T3" fmla="*/ 115 h 129"/>
              <a:gd name="T4" fmla="*/ 801 w 1001"/>
              <a:gd name="T5" fmla="*/ 129 h 129"/>
              <a:gd name="T6" fmla="*/ 1001 w 1001"/>
              <a:gd name="T7" fmla="*/ 72 h 129"/>
              <a:gd name="T8" fmla="*/ 501 w 1001"/>
              <a:gd name="T9" fmla="*/ 0 h 129"/>
              <a:gd name="T10" fmla="*/ 0 w 1001"/>
              <a:gd name="T11" fmla="*/ 72 h 129"/>
              <a:gd name="T12" fmla="*/ 200 w 1001"/>
              <a:gd name="T13" fmla="*/ 129 h 129"/>
            </a:gdLst>
            <a:ahLst/>
            <a:cxnLst>
              <a:cxn ang="0">
                <a:pos x="T0" y="T1"/>
              </a:cxn>
              <a:cxn ang="0">
                <a:pos x="T2" y="T3"/>
              </a:cxn>
              <a:cxn ang="0">
                <a:pos x="T4" y="T5"/>
              </a:cxn>
              <a:cxn ang="0">
                <a:pos x="T6" y="T7"/>
              </a:cxn>
              <a:cxn ang="0">
                <a:pos x="T8" y="T9"/>
              </a:cxn>
              <a:cxn ang="0">
                <a:pos x="T10" y="T11"/>
              </a:cxn>
              <a:cxn ang="0">
                <a:pos x="T12" y="T13"/>
              </a:cxn>
            </a:cxnLst>
            <a:rect l="0" t="0" r="r" b="b"/>
            <a:pathLst>
              <a:path w="1001" h="129">
                <a:moveTo>
                  <a:pt x="200" y="129"/>
                </a:moveTo>
                <a:cubicBezTo>
                  <a:pt x="284" y="120"/>
                  <a:pt x="388" y="115"/>
                  <a:pt x="501" y="115"/>
                </a:cubicBezTo>
                <a:cubicBezTo>
                  <a:pt x="613" y="115"/>
                  <a:pt x="717" y="120"/>
                  <a:pt x="801" y="129"/>
                </a:cubicBezTo>
                <a:cubicBezTo>
                  <a:pt x="923" y="116"/>
                  <a:pt x="1001" y="95"/>
                  <a:pt x="1001" y="72"/>
                </a:cubicBezTo>
                <a:cubicBezTo>
                  <a:pt x="1001" y="32"/>
                  <a:pt x="777" y="0"/>
                  <a:pt x="501" y="0"/>
                </a:cubicBezTo>
                <a:cubicBezTo>
                  <a:pt x="224" y="0"/>
                  <a:pt x="0" y="32"/>
                  <a:pt x="0" y="72"/>
                </a:cubicBezTo>
                <a:cubicBezTo>
                  <a:pt x="0" y="95"/>
                  <a:pt x="79" y="116"/>
                  <a:pt x="200" y="129"/>
                </a:cubicBezTo>
              </a:path>
            </a:pathLst>
          </a:custGeom>
          <a:solidFill>
            <a:schemeClr val="accent3">
              <a:lumMod val="75000"/>
            </a:schemeClr>
          </a:solidFill>
          <a:ln>
            <a:noFill/>
          </a:ln>
        </p:spPr>
        <p:txBody>
          <a:bodyPr vert="horz" wrap="square" lIns="91416" tIns="45708" rIns="91416" bIns="45708" numCol="1" anchor="t" anchorCtr="0" compatLnSpc="1">
            <a:prstTxWarp prst="textNoShape">
              <a:avLst/>
            </a:prstTxWarp>
          </a:bodyPr>
          <a:lstStyle/>
          <a:p>
            <a:endParaRPr lang="en-US" sz="3599" dirty="0">
              <a:latin typeface="Muli ExtraLight" panose="02000303000000000000" pitchFamily="2" charset="77"/>
            </a:endParaRPr>
          </a:p>
        </p:txBody>
      </p:sp>
      <p:sp>
        <p:nvSpPr>
          <p:cNvPr id="4" name="Oval 195">
            <a:extLst>
              <a:ext uri="{FF2B5EF4-FFF2-40B4-BE49-F238E27FC236}">
                <a16:creationId xmlns:a16="http://schemas.microsoft.com/office/drawing/2014/main" id="{6A1EDC14-19A8-9445-8366-856B9AE356B3}"/>
              </a:ext>
            </a:extLst>
          </p:cNvPr>
          <p:cNvSpPr>
            <a:spLocks noChangeArrowheads="1"/>
          </p:cNvSpPr>
          <p:nvPr/>
        </p:nvSpPr>
        <p:spPr bwMode="auto">
          <a:xfrm>
            <a:off x="4020637" y="5709944"/>
            <a:ext cx="1364037" cy="198711"/>
          </a:xfrm>
          <a:prstGeom prst="ellipse">
            <a:avLst/>
          </a:prstGeom>
          <a:solidFill>
            <a:schemeClr val="accent4">
              <a:lumMod val="75000"/>
            </a:schemeClr>
          </a:solidFill>
          <a:ln>
            <a:noFill/>
          </a:ln>
        </p:spPr>
        <p:txBody>
          <a:bodyPr vert="horz" wrap="square" lIns="91416" tIns="45708" rIns="91416" bIns="45708" numCol="1" anchor="t" anchorCtr="0" compatLnSpc="1">
            <a:prstTxWarp prst="textNoShape">
              <a:avLst/>
            </a:prstTxWarp>
          </a:bodyPr>
          <a:lstStyle/>
          <a:p>
            <a:endParaRPr lang="en-US" sz="3599" dirty="0">
              <a:latin typeface="Muli ExtraLight" panose="02000303000000000000" pitchFamily="2" charset="77"/>
            </a:endParaRPr>
          </a:p>
        </p:txBody>
      </p:sp>
      <p:sp>
        <p:nvSpPr>
          <p:cNvPr id="5" name="Freeform 191">
            <a:extLst>
              <a:ext uri="{FF2B5EF4-FFF2-40B4-BE49-F238E27FC236}">
                <a16:creationId xmlns:a16="http://schemas.microsoft.com/office/drawing/2014/main" id="{81380FA8-0E18-4C46-8B48-8E6BEA468BC4}"/>
              </a:ext>
            </a:extLst>
          </p:cNvPr>
          <p:cNvSpPr>
            <a:spLocks/>
          </p:cNvSpPr>
          <p:nvPr/>
        </p:nvSpPr>
        <p:spPr bwMode="auto">
          <a:xfrm>
            <a:off x="2395581" y="2682120"/>
            <a:ext cx="4614148" cy="609606"/>
          </a:xfrm>
          <a:custGeom>
            <a:avLst/>
            <a:gdLst>
              <a:gd name="T0" fmla="*/ 318 w 1911"/>
              <a:gd name="T1" fmla="*/ 252 h 252"/>
              <a:gd name="T2" fmla="*/ 955 w 1911"/>
              <a:gd name="T3" fmla="*/ 215 h 252"/>
              <a:gd name="T4" fmla="*/ 1593 w 1911"/>
              <a:gd name="T5" fmla="*/ 252 h 252"/>
              <a:gd name="T6" fmla="*/ 1911 w 1911"/>
              <a:gd name="T7" fmla="*/ 144 h 252"/>
              <a:gd name="T8" fmla="*/ 955 w 1911"/>
              <a:gd name="T9" fmla="*/ 0 h 252"/>
              <a:gd name="T10" fmla="*/ 0 w 1911"/>
              <a:gd name="T11" fmla="*/ 144 h 252"/>
              <a:gd name="T12" fmla="*/ 318 w 1911"/>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1911" h="252">
                <a:moveTo>
                  <a:pt x="318" y="252"/>
                </a:moveTo>
                <a:cubicBezTo>
                  <a:pt x="487" y="229"/>
                  <a:pt x="711" y="215"/>
                  <a:pt x="955" y="215"/>
                </a:cubicBezTo>
                <a:cubicBezTo>
                  <a:pt x="1200" y="215"/>
                  <a:pt x="1424" y="229"/>
                  <a:pt x="1593" y="252"/>
                </a:cubicBezTo>
                <a:cubicBezTo>
                  <a:pt x="1788" y="225"/>
                  <a:pt x="1911" y="187"/>
                  <a:pt x="1911" y="144"/>
                </a:cubicBezTo>
                <a:cubicBezTo>
                  <a:pt x="1911" y="65"/>
                  <a:pt x="1483" y="0"/>
                  <a:pt x="955" y="0"/>
                </a:cubicBezTo>
                <a:cubicBezTo>
                  <a:pt x="428" y="0"/>
                  <a:pt x="0" y="65"/>
                  <a:pt x="0" y="144"/>
                </a:cubicBezTo>
                <a:cubicBezTo>
                  <a:pt x="0" y="187"/>
                  <a:pt x="123" y="225"/>
                  <a:pt x="318" y="252"/>
                </a:cubicBezTo>
              </a:path>
            </a:pathLst>
          </a:custGeom>
          <a:solidFill>
            <a:schemeClr val="accent1">
              <a:lumMod val="75000"/>
            </a:schemeClr>
          </a:solidFill>
          <a:ln>
            <a:noFill/>
          </a:ln>
        </p:spPr>
        <p:txBody>
          <a:bodyPr vert="horz" wrap="square" lIns="91416" tIns="45708" rIns="91416" bIns="45708" numCol="1" anchor="t" anchorCtr="0" compatLnSpc="1">
            <a:prstTxWarp prst="textNoShape">
              <a:avLst/>
            </a:prstTxWarp>
          </a:bodyPr>
          <a:lstStyle/>
          <a:p>
            <a:endParaRPr lang="en-US" sz="3599" dirty="0">
              <a:latin typeface="Muli ExtraLight" panose="02000303000000000000" pitchFamily="2" charset="77"/>
            </a:endParaRPr>
          </a:p>
        </p:txBody>
      </p:sp>
      <p:sp>
        <p:nvSpPr>
          <p:cNvPr id="6" name="Freeform 198">
            <a:extLst>
              <a:ext uri="{FF2B5EF4-FFF2-40B4-BE49-F238E27FC236}">
                <a16:creationId xmlns:a16="http://schemas.microsoft.com/office/drawing/2014/main" id="{0A02AE9A-7823-D94D-B57A-2417AD6BD426}"/>
              </a:ext>
            </a:extLst>
          </p:cNvPr>
          <p:cNvSpPr>
            <a:spLocks/>
          </p:cNvSpPr>
          <p:nvPr/>
        </p:nvSpPr>
        <p:spPr bwMode="auto">
          <a:xfrm flipH="1">
            <a:off x="4401254" y="1909639"/>
            <a:ext cx="2812929" cy="4908959"/>
          </a:xfrm>
          <a:custGeom>
            <a:avLst/>
            <a:gdLst>
              <a:gd name="T0" fmla="*/ 935 w 1261"/>
              <a:gd name="T1" fmla="*/ 0 h 2272"/>
              <a:gd name="T2" fmla="*/ 0 w 1261"/>
              <a:gd name="T3" fmla="*/ 0 h 2272"/>
              <a:gd name="T4" fmla="*/ 0 w 1261"/>
              <a:gd name="T5" fmla="*/ 262 h 2272"/>
              <a:gd name="T6" fmla="*/ 935 w 1261"/>
              <a:gd name="T7" fmla="*/ 262 h 2272"/>
              <a:gd name="T8" fmla="*/ 999 w 1261"/>
              <a:gd name="T9" fmla="*/ 340 h 2272"/>
              <a:gd name="T10" fmla="*/ 999 w 1261"/>
              <a:gd name="T11" fmla="*/ 2272 h 2272"/>
              <a:gd name="T12" fmla="*/ 1261 w 1261"/>
              <a:gd name="T13" fmla="*/ 2272 h 2272"/>
              <a:gd name="T14" fmla="*/ 1261 w 1261"/>
              <a:gd name="T15" fmla="*/ 340 h 2272"/>
              <a:gd name="T16" fmla="*/ 935 w 1261"/>
              <a:gd name="T17" fmla="*/ 0 h 2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1" h="2272">
                <a:moveTo>
                  <a:pt x="935" y="0"/>
                </a:moveTo>
                <a:cubicBezTo>
                  <a:pt x="0" y="0"/>
                  <a:pt x="0" y="0"/>
                  <a:pt x="0" y="0"/>
                </a:cubicBezTo>
                <a:cubicBezTo>
                  <a:pt x="0" y="262"/>
                  <a:pt x="0" y="262"/>
                  <a:pt x="0" y="262"/>
                </a:cubicBezTo>
                <a:cubicBezTo>
                  <a:pt x="935" y="262"/>
                  <a:pt x="935" y="262"/>
                  <a:pt x="935" y="262"/>
                </a:cubicBezTo>
                <a:cubicBezTo>
                  <a:pt x="980" y="262"/>
                  <a:pt x="999" y="301"/>
                  <a:pt x="999" y="340"/>
                </a:cubicBezTo>
                <a:cubicBezTo>
                  <a:pt x="999" y="2272"/>
                  <a:pt x="999" y="2272"/>
                  <a:pt x="999" y="2272"/>
                </a:cubicBezTo>
                <a:cubicBezTo>
                  <a:pt x="1261" y="2272"/>
                  <a:pt x="1261" y="2272"/>
                  <a:pt x="1261" y="2272"/>
                </a:cubicBezTo>
                <a:cubicBezTo>
                  <a:pt x="1261" y="340"/>
                  <a:pt x="1261" y="340"/>
                  <a:pt x="1261" y="340"/>
                </a:cubicBezTo>
                <a:cubicBezTo>
                  <a:pt x="1261" y="9"/>
                  <a:pt x="935" y="0"/>
                  <a:pt x="935" y="0"/>
                </a:cubicBezTo>
              </a:path>
            </a:pathLst>
          </a:custGeom>
          <a:solidFill>
            <a:schemeClr val="accent6"/>
          </a:solidFill>
          <a:ln>
            <a:noFill/>
          </a:ln>
        </p:spPr>
        <p:txBody>
          <a:bodyPr vert="horz" wrap="square" lIns="91416" tIns="45708" rIns="91416" bIns="45708" numCol="1" anchor="t" anchorCtr="0" compatLnSpc="1">
            <a:prstTxWarp prst="textNoShape">
              <a:avLst/>
            </a:prstTxWarp>
          </a:bodyPr>
          <a:lstStyle/>
          <a:p>
            <a:endParaRPr lang="en-US" sz="3599" dirty="0">
              <a:latin typeface="Muli ExtraLight" panose="02000303000000000000" pitchFamily="2" charset="77"/>
            </a:endParaRPr>
          </a:p>
        </p:txBody>
      </p:sp>
      <p:sp>
        <p:nvSpPr>
          <p:cNvPr id="7" name="Freeform 198">
            <a:extLst>
              <a:ext uri="{FF2B5EF4-FFF2-40B4-BE49-F238E27FC236}">
                <a16:creationId xmlns:a16="http://schemas.microsoft.com/office/drawing/2014/main" id="{785EDF3E-5ED3-5444-A270-CBB48A54AA03}"/>
              </a:ext>
            </a:extLst>
          </p:cNvPr>
          <p:cNvSpPr>
            <a:spLocks/>
          </p:cNvSpPr>
          <p:nvPr/>
        </p:nvSpPr>
        <p:spPr bwMode="auto">
          <a:xfrm>
            <a:off x="1972899" y="1543739"/>
            <a:ext cx="3044664" cy="5313369"/>
          </a:xfrm>
          <a:custGeom>
            <a:avLst/>
            <a:gdLst>
              <a:gd name="T0" fmla="*/ 935 w 1261"/>
              <a:gd name="T1" fmla="*/ 0 h 2272"/>
              <a:gd name="T2" fmla="*/ 0 w 1261"/>
              <a:gd name="T3" fmla="*/ 0 h 2272"/>
              <a:gd name="T4" fmla="*/ 0 w 1261"/>
              <a:gd name="T5" fmla="*/ 262 h 2272"/>
              <a:gd name="T6" fmla="*/ 935 w 1261"/>
              <a:gd name="T7" fmla="*/ 262 h 2272"/>
              <a:gd name="T8" fmla="*/ 999 w 1261"/>
              <a:gd name="T9" fmla="*/ 340 h 2272"/>
              <a:gd name="T10" fmla="*/ 999 w 1261"/>
              <a:gd name="T11" fmla="*/ 2272 h 2272"/>
              <a:gd name="T12" fmla="*/ 1261 w 1261"/>
              <a:gd name="T13" fmla="*/ 2272 h 2272"/>
              <a:gd name="T14" fmla="*/ 1261 w 1261"/>
              <a:gd name="T15" fmla="*/ 340 h 2272"/>
              <a:gd name="T16" fmla="*/ 935 w 1261"/>
              <a:gd name="T17" fmla="*/ 0 h 2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1" h="2272">
                <a:moveTo>
                  <a:pt x="935" y="0"/>
                </a:moveTo>
                <a:cubicBezTo>
                  <a:pt x="0" y="0"/>
                  <a:pt x="0" y="0"/>
                  <a:pt x="0" y="0"/>
                </a:cubicBezTo>
                <a:cubicBezTo>
                  <a:pt x="0" y="262"/>
                  <a:pt x="0" y="262"/>
                  <a:pt x="0" y="262"/>
                </a:cubicBezTo>
                <a:cubicBezTo>
                  <a:pt x="935" y="262"/>
                  <a:pt x="935" y="262"/>
                  <a:pt x="935" y="262"/>
                </a:cubicBezTo>
                <a:cubicBezTo>
                  <a:pt x="980" y="262"/>
                  <a:pt x="999" y="301"/>
                  <a:pt x="999" y="340"/>
                </a:cubicBezTo>
                <a:cubicBezTo>
                  <a:pt x="999" y="2272"/>
                  <a:pt x="999" y="2272"/>
                  <a:pt x="999" y="2272"/>
                </a:cubicBezTo>
                <a:cubicBezTo>
                  <a:pt x="1261" y="2272"/>
                  <a:pt x="1261" y="2272"/>
                  <a:pt x="1261" y="2272"/>
                </a:cubicBezTo>
                <a:cubicBezTo>
                  <a:pt x="1261" y="340"/>
                  <a:pt x="1261" y="340"/>
                  <a:pt x="1261" y="340"/>
                </a:cubicBezTo>
                <a:cubicBezTo>
                  <a:pt x="1261" y="9"/>
                  <a:pt x="935" y="0"/>
                  <a:pt x="935" y="0"/>
                </a:cubicBezTo>
              </a:path>
            </a:pathLst>
          </a:custGeom>
          <a:solidFill>
            <a:schemeClr val="accent6">
              <a:lumMod val="20000"/>
              <a:lumOff val="80000"/>
            </a:schemeClr>
          </a:solidFill>
          <a:ln>
            <a:noFill/>
          </a:ln>
        </p:spPr>
        <p:txBody>
          <a:bodyPr vert="horz" wrap="square" lIns="91416" tIns="45708" rIns="91416" bIns="45708" numCol="1" anchor="t" anchorCtr="0" compatLnSpc="1">
            <a:prstTxWarp prst="textNoShape">
              <a:avLst/>
            </a:prstTxWarp>
          </a:bodyPr>
          <a:lstStyle/>
          <a:p>
            <a:endParaRPr lang="en-US" sz="3599" dirty="0">
              <a:latin typeface="Muli ExtraLight" panose="02000303000000000000" pitchFamily="2" charset="77"/>
            </a:endParaRPr>
          </a:p>
        </p:txBody>
      </p:sp>
      <p:grpSp>
        <p:nvGrpSpPr>
          <p:cNvPr id="8" name="Group 7">
            <a:extLst>
              <a:ext uri="{FF2B5EF4-FFF2-40B4-BE49-F238E27FC236}">
                <a16:creationId xmlns:a16="http://schemas.microsoft.com/office/drawing/2014/main" id="{B0680F48-CD05-0C44-9281-D7D6EF827A0F}"/>
              </a:ext>
            </a:extLst>
          </p:cNvPr>
          <p:cNvGrpSpPr/>
          <p:nvPr/>
        </p:nvGrpSpPr>
        <p:grpSpPr>
          <a:xfrm>
            <a:off x="2973192" y="3956904"/>
            <a:ext cx="3458927" cy="756115"/>
            <a:chOff x="2972378" y="3957041"/>
            <a:chExt cx="3459828" cy="756312"/>
          </a:xfrm>
        </p:grpSpPr>
        <p:sp>
          <p:nvSpPr>
            <p:cNvPr id="9" name="Freeform 203">
              <a:extLst>
                <a:ext uri="{FF2B5EF4-FFF2-40B4-BE49-F238E27FC236}">
                  <a16:creationId xmlns:a16="http://schemas.microsoft.com/office/drawing/2014/main" id="{7E5A7AEC-84B8-DF4C-8913-2A4D7C1C8D3F}"/>
                </a:ext>
              </a:extLst>
            </p:cNvPr>
            <p:cNvSpPr>
              <a:spLocks/>
            </p:cNvSpPr>
            <p:nvPr/>
          </p:nvSpPr>
          <p:spPr bwMode="auto">
            <a:xfrm>
              <a:off x="2972378" y="3957041"/>
              <a:ext cx="3459828" cy="756312"/>
            </a:xfrm>
            <a:custGeom>
              <a:avLst/>
              <a:gdLst>
                <a:gd name="T0" fmla="*/ 716 w 1433"/>
                <a:gd name="T1" fmla="*/ 94 h 313"/>
                <a:gd name="T2" fmla="*/ 0 w 1433"/>
                <a:gd name="T3" fmla="*/ 0 h 313"/>
                <a:gd name="T4" fmla="*/ 128 w 1433"/>
                <a:gd name="T5" fmla="*/ 225 h 313"/>
                <a:gd name="T6" fmla="*/ 716 w 1433"/>
                <a:gd name="T7" fmla="*/ 313 h 313"/>
                <a:gd name="T8" fmla="*/ 1305 w 1433"/>
                <a:gd name="T9" fmla="*/ 225 h 313"/>
                <a:gd name="T10" fmla="*/ 1433 w 1433"/>
                <a:gd name="T11" fmla="*/ 0 h 313"/>
                <a:gd name="T12" fmla="*/ 716 w 1433"/>
                <a:gd name="T13" fmla="*/ 94 h 313"/>
              </a:gdLst>
              <a:ahLst/>
              <a:cxnLst>
                <a:cxn ang="0">
                  <a:pos x="T0" y="T1"/>
                </a:cxn>
                <a:cxn ang="0">
                  <a:pos x="T2" y="T3"/>
                </a:cxn>
                <a:cxn ang="0">
                  <a:pos x="T4" y="T5"/>
                </a:cxn>
                <a:cxn ang="0">
                  <a:pos x="T6" y="T7"/>
                </a:cxn>
                <a:cxn ang="0">
                  <a:pos x="T8" y="T9"/>
                </a:cxn>
                <a:cxn ang="0">
                  <a:pos x="T10" y="T11"/>
                </a:cxn>
                <a:cxn ang="0">
                  <a:pos x="T12" y="T13"/>
                </a:cxn>
              </a:cxnLst>
              <a:rect l="0" t="0" r="r" b="b"/>
              <a:pathLst>
                <a:path w="1433" h="313">
                  <a:moveTo>
                    <a:pt x="716" y="94"/>
                  </a:moveTo>
                  <a:cubicBezTo>
                    <a:pt x="351" y="94"/>
                    <a:pt x="49" y="53"/>
                    <a:pt x="0" y="0"/>
                  </a:cubicBezTo>
                  <a:cubicBezTo>
                    <a:pt x="128" y="225"/>
                    <a:pt x="128" y="225"/>
                    <a:pt x="128" y="225"/>
                  </a:cubicBezTo>
                  <a:cubicBezTo>
                    <a:pt x="148" y="274"/>
                    <a:pt x="404" y="313"/>
                    <a:pt x="716" y="313"/>
                  </a:cubicBezTo>
                  <a:cubicBezTo>
                    <a:pt x="1029" y="313"/>
                    <a:pt x="1285" y="274"/>
                    <a:pt x="1305" y="225"/>
                  </a:cubicBezTo>
                  <a:cubicBezTo>
                    <a:pt x="1433" y="0"/>
                    <a:pt x="1433" y="0"/>
                    <a:pt x="1433" y="0"/>
                  </a:cubicBezTo>
                  <a:cubicBezTo>
                    <a:pt x="1385" y="53"/>
                    <a:pt x="1082" y="94"/>
                    <a:pt x="716" y="94"/>
                  </a:cubicBezTo>
                </a:path>
              </a:pathLst>
            </a:custGeom>
            <a:solidFill>
              <a:schemeClr val="accent2"/>
            </a:solidFill>
            <a:ln>
              <a:noFill/>
            </a:ln>
          </p:spPr>
          <p:txBody>
            <a:bodyPr vert="horz" wrap="square" lIns="91416" tIns="45708" rIns="91416" bIns="45708" numCol="1" anchor="t" anchorCtr="0" compatLnSpc="1">
              <a:prstTxWarp prst="textNoShape">
                <a:avLst/>
              </a:prstTxWarp>
            </a:bodyPr>
            <a:lstStyle/>
            <a:p>
              <a:endParaRPr lang="en-US" sz="3599" dirty="0">
                <a:latin typeface="Muli ExtraLight" panose="02000303000000000000" pitchFamily="2" charset="77"/>
              </a:endParaRPr>
            </a:p>
          </p:txBody>
        </p:sp>
        <p:sp>
          <p:nvSpPr>
            <p:cNvPr id="10" name="Freeform 213">
              <a:extLst>
                <a:ext uri="{FF2B5EF4-FFF2-40B4-BE49-F238E27FC236}">
                  <a16:creationId xmlns:a16="http://schemas.microsoft.com/office/drawing/2014/main" id="{082C4EF5-9979-6F4E-871B-7E5FC60ACDE0}"/>
                </a:ext>
              </a:extLst>
            </p:cNvPr>
            <p:cNvSpPr>
              <a:spLocks/>
            </p:cNvSpPr>
            <p:nvPr/>
          </p:nvSpPr>
          <p:spPr bwMode="auto">
            <a:xfrm>
              <a:off x="3971248" y="4160858"/>
              <a:ext cx="1462089" cy="552494"/>
            </a:xfrm>
            <a:custGeom>
              <a:avLst/>
              <a:gdLst>
                <a:gd name="T0" fmla="*/ 171 w 605"/>
                <a:gd name="T1" fmla="*/ 226 h 229"/>
                <a:gd name="T2" fmla="*/ 279 w 605"/>
                <a:gd name="T3" fmla="*/ 229 h 229"/>
                <a:gd name="T4" fmla="*/ 279 w 605"/>
                <a:gd name="T5" fmla="*/ 229 h 229"/>
                <a:gd name="T6" fmla="*/ 280 w 605"/>
                <a:gd name="T7" fmla="*/ 229 h 229"/>
                <a:gd name="T8" fmla="*/ 281 w 605"/>
                <a:gd name="T9" fmla="*/ 229 h 229"/>
                <a:gd name="T10" fmla="*/ 284 w 605"/>
                <a:gd name="T11" fmla="*/ 229 h 229"/>
                <a:gd name="T12" fmla="*/ 287 w 605"/>
                <a:gd name="T13" fmla="*/ 229 h 229"/>
                <a:gd name="T14" fmla="*/ 288 w 605"/>
                <a:gd name="T15" fmla="*/ 229 h 229"/>
                <a:gd name="T16" fmla="*/ 288 w 605"/>
                <a:gd name="T17" fmla="*/ 229 h 229"/>
                <a:gd name="T18" fmla="*/ 289 w 605"/>
                <a:gd name="T19" fmla="*/ 229 h 229"/>
                <a:gd name="T20" fmla="*/ 290 w 605"/>
                <a:gd name="T21" fmla="*/ 229 h 229"/>
                <a:gd name="T22" fmla="*/ 291 w 605"/>
                <a:gd name="T23" fmla="*/ 229 h 229"/>
                <a:gd name="T24" fmla="*/ 292 w 605"/>
                <a:gd name="T25" fmla="*/ 229 h 229"/>
                <a:gd name="T26" fmla="*/ 292 w 605"/>
                <a:gd name="T27" fmla="*/ 229 h 229"/>
                <a:gd name="T28" fmla="*/ 293 w 605"/>
                <a:gd name="T29" fmla="*/ 229 h 229"/>
                <a:gd name="T30" fmla="*/ 294 w 605"/>
                <a:gd name="T31" fmla="*/ 229 h 229"/>
                <a:gd name="T32" fmla="*/ 295 w 605"/>
                <a:gd name="T33" fmla="*/ 229 h 229"/>
                <a:gd name="T34" fmla="*/ 295 w 605"/>
                <a:gd name="T35" fmla="*/ 229 h 229"/>
                <a:gd name="T36" fmla="*/ 296 w 605"/>
                <a:gd name="T37" fmla="*/ 229 h 229"/>
                <a:gd name="T38" fmla="*/ 297 w 605"/>
                <a:gd name="T39" fmla="*/ 229 h 229"/>
                <a:gd name="T40" fmla="*/ 298 w 605"/>
                <a:gd name="T41" fmla="*/ 229 h 229"/>
                <a:gd name="T42" fmla="*/ 299 w 605"/>
                <a:gd name="T43" fmla="*/ 229 h 229"/>
                <a:gd name="T44" fmla="*/ 300 w 605"/>
                <a:gd name="T45" fmla="*/ 229 h 229"/>
                <a:gd name="T46" fmla="*/ 301 w 605"/>
                <a:gd name="T47" fmla="*/ 229 h 229"/>
                <a:gd name="T48" fmla="*/ 301 w 605"/>
                <a:gd name="T49" fmla="*/ 229 h 229"/>
                <a:gd name="T50" fmla="*/ 302 w 605"/>
                <a:gd name="T51" fmla="*/ 229 h 229"/>
                <a:gd name="T52" fmla="*/ 303 w 605"/>
                <a:gd name="T53" fmla="*/ 229 h 229"/>
                <a:gd name="T54" fmla="*/ 304 w 605"/>
                <a:gd name="T55" fmla="*/ 229 h 229"/>
                <a:gd name="T56" fmla="*/ 305 w 605"/>
                <a:gd name="T57" fmla="*/ 229 h 229"/>
                <a:gd name="T58" fmla="*/ 305 w 605"/>
                <a:gd name="T59" fmla="*/ 229 h 229"/>
                <a:gd name="T60" fmla="*/ 307 w 605"/>
                <a:gd name="T61" fmla="*/ 229 h 229"/>
                <a:gd name="T62" fmla="*/ 309 w 605"/>
                <a:gd name="T63" fmla="*/ 229 h 229"/>
                <a:gd name="T64" fmla="*/ 605 w 605"/>
                <a:gd name="T65" fmla="*/ 0 h 229"/>
                <a:gd name="T66" fmla="*/ 318 w 605"/>
                <a:gd name="T67" fmla="*/ 10 h 229"/>
                <a:gd name="T68" fmla="*/ 314 w 605"/>
                <a:gd name="T69" fmla="*/ 10 h 229"/>
                <a:gd name="T70" fmla="*/ 314 w 605"/>
                <a:gd name="T71" fmla="*/ 10 h 229"/>
                <a:gd name="T72" fmla="*/ 312 w 605"/>
                <a:gd name="T73" fmla="*/ 10 h 229"/>
                <a:gd name="T74" fmla="*/ 311 w 605"/>
                <a:gd name="T75" fmla="*/ 10 h 229"/>
                <a:gd name="T76" fmla="*/ 310 w 605"/>
                <a:gd name="T77" fmla="*/ 10 h 229"/>
                <a:gd name="T78" fmla="*/ 309 w 605"/>
                <a:gd name="T79" fmla="*/ 10 h 229"/>
                <a:gd name="T80" fmla="*/ 308 w 605"/>
                <a:gd name="T81" fmla="*/ 10 h 229"/>
                <a:gd name="T82" fmla="*/ 307 w 605"/>
                <a:gd name="T83" fmla="*/ 10 h 229"/>
                <a:gd name="T84" fmla="*/ 306 w 605"/>
                <a:gd name="T85" fmla="*/ 10 h 229"/>
                <a:gd name="T86" fmla="*/ 305 w 605"/>
                <a:gd name="T87" fmla="*/ 10 h 229"/>
                <a:gd name="T88" fmla="*/ 304 w 605"/>
                <a:gd name="T89" fmla="*/ 10 h 229"/>
                <a:gd name="T90" fmla="*/ 303 w 605"/>
                <a:gd name="T91" fmla="*/ 10 h 229"/>
                <a:gd name="T92" fmla="*/ 302 w 605"/>
                <a:gd name="T93" fmla="*/ 10 h 229"/>
                <a:gd name="T94" fmla="*/ 301 w 605"/>
                <a:gd name="T95" fmla="*/ 10 h 229"/>
                <a:gd name="T96" fmla="*/ 300 w 605"/>
                <a:gd name="T97" fmla="*/ 10 h 229"/>
                <a:gd name="T98" fmla="*/ 298 w 605"/>
                <a:gd name="T99" fmla="*/ 10 h 229"/>
                <a:gd name="T100" fmla="*/ 297 w 605"/>
                <a:gd name="T101" fmla="*/ 10 h 229"/>
                <a:gd name="T102" fmla="*/ 296 w 605"/>
                <a:gd name="T103" fmla="*/ 10 h 229"/>
                <a:gd name="T104" fmla="*/ 295 w 605"/>
                <a:gd name="T105" fmla="*/ 10 h 229"/>
                <a:gd name="T106" fmla="*/ 294 w 605"/>
                <a:gd name="T107" fmla="*/ 10 h 229"/>
                <a:gd name="T108" fmla="*/ 293 w 605"/>
                <a:gd name="T109" fmla="*/ 10 h 229"/>
                <a:gd name="T110" fmla="*/ 291 w 605"/>
                <a:gd name="T111" fmla="*/ 10 h 229"/>
                <a:gd name="T112" fmla="*/ 288 w 605"/>
                <a:gd name="T113" fmla="*/ 10 h 229"/>
                <a:gd name="T114" fmla="*/ 171 w 605"/>
                <a:gd name="T115" fmla="*/ 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5" h="229">
                  <a:moveTo>
                    <a:pt x="0" y="0"/>
                  </a:moveTo>
                  <a:cubicBezTo>
                    <a:pt x="57" y="220"/>
                    <a:pt x="57" y="220"/>
                    <a:pt x="57" y="220"/>
                  </a:cubicBezTo>
                  <a:cubicBezTo>
                    <a:pt x="93" y="223"/>
                    <a:pt x="131" y="225"/>
                    <a:pt x="171" y="226"/>
                  </a:cubicBezTo>
                  <a:cubicBezTo>
                    <a:pt x="205" y="228"/>
                    <a:pt x="240" y="228"/>
                    <a:pt x="275" y="229"/>
                  </a:cubicBezTo>
                  <a:cubicBezTo>
                    <a:pt x="275" y="229"/>
                    <a:pt x="275" y="229"/>
                    <a:pt x="275" y="229"/>
                  </a:cubicBezTo>
                  <a:cubicBezTo>
                    <a:pt x="276" y="229"/>
                    <a:pt x="278" y="229"/>
                    <a:pt x="279" y="229"/>
                  </a:cubicBezTo>
                  <a:cubicBezTo>
                    <a:pt x="279" y="229"/>
                    <a:pt x="279" y="229"/>
                    <a:pt x="279" y="229"/>
                  </a:cubicBezTo>
                  <a:cubicBezTo>
                    <a:pt x="279" y="229"/>
                    <a:pt x="279" y="229"/>
                    <a:pt x="279" y="229"/>
                  </a:cubicBezTo>
                  <a:cubicBezTo>
                    <a:pt x="279" y="229"/>
                    <a:pt x="279" y="229"/>
                    <a:pt x="279" y="229"/>
                  </a:cubicBezTo>
                  <a:cubicBezTo>
                    <a:pt x="279" y="229"/>
                    <a:pt x="279" y="229"/>
                    <a:pt x="280" y="229"/>
                  </a:cubicBezTo>
                  <a:cubicBezTo>
                    <a:pt x="280" y="229"/>
                    <a:pt x="280" y="229"/>
                    <a:pt x="280" y="229"/>
                  </a:cubicBezTo>
                  <a:cubicBezTo>
                    <a:pt x="280" y="229"/>
                    <a:pt x="280" y="229"/>
                    <a:pt x="280" y="229"/>
                  </a:cubicBezTo>
                  <a:cubicBezTo>
                    <a:pt x="280" y="229"/>
                    <a:pt x="280" y="229"/>
                    <a:pt x="280" y="229"/>
                  </a:cubicBezTo>
                  <a:cubicBezTo>
                    <a:pt x="280" y="229"/>
                    <a:pt x="280" y="229"/>
                    <a:pt x="281" y="229"/>
                  </a:cubicBezTo>
                  <a:cubicBezTo>
                    <a:pt x="281" y="229"/>
                    <a:pt x="281" y="229"/>
                    <a:pt x="281" y="229"/>
                  </a:cubicBezTo>
                  <a:cubicBezTo>
                    <a:pt x="282" y="229"/>
                    <a:pt x="282" y="229"/>
                    <a:pt x="283" y="229"/>
                  </a:cubicBezTo>
                  <a:cubicBezTo>
                    <a:pt x="283" y="229"/>
                    <a:pt x="283" y="229"/>
                    <a:pt x="283" y="229"/>
                  </a:cubicBezTo>
                  <a:cubicBezTo>
                    <a:pt x="284" y="229"/>
                    <a:pt x="284" y="229"/>
                    <a:pt x="284" y="229"/>
                  </a:cubicBezTo>
                  <a:cubicBezTo>
                    <a:pt x="284" y="229"/>
                    <a:pt x="284" y="229"/>
                    <a:pt x="284" y="229"/>
                  </a:cubicBezTo>
                  <a:cubicBezTo>
                    <a:pt x="285" y="229"/>
                    <a:pt x="286" y="229"/>
                    <a:pt x="287" y="229"/>
                  </a:cubicBezTo>
                  <a:cubicBezTo>
                    <a:pt x="287" y="229"/>
                    <a:pt x="287" y="229"/>
                    <a:pt x="287" y="229"/>
                  </a:cubicBezTo>
                  <a:cubicBezTo>
                    <a:pt x="287" y="229"/>
                    <a:pt x="287" y="229"/>
                    <a:pt x="287" y="229"/>
                  </a:cubicBezTo>
                  <a:cubicBezTo>
                    <a:pt x="287" y="229"/>
                    <a:pt x="287" y="229"/>
                    <a:pt x="287" y="229"/>
                  </a:cubicBezTo>
                  <a:cubicBezTo>
                    <a:pt x="288" y="229"/>
                    <a:pt x="288" y="229"/>
                    <a:pt x="288" y="229"/>
                  </a:cubicBezTo>
                  <a:cubicBezTo>
                    <a:pt x="288" y="229"/>
                    <a:pt x="288" y="229"/>
                    <a:pt x="288" y="229"/>
                  </a:cubicBezTo>
                  <a:cubicBezTo>
                    <a:pt x="288" y="229"/>
                    <a:pt x="288" y="229"/>
                    <a:pt x="288" y="229"/>
                  </a:cubicBezTo>
                  <a:cubicBezTo>
                    <a:pt x="288" y="229"/>
                    <a:pt x="288" y="229"/>
                    <a:pt x="288" y="229"/>
                  </a:cubicBezTo>
                  <a:cubicBezTo>
                    <a:pt x="288" y="229"/>
                    <a:pt x="289" y="229"/>
                    <a:pt x="289" y="229"/>
                  </a:cubicBezTo>
                  <a:cubicBezTo>
                    <a:pt x="289" y="229"/>
                    <a:pt x="289" y="229"/>
                    <a:pt x="289" y="229"/>
                  </a:cubicBezTo>
                  <a:cubicBezTo>
                    <a:pt x="289" y="229"/>
                    <a:pt x="289" y="229"/>
                    <a:pt x="289" y="229"/>
                  </a:cubicBezTo>
                  <a:cubicBezTo>
                    <a:pt x="289" y="229"/>
                    <a:pt x="289" y="229"/>
                    <a:pt x="289" y="229"/>
                  </a:cubicBezTo>
                  <a:cubicBezTo>
                    <a:pt x="289" y="229"/>
                    <a:pt x="290" y="229"/>
                    <a:pt x="290" y="229"/>
                  </a:cubicBezTo>
                  <a:cubicBezTo>
                    <a:pt x="290" y="229"/>
                    <a:pt x="290" y="229"/>
                    <a:pt x="290" y="229"/>
                  </a:cubicBezTo>
                  <a:cubicBezTo>
                    <a:pt x="290" y="229"/>
                    <a:pt x="290" y="229"/>
                    <a:pt x="290" y="229"/>
                  </a:cubicBezTo>
                  <a:cubicBezTo>
                    <a:pt x="290" y="229"/>
                    <a:pt x="291" y="229"/>
                    <a:pt x="291" y="229"/>
                  </a:cubicBezTo>
                  <a:cubicBezTo>
                    <a:pt x="291" y="229"/>
                    <a:pt x="291" y="229"/>
                    <a:pt x="291" y="229"/>
                  </a:cubicBezTo>
                  <a:cubicBezTo>
                    <a:pt x="291" y="229"/>
                    <a:pt x="291" y="229"/>
                    <a:pt x="291" y="229"/>
                  </a:cubicBezTo>
                  <a:cubicBezTo>
                    <a:pt x="291" y="229"/>
                    <a:pt x="291" y="229"/>
                    <a:pt x="291" y="229"/>
                  </a:cubicBezTo>
                  <a:cubicBezTo>
                    <a:pt x="291" y="229"/>
                    <a:pt x="291" y="229"/>
                    <a:pt x="292" y="229"/>
                  </a:cubicBezTo>
                  <a:cubicBezTo>
                    <a:pt x="292" y="229"/>
                    <a:pt x="292" y="229"/>
                    <a:pt x="292" y="229"/>
                  </a:cubicBezTo>
                  <a:cubicBezTo>
                    <a:pt x="292" y="229"/>
                    <a:pt x="292" y="229"/>
                    <a:pt x="292" y="229"/>
                  </a:cubicBezTo>
                  <a:cubicBezTo>
                    <a:pt x="292" y="229"/>
                    <a:pt x="292" y="229"/>
                    <a:pt x="292" y="229"/>
                  </a:cubicBezTo>
                  <a:cubicBezTo>
                    <a:pt x="292" y="229"/>
                    <a:pt x="292" y="229"/>
                    <a:pt x="293" y="229"/>
                  </a:cubicBezTo>
                  <a:cubicBezTo>
                    <a:pt x="293" y="229"/>
                    <a:pt x="293" y="229"/>
                    <a:pt x="293" y="229"/>
                  </a:cubicBezTo>
                  <a:cubicBezTo>
                    <a:pt x="293" y="229"/>
                    <a:pt x="293" y="229"/>
                    <a:pt x="293" y="229"/>
                  </a:cubicBezTo>
                  <a:cubicBezTo>
                    <a:pt x="293" y="229"/>
                    <a:pt x="293" y="229"/>
                    <a:pt x="293" y="229"/>
                  </a:cubicBezTo>
                  <a:cubicBezTo>
                    <a:pt x="293" y="229"/>
                    <a:pt x="294" y="229"/>
                    <a:pt x="294" y="229"/>
                  </a:cubicBezTo>
                  <a:cubicBezTo>
                    <a:pt x="294" y="229"/>
                    <a:pt x="294" y="229"/>
                    <a:pt x="294" y="229"/>
                  </a:cubicBezTo>
                  <a:cubicBezTo>
                    <a:pt x="294" y="229"/>
                    <a:pt x="294" y="229"/>
                    <a:pt x="294" y="229"/>
                  </a:cubicBezTo>
                  <a:cubicBezTo>
                    <a:pt x="294" y="229"/>
                    <a:pt x="294" y="229"/>
                    <a:pt x="294" y="229"/>
                  </a:cubicBezTo>
                  <a:cubicBezTo>
                    <a:pt x="294" y="229"/>
                    <a:pt x="295" y="229"/>
                    <a:pt x="295" y="229"/>
                  </a:cubicBezTo>
                  <a:cubicBezTo>
                    <a:pt x="295" y="229"/>
                    <a:pt x="295" y="229"/>
                    <a:pt x="295" y="229"/>
                  </a:cubicBezTo>
                  <a:cubicBezTo>
                    <a:pt x="295" y="229"/>
                    <a:pt x="295" y="229"/>
                    <a:pt x="295" y="229"/>
                  </a:cubicBezTo>
                  <a:cubicBezTo>
                    <a:pt x="295" y="229"/>
                    <a:pt x="295" y="229"/>
                    <a:pt x="295" y="229"/>
                  </a:cubicBezTo>
                  <a:cubicBezTo>
                    <a:pt x="295" y="229"/>
                    <a:pt x="296" y="229"/>
                    <a:pt x="296" y="229"/>
                  </a:cubicBezTo>
                  <a:cubicBezTo>
                    <a:pt x="296" y="229"/>
                    <a:pt x="296" y="229"/>
                    <a:pt x="296" y="229"/>
                  </a:cubicBezTo>
                  <a:cubicBezTo>
                    <a:pt x="296" y="229"/>
                    <a:pt x="296" y="229"/>
                    <a:pt x="296" y="229"/>
                  </a:cubicBezTo>
                  <a:cubicBezTo>
                    <a:pt x="296" y="229"/>
                    <a:pt x="296" y="229"/>
                    <a:pt x="296" y="229"/>
                  </a:cubicBezTo>
                  <a:cubicBezTo>
                    <a:pt x="296" y="229"/>
                    <a:pt x="297" y="229"/>
                    <a:pt x="297" y="229"/>
                  </a:cubicBezTo>
                  <a:cubicBezTo>
                    <a:pt x="297" y="229"/>
                    <a:pt x="297" y="229"/>
                    <a:pt x="297" y="229"/>
                  </a:cubicBezTo>
                  <a:cubicBezTo>
                    <a:pt x="297" y="229"/>
                    <a:pt x="297" y="229"/>
                    <a:pt x="297" y="229"/>
                  </a:cubicBezTo>
                  <a:cubicBezTo>
                    <a:pt x="297" y="229"/>
                    <a:pt x="297" y="229"/>
                    <a:pt x="297" y="229"/>
                  </a:cubicBezTo>
                  <a:cubicBezTo>
                    <a:pt x="298" y="229"/>
                    <a:pt x="298" y="229"/>
                    <a:pt x="298" y="229"/>
                  </a:cubicBezTo>
                  <a:cubicBezTo>
                    <a:pt x="298" y="229"/>
                    <a:pt x="298" y="229"/>
                    <a:pt x="298" y="229"/>
                  </a:cubicBezTo>
                  <a:cubicBezTo>
                    <a:pt x="299" y="229"/>
                    <a:pt x="299" y="229"/>
                    <a:pt x="299" y="229"/>
                  </a:cubicBezTo>
                  <a:cubicBezTo>
                    <a:pt x="299" y="229"/>
                    <a:pt x="299" y="229"/>
                    <a:pt x="299" y="229"/>
                  </a:cubicBezTo>
                  <a:cubicBezTo>
                    <a:pt x="299" y="229"/>
                    <a:pt x="299" y="229"/>
                    <a:pt x="299" y="229"/>
                  </a:cubicBezTo>
                  <a:cubicBezTo>
                    <a:pt x="299" y="229"/>
                    <a:pt x="299" y="229"/>
                    <a:pt x="299" y="229"/>
                  </a:cubicBezTo>
                  <a:cubicBezTo>
                    <a:pt x="300" y="229"/>
                    <a:pt x="300" y="229"/>
                    <a:pt x="300" y="229"/>
                  </a:cubicBezTo>
                  <a:cubicBezTo>
                    <a:pt x="300" y="229"/>
                    <a:pt x="300" y="229"/>
                    <a:pt x="300" y="229"/>
                  </a:cubicBezTo>
                  <a:cubicBezTo>
                    <a:pt x="300" y="229"/>
                    <a:pt x="300" y="229"/>
                    <a:pt x="300" y="229"/>
                  </a:cubicBezTo>
                  <a:cubicBezTo>
                    <a:pt x="300" y="229"/>
                    <a:pt x="300" y="229"/>
                    <a:pt x="301" y="229"/>
                  </a:cubicBezTo>
                  <a:cubicBezTo>
                    <a:pt x="301" y="229"/>
                    <a:pt x="301" y="229"/>
                    <a:pt x="301" y="229"/>
                  </a:cubicBezTo>
                  <a:cubicBezTo>
                    <a:pt x="301" y="229"/>
                    <a:pt x="301" y="229"/>
                    <a:pt x="301" y="229"/>
                  </a:cubicBezTo>
                  <a:cubicBezTo>
                    <a:pt x="301" y="229"/>
                    <a:pt x="301" y="229"/>
                    <a:pt x="301" y="229"/>
                  </a:cubicBezTo>
                  <a:cubicBezTo>
                    <a:pt x="301" y="229"/>
                    <a:pt x="301" y="229"/>
                    <a:pt x="301" y="229"/>
                  </a:cubicBezTo>
                  <a:cubicBezTo>
                    <a:pt x="302" y="229"/>
                    <a:pt x="302" y="229"/>
                    <a:pt x="302" y="229"/>
                  </a:cubicBezTo>
                  <a:cubicBezTo>
                    <a:pt x="302" y="229"/>
                    <a:pt x="302" y="229"/>
                    <a:pt x="302" y="229"/>
                  </a:cubicBezTo>
                  <a:cubicBezTo>
                    <a:pt x="302" y="229"/>
                    <a:pt x="302" y="229"/>
                    <a:pt x="302" y="229"/>
                  </a:cubicBezTo>
                  <a:cubicBezTo>
                    <a:pt x="303" y="229"/>
                    <a:pt x="303" y="229"/>
                    <a:pt x="303" y="229"/>
                  </a:cubicBezTo>
                  <a:cubicBezTo>
                    <a:pt x="303" y="229"/>
                    <a:pt x="303" y="229"/>
                    <a:pt x="303" y="229"/>
                  </a:cubicBezTo>
                  <a:cubicBezTo>
                    <a:pt x="303" y="229"/>
                    <a:pt x="303" y="229"/>
                    <a:pt x="303" y="229"/>
                  </a:cubicBezTo>
                  <a:cubicBezTo>
                    <a:pt x="303" y="229"/>
                    <a:pt x="304" y="229"/>
                    <a:pt x="304" y="229"/>
                  </a:cubicBezTo>
                  <a:cubicBezTo>
                    <a:pt x="304" y="229"/>
                    <a:pt x="304" y="229"/>
                    <a:pt x="304" y="229"/>
                  </a:cubicBezTo>
                  <a:cubicBezTo>
                    <a:pt x="304" y="229"/>
                    <a:pt x="304" y="229"/>
                    <a:pt x="304" y="229"/>
                  </a:cubicBezTo>
                  <a:cubicBezTo>
                    <a:pt x="304" y="229"/>
                    <a:pt x="304" y="229"/>
                    <a:pt x="304" y="229"/>
                  </a:cubicBezTo>
                  <a:cubicBezTo>
                    <a:pt x="304" y="229"/>
                    <a:pt x="305" y="229"/>
                    <a:pt x="305" y="229"/>
                  </a:cubicBezTo>
                  <a:cubicBezTo>
                    <a:pt x="305" y="229"/>
                    <a:pt x="305" y="229"/>
                    <a:pt x="305" y="229"/>
                  </a:cubicBezTo>
                  <a:cubicBezTo>
                    <a:pt x="305" y="229"/>
                    <a:pt x="305" y="229"/>
                    <a:pt x="305" y="229"/>
                  </a:cubicBezTo>
                  <a:cubicBezTo>
                    <a:pt x="305" y="229"/>
                    <a:pt x="305" y="229"/>
                    <a:pt x="305" y="229"/>
                  </a:cubicBezTo>
                  <a:cubicBezTo>
                    <a:pt x="306" y="229"/>
                    <a:pt x="306" y="229"/>
                    <a:pt x="306" y="229"/>
                  </a:cubicBezTo>
                  <a:cubicBezTo>
                    <a:pt x="306" y="229"/>
                    <a:pt x="306" y="229"/>
                    <a:pt x="307" y="229"/>
                  </a:cubicBezTo>
                  <a:cubicBezTo>
                    <a:pt x="307" y="229"/>
                    <a:pt x="307" y="229"/>
                    <a:pt x="307" y="229"/>
                  </a:cubicBezTo>
                  <a:cubicBezTo>
                    <a:pt x="307" y="229"/>
                    <a:pt x="307" y="229"/>
                    <a:pt x="308" y="229"/>
                  </a:cubicBezTo>
                  <a:cubicBezTo>
                    <a:pt x="308" y="229"/>
                    <a:pt x="308" y="229"/>
                    <a:pt x="308" y="229"/>
                  </a:cubicBezTo>
                  <a:cubicBezTo>
                    <a:pt x="308" y="229"/>
                    <a:pt x="308" y="229"/>
                    <a:pt x="309" y="229"/>
                  </a:cubicBezTo>
                  <a:cubicBezTo>
                    <a:pt x="309" y="229"/>
                    <a:pt x="309" y="229"/>
                    <a:pt x="309" y="229"/>
                  </a:cubicBezTo>
                  <a:cubicBezTo>
                    <a:pt x="394" y="229"/>
                    <a:pt x="475" y="226"/>
                    <a:pt x="548" y="220"/>
                  </a:cubicBezTo>
                  <a:cubicBezTo>
                    <a:pt x="605" y="0"/>
                    <a:pt x="605" y="0"/>
                    <a:pt x="605" y="0"/>
                  </a:cubicBezTo>
                  <a:cubicBezTo>
                    <a:pt x="551" y="4"/>
                    <a:pt x="494" y="6"/>
                    <a:pt x="433" y="8"/>
                  </a:cubicBezTo>
                  <a:cubicBezTo>
                    <a:pt x="396" y="9"/>
                    <a:pt x="357" y="10"/>
                    <a:pt x="318" y="10"/>
                  </a:cubicBezTo>
                  <a:cubicBezTo>
                    <a:pt x="318" y="10"/>
                    <a:pt x="318" y="10"/>
                    <a:pt x="318" y="10"/>
                  </a:cubicBezTo>
                  <a:cubicBezTo>
                    <a:pt x="317" y="10"/>
                    <a:pt x="316" y="10"/>
                    <a:pt x="315" y="10"/>
                  </a:cubicBezTo>
                  <a:cubicBezTo>
                    <a:pt x="315" y="10"/>
                    <a:pt x="315" y="10"/>
                    <a:pt x="315" y="10"/>
                  </a:cubicBezTo>
                  <a:cubicBezTo>
                    <a:pt x="315" y="10"/>
                    <a:pt x="315" y="10"/>
                    <a:pt x="314" y="10"/>
                  </a:cubicBezTo>
                  <a:cubicBezTo>
                    <a:pt x="314" y="10"/>
                    <a:pt x="314" y="10"/>
                    <a:pt x="314" y="10"/>
                  </a:cubicBezTo>
                  <a:cubicBezTo>
                    <a:pt x="314" y="10"/>
                    <a:pt x="314" y="10"/>
                    <a:pt x="314" y="10"/>
                  </a:cubicBezTo>
                  <a:cubicBezTo>
                    <a:pt x="314" y="10"/>
                    <a:pt x="314" y="10"/>
                    <a:pt x="314" y="10"/>
                  </a:cubicBezTo>
                  <a:cubicBezTo>
                    <a:pt x="313" y="10"/>
                    <a:pt x="313" y="10"/>
                    <a:pt x="313" y="10"/>
                  </a:cubicBezTo>
                  <a:cubicBezTo>
                    <a:pt x="313" y="10"/>
                    <a:pt x="312" y="10"/>
                    <a:pt x="312" y="10"/>
                  </a:cubicBezTo>
                  <a:cubicBezTo>
                    <a:pt x="312" y="10"/>
                    <a:pt x="312" y="10"/>
                    <a:pt x="312" y="10"/>
                  </a:cubicBezTo>
                  <a:cubicBezTo>
                    <a:pt x="312" y="10"/>
                    <a:pt x="312" y="10"/>
                    <a:pt x="312" y="10"/>
                  </a:cubicBezTo>
                  <a:cubicBezTo>
                    <a:pt x="312" y="10"/>
                    <a:pt x="312" y="10"/>
                    <a:pt x="311" y="10"/>
                  </a:cubicBezTo>
                  <a:cubicBezTo>
                    <a:pt x="311" y="10"/>
                    <a:pt x="311" y="10"/>
                    <a:pt x="311" y="10"/>
                  </a:cubicBezTo>
                  <a:cubicBezTo>
                    <a:pt x="311" y="10"/>
                    <a:pt x="311" y="10"/>
                    <a:pt x="311" y="10"/>
                  </a:cubicBezTo>
                  <a:cubicBezTo>
                    <a:pt x="311" y="10"/>
                    <a:pt x="311" y="10"/>
                    <a:pt x="311" y="10"/>
                  </a:cubicBezTo>
                  <a:cubicBezTo>
                    <a:pt x="310" y="10"/>
                    <a:pt x="310" y="10"/>
                    <a:pt x="310" y="10"/>
                  </a:cubicBezTo>
                  <a:cubicBezTo>
                    <a:pt x="310" y="10"/>
                    <a:pt x="310" y="10"/>
                    <a:pt x="310" y="10"/>
                  </a:cubicBezTo>
                  <a:cubicBezTo>
                    <a:pt x="310" y="10"/>
                    <a:pt x="309" y="10"/>
                    <a:pt x="309" y="10"/>
                  </a:cubicBezTo>
                  <a:cubicBezTo>
                    <a:pt x="309" y="10"/>
                    <a:pt x="309" y="10"/>
                    <a:pt x="309" y="10"/>
                  </a:cubicBezTo>
                  <a:cubicBezTo>
                    <a:pt x="308" y="10"/>
                    <a:pt x="308" y="10"/>
                    <a:pt x="308" y="10"/>
                  </a:cubicBezTo>
                  <a:cubicBezTo>
                    <a:pt x="308" y="10"/>
                    <a:pt x="308" y="10"/>
                    <a:pt x="308" y="10"/>
                  </a:cubicBezTo>
                  <a:cubicBezTo>
                    <a:pt x="308" y="10"/>
                    <a:pt x="308" y="10"/>
                    <a:pt x="308" y="10"/>
                  </a:cubicBezTo>
                  <a:cubicBezTo>
                    <a:pt x="308" y="10"/>
                    <a:pt x="307" y="10"/>
                    <a:pt x="307" y="10"/>
                  </a:cubicBezTo>
                  <a:cubicBezTo>
                    <a:pt x="307" y="10"/>
                    <a:pt x="307" y="10"/>
                    <a:pt x="307" y="10"/>
                  </a:cubicBezTo>
                  <a:cubicBezTo>
                    <a:pt x="307" y="10"/>
                    <a:pt x="307" y="10"/>
                    <a:pt x="307" y="10"/>
                  </a:cubicBezTo>
                  <a:cubicBezTo>
                    <a:pt x="307" y="10"/>
                    <a:pt x="306" y="10"/>
                    <a:pt x="306" y="10"/>
                  </a:cubicBezTo>
                  <a:cubicBezTo>
                    <a:pt x="306" y="10"/>
                    <a:pt x="306" y="10"/>
                    <a:pt x="306" y="10"/>
                  </a:cubicBezTo>
                  <a:cubicBezTo>
                    <a:pt x="306" y="10"/>
                    <a:pt x="306" y="10"/>
                    <a:pt x="306" y="10"/>
                  </a:cubicBezTo>
                  <a:cubicBezTo>
                    <a:pt x="306" y="10"/>
                    <a:pt x="306" y="10"/>
                    <a:pt x="306" y="10"/>
                  </a:cubicBezTo>
                  <a:cubicBezTo>
                    <a:pt x="305" y="10"/>
                    <a:pt x="305" y="10"/>
                    <a:pt x="305" y="10"/>
                  </a:cubicBezTo>
                  <a:cubicBezTo>
                    <a:pt x="305" y="10"/>
                    <a:pt x="305" y="10"/>
                    <a:pt x="305" y="10"/>
                  </a:cubicBezTo>
                  <a:cubicBezTo>
                    <a:pt x="305" y="10"/>
                    <a:pt x="305" y="10"/>
                    <a:pt x="304" y="10"/>
                  </a:cubicBezTo>
                  <a:cubicBezTo>
                    <a:pt x="304" y="10"/>
                    <a:pt x="304" y="10"/>
                    <a:pt x="304" y="10"/>
                  </a:cubicBezTo>
                  <a:cubicBezTo>
                    <a:pt x="304" y="10"/>
                    <a:pt x="304" y="10"/>
                    <a:pt x="304" y="10"/>
                  </a:cubicBezTo>
                  <a:cubicBezTo>
                    <a:pt x="304" y="10"/>
                    <a:pt x="304" y="10"/>
                    <a:pt x="304" y="10"/>
                  </a:cubicBezTo>
                  <a:cubicBezTo>
                    <a:pt x="303" y="10"/>
                    <a:pt x="303" y="10"/>
                    <a:pt x="303" y="10"/>
                  </a:cubicBezTo>
                  <a:cubicBezTo>
                    <a:pt x="303" y="10"/>
                    <a:pt x="303" y="10"/>
                    <a:pt x="303" y="10"/>
                  </a:cubicBezTo>
                  <a:cubicBezTo>
                    <a:pt x="303" y="10"/>
                    <a:pt x="303" y="10"/>
                    <a:pt x="302" y="10"/>
                  </a:cubicBezTo>
                  <a:cubicBezTo>
                    <a:pt x="302" y="10"/>
                    <a:pt x="302" y="10"/>
                    <a:pt x="302" y="10"/>
                  </a:cubicBezTo>
                  <a:cubicBezTo>
                    <a:pt x="302" y="10"/>
                    <a:pt x="302" y="10"/>
                    <a:pt x="302" y="10"/>
                  </a:cubicBezTo>
                  <a:cubicBezTo>
                    <a:pt x="302" y="10"/>
                    <a:pt x="301" y="10"/>
                    <a:pt x="301" y="10"/>
                  </a:cubicBezTo>
                  <a:cubicBezTo>
                    <a:pt x="301" y="10"/>
                    <a:pt x="301" y="10"/>
                    <a:pt x="301" y="10"/>
                  </a:cubicBezTo>
                  <a:cubicBezTo>
                    <a:pt x="301" y="10"/>
                    <a:pt x="301" y="10"/>
                    <a:pt x="301" y="10"/>
                  </a:cubicBezTo>
                  <a:cubicBezTo>
                    <a:pt x="301" y="10"/>
                    <a:pt x="301" y="10"/>
                    <a:pt x="300" y="10"/>
                  </a:cubicBezTo>
                  <a:cubicBezTo>
                    <a:pt x="300" y="10"/>
                    <a:pt x="300" y="10"/>
                    <a:pt x="300" y="10"/>
                  </a:cubicBezTo>
                  <a:cubicBezTo>
                    <a:pt x="300" y="10"/>
                    <a:pt x="300" y="10"/>
                    <a:pt x="300" y="10"/>
                  </a:cubicBezTo>
                  <a:cubicBezTo>
                    <a:pt x="299" y="10"/>
                    <a:pt x="299" y="10"/>
                    <a:pt x="299" y="10"/>
                  </a:cubicBezTo>
                  <a:cubicBezTo>
                    <a:pt x="299" y="10"/>
                    <a:pt x="299" y="10"/>
                    <a:pt x="299" y="10"/>
                  </a:cubicBezTo>
                  <a:cubicBezTo>
                    <a:pt x="298" y="10"/>
                    <a:pt x="298" y="10"/>
                    <a:pt x="298" y="10"/>
                  </a:cubicBezTo>
                  <a:cubicBezTo>
                    <a:pt x="298" y="10"/>
                    <a:pt x="298" y="10"/>
                    <a:pt x="298" y="10"/>
                  </a:cubicBezTo>
                  <a:cubicBezTo>
                    <a:pt x="298" y="10"/>
                    <a:pt x="298" y="10"/>
                    <a:pt x="297" y="10"/>
                  </a:cubicBezTo>
                  <a:cubicBezTo>
                    <a:pt x="297" y="10"/>
                    <a:pt x="297" y="10"/>
                    <a:pt x="297" y="10"/>
                  </a:cubicBezTo>
                  <a:cubicBezTo>
                    <a:pt x="297" y="10"/>
                    <a:pt x="297" y="10"/>
                    <a:pt x="297" y="10"/>
                  </a:cubicBezTo>
                  <a:cubicBezTo>
                    <a:pt x="297" y="10"/>
                    <a:pt x="297" y="10"/>
                    <a:pt x="297" y="10"/>
                  </a:cubicBezTo>
                  <a:cubicBezTo>
                    <a:pt x="296" y="10"/>
                    <a:pt x="296" y="10"/>
                    <a:pt x="296" y="10"/>
                  </a:cubicBezTo>
                  <a:cubicBezTo>
                    <a:pt x="296" y="10"/>
                    <a:pt x="296" y="10"/>
                    <a:pt x="296" y="10"/>
                  </a:cubicBezTo>
                  <a:cubicBezTo>
                    <a:pt x="296" y="10"/>
                    <a:pt x="295" y="10"/>
                    <a:pt x="295" y="10"/>
                  </a:cubicBezTo>
                  <a:cubicBezTo>
                    <a:pt x="295" y="10"/>
                    <a:pt x="295" y="10"/>
                    <a:pt x="295" y="10"/>
                  </a:cubicBezTo>
                  <a:cubicBezTo>
                    <a:pt x="295" y="10"/>
                    <a:pt x="294" y="10"/>
                    <a:pt x="294" y="10"/>
                  </a:cubicBezTo>
                  <a:cubicBezTo>
                    <a:pt x="294" y="10"/>
                    <a:pt x="294" y="10"/>
                    <a:pt x="294" y="10"/>
                  </a:cubicBezTo>
                  <a:cubicBezTo>
                    <a:pt x="294" y="10"/>
                    <a:pt x="294" y="10"/>
                    <a:pt x="294" y="10"/>
                  </a:cubicBezTo>
                  <a:cubicBezTo>
                    <a:pt x="294" y="10"/>
                    <a:pt x="294" y="10"/>
                    <a:pt x="294" y="10"/>
                  </a:cubicBezTo>
                  <a:cubicBezTo>
                    <a:pt x="293" y="10"/>
                    <a:pt x="293" y="10"/>
                    <a:pt x="293" y="10"/>
                  </a:cubicBezTo>
                  <a:cubicBezTo>
                    <a:pt x="293" y="10"/>
                    <a:pt x="293" y="10"/>
                    <a:pt x="293" y="10"/>
                  </a:cubicBezTo>
                  <a:cubicBezTo>
                    <a:pt x="293" y="10"/>
                    <a:pt x="293" y="10"/>
                    <a:pt x="292" y="10"/>
                  </a:cubicBezTo>
                  <a:cubicBezTo>
                    <a:pt x="292" y="10"/>
                    <a:pt x="292" y="10"/>
                    <a:pt x="292" y="10"/>
                  </a:cubicBezTo>
                  <a:cubicBezTo>
                    <a:pt x="292" y="10"/>
                    <a:pt x="291" y="10"/>
                    <a:pt x="291" y="10"/>
                  </a:cubicBezTo>
                  <a:cubicBezTo>
                    <a:pt x="291" y="10"/>
                    <a:pt x="291" y="10"/>
                    <a:pt x="291" y="10"/>
                  </a:cubicBezTo>
                  <a:cubicBezTo>
                    <a:pt x="290" y="10"/>
                    <a:pt x="289" y="10"/>
                    <a:pt x="288" y="10"/>
                  </a:cubicBezTo>
                  <a:cubicBezTo>
                    <a:pt x="288" y="10"/>
                    <a:pt x="288" y="10"/>
                    <a:pt x="288" y="10"/>
                  </a:cubicBezTo>
                  <a:cubicBezTo>
                    <a:pt x="288" y="10"/>
                    <a:pt x="287" y="10"/>
                    <a:pt x="287" y="10"/>
                  </a:cubicBezTo>
                  <a:cubicBezTo>
                    <a:pt x="287" y="10"/>
                    <a:pt x="287" y="10"/>
                    <a:pt x="287" y="10"/>
                  </a:cubicBezTo>
                  <a:cubicBezTo>
                    <a:pt x="248" y="10"/>
                    <a:pt x="209" y="9"/>
                    <a:pt x="171" y="8"/>
                  </a:cubicBezTo>
                  <a:cubicBezTo>
                    <a:pt x="111" y="6"/>
                    <a:pt x="54" y="4"/>
                    <a:pt x="0" y="0"/>
                  </a:cubicBezTo>
                </a:path>
              </a:pathLst>
            </a:custGeom>
            <a:solidFill>
              <a:schemeClr val="accent2">
                <a:lumMod val="60000"/>
                <a:lumOff val="40000"/>
                <a:alpha val="25000"/>
              </a:schemeClr>
            </a:solidFill>
            <a:ln>
              <a:noFill/>
            </a:ln>
          </p:spPr>
          <p:txBody>
            <a:bodyPr vert="horz" wrap="square" lIns="91416" tIns="45708" rIns="91416" bIns="45708" numCol="1" anchor="t" anchorCtr="0" compatLnSpc="1">
              <a:prstTxWarp prst="textNoShape">
                <a:avLst/>
              </a:prstTxWarp>
            </a:bodyPr>
            <a:lstStyle/>
            <a:p>
              <a:endParaRPr lang="en-US" sz="3599" dirty="0">
                <a:latin typeface="Muli ExtraLight" panose="02000303000000000000" pitchFamily="2" charset="77"/>
              </a:endParaRPr>
            </a:p>
          </p:txBody>
        </p:sp>
      </p:grpSp>
      <p:grpSp>
        <p:nvGrpSpPr>
          <p:cNvPr id="11" name="Group 10">
            <a:extLst>
              <a:ext uri="{FF2B5EF4-FFF2-40B4-BE49-F238E27FC236}">
                <a16:creationId xmlns:a16="http://schemas.microsoft.com/office/drawing/2014/main" id="{E7A57935-F5CD-D142-BB65-519C0407E303}"/>
              </a:ext>
            </a:extLst>
          </p:cNvPr>
          <p:cNvGrpSpPr/>
          <p:nvPr/>
        </p:nvGrpSpPr>
        <p:grpSpPr>
          <a:xfrm>
            <a:off x="3493547" y="4896574"/>
            <a:ext cx="2416535" cy="675283"/>
            <a:chOff x="3492869" y="4896955"/>
            <a:chExt cx="2417164" cy="675459"/>
          </a:xfrm>
        </p:grpSpPr>
        <p:sp>
          <p:nvSpPr>
            <p:cNvPr id="12" name="Freeform 204">
              <a:extLst>
                <a:ext uri="{FF2B5EF4-FFF2-40B4-BE49-F238E27FC236}">
                  <a16:creationId xmlns:a16="http://schemas.microsoft.com/office/drawing/2014/main" id="{F1DE057C-9487-864B-93D0-D0F49DB78958}"/>
                </a:ext>
              </a:extLst>
            </p:cNvPr>
            <p:cNvSpPr>
              <a:spLocks/>
            </p:cNvSpPr>
            <p:nvPr/>
          </p:nvSpPr>
          <p:spPr bwMode="auto">
            <a:xfrm>
              <a:off x="3492869" y="4896955"/>
              <a:ext cx="2417164" cy="675459"/>
            </a:xfrm>
            <a:custGeom>
              <a:avLst/>
              <a:gdLst>
                <a:gd name="T0" fmla="*/ 500 w 1001"/>
                <a:gd name="T1" fmla="*/ 65 h 280"/>
                <a:gd name="T2" fmla="*/ 0 w 1001"/>
                <a:gd name="T3" fmla="*/ 0 h 280"/>
                <a:gd name="T4" fmla="*/ 128 w 1001"/>
                <a:gd name="T5" fmla="*/ 219 h 280"/>
                <a:gd name="T6" fmla="*/ 500 w 1001"/>
                <a:gd name="T7" fmla="*/ 280 h 280"/>
                <a:gd name="T8" fmla="*/ 873 w 1001"/>
                <a:gd name="T9" fmla="*/ 219 h 280"/>
                <a:gd name="T10" fmla="*/ 1001 w 1001"/>
                <a:gd name="T11" fmla="*/ 0 h 280"/>
                <a:gd name="T12" fmla="*/ 500 w 1001"/>
                <a:gd name="T13" fmla="*/ 65 h 280"/>
              </a:gdLst>
              <a:ahLst/>
              <a:cxnLst>
                <a:cxn ang="0">
                  <a:pos x="T0" y="T1"/>
                </a:cxn>
                <a:cxn ang="0">
                  <a:pos x="T2" y="T3"/>
                </a:cxn>
                <a:cxn ang="0">
                  <a:pos x="T4" y="T5"/>
                </a:cxn>
                <a:cxn ang="0">
                  <a:pos x="T6" y="T7"/>
                </a:cxn>
                <a:cxn ang="0">
                  <a:pos x="T8" y="T9"/>
                </a:cxn>
                <a:cxn ang="0">
                  <a:pos x="T10" y="T11"/>
                </a:cxn>
                <a:cxn ang="0">
                  <a:pos x="T12" y="T13"/>
                </a:cxn>
              </a:cxnLst>
              <a:rect l="0" t="0" r="r" b="b"/>
              <a:pathLst>
                <a:path w="1001" h="280">
                  <a:moveTo>
                    <a:pt x="500" y="65"/>
                  </a:moveTo>
                  <a:cubicBezTo>
                    <a:pt x="245" y="65"/>
                    <a:pt x="34" y="37"/>
                    <a:pt x="0" y="0"/>
                  </a:cubicBezTo>
                  <a:cubicBezTo>
                    <a:pt x="128" y="219"/>
                    <a:pt x="128" y="219"/>
                    <a:pt x="128" y="219"/>
                  </a:cubicBezTo>
                  <a:cubicBezTo>
                    <a:pt x="141" y="253"/>
                    <a:pt x="303" y="280"/>
                    <a:pt x="500" y="280"/>
                  </a:cubicBezTo>
                  <a:cubicBezTo>
                    <a:pt x="698" y="280"/>
                    <a:pt x="860" y="253"/>
                    <a:pt x="873" y="219"/>
                  </a:cubicBezTo>
                  <a:cubicBezTo>
                    <a:pt x="1001" y="0"/>
                    <a:pt x="1001" y="0"/>
                    <a:pt x="1001" y="0"/>
                  </a:cubicBezTo>
                  <a:cubicBezTo>
                    <a:pt x="967" y="37"/>
                    <a:pt x="756" y="65"/>
                    <a:pt x="500" y="65"/>
                  </a:cubicBezTo>
                </a:path>
              </a:pathLst>
            </a:custGeom>
            <a:solidFill>
              <a:schemeClr val="accent3"/>
            </a:solidFill>
            <a:ln>
              <a:noFill/>
            </a:ln>
          </p:spPr>
          <p:txBody>
            <a:bodyPr vert="horz" wrap="square" lIns="91416" tIns="45708" rIns="91416" bIns="45708" numCol="1" anchor="t" anchorCtr="0" compatLnSpc="1">
              <a:prstTxWarp prst="textNoShape">
                <a:avLst/>
              </a:prstTxWarp>
            </a:bodyPr>
            <a:lstStyle/>
            <a:p>
              <a:endParaRPr lang="en-US" sz="3599" dirty="0">
                <a:latin typeface="Muli ExtraLight" panose="02000303000000000000" pitchFamily="2" charset="77"/>
              </a:endParaRPr>
            </a:p>
          </p:txBody>
        </p:sp>
        <p:sp>
          <p:nvSpPr>
            <p:cNvPr id="13" name="Freeform 218">
              <a:extLst>
                <a:ext uri="{FF2B5EF4-FFF2-40B4-BE49-F238E27FC236}">
                  <a16:creationId xmlns:a16="http://schemas.microsoft.com/office/drawing/2014/main" id="{FC3C7F5C-C932-AB4F-A337-B92F25688276}"/>
                </a:ext>
              </a:extLst>
            </p:cNvPr>
            <p:cNvSpPr>
              <a:spLocks/>
            </p:cNvSpPr>
            <p:nvPr/>
          </p:nvSpPr>
          <p:spPr bwMode="auto">
            <a:xfrm>
              <a:off x="4196962" y="5040133"/>
              <a:ext cx="1010661" cy="532281"/>
            </a:xfrm>
            <a:custGeom>
              <a:avLst/>
              <a:gdLst>
                <a:gd name="T0" fmla="*/ 55 w 419"/>
                <a:gd name="T1" fmla="*/ 215 h 221"/>
                <a:gd name="T2" fmla="*/ 207 w 419"/>
                <a:gd name="T3" fmla="*/ 221 h 221"/>
                <a:gd name="T4" fmla="*/ 208 w 419"/>
                <a:gd name="T5" fmla="*/ 221 h 221"/>
                <a:gd name="T6" fmla="*/ 208 w 419"/>
                <a:gd name="T7" fmla="*/ 221 h 221"/>
                <a:gd name="T8" fmla="*/ 209 w 419"/>
                <a:gd name="T9" fmla="*/ 221 h 221"/>
                <a:gd name="T10" fmla="*/ 209 w 419"/>
                <a:gd name="T11" fmla="*/ 221 h 221"/>
                <a:gd name="T12" fmla="*/ 211 w 419"/>
                <a:gd name="T13" fmla="*/ 221 h 221"/>
                <a:gd name="T14" fmla="*/ 211 w 419"/>
                <a:gd name="T15" fmla="*/ 221 h 221"/>
                <a:gd name="T16" fmla="*/ 363 w 419"/>
                <a:gd name="T17" fmla="*/ 215 h 221"/>
                <a:gd name="T18" fmla="*/ 340 w 419"/>
                <a:gd name="T19" fmla="*/ 4 h 221"/>
                <a:gd name="T20" fmla="*/ 219 w 419"/>
                <a:gd name="T21" fmla="*/ 6 h 221"/>
                <a:gd name="T22" fmla="*/ 218 w 419"/>
                <a:gd name="T23" fmla="*/ 6 h 221"/>
                <a:gd name="T24" fmla="*/ 217 w 419"/>
                <a:gd name="T25" fmla="*/ 6 h 221"/>
                <a:gd name="T26" fmla="*/ 216 w 419"/>
                <a:gd name="T27" fmla="*/ 6 h 221"/>
                <a:gd name="T28" fmla="*/ 216 w 419"/>
                <a:gd name="T29" fmla="*/ 6 h 221"/>
                <a:gd name="T30" fmla="*/ 215 w 419"/>
                <a:gd name="T31" fmla="*/ 6 h 221"/>
                <a:gd name="T32" fmla="*/ 214 w 419"/>
                <a:gd name="T33" fmla="*/ 6 h 221"/>
                <a:gd name="T34" fmla="*/ 213 w 419"/>
                <a:gd name="T35" fmla="*/ 6 h 221"/>
                <a:gd name="T36" fmla="*/ 212 w 419"/>
                <a:gd name="T37" fmla="*/ 6 h 221"/>
                <a:gd name="T38" fmla="*/ 211 w 419"/>
                <a:gd name="T39" fmla="*/ 6 h 221"/>
                <a:gd name="T40" fmla="*/ 209 w 419"/>
                <a:gd name="T41" fmla="*/ 6 h 221"/>
                <a:gd name="T42" fmla="*/ 209 w 419"/>
                <a:gd name="T43" fmla="*/ 6 h 221"/>
                <a:gd name="T44" fmla="*/ 208 w 419"/>
                <a:gd name="T45" fmla="*/ 6 h 221"/>
                <a:gd name="T46" fmla="*/ 207 w 419"/>
                <a:gd name="T47" fmla="*/ 6 h 221"/>
                <a:gd name="T48" fmla="*/ 206 w 419"/>
                <a:gd name="T49" fmla="*/ 6 h 221"/>
                <a:gd name="T50" fmla="*/ 205 w 419"/>
                <a:gd name="T51" fmla="*/ 6 h 221"/>
                <a:gd name="T52" fmla="*/ 204 w 419"/>
                <a:gd name="T53" fmla="*/ 6 h 221"/>
                <a:gd name="T54" fmla="*/ 203 w 419"/>
                <a:gd name="T55" fmla="*/ 6 h 221"/>
                <a:gd name="T56" fmla="*/ 203 w 419"/>
                <a:gd name="T57" fmla="*/ 6 h 221"/>
                <a:gd name="T58" fmla="*/ 202 w 419"/>
                <a:gd name="T59" fmla="*/ 6 h 221"/>
                <a:gd name="T60" fmla="*/ 201 w 419"/>
                <a:gd name="T61" fmla="*/ 6 h 221"/>
                <a:gd name="T62" fmla="*/ 200 w 419"/>
                <a:gd name="T63" fmla="*/ 6 h 221"/>
                <a:gd name="T64" fmla="*/ 78 w 419"/>
                <a:gd name="T65" fmla="*/ 4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9" h="221">
                  <a:moveTo>
                    <a:pt x="0" y="0"/>
                  </a:moveTo>
                  <a:cubicBezTo>
                    <a:pt x="55" y="215"/>
                    <a:pt x="55" y="215"/>
                    <a:pt x="55" y="215"/>
                  </a:cubicBezTo>
                  <a:cubicBezTo>
                    <a:pt x="102" y="219"/>
                    <a:pt x="153" y="221"/>
                    <a:pt x="207" y="221"/>
                  </a:cubicBezTo>
                  <a:cubicBezTo>
                    <a:pt x="207" y="221"/>
                    <a:pt x="207" y="221"/>
                    <a:pt x="207" y="221"/>
                  </a:cubicBezTo>
                  <a:cubicBezTo>
                    <a:pt x="207" y="221"/>
                    <a:pt x="207" y="221"/>
                    <a:pt x="208" y="221"/>
                  </a:cubicBezTo>
                  <a:cubicBezTo>
                    <a:pt x="208" y="221"/>
                    <a:pt x="208" y="221"/>
                    <a:pt x="208" y="221"/>
                  </a:cubicBezTo>
                  <a:cubicBezTo>
                    <a:pt x="208" y="221"/>
                    <a:pt x="208" y="221"/>
                    <a:pt x="208" y="221"/>
                  </a:cubicBezTo>
                  <a:cubicBezTo>
                    <a:pt x="208" y="221"/>
                    <a:pt x="208" y="221"/>
                    <a:pt x="208" y="221"/>
                  </a:cubicBezTo>
                  <a:cubicBezTo>
                    <a:pt x="208" y="221"/>
                    <a:pt x="208" y="221"/>
                    <a:pt x="208" y="221"/>
                  </a:cubicBezTo>
                  <a:cubicBezTo>
                    <a:pt x="209" y="221"/>
                    <a:pt x="209" y="221"/>
                    <a:pt x="209" y="221"/>
                  </a:cubicBezTo>
                  <a:cubicBezTo>
                    <a:pt x="209" y="221"/>
                    <a:pt x="209" y="221"/>
                    <a:pt x="209" y="221"/>
                  </a:cubicBezTo>
                  <a:cubicBezTo>
                    <a:pt x="209" y="221"/>
                    <a:pt x="209" y="221"/>
                    <a:pt x="209" y="221"/>
                  </a:cubicBezTo>
                  <a:cubicBezTo>
                    <a:pt x="210" y="221"/>
                    <a:pt x="210" y="221"/>
                    <a:pt x="211" y="221"/>
                  </a:cubicBezTo>
                  <a:cubicBezTo>
                    <a:pt x="211" y="221"/>
                    <a:pt x="211" y="221"/>
                    <a:pt x="211" y="221"/>
                  </a:cubicBezTo>
                  <a:cubicBezTo>
                    <a:pt x="211" y="221"/>
                    <a:pt x="211" y="221"/>
                    <a:pt x="211" y="221"/>
                  </a:cubicBezTo>
                  <a:cubicBezTo>
                    <a:pt x="211" y="221"/>
                    <a:pt x="211" y="221"/>
                    <a:pt x="211" y="221"/>
                  </a:cubicBezTo>
                  <a:cubicBezTo>
                    <a:pt x="211" y="221"/>
                    <a:pt x="211" y="221"/>
                    <a:pt x="211" y="221"/>
                  </a:cubicBezTo>
                  <a:cubicBezTo>
                    <a:pt x="266" y="221"/>
                    <a:pt x="317" y="219"/>
                    <a:pt x="363" y="215"/>
                  </a:cubicBezTo>
                  <a:cubicBezTo>
                    <a:pt x="419" y="0"/>
                    <a:pt x="419" y="0"/>
                    <a:pt x="419" y="0"/>
                  </a:cubicBezTo>
                  <a:cubicBezTo>
                    <a:pt x="394" y="1"/>
                    <a:pt x="368" y="3"/>
                    <a:pt x="340" y="4"/>
                  </a:cubicBezTo>
                  <a:cubicBezTo>
                    <a:pt x="302" y="5"/>
                    <a:pt x="261" y="6"/>
                    <a:pt x="219" y="6"/>
                  </a:cubicBezTo>
                  <a:cubicBezTo>
                    <a:pt x="219" y="6"/>
                    <a:pt x="219" y="6"/>
                    <a:pt x="219" y="6"/>
                  </a:cubicBezTo>
                  <a:cubicBezTo>
                    <a:pt x="219" y="6"/>
                    <a:pt x="219" y="6"/>
                    <a:pt x="218" y="6"/>
                  </a:cubicBezTo>
                  <a:cubicBezTo>
                    <a:pt x="218" y="6"/>
                    <a:pt x="218" y="6"/>
                    <a:pt x="218" y="6"/>
                  </a:cubicBezTo>
                  <a:cubicBezTo>
                    <a:pt x="218" y="6"/>
                    <a:pt x="218" y="6"/>
                    <a:pt x="217" y="6"/>
                  </a:cubicBezTo>
                  <a:cubicBezTo>
                    <a:pt x="217" y="6"/>
                    <a:pt x="217" y="6"/>
                    <a:pt x="217" y="6"/>
                  </a:cubicBezTo>
                  <a:cubicBezTo>
                    <a:pt x="217" y="6"/>
                    <a:pt x="217" y="6"/>
                    <a:pt x="217" y="6"/>
                  </a:cubicBezTo>
                  <a:cubicBezTo>
                    <a:pt x="216" y="6"/>
                    <a:pt x="216" y="6"/>
                    <a:pt x="216" y="6"/>
                  </a:cubicBezTo>
                  <a:cubicBezTo>
                    <a:pt x="216" y="6"/>
                    <a:pt x="216" y="6"/>
                    <a:pt x="216" y="6"/>
                  </a:cubicBezTo>
                  <a:cubicBezTo>
                    <a:pt x="216" y="6"/>
                    <a:pt x="216" y="6"/>
                    <a:pt x="216" y="6"/>
                  </a:cubicBezTo>
                  <a:cubicBezTo>
                    <a:pt x="215" y="6"/>
                    <a:pt x="215" y="6"/>
                    <a:pt x="215" y="6"/>
                  </a:cubicBezTo>
                  <a:cubicBezTo>
                    <a:pt x="215" y="6"/>
                    <a:pt x="215" y="6"/>
                    <a:pt x="215" y="6"/>
                  </a:cubicBezTo>
                  <a:cubicBezTo>
                    <a:pt x="214" y="6"/>
                    <a:pt x="214" y="6"/>
                    <a:pt x="214" y="6"/>
                  </a:cubicBezTo>
                  <a:cubicBezTo>
                    <a:pt x="214" y="6"/>
                    <a:pt x="214" y="6"/>
                    <a:pt x="214" y="6"/>
                  </a:cubicBezTo>
                  <a:cubicBezTo>
                    <a:pt x="214" y="6"/>
                    <a:pt x="213" y="6"/>
                    <a:pt x="213" y="6"/>
                  </a:cubicBezTo>
                  <a:cubicBezTo>
                    <a:pt x="213" y="6"/>
                    <a:pt x="213" y="6"/>
                    <a:pt x="213" y="6"/>
                  </a:cubicBezTo>
                  <a:cubicBezTo>
                    <a:pt x="213" y="6"/>
                    <a:pt x="212" y="6"/>
                    <a:pt x="212" y="6"/>
                  </a:cubicBezTo>
                  <a:cubicBezTo>
                    <a:pt x="212" y="6"/>
                    <a:pt x="212" y="6"/>
                    <a:pt x="212" y="6"/>
                  </a:cubicBezTo>
                  <a:cubicBezTo>
                    <a:pt x="212" y="6"/>
                    <a:pt x="212" y="6"/>
                    <a:pt x="211" y="6"/>
                  </a:cubicBezTo>
                  <a:cubicBezTo>
                    <a:pt x="211" y="6"/>
                    <a:pt x="211" y="6"/>
                    <a:pt x="211" y="6"/>
                  </a:cubicBezTo>
                  <a:cubicBezTo>
                    <a:pt x="211" y="6"/>
                    <a:pt x="211" y="6"/>
                    <a:pt x="211" y="6"/>
                  </a:cubicBezTo>
                  <a:cubicBezTo>
                    <a:pt x="210" y="6"/>
                    <a:pt x="210" y="6"/>
                    <a:pt x="209" y="6"/>
                  </a:cubicBezTo>
                  <a:cubicBezTo>
                    <a:pt x="209" y="6"/>
                    <a:pt x="209" y="6"/>
                    <a:pt x="209" y="6"/>
                  </a:cubicBezTo>
                  <a:cubicBezTo>
                    <a:pt x="209" y="6"/>
                    <a:pt x="209" y="6"/>
                    <a:pt x="209" y="6"/>
                  </a:cubicBezTo>
                  <a:cubicBezTo>
                    <a:pt x="209" y="6"/>
                    <a:pt x="209" y="6"/>
                    <a:pt x="208" y="6"/>
                  </a:cubicBezTo>
                  <a:cubicBezTo>
                    <a:pt x="208" y="6"/>
                    <a:pt x="208" y="6"/>
                    <a:pt x="208" y="6"/>
                  </a:cubicBezTo>
                  <a:cubicBezTo>
                    <a:pt x="208" y="6"/>
                    <a:pt x="208" y="6"/>
                    <a:pt x="208" y="6"/>
                  </a:cubicBezTo>
                  <a:cubicBezTo>
                    <a:pt x="207" y="6"/>
                    <a:pt x="207" y="6"/>
                    <a:pt x="207" y="6"/>
                  </a:cubicBezTo>
                  <a:cubicBezTo>
                    <a:pt x="207" y="6"/>
                    <a:pt x="207" y="6"/>
                    <a:pt x="207" y="6"/>
                  </a:cubicBezTo>
                  <a:cubicBezTo>
                    <a:pt x="207" y="6"/>
                    <a:pt x="206" y="6"/>
                    <a:pt x="206" y="6"/>
                  </a:cubicBezTo>
                  <a:cubicBezTo>
                    <a:pt x="206" y="6"/>
                    <a:pt x="206" y="6"/>
                    <a:pt x="206" y="6"/>
                  </a:cubicBezTo>
                  <a:cubicBezTo>
                    <a:pt x="206" y="6"/>
                    <a:pt x="205" y="6"/>
                    <a:pt x="205" y="6"/>
                  </a:cubicBezTo>
                  <a:cubicBezTo>
                    <a:pt x="205" y="6"/>
                    <a:pt x="205" y="6"/>
                    <a:pt x="205" y="6"/>
                  </a:cubicBezTo>
                  <a:cubicBezTo>
                    <a:pt x="205" y="6"/>
                    <a:pt x="205" y="6"/>
                    <a:pt x="204" y="6"/>
                  </a:cubicBezTo>
                  <a:cubicBezTo>
                    <a:pt x="204" y="6"/>
                    <a:pt x="204" y="6"/>
                    <a:pt x="204" y="6"/>
                  </a:cubicBezTo>
                  <a:cubicBezTo>
                    <a:pt x="204" y="6"/>
                    <a:pt x="204" y="6"/>
                    <a:pt x="203" y="6"/>
                  </a:cubicBezTo>
                  <a:cubicBezTo>
                    <a:pt x="203" y="6"/>
                    <a:pt x="203" y="6"/>
                    <a:pt x="203" y="6"/>
                  </a:cubicBezTo>
                  <a:cubicBezTo>
                    <a:pt x="203" y="6"/>
                    <a:pt x="203" y="6"/>
                    <a:pt x="203" y="6"/>
                  </a:cubicBezTo>
                  <a:cubicBezTo>
                    <a:pt x="202" y="6"/>
                    <a:pt x="202" y="6"/>
                    <a:pt x="202" y="6"/>
                  </a:cubicBezTo>
                  <a:cubicBezTo>
                    <a:pt x="202" y="6"/>
                    <a:pt x="202" y="6"/>
                    <a:pt x="202" y="6"/>
                  </a:cubicBezTo>
                  <a:cubicBezTo>
                    <a:pt x="202" y="6"/>
                    <a:pt x="202" y="6"/>
                    <a:pt x="202" y="6"/>
                  </a:cubicBezTo>
                  <a:cubicBezTo>
                    <a:pt x="201" y="6"/>
                    <a:pt x="201" y="6"/>
                    <a:pt x="201" y="6"/>
                  </a:cubicBezTo>
                  <a:cubicBezTo>
                    <a:pt x="201" y="6"/>
                    <a:pt x="201" y="6"/>
                    <a:pt x="201" y="6"/>
                  </a:cubicBezTo>
                  <a:cubicBezTo>
                    <a:pt x="200" y="6"/>
                    <a:pt x="200" y="6"/>
                    <a:pt x="200" y="6"/>
                  </a:cubicBezTo>
                  <a:cubicBezTo>
                    <a:pt x="200" y="6"/>
                    <a:pt x="200" y="6"/>
                    <a:pt x="200" y="6"/>
                  </a:cubicBezTo>
                  <a:cubicBezTo>
                    <a:pt x="158" y="6"/>
                    <a:pt x="117" y="5"/>
                    <a:pt x="78" y="4"/>
                  </a:cubicBezTo>
                  <a:cubicBezTo>
                    <a:pt x="51" y="3"/>
                    <a:pt x="25" y="1"/>
                    <a:pt x="0" y="0"/>
                  </a:cubicBezTo>
                </a:path>
              </a:pathLst>
            </a:custGeom>
            <a:solidFill>
              <a:schemeClr val="accent3">
                <a:lumMod val="60000"/>
                <a:lumOff val="40000"/>
                <a:alpha val="25000"/>
              </a:schemeClr>
            </a:solidFill>
            <a:ln w="9525">
              <a:noFill/>
              <a:round/>
              <a:headEnd/>
              <a:tailEnd/>
            </a:ln>
          </p:spPr>
          <p:txBody>
            <a:bodyPr vert="horz" wrap="square" lIns="91416" tIns="45708" rIns="91416" bIns="45708" numCol="1" anchor="t" anchorCtr="0" compatLnSpc="1">
              <a:prstTxWarp prst="textNoShape">
                <a:avLst/>
              </a:prstTxWarp>
            </a:bodyPr>
            <a:lstStyle/>
            <a:p>
              <a:endParaRPr lang="en-US" sz="3599" dirty="0">
                <a:latin typeface="Muli ExtraLight" panose="02000303000000000000" pitchFamily="2" charset="77"/>
              </a:endParaRPr>
            </a:p>
          </p:txBody>
        </p:sp>
      </p:grpSp>
      <p:grpSp>
        <p:nvGrpSpPr>
          <p:cNvPr id="14" name="Group 13">
            <a:extLst>
              <a:ext uri="{FF2B5EF4-FFF2-40B4-BE49-F238E27FC236}">
                <a16:creationId xmlns:a16="http://schemas.microsoft.com/office/drawing/2014/main" id="{7519443C-1CAA-5A4F-8B8A-D499AA1C5419}"/>
              </a:ext>
            </a:extLst>
          </p:cNvPr>
          <p:cNvGrpSpPr/>
          <p:nvPr/>
        </p:nvGrpSpPr>
        <p:grpSpPr>
          <a:xfrm>
            <a:off x="4020637" y="5809299"/>
            <a:ext cx="1364037" cy="594451"/>
            <a:chOff x="4020096" y="5809919"/>
            <a:chExt cx="1364392" cy="594606"/>
          </a:xfrm>
        </p:grpSpPr>
        <p:sp>
          <p:nvSpPr>
            <p:cNvPr id="15" name="Freeform 205">
              <a:extLst>
                <a:ext uri="{FF2B5EF4-FFF2-40B4-BE49-F238E27FC236}">
                  <a16:creationId xmlns:a16="http://schemas.microsoft.com/office/drawing/2014/main" id="{6B2F9C57-40C8-CF41-B7A8-01A752D5C951}"/>
                </a:ext>
              </a:extLst>
            </p:cNvPr>
            <p:cNvSpPr>
              <a:spLocks/>
            </p:cNvSpPr>
            <p:nvPr/>
          </p:nvSpPr>
          <p:spPr bwMode="auto">
            <a:xfrm>
              <a:off x="4020096" y="5809919"/>
              <a:ext cx="1364392" cy="594606"/>
            </a:xfrm>
            <a:custGeom>
              <a:avLst/>
              <a:gdLst>
                <a:gd name="T0" fmla="*/ 283 w 565"/>
                <a:gd name="T1" fmla="*/ 37 h 246"/>
                <a:gd name="T2" fmla="*/ 0 w 565"/>
                <a:gd name="T3" fmla="*/ 0 h 246"/>
                <a:gd name="T4" fmla="*/ 120 w 565"/>
                <a:gd name="T5" fmla="*/ 212 h 246"/>
                <a:gd name="T6" fmla="*/ 283 w 565"/>
                <a:gd name="T7" fmla="*/ 246 h 246"/>
                <a:gd name="T8" fmla="*/ 445 w 565"/>
                <a:gd name="T9" fmla="*/ 212 h 246"/>
                <a:gd name="T10" fmla="*/ 565 w 565"/>
                <a:gd name="T11" fmla="*/ 0 h 246"/>
                <a:gd name="T12" fmla="*/ 283 w 565"/>
                <a:gd name="T13" fmla="*/ 37 h 246"/>
              </a:gdLst>
              <a:ahLst/>
              <a:cxnLst>
                <a:cxn ang="0">
                  <a:pos x="T0" y="T1"/>
                </a:cxn>
                <a:cxn ang="0">
                  <a:pos x="T2" y="T3"/>
                </a:cxn>
                <a:cxn ang="0">
                  <a:pos x="T4" y="T5"/>
                </a:cxn>
                <a:cxn ang="0">
                  <a:pos x="T6" y="T7"/>
                </a:cxn>
                <a:cxn ang="0">
                  <a:pos x="T8" y="T9"/>
                </a:cxn>
                <a:cxn ang="0">
                  <a:pos x="T10" y="T11"/>
                </a:cxn>
                <a:cxn ang="0">
                  <a:pos x="T12" y="T13"/>
                </a:cxn>
              </a:cxnLst>
              <a:rect l="0" t="0" r="r" b="b"/>
              <a:pathLst>
                <a:path w="565" h="246">
                  <a:moveTo>
                    <a:pt x="283" y="37"/>
                  </a:moveTo>
                  <a:cubicBezTo>
                    <a:pt x="139" y="37"/>
                    <a:pt x="19" y="21"/>
                    <a:pt x="0" y="0"/>
                  </a:cubicBezTo>
                  <a:cubicBezTo>
                    <a:pt x="120" y="212"/>
                    <a:pt x="120" y="212"/>
                    <a:pt x="120" y="212"/>
                  </a:cubicBezTo>
                  <a:cubicBezTo>
                    <a:pt x="126" y="231"/>
                    <a:pt x="196" y="246"/>
                    <a:pt x="283" y="246"/>
                  </a:cubicBezTo>
                  <a:cubicBezTo>
                    <a:pt x="369" y="246"/>
                    <a:pt x="439" y="231"/>
                    <a:pt x="445" y="212"/>
                  </a:cubicBezTo>
                  <a:cubicBezTo>
                    <a:pt x="565" y="0"/>
                    <a:pt x="565" y="0"/>
                    <a:pt x="565" y="0"/>
                  </a:cubicBezTo>
                  <a:cubicBezTo>
                    <a:pt x="546" y="21"/>
                    <a:pt x="427" y="37"/>
                    <a:pt x="283" y="37"/>
                  </a:cubicBezTo>
                </a:path>
              </a:pathLst>
            </a:custGeom>
            <a:solidFill>
              <a:schemeClr val="accent4"/>
            </a:solidFill>
            <a:ln>
              <a:noFill/>
            </a:ln>
          </p:spPr>
          <p:txBody>
            <a:bodyPr vert="horz" wrap="square" lIns="91416" tIns="45708" rIns="91416" bIns="45708" numCol="1" anchor="t" anchorCtr="0" compatLnSpc="1">
              <a:prstTxWarp prst="textNoShape">
                <a:avLst/>
              </a:prstTxWarp>
            </a:bodyPr>
            <a:lstStyle/>
            <a:p>
              <a:endParaRPr lang="en-US" sz="3599" dirty="0">
                <a:latin typeface="Muli ExtraLight" panose="02000303000000000000" pitchFamily="2" charset="77"/>
              </a:endParaRPr>
            </a:p>
          </p:txBody>
        </p:sp>
        <p:sp>
          <p:nvSpPr>
            <p:cNvPr id="16" name="Freeform 220">
              <a:extLst>
                <a:ext uri="{FF2B5EF4-FFF2-40B4-BE49-F238E27FC236}">
                  <a16:creationId xmlns:a16="http://schemas.microsoft.com/office/drawing/2014/main" id="{CC57257F-4F65-CC44-858F-A15E54EB09F7}"/>
                </a:ext>
              </a:extLst>
            </p:cNvPr>
            <p:cNvSpPr>
              <a:spLocks/>
            </p:cNvSpPr>
            <p:nvPr/>
          </p:nvSpPr>
          <p:spPr bwMode="auto">
            <a:xfrm>
              <a:off x="4409201" y="5889087"/>
              <a:ext cx="586183" cy="515437"/>
            </a:xfrm>
            <a:custGeom>
              <a:avLst/>
              <a:gdLst>
                <a:gd name="T0" fmla="*/ 0 w 243"/>
                <a:gd name="T1" fmla="*/ 0 h 213"/>
                <a:gd name="T2" fmla="*/ 54 w 243"/>
                <a:gd name="T3" fmla="*/ 210 h 213"/>
                <a:gd name="T4" fmla="*/ 120 w 243"/>
                <a:gd name="T5" fmla="*/ 213 h 213"/>
                <a:gd name="T6" fmla="*/ 120 w 243"/>
                <a:gd name="T7" fmla="*/ 213 h 213"/>
                <a:gd name="T8" fmla="*/ 120 w 243"/>
                <a:gd name="T9" fmla="*/ 213 h 213"/>
                <a:gd name="T10" fmla="*/ 120 w 243"/>
                <a:gd name="T11" fmla="*/ 213 h 213"/>
                <a:gd name="T12" fmla="*/ 120 w 243"/>
                <a:gd name="T13" fmla="*/ 213 h 213"/>
                <a:gd name="T14" fmla="*/ 120 w 243"/>
                <a:gd name="T15" fmla="*/ 213 h 213"/>
                <a:gd name="T16" fmla="*/ 121 w 243"/>
                <a:gd name="T17" fmla="*/ 213 h 213"/>
                <a:gd name="T18" fmla="*/ 121 w 243"/>
                <a:gd name="T19" fmla="*/ 213 h 213"/>
                <a:gd name="T20" fmla="*/ 121 w 243"/>
                <a:gd name="T21" fmla="*/ 213 h 213"/>
                <a:gd name="T22" fmla="*/ 121 w 243"/>
                <a:gd name="T23" fmla="*/ 213 h 213"/>
                <a:gd name="T24" fmla="*/ 121 w 243"/>
                <a:gd name="T25" fmla="*/ 213 h 213"/>
                <a:gd name="T26" fmla="*/ 121 w 243"/>
                <a:gd name="T27" fmla="*/ 213 h 213"/>
                <a:gd name="T28" fmla="*/ 122 w 243"/>
                <a:gd name="T29" fmla="*/ 213 h 213"/>
                <a:gd name="T30" fmla="*/ 122 w 243"/>
                <a:gd name="T31" fmla="*/ 213 h 213"/>
                <a:gd name="T32" fmla="*/ 122 w 243"/>
                <a:gd name="T33" fmla="*/ 213 h 213"/>
                <a:gd name="T34" fmla="*/ 122 w 243"/>
                <a:gd name="T35" fmla="*/ 213 h 213"/>
                <a:gd name="T36" fmla="*/ 122 w 243"/>
                <a:gd name="T37" fmla="*/ 213 h 213"/>
                <a:gd name="T38" fmla="*/ 122 w 243"/>
                <a:gd name="T39" fmla="*/ 213 h 213"/>
                <a:gd name="T40" fmla="*/ 122 w 243"/>
                <a:gd name="T41" fmla="*/ 213 h 213"/>
                <a:gd name="T42" fmla="*/ 123 w 243"/>
                <a:gd name="T43" fmla="*/ 213 h 213"/>
                <a:gd name="T44" fmla="*/ 123 w 243"/>
                <a:gd name="T45" fmla="*/ 213 h 213"/>
                <a:gd name="T46" fmla="*/ 123 w 243"/>
                <a:gd name="T47" fmla="*/ 213 h 213"/>
                <a:gd name="T48" fmla="*/ 123 w 243"/>
                <a:gd name="T49" fmla="*/ 213 h 213"/>
                <a:gd name="T50" fmla="*/ 123 w 243"/>
                <a:gd name="T51" fmla="*/ 213 h 213"/>
                <a:gd name="T52" fmla="*/ 123 w 243"/>
                <a:gd name="T53" fmla="*/ 213 h 213"/>
                <a:gd name="T54" fmla="*/ 123 w 243"/>
                <a:gd name="T55" fmla="*/ 213 h 213"/>
                <a:gd name="T56" fmla="*/ 124 w 243"/>
                <a:gd name="T57" fmla="*/ 213 h 213"/>
                <a:gd name="T58" fmla="*/ 124 w 243"/>
                <a:gd name="T59" fmla="*/ 213 h 213"/>
                <a:gd name="T60" fmla="*/ 124 w 243"/>
                <a:gd name="T61" fmla="*/ 213 h 213"/>
                <a:gd name="T62" fmla="*/ 125 w 243"/>
                <a:gd name="T63" fmla="*/ 213 h 213"/>
                <a:gd name="T64" fmla="*/ 125 w 243"/>
                <a:gd name="T65" fmla="*/ 213 h 213"/>
                <a:gd name="T66" fmla="*/ 189 w 243"/>
                <a:gd name="T67" fmla="*/ 210 h 213"/>
                <a:gd name="T68" fmla="*/ 243 w 243"/>
                <a:gd name="T69" fmla="*/ 0 h 213"/>
                <a:gd name="T70" fmla="*/ 124 w 243"/>
                <a:gd name="T71" fmla="*/ 4 h 213"/>
                <a:gd name="T72" fmla="*/ 124 w 243"/>
                <a:gd name="T73" fmla="*/ 4 h 213"/>
                <a:gd name="T74" fmla="*/ 123 w 243"/>
                <a:gd name="T75" fmla="*/ 4 h 213"/>
                <a:gd name="T76" fmla="*/ 123 w 243"/>
                <a:gd name="T77" fmla="*/ 4 h 213"/>
                <a:gd name="T78" fmla="*/ 123 w 243"/>
                <a:gd name="T79" fmla="*/ 4 h 213"/>
                <a:gd name="T80" fmla="*/ 122 w 243"/>
                <a:gd name="T81" fmla="*/ 4 h 213"/>
                <a:gd name="T82" fmla="*/ 122 w 243"/>
                <a:gd name="T83" fmla="*/ 4 h 213"/>
                <a:gd name="T84" fmla="*/ 122 w 243"/>
                <a:gd name="T85" fmla="*/ 4 h 213"/>
                <a:gd name="T86" fmla="*/ 122 w 243"/>
                <a:gd name="T87" fmla="*/ 4 h 213"/>
                <a:gd name="T88" fmla="*/ 121 w 243"/>
                <a:gd name="T89" fmla="*/ 4 h 213"/>
                <a:gd name="T90" fmla="*/ 121 w 243"/>
                <a:gd name="T91" fmla="*/ 4 h 213"/>
                <a:gd name="T92" fmla="*/ 121 w 243"/>
                <a:gd name="T93" fmla="*/ 4 h 213"/>
                <a:gd name="T94" fmla="*/ 120 w 243"/>
                <a:gd name="T95" fmla="*/ 4 h 213"/>
                <a:gd name="T96" fmla="*/ 120 w 243"/>
                <a:gd name="T97" fmla="*/ 4 h 213"/>
                <a:gd name="T98" fmla="*/ 120 w 243"/>
                <a:gd name="T99" fmla="*/ 4 h 213"/>
                <a:gd name="T100" fmla="*/ 120 w 243"/>
                <a:gd name="T101" fmla="*/ 4 h 213"/>
                <a:gd name="T102" fmla="*/ 119 w 243"/>
                <a:gd name="T103" fmla="*/ 4 h 213"/>
                <a:gd name="T104" fmla="*/ 0 w 243"/>
                <a:gd name="T105"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3" h="213">
                  <a:moveTo>
                    <a:pt x="0" y="0"/>
                  </a:moveTo>
                  <a:cubicBezTo>
                    <a:pt x="54" y="210"/>
                    <a:pt x="54" y="210"/>
                    <a:pt x="54" y="210"/>
                  </a:cubicBezTo>
                  <a:cubicBezTo>
                    <a:pt x="74" y="212"/>
                    <a:pt x="96" y="213"/>
                    <a:pt x="120" y="213"/>
                  </a:cubicBezTo>
                  <a:cubicBezTo>
                    <a:pt x="120" y="213"/>
                    <a:pt x="120" y="213"/>
                    <a:pt x="120" y="213"/>
                  </a:cubicBezTo>
                  <a:cubicBezTo>
                    <a:pt x="120" y="213"/>
                    <a:pt x="120" y="213"/>
                    <a:pt x="120" y="213"/>
                  </a:cubicBezTo>
                  <a:cubicBezTo>
                    <a:pt x="120" y="213"/>
                    <a:pt x="120" y="213"/>
                    <a:pt x="120" y="213"/>
                  </a:cubicBezTo>
                  <a:cubicBezTo>
                    <a:pt x="120" y="213"/>
                    <a:pt x="120" y="213"/>
                    <a:pt x="120" y="213"/>
                  </a:cubicBezTo>
                  <a:cubicBezTo>
                    <a:pt x="120" y="213"/>
                    <a:pt x="120" y="213"/>
                    <a:pt x="120" y="213"/>
                  </a:cubicBezTo>
                  <a:cubicBezTo>
                    <a:pt x="121" y="213"/>
                    <a:pt x="121" y="213"/>
                    <a:pt x="121" y="213"/>
                  </a:cubicBezTo>
                  <a:cubicBezTo>
                    <a:pt x="121" y="213"/>
                    <a:pt x="121" y="213"/>
                    <a:pt x="121" y="213"/>
                  </a:cubicBezTo>
                  <a:cubicBezTo>
                    <a:pt x="121" y="213"/>
                    <a:pt x="121" y="213"/>
                    <a:pt x="121" y="213"/>
                  </a:cubicBezTo>
                  <a:cubicBezTo>
                    <a:pt x="121" y="213"/>
                    <a:pt x="121" y="213"/>
                    <a:pt x="121" y="213"/>
                  </a:cubicBezTo>
                  <a:cubicBezTo>
                    <a:pt x="121" y="213"/>
                    <a:pt x="121" y="213"/>
                    <a:pt x="121" y="213"/>
                  </a:cubicBezTo>
                  <a:cubicBezTo>
                    <a:pt x="121" y="213"/>
                    <a:pt x="121" y="213"/>
                    <a:pt x="121" y="213"/>
                  </a:cubicBezTo>
                  <a:cubicBezTo>
                    <a:pt x="121" y="213"/>
                    <a:pt x="121" y="213"/>
                    <a:pt x="122" y="213"/>
                  </a:cubicBezTo>
                  <a:cubicBezTo>
                    <a:pt x="122" y="213"/>
                    <a:pt x="122" y="213"/>
                    <a:pt x="122" y="213"/>
                  </a:cubicBezTo>
                  <a:cubicBezTo>
                    <a:pt x="122" y="213"/>
                    <a:pt x="122" y="213"/>
                    <a:pt x="122" y="213"/>
                  </a:cubicBezTo>
                  <a:cubicBezTo>
                    <a:pt x="122" y="213"/>
                    <a:pt x="122" y="213"/>
                    <a:pt x="122" y="213"/>
                  </a:cubicBezTo>
                  <a:cubicBezTo>
                    <a:pt x="122" y="213"/>
                    <a:pt x="122" y="213"/>
                    <a:pt x="122" y="213"/>
                  </a:cubicBezTo>
                  <a:cubicBezTo>
                    <a:pt x="122" y="213"/>
                    <a:pt x="122" y="213"/>
                    <a:pt x="122" y="213"/>
                  </a:cubicBezTo>
                  <a:cubicBezTo>
                    <a:pt x="122" y="213"/>
                    <a:pt x="122" y="213"/>
                    <a:pt x="122" y="213"/>
                  </a:cubicBezTo>
                  <a:cubicBezTo>
                    <a:pt x="122" y="213"/>
                    <a:pt x="123" y="213"/>
                    <a:pt x="123" y="213"/>
                  </a:cubicBezTo>
                  <a:cubicBezTo>
                    <a:pt x="123" y="213"/>
                    <a:pt x="123" y="213"/>
                    <a:pt x="123" y="213"/>
                  </a:cubicBezTo>
                  <a:cubicBezTo>
                    <a:pt x="123" y="213"/>
                    <a:pt x="123" y="213"/>
                    <a:pt x="123" y="213"/>
                  </a:cubicBezTo>
                  <a:cubicBezTo>
                    <a:pt x="123" y="213"/>
                    <a:pt x="123" y="213"/>
                    <a:pt x="123" y="213"/>
                  </a:cubicBezTo>
                  <a:cubicBezTo>
                    <a:pt x="123" y="213"/>
                    <a:pt x="123" y="213"/>
                    <a:pt x="123" y="213"/>
                  </a:cubicBezTo>
                  <a:cubicBezTo>
                    <a:pt x="123" y="213"/>
                    <a:pt x="123" y="213"/>
                    <a:pt x="123" y="213"/>
                  </a:cubicBezTo>
                  <a:cubicBezTo>
                    <a:pt x="123" y="213"/>
                    <a:pt x="123" y="213"/>
                    <a:pt x="123" y="213"/>
                  </a:cubicBezTo>
                  <a:cubicBezTo>
                    <a:pt x="124" y="213"/>
                    <a:pt x="124" y="213"/>
                    <a:pt x="124" y="213"/>
                  </a:cubicBezTo>
                  <a:cubicBezTo>
                    <a:pt x="124" y="213"/>
                    <a:pt x="124" y="213"/>
                    <a:pt x="124" y="213"/>
                  </a:cubicBezTo>
                  <a:cubicBezTo>
                    <a:pt x="124" y="213"/>
                    <a:pt x="124" y="213"/>
                    <a:pt x="124" y="213"/>
                  </a:cubicBezTo>
                  <a:cubicBezTo>
                    <a:pt x="124" y="213"/>
                    <a:pt x="125" y="213"/>
                    <a:pt x="125" y="213"/>
                  </a:cubicBezTo>
                  <a:cubicBezTo>
                    <a:pt x="125" y="213"/>
                    <a:pt x="125" y="213"/>
                    <a:pt x="125" y="213"/>
                  </a:cubicBezTo>
                  <a:cubicBezTo>
                    <a:pt x="148" y="213"/>
                    <a:pt x="169" y="212"/>
                    <a:pt x="189" y="210"/>
                  </a:cubicBezTo>
                  <a:cubicBezTo>
                    <a:pt x="243" y="0"/>
                    <a:pt x="243" y="0"/>
                    <a:pt x="243" y="0"/>
                  </a:cubicBezTo>
                  <a:cubicBezTo>
                    <a:pt x="207" y="3"/>
                    <a:pt x="166" y="4"/>
                    <a:pt x="124" y="4"/>
                  </a:cubicBezTo>
                  <a:cubicBezTo>
                    <a:pt x="124" y="4"/>
                    <a:pt x="124" y="4"/>
                    <a:pt x="124" y="4"/>
                  </a:cubicBezTo>
                  <a:cubicBezTo>
                    <a:pt x="123" y="4"/>
                    <a:pt x="123" y="4"/>
                    <a:pt x="123" y="4"/>
                  </a:cubicBezTo>
                  <a:cubicBezTo>
                    <a:pt x="123" y="4"/>
                    <a:pt x="123" y="4"/>
                    <a:pt x="123" y="4"/>
                  </a:cubicBezTo>
                  <a:cubicBezTo>
                    <a:pt x="123" y="4"/>
                    <a:pt x="123" y="4"/>
                    <a:pt x="123" y="4"/>
                  </a:cubicBezTo>
                  <a:cubicBezTo>
                    <a:pt x="123" y="4"/>
                    <a:pt x="123" y="4"/>
                    <a:pt x="122" y="4"/>
                  </a:cubicBezTo>
                  <a:cubicBezTo>
                    <a:pt x="122" y="4"/>
                    <a:pt x="122" y="4"/>
                    <a:pt x="122" y="4"/>
                  </a:cubicBezTo>
                  <a:cubicBezTo>
                    <a:pt x="122" y="4"/>
                    <a:pt x="122" y="4"/>
                    <a:pt x="122" y="4"/>
                  </a:cubicBezTo>
                  <a:cubicBezTo>
                    <a:pt x="122" y="4"/>
                    <a:pt x="122" y="4"/>
                    <a:pt x="122" y="4"/>
                  </a:cubicBezTo>
                  <a:cubicBezTo>
                    <a:pt x="121" y="4"/>
                    <a:pt x="121" y="4"/>
                    <a:pt x="121" y="4"/>
                  </a:cubicBezTo>
                  <a:cubicBezTo>
                    <a:pt x="121" y="4"/>
                    <a:pt x="121" y="4"/>
                    <a:pt x="121" y="4"/>
                  </a:cubicBezTo>
                  <a:cubicBezTo>
                    <a:pt x="121" y="4"/>
                    <a:pt x="121" y="4"/>
                    <a:pt x="121" y="4"/>
                  </a:cubicBezTo>
                  <a:cubicBezTo>
                    <a:pt x="121" y="4"/>
                    <a:pt x="120" y="4"/>
                    <a:pt x="120" y="4"/>
                  </a:cubicBezTo>
                  <a:cubicBezTo>
                    <a:pt x="120" y="4"/>
                    <a:pt x="120" y="4"/>
                    <a:pt x="120" y="4"/>
                  </a:cubicBezTo>
                  <a:cubicBezTo>
                    <a:pt x="120" y="4"/>
                    <a:pt x="120" y="4"/>
                    <a:pt x="120" y="4"/>
                  </a:cubicBezTo>
                  <a:cubicBezTo>
                    <a:pt x="120" y="4"/>
                    <a:pt x="120" y="4"/>
                    <a:pt x="120" y="4"/>
                  </a:cubicBezTo>
                  <a:cubicBezTo>
                    <a:pt x="119" y="4"/>
                    <a:pt x="119" y="4"/>
                    <a:pt x="119" y="4"/>
                  </a:cubicBezTo>
                  <a:cubicBezTo>
                    <a:pt x="77" y="4"/>
                    <a:pt x="36" y="3"/>
                    <a:pt x="0" y="0"/>
                  </a:cubicBezTo>
                </a:path>
              </a:pathLst>
            </a:custGeom>
            <a:solidFill>
              <a:schemeClr val="accent4">
                <a:lumMod val="60000"/>
                <a:lumOff val="40000"/>
                <a:alpha val="25000"/>
              </a:schemeClr>
            </a:solidFill>
            <a:ln>
              <a:noFill/>
            </a:ln>
          </p:spPr>
          <p:txBody>
            <a:bodyPr vert="horz" wrap="square" lIns="91416" tIns="45708" rIns="91416" bIns="45708" numCol="1" anchor="t" anchorCtr="0" compatLnSpc="1">
              <a:prstTxWarp prst="textNoShape">
                <a:avLst/>
              </a:prstTxWarp>
            </a:bodyPr>
            <a:lstStyle/>
            <a:p>
              <a:endParaRPr lang="en-US" sz="3599" dirty="0">
                <a:latin typeface="Muli ExtraLight" panose="02000303000000000000" pitchFamily="2" charset="77"/>
              </a:endParaRPr>
            </a:p>
          </p:txBody>
        </p:sp>
      </p:grpSp>
      <p:grpSp>
        <p:nvGrpSpPr>
          <p:cNvPr id="17" name="Group 16">
            <a:extLst>
              <a:ext uri="{FF2B5EF4-FFF2-40B4-BE49-F238E27FC236}">
                <a16:creationId xmlns:a16="http://schemas.microsoft.com/office/drawing/2014/main" id="{C77A0D74-E0CF-1D42-A334-1B6B41F0F5A9}"/>
              </a:ext>
            </a:extLst>
          </p:cNvPr>
          <p:cNvGrpSpPr/>
          <p:nvPr/>
        </p:nvGrpSpPr>
        <p:grpSpPr>
          <a:xfrm>
            <a:off x="2422525" y="3077858"/>
            <a:ext cx="4560260" cy="818423"/>
            <a:chOff x="2421568" y="3077766"/>
            <a:chExt cx="4561448" cy="818636"/>
          </a:xfrm>
        </p:grpSpPr>
        <p:sp>
          <p:nvSpPr>
            <p:cNvPr id="18" name="Freeform 206">
              <a:extLst>
                <a:ext uri="{FF2B5EF4-FFF2-40B4-BE49-F238E27FC236}">
                  <a16:creationId xmlns:a16="http://schemas.microsoft.com/office/drawing/2014/main" id="{C89DE72F-8680-DD45-AFDA-17694B2AC5DB}"/>
                </a:ext>
              </a:extLst>
            </p:cNvPr>
            <p:cNvSpPr>
              <a:spLocks/>
            </p:cNvSpPr>
            <p:nvPr/>
          </p:nvSpPr>
          <p:spPr bwMode="auto">
            <a:xfrm>
              <a:off x="2421568" y="3077766"/>
              <a:ext cx="4561448" cy="818635"/>
            </a:xfrm>
            <a:custGeom>
              <a:avLst/>
              <a:gdLst>
                <a:gd name="T0" fmla="*/ 944 w 1889"/>
                <a:gd name="T1" fmla="*/ 124 h 339"/>
                <a:gd name="T2" fmla="*/ 0 w 1889"/>
                <a:gd name="T3" fmla="*/ 0 h 339"/>
                <a:gd name="T4" fmla="*/ 126 w 1889"/>
                <a:gd name="T5" fmla="*/ 223 h 339"/>
                <a:gd name="T6" fmla="*/ 126 w 1889"/>
                <a:gd name="T7" fmla="*/ 223 h 339"/>
                <a:gd name="T8" fmla="*/ 944 w 1889"/>
                <a:gd name="T9" fmla="*/ 339 h 339"/>
                <a:gd name="T10" fmla="*/ 1763 w 1889"/>
                <a:gd name="T11" fmla="*/ 223 h 339"/>
                <a:gd name="T12" fmla="*/ 1764 w 1889"/>
                <a:gd name="T13" fmla="*/ 223 h 339"/>
                <a:gd name="T14" fmla="*/ 1889 w 1889"/>
                <a:gd name="T15" fmla="*/ 0 h 339"/>
                <a:gd name="T16" fmla="*/ 944 w 1889"/>
                <a:gd name="T17" fmla="*/ 1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9" h="339">
                  <a:moveTo>
                    <a:pt x="944" y="124"/>
                  </a:moveTo>
                  <a:cubicBezTo>
                    <a:pt x="463" y="124"/>
                    <a:pt x="65" y="70"/>
                    <a:pt x="0" y="0"/>
                  </a:cubicBezTo>
                  <a:cubicBezTo>
                    <a:pt x="126" y="223"/>
                    <a:pt x="126" y="223"/>
                    <a:pt x="126" y="223"/>
                  </a:cubicBezTo>
                  <a:cubicBezTo>
                    <a:pt x="126" y="223"/>
                    <a:pt x="126" y="223"/>
                    <a:pt x="126" y="223"/>
                  </a:cubicBezTo>
                  <a:cubicBezTo>
                    <a:pt x="154" y="288"/>
                    <a:pt x="510" y="339"/>
                    <a:pt x="944" y="339"/>
                  </a:cubicBezTo>
                  <a:cubicBezTo>
                    <a:pt x="1379" y="339"/>
                    <a:pt x="1735" y="288"/>
                    <a:pt x="1763" y="223"/>
                  </a:cubicBezTo>
                  <a:cubicBezTo>
                    <a:pt x="1764" y="223"/>
                    <a:pt x="1764" y="223"/>
                    <a:pt x="1764" y="223"/>
                  </a:cubicBezTo>
                  <a:cubicBezTo>
                    <a:pt x="1889" y="0"/>
                    <a:pt x="1889" y="0"/>
                    <a:pt x="1889" y="0"/>
                  </a:cubicBezTo>
                  <a:cubicBezTo>
                    <a:pt x="1825" y="70"/>
                    <a:pt x="1427" y="124"/>
                    <a:pt x="944" y="124"/>
                  </a:cubicBezTo>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US" sz="3599" dirty="0">
                <a:latin typeface="Muli ExtraLight" panose="02000303000000000000" pitchFamily="2" charset="77"/>
              </a:endParaRPr>
            </a:p>
          </p:txBody>
        </p:sp>
        <p:sp>
          <p:nvSpPr>
            <p:cNvPr id="19" name="Freeform 228">
              <a:extLst>
                <a:ext uri="{FF2B5EF4-FFF2-40B4-BE49-F238E27FC236}">
                  <a16:creationId xmlns:a16="http://schemas.microsoft.com/office/drawing/2014/main" id="{92AA99F3-EBD9-3848-BB94-F4D808D8737D}"/>
                </a:ext>
              </a:extLst>
            </p:cNvPr>
            <p:cNvSpPr>
              <a:spLocks/>
            </p:cNvSpPr>
            <p:nvPr/>
          </p:nvSpPr>
          <p:spPr bwMode="auto">
            <a:xfrm>
              <a:off x="3748903" y="3347276"/>
              <a:ext cx="1903411" cy="549126"/>
            </a:xfrm>
            <a:custGeom>
              <a:avLst/>
              <a:gdLst>
                <a:gd name="T0" fmla="*/ 56 w 788"/>
                <a:gd name="T1" fmla="*/ 217 h 228"/>
                <a:gd name="T2" fmla="*/ 386 w 788"/>
                <a:gd name="T3" fmla="*/ 228 h 228"/>
                <a:gd name="T4" fmla="*/ 389 w 788"/>
                <a:gd name="T5" fmla="*/ 228 h 228"/>
                <a:gd name="T6" fmla="*/ 390 w 788"/>
                <a:gd name="T7" fmla="*/ 228 h 228"/>
                <a:gd name="T8" fmla="*/ 390 w 788"/>
                <a:gd name="T9" fmla="*/ 228 h 228"/>
                <a:gd name="T10" fmla="*/ 391 w 788"/>
                <a:gd name="T11" fmla="*/ 228 h 228"/>
                <a:gd name="T12" fmla="*/ 392 w 788"/>
                <a:gd name="T13" fmla="*/ 228 h 228"/>
                <a:gd name="T14" fmla="*/ 392 w 788"/>
                <a:gd name="T15" fmla="*/ 228 h 228"/>
                <a:gd name="T16" fmla="*/ 393 w 788"/>
                <a:gd name="T17" fmla="*/ 228 h 228"/>
                <a:gd name="T18" fmla="*/ 394 w 788"/>
                <a:gd name="T19" fmla="*/ 228 h 228"/>
                <a:gd name="T20" fmla="*/ 395 w 788"/>
                <a:gd name="T21" fmla="*/ 228 h 228"/>
                <a:gd name="T22" fmla="*/ 396 w 788"/>
                <a:gd name="T23" fmla="*/ 228 h 228"/>
                <a:gd name="T24" fmla="*/ 396 w 788"/>
                <a:gd name="T25" fmla="*/ 228 h 228"/>
                <a:gd name="T26" fmla="*/ 397 w 788"/>
                <a:gd name="T27" fmla="*/ 228 h 228"/>
                <a:gd name="T28" fmla="*/ 398 w 788"/>
                <a:gd name="T29" fmla="*/ 228 h 228"/>
                <a:gd name="T30" fmla="*/ 398 w 788"/>
                <a:gd name="T31" fmla="*/ 228 h 228"/>
                <a:gd name="T32" fmla="*/ 399 w 788"/>
                <a:gd name="T33" fmla="*/ 228 h 228"/>
                <a:gd name="T34" fmla="*/ 400 w 788"/>
                <a:gd name="T35" fmla="*/ 228 h 228"/>
                <a:gd name="T36" fmla="*/ 403 w 788"/>
                <a:gd name="T37" fmla="*/ 228 h 228"/>
                <a:gd name="T38" fmla="*/ 732 w 788"/>
                <a:gd name="T39" fmla="*/ 217 h 228"/>
                <a:gd name="T40" fmla="*/ 525 w 788"/>
                <a:gd name="T41" fmla="*/ 12 h 228"/>
                <a:gd name="T42" fmla="*/ 403 w 788"/>
                <a:gd name="T43" fmla="*/ 13 h 228"/>
                <a:gd name="T44" fmla="*/ 402 w 788"/>
                <a:gd name="T45" fmla="*/ 13 h 228"/>
                <a:gd name="T46" fmla="*/ 401 w 788"/>
                <a:gd name="T47" fmla="*/ 13 h 228"/>
                <a:gd name="T48" fmla="*/ 398 w 788"/>
                <a:gd name="T49" fmla="*/ 13 h 228"/>
                <a:gd name="T50" fmla="*/ 397 w 788"/>
                <a:gd name="T51" fmla="*/ 13 h 228"/>
                <a:gd name="T52" fmla="*/ 397 w 788"/>
                <a:gd name="T53" fmla="*/ 13 h 228"/>
                <a:gd name="T54" fmla="*/ 396 w 788"/>
                <a:gd name="T55" fmla="*/ 13 h 228"/>
                <a:gd name="T56" fmla="*/ 395 w 788"/>
                <a:gd name="T57" fmla="*/ 13 h 228"/>
                <a:gd name="T58" fmla="*/ 394 w 788"/>
                <a:gd name="T59" fmla="*/ 13 h 228"/>
                <a:gd name="T60" fmla="*/ 393 w 788"/>
                <a:gd name="T61" fmla="*/ 13 h 228"/>
                <a:gd name="T62" fmla="*/ 392 w 788"/>
                <a:gd name="T63" fmla="*/ 13 h 228"/>
                <a:gd name="T64" fmla="*/ 391 w 788"/>
                <a:gd name="T65" fmla="*/ 13 h 228"/>
                <a:gd name="T66" fmla="*/ 390 w 788"/>
                <a:gd name="T67" fmla="*/ 13 h 228"/>
                <a:gd name="T68" fmla="*/ 388 w 788"/>
                <a:gd name="T69" fmla="*/ 13 h 228"/>
                <a:gd name="T70" fmla="*/ 387 w 788"/>
                <a:gd name="T71" fmla="*/ 13 h 228"/>
                <a:gd name="T72" fmla="*/ 386 w 788"/>
                <a:gd name="T73" fmla="*/ 13 h 228"/>
                <a:gd name="T74" fmla="*/ 263 w 788"/>
                <a:gd name="T75"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8" h="228">
                  <a:moveTo>
                    <a:pt x="0" y="0"/>
                  </a:moveTo>
                  <a:cubicBezTo>
                    <a:pt x="56" y="217"/>
                    <a:pt x="56" y="217"/>
                    <a:pt x="56" y="217"/>
                  </a:cubicBezTo>
                  <a:cubicBezTo>
                    <a:pt x="157" y="224"/>
                    <a:pt x="269" y="228"/>
                    <a:pt x="386" y="228"/>
                  </a:cubicBezTo>
                  <a:cubicBezTo>
                    <a:pt x="386" y="228"/>
                    <a:pt x="386" y="228"/>
                    <a:pt x="386" y="228"/>
                  </a:cubicBezTo>
                  <a:cubicBezTo>
                    <a:pt x="387" y="228"/>
                    <a:pt x="388" y="228"/>
                    <a:pt x="389" y="228"/>
                  </a:cubicBezTo>
                  <a:cubicBezTo>
                    <a:pt x="389" y="228"/>
                    <a:pt x="389" y="228"/>
                    <a:pt x="389" y="228"/>
                  </a:cubicBezTo>
                  <a:cubicBezTo>
                    <a:pt x="389" y="228"/>
                    <a:pt x="389" y="228"/>
                    <a:pt x="389" y="228"/>
                  </a:cubicBezTo>
                  <a:cubicBezTo>
                    <a:pt x="389" y="228"/>
                    <a:pt x="390" y="228"/>
                    <a:pt x="390" y="228"/>
                  </a:cubicBezTo>
                  <a:cubicBezTo>
                    <a:pt x="390" y="228"/>
                    <a:pt x="390" y="228"/>
                    <a:pt x="390" y="228"/>
                  </a:cubicBezTo>
                  <a:cubicBezTo>
                    <a:pt x="390" y="228"/>
                    <a:pt x="390" y="228"/>
                    <a:pt x="390" y="228"/>
                  </a:cubicBezTo>
                  <a:cubicBezTo>
                    <a:pt x="390" y="228"/>
                    <a:pt x="391" y="228"/>
                    <a:pt x="391" y="228"/>
                  </a:cubicBezTo>
                  <a:cubicBezTo>
                    <a:pt x="391" y="228"/>
                    <a:pt x="391" y="228"/>
                    <a:pt x="391" y="228"/>
                  </a:cubicBezTo>
                  <a:cubicBezTo>
                    <a:pt x="391" y="228"/>
                    <a:pt x="391" y="228"/>
                    <a:pt x="391" y="228"/>
                  </a:cubicBezTo>
                  <a:cubicBezTo>
                    <a:pt x="392" y="228"/>
                    <a:pt x="392" y="228"/>
                    <a:pt x="392" y="228"/>
                  </a:cubicBezTo>
                  <a:cubicBezTo>
                    <a:pt x="392" y="228"/>
                    <a:pt x="392" y="228"/>
                    <a:pt x="392" y="228"/>
                  </a:cubicBezTo>
                  <a:cubicBezTo>
                    <a:pt x="392" y="228"/>
                    <a:pt x="392" y="228"/>
                    <a:pt x="392" y="228"/>
                  </a:cubicBezTo>
                  <a:cubicBezTo>
                    <a:pt x="392" y="228"/>
                    <a:pt x="393" y="228"/>
                    <a:pt x="393" y="228"/>
                  </a:cubicBezTo>
                  <a:cubicBezTo>
                    <a:pt x="393" y="228"/>
                    <a:pt x="393" y="228"/>
                    <a:pt x="393" y="228"/>
                  </a:cubicBezTo>
                  <a:cubicBezTo>
                    <a:pt x="393" y="228"/>
                    <a:pt x="393" y="228"/>
                    <a:pt x="393" y="228"/>
                  </a:cubicBezTo>
                  <a:cubicBezTo>
                    <a:pt x="394" y="228"/>
                    <a:pt x="394" y="228"/>
                    <a:pt x="394" y="228"/>
                  </a:cubicBezTo>
                  <a:cubicBezTo>
                    <a:pt x="394" y="228"/>
                    <a:pt x="394" y="228"/>
                    <a:pt x="394" y="228"/>
                  </a:cubicBezTo>
                  <a:cubicBezTo>
                    <a:pt x="395" y="228"/>
                    <a:pt x="395" y="228"/>
                    <a:pt x="395" y="228"/>
                  </a:cubicBezTo>
                  <a:cubicBezTo>
                    <a:pt x="395" y="228"/>
                    <a:pt x="395" y="228"/>
                    <a:pt x="395" y="228"/>
                  </a:cubicBezTo>
                  <a:cubicBezTo>
                    <a:pt x="395" y="228"/>
                    <a:pt x="396" y="228"/>
                    <a:pt x="396" y="228"/>
                  </a:cubicBezTo>
                  <a:cubicBezTo>
                    <a:pt x="396" y="228"/>
                    <a:pt x="396" y="228"/>
                    <a:pt x="396" y="228"/>
                  </a:cubicBezTo>
                  <a:cubicBezTo>
                    <a:pt x="396" y="228"/>
                    <a:pt x="396" y="228"/>
                    <a:pt x="396" y="228"/>
                  </a:cubicBezTo>
                  <a:cubicBezTo>
                    <a:pt x="396" y="228"/>
                    <a:pt x="397" y="228"/>
                    <a:pt x="397" y="228"/>
                  </a:cubicBezTo>
                  <a:cubicBezTo>
                    <a:pt x="397" y="228"/>
                    <a:pt x="397" y="228"/>
                    <a:pt x="397" y="228"/>
                  </a:cubicBezTo>
                  <a:cubicBezTo>
                    <a:pt x="397" y="228"/>
                    <a:pt x="397" y="228"/>
                    <a:pt x="397" y="228"/>
                  </a:cubicBezTo>
                  <a:cubicBezTo>
                    <a:pt x="398" y="228"/>
                    <a:pt x="398" y="228"/>
                    <a:pt x="398" y="228"/>
                  </a:cubicBezTo>
                  <a:cubicBezTo>
                    <a:pt x="398" y="228"/>
                    <a:pt x="398" y="228"/>
                    <a:pt x="398" y="228"/>
                  </a:cubicBezTo>
                  <a:cubicBezTo>
                    <a:pt x="398" y="228"/>
                    <a:pt x="398" y="228"/>
                    <a:pt x="398" y="228"/>
                  </a:cubicBezTo>
                  <a:cubicBezTo>
                    <a:pt x="399" y="228"/>
                    <a:pt x="399" y="228"/>
                    <a:pt x="399" y="228"/>
                  </a:cubicBezTo>
                  <a:cubicBezTo>
                    <a:pt x="399" y="228"/>
                    <a:pt x="399" y="228"/>
                    <a:pt x="399" y="228"/>
                  </a:cubicBezTo>
                  <a:cubicBezTo>
                    <a:pt x="399" y="228"/>
                    <a:pt x="399" y="228"/>
                    <a:pt x="399" y="228"/>
                  </a:cubicBezTo>
                  <a:cubicBezTo>
                    <a:pt x="400" y="228"/>
                    <a:pt x="400" y="228"/>
                    <a:pt x="400" y="228"/>
                  </a:cubicBezTo>
                  <a:cubicBezTo>
                    <a:pt x="400" y="228"/>
                    <a:pt x="400" y="228"/>
                    <a:pt x="400" y="228"/>
                  </a:cubicBezTo>
                  <a:cubicBezTo>
                    <a:pt x="401" y="228"/>
                    <a:pt x="402" y="228"/>
                    <a:pt x="403" y="228"/>
                  </a:cubicBezTo>
                  <a:cubicBezTo>
                    <a:pt x="403" y="228"/>
                    <a:pt x="403" y="228"/>
                    <a:pt x="403" y="228"/>
                  </a:cubicBezTo>
                  <a:cubicBezTo>
                    <a:pt x="520" y="228"/>
                    <a:pt x="632" y="224"/>
                    <a:pt x="732" y="217"/>
                  </a:cubicBezTo>
                  <a:cubicBezTo>
                    <a:pt x="788" y="0"/>
                    <a:pt x="788" y="0"/>
                    <a:pt x="788" y="0"/>
                  </a:cubicBezTo>
                  <a:cubicBezTo>
                    <a:pt x="706" y="6"/>
                    <a:pt x="618" y="10"/>
                    <a:pt x="525" y="12"/>
                  </a:cubicBezTo>
                  <a:cubicBezTo>
                    <a:pt x="485" y="12"/>
                    <a:pt x="444" y="13"/>
                    <a:pt x="403" y="13"/>
                  </a:cubicBezTo>
                  <a:cubicBezTo>
                    <a:pt x="403" y="13"/>
                    <a:pt x="403" y="13"/>
                    <a:pt x="403" y="13"/>
                  </a:cubicBezTo>
                  <a:cubicBezTo>
                    <a:pt x="402" y="13"/>
                    <a:pt x="402" y="13"/>
                    <a:pt x="402" y="13"/>
                  </a:cubicBezTo>
                  <a:cubicBezTo>
                    <a:pt x="402" y="13"/>
                    <a:pt x="402" y="13"/>
                    <a:pt x="402" y="13"/>
                  </a:cubicBezTo>
                  <a:cubicBezTo>
                    <a:pt x="402" y="13"/>
                    <a:pt x="401" y="13"/>
                    <a:pt x="401" y="13"/>
                  </a:cubicBezTo>
                  <a:cubicBezTo>
                    <a:pt x="401" y="13"/>
                    <a:pt x="401" y="13"/>
                    <a:pt x="401" y="13"/>
                  </a:cubicBezTo>
                  <a:cubicBezTo>
                    <a:pt x="400" y="13"/>
                    <a:pt x="399" y="13"/>
                    <a:pt x="399" y="13"/>
                  </a:cubicBezTo>
                  <a:cubicBezTo>
                    <a:pt x="398" y="13"/>
                    <a:pt x="398" y="13"/>
                    <a:pt x="398" y="13"/>
                  </a:cubicBezTo>
                  <a:cubicBezTo>
                    <a:pt x="398" y="13"/>
                    <a:pt x="398" y="13"/>
                    <a:pt x="398" y="13"/>
                  </a:cubicBezTo>
                  <a:cubicBezTo>
                    <a:pt x="398" y="13"/>
                    <a:pt x="398" y="13"/>
                    <a:pt x="397" y="13"/>
                  </a:cubicBezTo>
                  <a:cubicBezTo>
                    <a:pt x="397" y="13"/>
                    <a:pt x="397" y="13"/>
                    <a:pt x="397" y="13"/>
                  </a:cubicBezTo>
                  <a:cubicBezTo>
                    <a:pt x="397" y="13"/>
                    <a:pt x="397" y="13"/>
                    <a:pt x="397" y="13"/>
                  </a:cubicBezTo>
                  <a:cubicBezTo>
                    <a:pt x="397" y="13"/>
                    <a:pt x="396" y="13"/>
                    <a:pt x="396" y="13"/>
                  </a:cubicBezTo>
                  <a:cubicBezTo>
                    <a:pt x="396" y="13"/>
                    <a:pt x="396" y="13"/>
                    <a:pt x="396" y="13"/>
                  </a:cubicBezTo>
                  <a:cubicBezTo>
                    <a:pt x="396" y="13"/>
                    <a:pt x="396" y="13"/>
                    <a:pt x="395" y="13"/>
                  </a:cubicBezTo>
                  <a:cubicBezTo>
                    <a:pt x="395" y="13"/>
                    <a:pt x="395" y="13"/>
                    <a:pt x="395" y="13"/>
                  </a:cubicBezTo>
                  <a:cubicBezTo>
                    <a:pt x="395" y="13"/>
                    <a:pt x="395" y="13"/>
                    <a:pt x="394" y="13"/>
                  </a:cubicBezTo>
                  <a:cubicBezTo>
                    <a:pt x="394" y="13"/>
                    <a:pt x="394" y="13"/>
                    <a:pt x="394" y="13"/>
                  </a:cubicBezTo>
                  <a:cubicBezTo>
                    <a:pt x="394" y="13"/>
                    <a:pt x="393" y="13"/>
                    <a:pt x="393" y="13"/>
                  </a:cubicBezTo>
                  <a:cubicBezTo>
                    <a:pt x="393" y="13"/>
                    <a:pt x="393" y="13"/>
                    <a:pt x="393" y="13"/>
                  </a:cubicBezTo>
                  <a:cubicBezTo>
                    <a:pt x="393" y="13"/>
                    <a:pt x="393" y="13"/>
                    <a:pt x="393" y="13"/>
                  </a:cubicBezTo>
                  <a:cubicBezTo>
                    <a:pt x="392" y="13"/>
                    <a:pt x="392" y="13"/>
                    <a:pt x="392" y="13"/>
                  </a:cubicBezTo>
                  <a:cubicBezTo>
                    <a:pt x="392" y="13"/>
                    <a:pt x="392" y="13"/>
                    <a:pt x="392" y="13"/>
                  </a:cubicBezTo>
                  <a:cubicBezTo>
                    <a:pt x="392" y="13"/>
                    <a:pt x="391" y="13"/>
                    <a:pt x="391" y="13"/>
                  </a:cubicBezTo>
                  <a:cubicBezTo>
                    <a:pt x="391" y="13"/>
                    <a:pt x="391" y="13"/>
                    <a:pt x="391" y="13"/>
                  </a:cubicBezTo>
                  <a:cubicBezTo>
                    <a:pt x="391" y="13"/>
                    <a:pt x="391" y="13"/>
                    <a:pt x="390" y="13"/>
                  </a:cubicBezTo>
                  <a:cubicBezTo>
                    <a:pt x="390" y="13"/>
                    <a:pt x="390" y="13"/>
                    <a:pt x="390" y="13"/>
                  </a:cubicBezTo>
                  <a:cubicBezTo>
                    <a:pt x="389" y="13"/>
                    <a:pt x="389" y="13"/>
                    <a:pt x="388" y="13"/>
                  </a:cubicBezTo>
                  <a:cubicBezTo>
                    <a:pt x="388" y="13"/>
                    <a:pt x="388" y="13"/>
                    <a:pt x="388" y="13"/>
                  </a:cubicBezTo>
                  <a:cubicBezTo>
                    <a:pt x="387" y="13"/>
                    <a:pt x="387" y="13"/>
                    <a:pt x="387" y="13"/>
                  </a:cubicBezTo>
                  <a:cubicBezTo>
                    <a:pt x="387" y="13"/>
                    <a:pt x="387" y="13"/>
                    <a:pt x="387" y="13"/>
                  </a:cubicBezTo>
                  <a:cubicBezTo>
                    <a:pt x="387" y="13"/>
                    <a:pt x="386" y="13"/>
                    <a:pt x="386" y="13"/>
                  </a:cubicBezTo>
                  <a:cubicBezTo>
                    <a:pt x="386" y="13"/>
                    <a:pt x="386" y="13"/>
                    <a:pt x="386" y="13"/>
                  </a:cubicBezTo>
                  <a:cubicBezTo>
                    <a:pt x="345" y="13"/>
                    <a:pt x="304" y="12"/>
                    <a:pt x="263" y="12"/>
                  </a:cubicBezTo>
                  <a:cubicBezTo>
                    <a:pt x="171" y="10"/>
                    <a:pt x="83" y="6"/>
                    <a:pt x="0" y="0"/>
                  </a:cubicBezTo>
                </a:path>
              </a:pathLst>
            </a:custGeom>
            <a:solidFill>
              <a:schemeClr val="accent1">
                <a:lumMod val="60000"/>
                <a:lumOff val="40000"/>
                <a:alpha val="25000"/>
              </a:schemeClr>
            </a:solidFill>
            <a:ln>
              <a:noFill/>
            </a:ln>
          </p:spPr>
          <p:txBody>
            <a:bodyPr vert="horz" wrap="square" lIns="91416" tIns="45708" rIns="91416" bIns="45708" numCol="1" anchor="t" anchorCtr="0" compatLnSpc="1">
              <a:prstTxWarp prst="textNoShape">
                <a:avLst/>
              </a:prstTxWarp>
            </a:bodyPr>
            <a:lstStyle/>
            <a:p>
              <a:endParaRPr lang="en-US" sz="3599" dirty="0">
                <a:latin typeface="Muli ExtraLight" panose="02000303000000000000" pitchFamily="2" charset="77"/>
              </a:endParaRPr>
            </a:p>
          </p:txBody>
        </p:sp>
      </p:grpSp>
      <p:sp>
        <p:nvSpPr>
          <p:cNvPr id="20" name="Freeform: Shape 93">
            <a:extLst>
              <a:ext uri="{FF2B5EF4-FFF2-40B4-BE49-F238E27FC236}">
                <a16:creationId xmlns:a16="http://schemas.microsoft.com/office/drawing/2014/main" id="{395C9734-1F41-6345-83BE-3D0EB478573C}"/>
              </a:ext>
            </a:extLst>
          </p:cNvPr>
          <p:cNvSpPr>
            <a:spLocks/>
          </p:cNvSpPr>
          <p:nvPr/>
        </p:nvSpPr>
        <p:spPr bwMode="auto">
          <a:xfrm>
            <a:off x="1588" y="3998668"/>
            <a:ext cx="3305036" cy="518671"/>
          </a:xfrm>
          <a:custGeom>
            <a:avLst/>
            <a:gdLst>
              <a:gd name="connsiteX0" fmla="*/ 0 w 3305897"/>
              <a:gd name="connsiteY0" fmla="*/ 0 h 518806"/>
              <a:gd name="connsiteX1" fmla="*/ 838200 w 3305897"/>
              <a:gd name="connsiteY1" fmla="*/ 0 h 518806"/>
              <a:gd name="connsiteX2" fmla="*/ 1601897 w 3305897"/>
              <a:gd name="connsiteY2" fmla="*/ 0 h 518806"/>
              <a:gd name="connsiteX3" fmla="*/ 2994277 w 3305897"/>
              <a:gd name="connsiteY3" fmla="*/ 0 h 518806"/>
              <a:gd name="connsiteX4" fmla="*/ 3305897 w 3305897"/>
              <a:gd name="connsiteY4" fmla="*/ 518806 h 518806"/>
              <a:gd name="connsiteX5" fmla="*/ 1888251 w 3305897"/>
              <a:gd name="connsiteY5" fmla="*/ 518806 h 518806"/>
              <a:gd name="connsiteX6" fmla="*/ 838200 w 3305897"/>
              <a:gd name="connsiteY6" fmla="*/ 518806 h 518806"/>
              <a:gd name="connsiteX7" fmla="*/ 0 w 3305897"/>
              <a:gd name="connsiteY7" fmla="*/ 518806 h 51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5897" h="518806">
                <a:moveTo>
                  <a:pt x="0" y="0"/>
                </a:moveTo>
                <a:lnTo>
                  <a:pt x="838200" y="0"/>
                </a:lnTo>
                <a:lnTo>
                  <a:pt x="1601897" y="0"/>
                </a:lnTo>
                <a:lnTo>
                  <a:pt x="2994277" y="0"/>
                </a:lnTo>
                <a:lnTo>
                  <a:pt x="3305897" y="518806"/>
                </a:lnTo>
                <a:lnTo>
                  <a:pt x="1888251" y="518806"/>
                </a:lnTo>
                <a:lnTo>
                  <a:pt x="838200" y="518806"/>
                </a:lnTo>
                <a:lnTo>
                  <a:pt x="0" y="518806"/>
                </a:lnTo>
                <a:close/>
              </a:path>
            </a:pathLst>
          </a:custGeom>
          <a:solidFill>
            <a:schemeClr val="accent2">
              <a:lumMod val="75000"/>
            </a:schemeClr>
          </a:solidFill>
          <a:ln>
            <a:noFill/>
          </a:ln>
        </p:spPr>
        <p:txBody>
          <a:bodyPr vert="horz" wrap="square" lIns="91416" tIns="45708" rIns="91416" bIns="45708" numCol="1" anchor="t" anchorCtr="0" compatLnSpc="1">
            <a:prstTxWarp prst="textNoShape">
              <a:avLst/>
            </a:prstTxWarp>
            <a:noAutofit/>
          </a:bodyPr>
          <a:lstStyle/>
          <a:p>
            <a:endParaRPr lang="en-US" sz="3599" dirty="0">
              <a:latin typeface="Muli ExtraLight" panose="02000303000000000000" pitchFamily="2" charset="77"/>
            </a:endParaRPr>
          </a:p>
        </p:txBody>
      </p:sp>
      <p:sp>
        <p:nvSpPr>
          <p:cNvPr id="21" name="Freeform: Shape 89">
            <a:extLst>
              <a:ext uri="{FF2B5EF4-FFF2-40B4-BE49-F238E27FC236}">
                <a16:creationId xmlns:a16="http://schemas.microsoft.com/office/drawing/2014/main" id="{5E515208-FA66-9E4C-8F62-83C26D4A1EE1}"/>
              </a:ext>
            </a:extLst>
          </p:cNvPr>
          <p:cNvSpPr>
            <a:spLocks/>
          </p:cNvSpPr>
          <p:nvPr/>
        </p:nvSpPr>
        <p:spPr bwMode="auto">
          <a:xfrm>
            <a:off x="7431" y="3087962"/>
            <a:ext cx="2719899" cy="518671"/>
          </a:xfrm>
          <a:custGeom>
            <a:avLst/>
            <a:gdLst>
              <a:gd name="connsiteX0" fmla="*/ 0 w 2720607"/>
              <a:gd name="connsiteY0" fmla="*/ 0 h 518806"/>
              <a:gd name="connsiteX1" fmla="*/ 832356 w 2720607"/>
              <a:gd name="connsiteY1" fmla="*/ 0 h 518806"/>
              <a:gd name="connsiteX2" fmla="*/ 1601897 w 2720607"/>
              <a:gd name="connsiteY2" fmla="*/ 0 h 518806"/>
              <a:gd name="connsiteX3" fmla="*/ 2434253 w 2720607"/>
              <a:gd name="connsiteY3" fmla="*/ 0 h 518806"/>
              <a:gd name="connsiteX4" fmla="*/ 2720607 w 2720607"/>
              <a:gd name="connsiteY4" fmla="*/ 518806 h 518806"/>
              <a:gd name="connsiteX5" fmla="*/ 1888251 w 2720607"/>
              <a:gd name="connsiteY5" fmla="*/ 518806 h 518806"/>
              <a:gd name="connsiteX6" fmla="*/ 832356 w 2720607"/>
              <a:gd name="connsiteY6" fmla="*/ 518806 h 518806"/>
              <a:gd name="connsiteX7" fmla="*/ 0 w 2720607"/>
              <a:gd name="connsiteY7" fmla="*/ 518806 h 51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20607" h="518806">
                <a:moveTo>
                  <a:pt x="0" y="0"/>
                </a:moveTo>
                <a:lnTo>
                  <a:pt x="832356" y="0"/>
                </a:lnTo>
                <a:lnTo>
                  <a:pt x="1601897" y="0"/>
                </a:lnTo>
                <a:lnTo>
                  <a:pt x="2434253" y="0"/>
                </a:lnTo>
                <a:lnTo>
                  <a:pt x="2720607" y="518806"/>
                </a:lnTo>
                <a:lnTo>
                  <a:pt x="1888251" y="518806"/>
                </a:lnTo>
                <a:lnTo>
                  <a:pt x="832356" y="518806"/>
                </a:lnTo>
                <a:lnTo>
                  <a:pt x="0" y="518806"/>
                </a:lnTo>
                <a:close/>
              </a:path>
            </a:pathLst>
          </a:custGeom>
          <a:solidFill>
            <a:schemeClr val="accent1">
              <a:lumMod val="75000"/>
            </a:schemeClr>
          </a:solidFill>
          <a:ln>
            <a:noFill/>
          </a:ln>
        </p:spPr>
        <p:txBody>
          <a:bodyPr vert="horz" wrap="square" lIns="91416" tIns="45708" rIns="91416" bIns="45708" numCol="1" anchor="t" anchorCtr="0" compatLnSpc="1">
            <a:prstTxWarp prst="textNoShape">
              <a:avLst/>
            </a:prstTxWarp>
            <a:noAutofit/>
          </a:bodyPr>
          <a:lstStyle/>
          <a:p>
            <a:endParaRPr lang="en-US" sz="3599" dirty="0">
              <a:latin typeface="Muli ExtraLight" panose="02000303000000000000" pitchFamily="2" charset="77"/>
            </a:endParaRPr>
          </a:p>
        </p:txBody>
      </p:sp>
      <p:sp>
        <p:nvSpPr>
          <p:cNvPr id="22" name="Freeform: Shape 94">
            <a:extLst>
              <a:ext uri="{FF2B5EF4-FFF2-40B4-BE49-F238E27FC236}">
                <a16:creationId xmlns:a16="http://schemas.microsoft.com/office/drawing/2014/main" id="{18BAD1DC-149E-B94B-818F-E77D54545CFC}"/>
              </a:ext>
            </a:extLst>
          </p:cNvPr>
          <p:cNvSpPr>
            <a:spLocks/>
          </p:cNvSpPr>
          <p:nvPr/>
        </p:nvSpPr>
        <p:spPr bwMode="auto">
          <a:xfrm>
            <a:off x="-19269" y="4897189"/>
            <a:ext cx="3874876" cy="518671"/>
          </a:xfrm>
          <a:custGeom>
            <a:avLst/>
            <a:gdLst>
              <a:gd name="connsiteX0" fmla="*/ 0 w 3875885"/>
              <a:gd name="connsiteY0" fmla="*/ 0 h 518806"/>
              <a:gd name="connsiteX1" fmla="*/ 859062 w 3875885"/>
              <a:gd name="connsiteY1" fmla="*/ 0 h 518806"/>
              <a:gd name="connsiteX2" fmla="*/ 1601897 w 3875885"/>
              <a:gd name="connsiteY2" fmla="*/ 0 h 518806"/>
              <a:gd name="connsiteX3" fmla="*/ 3565949 w 3875885"/>
              <a:gd name="connsiteY3" fmla="*/ 0 h 518806"/>
              <a:gd name="connsiteX4" fmla="*/ 3875885 w 3875885"/>
              <a:gd name="connsiteY4" fmla="*/ 518806 h 518806"/>
              <a:gd name="connsiteX5" fmla="*/ 1888251 w 3875885"/>
              <a:gd name="connsiteY5" fmla="*/ 518806 h 518806"/>
              <a:gd name="connsiteX6" fmla="*/ 859062 w 3875885"/>
              <a:gd name="connsiteY6" fmla="*/ 518806 h 518806"/>
              <a:gd name="connsiteX7" fmla="*/ 0 w 3875885"/>
              <a:gd name="connsiteY7" fmla="*/ 518806 h 51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75885" h="518806">
                <a:moveTo>
                  <a:pt x="0" y="0"/>
                </a:moveTo>
                <a:lnTo>
                  <a:pt x="859062" y="0"/>
                </a:lnTo>
                <a:lnTo>
                  <a:pt x="1601897" y="0"/>
                </a:lnTo>
                <a:lnTo>
                  <a:pt x="3565949" y="0"/>
                </a:lnTo>
                <a:lnTo>
                  <a:pt x="3875885" y="518806"/>
                </a:lnTo>
                <a:lnTo>
                  <a:pt x="1888251" y="518806"/>
                </a:lnTo>
                <a:lnTo>
                  <a:pt x="859062" y="518806"/>
                </a:lnTo>
                <a:lnTo>
                  <a:pt x="0" y="518806"/>
                </a:lnTo>
                <a:close/>
              </a:path>
            </a:pathLst>
          </a:custGeom>
          <a:solidFill>
            <a:schemeClr val="accent3">
              <a:lumMod val="75000"/>
            </a:schemeClr>
          </a:solidFill>
          <a:ln>
            <a:noFill/>
          </a:ln>
        </p:spPr>
        <p:txBody>
          <a:bodyPr vert="horz" wrap="square" lIns="91416" tIns="45708" rIns="91416" bIns="45708" numCol="1" anchor="t" anchorCtr="0" compatLnSpc="1">
            <a:prstTxWarp prst="textNoShape">
              <a:avLst/>
            </a:prstTxWarp>
            <a:noAutofit/>
          </a:bodyPr>
          <a:lstStyle/>
          <a:p>
            <a:endParaRPr lang="en-US" sz="3599" dirty="0">
              <a:latin typeface="Muli ExtraLight" panose="02000303000000000000" pitchFamily="2" charset="77"/>
            </a:endParaRPr>
          </a:p>
        </p:txBody>
      </p:sp>
      <p:sp>
        <p:nvSpPr>
          <p:cNvPr id="23" name="Freeform: Shape 95">
            <a:extLst>
              <a:ext uri="{FF2B5EF4-FFF2-40B4-BE49-F238E27FC236}">
                <a16:creationId xmlns:a16="http://schemas.microsoft.com/office/drawing/2014/main" id="{281E5FCC-DB55-324C-983A-5000A81F2822}"/>
              </a:ext>
            </a:extLst>
          </p:cNvPr>
          <p:cNvSpPr>
            <a:spLocks/>
          </p:cNvSpPr>
          <p:nvPr/>
        </p:nvSpPr>
        <p:spPr bwMode="auto">
          <a:xfrm>
            <a:off x="-37701" y="5792208"/>
            <a:ext cx="4366510" cy="518671"/>
          </a:xfrm>
          <a:custGeom>
            <a:avLst/>
            <a:gdLst>
              <a:gd name="connsiteX0" fmla="*/ 0 w 4367647"/>
              <a:gd name="connsiteY0" fmla="*/ 0 h 518806"/>
              <a:gd name="connsiteX1" fmla="*/ 877499 w 4367647"/>
              <a:gd name="connsiteY1" fmla="*/ 0 h 518806"/>
              <a:gd name="connsiteX2" fmla="*/ 1601897 w 4367647"/>
              <a:gd name="connsiteY2" fmla="*/ 0 h 518806"/>
              <a:gd name="connsiteX3" fmla="*/ 4081293 w 4367647"/>
              <a:gd name="connsiteY3" fmla="*/ 0 h 518806"/>
              <a:gd name="connsiteX4" fmla="*/ 4367647 w 4367647"/>
              <a:gd name="connsiteY4" fmla="*/ 518806 h 518806"/>
              <a:gd name="connsiteX5" fmla="*/ 1888251 w 4367647"/>
              <a:gd name="connsiteY5" fmla="*/ 518806 h 518806"/>
              <a:gd name="connsiteX6" fmla="*/ 877499 w 4367647"/>
              <a:gd name="connsiteY6" fmla="*/ 518806 h 518806"/>
              <a:gd name="connsiteX7" fmla="*/ 0 w 4367647"/>
              <a:gd name="connsiteY7" fmla="*/ 518806 h 51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67647" h="518806">
                <a:moveTo>
                  <a:pt x="0" y="0"/>
                </a:moveTo>
                <a:lnTo>
                  <a:pt x="877499" y="0"/>
                </a:lnTo>
                <a:lnTo>
                  <a:pt x="1601897" y="0"/>
                </a:lnTo>
                <a:lnTo>
                  <a:pt x="4081293" y="0"/>
                </a:lnTo>
                <a:lnTo>
                  <a:pt x="4367647" y="518806"/>
                </a:lnTo>
                <a:lnTo>
                  <a:pt x="1888251" y="518806"/>
                </a:lnTo>
                <a:lnTo>
                  <a:pt x="877499" y="518806"/>
                </a:lnTo>
                <a:lnTo>
                  <a:pt x="0" y="518806"/>
                </a:lnTo>
                <a:close/>
              </a:path>
            </a:pathLst>
          </a:custGeom>
          <a:solidFill>
            <a:schemeClr val="accent4">
              <a:lumMod val="75000"/>
            </a:schemeClr>
          </a:solidFill>
          <a:ln>
            <a:noFill/>
          </a:ln>
        </p:spPr>
        <p:txBody>
          <a:bodyPr vert="horz" wrap="square" lIns="91416" tIns="45708" rIns="91416" bIns="45708" numCol="1" anchor="t" anchorCtr="0" compatLnSpc="1">
            <a:prstTxWarp prst="textNoShape">
              <a:avLst/>
            </a:prstTxWarp>
            <a:noAutofit/>
          </a:bodyPr>
          <a:lstStyle/>
          <a:p>
            <a:endParaRPr lang="en-US" sz="3599" dirty="0">
              <a:latin typeface="Muli ExtraLight" panose="02000303000000000000" pitchFamily="2" charset="77"/>
            </a:endParaRPr>
          </a:p>
        </p:txBody>
      </p:sp>
      <p:sp>
        <p:nvSpPr>
          <p:cNvPr id="26" name="TextBox 25">
            <a:extLst>
              <a:ext uri="{FF2B5EF4-FFF2-40B4-BE49-F238E27FC236}">
                <a16:creationId xmlns:a16="http://schemas.microsoft.com/office/drawing/2014/main" id="{F53CBF69-7027-5C4C-AA65-F3F5C07FA15D}"/>
              </a:ext>
            </a:extLst>
          </p:cNvPr>
          <p:cNvSpPr txBox="1"/>
          <p:nvPr/>
        </p:nvSpPr>
        <p:spPr>
          <a:xfrm>
            <a:off x="3125018" y="1701988"/>
            <a:ext cx="1203791" cy="338554"/>
          </a:xfrm>
          <a:prstGeom prst="rect">
            <a:avLst/>
          </a:prstGeom>
          <a:noFill/>
        </p:spPr>
        <p:txBody>
          <a:bodyPr wrap="none" rtlCol="0" anchor="ctr" anchorCtr="0">
            <a:spAutoFit/>
          </a:bodyPr>
          <a:lstStyle/>
          <a:p>
            <a:pPr algn="r"/>
            <a:r>
              <a:rPr lang="en-US" sz="1600" b="1" dirty="0">
                <a:solidFill>
                  <a:schemeClr val="tx2"/>
                </a:solidFill>
                <a:latin typeface="Segoe UI Light" panose="020B0502040204020203" pitchFamily="34" charset="0"/>
                <a:ea typeface="League Spartan" charset="0"/>
                <a:cs typeface="Poppins" pitchFamily="2" charset="77"/>
              </a:rPr>
              <a:t>YOUR TITLE</a:t>
            </a:r>
          </a:p>
        </p:txBody>
      </p:sp>
      <p:sp>
        <p:nvSpPr>
          <p:cNvPr id="27" name="TextBox 26">
            <a:extLst>
              <a:ext uri="{FF2B5EF4-FFF2-40B4-BE49-F238E27FC236}">
                <a16:creationId xmlns:a16="http://schemas.microsoft.com/office/drawing/2014/main" id="{530C0149-3B9A-D245-B4D8-4D9895A07B26}"/>
              </a:ext>
            </a:extLst>
          </p:cNvPr>
          <p:cNvSpPr txBox="1"/>
          <p:nvPr/>
        </p:nvSpPr>
        <p:spPr>
          <a:xfrm>
            <a:off x="5286393" y="2025575"/>
            <a:ext cx="1203791" cy="338554"/>
          </a:xfrm>
          <a:prstGeom prst="rect">
            <a:avLst/>
          </a:prstGeom>
          <a:noFill/>
        </p:spPr>
        <p:txBody>
          <a:bodyPr wrap="none" rtlCol="0" anchor="ctr" anchorCtr="0">
            <a:spAutoFit/>
          </a:bodyPr>
          <a:lstStyle/>
          <a:p>
            <a:r>
              <a:rPr lang="en-US" sz="1600" b="1" dirty="0">
                <a:solidFill>
                  <a:schemeClr val="bg1"/>
                </a:solidFill>
                <a:latin typeface="Segoe UI Light" panose="020B0502040204020203" pitchFamily="34" charset="0"/>
                <a:ea typeface="League Spartan" charset="0"/>
                <a:cs typeface="Poppins" pitchFamily="2" charset="77"/>
              </a:rPr>
              <a:t>YOUR TITLE</a:t>
            </a:r>
          </a:p>
        </p:txBody>
      </p:sp>
      <p:sp>
        <p:nvSpPr>
          <p:cNvPr id="29" name="Freeform 975">
            <a:extLst>
              <a:ext uri="{FF2B5EF4-FFF2-40B4-BE49-F238E27FC236}">
                <a16:creationId xmlns:a16="http://schemas.microsoft.com/office/drawing/2014/main" id="{5DC6436A-B4F8-3644-83CC-CCC4177C5710}"/>
              </a:ext>
            </a:extLst>
          </p:cNvPr>
          <p:cNvSpPr>
            <a:spLocks noChangeArrowheads="1"/>
          </p:cNvSpPr>
          <p:nvPr/>
        </p:nvSpPr>
        <p:spPr bwMode="auto">
          <a:xfrm>
            <a:off x="4523032" y="4266921"/>
            <a:ext cx="366053" cy="366053"/>
          </a:xfrm>
          <a:custGeom>
            <a:avLst/>
            <a:gdLst>
              <a:gd name="T0" fmla="*/ 226059 w 294916"/>
              <a:gd name="T1" fmla="*/ 176476 h 294915"/>
              <a:gd name="T2" fmla="*/ 39383 w 294916"/>
              <a:gd name="T3" fmla="*/ 159344 h 294915"/>
              <a:gd name="T4" fmla="*/ 87118 w 294916"/>
              <a:gd name="T5" fmla="*/ 231379 h 294915"/>
              <a:gd name="T6" fmla="*/ 102421 w 294916"/>
              <a:gd name="T7" fmla="*/ 181674 h 294915"/>
              <a:gd name="T8" fmla="*/ 122317 w 294916"/>
              <a:gd name="T9" fmla="*/ 162150 h 294915"/>
              <a:gd name="T10" fmla="*/ 117904 w 294916"/>
              <a:gd name="T11" fmla="*/ 157738 h 294915"/>
              <a:gd name="T12" fmla="*/ 111167 w 294916"/>
              <a:gd name="T13" fmla="*/ 178434 h 294915"/>
              <a:gd name="T14" fmla="*/ 105337 w 294916"/>
              <a:gd name="T15" fmla="*/ 230299 h 294915"/>
              <a:gd name="T16" fmla="*/ 93311 w 294916"/>
              <a:gd name="T17" fmla="*/ 241105 h 294915"/>
              <a:gd name="T18" fmla="*/ 49222 w 294916"/>
              <a:gd name="T19" fmla="*/ 227418 h 294915"/>
              <a:gd name="T20" fmla="*/ 30274 w 294916"/>
              <a:gd name="T21" fmla="*/ 200764 h 294915"/>
              <a:gd name="T22" fmla="*/ 36467 w 294916"/>
              <a:gd name="T23" fmla="*/ 148539 h 294915"/>
              <a:gd name="T24" fmla="*/ 182867 w 294916"/>
              <a:gd name="T25" fmla="*/ 152591 h 294915"/>
              <a:gd name="T26" fmla="*/ 149771 w 294916"/>
              <a:gd name="T27" fmla="*/ 152591 h 294915"/>
              <a:gd name="T28" fmla="*/ 230647 w 294916"/>
              <a:gd name="T29" fmla="*/ 146584 h 294915"/>
              <a:gd name="T30" fmla="*/ 226059 w 294916"/>
              <a:gd name="T31" fmla="*/ 141805 h 294915"/>
              <a:gd name="T32" fmla="*/ 226059 w 294916"/>
              <a:gd name="T33" fmla="*/ 128692 h 294915"/>
              <a:gd name="T34" fmla="*/ 154127 w 294916"/>
              <a:gd name="T35" fmla="*/ 119499 h 294915"/>
              <a:gd name="T36" fmla="*/ 202410 w 294916"/>
              <a:gd name="T37" fmla="*/ 128692 h 294915"/>
              <a:gd name="T38" fmla="*/ 154127 w 294916"/>
              <a:gd name="T39" fmla="*/ 119499 h 294915"/>
              <a:gd name="T40" fmla="*/ 226059 w 294916"/>
              <a:gd name="T41" fmla="*/ 104792 h 294915"/>
              <a:gd name="T42" fmla="*/ 154127 w 294916"/>
              <a:gd name="T43" fmla="*/ 89227 h 294915"/>
              <a:gd name="T44" fmla="*/ 202410 w 294916"/>
              <a:gd name="T45" fmla="*/ 98419 h 294915"/>
              <a:gd name="T46" fmla="*/ 154127 w 294916"/>
              <a:gd name="T47" fmla="*/ 89227 h 294915"/>
              <a:gd name="T48" fmla="*/ 226059 w 294916"/>
              <a:gd name="T49" fmla="*/ 80892 h 294915"/>
              <a:gd name="T50" fmla="*/ 54323 w 294916"/>
              <a:gd name="T51" fmla="*/ 63384 h 294915"/>
              <a:gd name="T52" fmla="*/ 39383 w 294916"/>
              <a:gd name="T53" fmla="*/ 112369 h 294915"/>
              <a:gd name="T54" fmla="*/ 86389 w 294916"/>
              <a:gd name="T55" fmla="*/ 74909 h 294915"/>
              <a:gd name="T56" fmla="*/ 92583 w 294916"/>
              <a:gd name="T57" fmla="*/ 67346 h 294915"/>
              <a:gd name="T58" fmla="*/ 111167 w 294916"/>
              <a:gd name="T59" fmla="*/ 93639 h 294915"/>
              <a:gd name="T60" fmla="*/ 106795 w 294916"/>
              <a:gd name="T61" fmla="*/ 146225 h 294915"/>
              <a:gd name="T62" fmla="*/ 30274 w 294916"/>
              <a:gd name="T63" fmla="*/ 115611 h 294915"/>
              <a:gd name="T64" fmla="*/ 36467 w 294916"/>
              <a:gd name="T65" fmla="*/ 64104 h 294915"/>
              <a:gd name="T66" fmla="*/ 48493 w 294916"/>
              <a:gd name="T67" fmla="*/ 53658 h 294915"/>
              <a:gd name="T68" fmla="*/ 9372 w 294916"/>
              <a:gd name="T69" fmla="*/ 240339 h 294915"/>
              <a:gd name="T70" fmla="*/ 9372 w 294916"/>
              <a:gd name="T71" fmla="*/ 10842 h 294915"/>
              <a:gd name="T72" fmla="*/ 140607 w 294916"/>
              <a:gd name="T73" fmla="*/ 52405 h 294915"/>
              <a:gd name="T74" fmla="*/ 191441 w 294916"/>
              <a:gd name="T75" fmla="*/ 200223 h 294915"/>
              <a:gd name="T76" fmla="*/ 153946 w 294916"/>
              <a:gd name="T77" fmla="*/ 191188 h 294915"/>
              <a:gd name="T78" fmla="*/ 245160 w 294916"/>
              <a:gd name="T79" fmla="*/ 123603 h 294915"/>
              <a:gd name="T80" fmla="*/ 153946 w 294916"/>
              <a:gd name="T81" fmla="*/ 56741 h 294915"/>
              <a:gd name="T82" fmla="*/ 191441 w 294916"/>
              <a:gd name="T83" fmla="*/ 47706 h 294915"/>
              <a:gd name="T84" fmla="*/ 4688 w 294916"/>
              <a:gd name="T85" fmla="*/ 0 h 294915"/>
              <a:gd name="T86" fmla="*/ 200454 w 294916"/>
              <a:gd name="T87" fmla="*/ 47706 h 294915"/>
              <a:gd name="T88" fmla="*/ 295994 w 294916"/>
              <a:gd name="T89" fmla="*/ 82041 h 294915"/>
              <a:gd name="T90" fmla="*/ 291307 w 294916"/>
              <a:gd name="T91" fmla="*/ 161190 h 294915"/>
              <a:gd name="T92" fmla="*/ 291307 w 294916"/>
              <a:gd name="T93" fmla="*/ 200223 h 294915"/>
              <a:gd name="T94" fmla="*/ 195767 w 294916"/>
              <a:gd name="T95" fmla="*/ 248290 h 294915"/>
              <a:gd name="T96" fmla="*/ 138804 w 294916"/>
              <a:gd name="T97" fmla="*/ 294913 h 294915"/>
              <a:gd name="T98" fmla="*/ 3245 w 294916"/>
              <a:gd name="T99" fmla="*/ 247567 h 294915"/>
              <a:gd name="T100" fmla="*/ 4688 w 294916"/>
              <a:gd name="T101" fmla="*/ 0 h 29491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4916" h="294915">
                <a:moveTo>
                  <a:pt x="225235" y="166687"/>
                </a:moveTo>
                <a:cubicBezTo>
                  <a:pt x="227902" y="166687"/>
                  <a:pt x="229807" y="168592"/>
                  <a:pt x="229807" y="171259"/>
                </a:cubicBezTo>
                <a:cubicBezTo>
                  <a:pt x="229807" y="173926"/>
                  <a:pt x="227902" y="175831"/>
                  <a:pt x="225235" y="175831"/>
                </a:cubicBezTo>
                <a:cubicBezTo>
                  <a:pt x="222568" y="175831"/>
                  <a:pt x="220663" y="173926"/>
                  <a:pt x="220663" y="171259"/>
                </a:cubicBezTo>
                <a:cubicBezTo>
                  <a:pt x="220663" y="168592"/>
                  <a:pt x="222568" y="166687"/>
                  <a:pt x="225235" y="166687"/>
                </a:cubicBezTo>
                <a:close/>
                <a:moveTo>
                  <a:pt x="39239" y="158762"/>
                </a:moveTo>
                <a:lnTo>
                  <a:pt x="39239" y="196801"/>
                </a:lnTo>
                <a:cubicBezTo>
                  <a:pt x="47953" y="201108"/>
                  <a:pt x="53762" y="209720"/>
                  <a:pt x="54851" y="219051"/>
                </a:cubicBezTo>
                <a:lnTo>
                  <a:pt x="86800" y="230534"/>
                </a:lnTo>
                <a:cubicBezTo>
                  <a:pt x="88252" y="227663"/>
                  <a:pt x="90067" y="225151"/>
                  <a:pt x="92972" y="222998"/>
                </a:cubicBezTo>
                <a:cubicBezTo>
                  <a:pt x="95513" y="221563"/>
                  <a:pt x="98781" y="220486"/>
                  <a:pt x="102048" y="220127"/>
                </a:cubicBezTo>
                <a:lnTo>
                  <a:pt x="102048" y="181011"/>
                </a:lnTo>
                <a:lnTo>
                  <a:pt x="39239" y="158762"/>
                </a:lnTo>
                <a:close/>
                <a:moveTo>
                  <a:pt x="117475" y="157162"/>
                </a:moveTo>
                <a:cubicBezTo>
                  <a:pt x="120040" y="157162"/>
                  <a:pt x="121871" y="158994"/>
                  <a:pt x="121871" y="161558"/>
                </a:cubicBezTo>
                <a:cubicBezTo>
                  <a:pt x="121871" y="164123"/>
                  <a:pt x="120040" y="166321"/>
                  <a:pt x="117475" y="166321"/>
                </a:cubicBezTo>
                <a:cubicBezTo>
                  <a:pt x="114911" y="166321"/>
                  <a:pt x="112713" y="164123"/>
                  <a:pt x="112713" y="161558"/>
                </a:cubicBezTo>
                <a:cubicBezTo>
                  <a:pt x="112713" y="158994"/>
                  <a:pt x="114911" y="157162"/>
                  <a:pt x="117475" y="157162"/>
                </a:cubicBezTo>
                <a:close/>
                <a:moveTo>
                  <a:pt x="36335" y="147996"/>
                </a:moveTo>
                <a:lnTo>
                  <a:pt x="107857" y="173834"/>
                </a:lnTo>
                <a:cubicBezTo>
                  <a:pt x="109673" y="174193"/>
                  <a:pt x="110762" y="175987"/>
                  <a:pt x="110762" y="177782"/>
                </a:cubicBezTo>
                <a:lnTo>
                  <a:pt x="110762" y="225510"/>
                </a:lnTo>
                <a:cubicBezTo>
                  <a:pt x="110762" y="226946"/>
                  <a:pt x="110399" y="228022"/>
                  <a:pt x="108946" y="229099"/>
                </a:cubicBezTo>
                <a:cubicBezTo>
                  <a:pt x="107857" y="229817"/>
                  <a:pt x="106405" y="230175"/>
                  <a:pt x="104953" y="229458"/>
                </a:cubicBezTo>
                <a:cubicBezTo>
                  <a:pt x="102774" y="228740"/>
                  <a:pt x="100233" y="229099"/>
                  <a:pt x="98055" y="230534"/>
                </a:cubicBezTo>
                <a:cubicBezTo>
                  <a:pt x="95876" y="231970"/>
                  <a:pt x="94787" y="234123"/>
                  <a:pt x="94787" y="236635"/>
                </a:cubicBezTo>
                <a:cubicBezTo>
                  <a:pt x="94787" y="238070"/>
                  <a:pt x="94061" y="239147"/>
                  <a:pt x="92972" y="240224"/>
                </a:cubicBezTo>
                <a:cubicBezTo>
                  <a:pt x="92246" y="240941"/>
                  <a:pt x="91157" y="240941"/>
                  <a:pt x="90430" y="240941"/>
                </a:cubicBezTo>
                <a:cubicBezTo>
                  <a:pt x="89704" y="240941"/>
                  <a:pt x="89341" y="240941"/>
                  <a:pt x="88615" y="240941"/>
                </a:cubicBezTo>
                <a:lnTo>
                  <a:pt x="49042" y="226587"/>
                </a:lnTo>
                <a:cubicBezTo>
                  <a:pt x="47226" y="225869"/>
                  <a:pt x="46137" y="224075"/>
                  <a:pt x="46137" y="222280"/>
                </a:cubicBezTo>
                <a:cubicBezTo>
                  <a:pt x="46137" y="214385"/>
                  <a:pt x="41054" y="206849"/>
                  <a:pt x="33067" y="203978"/>
                </a:cubicBezTo>
                <a:cubicBezTo>
                  <a:pt x="31615" y="203620"/>
                  <a:pt x="30163" y="201825"/>
                  <a:pt x="30163" y="200031"/>
                </a:cubicBezTo>
                <a:lnTo>
                  <a:pt x="30163" y="152302"/>
                </a:lnTo>
                <a:cubicBezTo>
                  <a:pt x="30163" y="150867"/>
                  <a:pt x="30889" y="149431"/>
                  <a:pt x="32341" y="148355"/>
                </a:cubicBezTo>
                <a:cubicBezTo>
                  <a:pt x="33430" y="147637"/>
                  <a:pt x="34883" y="147637"/>
                  <a:pt x="36335" y="147996"/>
                </a:cubicBezTo>
                <a:close/>
                <a:moveTo>
                  <a:pt x="153574" y="147637"/>
                </a:moveTo>
                <a:lnTo>
                  <a:pt x="177490" y="147637"/>
                </a:lnTo>
                <a:cubicBezTo>
                  <a:pt x="180027" y="147637"/>
                  <a:pt x="182201" y="149835"/>
                  <a:pt x="182201" y="152033"/>
                </a:cubicBezTo>
                <a:cubicBezTo>
                  <a:pt x="182201" y="154598"/>
                  <a:pt x="180027" y="156796"/>
                  <a:pt x="177490" y="156796"/>
                </a:cubicBezTo>
                <a:lnTo>
                  <a:pt x="153574" y="156796"/>
                </a:lnTo>
                <a:cubicBezTo>
                  <a:pt x="151399" y="156796"/>
                  <a:pt x="149225" y="154598"/>
                  <a:pt x="149225" y="152033"/>
                </a:cubicBezTo>
                <a:cubicBezTo>
                  <a:pt x="149225" y="149835"/>
                  <a:pt x="151399" y="147637"/>
                  <a:pt x="153574" y="147637"/>
                </a:cubicBezTo>
                <a:close/>
                <a:moveTo>
                  <a:pt x="225235" y="141287"/>
                </a:moveTo>
                <a:cubicBezTo>
                  <a:pt x="227902" y="141287"/>
                  <a:pt x="229807" y="143485"/>
                  <a:pt x="229807" y="146049"/>
                </a:cubicBezTo>
                <a:cubicBezTo>
                  <a:pt x="229807" y="148614"/>
                  <a:pt x="227902" y="150446"/>
                  <a:pt x="225235" y="150446"/>
                </a:cubicBezTo>
                <a:cubicBezTo>
                  <a:pt x="222568" y="150446"/>
                  <a:pt x="220663" y="148614"/>
                  <a:pt x="220663" y="146049"/>
                </a:cubicBezTo>
                <a:cubicBezTo>
                  <a:pt x="220663" y="143485"/>
                  <a:pt x="222568" y="141287"/>
                  <a:pt x="225235" y="141287"/>
                </a:cubicBezTo>
                <a:close/>
                <a:moveTo>
                  <a:pt x="225235" y="119062"/>
                </a:moveTo>
                <a:cubicBezTo>
                  <a:pt x="227902" y="119062"/>
                  <a:pt x="229807" y="121260"/>
                  <a:pt x="229807" y="123458"/>
                </a:cubicBezTo>
                <a:cubicBezTo>
                  <a:pt x="229807" y="126389"/>
                  <a:pt x="227902" y="128221"/>
                  <a:pt x="225235" y="128221"/>
                </a:cubicBezTo>
                <a:cubicBezTo>
                  <a:pt x="222568" y="128221"/>
                  <a:pt x="220663" y="126389"/>
                  <a:pt x="220663" y="123458"/>
                </a:cubicBezTo>
                <a:cubicBezTo>
                  <a:pt x="220663" y="121260"/>
                  <a:pt x="222568" y="119062"/>
                  <a:pt x="225235" y="119062"/>
                </a:cubicBezTo>
                <a:close/>
                <a:moveTo>
                  <a:pt x="153566" y="119062"/>
                </a:moveTo>
                <a:lnTo>
                  <a:pt x="201673" y="119062"/>
                </a:lnTo>
                <a:cubicBezTo>
                  <a:pt x="204205" y="119062"/>
                  <a:pt x="206014" y="121260"/>
                  <a:pt x="206014" y="123458"/>
                </a:cubicBezTo>
                <a:cubicBezTo>
                  <a:pt x="206014" y="126389"/>
                  <a:pt x="204205" y="128221"/>
                  <a:pt x="201673" y="128221"/>
                </a:cubicBezTo>
                <a:lnTo>
                  <a:pt x="153566" y="128221"/>
                </a:lnTo>
                <a:cubicBezTo>
                  <a:pt x="151396" y="128221"/>
                  <a:pt x="149225" y="126389"/>
                  <a:pt x="149225" y="123458"/>
                </a:cubicBezTo>
                <a:cubicBezTo>
                  <a:pt x="149225" y="121260"/>
                  <a:pt x="151396" y="119062"/>
                  <a:pt x="153566" y="119062"/>
                </a:cubicBezTo>
                <a:close/>
                <a:moveTo>
                  <a:pt x="225235" y="95250"/>
                </a:moveTo>
                <a:cubicBezTo>
                  <a:pt x="227902" y="95250"/>
                  <a:pt x="229807" y="97448"/>
                  <a:pt x="229807" y="99646"/>
                </a:cubicBezTo>
                <a:cubicBezTo>
                  <a:pt x="229807" y="102210"/>
                  <a:pt x="227902" y="104409"/>
                  <a:pt x="225235" y="104409"/>
                </a:cubicBezTo>
                <a:cubicBezTo>
                  <a:pt x="222568" y="104409"/>
                  <a:pt x="220663" y="102210"/>
                  <a:pt x="220663" y="99646"/>
                </a:cubicBezTo>
                <a:cubicBezTo>
                  <a:pt x="220663" y="97448"/>
                  <a:pt x="222568" y="95250"/>
                  <a:pt x="225235" y="95250"/>
                </a:cubicBezTo>
                <a:close/>
                <a:moveTo>
                  <a:pt x="153566" y="88900"/>
                </a:moveTo>
                <a:lnTo>
                  <a:pt x="201673" y="88900"/>
                </a:lnTo>
                <a:cubicBezTo>
                  <a:pt x="204205" y="88900"/>
                  <a:pt x="206014" y="91098"/>
                  <a:pt x="206014" y="93662"/>
                </a:cubicBezTo>
                <a:cubicBezTo>
                  <a:pt x="206014" y="96227"/>
                  <a:pt x="204205" y="98059"/>
                  <a:pt x="201673" y="98059"/>
                </a:cubicBezTo>
                <a:lnTo>
                  <a:pt x="153566" y="98059"/>
                </a:lnTo>
                <a:cubicBezTo>
                  <a:pt x="151396" y="98059"/>
                  <a:pt x="149225" y="96227"/>
                  <a:pt x="149225" y="93662"/>
                </a:cubicBezTo>
                <a:cubicBezTo>
                  <a:pt x="149225" y="91098"/>
                  <a:pt x="151396" y="88900"/>
                  <a:pt x="153566" y="88900"/>
                </a:cubicBezTo>
                <a:close/>
                <a:moveTo>
                  <a:pt x="225235" y="71437"/>
                </a:moveTo>
                <a:cubicBezTo>
                  <a:pt x="227902" y="71437"/>
                  <a:pt x="229807" y="73269"/>
                  <a:pt x="229807" y="75833"/>
                </a:cubicBezTo>
                <a:cubicBezTo>
                  <a:pt x="229807" y="78397"/>
                  <a:pt x="227902" y="80596"/>
                  <a:pt x="225235" y="80596"/>
                </a:cubicBezTo>
                <a:cubicBezTo>
                  <a:pt x="222568" y="80596"/>
                  <a:pt x="220663" y="78397"/>
                  <a:pt x="220663" y="75833"/>
                </a:cubicBezTo>
                <a:cubicBezTo>
                  <a:pt x="220663" y="73269"/>
                  <a:pt x="222568" y="71437"/>
                  <a:pt x="225235" y="71437"/>
                </a:cubicBezTo>
                <a:close/>
                <a:moveTo>
                  <a:pt x="54125" y="63153"/>
                </a:moveTo>
                <a:cubicBezTo>
                  <a:pt x="53035" y="66024"/>
                  <a:pt x="50857" y="68536"/>
                  <a:pt x="48316" y="70330"/>
                </a:cubicBezTo>
                <a:cubicBezTo>
                  <a:pt x="45774" y="72483"/>
                  <a:pt x="42507" y="73201"/>
                  <a:pt x="39239" y="73560"/>
                </a:cubicBezTo>
                <a:lnTo>
                  <a:pt x="39239" y="111958"/>
                </a:lnTo>
                <a:lnTo>
                  <a:pt x="102048" y="134566"/>
                </a:lnTo>
                <a:lnTo>
                  <a:pt x="102048" y="96168"/>
                </a:lnTo>
                <a:cubicBezTo>
                  <a:pt x="93335" y="92221"/>
                  <a:pt x="87163" y="83608"/>
                  <a:pt x="86074" y="74636"/>
                </a:cubicBezTo>
                <a:lnTo>
                  <a:pt x="54125" y="63153"/>
                </a:lnTo>
                <a:close/>
                <a:moveTo>
                  <a:pt x="52672" y="52746"/>
                </a:moveTo>
                <a:lnTo>
                  <a:pt x="92246" y="67100"/>
                </a:lnTo>
                <a:cubicBezTo>
                  <a:pt x="94061" y="67818"/>
                  <a:pt x="95150" y="69253"/>
                  <a:pt x="95150" y="71407"/>
                </a:cubicBezTo>
                <a:cubicBezTo>
                  <a:pt x="95150" y="79302"/>
                  <a:pt x="100233" y="86120"/>
                  <a:pt x="107857" y="88991"/>
                </a:cubicBezTo>
                <a:cubicBezTo>
                  <a:pt x="109673" y="89709"/>
                  <a:pt x="110762" y="91503"/>
                  <a:pt x="110762" y="93297"/>
                </a:cubicBezTo>
                <a:lnTo>
                  <a:pt x="110762" y="141026"/>
                </a:lnTo>
                <a:cubicBezTo>
                  <a:pt x="110762" y="142461"/>
                  <a:pt x="110399" y="143897"/>
                  <a:pt x="108946" y="144614"/>
                </a:cubicBezTo>
                <a:cubicBezTo>
                  <a:pt x="108220" y="144973"/>
                  <a:pt x="107131" y="145691"/>
                  <a:pt x="106405" y="145691"/>
                </a:cubicBezTo>
                <a:cubicBezTo>
                  <a:pt x="105679" y="145691"/>
                  <a:pt x="105316" y="145332"/>
                  <a:pt x="104953" y="144973"/>
                </a:cubicBezTo>
                <a:lnTo>
                  <a:pt x="33067" y="119494"/>
                </a:lnTo>
                <a:cubicBezTo>
                  <a:pt x="31615" y="118776"/>
                  <a:pt x="30163" y="116982"/>
                  <a:pt x="30163" y="115188"/>
                </a:cubicBezTo>
                <a:lnTo>
                  <a:pt x="30163" y="68177"/>
                </a:lnTo>
                <a:cubicBezTo>
                  <a:pt x="30163" y="66741"/>
                  <a:pt x="30889" y="65306"/>
                  <a:pt x="32341" y="64588"/>
                </a:cubicBezTo>
                <a:cubicBezTo>
                  <a:pt x="33430" y="63870"/>
                  <a:pt x="34883" y="63512"/>
                  <a:pt x="36335" y="63870"/>
                </a:cubicBezTo>
                <a:cubicBezTo>
                  <a:pt x="38876" y="64588"/>
                  <a:pt x="41054" y="64588"/>
                  <a:pt x="43233" y="63153"/>
                </a:cubicBezTo>
                <a:cubicBezTo>
                  <a:pt x="45411" y="61717"/>
                  <a:pt x="46500" y="59564"/>
                  <a:pt x="46500" y="57052"/>
                </a:cubicBezTo>
                <a:cubicBezTo>
                  <a:pt x="46500" y="55617"/>
                  <a:pt x="47226" y="54181"/>
                  <a:pt x="48316" y="53463"/>
                </a:cubicBezTo>
                <a:cubicBezTo>
                  <a:pt x="49405" y="52746"/>
                  <a:pt x="50857" y="52387"/>
                  <a:pt x="52672" y="52746"/>
                </a:cubicBezTo>
                <a:close/>
                <a:moveTo>
                  <a:pt x="9339" y="10803"/>
                </a:moveTo>
                <a:lnTo>
                  <a:pt x="9339" y="239461"/>
                </a:lnTo>
                <a:lnTo>
                  <a:pt x="131113" y="284112"/>
                </a:lnTo>
                <a:lnTo>
                  <a:pt x="131113" y="55454"/>
                </a:lnTo>
                <a:lnTo>
                  <a:pt x="9339" y="10803"/>
                </a:lnTo>
                <a:close/>
                <a:moveTo>
                  <a:pt x="30174" y="9002"/>
                </a:moveTo>
                <a:lnTo>
                  <a:pt x="137220" y="47892"/>
                </a:lnTo>
                <a:cubicBezTo>
                  <a:pt x="139016" y="48612"/>
                  <a:pt x="140094" y="50413"/>
                  <a:pt x="140094" y="52213"/>
                </a:cubicBezTo>
                <a:lnTo>
                  <a:pt x="140094" y="238021"/>
                </a:lnTo>
                <a:lnTo>
                  <a:pt x="190744" y="238021"/>
                </a:lnTo>
                <a:lnTo>
                  <a:pt x="190744" y="199491"/>
                </a:lnTo>
                <a:lnTo>
                  <a:pt x="153385" y="199491"/>
                </a:lnTo>
                <a:cubicBezTo>
                  <a:pt x="151230" y="199491"/>
                  <a:pt x="149074" y="197330"/>
                  <a:pt x="149074" y="195170"/>
                </a:cubicBezTo>
                <a:cubicBezTo>
                  <a:pt x="149074" y="192289"/>
                  <a:pt x="151230" y="190489"/>
                  <a:pt x="153385" y="190489"/>
                </a:cubicBezTo>
                <a:lnTo>
                  <a:pt x="285936" y="190489"/>
                </a:lnTo>
                <a:lnTo>
                  <a:pt x="285936" y="169603"/>
                </a:lnTo>
                <a:cubicBezTo>
                  <a:pt x="262587" y="167083"/>
                  <a:pt x="244267" y="147638"/>
                  <a:pt x="244267" y="123151"/>
                </a:cubicBezTo>
                <a:cubicBezTo>
                  <a:pt x="244267" y="99385"/>
                  <a:pt x="262587" y="79940"/>
                  <a:pt x="285936" y="77780"/>
                </a:cubicBezTo>
                <a:lnTo>
                  <a:pt x="285936" y="56534"/>
                </a:lnTo>
                <a:lnTo>
                  <a:pt x="153385" y="56534"/>
                </a:lnTo>
                <a:cubicBezTo>
                  <a:pt x="151230" y="56534"/>
                  <a:pt x="149074" y="54374"/>
                  <a:pt x="149074" y="52213"/>
                </a:cubicBezTo>
                <a:cubicBezTo>
                  <a:pt x="149074" y="49692"/>
                  <a:pt x="151230" y="47532"/>
                  <a:pt x="153385" y="47532"/>
                </a:cubicBezTo>
                <a:lnTo>
                  <a:pt x="190744" y="47532"/>
                </a:lnTo>
                <a:lnTo>
                  <a:pt x="190744" y="9002"/>
                </a:lnTo>
                <a:lnTo>
                  <a:pt x="30174" y="9002"/>
                </a:lnTo>
                <a:close/>
                <a:moveTo>
                  <a:pt x="4670" y="0"/>
                </a:moveTo>
                <a:lnTo>
                  <a:pt x="195054" y="0"/>
                </a:lnTo>
                <a:cubicBezTo>
                  <a:pt x="197569" y="0"/>
                  <a:pt x="199724" y="1800"/>
                  <a:pt x="199724" y="4321"/>
                </a:cubicBezTo>
                <a:lnTo>
                  <a:pt x="199724" y="47532"/>
                </a:lnTo>
                <a:lnTo>
                  <a:pt x="290246" y="47532"/>
                </a:lnTo>
                <a:cubicBezTo>
                  <a:pt x="292761" y="47532"/>
                  <a:pt x="294916" y="49692"/>
                  <a:pt x="294916" y="52213"/>
                </a:cubicBezTo>
                <a:lnTo>
                  <a:pt x="294916" y="81741"/>
                </a:lnTo>
                <a:cubicBezTo>
                  <a:pt x="294916" y="83901"/>
                  <a:pt x="292761" y="86062"/>
                  <a:pt x="290246" y="86062"/>
                </a:cubicBezTo>
                <a:cubicBezTo>
                  <a:pt x="269771" y="86062"/>
                  <a:pt x="253247" y="102626"/>
                  <a:pt x="253247" y="123151"/>
                </a:cubicBezTo>
                <a:cubicBezTo>
                  <a:pt x="253247" y="144036"/>
                  <a:pt x="269771" y="160601"/>
                  <a:pt x="290246" y="160601"/>
                </a:cubicBezTo>
                <a:cubicBezTo>
                  <a:pt x="292761" y="160601"/>
                  <a:pt x="294916" y="162761"/>
                  <a:pt x="294916" y="165282"/>
                </a:cubicBezTo>
                <a:lnTo>
                  <a:pt x="294916" y="195170"/>
                </a:lnTo>
                <a:cubicBezTo>
                  <a:pt x="294916" y="197330"/>
                  <a:pt x="292761" y="199491"/>
                  <a:pt x="290246" y="199491"/>
                </a:cubicBezTo>
                <a:lnTo>
                  <a:pt x="199724" y="199491"/>
                </a:lnTo>
                <a:lnTo>
                  <a:pt x="199724" y="242702"/>
                </a:lnTo>
                <a:cubicBezTo>
                  <a:pt x="199724" y="245222"/>
                  <a:pt x="197569" y="247383"/>
                  <a:pt x="195054" y="247383"/>
                </a:cubicBezTo>
                <a:lnTo>
                  <a:pt x="140094" y="247383"/>
                </a:lnTo>
                <a:lnTo>
                  <a:pt x="140094" y="290234"/>
                </a:lnTo>
                <a:cubicBezTo>
                  <a:pt x="140094" y="291674"/>
                  <a:pt x="139375" y="293115"/>
                  <a:pt x="138298" y="293835"/>
                </a:cubicBezTo>
                <a:cubicBezTo>
                  <a:pt x="137579" y="294555"/>
                  <a:pt x="136502" y="294915"/>
                  <a:pt x="135783" y="294915"/>
                </a:cubicBezTo>
                <a:cubicBezTo>
                  <a:pt x="135065" y="294915"/>
                  <a:pt x="134706" y="294915"/>
                  <a:pt x="133987" y="294555"/>
                </a:cubicBezTo>
                <a:lnTo>
                  <a:pt x="3233" y="246663"/>
                </a:lnTo>
                <a:cubicBezTo>
                  <a:pt x="1437" y="246303"/>
                  <a:pt x="0" y="244502"/>
                  <a:pt x="0" y="242702"/>
                </a:cubicBezTo>
                <a:lnTo>
                  <a:pt x="0" y="4321"/>
                </a:lnTo>
                <a:cubicBezTo>
                  <a:pt x="0" y="1800"/>
                  <a:pt x="2514" y="0"/>
                  <a:pt x="4670" y="0"/>
                </a:cubicBezTo>
                <a:close/>
              </a:path>
            </a:pathLst>
          </a:custGeom>
          <a:solidFill>
            <a:schemeClr val="bg1"/>
          </a:solidFill>
          <a:ln>
            <a:noFill/>
          </a:ln>
          <a:effectLst/>
        </p:spPr>
        <p:txBody>
          <a:bodyPr anchor="ctr"/>
          <a:lstStyle/>
          <a:p>
            <a:endParaRPr lang="en-US" sz="900" dirty="0">
              <a:latin typeface="Muli ExtraLight" panose="02000303000000000000" pitchFamily="2" charset="77"/>
            </a:endParaRPr>
          </a:p>
        </p:txBody>
      </p:sp>
      <p:sp>
        <p:nvSpPr>
          <p:cNvPr id="30" name="Freeform 988">
            <a:extLst>
              <a:ext uri="{FF2B5EF4-FFF2-40B4-BE49-F238E27FC236}">
                <a16:creationId xmlns:a16="http://schemas.microsoft.com/office/drawing/2014/main" id="{348F59B6-2EAC-1746-9B48-CEA15026F180}"/>
              </a:ext>
            </a:extLst>
          </p:cNvPr>
          <p:cNvSpPr>
            <a:spLocks noChangeArrowheads="1"/>
          </p:cNvSpPr>
          <p:nvPr/>
        </p:nvSpPr>
        <p:spPr bwMode="auto">
          <a:xfrm>
            <a:off x="4511679" y="3451658"/>
            <a:ext cx="366053" cy="366053"/>
          </a:xfrm>
          <a:custGeom>
            <a:avLst/>
            <a:gdLst>
              <a:gd name="T0" fmla="*/ 222698 w 294915"/>
              <a:gd name="T1" fmla="*/ 246628 h 294916"/>
              <a:gd name="T2" fmla="*/ 218285 w 294915"/>
              <a:gd name="T3" fmla="*/ 257745 h 294916"/>
              <a:gd name="T4" fmla="*/ 213505 w 294915"/>
              <a:gd name="T5" fmla="*/ 246628 h 294916"/>
              <a:gd name="T6" fmla="*/ 218285 w 294915"/>
              <a:gd name="T7" fmla="*/ 216689 h 294916"/>
              <a:gd name="T8" fmla="*/ 222698 w 294915"/>
              <a:gd name="T9" fmla="*/ 227436 h 294916"/>
              <a:gd name="T10" fmla="*/ 213505 w 294915"/>
              <a:gd name="T11" fmla="*/ 227436 h 294916"/>
              <a:gd name="T12" fmla="*/ 218285 w 294915"/>
              <a:gd name="T13" fmla="*/ 216689 h 294916"/>
              <a:gd name="T14" fmla="*/ 222698 w 294915"/>
              <a:gd name="T15" fmla="*/ 197498 h 294916"/>
              <a:gd name="T16" fmla="*/ 218285 w 294915"/>
              <a:gd name="T17" fmla="*/ 208361 h 294916"/>
              <a:gd name="T18" fmla="*/ 213505 w 294915"/>
              <a:gd name="T19" fmla="*/ 197498 h 294916"/>
              <a:gd name="T20" fmla="*/ 218285 w 294915"/>
              <a:gd name="T21" fmla="*/ 167297 h 294916"/>
              <a:gd name="T22" fmla="*/ 222698 w 294915"/>
              <a:gd name="T23" fmla="*/ 178413 h 294916"/>
              <a:gd name="T24" fmla="*/ 213505 w 294915"/>
              <a:gd name="T25" fmla="*/ 178413 h 294916"/>
              <a:gd name="T26" fmla="*/ 218285 w 294915"/>
              <a:gd name="T27" fmla="*/ 167297 h 294916"/>
              <a:gd name="T28" fmla="*/ 86023 w 294915"/>
              <a:gd name="T29" fmla="*/ 100587 h 294916"/>
              <a:gd name="T30" fmla="*/ 180348 w 294915"/>
              <a:gd name="T31" fmla="*/ 208385 h 294916"/>
              <a:gd name="T32" fmla="*/ 213235 w 294915"/>
              <a:gd name="T33" fmla="*/ 269315 h 294916"/>
              <a:gd name="T34" fmla="*/ 221548 w 294915"/>
              <a:gd name="T35" fmla="*/ 269315 h 294916"/>
              <a:gd name="T36" fmla="*/ 254435 w 294915"/>
              <a:gd name="T37" fmla="*/ 188196 h 294916"/>
              <a:gd name="T38" fmla="*/ 263470 w 294915"/>
              <a:gd name="T39" fmla="*/ 188196 h 294916"/>
              <a:gd name="T40" fmla="*/ 275397 w 294915"/>
              <a:gd name="T41" fmla="*/ 287342 h 294916"/>
              <a:gd name="T42" fmla="*/ 287322 w 294915"/>
              <a:gd name="T43" fmla="*/ 182788 h 294916"/>
              <a:gd name="T44" fmla="*/ 221548 w 294915"/>
              <a:gd name="T45" fmla="*/ 154667 h 294916"/>
              <a:gd name="T46" fmla="*/ 213235 w 294915"/>
              <a:gd name="T47" fmla="*/ 154667 h 294916"/>
              <a:gd name="T48" fmla="*/ 162639 w 294915"/>
              <a:gd name="T49" fmla="*/ 143489 h 294916"/>
              <a:gd name="T50" fmla="*/ 126138 w 294915"/>
              <a:gd name="T51" fmla="*/ 100587 h 294916"/>
              <a:gd name="T52" fmla="*/ 169145 w 294915"/>
              <a:gd name="T53" fmla="*/ 137001 h 294916"/>
              <a:gd name="T54" fmla="*/ 258772 w 294915"/>
              <a:gd name="T55" fmla="*/ 146014 h 294916"/>
              <a:gd name="T56" fmla="*/ 295996 w 294915"/>
              <a:gd name="T57" fmla="*/ 275444 h 294916"/>
              <a:gd name="T58" fmla="*/ 254797 w 294915"/>
              <a:gd name="T59" fmla="*/ 278328 h 294916"/>
              <a:gd name="T60" fmla="*/ 180348 w 294915"/>
              <a:gd name="T61" fmla="*/ 291668 h 294916"/>
              <a:gd name="T62" fmla="*/ 171313 w 294915"/>
              <a:gd name="T63" fmla="*/ 291668 h 294916"/>
              <a:gd name="T64" fmla="*/ 164446 w 294915"/>
              <a:gd name="T65" fmla="*/ 191440 h 294916"/>
              <a:gd name="T66" fmla="*/ 79878 w 294915"/>
              <a:gd name="T67" fmla="*/ 100587 h 294916"/>
              <a:gd name="T68" fmla="*/ 193917 w 294915"/>
              <a:gd name="T69" fmla="*/ 96828 h 294916"/>
              <a:gd name="T70" fmla="*/ 242289 w 294915"/>
              <a:gd name="T71" fmla="*/ 96828 h 294916"/>
              <a:gd name="T72" fmla="*/ 218285 w 294915"/>
              <a:gd name="T73" fmla="*/ 63731 h 294916"/>
              <a:gd name="T74" fmla="*/ 218285 w 294915"/>
              <a:gd name="T75" fmla="*/ 130286 h 294916"/>
              <a:gd name="T76" fmla="*/ 218285 w 294915"/>
              <a:gd name="T77" fmla="*/ 63731 h 294916"/>
              <a:gd name="T78" fmla="*/ 20640 w 294915"/>
              <a:gd name="T79" fmla="*/ 81009 h 294916"/>
              <a:gd name="T80" fmla="*/ 83649 w 294915"/>
              <a:gd name="T81" fmla="*/ 22522 h 294916"/>
              <a:gd name="T82" fmla="*/ 87994 w 294915"/>
              <a:gd name="T83" fmla="*/ 4358 h 294916"/>
              <a:gd name="T84" fmla="*/ 155348 w 294915"/>
              <a:gd name="T85" fmla="*/ 81009 h 294916"/>
              <a:gd name="T86" fmla="*/ 166936 w 294915"/>
              <a:gd name="T87" fmla="*/ 85370 h 294916"/>
              <a:gd name="T88" fmla="*/ 4708 w 294915"/>
              <a:gd name="T89" fmla="*/ 90456 h 294916"/>
              <a:gd name="T90" fmla="*/ 4708 w 294915"/>
              <a:gd name="T91" fmla="*/ 81009 h 294916"/>
              <a:gd name="T92" fmla="*/ 78941 w 294915"/>
              <a:gd name="T93" fmla="*/ 13805 h 294916"/>
              <a:gd name="T94" fmla="*/ 83649 w 294915"/>
              <a:gd name="T95" fmla="*/ 0 h 29491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4915" h="294916">
                <a:moveTo>
                  <a:pt x="217488" y="241300"/>
                </a:moveTo>
                <a:cubicBezTo>
                  <a:pt x="220052" y="241300"/>
                  <a:pt x="221884" y="243146"/>
                  <a:pt x="221884" y="245730"/>
                </a:cubicBezTo>
                <a:lnTo>
                  <a:pt x="221884" y="252007"/>
                </a:lnTo>
                <a:cubicBezTo>
                  <a:pt x="221884" y="254591"/>
                  <a:pt x="220052" y="256806"/>
                  <a:pt x="217488" y="256806"/>
                </a:cubicBezTo>
                <a:cubicBezTo>
                  <a:pt x="214923" y="256806"/>
                  <a:pt x="212725" y="254591"/>
                  <a:pt x="212725" y="252007"/>
                </a:cubicBezTo>
                <a:lnTo>
                  <a:pt x="212725" y="245730"/>
                </a:lnTo>
                <a:cubicBezTo>
                  <a:pt x="212725" y="243146"/>
                  <a:pt x="214923" y="241300"/>
                  <a:pt x="217488" y="241300"/>
                </a:cubicBezTo>
                <a:close/>
                <a:moveTo>
                  <a:pt x="217488" y="215900"/>
                </a:moveTo>
                <a:cubicBezTo>
                  <a:pt x="220052" y="215900"/>
                  <a:pt x="221884" y="218115"/>
                  <a:pt x="221884" y="220330"/>
                </a:cubicBezTo>
                <a:lnTo>
                  <a:pt x="221884" y="226607"/>
                </a:lnTo>
                <a:cubicBezTo>
                  <a:pt x="221884" y="229560"/>
                  <a:pt x="220052" y="231406"/>
                  <a:pt x="217488" y="231406"/>
                </a:cubicBezTo>
                <a:cubicBezTo>
                  <a:pt x="214923" y="231406"/>
                  <a:pt x="212725" y="229560"/>
                  <a:pt x="212725" y="226607"/>
                </a:cubicBezTo>
                <a:lnTo>
                  <a:pt x="212725" y="220330"/>
                </a:lnTo>
                <a:cubicBezTo>
                  <a:pt x="212725" y="218115"/>
                  <a:pt x="214923" y="215900"/>
                  <a:pt x="217488" y="215900"/>
                </a:cubicBezTo>
                <a:close/>
                <a:moveTo>
                  <a:pt x="217488" y="192088"/>
                </a:moveTo>
                <a:cubicBezTo>
                  <a:pt x="220052" y="192088"/>
                  <a:pt x="221884" y="194253"/>
                  <a:pt x="221884" y="196778"/>
                </a:cubicBezTo>
                <a:lnTo>
                  <a:pt x="221884" y="202912"/>
                </a:lnTo>
                <a:cubicBezTo>
                  <a:pt x="221884" y="205437"/>
                  <a:pt x="220052" y="207602"/>
                  <a:pt x="217488" y="207602"/>
                </a:cubicBezTo>
                <a:cubicBezTo>
                  <a:pt x="214923" y="207602"/>
                  <a:pt x="212725" y="205437"/>
                  <a:pt x="212725" y="202912"/>
                </a:cubicBezTo>
                <a:lnTo>
                  <a:pt x="212725" y="196778"/>
                </a:lnTo>
                <a:cubicBezTo>
                  <a:pt x="212725" y="194253"/>
                  <a:pt x="214923" y="192088"/>
                  <a:pt x="217488" y="192088"/>
                </a:cubicBezTo>
                <a:close/>
                <a:moveTo>
                  <a:pt x="217488" y="166688"/>
                </a:moveTo>
                <a:cubicBezTo>
                  <a:pt x="220052" y="166688"/>
                  <a:pt x="221884" y="168903"/>
                  <a:pt x="221884" y="171487"/>
                </a:cubicBezTo>
                <a:lnTo>
                  <a:pt x="221884" y="177763"/>
                </a:lnTo>
                <a:cubicBezTo>
                  <a:pt x="221884" y="180348"/>
                  <a:pt x="220052" y="182194"/>
                  <a:pt x="217488" y="182194"/>
                </a:cubicBezTo>
                <a:cubicBezTo>
                  <a:pt x="214923" y="182194"/>
                  <a:pt x="212725" y="180348"/>
                  <a:pt x="212725" y="177763"/>
                </a:cubicBezTo>
                <a:lnTo>
                  <a:pt x="212725" y="171487"/>
                </a:lnTo>
                <a:cubicBezTo>
                  <a:pt x="212725" y="168903"/>
                  <a:pt x="214923" y="166688"/>
                  <a:pt x="217488" y="166688"/>
                </a:cubicBezTo>
                <a:close/>
                <a:moveTo>
                  <a:pt x="79587" y="100221"/>
                </a:moveTo>
                <a:cubicBezTo>
                  <a:pt x="81388" y="98784"/>
                  <a:pt x="84268" y="98784"/>
                  <a:pt x="85708" y="100221"/>
                </a:cubicBezTo>
                <a:lnTo>
                  <a:pt x="170327" y="184636"/>
                </a:lnTo>
                <a:cubicBezTo>
                  <a:pt x="176449" y="190743"/>
                  <a:pt x="179689" y="199005"/>
                  <a:pt x="179689" y="207626"/>
                </a:cubicBezTo>
                <a:lnTo>
                  <a:pt x="179689" y="268334"/>
                </a:lnTo>
                <a:lnTo>
                  <a:pt x="212456" y="268334"/>
                </a:lnTo>
                <a:cubicBezTo>
                  <a:pt x="213177" y="266538"/>
                  <a:pt x="214617" y="265101"/>
                  <a:pt x="216778" y="265101"/>
                </a:cubicBezTo>
                <a:cubicBezTo>
                  <a:pt x="218578" y="265101"/>
                  <a:pt x="220019" y="266538"/>
                  <a:pt x="220739" y="268334"/>
                </a:cubicBezTo>
                <a:lnTo>
                  <a:pt x="253506" y="268334"/>
                </a:lnTo>
                <a:lnTo>
                  <a:pt x="253506" y="187510"/>
                </a:lnTo>
                <a:cubicBezTo>
                  <a:pt x="253506" y="185355"/>
                  <a:pt x="255667" y="183200"/>
                  <a:pt x="257827" y="183200"/>
                </a:cubicBezTo>
                <a:cubicBezTo>
                  <a:pt x="260708" y="183200"/>
                  <a:pt x="262508" y="185355"/>
                  <a:pt x="262508" y="187510"/>
                </a:cubicBezTo>
                <a:lnTo>
                  <a:pt x="262508" y="274441"/>
                </a:lnTo>
                <a:cubicBezTo>
                  <a:pt x="262508" y="280907"/>
                  <a:pt x="267909" y="286295"/>
                  <a:pt x="274391" y="286295"/>
                </a:cubicBezTo>
                <a:cubicBezTo>
                  <a:pt x="280872" y="286295"/>
                  <a:pt x="286273" y="280907"/>
                  <a:pt x="286273" y="274441"/>
                </a:cubicBezTo>
                <a:lnTo>
                  <a:pt x="286273" y="182122"/>
                </a:lnTo>
                <a:cubicBezTo>
                  <a:pt x="286273" y="166676"/>
                  <a:pt x="273310" y="154103"/>
                  <a:pt x="257827" y="154103"/>
                </a:cubicBezTo>
                <a:lnTo>
                  <a:pt x="220739" y="154103"/>
                </a:lnTo>
                <a:cubicBezTo>
                  <a:pt x="220019" y="155899"/>
                  <a:pt x="218578" y="156977"/>
                  <a:pt x="216778" y="156977"/>
                </a:cubicBezTo>
                <a:cubicBezTo>
                  <a:pt x="214617" y="156977"/>
                  <a:pt x="213177" y="155899"/>
                  <a:pt x="212456" y="154103"/>
                </a:cubicBezTo>
                <a:lnTo>
                  <a:pt x="189411" y="154103"/>
                </a:lnTo>
                <a:cubicBezTo>
                  <a:pt x="179329" y="154103"/>
                  <a:pt x="169607" y="150152"/>
                  <a:pt x="162045" y="142967"/>
                </a:cubicBezTo>
                <a:lnTo>
                  <a:pt x="125677" y="106327"/>
                </a:lnTo>
                <a:cubicBezTo>
                  <a:pt x="123877" y="104891"/>
                  <a:pt x="123877" y="102017"/>
                  <a:pt x="125677" y="100221"/>
                </a:cubicBezTo>
                <a:cubicBezTo>
                  <a:pt x="127478" y="98425"/>
                  <a:pt x="130358" y="98425"/>
                  <a:pt x="132159" y="100221"/>
                </a:cubicBezTo>
                <a:lnTo>
                  <a:pt x="168527" y="136502"/>
                </a:lnTo>
                <a:cubicBezTo>
                  <a:pt x="173928" y="142249"/>
                  <a:pt x="181490" y="145482"/>
                  <a:pt x="189411" y="145482"/>
                </a:cubicBezTo>
                <a:lnTo>
                  <a:pt x="257827" y="145482"/>
                </a:lnTo>
                <a:cubicBezTo>
                  <a:pt x="278712" y="145482"/>
                  <a:pt x="294915" y="161647"/>
                  <a:pt x="294915" y="182122"/>
                </a:cubicBezTo>
                <a:lnTo>
                  <a:pt x="294915" y="274441"/>
                </a:lnTo>
                <a:cubicBezTo>
                  <a:pt x="294915" y="285936"/>
                  <a:pt x="285913" y="294916"/>
                  <a:pt x="274391" y="294916"/>
                </a:cubicBezTo>
                <a:cubicBezTo>
                  <a:pt x="263588" y="294916"/>
                  <a:pt x="255306" y="287373"/>
                  <a:pt x="253866" y="277314"/>
                </a:cubicBezTo>
                <a:lnTo>
                  <a:pt x="179689" y="277314"/>
                </a:lnTo>
                <a:lnTo>
                  <a:pt x="179689" y="290605"/>
                </a:lnTo>
                <a:cubicBezTo>
                  <a:pt x="179689" y="293120"/>
                  <a:pt x="177889" y="294916"/>
                  <a:pt x="175368" y="294916"/>
                </a:cubicBezTo>
                <a:cubicBezTo>
                  <a:pt x="172848" y="294916"/>
                  <a:pt x="170687" y="293120"/>
                  <a:pt x="170687" y="290605"/>
                </a:cubicBezTo>
                <a:lnTo>
                  <a:pt x="170687" y="207626"/>
                </a:lnTo>
                <a:cubicBezTo>
                  <a:pt x="170687" y="201160"/>
                  <a:pt x="168527" y="195413"/>
                  <a:pt x="163846" y="190743"/>
                </a:cubicBezTo>
                <a:lnTo>
                  <a:pt x="79587" y="106687"/>
                </a:lnTo>
                <a:cubicBezTo>
                  <a:pt x="77787" y="104891"/>
                  <a:pt x="77787" y="102017"/>
                  <a:pt x="79587" y="100221"/>
                </a:cubicBezTo>
                <a:close/>
                <a:moveTo>
                  <a:pt x="217488" y="72196"/>
                </a:moveTo>
                <a:cubicBezTo>
                  <a:pt x="204080" y="72196"/>
                  <a:pt x="193209" y="83067"/>
                  <a:pt x="193209" y="96475"/>
                </a:cubicBezTo>
                <a:cubicBezTo>
                  <a:pt x="193209" y="110245"/>
                  <a:pt x="204080" y="120753"/>
                  <a:pt x="217488" y="120753"/>
                </a:cubicBezTo>
                <a:cubicBezTo>
                  <a:pt x="230533" y="120753"/>
                  <a:pt x="241404" y="110245"/>
                  <a:pt x="241404" y="96475"/>
                </a:cubicBezTo>
                <a:cubicBezTo>
                  <a:pt x="241404" y="83067"/>
                  <a:pt x="230533" y="72196"/>
                  <a:pt x="217488" y="72196"/>
                </a:cubicBezTo>
                <a:close/>
                <a:moveTo>
                  <a:pt x="217488" y="63500"/>
                </a:moveTo>
                <a:cubicBezTo>
                  <a:pt x="235968" y="63500"/>
                  <a:pt x="250463" y="78357"/>
                  <a:pt x="250463" y="96475"/>
                </a:cubicBezTo>
                <a:cubicBezTo>
                  <a:pt x="250463" y="114955"/>
                  <a:pt x="235968" y="129812"/>
                  <a:pt x="217488" y="129812"/>
                </a:cubicBezTo>
                <a:cubicBezTo>
                  <a:pt x="199369" y="129812"/>
                  <a:pt x="184150" y="114955"/>
                  <a:pt x="184150" y="96475"/>
                </a:cubicBezTo>
                <a:cubicBezTo>
                  <a:pt x="184150" y="78357"/>
                  <a:pt x="199369" y="63500"/>
                  <a:pt x="217488" y="63500"/>
                </a:cubicBezTo>
                <a:close/>
                <a:moveTo>
                  <a:pt x="83343" y="22441"/>
                </a:moveTo>
                <a:cubicBezTo>
                  <a:pt x="50150" y="22441"/>
                  <a:pt x="22730" y="48139"/>
                  <a:pt x="20565" y="80715"/>
                </a:cubicBezTo>
                <a:lnTo>
                  <a:pt x="145761" y="80715"/>
                </a:lnTo>
                <a:cubicBezTo>
                  <a:pt x="143596" y="48139"/>
                  <a:pt x="116176" y="22441"/>
                  <a:pt x="83343" y="22441"/>
                </a:cubicBezTo>
                <a:close/>
                <a:moveTo>
                  <a:pt x="83343" y="0"/>
                </a:moveTo>
                <a:cubicBezTo>
                  <a:pt x="85508" y="0"/>
                  <a:pt x="87673" y="1810"/>
                  <a:pt x="87673" y="4343"/>
                </a:cubicBezTo>
                <a:lnTo>
                  <a:pt x="87673" y="13754"/>
                </a:lnTo>
                <a:cubicBezTo>
                  <a:pt x="123752" y="15926"/>
                  <a:pt x="152616" y="44520"/>
                  <a:pt x="154781" y="80715"/>
                </a:cubicBezTo>
                <a:lnTo>
                  <a:pt x="161996" y="80715"/>
                </a:lnTo>
                <a:cubicBezTo>
                  <a:pt x="164161" y="80715"/>
                  <a:pt x="166326" y="82887"/>
                  <a:pt x="166326" y="85058"/>
                </a:cubicBezTo>
                <a:cubicBezTo>
                  <a:pt x="166326" y="87954"/>
                  <a:pt x="164161" y="90126"/>
                  <a:pt x="161996" y="90126"/>
                </a:cubicBezTo>
                <a:lnTo>
                  <a:pt x="4690" y="90126"/>
                </a:lnTo>
                <a:cubicBezTo>
                  <a:pt x="2165" y="90126"/>
                  <a:pt x="0" y="87954"/>
                  <a:pt x="0" y="85058"/>
                </a:cubicBezTo>
                <a:cubicBezTo>
                  <a:pt x="0" y="82887"/>
                  <a:pt x="2165" y="80715"/>
                  <a:pt x="4690" y="80715"/>
                </a:cubicBezTo>
                <a:lnTo>
                  <a:pt x="11545" y="80715"/>
                </a:lnTo>
                <a:cubicBezTo>
                  <a:pt x="13710" y="44520"/>
                  <a:pt x="42573" y="15926"/>
                  <a:pt x="78653" y="13754"/>
                </a:cubicBezTo>
                <a:lnTo>
                  <a:pt x="78653" y="4343"/>
                </a:lnTo>
                <a:cubicBezTo>
                  <a:pt x="78653" y="1810"/>
                  <a:pt x="80818" y="0"/>
                  <a:pt x="83343" y="0"/>
                </a:cubicBezTo>
                <a:close/>
              </a:path>
            </a:pathLst>
          </a:custGeom>
          <a:solidFill>
            <a:schemeClr val="bg1"/>
          </a:solidFill>
          <a:ln>
            <a:noFill/>
          </a:ln>
          <a:effectLst/>
        </p:spPr>
        <p:txBody>
          <a:bodyPr anchor="ctr"/>
          <a:lstStyle/>
          <a:p>
            <a:endParaRPr lang="en-US" sz="900" dirty="0">
              <a:latin typeface="Muli ExtraLight" panose="02000303000000000000" pitchFamily="2" charset="77"/>
            </a:endParaRPr>
          </a:p>
        </p:txBody>
      </p:sp>
      <p:sp>
        <p:nvSpPr>
          <p:cNvPr id="31" name="Freeform 994">
            <a:extLst>
              <a:ext uri="{FF2B5EF4-FFF2-40B4-BE49-F238E27FC236}">
                <a16:creationId xmlns:a16="http://schemas.microsoft.com/office/drawing/2014/main" id="{847445BA-30B1-9C4F-807B-A0D387BCB213}"/>
              </a:ext>
            </a:extLst>
          </p:cNvPr>
          <p:cNvSpPr>
            <a:spLocks noChangeArrowheads="1"/>
          </p:cNvSpPr>
          <p:nvPr/>
        </p:nvSpPr>
        <p:spPr bwMode="auto">
          <a:xfrm>
            <a:off x="4523032" y="5971721"/>
            <a:ext cx="366053" cy="366053"/>
          </a:xfrm>
          <a:custGeom>
            <a:avLst/>
            <a:gdLst>
              <a:gd name="T0" fmla="*/ 28383 w 294620"/>
              <a:gd name="T1" fmla="*/ 215448 h 295401"/>
              <a:gd name="T2" fmla="*/ 19177 w 294620"/>
              <a:gd name="T3" fmla="*/ 215448 h 295401"/>
              <a:gd name="T4" fmla="*/ 267597 w 294620"/>
              <a:gd name="T5" fmla="*/ 209889 h 295401"/>
              <a:gd name="T6" fmla="*/ 209016 w 294620"/>
              <a:gd name="T7" fmla="*/ 230454 h 295401"/>
              <a:gd name="T8" fmla="*/ 208653 w 294620"/>
              <a:gd name="T9" fmla="*/ 241635 h 295401"/>
              <a:gd name="T10" fmla="*/ 265065 w 294620"/>
              <a:gd name="T11" fmla="*/ 221794 h 295401"/>
              <a:gd name="T12" fmla="*/ 267597 w 294620"/>
              <a:gd name="T13" fmla="*/ 209889 h 295401"/>
              <a:gd name="T14" fmla="*/ 47010 w 294620"/>
              <a:gd name="T15" fmla="*/ 273378 h 295401"/>
              <a:gd name="T16" fmla="*/ 287848 w 294620"/>
              <a:gd name="T17" fmla="*/ 229731 h 295401"/>
              <a:gd name="T18" fmla="*/ 265426 w 294620"/>
              <a:gd name="T19" fmla="*/ 231534 h 295401"/>
              <a:gd name="T20" fmla="*/ 163452 w 294620"/>
              <a:gd name="T21" fmla="*/ 257868 h 295401"/>
              <a:gd name="T22" fmla="*/ 119334 w 294620"/>
              <a:gd name="T23" fmla="*/ 249931 h 295401"/>
              <a:gd name="T24" fmla="*/ 192019 w 294620"/>
              <a:gd name="T25" fmla="*/ 245241 h 295401"/>
              <a:gd name="T26" fmla="*/ 200697 w 294620"/>
              <a:gd name="T27" fmla="*/ 236585 h 295401"/>
              <a:gd name="T28" fmla="*/ 188765 w 294620"/>
              <a:gd name="T29" fmla="*/ 221434 h 295401"/>
              <a:gd name="T30" fmla="*/ 47010 w 294620"/>
              <a:gd name="T31" fmla="*/ 200510 h 295401"/>
              <a:gd name="T32" fmla="*/ 9040 w 294620"/>
              <a:gd name="T33" fmla="*/ 272298 h 295401"/>
              <a:gd name="T34" fmla="*/ 37970 w 294620"/>
              <a:gd name="T35" fmla="*/ 200510 h 295401"/>
              <a:gd name="T36" fmla="*/ 172492 w 294620"/>
              <a:gd name="T37" fmla="*/ 124759 h 295401"/>
              <a:gd name="T38" fmla="*/ 172492 w 294620"/>
              <a:gd name="T39" fmla="*/ 145320 h 295401"/>
              <a:gd name="T40" fmla="*/ 172492 w 294620"/>
              <a:gd name="T41" fmla="*/ 124759 h 295401"/>
              <a:gd name="T42" fmla="*/ 191656 w 294620"/>
              <a:gd name="T43" fmla="*/ 135218 h 295401"/>
              <a:gd name="T44" fmla="*/ 176831 w 294620"/>
              <a:gd name="T45" fmla="*/ 212776 h 295401"/>
              <a:gd name="T46" fmla="*/ 203591 w 294620"/>
              <a:gd name="T47" fmla="*/ 218549 h 295401"/>
              <a:gd name="T48" fmla="*/ 242283 w 294620"/>
              <a:gd name="T49" fmla="*/ 208447 h 295401"/>
              <a:gd name="T50" fmla="*/ 279168 w 294620"/>
              <a:gd name="T51" fmla="*/ 213137 h 295401"/>
              <a:gd name="T52" fmla="*/ 291102 w 294620"/>
              <a:gd name="T53" fmla="*/ 218549 h 295401"/>
              <a:gd name="T54" fmla="*/ 285677 w 294620"/>
              <a:gd name="T55" fmla="*/ 246325 h 295401"/>
              <a:gd name="T56" fmla="*/ 41586 w 294620"/>
              <a:gd name="T57" fmla="*/ 281316 h 295401"/>
              <a:gd name="T58" fmla="*/ 0 w 294620"/>
              <a:gd name="T59" fmla="*/ 276987 h 295401"/>
              <a:gd name="T60" fmla="*/ 4700 w 294620"/>
              <a:gd name="T61" fmla="*/ 191853 h 295401"/>
              <a:gd name="T62" fmla="*/ 131990 w 294620"/>
              <a:gd name="T63" fmla="*/ 204480 h 295401"/>
              <a:gd name="T64" fmla="*/ 167790 w 294620"/>
              <a:gd name="T65" fmla="*/ 153976 h 295401"/>
              <a:gd name="T66" fmla="*/ 172492 w 294620"/>
              <a:gd name="T67" fmla="*/ 115741 h 295401"/>
              <a:gd name="T68" fmla="*/ 223154 w 294620"/>
              <a:gd name="T69" fmla="*/ 98040 h 295401"/>
              <a:gd name="T70" fmla="*/ 219886 w 294620"/>
              <a:gd name="T71" fmla="*/ 105515 h 295401"/>
              <a:gd name="T72" fmla="*/ 129448 w 294620"/>
              <a:gd name="T73" fmla="*/ 104446 h 295401"/>
              <a:gd name="T74" fmla="*/ 123272 w 294620"/>
              <a:gd name="T75" fmla="*/ 98040 h 295401"/>
              <a:gd name="T76" fmla="*/ 171526 w 294620"/>
              <a:gd name="T77" fmla="*/ 39152 h 295401"/>
              <a:gd name="T78" fmla="*/ 249097 w 294620"/>
              <a:gd name="T79" fmla="*/ 77114 h 295401"/>
              <a:gd name="T80" fmla="*/ 242595 w 294620"/>
              <a:gd name="T81" fmla="*/ 77114 h 295401"/>
              <a:gd name="T82" fmla="*/ 94497 w 294620"/>
              <a:gd name="T83" fmla="*/ 77114 h 295401"/>
              <a:gd name="T84" fmla="*/ 171526 w 294620"/>
              <a:gd name="T85" fmla="*/ 39152 h 295401"/>
              <a:gd name="T86" fmla="*/ 277133 w 294620"/>
              <a:gd name="T87" fmla="*/ 42575 h 295401"/>
              <a:gd name="T88" fmla="*/ 274234 w 294620"/>
              <a:gd name="T89" fmla="*/ 50026 h 295401"/>
              <a:gd name="T90" fmla="*/ 172415 w 294620"/>
              <a:gd name="T91" fmla="*/ 8869 h 295401"/>
              <a:gd name="T92" fmla="*/ 67334 w 294620"/>
              <a:gd name="T93" fmla="*/ 48605 h 295401"/>
              <a:gd name="T94" fmla="*/ 172415 w 294620"/>
              <a:gd name="T95" fmla="*/ 0 h 29540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4620" h="295401">
                <a:moveTo>
                  <a:pt x="23622" y="211138"/>
                </a:moveTo>
                <a:cubicBezTo>
                  <a:pt x="26289" y="211138"/>
                  <a:pt x="28194" y="213608"/>
                  <a:pt x="28194" y="215724"/>
                </a:cubicBezTo>
                <a:cubicBezTo>
                  <a:pt x="28194" y="218194"/>
                  <a:pt x="26289" y="220310"/>
                  <a:pt x="23622" y="220310"/>
                </a:cubicBezTo>
                <a:cubicBezTo>
                  <a:pt x="20955" y="220310"/>
                  <a:pt x="19050" y="218194"/>
                  <a:pt x="19050" y="215724"/>
                </a:cubicBezTo>
                <a:cubicBezTo>
                  <a:pt x="19050" y="213608"/>
                  <a:pt x="20955" y="211138"/>
                  <a:pt x="23622" y="211138"/>
                </a:cubicBezTo>
                <a:close/>
                <a:moveTo>
                  <a:pt x="265820" y="210159"/>
                </a:moveTo>
                <a:cubicBezTo>
                  <a:pt x="263664" y="208714"/>
                  <a:pt x="252169" y="213771"/>
                  <a:pt x="244267" y="217022"/>
                </a:cubicBezTo>
                <a:cubicBezTo>
                  <a:pt x="234209" y="221357"/>
                  <a:pt x="221995" y="226413"/>
                  <a:pt x="207627" y="230748"/>
                </a:cubicBezTo>
                <a:cubicBezTo>
                  <a:pt x="208345" y="232553"/>
                  <a:pt x="208345" y="235082"/>
                  <a:pt x="208345" y="237610"/>
                </a:cubicBezTo>
                <a:cubicBezTo>
                  <a:pt x="207986" y="239055"/>
                  <a:pt x="207627" y="240139"/>
                  <a:pt x="207267" y="241944"/>
                </a:cubicBezTo>
                <a:cubicBezTo>
                  <a:pt x="231335" y="235804"/>
                  <a:pt x="248218" y="228580"/>
                  <a:pt x="260431" y="223524"/>
                </a:cubicBezTo>
                <a:cubicBezTo>
                  <a:pt x="261150" y="222801"/>
                  <a:pt x="262227" y="222440"/>
                  <a:pt x="263305" y="222079"/>
                </a:cubicBezTo>
                <a:cubicBezTo>
                  <a:pt x="266538" y="219189"/>
                  <a:pt x="268334" y="215939"/>
                  <a:pt x="268334" y="213771"/>
                </a:cubicBezTo>
                <a:cubicBezTo>
                  <a:pt x="267975" y="213410"/>
                  <a:pt x="267975" y="211965"/>
                  <a:pt x="265820" y="210159"/>
                </a:cubicBezTo>
                <a:close/>
                <a:moveTo>
                  <a:pt x="46698" y="200768"/>
                </a:moveTo>
                <a:lnTo>
                  <a:pt x="46698" y="273729"/>
                </a:lnTo>
                <a:cubicBezTo>
                  <a:pt x="67174" y="280231"/>
                  <a:pt x="187151" y="312377"/>
                  <a:pt x="278392" y="239416"/>
                </a:cubicBezTo>
                <a:cubicBezTo>
                  <a:pt x="280547" y="238333"/>
                  <a:pt x="285576" y="233637"/>
                  <a:pt x="285936" y="230025"/>
                </a:cubicBezTo>
                <a:cubicBezTo>
                  <a:pt x="285936" y="228942"/>
                  <a:pt x="285576" y="227497"/>
                  <a:pt x="283421" y="225691"/>
                </a:cubicBezTo>
                <a:cubicBezTo>
                  <a:pt x="281266" y="223885"/>
                  <a:pt x="273004" y="227858"/>
                  <a:pt x="263664" y="231831"/>
                </a:cubicBezTo>
                <a:cubicBezTo>
                  <a:pt x="248936" y="237971"/>
                  <a:pt x="226665" y="247362"/>
                  <a:pt x="193617" y="254225"/>
                </a:cubicBezTo>
                <a:cubicBezTo>
                  <a:pt x="186074" y="256753"/>
                  <a:pt x="176016" y="258198"/>
                  <a:pt x="162366" y="258198"/>
                </a:cubicBezTo>
                <a:cubicBezTo>
                  <a:pt x="151230" y="258198"/>
                  <a:pt x="137939" y="257476"/>
                  <a:pt x="122493" y="255309"/>
                </a:cubicBezTo>
                <a:cubicBezTo>
                  <a:pt x="120337" y="254947"/>
                  <a:pt x="118541" y="252780"/>
                  <a:pt x="118541" y="250252"/>
                </a:cubicBezTo>
                <a:cubicBezTo>
                  <a:pt x="119260" y="247724"/>
                  <a:pt x="121415" y="246279"/>
                  <a:pt x="123930" y="246640"/>
                </a:cubicBezTo>
                <a:cubicBezTo>
                  <a:pt x="164162" y="251697"/>
                  <a:pt x="182482" y="248807"/>
                  <a:pt x="190744" y="245556"/>
                </a:cubicBezTo>
                <a:cubicBezTo>
                  <a:pt x="190744" y="245556"/>
                  <a:pt x="190744" y="245556"/>
                  <a:pt x="191103" y="245556"/>
                </a:cubicBezTo>
                <a:cubicBezTo>
                  <a:pt x="199006" y="242306"/>
                  <a:pt x="199006" y="238333"/>
                  <a:pt x="199365" y="236888"/>
                </a:cubicBezTo>
                <a:cubicBezTo>
                  <a:pt x="199365" y="231831"/>
                  <a:pt x="198646" y="227497"/>
                  <a:pt x="195773" y="224968"/>
                </a:cubicBezTo>
                <a:cubicBezTo>
                  <a:pt x="192540" y="221718"/>
                  <a:pt x="187511" y="221718"/>
                  <a:pt x="187511" y="221718"/>
                </a:cubicBezTo>
                <a:cubicBezTo>
                  <a:pt x="143686" y="222440"/>
                  <a:pt x="135784" y="217745"/>
                  <a:pt x="126444" y="212327"/>
                </a:cubicBezTo>
                <a:cubicBezTo>
                  <a:pt x="117823" y="206908"/>
                  <a:pt x="107406" y="201129"/>
                  <a:pt x="46698" y="200768"/>
                </a:cubicBezTo>
                <a:close/>
                <a:moveTo>
                  <a:pt x="8980" y="200768"/>
                </a:moveTo>
                <a:lnTo>
                  <a:pt x="8980" y="272646"/>
                </a:lnTo>
                <a:lnTo>
                  <a:pt x="37718" y="272646"/>
                </a:lnTo>
                <a:lnTo>
                  <a:pt x="37718" y="200768"/>
                </a:lnTo>
                <a:lnTo>
                  <a:pt x="8980" y="200768"/>
                </a:lnTo>
                <a:close/>
                <a:moveTo>
                  <a:pt x="171346" y="124918"/>
                </a:moveTo>
                <a:cubicBezTo>
                  <a:pt x="165599" y="124918"/>
                  <a:pt x="160569" y="129613"/>
                  <a:pt x="160569" y="135392"/>
                </a:cubicBezTo>
                <a:cubicBezTo>
                  <a:pt x="160569" y="141171"/>
                  <a:pt x="165599" y="145506"/>
                  <a:pt x="171346" y="145506"/>
                </a:cubicBezTo>
                <a:cubicBezTo>
                  <a:pt x="177093" y="145506"/>
                  <a:pt x="181404" y="141171"/>
                  <a:pt x="181404" y="135392"/>
                </a:cubicBezTo>
                <a:cubicBezTo>
                  <a:pt x="181404" y="129613"/>
                  <a:pt x="177093" y="124918"/>
                  <a:pt x="171346" y="124918"/>
                </a:cubicBezTo>
                <a:close/>
                <a:moveTo>
                  <a:pt x="171346" y="115888"/>
                </a:moveTo>
                <a:cubicBezTo>
                  <a:pt x="181763" y="115888"/>
                  <a:pt x="190384" y="124556"/>
                  <a:pt x="190384" y="135392"/>
                </a:cubicBezTo>
                <a:cubicBezTo>
                  <a:pt x="190384" y="144422"/>
                  <a:pt x="184278" y="152007"/>
                  <a:pt x="175657" y="154174"/>
                </a:cubicBezTo>
                <a:lnTo>
                  <a:pt x="175657" y="213049"/>
                </a:lnTo>
                <a:cubicBezTo>
                  <a:pt x="179249" y="213049"/>
                  <a:pt x="183200" y="213049"/>
                  <a:pt x="187151" y="212688"/>
                </a:cubicBezTo>
                <a:cubicBezTo>
                  <a:pt x="187151" y="212688"/>
                  <a:pt x="196132" y="212327"/>
                  <a:pt x="202238" y="218828"/>
                </a:cubicBezTo>
                <a:cubicBezTo>
                  <a:pt x="203316" y="219912"/>
                  <a:pt x="204035" y="220995"/>
                  <a:pt x="205112" y="222079"/>
                </a:cubicBezTo>
                <a:cubicBezTo>
                  <a:pt x="218762" y="218106"/>
                  <a:pt x="230976" y="213049"/>
                  <a:pt x="240675" y="208714"/>
                </a:cubicBezTo>
                <a:cubicBezTo>
                  <a:pt x="255762" y="202213"/>
                  <a:pt x="265101" y="198240"/>
                  <a:pt x="271208" y="202935"/>
                </a:cubicBezTo>
                <a:cubicBezTo>
                  <a:pt x="275878" y="206547"/>
                  <a:pt x="276955" y="210520"/>
                  <a:pt x="277314" y="213410"/>
                </a:cubicBezTo>
                <a:cubicBezTo>
                  <a:pt x="277314" y="214494"/>
                  <a:pt x="276955" y="215939"/>
                  <a:pt x="276596" y="217383"/>
                </a:cubicBezTo>
                <a:cubicBezTo>
                  <a:pt x="281984" y="215577"/>
                  <a:pt x="285936" y="215939"/>
                  <a:pt x="289169" y="218828"/>
                </a:cubicBezTo>
                <a:cubicBezTo>
                  <a:pt x="293838" y="222801"/>
                  <a:pt x="294916" y="227497"/>
                  <a:pt x="294557" y="230386"/>
                </a:cubicBezTo>
                <a:cubicBezTo>
                  <a:pt x="294198" y="239416"/>
                  <a:pt x="284858" y="246279"/>
                  <a:pt x="283780" y="246640"/>
                </a:cubicBezTo>
                <a:cubicBezTo>
                  <a:pt x="235645" y="284926"/>
                  <a:pt x="180326" y="295401"/>
                  <a:pt x="134347" y="295401"/>
                </a:cubicBezTo>
                <a:cubicBezTo>
                  <a:pt x="85134" y="295401"/>
                  <a:pt x="47057" y="283482"/>
                  <a:pt x="41310" y="281676"/>
                </a:cubicBezTo>
                <a:lnTo>
                  <a:pt x="4670" y="281676"/>
                </a:lnTo>
                <a:cubicBezTo>
                  <a:pt x="2155" y="281676"/>
                  <a:pt x="0" y="279509"/>
                  <a:pt x="0" y="277341"/>
                </a:cubicBezTo>
                <a:lnTo>
                  <a:pt x="0" y="196434"/>
                </a:lnTo>
                <a:cubicBezTo>
                  <a:pt x="0" y="193905"/>
                  <a:pt x="2155" y="192099"/>
                  <a:pt x="4670" y="192099"/>
                </a:cubicBezTo>
                <a:lnTo>
                  <a:pt x="42028" y="192099"/>
                </a:lnTo>
                <a:cubicBezTo>
                  <a:pt x="109561" y="192099"/>
                  <a:pt x="121056" y="198962"/>
                  <a:pt x="131114" y="204741"/>
                </a:cubicBezTo>
                <a:cubicBezTo>
                  <a:pt x="137580" y="208353"/>
                  <a:pt x="143327" y="211965"/>
                  <a:pt x="166676" y="212688"/>
                </a:cubicBezTo>
                <a:lnTo>
                  <a:pt x="166676" y="154174"/>
                </a:lnTo>
                <a:cubicBezTo>
                  <a:pt x="158055" y="152007"/>
                  <a:pt x="151948" y="144422"/>
                  <a:pt x="151948" y="135392"/>
                </a:cubicBezTo>
                <a:cubicBezTo>
                  <a:pt x="151948" y="124556"/>
                  <a:pt x="160569" y="115888"/>
                  <a:pt x="171346" y="115888"/>
                </a:cubicBezTo>
                <a:close/>
                <a:moveTo>
                  <a:pt x="172063" y="78120"/>
                </a:moveTo>
                <a:cubicBezTo>
                  <a:pt x="190013" y="78120"/>
                  <a:pt x="207962" y="84802"/>
                  <a:pt x="221672" y="98166"/>
                </a:cubicBezTo>
                <a:cubicBezTo>
                  <a:pt x="223476" y="99948"/>
                  <a:pt x="223476" y="102799"/>
                  <a:pt x="221672" y="104581"/>
                </a:cubicBezTo>
                <a:cubicBezTo>
                  <a:pt x="220951" y="105294"/>
                  <a:pt x="219869" y="105650"/>
                  <a:pt x="218425" y="105650"/>
                </a:cubicBezTo>
                <a:cubicBezTo>
                  <a:pt x="217343" y="105650"/>
                  <a:pt x="216261" y="105294"/>
                  <a:pt x="215178" y="104581"/>
                </a:cubicBezTo>
                <a:cubicBezTo>
                  <a:pt x="191727" y="80704"/>
                  <a:pt x="152761" y="80704"/>
                  <a:pt x="128588" y="104581"/>
                </a:cubicBezTo>
                <a:cubicBezTo>
                  <a:pt x="127145" y="106006"/>
                  <a:pt x="124258" y="106006"/>
                  <a:pt x="122454" y="104581"/>
                </a:cubicBezTo>
                <a:cubicBezTo>
                  <a:pt x="120650" y="102799"/>
                  <a:pt x="120650" y="99948"/>
                  <a:pt x="122454" y="98166"/>
                </a:cubicBezTo>
                <a:cubicBezTo>
                  <a:pt x="136165" y="84802"/>
                  <a:pt x="154114" y="78120"/>
                  <a:pt x="172063" y="78120"/>
                </a:cubicBezTo>
                <a:close/>
                <a:moveTo>
                  <a:pt x="170387" y="39203"/>
                </a:moveTo>
                <a:cubicBezTo>
                  <a:pt x="198195" y="39203"/>
                  <a:pt x="226094" y="49832"/>
                  <a:pt x="247443" y="71088"/>
                </a:cubicBezTo>
                <a:cubicBezTo>
                  <a:pt x="248878" y="72890"/>
                  <a:pt x="248878" y="75772"/>
                  <a:pt x="247443" y="77213"/>
                </a:cubicBezTo>
                <a:cubicBezTo>
                  <a:pt x="246367" y="78294"/>
                  <a:pt x="245290" y="78654"/>
                  <a:pt x="244214" y="78654"/>
                </a:cubicBezTo>
                <a:cubicBezTo>
                  <a:pt x="242779" y="78654"/>
                  <a:pt x="241702" y="78294"/>
                  <a:pt x="240984" y="77213"/>
                </a:cubicBezTo>
                <a:cubicBezTo>
                  <a:pt x="202232" y="38663"/>
                  <a:pt x="139080" y="38663"/>
                  <a:pt x="100328" y="77213"/>
                </a:cubicBezTo>
                <a:cubicBezTo>
                  <a:pt x="98175" y="79014"/>
                  <a:pt x="95663" y="79014"/>
                  <a:pt x="93869" y="77213"/>
                </a:cubicBezTo>
                <a:cubicBezTo>
                  <a:pt x="92075" y="75772"/>
                  <a:pt x="92075" y="72890"/>
                  <a:pt x="93869" y="71088"/>
                </a:cubicBezTo>
                <a:cubicBezTo>
                  <a:pt x="114860" y="49832"/>
                  <a:pt x="142579" y="39203"/>
                  <a:pt x="170387" y="39203"/>
                </a:cubicBezTo>
                <a:close/>
                <a:moveTo>
                  <a:pt x="171270" y="0"/>
                </a:moveTo>
                <a:cubicBezTo>
                  <a:pt x="210503" y="0"/>
                  <a:pt x="247577" y="14920"/>
                  <a:pt x="275293" y="42629"/>
                </a:cubicBezTo>
                <a:cubicBezTo>
                  <a:pt x="277452" y="44405"/>
                  <a:pt x="277452" y="46892"/>
                  <a:pt x="275293" y="48668"/>
                </a:cubicBezTo>
                <a:cubicBezTo>
                  <a:pt x="274573" y="49734"/>
                  <a:pt x="273493" y="50089"/>
                  <a:pt x="272413" y="50089"/>
                </a:cubicBezTo>
                <a:cubicBezTo>
                  <a:pt x="271333" y="50089"/>
                  <a:pt x="270253" y="49734"/>
                  <a:pt x="269174" y="48668"/>
                </a:cubicBezTo>
                <a:cubicBezTo>
                  <a:pt x="242898" y="22735"/>
                  <a:pt x="208344" y="8881"/>
                  <a:pt x="171270" y="8881"/>
                </a:cubicBezTo>
                <a:cubicBezTo>
                  <a:pt x="134196" y="8881"/>
                  <a:pt x="99282" y="22735"/>
                  <a:pt x="73006" y="48668"/>
                </a:cubicBezTo>
                <a:cubicBezTo>
                  <a:pt x="71206" y="50445"/>
                  <a:pt x="68327" y="50445"/>
                  <a:pt x="66887" y="48668"/>
                </a:cubicBezTo>
                <a:cubicBezTo>
                  <a:pt x="65087" y="46892"/>
                  <a:pt x="65087" y="44405"/>
                  <a:pt x="66887" y="42629"/>
                </a:cubicBezTo>
                <a:cubicBezTo>
                  <a:pt x="94602" y="14920"/>
                  <a:pt x="131676" y="0"/>
                  <a:pt x="171270" y="0"/>
                </a:cubicBezTo>
                <a:close/>
              </a:path>
            </a:pathLst>
          </a:custGeom>
          <a:solidFill>
            <a:schemeClr val="bg1"/>
          </a:solidFill>
          <a:ln>
            <a:noFill/>
          </a:ln>
          <a:effectLst/>
        </p:spPr>
        <p:txBody>
          <a:bodyPr anchor="ctr"/>
          <a:lstStyle/>
          <a:p>
            <a:endParaRPr lang="en-US" sz="900" dirty="0">
              <a:latin typeface="Muli ExtraLight" panose="02000303000000000000" pitchFamily="2" charset="77"/>
            </a:endParaRPr>
          </a:p>
        </p:txBody>
      </p:sp>
      <p:sp>
        <p:nvSpPr>
          <p:cNvPr id="32" name="Freeform 1007">
            <a:extLst>
              <a:ext uri="{FF2B5EF4-FFF2-40B4-BE49-F238E27FC236}">
                <a16:creationId xmlns:a16="http://schemas.microsoft.com/office/drawing/2014/main" id="{5F3F093C-4409-2E4F-8CAC-9CDCACDBF49A}"/>
              </a:ext>
            </a:extLst>
          </p:cNvPr>
          <p:cNvSpPr>
            <a:spLocks noChangeArrowheads="1"/>
          </p:cNvSpPr>
          <p:nvPr/>
        </p:nvSpPr>
        <p:spPr bwMode="auto">
          <a:xfrm>
            <a:off x="4523032" y="5142946"/>
            <a:ext cx="366053" cy="344404"/>
          </a:xfrm>
          <a:custGeom>
            <a:avLst/>
            <a:gdLst>
              <a:gd name="T0" fmla="*/ 122729 w 294916"/>
              <a:gd name="T1" fmla="*/ 269852 h 277452"/>
              <a:gd name="T2" fmla="*/ 173626 w 294916"/>
              <a:gd name="T3" fmla="*/ 236573 h 277452"/>
              <a:gd name="T4" fmla="*/ 9024 w 294916"/>
              <a:gd name="T5" fmla="*/ 206549 h 277452"/>
              <a:gd name="T6" fmla="*/ 16604 w 294916"/>
              <a:gd name="T7" fmla="*/ 227529 h 277452"/>
              <a:gd name="T8" fmla="*/ 287330 w 294916"/>
              <a:gd name="T9" fmla="*/ 220294 h 277452"/>
              <a:gd name="T10" fmla="*/ 9024 w 294916"/>
              <a:gd name="T11" fmla="*/ 206549 h 277452"/>
              <a:gd name="T12" fmla="*/ 273683 w 294916"/>
              <a:gd name="T13" fmla="*/ 148185 h 277452"/>
              <a:gd name="T14" fmla="*/ 268933 w 294916"/>
              <a:gd name="T15" fmla="*/ 182908 h 277452"/>
              <a:gd name="T16" fmla="*/ 234216 w 294916"/>
              <a:gd name="T17" fmla="*/ 178522 h 277452"/>
              <a:gd name="T18" fmla="*/ 264548 w 294916"/>
              <a:gd name="T19" fmla="*/ 173771 h 277452"/>
              <a:gd name="T20" fmla="*/ 268933 w 294916"/>
              <a:gd name="T21" fmla="*/ 143432 h 277452"/>
              <a:gd name="T22" fmla="*/ 57537 w 294916"/>
              <a:gd name="T23" fmla="*/ 54185 h 277452"/>
              <a:gd name="T24" fmla="*/ 57537 w 294916"/>
              <a:gd name="T25" fmla="*/ 62684 h 277452"/>
              <a:gd name="T26" fmla="*/ 32396 w 294916"/>
              <a:gd name="T27" fmla="*/ 87831 h 277452"/>
              <a:gd name="T28" fmla="*/ 23900 w 294916"/>
              <a:gd name="T29" fmla="*/ 87831 h 277452"/>
              <a:gd name="T30" fmla="*/ 28148 w 294916"/>
              <a:gd name="T31" fmla="*/ 54185 h 277452"/>
              <a:gd name="T32" fmla="*/ 272603 w 294916"/>
              <a:gd name="T33" fmla="*/ 55826 h 277452"/>
              <a:gd name="T34" fmla="*/ 30767 w 294916"/>
              <a:gd name="T35" fmla="*/ 180961 h 277452"/>
              <a:gd name="T36" fmla="*/ 24983 w 294916"/>
              <a:gd name="T37" fmla="*/ 178804 h 277452"/>
              <a:gd name="T38" fmla="*/ 266458 w 294916"/>
              <a:gd name="T39" fmla="*/ 53669 h 277452"/>
              <a:gd name="T40" fmla="*/ 9024 w 294916"/>
              <a:gd name="T41" fmla="*/ 197506 h 277452"/>
              <a:gd name="T42" fmla="*/ 287330 w 294916"/>
              <a:gd name="T43" fmla="*/ 39067 h 277452"/>
              <a:gd name="T44" fmla="*/ 16604 w 294916"/>
              <a:gd name="T45" fmla="*/ 8681 h 277452"/>
              <a:gd name="T46" fmla="*/ 9024 w 294916"/>
              <a:gd name="T47" fmla="*/ 29661 h 277452"/>
              <a:gd name="T48" fmla="*/ 287330 w 294916"/>
              <a:gd name="T49" fmla="*/ 16641 h 277452"/>
              <a:gd name="T50" fmla="*/ 16604 w 294916"/>
              <a:gd name="T51" fmla="*/ 8681 h 277452"/>
              <a:gd name="T52" fmla="*/ 279750 w 294916"/>
              <a:gd name="T53" fmla="*/ 0 h 277452"/>
              <a:gd name="T54" fmla="*/ 295994 w 294916"/>
              <a:gd name="T55" fmla="*/ 220294 h 277452"/>
              <a:gd name="T56" fmla="*/ 182288 w 294916"/>
              <a:gd name="T57" fmla="*/ 236573 h 277452"/>
              <a:gd name="T58" fmla="*/ 279750 w 294916"/>
              <a:gd name="T59" fmla="*/ 269852 h 277452"/>
              <a:gd name="T60" fmla="*/ 279750 w 294916"/>
              <a:gd name="T61" fmla="*/ 278533 h 277452"/>
              <a:gd name="T62" fmla="*/ 11910 w 294916"/>
              <a:gd name="T63" fmla="*/ 274192 h 277452"/>
              <a:gd name="T64" fmla="*/ 113704 w 294916"/>
              <a:gd name="T65" fmla="*/ 269852 h 277452"/>
              <a:gd name="T66" fmla="*/ 16604 w 294916"/>
              <a:gd name="T67" fmla="*/ 236573 h 277452"/>
              <a:gd name="T68" fmla="*/ 0 w 294916"/>
              <a:gd name="T69" fmla="*/ 16641 h 2774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4916" h="277452">
                <a:moveTo>
                  <a:pt x="122282" y="235654"/>
                </a:moveTo>
                <a:lnTo>
                  <a:pt x="122282" y="268804"/>
                </a:lnTo>
                <a:lnTo>
                  <a:pt x="172993" y="268804"/>
                </a:lnTo>
                <a:lnTo>
                  <a:pt x="172993" y="235654"/>
                </a:lnTo>
                <a:lnTo>
                  <a:pt x="122282" y="235654"/>
                </a:lnTo>
                <a:close/>
                <a:moveTo>
                  <a:pt x="8991" y="205747"/>
                </a:moveTo>
                <a:lnTo>
                  <a:pt x="8991" y="219439"/>
                </a:lnTo>
                <a:cubicBezTo>
                  <a:pt x="8991" y="223403"/>
                  <a:pt x="12228" y="226646"/>
                  <a:pt x="16544" y="226646"/>
                </a:cubicBezTo>
                <a:lnTo>
                  <a:pt x="278731" y="226646"/>
                </a:lnTo>
                <a:cubicBezTo>
                  <a:pt x="282687" y="226646"/>
                  <a:pt x="286284" y="223403"/>
                  <a:pt x="286284" y="219439"/>
                </a:cubicBezTo>
                <a:lnTo>
                  <a:pt x="286284" y="205747"/>
                </a:lnTo>
                <a:lnTo>
                  <a:pt x="8991" y="205747"/>
                </a:lnTo>
                <a:close/>
                <a:moveTo>
                  <a:pt x="267953" y="142875"/>
                </a:moveTo>
                <a:cubicBezTo>
                  <a:pt x="270866" y="142875"/>
                  <a:pt x="272686" y="145060"/>
                  <a:pt x="272686" y="147609"/>
                </a:cubicBezTo>
                <a:lnTo>
                  <a:pt x="272686" y="177829"/>
                </a:lnTo>
                <a:cubicBezTo>
                  <a:pt x="272686" y="180014"/>
                  <a:pt x="270866" y="182198"/>
                  <a:pt x="267953" y="182198"/>
                </a:cubicBezTo>
                <a:lnTo>
                  <a:pt x="238097" y="182198"/>
                </a:lnTo>
                <a:cubicBezTo>
                  <a:pt x="235548" y="182198"/>
                  <a:pt x="233363" y="180014"/>
                  <a:pt x="233363" y="177829"/>
                </a:cubicBezTo>
                <a:cubicBezTo>
                  <a:pt x="233363" y="175280"/>
                  <a:pt x="235548" y="173096"/>
                  <a:pt x="238097" y="173096"/>
                </a:cubicBezTo>
                <a:lnTo>
                  <a:pt x="263584" y="173096"/>
                </a:lnTo>
                <a:lnTo>
                  <a:pt x="263584" y="147609"/>
                </a:lnTo>
                <a:cubicBezTo>
                  <a:pt x="263584" y="145060"/>
                  <a:pt x="265768" y="142875"/>
                  <a:pt x="267953" y="142875"/>
                </a:cubicBezTo>
                <a:close/>
                <a:moveTo>
                  <a:pt x="28046" y="53975"/>
                </a:moveTo>
                <a:lnTo>
                  <a:pt x="57327" y="53975"/>
                </a:lnTo>
                <a:cubicBezTo>
                  <a:pt x="59796" y="53975"/>
                  <a:pt x="61560" y="56091"/>
                  <a:pt x="61560" y="58208"/>
                </a:cubicBezTo>
                <a:cubicBezTo>
                  <a:pt x="61560" y="60678"/>
                  <a:pt x="59796" y="62441"/>
                  <a:pt x="57327" y="62441"/>
                </a:cubicBezTo>
                <a:lnTo>
                  <a:pt x="32279" y="62441"/>
                </a:lnTo>
                <a:lnTo>
                  <a:pt x="32279" y="87489"/>
                </a:lnTo>
                <a:cubicBezTo>
                  <a:pt x="32279" y="89958"/>
                  <a:pt x="30516" y="91722"/>
                  <a:pt x="28046" y="91722"/>
                </a:cubicBezTo>
                <a:cubicBezTo>
                  <a:pt x="25577" y="91722"/>
                  <a:pt x="23813" y="89958"/>
                  <a:pt x="23813" y="87489"/>
                </a:cubicBezTo>
                <a:lnTo>
                  <a:pt x="23813" y="58208"/>
                </a:lnTo>
                <a:cubicBezTo>
                  <a:pt x="23813" y="56091"/>
                  <a:pt x="25577" y="53975"/>
                  <a:pt x="28046" y="53975"/>
                </a:cubicBezTo>
                <a:close/>
                <a:moveTo>
                  <a:pt x="265487" y="53461"/>
                </a:moveTo>
                <a:cubicBezTo>
                  <a:pt x="267648" y="52387"/>
                  <a:pt x="270529" y="53103"/>
                  <a:pt x="271610" y="55610"/>
                </a:cubicBezTo>
                <a:cubicBezTo>
                  <a:pt x="272690" y="57760"/>
                  <a:pt x="271610" y="60267"/>
                  <a:pt x="269449" y="61341"/>
                </a:cubicBezTo>
                <a:lnTo>
                  <a:pt x="30656" y="180259"/>
                </a:lnTo>
                <a:cubicBezTo>
                  <a:pt x="29936" y="180617"/>
                  <a:pt x="29575" y="180617"/>
                  <a:pt x="28855" y="180617"/>
                </a:cubicBezTo>
                <a:cubicBezTo>
                  <a:pt x="27054" y="180617"/>
                  <a:pt x="25614" y="179901"/>
                  <a:pt x="24893" y="178110"/>
                </a:cubicBezTo>
                <a:cubicBezTo>
                  <a:pt x="23813" y="175961"/>
                  <a:pt x="24533" y="173453"/>
                  <a:pt x="27054" y="172021"/>
                </a:cubicBezTo>
                <a:lnTo>
                  <a:pt x="265487" y="53461"/>
                </a:lnTo>
                <a:close/>
                <a:moveTo>
                  <a:pt x="8991" y="38915"/>
                </a:moveTo>
                <a:lnTo>
                  <a:pt x="8991" y="196739"/>
                </a:lnTo>
                <a:lnTo>
                  <a:pt x="286284" y="196739"/>
                </a:lnTo>
                <a:lnTo>
                  <a:pt x="286284" y="38915"/>
                </a:lnTo>
                <a:lnTo>
                  <a:pt x="8991" y="38915"/>
                </a:lnTo>
                <a:close/>
                <a:moveTo>
                  <a:pt x="16544" y="8648"/>
                </a:moveTo>
                <a:cubicBezTo>
                  <a:pt x="12228" y="8648"/>
                  <a:pt x="8991" y="12251"/>
                  <a:pt x="8991" y="16575"/>
                </a:cubicBezTo>
                <a:lnTo>
                  <a:pt x="8991" y="29547"/>
                </a:lnTo>
                <a:lnTo>
                  <a:pt x="286284" y="29547"/>
                </a:lnTo>
                <a:lnTo>
                  <a:pt x="286284" y="16575"/>
                </a:lnTo>
                <a:cubicBezTo>
                  <a:pt x="286284" y="12251"/>
                  <a:pt x="282687" y="8648"/>
                  <a:pt x="278731" y="8648"/>
                </a:cubicBezTo>
                <a:lnTo>
                  <a:pt x="16544" y="8648"/>
                </a:lnTo>
                <a:close/>
                <a:moveTo>
                  <a:pt x="16544" y="0"/>
                </a:moveTo>
                <a:lnTo>
                  <a:pt x="278731" y="0"/>
                </a:lnTo>
                <a:cubicBezTo>
                  <a:pt x="287723" y="0"/>
                  <a:pt x="294916" y="7206"/>
                  <a:pt x="294916" y="16575"/>
                </a:cubicBezTo>
                <a:lnTo>
                  <a:pt x="294916" y="219439"/>
                </a:lnTo>
                <a:cubicBezTo>
                  <a:pt x="294916" y="228447"/>
                  <a:pt x="287723" y="235654"/>
                  <a:pt x="278731" y="235654"/>
                </a:cubicBezTo>
                <a:lnTo>
                  <a:pt x="181624" y="235654"/>
                </a:lnTo>
                <a:lnTo>
                  <a:pt x="181624" y="268804"/>
                </a:lnTo>
                <a:lnTo>
                  <a:pt x="278731" y="268804"/>
                </a:lnTo>
                <a:cubicBezTo>
                  <a:pt x="280889" y="268804"/>
                  <a:pt x="283047" y="270606"/>
                  <a:pt x="283047" y="273128"/>
                </a:cubicBezTo>
                <a:cubicBezTo>
                  <a:pt x="283047" y="275290"/>
                  <a:pt x="280889" y="277452"/>
                  <a:pt x="278731" y="277452"/>
                </a:cubicBezTo>
                <a:lnTo>
                  <a:pt x="16544" y="277452"/>
                </a:lnTo>
                <a:cubicBezTo>
                  <a:pt x="14026" y="277452"/>
                  <a:pt x="11868" y="275290"/>
                  <a:pt x="11868" y="273128"/>
                </a:cubicBezTo>
                <a:cubicBezTo>
                  <a:pt x="11868" y="270606"/>
                  <a:pt x="14026" y="268804"/>
                  <a:pt x="16544" y="268804"/>
                </a:cubicBezTo>
                <a:lnTo>
                  <a:pt x="113290" y="268804"/>
                </a:lnTo>
                <a:lnTo>
                  <a:pt x="113290" y="235654"/>
                </a:lnTo>
                <a:lnTo>
                  <a:pt x="16544" y="235654"/>
                </a:lnTo>
                <a:cubicBezTo>
                  <a:pt x="7552" y="235654"/>
                  <a:pt x="0" y="228447"/>
                  <a:pt x="0" y="219439"/>
                </a:cubicBezTo>
                <a:lnTo>
                  <a:pt x="0" y="16575"/>
                </a:lnTo>
                <a:cubicBezTo>
                  <a:pt x="0" y="7206"/>
                  <a:pt x="7552" y="0"/>
                  <a:pt x="16544" y="0"/>
                </a:cubicBezTo>
                <a:close/>
              </a:path>
            </a:pathLst>
          </a:custGeom>
          <a:solidFill>
            <a:schemeClr val="bg1"/>
          </a:solidFill>
          <a:ln>
            <a:noFill/>
          </a:ln>
          <a:effectLst/>
        </p:spPr>
        <p:txBody>
          <a:bodyPr anchor="ctr"/>
          <a:lstStyle/>
          <a:p>
            <a:endParaRPr lang="en-US" sz="900" dirty="0">
              <a:latin typeface="Muli ExtraLight" panose="02000303000000000000" pitchFamily="2" charset="77"/>
            </a:endParaRPr>
          </a:p>
        </p:txBody>
      </p:sp>
      <p:sp>
        <p:nvSpPr>
          <p:cNvPr id="33" name="TextBox 32">
            <a:extLst>
              <a:ext uri="{FF2B5EF4-FFF2-40B4-BE49-F238E27FC236}">
                <a16:creationId xmlns:a16="http://schemas.microsoft.com/office/drawing/2014/main" id="{2DC9D03F-B4E3-5D46-BEAE-FFB4F1F6B428}"/>
              </a:ext>
            </a:extLst>
          </p:cNvPr>
          <p:cNvSpPr txBox="1"/>
          <p:nvPr/>
        </p:nvSpPr>
        <p:spPr>
          <a:xfrm>
            <a:off x="727089" y="3178021"/>
            <a:ext cx="1203791" cy="338554"/>
          </a:xfrm>
          <a:prstGeom prst="rect">
            <a:avLst/>
          </a:prstGeom>
          <a:noFill/>
        </p:spPr>
        <p:txBody>
          <a:bodyPr wrap="none" rtlCol="0" anchor="ctr">
            <a:spAutoFit/>
          </a:bodyPr>
          <a:lstStyle/>
          <a:p>
            <a:r>
              <a:rPr lang="en-US" sz="1600" b="1" dirty="0">
                <a:solidFill>
                  <a:schemeClr val="bg1"/>
                </a:solidFill>
                <a:latin typeface="Segoe UI Light" panose="020B0502040204020203" pitchFamily="34" charset="0"/>
              </a:rPr>
              <a:t>YOUR TITLE</a:t>
            </a:r>
          </a:p>
        </p:txBody>
      </p:sp>
      <p:sp>
        <p:nvSpPr>
          <p:cNvPr id="34" name="TextBox 33">
            <a:extLst>
              <a:ext uri="{FF2B5EF4-FFF2-40B4-BE49-F238E27FC236}">
                <a16:creationId xmlns:a16="http://schemas.microsoft.com/office/drawing/2014/main" id="{9BABB972-5CC2-3E40-BC59-32E21A5515D2}"/>
              </a:ext>
            </a:extLst>
          </p:cNvPr>
          <p:cNvSpPr txBox="1"/>
          <p:nvPr/>
        </p:nvSpPr>
        <p:spPr>
          <a:xfrm>
            <a:off x="727089" y="4088726"/>
            <a:ext cx="1203791" cy="338554"/>
          </a:xfrm>
          <a:prstGeom prst="rect">
            <a:avLst/>
          </a:prstGeom>
          <a:noFill/>
        </p:spPr>
        <p:txBody>
          <a:bodyPr wrap="none" rtlCol="0" anchor="ctr">
            <a:spAutoFit/>
          </a:bodyPr>
          <a:lstStyle/>
          <a:p>
            <a:r>
              <a:rPr lang="en-US" sz="1600" b="1" dirty="0">
                <a:solidFill>
                  <a:schemeClr val="bg1"/>
                </a:solidFill>
                <a:latin typeface="Segoe UI Light" panose="020B0502040204020203" pitchFamily="34" charset="0"/>
              </a:rPr>
              <a:t>YOUR TITLE</a:t>
            </a:r>
          </a:p>
        </p:txBody>
      </p:sp>
      <p:sp>
        <p:nvSpPr>
          <p:cNvPr id="35" name="TextBox 34">
            <a:extLst>
              <a:ext uri="{FF2B5EF4-FFF2-40B4-BE49-F238E27FC236}">
                <a16:creationId xmlns:a16="http://schemas.microsoft.com/office/drawing/2014/main" id="{7F226D0E-B33E-1346-8B60-F0B0E96D405A}"/>
              </a:ext>
            </a:extLst>
          </p:cNvPr>
          <p:cNvSpPr txBox="1"/>
          <p:nvPr/>
        </p:nvSpPr>
        <p:spPr>
          <a:xfrm>
            <a:off x="727089" y="4990315"/>
            <a:ext cx="1203791" cy="338554"/>
          </a:xfrm>
          <a:prstGeom prst="rect">
            <a:avLst/>
          </a:prstGeom>
          <a:noFill/>
        </p:spPr>
        <p:txBody>
          <a:bodyPr wrap="none" rtlCol="0" anchor="ctr">
            <a:spAutoFit/>
          </a:bodyPr>
          <a:lstStyle/>
          <a:p>
            <a:r>
              <a:rPr lang="en-US" sz="1600" b="1" dirty="0">
                <a:solidFill>
                  <a:schemeClr val="bg1"/>
                </a:solidFill>
                <a:latin typeface="Segoe UI Light" panose="020B0502040204020203" pitchFamily="34" charset="0"/>
              </a:rPr>
              <a:t>YOUR TITLE</a:t>
            </a:r>
          </a:p>
        </p:txBody>
      </p:sp>
      <p:sp>
        <p:nvSpPr>
          <p:cNvPr id="36" name="TextBox 35">
            <a:extLst>
              <a:ext uri="{FF2B5EF4-FFF2-40B4-BE49-F238E27FC236}">
                <a16:creationId xmlns:a16="http://schemas.microsoft.com/office/drawing/2014/main" id="{5F80E2F0-4946-8949-B43F-86E70BCA69D0}"/>
              </a:ext>
            </a:extLst>
          </p:cNvPr>
          <p:cNvSpPr txBox="1"/>
          <p:nvPr/>
        </p:nvSpPr>
        <p:spPr>
          <a:xfrm>
            <a:off x="727089" y="5882266"/>
            <a:ext cx="1203791" cy="338554"/>
          </a:xfrm>
          <a:prstGeom prst="rect">
            <a:avLst/>
          </a:prstGeom>
          <a:noFill/>
        </p:spPr>
        <p:txBody>
          <a:bodyPr wrap="none" rtlCol="0" anchor="ctr">
            <a:spAutoFit/>
          </a:bodyPr>
          <a:lstStyle/>
          <a:p>
            <a:r>
              <a:rPr lang="en-US" sz="1600" b="1" dirty="0">
                <a:solidFill>
                  <a:schemeClr val="bg1"/>
                </a:solidFill>
                <a:latin typeface="Segoe UI Light" panose="020B0502040204020203" pitchFamily="34" charset="0"/>
              </a:rPr>
              <a:t>YOUR TITLE</a:t>
            </a:r>
          </a:p>
        </p:txBody>
      </p:sp>
      <p:sp>
        <p:nvSpPr>
          <p:cNvPr id="37" name="Subtitle 2">
            <a:extLst>
              <a:ext uri="{FF2B5EF4-FFF2-40B4-BE49-F238E27FC236}">
                <a16:creationId xmlns:a16="http://schemas.microsoft.com/office/drawing/2014/main" id="{FC27CE10-B70D-A144-A9A3-C28DE71D9CB6}"/>
              </a:ext>
            </a:extLst>
          </p:cNvPr>
          <p:cNvSpPr txBox="1">
            <a:spLocks/>
          </p:cNvSpPr>
          <p:nvPr/>
        </p:nvSpPr>
        <p:spPr>
          <a:xfrm>
            <a:off x="7363403" y="3772666"/>
            <a:ext cx="4187057" cy="1010247"/>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adipiscing elit. Aenean commodo ligula eget dolor. Aenean massa. Cum sociis natoque penatibus et magnis dis parturient montes, nascetur ridiculus mus. </a:t>
            </a:r>
          </a:p>
        </p:txBody>
      </p:sp>
      <p:sp>
        <p:nvSpPr>
          <p:cNvPr id="38" name="TextBox 37">
            <a:extLst>
              <a:ext uri="{FF2B5EF4-FFF2-40B4-BE49-F238E27FC236}">
                <a16:creationId xmlns:a16="http://schemas.microsoft.com/office/drawing/2014/main" id="{9D4C1505-0A14-CB49-A422-B545B1006FFB}"/>
              </a:ext>
            </a:extLst>
          </p:cNvPr>
          <p:cNvSpPr txBox="1"/>
          <p:nvPr/>
        </p:nvSpPr>
        <p:spPr>
          <a:xfrm>
            <a:off x="7402818" y="3407499"/>
            <a:ext cx="1203791" cy="338554"/>
          </a:xfrm>
          <a:prstGeom prst="rect">
            <a:avLst/>
          </a:prstGeom>
          <a:noFill/>
        </p:spPr>
        <p:txBody>
          <a:bodyPr wrap="none" rtlCol="0" anchor="ctr"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a:t>
            </a:r>
          </a:p>
        </p:txBody>
      </p:sp>
      <p:sp>
        <p:nvSpPr>
          <p:cNvPr id="39" name="Titel 1">
            <a:extLst>
              <a:ext uri="{FF2B5EF4-FFF2-40B4-BE49-F238E27FC236}">
                <a16:creationId xmlns:a16="http://schemas.microsoft.com/office/drawing/2014/main" id="{899AFDA2-3167-45AF-BA51-9A9F66784CD3}"/>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Funnel diagram slide</a:t>
            </a:r>
          </a:p>
        </p:txBody>
      </p:sp>
    </p:spTree>
    <p:custDataLst>
      <p:tags r:id="rId1"/>
    </p:custDataLst>
    <p:extLst>
      <p:ext uri="{BB962C8B-B14F-4D97-AF65-F5344CB8AC3E}">
        <p14:creationId xmlns:p14="http://schemas.microsoft.com/office/powerpoint/2010/main" val="3836616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2">
            <a:extLst>
              <a:ext uri="{FF2B5EF4-FFF2-40B4-BE49-F238E27FC236}">
                <a16:creationId xmlns:a16="http://schemas.microsoft.com/office/drawing/2014/main" id="{03AA4146-4093-CA44-B634-20FA8184C589}"/>
              </a:ext>
            </a:extLst>
          </p:cNvPr>
          <p:cNvSpPr txBox="1">
            <a:spLocks/>
          </p:cNvSpPr>
          <p:nvPr/>
        </p:nvSpPr>
        <p:spPr>
          <a:xfrm>
            <a:off x="824744" y="2589180"/>
            <a:ext cx="2775566" cy="715773"/>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a:t>
            </a:r>
          </a:p>
        </p:txBody>
      </p:sp>
      <p:sp>
        <p:nvSpPr>
          <p:cNvPr id="10" name="TextBox 9">
            <a:extLst>
              <a:ext uri="{FF2B5EF4-FFF2-40B4-BE49-F238E27FC236}">
                <a16:creationId xmlns:a16="http://schemas.microsoft.com/office/drawing/2014/main" id="{95B742B4-3273-144C-A6DF-1908DACB53B2}"/>
              </a:ext>
            </a:extLst>
          </p:cNvPr>
          <p:cNvSpPr txBox="1"/>
          <p:nvPr/>
        </p:nvSpPr>
        <p:spPr>
          <a:xfrm>
            <a:off x="2160878" y="2252048"/>
            <a:ext cx="1439432" cy="338554"/>
          </a:xfrm>
          <a:prstGeom prst="rect">
            <a:avLst/>
          </a:prstGeom>
          <a:noFill/>
        </p:spPr>
        <p:txBody>
          <a:bodyPr wrap="none" rtlCol="0" anchor="b" anchorCtr="0">
            <a:spAutoFit/>
          </a:bodyPr>
          <a:lstStyle/>
          <a:p>
            <a:pPr algn="r"/>
            <a:r>
              <a:rPr lang="en-US" sz="1600" b="1" dirty="0">
                <a:solidFill>
                  <a:schemeClr val="tx2"/>
                </a:solidFill>
                <a:latin typeface="Segoe UI Light" panose="020B0502040204020203" pitchFamily="34" charset="0"/>
                <a:ea typeface="League Spartan" charset="0"/>
                <a:cs typeface="Poppins" pitchFamily="2" charset="77"/>
              </a:rPr>
              <a:t>YOUR TITLE 01</a:t>
            </a:r>
          </a:p>
        </p:txBody>
      </p:sp>
      <p:sp>
        <p:nvSpPr>
          <p:cNvPr id="13" name="Freeform 12">
            <a:extLst>
              <a:ext uri="{FF2B5EF4-FFF2-40B4-BE49-F238E27FC236}">
                <a16:creationId xmlns:a16="http://schemas.microsoft.com/office/drawing/2014/main" id="{D5A4AF4E-D1E9-0B4E-AA51-FF3129142908}"/>
              </a:ext>
            </a:extLst>
          </p:cNvPr>
          <p:cNvSpPr>
            <a:spLocks noChangeArrowheads="1"/>
          </p:cNvSpPr>
          <p:nvPr/>
        </p:nvSpPr>
        <p:spPr bwMode="auto">
          <a:xfrm rot="10800000">
            <a:off x="3723879" y="3080832"/>
            <a:ext cx="2121594" cy="2934715"/>
          </a:xfrm>
          <a:custGeom>
            <a:avLst/>
            <a:gdLst>
              <a:gd name="T0" fmla="*/ 1414 w 3005"/>
              <a:gd name="T1" fmla="*/ 2545 h 4155"/>
              <a:gd name="T2" fmla="*/ 975 w 3005"/>
              <a:gd name="T3" fmla="*/ 2545 h 4155"/>
              <a:gd name="T4" fmla="*/ 975 w 3005"/>
              <a:gd name="T5" fmla="*/ 2545 h 4155"/>
              <a:gd name="T6" fmla="*/ 932 w 3005"/>
              <a:gd name="T7" fmla="*/ 2623 h 4155"/>
              <a:gd name="T8" fmla="*/ 1915 w 3005"/>
              <a:gd name="T9" fmla="*/ 4123 h 4155"/>
              <a:gd name="T10" fmla="*/ 1915 w 3005"/>
              <a:gd name="T11" fmla="*/ 4123 h 4155"/>
              <a:gd name="T12" fmla="*/ 1999 w 3005"/>
              <a:gd name="T13" fmla="*/ 4123 h 4155"/>
              <a:gd name="T14" fmla="*/ 2982 w 3005"/>
              <a:gd name="T15" fmla="*/ 2623 h 4155"/>
              <a:gd name="T16" fmla="*/ 2982 w 3005"/>
              <a:gd name="T17" fmla="*/ 2623 h 4155"/>
              <a:gd name="T18" fmla="*/ 2940 w 3005"/>
              <a:gd name="T19" fmla="*/ 2545 h 4155"/>
              <a:gd name="T20" fmla="*/ 2549 w 3005"/>
              <a:gd name="T21" fmla="*/ 2545 h 4155"/>
              <a:gd name="T22" fmla="*/ 2549 w 3005"/>
              <a:gd name="T23" fmla="*/ 2545 h 4155"/>
              <a:gd name="T24" fmla="*/ 2355 w 3005"/>
              <a:gd name="T25" fmla="*/ 1573 h 4155"/>
              <a:gd name="T26" fmla="*/ 2355 w 3005"/>
              <a:gd name="T27" fmla="*/ 1573 h 4155"/>
              <a:gd name="T28" fmla="*/ 1803 w 3005"/>
              <a:gd name="T29" fmla="*/ 746 h 4155"/>
              <a:gd name="T30" fmla="*/ 1803 w 3005"/>
              <a:gd name="T31" fmla="*/ 746 h 4155"/>
              <a:gd name="T32" fmla="*/ 976 w 3005"/>
              <a:gd name="T33" fmla="*/ 193 h 4155"/>
              <a:gd name="T34" fmla="*/ 976 w 3005"/>
              <a:gd name="T35" fmla="*/ 193 h 4155"/>
              <a:gd name="T36" fmla="*/ 0 w 3005"/>
              <a:gd name="T37" fmla="*/ 0 h 4155"/>
              <a:gd name="T38" fmla="*/ 0 w 3005"/>
              <a:gd name="T39" fmla="*/ 1134 h 4155"/>
              <a:gd name="T40" fmla="*/ 0 w 3005"/>
              <a:gd name="T41" fmla="*/ 1134 h 4155"/>
              <a:gd name="T42" fmla="*/ 542 w 3005"/>
              <a:gd name="T43" fmla="*/ 1242 h 4155"/>
              <a:gd name="T44" fmla="*/ 542 w 3005"/>
              <a:gd name="T45" fmla="*/ 1242 h 4155"/>
              <a:gd name="T46" fmla="*/ 1000 w 3005"/>
              <a:gd name="T47" fmla="*/ 1548 h 4155"/>
              <a:gd name="T48" fmla="*/ 1000 w 3005"/>
              <a:gd name="T49" fmla="*/ 1548 h 4155"/>
              <a:gd name="T50" fmla="*/ 1307 w 3005"/>
              <a:gd name="T51" fmla="*/ 2006 h 4155"/>
              <a:gd name="T52" fmla="*/ 1307 w 3005"/>
              <a:gd name="T53" fmla="*/ 2006 h 4155"/>
              <a:gd name="T54" fmla="*/ 1414 w 3005"/>
              <a:gd name="T55" fmla="*/ 2545 h 4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05" h="4155">
                <a:moveTo>
                  <a:pt x="1414" y="2545"/>
                </a:moveTo>
                <a:lnTo>
                  <a:pt x="975" y="2545"/>
                </a:lnTo>
                <a:lnTo>
                  <a:pt x="975" y="2545"/>
                </a:lnTo>
                <a:cubicBezTo>
                  <a:pt x="934" y="2545"/>
                  <a:pt x="909" y="2589"/>
                  <a:pt x="932" y="2623"/>
                </a:cubicBezTo>
                <a:lnTo>
                  <a:pt x="1915" y="4123"/>
                </a:lnTo>
                <a:lnTo>
                  <a:pt x="1915" y="4123"/>
                </a:lnTo>
                <a:cubicBezTo>
                  <a:pt x="1934" y="4154"/>
                  <a:pt x="1980" y="4154"/>
                  <a:pt x="1999" y="4123"/>
                </a:cubicBezTo>
                <a:lnTo>
                  <a:pt x="2982" y="2623"/>
                </a:lnTo>
                <a:lnTo>
                  <a:pt x="2982" y="2623"/>
                </a:lnTo>
                <a:cubicBezTo>
                  <a:pt x="3004" y="2589"/>
                  <a:pt x="2980" y="2545"/>
                  <a:pt x="2940" y="2545"/>
                </a:cubicBezTo>
                <a:lnTo>
                  <a:pt x="2549" y="2545"/>
                </a:lnTo>
                <a:lnTo>
                  <a:pt x="2549" y="2545"/>
                </a:lnTo>
                <a:cubicBezTo>
                  <a:pt x="2548" y="2211"/>
                  <a:pt x="2483" y="1880"/>
                  <a:pt x="2355" y="1573"/>
                </a:cubicBezTo>
                <a:lnTo>
                  <a:pt x="2355" y="1573"/>
                </a:lnTo>
                <a:cubicBezTo>
                  <a:pt x="2227" y="1264"/>
                  <a:pt x="2039" y="982"/>
                  <a:pt x="1803" y="746"/>
                </a:cubicBezTo>
                <a:lnTo>
                  <a:pt x="1803" y="746"/>
                </a:lnTo>
                <a:cubicBezTo>
                  <a:pt x="1566" y="509"/>
                  <a:pt x="1285" y="322"/>
                  <a:pt x="976" y="193"/>
                </a:cubicBezTo>
                <a:lnTo>
                  <a:pt x="976" y="193"/>
                </a:lnTo>
                <a:cubicBezTo>
                  <a:pt x="666" y="66"/>
                  <a:pt x="335" y="0"/>
                  <a:pt x="0" y="0"/>
                </a:cubicBezTo>
                <a:lnTo>
                  <a:pt x="0" y="1134"/>
                </a:lnTo>
                <a:lnTo>
                  <a:pt x="0" y="1134"/>
                </a:lnTo>
                <a:cubicBezTo>
                  <a:pt x="186" y="1134"/>
                  <a:pt x="370" y="1171"/>
                  <a:pt x="542" y="1242"/>
                </a:cubicBezTo>
                <a:lnTo>
                  <a:pt x="542" y="1242"/>
                </a:lnTo>
                <a:cubicBezTo>
                  <a:pt x="713" y="1313"/>
                  <a:pt x="869" y="1417"/>
                  <a:pt x="1000" y="1548"/>
                </a:cubicBezTo>
                <a:lnTo>
                  <a:pt x="1000" y="1548"/>
                </a:lnTo>
                <a:cubicBezTo>
                  <a:pt x="1132" y="1680"/>
                  <a:pt x="1236" y="1835"/>
                  <a:pt x="1307" y="2006"/>
                </a:cubicBezTo>
                <a:lnTo>
                  <a:pt x="1307" y="2006"/>
                </a:lnTo>
                <a:cubicBezTo>
                  <a:pt x="1378" y="2176"/>
                  <a:pt x="1414" y="2359"/>
                  <a:pt x="1414" y="2545"/>
                </a:cubicBezTo>
              </a:path>
            </a:pathLst>
          </a:custGeom>
          <a:solidFill>
            <a:schemeClr val="accent4"/>
          </a:solidFill>
          <a:ln>
            <a:noFill/>
          </a:ln>
          <a:effectLst/>
        </p:spPr>
        <p:txBody>
          <a:bodyPr wrap="none" anchor="ctr"/>
          <a:lstStyle/>
          <a:p>
            <a:endParaRPr lang="en-US" sz="3266" dirty="0"/>
          </a:p>
        </p:txBody>
      </p:sp>
      <p:sp>
        <p:nvSpPr>
          <p:cNvPr id="3" name="Freeform 2">
            <a:extLst>
              <a:ext uri="{FF2B5EF4-FFF2-40B4-BE49-F238E27FC236}">
                <a16:creationId xmlns:a16="http://schemas.microsoft.com/office/drawing/2014/main" id="{852F3BF2-234F-7542-830F-41CE0F528F6B}"/>
              </a:ext>
            </a:extLst>
          </p:cNvPr>
          <p:cNvSpPr>
            <a:spLocks noChangeArrowheads="1"/>
          </p:cNvSpPr>
          <p:nvPr/>
        </p:nvSpPr>
        <p:spPr bwMode="auto">
          <a:xfrm>
            <a:off x="5225508" y="4223217"/>
            <a:ext cx="2934715" cy="2121592"/>
          </a:xfrm>
          <a:custGeom>
            <a:avLst/>
            <a:gdLst>
              <a:gd name="T0" fmla="*/ 1609 w 4155"/>
              <a:gd name="T1" fmla="*/ 1414 h 3005"/>
              <a:gd name="T2" fmla="*/ 1609 w 4155"/>
              <a:gd name="T3" fmla="*/ 974 h 3005"/>
              <a:gd name="T4" fmla="*/ 1609 w 4155"/>
              <a:gd name="T5" fmla="*/ 974 h 3005"/>
              <a:gd name="T6" fmla="*/ 1530 w 4155"/>
              <a:gd name="T7" fmla="*/ 931 h 3005"/>
              <a:gd name="T8" fmla="*/ 32 w 4155"/>
              <a:gd name="T9" fmla="*/ 1914 h 3005"/>
              <a:gd name="T10" fmla="*/ 32 w 4155"/>
              <a:gd name="T11" fmla="*/ 1914 h 3005"/>
              <a:gd name="T12" fmla="*/ 32 w 4155"/>
              <a:gd name="T13" fmla="*/ 1999 h 3005"/>
              <a:gd name="T14" fmla="*/ 1530 w 4155"/>
              <a:gd name="T15" fmla="*/ 2982 h 3005"/>
              <a:gd name="T16" fmla="*/ 1530 w 4155"/>
              <a:gd name="T17" fmla="*/ 2982 h 3005"/>
              <a:gd name="T18" fmla="*/ 1609 w 4155"/>
              <a:gd name="T19" fmla="*/ 2939 h 3005"/>
              <a:gd name="T20" fmla="*/ 1609 w 4155"/>
              <a:gd name="T21" fmla="*/ 2548 h 3005"/>
              <a:gd name="T22" fmla="*/ 1609 w 4155"/>
              <a:gd name="T23" fmla="*/ 2548 h 3005"/>
              <a:gd name="T24" fmla="*/ 2581 w 4155"/>
              <a:gd name="T25" fmla="*/ 2354 h 3005"/>
              <a:gd name="T26" fmla="*/ 2581 w 4155"/>
              <a:gd name="T27" fmla="*/ 2354 h 3005"/>
              <a:gd name="T28" fmla="*/ 3408 w 4155"/>
              <a:gd name="T29" fmla="*/ 1802 h 3005"/>
              <a:gd name="T30" fmla="*/ 3408 w 4155"/>
              <a:gd name="T31" fmla="*/ 1802 h 3005"/>
              <a:gd name="T32" fmla="*/ 3960 w 4155"/>
              <a:gd name="T33" fmla="*/ 975 h 3005"/>
              <a:gd name="T34" fmla="*/ 3960 w 4155"/>
              <a:gd name="T35" fmla="*/ 975 h 3005"/>
              <a:gd name="T36" fmla="*/ 4154 w 4155"/>
              <a:gd name="T37" fmla="*/ 0 h 3005"/>
              <a:gd name="T38" fmla="*/ 3020 w 4155"/>
              <a:gd name="T39" fmla="*/ 0 h 3005"/>
              <a:gd name="T40" fmla="*/ 3020 w 4155"/>
              <a:gd name="T41" fmla="*/ 0 h 3005"/>
              <a:gd name="T42" fmla="*/ 2912 w 4155"/>
              <a:gd name="T43" fmla="*/ 541 h 3005"/>
              <a:gd name="T44" fmla="*/ 2912 w 4155"/>
              <a:gd name="T45" fmla="*/ 541 h 3005"/>
              <a:gd name="T46" fmla="*/ 2606 w 4155"/>
              <a:gd name="T47" fmla="*/ 1000 h 3005"/>
              <a:gd name="T48" fmla="*/ 2606 w 4155"/>
              <a:gd name="T49" fmla="*/ 1000 h 3005"/>
              <a:gd name="T50" fmla="*/ 2147 w 4155"/>
              <a:gd name="T51" fmla="*/ 1306 h 3005"/>
              <a:gd name="T52" fmla="*/ 2147 w 4155"/>
              <a:gd name="T53" fmla="*/ 1306 h 3005"/>
              <a:gd name="T54" fmla="*/ 1609 w 4155"/>
              <a:gd name="T55" fmla="*/ 1414 h 3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5" h="3005">
                <a:moveTo>
                  <a:pt x="1609" y="1414"/>
                </a:moveTo>
                <a:lnTo>
                  <a:pt x="1609" y="974"/>
                </a:lnTo>
                <a:lnTo>
                  <a:pt x="1609" y="974"/>
                </a:lnTo>
                <a:cubicBezTo>
                  <a:pt x="1609" y="933"/>
                  <a:pt x="1564" y="909"/>
                  <a:pt x="1530" y="931"/>
                </a:cubicBezTo>
                <a:lnTo>
                  <a:pt x="32" y="1914"/>
                </a:lnTo>
                <a:lnTo>
                  <a:pt x="32" y="1914"/>
                </a:lnTo>
                <a:cubicBezTo>
                  <a:pt x="0" y="1934"/>
                  <a:pt x="0" y="1979"/>
                  <a:pt x="32" y="1999"/>
                </a:cubicBezTo>
                <a:lnTo>
                  <a:pt x="1530" y="2982"/>
                </a:lnTo>
                <a:lnTo>
                  <a:pt x="1530" y="2982"/>
                </a:lnTo>
                <a:cubicBezTo>
                  <a:pt x="1564" y="3004"/>
                  <a:pt x="1609" y="2980"/>
                  <a:pt x="1609" y="2939"/>
                </a:cubicBezTo>
                <a:lnTo>
                  <a:pt x="1609" y="2548"/>
                </a:lnTo>
                <a:lnTo>
                  <a:pt x="1609" y="2548"/>
                </a:lnTo>
                <a:cubicBezTo>
                  <a:pt x="1943" y="2548"/>
                  <a:pt x="2273" y="2482"/>
                  <a:pt x="2581" y="2354"/>
                </a:cubicBezTo>
                <a:lnTo>
                  <a:pt x="2581" y="2354"/>
                </a:lnTo>
                <a:cubicBezTo>
                  <a:pt x="2891" y="2226"/>
                  <a:pt x="3172" y="2039"/>
                  <a:pt x="3408" y="1802"/>
                </a:cubicBezTo>
                <a:lnTo>
                  <a:pt x="3408" y="1802"/>
                </a:lnTo>
                <a:cubicBezTo>
                  <a:pt x="3645" y="1566"/>
                  <a:pt x="3833" y="1284"/>
                  <a:pt x="3960" y="975"/>
                </a:cubicBezTo>
                <a:lnTo>
                  <a:pt x="3960" y="975"/>
                </a:lnTo>
                <a:cubicBezTo>
                  <a:pt x="4088" y="666"/>
                  <a:pt x="4154" y="335"/>
                  <a:pt x="4154" y="0"/>
                </a:cubicBezTo>
                <a:lnTo>
                  <a:pt x="3020" y="0"/>
                </a:lnTo>
                <a:lnTo>
                  <a:pt x="3020" y="0"/>
                </a:lnTo>
                <a:cubicBezTo>
                  <a:pt x="3020" y="186"/>
                  <a:pt x="2983" y="369"/>
                  <a:pt x="2912" y="541"/>
                </a:cubicBezTo>
                <a:lnTo>
                  <a:pt x="2912" y="541"/>
                </a:lnTo>
                <a:cubicBezTo>
                  <a:pt x="2841" y="712"/>
                  <a:pt x="2737" y="868"/>
                  <a:pt x="2606" y="1000"/>
                </a:cubicBezTo>
                <a:lnTo>
                  <a:pt x="2606" y="1000"/>
                </a:lnTo>
                <a:cubicBezTo>
                  <a:pt x="2474" y="1131"/>
                  <a:pt x="2319" y="1235"/>
                  <a:pt x="2147" y="1306"/>
                </a:cubicBezTo>
                <a:lnTo>
                  <a:pt x="2147" y="1306"/>
                </a:lnTo>
                <a:cubicBezTo>
                  <a:pt x="1977" y="1377"/>
                  <a:pt x="1794" y="1413"/>
                  <a:pt x="1609" y="1414"/>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p>
        </p:txBody>
      </p:sp>
      <p:sp>
        <p:nvSpPr>
          <p:cNvPr id="4" name="Freeform 3">
            <a:extLst>
              <a:ext uri="{FF2B5EF4-FFF2-40B4-BE49-F238E27FC236}">
                <a16:creationId xmlns:a16="http://schemas.microsoft.com/office/drawing/2014/main" id="{8AED1D57-C921-6F4B-9C50-2739CFC253B9}"/>
              </a:ext>
            </a:extLst>
          </p:cNvPr>
          <p:cNvSpPr>
            <a:spLocks noChangeArrowheads="1"/>
          </p:cNvSpPr>
          <p:nvPr/>
        </p:nvSpPr>
        <p:spPr bwMode="auto">
          <a:xfrm>
            <a:off x="6365745" y="1964545"/>
            <a:ext cx="2121594" cy="2934715"/>
          </a:xfrm>
          <a:custGeom>
            <a:avLst/>
            <a:gdLst>
              <a:gd name="T0" fmla="*/ 1414 w 3005"/>
              <a:gd name="T1" fmla="*/ 2545 h 4155"/>
              <a:gd name="T2" fmla="*/ 975 w 3005"/>
              <a:gd name="T3" fmla="*/ 2545 h 4155"/>
              <a:gd name="T4" fmla="*/ 975 w 3005"/>
              <a:gd name="T5" fmla="*/ 2545 h 4155"/>
              <a:gd name="T6" fmla="*/ 932 w 3005"/>
              <a:gd name="T7" fmla="*/ 2623 h 4155"/>
              <a:gd name="T8" fmla="*/ 1915 w 3005"/>
              <a:gd name="T9" fmla="*/ 4123 h 4155"/>
              <a:gd name="T10" fmla="*/ 1915 w 3005"/>
              <a:gd name="T11" fmla="*/ 4123 h 4155"/>
              <a:gd name="T12" fmla="*/ 1999 w 3005"/>
              <a:gd name="T13" fmla="*/ 4123 h 4155"/>
              <a:gd name="T14" fmla="*/ 2982 w 3005"/>
              <a:gd name="T15" fmla="*/ 2623 h 4155"/>
              <a:gd name="T16" fmla="*/ 2982 w 3005"/>
              <a:gd name="T17" fmla="*/ 2623 h 4155"/>
              <a:gd name="T18" fmla="*/ 2940 w 3005"/>
              <a:gd name="T19" fmla="*/ 2545 h 4155"/>
              <a:gd name="T20" fmla="*/ 2549 w 3005"/>
              <a:gd name="T21" fmla="*/ 2545 h 4155"/>
              <a:gd name="T22" fmla="*/ 2549 w 3005"/>
              <a:gd name="T23" fmla="*/ 2545 h 4155"/>
              <a:gd name="T24" fmla="*/ 2355 w 3005"/>
              <a:gd name="T25" fmla="*/ 1573 h 4155"/>
              <a:gd name="T26" fmla="*/ 2355 w 3005"/>
              <a:gd name="T27" fmla="*/ 1573 h 4155"/>
              <a:gd name="T28" fmla="*/ 1803 w 3005"/>
              <a:gd name="T29" fmla="*/ 746 h 4155"/>
              <a:gd name="T30" fmla="*/ 1803 w 3005"/>
              <a:gd name="T31" fmla="*/ 746 h 4155"/>
              <a:gd name="T32" fmla="*/ 976 w 3005"/>
              <a:gd name="T33" fmla="*/ 193 h 4155"/>
              <a:gd name="T34" fmla="*/ 976 w 3005"/>
              <a:gd name="T35" fmla="*/ 193 h 4155"/>
              <a:gd name="T36" fmla="*/ 0 w 3005"/>
              <a:gd name="T37" fmla="*/ 0 h 4155"/>
              <a:gd name="T38" fmla="*/ 0 w 3005"/>
              <a:gd name="T39" fmla="*/ 1134 h 4155"/>
              <a:gd name="T40" fmla="*/ 0 w 3005"/>
              <a:gd name="T41" fmla="*/ 1134 h 4155"/>
              <a:gd name="T42" fmla="*/ 542 w 3005"/>
              <a:gd name="T43" fmla="*/ 1242 h 4155"/>
              <a:gd name="T44" fmla="*/ 542 w 3005"/>
              <a:gd name="T45" fmla="*/ 1242 h 4155"/>
              <a:gd name="T46" fmla="*/ 1000 w 3005"/>
              <a:gd name="T47" fmla="*/ 1548 h 4155"/>
              <a:gd name="T48" fmla="*/ 1000 w 3005"/>
              <a:gd name="T49" fmla="*/ 1548 h 4155"/>
              <a:gd name="T50" fmla="*/ 1307 w 3005"/>
              <a:gd name="T51" fmla="*/ 2006 h 4155"/>
              <a:gd name="T52" fmla="*/ 1307 w 3005"/>
              <a:gd name="T53" fmla="*/ 2006 h 4155"/>
              <a:gd name="T54" fmla="*/ 1414 w 3005"/>
              <a:gd name="T55" fmla="*/ 2545 h 4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05" h="4155">
                <a:moveTo>
                  <a:pt x="1414" y="2545"/>
                </a:moveTo>
                <a:lnTo>
                  <a:pt x="975" y="2545"/>
                </a:lnTo>
                <a:lnTo>
                  <a:pt x="975" y="2545"/>
                </a:lnTo>
                <a:cubicBezTo>
                  <a:pt x="934" y="2545"/>
                  <a:pt x="909" y="2589"/>
                  <a:pt x="932" y="2623"/>
                </a:cubicBezTo>
                <a:lnTo>
                  <a:pt x="1915" y="4123"/>
                </a:lnTo>
                <a:lnTo>
                  <a:pt x="1915" y="4123"/>
                </a:lnTo>
                <a:cubicBezTo>
                  <a:pt x="1934" y="4154"/>
                  <a:pt x="1980" y="4154"/>
                  <a:pt x="1999" y="4123"/>
                </a:cubicBezTo>
                <a:lnTo>
                  <a:pt x="2982" y="2623"/>
                </a:lnTo>
                <a:lnTo>
                  <a:pt x="2982" y="2623"/>
                </a:lnTo>
                <a:cubicBezTo>
                  <a:pt x="3004" y="2589"/>
                  <a:pt x="2980" y="2545"/>
                  <a:pt x="2940" y="2545"/>
                </a:cubicBezTo>
                <a:lnTo>
                  <a:pt x="2549" y="2545"/>
                </a:lnTo>
                <a:lnTo>
                  <a:pt x="2549" y="2545"/>
                </a:lnTo>
                <a:cubicBezTo>
                  <a:pt x="2548" y="2211"/>
                  <a:pt x="2483" y="1880"/>
                  <a:pt x="2355" y="1573"/>
                </a:cubicBezTo>
                <a:lnTo>
                  <a:pt x="2355" y="1573"/>
                </a:lnTo>
                <a:cubicBezTo>
                  <a:pt x="2227" y="1264"/>
                  <a:pt x="2039" y="982"/>
                  <a:pt x="1803" y="746"/>
                </a:cubicBezTo>
                <a:lnTo>
                  <a:pt x="1803" y="746"/>
                </a:lnTo>
                <a:cubicBezTo>
                  <a:pt x="1566" y="509"/>
                  <a:pt x="1285" y="322"/>
                  <a:pt x="976" y="193"/>
                </a:cubicBezTo>
                <a:lnTo>
                  <a:pt x="976" y="193"/>
                </a:lnTo>
                <a:cubicBezTo>
                  <a:pt x="666" y="66"/>
                  <a:pt x="335" y="0"/>
                  <a:pt x="0" y="0"/>
                </a:cubicBezTo>
                <a:lnTo>
                  <a:pt x="0" y="1134"/>
                </a:lnTo>
                <a:lnTo>
                  <a:pt x="0" y="1134"/>
                </a:lnTo>
                <a:cubicBezTo>
                  <a:pt x="186" y="1134"/>
                  <a:pt x="370" y="1171"/>
                  <a:pt x="542" y="1242"/>
                </a:cubicBezTo>
                <a:lnTo>
                  <a:pt x="542" y="1242"/>
                </a:lnTo>
                <a:cubicBezTo>
                  <a:pt x="713" y="1313"/>
                  <a:pt x="869" y="1417"/>
                  <a:pt x="1000" y="1548"/>
                </a:cubicBezTo>
                <a:lnTo>
                  <a:pt x="1000" y="1548"/>
                </a:lnTo>
                <a:cubicBezTo>
                  <a:pt x="1132" y="1680"/>
                  <a:pt x="1236" y="1835"/>
                  <a:pt x="1307" y="2006"/>
                </a:cubicBezTo>
                <a:lnTo>
                  <a:pt x="1307" y="2006"/>
                </a:lnTo>
                <a:cubicBezTo>
                  <a:pt x="1378" y="2176"/>
                  <a:pt x="1414" y="2359"/>
                  <a:pt x="1414" y="2545"/>
                </a:cubicBez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p>
        </p:txBody>
      </p:sp>
      <p:sp>
        <p:nvSpPr>
          <p:cNvPr id="5" name="Freeform 4">
            <a:extLst>
              <a:ext uri="{FF2B5EF4-FFF2-40B4-BE49-F238E27FC236}">
                <a16:creationId xmlns:a16="http://schemas.microsoft.com/office/drawing/2014/main" id="{949EA22C-7148-0848-B7C0-83C352511851}"/>
              </a:ext>
            </a:extLst>
          </p:cNvPr>
          <p:cNvSpPr>
            <a:spLocks noChangeArrowheads="1"/>
          </p:cNvSpPr>
          <p:nvPr/>
        </p:nvSpPr>
        <p:spPr bwMode="auto">
          <a:xfrm>
            <a:off x="4063461" y="1618735"/>
            <a:ext cx="2934715" cy="2121592"/>
          </a:xfrm>
          <a:custGeom>
            <a:avLst/>
            <a:gdLst>
              <a:gd name="T0" fmla="*/ 2545 w 4155"/>
              <a:gd name="T1" fmla="*/ 1590 h 3003"/>
              <a:gd name="T2" fmla="*/ 2545 w 4155"/>
              <a:gd name="T3" fmla="*/ 2030 h 3003"/>
              <a:gd name="T4" fmla="*/ 2545 w 4155"/>
              <a:gd name="T5" fmla="*/ 2030 h 3003"/>
              <a:gd name="T6" fmla="*/ 2624 w 4155"/>
              <a:gd name="T7" fmla="*/ 2072 h 3003"/>
              <a:gd name="T8" fmla="*/ 4123 w 4155"/>
              <a:gd name="T9" fmla="*/ 1090 h 3003"/>
              <a:gd name="T10" fmla="*/ 4123 w 4155"/>
              <a:gd name="T11" fmla="*/ 1090 h 3003"/>
              <a:gd name="T12" fmla="*/ 4123 w 4155"/>
              <a:gd name="T13" fmla="*/ 1005 h 3003"/>
              <a:gd name="T14" fmla="*/ 2624 w 4155"/>
              <a:gd name="T15" fmla="*/ 22 h 3003"/>
              <a:gd name="T16" fmla="*/ 2624 w 4155"/>
              <a:gd name="T17" fmla="*/ 22 h 3003"/>
              <a:gd name="T18" fmla="*/ 2545 w 4155"/>
              <a:gd name="T19" fmla="*/ 65 h 3003"/>
              <a:gd name="T20" fmla="*/ 2545 w 4155"/>
              <a:gd name="T21" fmla="*/ 455 h 3003"/>
              <a:gd name="T22" fmla="*/ 2545 w 4155"/>
              <a:gd name="T23" fmla="*/ 455 h 3003"/>
              <a:gd name="T24" fmla="*/ 1573 w 4155"/>
              <a:gd name="T25" fmla="*/ 649 h 3003"/>
              <a:gd name="T26" fmla="*/ 1573 w 4155"/>
              <a:gd name="T27" fmla="*/ 649 h 3003"/>
              <a:gd name="T28" fmla="*/ 746 w 4155"/>
              <a:gd name="T29" fmla="*/ 1202 h 3003"/>
              <a:gd name="T30" fmla="*/ 746 w 4155"/>
              <a:gd name="T31" fmla="*/ 1202 h 3003"/>
              <a:gd name="T32" fmla="*/ 194 w 4155"/>
              <a:gd name="T33" fmla="*/ 2029 h 3003"/>
              <a:gd name="T34" fmla="*/ 194 w 4155"/>
              <a:gd name="T35" fmla="*/ 2029 h 3003"/>
              <a:gd name="T36" fmla="*/ 0 w 4155"/>
              <a:gd name="T37" fmla="*/ 3002 h 3003"/>
              <a:gd name="T38" fmla="*/ 1134 w 4155"/>
              <a:gd name="T39" fmla="*/ 3002 h 3003"/>
              <a:gd name="T40" fmla="*/ 1134 w 4155"/>
              <a:gd name="T41" fmla="*/ 3002 h 3003"/>
              <a:gd name="T42" fmla="*/ 1242 w 4155"/>
              <a:gd name="T43" fmla="*/ 2461 h 3003"/>
              <a:gd name="T44" fmla="*/ 1242 w 4155"/>
              <a:gd name="T45" fmla="*/ 2461 h 3003"/>
              <a:gd name="T46" fmla="*/ 1548 w 4155"/>
              <a:gd name="T47" fmla="*/ 2004 h 3003"/>
              <a:gd name="T48" fmla="*/ 1548 w 4155"/>
              <a:gd name="T49" fmla="*/ 2004 h 3003"/>
              <a:gd name="T50" fmla="*/ 2007 w 4155"/>
              <a:gd name="T51" fmla="*/ 1697 h 3003"/>
              <a:gd name="T52" fmla="*/ 2007 w 4155"/>
              <a:gd name="T53" fmla="*/ 1697 h 3003"/>
              <a:gd name="T54" fmla="*/ 2545 w 4155"/>
              <a:gd name="T55" fmla="*/ 1590 h 3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5" h="3003">
                <a:moveTo>
                  <a:pt x="2545" y="1590"/>
                </a:moveTo>
                <a:lnTo>
                  <a:pt x="2545" y="2030"/>
                </a:lnTo>
                <a:lnTo>
                  <a:pt x="2545" y="2030"/>
                </a:lnTo>
                <a:cubicBezTo>
                  <a:pt x="2545" y="2071"/>
                  <a:pt x="2590" y="2094"/>
                  <a:pt x="2624" y="2072"/>
                </a:cubicBezTo>
                <a:lnTo>
                  <a:pt x="4123" y="1090"/>
                </a:lnTo>
                <a:lnTo>
                  <a:pt x="4123" y="1090"/>
                </a:lnTo>
                <a:cubicBezTo>
                  <a:pt x="4154" y="1070"/>
                  <a:pt x="4154" y="1025"/>
                  <a:pt x="4123" y="1005"/>
                </a:cubicBezTo>
                <a:lnTo>
                  <a:pt x="2624" y="22"/>
                </a:lnTo>
                <a:lnTo>
                  <a:pt x="2624" y="22"/>
                </a:lnTo>
                <a:cubicBezTo>
                  <a:pt x="2590" y="0"/>
                  <a:pt x="2545" y="24"/>
                  <a:pt x="2545" y="65"/>
                </a:cubicBezTo>
                <a:lnTo>
                  <a:pt x="2545" y="455"/>
                </a:lnTo>
                <a:lnTo>
                  <a:pt x="2545" y="455"/>
                </a:lnTo>
                <a:cubicBezTo>
                  <a:pt x="2212" y="455"/>
                  <a:pt x="1881" y="522"/>
                  <a:pt x="1573" y="649"/>
                </a:cubicBezTo>
                <a:lnTo>
                  <a:pt x="1573" y="649"/>
                </a:lnTo>
                <a:cubicBezTo>
                  <a:pt x="1264" y="777"/>
                  <a:pt x="983" y="965"/>
                  <a:pt x="746" y="1202"/>
                </a:cubicBezTo>
                <a:lnTo>
                  <a:pt x="746" y="1202"/>
                </a:lnTo>
                <a:cubicBezTo>
                  <a:pt x="509" y="1438"/>
                  <a:pt x="322" y="1719"/>
                  <a:pt x="194" y="2029"/>
                </a:cubicBezTo>
                <a:lnTo>
                  <a:pt x="194" y="2029"/>
                </a:lnTo>
                <a:cubicBezTo>
                  <a:pt x="66" y="2336"/>
                  <a:pt x="0" y="2668"/>
                  <a:pt x="0" y="3002"/>
                </a:cubicBezTo>
                <a:lnTo>
                  <a:pt x="1134" y="3002"/>
                </a:lnTo>
                <a:lnTo>
                  <a:pt x="1134" y="3002"/>
                </a:lnTo>
                <a:cubicBezTo>
                  <a:pt x="1134" y="2817"/>
                  <a:pt x="1171" y="2633"/>
                  <a:pt x="1242" y="2461"/>
                </a:cubicBezTo>
                <a:lnTo>
                  <a:pt x="1242" y="2461"/>
                </a:lnTo>
                <a:cubicBezTo>
                  <a:pt x="1313" y="2290"/>
                  <a:pt x="1418" y="2135"/>
                  <a:pt x="1548" y="2004"/>
                </a:cubicBezTo>
                <a:lnTo>
                  <a:pt x="1548" y="2004"/>
                </a:lnTo>
                <a:cubicBezTo>
                  <a:pt x="1680" y="1873"/>
                  <a:pt x="1836" y="1769"/>
                  <a:pt x="2007" y="1697"/>
                </a:cubicBezTo>
                <a:lnTo>
                  <a:pt x="2007" y="1697"/>
                </a:lnTo>
                <a:cubicBezTo>
                  <a:pt x="2178" y="1627"/>
                  <a:pt x="2360" y="1590"/>
                  <a:pt x="2545" y="159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p>
        </p:txBody>
      </p:sp>
      <p:sp>
        <p:nvSpPr>
          <p:cNvPr id="12" name="Freeform 8">
            <a:extLst>
              <a:ext uri="{FF2B5EF4-FFF2-40B4-BE49-F238E27FC236}">
                <a16:creationId xmlns:a16="http://schemas.microsoft.com/office/drawing/2014/main" id="{D0923563-14BD-5F44-ADA9-8BC27C2ECBD6}"/>
              </a:ext>
            </a:extLst>
          </p:cNvPr>
          <p:cNvSpPr>
            <a:spLocks noChangeArrowheads="1"/>
          </p:cNvSpPr>
          <p:nvPr/>
        </p:nvSpPr>
        <p:spPr bwMode="auto">
          <a:xfrm>
            <a:off x="3723880" y="3086095"/>
            <a:ext cx="1479821" cy="1137123"/>
          </a:xfrm>
          <a:custGeom>
            <a:avLst/>
            <a:gdLst>
              <a:gd name="T0" fmla="*/ 1004 w 2095"/>
              <a:gd name="T1" fmla="*/ 31 h 1609"/>
              <a:gd name="T2" fmla="*/ 1004 w 2095"/>
              <a:gd name="T3" fmla="*/ 31 h 1609"/>
              <a:gd name="T4" fmla="*/ 1090 w 2095"/>
              <a:gd name="T5" fmla="*/ 31 h 1609"/>
              <a:gd name="T6" fmla="*/ 2072 w 2095"/>
              <a:gd name="T7" fmla="*/ 1529 h 1609"/>
              <a:gd name="T8" fmla="*/ 2072 w 2095"/>
              <a:gd name="T9" fmla="*/ 1529 h 1609"/>
              <a:gd name="T10" fmla="*/ 2030 w 2095"/>
              <a:gd name="T11" fmla="*/ 1608 h 1609"/>
              <a:gd name="T12" fmla="*/ 65 w 2095"/>
              <a:gd name="T13" fmla="*/ 1608 h 1609"/>
              <a:gd name="T14" fmla="*/ 65 w 2095"/>
              <a:gd name="T15" fmla="*/ 1608 h 1609"/>
              <a:gd name="T16" fmla="*/ 22 w 2095"/>
              <a:gd name="T17" fmla="*/ 1529 h 1609"/>
              <a:gd name="T18" fmla="*/ 1004 w 2095"/>
              <a:gd name="T19" fmla="*/ 31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5" h="1609">
                <a:moveTo>
                  <a:pt x="1004" y="31"/>
                </a:moveTo>
                <a:lnTo>
                  <a:pt x="1004" y="31"/>
                </a:lnTo>
                <a:cubicBezTo>
                  <a:pt x="1025" y="0"/>
                  <a:pt x="1070" y="0"/>
                  <a:pt x="1090" y="31"/>
                </a:cubicBezTo>
                <a:lnTo>
                  <a:pt x="2072" y="1529"/>
                </a:lnTo>
                <a:lnTo>
                  <a:pt x="2072" y="1529"/>
                </a:lnTo>
                <a:cubicBezTo>
                  <a:pt x="2094" y="1564"/>
                  <a:pt x="2071" y="1608"/>
                  <a:pt x="2030" y="1608"/>
                </a:cubicBezTo>
                <a:lnTo>
                  <a:pt x="65" y="1608"/>
                </a:lnTo>
                <a:lnTo>
                  <a:pt x="65" y="1608"/>
                </a:lnTo>
                <a:cubicBezTo>
                  <a:pt x="24" y="1608"/>
                  <a:pt x="0" y="1564"/>
                  <a:pt x="22" y="1529"/>
                </a:cubicBezTo>
                <a:lnTo>
                  <a:pt x="1004" y="31"/>
                </a:lnTo>
              </a:path>
            </a:pathLst>
          </a:custGeom>
          <a:solidFill>
            <a:schemeClr val="accent4"/>
          </a:solidFill>
          <a:ln>
            <a:noFill/>
          </a:ln>
          <a:effectLst/>
        </p:spPr>
        <p:txBody>
          <a:bodyPr wrap="none" anchor="ctr"/>
          <a:lstStyle/>
          <a:p>
            <a:endParaRPr lang="en-US" sz="3266" dirty="0"/>
          </a:p>
        </p:txBody>
      </p:sp>
      <p:sp>
        <p:nvSpPr>
          <p:cNvPr id="16" name="Subtitle 2">
            <a:extLst>
              <a:ext uri="{FF2B5EF4-FFF2-40B4-BE49-F238E27FC236}">
                <a16:creationId xmlns:a16="http://schemas.microsoft.com/office/drawing/2014/main" id="{99141E2C-25FA-1049-8CA1-F152694464CC}"/>
              </a:ext>
            </a:extLst>
          </p:cNvPr>
          <p:cNvSpPr txBox="1">
            <a:spLocks/>
          </p:cNvSpPr>
          <p:nvPr/>
        </p:nvSpPr>
        <p:spPr>
          <a:xfrm>
            <a:off x="824744" y="4808908"/>
            <a:ext cx="2775566" cy="715773"/>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a:t>
            </a:r>
          </a:p>
        </p:txBody>
      </p:sp>
      <p:sp>
        <p:nvSpPr>
          <p:cNvPr id="17" name="TextBox 16">
            <a:extLst>
              <a:ext uri="{FF2B5EF4-FFF2-40B4-BE49-F238E27FC236}">
                <a16:creationId xmlns:a16="http://schemas.microsoft.com/office/drawing/2014/main" id="{D989FFF5-9C83-A64A-9CB3-7A01387A9993}"/>
              </a:ext>
            </a:extLst>
          </p:cNvPr>
          <p:cNvSpPr txBox="1"/>
          <p:nvPr/>
        </p:nvSpPr>
        <p:spPr>
          <a:xfrm>
            <a:off x="2125612" y="4471776"/>
            <a:ext cx="1474698" cy="338554"/>
          </a:xfrm>
          <a:prstGeom prst="rect">
            <a:avLst/>
          </a:prstGeom>
          <a:noFill/>
        </p:spPr>
        <p:txBody>
          <a:bodyPr wrap="none" rtlCol="0" anchor="b" anchorCtr="0">
            <a:spAutoFit/>
          </a:bodyPr>
          <a:lstStyle/>
          <a:p>
            <a:pPr algn="r"/>
            <a:r>
              <a:rPr lang="en-US" sz="1600" b="1" dirty="0">
                <a:solidFill>
                  <a:schemeClr val="tx2"/>
                </a:solidFill>
                <a:latin typeface="Segoe UI Light" panose="020B0502040204020203" pitchFamily="34" charset="0"/>
                <a:ea typeface="League Spartan" charset="0"/>
                <a:cs typeface="Poppins" pitchFamily="2" charset="77"/>
              </a:rPr>
              <a:t>YOUR TITLE 04</a:t>
            </a:r>
          </a:p>
        </p:txBody>
      </p:sp>
      <p:sp>
        <p:nvSpPr>
          <p:cNvPr id="19" name="Subtitle 2">
            <a:extLst>
              <a:ext uri="{FF2B5EF4-FFF2-40B4-BE49-F238E27FC236}">
                <a16:creationId xmlns:a16="http://schemas.microsoft.com/office/drawing/2014/main" id="{E30CB2BB-A07A-E94D-BB82-00ABEF4ACF27}"/>
              </a:ext>
            </a:extLst>
          </p:cNvPr>
          <p:cNvSpPr txBox="1">
            <a:spLocks/>
          </p:cNvSpPr>
          <p:nvPr/>
        </p:nvSpPr>
        <p:spPr>
          <a:xfrm>
            <a:off x="8591691" y="2589180"/>
            <a:ext cx="2775566" cy="715773"/>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a:t>
            </a:r>
          </a:p>
        </p:txBody>
      </p:sp>
      <p:sp>
        <p:nvSpPr>
          <p:cNvPr id="20" name="TextBox 19">
            <a:extLst>
              <a:ext uri="{FF2B5EF4-FFF2-40B4-BE49-F238E27FC236}">
                <a16:creationId xmlns:a16="http://schemas.microsoft.com/office/drawing/2014/main" id="{36DB317D-5C9A-D040-BED0-9C3C8CE63766}"/>
              </a:ext>
            </a:extLst>
          </p:cNvPr>
          <p:cNvSpPr txBox="1"/>
          <p:nvPr/>
        </p:nvSpPr>
        <p:spPr>
          <a:xfrm>
            <a:off x="8591691" y="2252048"/>
            <a:ext cx="1471493"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2</a:t>
            </a:r>
          </a:p>
        </p:txBody>
      </p:sp>
      <p:sp>
        <p:nvSpPr>
          <p:cNvPr id="22" name="Subtitle 2">
            <a:extLst>
              <a:ext uri="{FF2B5EF4-FFF2-40B4-BE49-F238E27FC236}">
                <a16:creationId xmlns:a16="http://schemas.microsoft.com/office/drawing/2014/main" id="{1CBDDEB5-78D2-0A41-8BBD-02488D41012F}"/>
              </a:ext>
            </a:extLst>
          </p:cNvPr>
          <p:cNvSpPr txBox="1">
            <a:spLocks/>
          </p:cNvSpPr>
          <p:nvPr/>
        </p:nvSpPr>
        <p:spPr>
          <a:xfrm>
            <a:off x="8591691" y="4808908"/>
            <a:ext cx="2775566" cy="715773"/>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a:t>
            </a:r>
          </a:p>
        </p:txBody>
      </p:sp>
      <p:sp>
        <p:nvSpPr>
          <p:cNvPr id="23" name="TextBox 22">
            <a:extLst>
              <a:ext uri="{FF2B5EF4-FFF2-40B4-BE49-F238E27FC236}">
                <a16:creationId xmlns:a16="http://schemas.microsoft.com/office/drawing/2014/main" id="{CBC446EE-5B5E-AC4D-B503-04D093BDCA75}"/>
              </a:ext>
            </a:extLst>
          </p:cNvPr>
          <p:cNvSpPr txBox="1"/>
          <p:nvPr/>
        </p:nvSpPr>
        <p:spPr>
          <a:xfrm>
            <a:off x="8591691" y="4471776"/>
            <a:ext cx="1471493"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3</a:t>
            </a:r>
          </a:p>
        </p:txBody>
      </p:sp>
      <p:sp>
        <p:nvSpPr>
          <p:cNvPr id="24" name="TextBox 23">
            <a:extLst>
              <a:ext uri="{FF2B5EF4-FFF2-40B4-BE49-F238E27FC236}">
                <a16:creationId xmlns:a16="http://schemas.microsoft.com/office/drawing/2014/main" id="{1C8F9C85-49D8-7E4E-9E52-8DC742C293AF}"/>
              </a:ext>
            </a:extLst>
          </p:cNvPr>
          <p:cNvSpPr txBox="1"/>
          <p:nvPr/>
        </p:nvSpPr>
        <p:spPr>
          <a:xfrm>
            <a:off x="5861360" y="2078825"/>
            <a:ext cx="521297" cy="553998"/>
          </a:xfrm>
          <a:prstGeom prst="rect">
            <a:avLst/>
          </a:prstGeom>
          <a:noFill/>
        </p:spPr>
        <p:txBody>
          <a:bodyPr wrap="none" rtlCol="0" anchor="ctr">
            <a:spAutoFit/>
          </a:bodyPr>
          <a:lstStyle/>
          <a:p>
            <a:pPr algn="ctr"/>
            <a:r>
              <a:rPr lang="en-US" sz="3000" b="1" dirty="0">
                <a:solidFill>
                  <a:schemeClr val="bg1"/>
                </a:solidFill>
                <a:latin typeface="Segoe UI Light" panose="020B0502040204020203" pitchFamily="34" charset="0"/>
                <a:cs typeface="Poppins" pitchFamily="2" charset="77"/>
              </a:rPr>
              <a:t>01</a:t>
            </a:r>
          </a:p>
        </p:txBody>
      </p:sp>
      <p:sp>
        <p:nvSpPr>
          <p:cNvPr id="25" name="TextBox 24">
            <a:extLst>
              <a:ext uri="{FF2B5EF4-FFF2-40B4-BE49-F238E27FC236}">
                <a16:creationId xmlns:a16="http://schemas.microsoft.com/office/drawing/2014/main" id="{2A0F74FC-8398-FB4C-B28E-EC1C210D680E}"/>
              </a:ext>
            </a:extLst>
          </p:cNvPr>
          <p:cNvSpPr txBox="1"/>
          <p:nvPr/>
        </p:nvSpPr>
        <p:spPr>
          <a:xfrm>
            <a:off x="7469697" y="3705744"/>
            <a:ext cx="582211" cy="553998"/>
          </a:xfrm>
          <a:prstGeom prst="rect">
            <a:avLst/>
          </a:prstGeom>
          <a:noFill/>
        </p:spPr>
        <p:txBody>
          <a:bodyPr wrap="none" rtlCol="0" anchor="ctr">
            <a:spAutoFit/>
          </a:bodyPr>
          <a:lstStyle/>
          <a:p>
            <a:pPr algn="ctr"/>
            <a:r>
              <a:rPr lang="en-US" sz="3000" b="1" dirty="0">
                <a:solidFill>
                  <a:schemeClr val="bg1"/>
                </a:solidFill>
                <a:latin typeface="Segoe UI Light" panose="020B0502040204020203" pitchFamily="34" charset="0"/>
                <a:cs typeface="Poppins" pitchFamily="2" charset="77"/>
              </a:rPr>
              <a:t>02</a:t>
            </a:r>
          </a:p>
        </p:txBody>
      </p:sp>
      <p:sp>
        <p:nvSpPr>
          <p:cNvPr id="26" name="TextBox 25">
            <a:extLst>
              <a:ext uri="{FF2B5EF4-FFF2-40B4-BE49-F238E27FC236}">
                <a16:creationId xmlns:a16="http://schemas.microsoft.com/office/drawing/2014/main" id="{73803843-432C-904A-B78D-212825195692}"/>
              </a:ext>
            </a:extLst>
          </p:cNvPr>
          <p:cNvSpPr txBox="1"/>
          <p:nvPr/>
        </p:nvSpPr>
        <p:spPr>
          <a:xfrm>
            <a:off x="5967469" y="5362352"/>
            <a:ext cx="582211" cy="553998"/>
          </a:xfrm>
          <a:prstGeom prst="rect">
            <a:avLst/>
          </a:prstGeom>
          <a:noFill/>
        </p:spPr>
        <p:txBody>
          <a:bodyPr wrap="none" rtlCol="0" anchor="ctr">
            <a:spAutoFit/>
          </a:bodyPr>
          <a:lstStyle/>
          <a:p>
            <a:pPr algn="ctr"/>
            <a:r>
              <a:rPr lang="en-US" sz="3000" b="1" dirty="0">
                <a:solidFill>
                  <a:schemeClr val="bg1"/>
                </a:solidFill>
                <a:latin typeface="Segoe UI Light" panose="020B0502040204020203" pitchFamily="34" charset="0"/>
                <a:cs typeface="Poppins" pitchFamily="2" charset="77"/>
              </a:rPr>
              <a:t>03</a:t>
            </a:r>
          </a:p>
        </p:txBody>
      </p:sp>
      <p:sp>
        <p:nvSpPr>
          <p:cNvPr id="27" name="TextBox 26">
            <a:extLst>
              <a:ext uri="{FF2B5EF4-FFF2-40B4-BE49-F238E27FC236}">
                <a16:creationId xmlns:a16="http://schemas.microsoft.com/office/drawing/2014/main" id="{8A9C2A7E-95FF-AE48-B63A-D4A669D32764}"/>
              </a:ext>
            </a:extLst>
          </p:cNvPr>
          <p:cNvSpPr txBox="1"/>
          <p:nvPr/>
        </p:nvSpPr>
        <p:spPr>
          <a:xfrm>
            <a:off x="4147338" y="3747308"/>
            <a:ext cx="588623" cy="553998"/>
          </a:xfrm>
          <a:prstGeom prst="rect">
            <a:avLst/>
          </a:prstGeom>
          <a:noFill/>
        </p:spPr>
        <p:txBody>
          <a:bodyPr wrap="none" rtlCol="0" anchor="ctr">
            <a:spAutoFit/>
          </a:bodyPr>
          <a:lstStyle/>
          <a:p>
            <a:pPr algn="ctr"/>
            <a:r>
              <a:rPr lang="en-US" sz="3000" b="1" dirty="0">
                <a:solidFill>
                  <a:schemeClr val="bg1"/>
                </a:solidFill>
                <a:latin typeface="Segoe UI Light" panose="020B0502040204020203" pitchFamily="34" charset="0"/>
                <a:cs typeface="Poppins" pitchFamily="2" charset="77"/>
              </a:rPr>
              <a:t>04</a:t>
            </a:r>
          </a:p>
        </p:txBody>
      </p:sp>
      <p:sp>
        <p:nvSpPr>
          <p:cNvPr id="21" name="Titel 1">
            <a:extLst>
              <a:ext uri="{FF2B5EF4-FFF2-40B4-BE49-F238E27FC236}">
                <a16:creationId xmlns:a16="http://schemas.microsoft.com/office/drawing/2014/main" id="{7A3A7A6A-B31F-44E3-8119-81A99EB5402E}"/>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Process slide</a:t>
            </a:r>
          </a:p>
        </p:txBody>
      </p:sp>
    </p:spTree>
    <p:custDataLst>
      <p:tags r:id="rId1"/>
    </p:custDataLst>
    <p:extLst>
      <p:ext uri="{BB962C8B-B14F-4D97-AF65-F5344CB8AC3E}">
        <p14:creationId xmlns:p14="http://schemas.microsoft.com/office/powerpoint/2010/main" val="1290320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2">
            <a:extLst>
              <a:ext uri="{FF2B5EF4-FFF2-40B4-BE49-F238E27FC236}">
                <a16:creationId xmlns:a16="http://schemas.microsoft.com/office/drawing/2014/main" id="{DE74BC18-4190-B648-8624-4960A911164F}"/>
              </a:ext>
            </a:extLst>
          </p:cNvPr>
          <p:cNvSpPr>
            <a:spLocks noChangeArrowheads="1"/>
          </p:cNvSpPr>
          <p:nvPr/>
        </p:nvSpPr>
        <p:spPr bwMode="auto">
          <a:xfrm>
            <a:off x="1588" y="1641051"/>
            <a:ext cx="3119988" cy="1587458"/>
          </a:xfrm>
          <a:custGeom>
            <a:avLst/>
            <a:gdLst>
              <a:gd name="T0" fmla="*/ 4545 w 5010"/>
              <a:gd name="T1" fmla="*/ 742 h 2548"/>
              <a:gd name="T2" fmla="*/ 2262 w 5010"/>
              <a:gd name="T3" fmla="*/ 0 h 2548"/>
              <a:gd name="T4" fmla="*/ 0 w 5010"/>
              <a:gd name="T5" fmla="*/ 0 h 2548"/>
              <a:gd name="T6" fmla="*/ 0 w 5010"/>
              <a:gd name="T7" fmla="*/ 1993 h 2548"/>
              <a:gd name="T8" fmla="*/ 2262 w 5010"/>
              <a:gd name="T9" fmla="*/ 1993 h 2548"/>
              <a:gd name="T10" fmla="*/ 3374 w 5010"/>
              <a:gd name="T11" fmla="*/ 2354 h 2548"/>
              <a:gd name="T12" fmla="*/ 3600 w 5010"/>
              <a:gd name="T13" fmla="*/ 2547 h 2548"/>
              <a:gd name="T14" fmla="*/ 5009 w 5010"/>
              <a:gd name="T15" fmla="*/ 1138 h 2548"/>
              <a:gd name="T16" fmla="*/ 4545 w 5010"/>
              <a:gd name="T17" fmla="*/ 742 h 2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10" h="2548">
                <a:moveTo>
                  <a:pt x="4545" y="742"/>
                </a:moveTo>
                <a:cubicBezTo>
                  <a:pt x="3905" y="276"/>
                  <a:pt x="3116" y="0"/>
                  <a:pt x="2262" y="0"/>
                </a:cubicBezTo>
                <a:lnTo>
                  <a:pt x="0" y="0"/>
                </a:lnTo>
                <a:lnTo>
                  <a:pt x="0" y="1993"/>
                </a:lnTo>
                <a:lnTo>
                  <a:pt x="2262" y="1993"/>
                </a:lnTo>
                <a:cubicBezTo>
                  <a:pt x="2678" y="1993"/>
                  <a:pt x="3062" y="2127"/>
                  <a:pt x="3374" y="2354"/>
                </a:cubicBezTo>
                <a:cubicBezTo>
                  <a:pt x="3454" y="2412"/>
                  <a:pt x="3530" y="2477"/>
                  <a:pt x="3600" y="2547"/>
                </a:cubicBezTo>
                <a:lnTo>
                  <a:pt x="5009" y="1138"/>
                </a:lnTo>
                <a:cubicBezTo>
                  <a:pt x="4865" y="994"/>
                  <a:pt x="4710" y="861"/>
                  <a:pt x="4545" y="742"/>
                </a:cubicBezTo>
              </a:path>
            </a:pathLst>
          </a:custGeom>
          <a:solidFill>
            <a:schemeClr val="accent1"/>
          </a:solidFill>
          <a:ln>
            <a:noFill/>
          </a:ln>
          <a:effectLst/>
        </p:spPr>
        <p:txBody>
          <a:bodyPr wrap="none" anchor="ctr"/>
          <a:lstStyle/>
          <a:p>
            <a:endParaRPr lang="en-US" sz="900" dirty="0"/>
          </a:p>
        </p:txBody>
      </p:sp>
      <p:sp>
        <p:nvSpPr>
          <p:cNvPr id="5" name="Freeform 3">
            <a:extLst>
              <a:ext uri="{FF2B5EF4-FFF2-40B4-BE49-F238E27FC236}">
                <a16:creationId xmlns:a16="http://schemas.microsoft.com/office/drawing/2014/main" id="{901C5178-292C-AA47-A0AA-578C1F4E1AB0}"/>
              </a:ext>
            </a:extLst>
          </p:cNvPr>
          <p:cNvSpPr>
            <a:spLocks noChangeArrowheads="1"/>
          </p:cNvSpPr>
          <p:nvPr/>
        </p:nvSpPr>
        <p:spPr bwMode="auto">
          <a:xfrm>
            <a:off x="1588" y="4892868"/>
            <a:ext cx="3119988" cy="1587458"/>
          </a:xfrm>
          <a:custGeom>
            <a:avLst/>
            <a:gdLst>
              <a:gd name="T0" fmla="*/ 3600 w 5010"/>
              <a:gd name="T1" fmla="*/ 0 h 2548"/>
              <a:gd name="T2" fmla="*/ 3374 w 5010"/>
              <a:gd name="T3" fmla="*/ 193 h 2548"/>
              <a:gd name="T4" fmla="*/ 2262 w 5010"/>
              <a:gd name="T5" fmla="*/ 554 h 2548"/>
              <a:gd name="T6" fmla="*/ 0 w 5010"/>
              <a:gd name="T7" fmla="*/ 554 h 2548"/>
              <a:gd name="T8" fmla="*/ 0 w 5010"/>
              <a:gd name="T9" fmla="*/ 2547 h 2548"/>
              <a:gd name="T10" fmla="*/ 2262 w 5010"/>
              <a:gd name="T11" fmla="*/ 2547 h 2548"/>
              <a:gd name="T12" fmla="*/ 4545 w 5010"/>
              <a:gd name="T13" fmla="*/ 1806 h 2548"/>
              <a:gd name="T14" fmla="*/ 5009 w 5010"/>
              <a:gd name="T15" fmla="*/ 1409 h 2548"/>
              <a:gd name="T16" fmla="*/ 3600 w 5010"/>
              <a:gd name="T17" fmla="*/ 0 h 2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10" h="2548">
                <a:moveTo>
                  <a:pt x="3600" y="0"/>
                </a:moveTo>
                <a:cubicBezTo>
                  <a:pt x="3530" y="71"/>
                  <a:pt x="3454" y="135"/>
                  <a:pt x="3374" y="193"/>
                </a:cubicBezTo>
                <a:cubicBezTo>
                  <a:pt x="3062" y="420"/>
                  <a:pt x="2678" y="554"/>
                  <a:pt x="2262" y="554"/>
                </a:cubicBezTo>
                <a:lnTo>
                  <a:pt x="0" y="554"/>
                </a:lnTo>
                <a:lnTo>
                  <a:pt x="0" y="2547"/>
                </a:lnTo>
                <a:lnTo>
                  <a:pt x="2262" y="2547"/>
                </a:lnTo>
                <a:cubicBezTo>
                  <a:pt x="3116" y="2547"/>
                  <a:pt x="3905" y="2272"/>
                  <a:pt x="4545" y="1806"/>
                </a:cubicBezTo>
                <a:cubicBezTo>
                  <a:pt x="4710" y="1686"/>
                  <a:pt x="4865" y="1553"/>
                  <a:pt x="5009" y="1409"/>
                </a:cubicBezTo>
                <a:lnTo>
                  <a:pt x="3600" y="0"/>
                </a:lnTo>
              </a:path>
            </a:pathLst>
          </a:custGeom>
          <a:solidFill>
            <a:schemeClr val="accent4"/>
          </a:solidFill>
          <a:ln>
            <a:noFill/>
          </a:ln>
          <a:effectLst/>
        </p:spPr>
        <p:txBody>
          <a:bodyPr wrap="none" anchor="ctr"/>
          <a:lstStyle/>
          <a:p>
            <a:endParaRPr lang="en-US" sz="900" dirty="0"/>
          </a:p>
        </p:txBody>
      </p:sp>
      <p:sp>
        <p:nvSpPr>
          <p:cNvPr id="14" name="Freeform 78">
            <a:extLst>
              <a:ext uri="{FF2B5EF4-FFF2-40B4-BE49-F238E27FC236}">
                <a16:creationId xmlns:a16="http://schemas.microsoft.com/office/drawing/2014/main" id="{473E31D0-B9EC-4442-873B-4E1748EE9545}"/>
              </a:ext>
            </a:extLst>
          </p:cNvPr>
          <p:cNvSpPr>
            <a:spLocks noChangeArrowheads="1"/>
          </p:cNvSpPr>
          <p:nvPr/>
        </p:nvSpPr>
        <p:spPr bwMode="auto">
          <a:xfrm>
            <a:off x="2242706" y="4060688"/>
            <a:ext cx="1587459" cy="1711050"/>
          </a:xfrm>
          <a:custGeom>
            <a:avLst/>
            <a:gdLst>
              <a:gd name="T0" fmla="*/ 461 w 2547"/>
              <a:gd name="T1" fmla="*/ 585 h 2747"/>
              <a:gd name="T2" fmla="*/ 0 w 2547"/>
              <a:gd name="T3" fmla="*/ 1337 h 2747"/>
              <a:gd name="T4" fmla="*/ 1409 w 2547"/>
              <a:gd name="T5" fmla="*/ 2746 h 2747"/>
              <a:gd name="T6" fmla="*/ 2357 w 2547"/>
              <a:gd name="T7" fmla="*/ 1201 h 2747"/>
              <a:gd name="T8" fmla="*/ 2546 w 2547"/>
              <a:gd name="T9" fmla="*/ 0 h 2747"/>
              <a:gd name="T10" fmla="*/ 554 w 2547"/>
              <a:gd name="T11" fmla="*/ 0 h 2747"/>
              <a:gd name="T12" fmla="*/ 461 w 2547"/>
              <a:gd name="T13" fmla="*/ 585 h 2747"/>
            </a:gdLst>
            <a:ahLst/>
            <a:cxnLst>
              <a:cxn ang="0">
                <a:pos x="T0" y="T1"/>
              </a:cxn>
              <a:cxn ang="0">
                <a:pos x="T2" y="T3"/>
              </a:cxn>
              <a:cxn ang="0">
                <a:pos x="T4" y="T5"/>
              </a:cxn>
              <a:cxn ang="0">
                <a:pos x="T6" y="T7"/>
              </a:cxn>
              <a:cxn ang="0">
                <a:pos x="T8" y="T9"/>
              </a:cxn>
              <a:cxn ang="0">
                <a:pos x="T10" y="T11"/>
              </a:cxn>
              <a:cxn ang="0">
                <a:pos x="T12" y="T13"/>
              </a:cxn>
            </a:cxnLst>
            <a:rect l="0" t="0" r="r" b="b"/>
            <a:pathLst>
              <a:path w="2547" h="2747">
                <a:moveTo>
                  <a:pt x="461" y="585"/>
                </a:moveTo>
                <a:cubicBezTo>
                  <a:pt x="369" y="872"/>
                  <a:pt x="208" y="1129"/>
                  <a:pt x="0" y="1337"/>
                </a:cubicBezTo>
                <a:lnTo>
                  <a:pt x="1409" y="2746"/>
                </a:lnTo>
                <a:cubicBezTo>
                  <a:pt x="1837" y="2318"/>
                  <a:pt x="2166" y="1791"/>
                  <a:pt x="2357" y="1201"/>
                </a:cubicBezTo>
                <a:cubicBezTo>
                  <a:pt x="2480" y="822"/>
                  <a:pt x="2546" y="419"/>
                  <a:pt x="2546" y="0"/>
                </a:cubicBezTo>
                <a:lnTo>
                  <a:pt x="554" y="0"/>
                </a:lnTo>
                <a:cubicBezTo>
                  <a:pt x="554" y="204"/>
                  <a:pt x="521" y="400"/>
                  <a:pt x="461" y="585"/>
                </a:cubicBezTo>
              </a:path>
            </a:pathLst>
          </a:custGeom>
          <a:solidFill>
            <a:schemeClr val="accent3"/>
          </a:solidFill>
          <a:ln>
            <a:noFill/>
          </a:ln>
          <a:effectLst/>
        </p:spPr>
        <p:txBody>
          <a:bodyPr wrap="none" anchor="ctr"/>
          <a:lstStyle/>
          <a:p>
            <a:endParaRPr lang="en-US" sz="900" dirty="0"/>
          </a:p>
        </p:txBody>
      </p:sp>
      <p:sp>
        <p:nvSpPr>
          <p:cNvPr id="15" name="Freeform 79">
            <a:extLst>
              <a:ext uri="{FF2B5EF4-FFF2-40B4-BE49-F238E27FC236}">
                <a16:creationId xmlns:a16="http://schemas.microsoft.com/office/drawing/2014/main" id="{11564133-1A0A-A94A-A398-A831A4246147}"/>
              </a:ext>
            </a:extLst>
          </p:cNvPr>
          <p:cNvSpPr>
            <a:spLocks noChangeArrowheads="1"/>
          </p:cNvSpPr>
          <p:nvPr/>
        </p:nvSpPr>
        <p:spPr bwMode="auto">
          <a:xfrm>
            <a:off x="2242706" y="2349639"/>
            <a:ext cx="1587459" cy="1711049"/>
          </a:xfrm>
          <a:custGeom>
            <a:avLst/>
            <a:gdLst>
              <a:gd name="T0" fmla="*/ 1409 w 2547"/>
              <a:gd name="T1" fmla="*/ 0 h 2747"/>
              <a:gd name="T2" fmla="*/ 0 w 2547"/>
              <a:gd name="T3" fmla="*/ 1409 h 2747"/>
              <a:gd name="T4" fmla="*/ 461 w 2547"/>
              <a:gd name="T5" fmla="*/ 2162 h 2747"/>
              <a:gd name="T6" fmla="*/ 554 w 2547"/>
              <a:gd name="T7" fmla="*/ 2746 h 2747"/>
              <a:gd name="T8" fmla="*/ 2546 w 2547"/>
              <a:gd name="T9" fmla="*/ 2746 h 2747"/>
              <a:gd name="T10" fmla="*/ 2357 w 2547"/>
              <a:gd name="T11" fmla="*/ 1545 h 2747"/>
              <a:gd name="T12" fmla="*/ 1409 w 2547"/>
              <a:gd name="T13" fmla="*/ 0 h 2747"/>
            </a:gdLst>
            <a:ahLst/>
            <a:cxnLst>
              <a:cxn ang="0">
                <a:pos x="T0" y="T1"/>
              </a:cxn>
              <a:cxn ang="0">
                <a:pos x="T2" y="T3"/>
              </a:cxn>
              <a:cxn ang="0">
                <a:pos x="T4" y="T5"/>
              </a:cxn>
              <a:cxn ang="0">
                <a:pos x="T6" y="T7"/>
              </a:cxn>
              <a:cxn ang="0">
                <a:pos x="T8" y="T9"/>
              </a:cxn>
              <a:cxn ang="0">
                <a:pos x="T10" y="T11"/>
              </a:cxn>
              <a:cxn ang="0">
                <a:pos x="T12" y="T13"/>
              </a:cxn>
            </a:cxnLst>
            <a:rect l="0" t="0" r="r" b="b"/>
            <a:pathLst>
              <a:path w="2547" h="2747">
                <a:moveTo>
                  <a:pt x="1409" y="0"/>
                </a:moveTo>
                <a:lnTo>
                  <a:pt x="0" y="1409"/>
                </a:lnTo>
                <a:cubicBezTo>
                  <a:pt x="208" y="1618"/>
                  <a:pt x="369" y="1874"/>
                  <a:pt x="461" y="2162"/>
                </a:cubicBezTo>
                <a:cubicBezTo>
                  <a:pt x="521" y="2346"/>
                  <a:pt x="554" y="2542"/>
                  <a:pt x="554" y="2746"/>
                </a:cubicBezTo>
                <a:lnTo>
                  <a:pt x="2546" y="2746"/>
                </a:lnTo>
                <a:cubicBezTo>
                  <a:pt x="2546" y="2327"/>
                  <a:pt x="2480" y="1924"/>
                  <a:pt x="2357" y="1545"/>
                </a:cubicBezTo>
                <a:cubicBezTo>
                  <a:pt x="2166" y="956"/>
                  <a:pt x="1837" y="428"/>
                  <a:pt x="1409" y="0"/>
                </a:cubicBezTo>
              </a:path>
            </a:pathLst>
          </a:custGeom>
          <a:solidFill>
            <a:schemeClr val="accent2"/>
          </a:solidFill>
          <a:ln>
            <a:noFill/>
          </a:ln>
          <a:effectLst/>
        </p:spPr>
        <p:txBody>
          <a:bodyPr wrap="none" anchor="ctr"/>
          <a:lstStyle/>
          <a:p>
            <a:endParaRPr lang="en-US" sz="900" dirty="0"/>
          </a:p>
        </p:txBody>
      </p:sp>
      <p:sp>
        <p:nvSpPr>
          <p:cNvPr id="16" name="Freeform 80">
            <a:extLst>
              <a:ext uri="{FF2B5EF4-FFF2-40B4-BE49-F238E27FC236}">
                <a16:creationId xmlns:a16="http://schemas.microsoft.com/office/drawing/2014/main" id="{933D009D-14B1-284B-B324-2646502C78D2}"/>
              </a:ext>
            </a:extLst>
          </p:cNvPr>
          <p:cNvSpPr>
            <a:spLocks noChangeArrowheads="1"/>
          </p:cNvSpPr>
          <p:nvPr/>
        </p:nvSpPr>
        <p:spPr bwMode="auto">
          <a:xfrm>
            <a:off x="3810940" y="4313363"/>
            <a:ext cx="1985696" cy="19226"/>
          </a:xfrm>
          <a:custGeom>
            <a:avLst/>
            <a:gdLst>
              <a:gd name="T0" fmla="*/ 0 w 3190"/>
              <a:gd name="T1" fmla="*/ 31 h 32"/>
              <a:gd name="T2" fmla="*/ 9 w 3190"/>
              <a:gd name="T3" fmla="*/ 0 h 32"/>
              <a:gd name="T4" fmla="*/ 254 w 3190"/>
              <a:gd name="T5" fmla="*/ 31 h 32"/>
              <a:gd name="T6" fmla="*/ 131 w 3190"/>
              <a:gd name="T7" fmla="*/ 0 h 32"/>
              <a:gd name="T8" fmla="*/ 254 w 3190"/>
              <a:gd name="T9" fmla="*/ 31 h 32"/>
              <a:gd name="T10" fmla="*/ 376 w 3190"/>
              <a:gd name="T11" fmla="*/ 31 h 32"/>
              <a:gd name="T12" fmla="*/ 498 w 3190"/>
              <a:gd name="T13" fmla="*/ 0 h 32"/>
              <a:gd name="T14" fmla="*/ 743 w 3190"/>
              <a:gd name="T15" fmla="*/ 31 h 32"/>
              <a:gd name="T16" fmla="*/ 621 w 3190"/>
              <a:gd name="T17" fmla="*/ 0 h 32"/>
              <a:gd name="T18" fmla="*/ 743 w 3190"/>
              <a:gd name="T19" fmla="*/ 31 h 32"/>
              <a:gd name="T20" fmla="*/ 865 w 3190"/>
              <a:gd name="T21" fmla="*/ 31 h 32"/>
              <a:gd name="T22" fmla="*/ 988 w 3190"/>
              <a:gd name="T23" fmla="*/ 0 h 32"/>
              <a:gd name="T24" fmla="*/ 1232 w 3190"/>
              <a:gd name="T25" fmla="*/ 31 h 32"/>
              <a:gd name="T26" fmla="*/ 1110 w 3190"/>
              <a:gd name="T27" fmla="*/ 0 h 32"/>
              <a:gd name="T28" fmla="*/ 1232 w 3190"/>
              <a:gd name="T29" fmla="*/ 31 h 32"/>
              <a:gd name="T30" fmla="*/ 1355 w 3190"/>
              <a:gd name="T31" fmla="*/ 31 h 32"/>
              <a:gd name="T32" fmla="*/ 1477 w 3190"/>
              <a:gd name="T33" fmla="*/ 0 h 32"/>
              <a:gd name="T34" fmla="*/ 1722 w 3190"/>
              <a:gd name="T35" fmla="*/ 31 h 32"/>
              <a:gd name="T36" fmla="*/ 1599 w 3190"/>
              <a:gd name="T37" fmla="*/ 0 h 32"/>
              <a:gd name="T38" fmla="*/ 1722 w 3190"/>
              <a:gd name="T39" fmla="*/ 31 h 32"/>
              <a:gd name="T40" fmla="*/ 1844 w 3190"/>
              <a:gd name="T41" fmla="*/ 31 h 32"/>
              <a:gd name="T42" fmla="*/ 1966 w 3190"/>
              <a:gd name="T43" fmla="*/ 0 h 32"/>
              <a:gd name="T44" fmla="*/ 2211 w 3190"/>
              <a:gd name="T45" fmla="*/ 31 h 32"/>
              <a:gd name="T46" fmla="*/ 2089 w 3190"/>
              <a:gd name="T47" fmla="*/ 0 h 32"/>
              <a:gd name="T48" fmla="*/ 2211 w 3190"/>
              <a:gd name="T49" fmla="*/ 31 h 32"/>
              <a:gd name="T50" fmla="*/ 2333 w 3190"/>
              <a:gd name="T51" fmla="*/ 31 h 32"/>
              <a:gd name="T52" fmla="*/ 2456 w 3190"/>
              <a:gd name="T53" fmla="*/ 0 h 32"/>
              <a:gd name="T54" fmla="*/ 2700 w 3190"/>
              <a:gd name="T55" fmla="*/ 31 h 32"/>
              <a:gd name="T56" fmla="*/ 2578 w 3190"/>
              <a:gd name="T57" fmla="*/ 0 h 32"/>
              <a:gd name="T58" fmla="*/ 2700 w 3190"/>
              <a:gd name="T59" fmla="*/ 31 h 32"/>
              <a:gd name="T60" fmla="*/ 2822 w 3190"/>
              <a:gd name="T61" fmla="*/ 31 h 32"/>
              <a:gd name="T62" fmla="*/ 2945 w 3190"/>
              <a:gd name="T63" fmla="*/ 0 h 32"/>
              <a:gd name="T64" fmla="*/ 3189 w 3190"/>
              <a:gd name="T65" fmla="*/ 31 h 32"/>
              <a:gd name="T66" fmla="*/ 3067 w 3190"/>
              <a:gd name="T67" fmla="*/ 0 h 32"/>
              <a:gd name="T68" fmla="*/ 3189 w 3190"/>
              <a:gd name="T69"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90" h="32">
                <a:moveTo>
                  <a:pt x="9" y="31"/>
                </a:moveTo>
                <a:lnTo>
                  <a:pt x="0" y="31"/>
                </a:lnTo>
                <a:lnTo>
                  <a:pt x="0" y="0"/>
                </a:lnTo>
                <a:lnTo>
                  <a:pt x="9" y="0"/>
                </a:lnTo>
                <a:lnTo>
                  <a:pt x="9" y="31"/>
                </a:lnTo>
                <a:close/>
                <a:moveTo>
                  <a:pt x="254" y="31"/>
                </a:moveTo>
                <a:lnTo>
                  <a:pt x="131" y="31"/>
                </a:lnTo>
                <a:lnTo>
                  <a:pt x="131" y="0"/>
                </a:lnTo>
                <a:lnTo>
                  <a:pt x="254" y="0"/>
                </a:lnTo>
                <a:lnTo>
                  <a:pt x="254" y="31"/>
                </a:lnTo>
                <a:close/>
                <a:moveTo>
                  <a:pt x="498" y="31"/>
                </a:moveTo>
                <a:lnTo>
                  <a:pt x="376" y="31"/>
                </a:lnTo>
                <a:lnTo>
                  <a:pt x="376" y="0"/>
                </a:lnTo>
                <a:lnTo>
                  <a:pt x="498" y="0"/>
                </a:lnTo>
                <a:lnTo>
                  <a:pt x="498" y="31"/>
                </a:lnTo>
                <a:close/>
                <a:moveTo>
                  <a:pt x="743" y="31"/>
                </a:moveTo>
                <a:lnTo>
                  <a:pt x="621" y="31"/>
                </a:lnTo>
                <a:lnTo>
                  <a:pt x="621" y="0"/>
                </a:lnTo>
                <a:lnTo>
                  <a:pt x="743" y="0"/>
                </a:lnTo>
                <a:lnTo>
                  <a:pt x="743" y="31"/>
                </a:lnTo>
                <a:close/>
                <a:moveTo>
                  <a:pt x="988" y="31"/>
                </a:moveTo>
                <a:lnTo>
                  <a:pt x="865" y="31"/>
                </a:lnTo>
                <a:lnTo>
                  <a:pt x="865" y="0"/>
                </a:lnTo>
                <a:lnTo>
                  <a:pt x="988" y="0"/>
                </a:lnTo>
                <a:lnTo>
                  <a:pt x="988" y="31"/>
                </a:lnTo>
                <a:close/>
                <a:moveTo>
                  <a:pt x="1232" y="31"/>
                </a:moveTo>
                <a:lnTo>
                  <a:pt x="1110" y="31"/>
                </a:lnTo>
                <a:lnTo>
                  <a:pt x="1110" y="0"/>
                </a:lnTo>
                <a:lnTo>
                  <a:pt x="1232" y="0"/>
                </a:lnTo>
                <a:lnTo>
                  <a:pt x="1232" y="31"/>
                </a:lnTo>
                <a:close/>
                <a:moveTo>
                  <a:pt x="1477" y="31"/>
                </a:moveTo>
                <a:lnTo>
                  <a:pt x="1355" y="31"/>
                </a:lnTo>
                <a:lnTo>
                  <a:pt x="1355" y="0"/>
                </a:lnTo>
                <a:lnTo>
                  <a:pt x="1477" y="0"/>
                </a:lnTo>
                <a:lnTo>
                  <a:pt x="1477" y="31"/>
                </a:lnTo>
                <a:close/>
                <a:moveTo>
                  <a:pt x="1722" y="31"/>
                </a:moveTo>
                <a:lnTo>
                  <a:pt x="1599" y="31"/>
                </a:lnTo>
                <a:lnTo>
                  <a:pt x="1599" y="0"/>
                </a:lnTo>
                <a:lnTo>
                  <a:pt x="1722" y="0"/>
                </a:lnTo>
                <a:lnTo>
                  <a:pt x="1722" y="31"/>
                </a:lnTo>
                <a:close/>
                <a:moveTo>
                  <a:pt x="1966" y="31"/>
                </a:moveTo>
                <a:lnTo>
                  <a:pt x="1844" y="31"/>
                </a:lnTo>
                <a:lnTo>
                  <a:pt x="1844" y="0"/>
                </a:lnTo>
                <a:lnTo>
                  <a:pt x="1966" y="0"/>
                </a:lnTo>
                <a:lnTo>
                  <a:pt x="1966" y="31"/>
                </a:lnTo>
                <a:close/>
                <a:moveTo>
                  <a:pt x="2211" y="31"/>
                </a:moveTo>
                <a:lnTo>
                  <a:pt x="2089" y="31"/>
                </a:lnTo>
                <a:lnTo>
                  <a:pt x="2089" y="0"/>
                </a:lnTo>
                <a:lnTo>
                  <a:pt x="2211" y="0"/>
                </a:lnTo>
                <a:lnTo>
                  <a:pt x="2211" y="31"/>
                </a:lnTo>
                <a:close/>
                <a:moveTo>
                  <a:pt x="2456" y="31"/>
                </a:moveTo>
                <a:lnTo>
                  <a:pt x="2333" y="31"/>
                </a:lnTo>
                <a:lnTo>
                  <a:pt x="2333" y="0"/>
                </a:lnTo>
                <a:lnTo>
                  <a:pt x="2456" y="0"/>
                </a:lnTo>
                <a:lnTo>
                  <a:pt x="2456" y="31"/>
                </a:lnTo>
                <a:close/>
                <a:moveTo>
                  <a:pt x="2700" y="31"/>
                </a:moveTo>
                <a:lnTo>
                  <a:pt x="2578" y="31"/>
                </a:lnTo>
                <a:lnTo>
                  <a:pt x="2578" y="0"/>
                </a:lnTo>
                <a:lnTo>
                  <a:pt x="2700" y="0"/>
                </a:lnTo>
                <a:lnTo>
                  <a:pt x="2700" y="31"/>
                </a:lnTo>
                <a:close/>
                <a:moveTo>
                  <a:pt x="2945" y="31"/>
                </a:moveTo>
                <a:lnTo>
                  <a:pt x="2822" y="31"/>
                </a:lnTo>
                <a:lnTo>
                  <a:pt x="2822" y="0"/>
                </a:lnTo>
                <a:lnTo>
                  <a:pt x="2945" y="0"/>
                </a:lnTo>
                <a:lnTo>
                  <a:pt x="2945" y="31"/>
                </a:lnTo>
                <a:close/>
                <a:moveTo>
                  <a:pt x="3189" y="31"/>
                </a:moveTo>
                <a:lnTo>
                  <a:pt x="3067" y="31"/>
                </a:lnTo>
                <a:lnTo>
                  <a:pt x="3067" y="0"/>
                </a:lnTo>
                <a:lnTo>
                  <a:pt x="3189" y="0"/>
                </a:lnTo>
                <a:lnTo>
                  <a:pt x="3189" y="31"/>
                </a:lnTo>
                <a:close/>
              </a:path>
            </a:pathLst>
          </a:custGeom>
          <a:solidFill>
            <a:schemeClr val="accent3"/>
          </a:solidFill>
          <a:ln>
            <a:noFill/>
          </a:ln>
          <a:effectLst/>
        </p:spPr>
        <p:txBody>
          <a:bodyPr wrap="none" anchor="ctr"/>
          <a:lstStyle/>
          <a:p>
            <a:endParaRPr lang="en-US" sz="900" dirty="0"/>
          </a:p>
        </p:txBody>
      </p:sp>
      <p:sp>
        <p:nvSpPr>
          <p:cNvPr id="17" name="Freeform 81">
            <a:extLst>
              <a:ext uri="{FF2B5EF4-FFF2-40B4-BE49-F238E27FC236}">
                <a16:creationId xmlns:a16="http://schemas.microsoft.com/office/drawing/2014/main" id="{B89892F5-77F2-D14A-BF1D-08A39BD1048D}"/>
              </a:ext>
            </a:extLst>
          </p:cNvPr>
          <p:cNvSpPr>
            <a:spLocks noChangeArrowheads="1"/>
          </p:cNvSpPr>
          <p:nvPr/>
        </p:nvSpPr>
        <p:spPr bwMode="auto">
          <a:xfrm>
            <a:off x="3739532" y="3187311"/>
            <a:ext cx="2057104" cy="19226"/>
          </a:xfrm>
          <a:custGeom>
            <a:avLst/>
            <a:gdLst>
              <a:gd name="T0" fmla="*/ 0 w 3303"/>
              <a:gd name="T1" fmla="*/ 30 h 31"/>
              <a:gd name="T2" fmla="*/ 122 w 3303"/>
              <a:gd name="T3" fmla="*/ 0 h 31"/>
              <a:gd name="T4" fmla="*/ 367 w 3303"/>
              <a:gd name="T5" fmla="*/ 30 h 31"/>
              <a:gd name="T6" fmla="*/ 244 w 3303"/>
              <a:gd name="T7" fmla="*/ 0 h 31"/>
              <a:gd name="T8" fmla="*/ 367 w 3303"/>
              <a:gd name="T9" fmla="*/ 30 h 31"/>
              <a:gd name="T10" fmla="*/ 489 w 3303"/>
              <a:gd name="T11" fmla="*/ 30 h 31"/>
              <a:gd name="T12" fmla="*/ 611 w 3303"/>
              <a:gd name="T13" fmla="*/ 0 h 31"/>
              <a:gd name="T14" fmla="*/ 856 w 3303"/>
              <a:gd name="T15" fmla="*/ 30 h 31"/>
              <a:gd name="T16" fmla="*/ 734 w 3303"/>
              <a:gd name="T17" fmla="*/ 0 h 31"/>
              <a:gd name="T18" fmla="*/ 856 w 3303"/>
              <a:gd name="T19" fmla="*/ 30 h 31"/>
              <a:gd name="T20" fmla="*/ 978 w 3303"/>
              <a:gd name="T21" fmla="*/ 30 h 31"/>
              <a:gd name="T22" fmla="*/ 1101 w 3303"/>
              <a:gd name="T23" fmla="*/ 0 h 31"/>
              <a:gd name="T24" fmla="*/ 1345 w 3303"/>
              <a:gd name="T25" fmla="*/ 30 h 31"/>
              <a:gd name="T26" fmla="*/ 1223 w 3303"/>
              <a:gd name="T27" fmla="*/ 0 h 31"/>
              <a:gd name="T28" fmla="*/ 1345 w 3303"/>
              <a:gd name="T29" fmla="*/ 30 h 31"/>
              <a:gd name="T30" fmla="*/ 1468 w 3303"/>
              <a:gd name="T31" fmla="*/ 30 h 31"/>
              <a:gd name="T32" fmla="*/ 1590 w 3303"/>
              <a:gd name="T33" fmla="*/ 0 h 31"/>
              <a:gd name="T34" fmla="*/ 1835 w 3303"/>
              <a:gd name="T35" fmla="*/ 30 h 31"/>
              <a:gd name="T36" fmla="*/ 1712 w 3303"/>
              <a:gd name="T37" fmla="*/ 0 h 31"/>
              <a:gd name="T38" fmla="*/ 1835 w 3303"/>
              <a:gd name="T39" fmla="*/ 30 h 31"/>
              <a:gd name="T40" fmla="*/ 1957 w 3303"/>
              <a:gd name="T41" fmla="*/ 30 h 31"/>
              <a:gd name="T42" fmla="*/ 2079 w 3303"/>
              <a:gd name="T43" fmla="*/ 0 h 31"/>
              <a:gd name="T44" fmla="*/ 2324 w 3303"/>
              <a:gd name="T45" fmla="*/ 30 h 31"/>
              <a:gd name="T46" fmla="*/ 2202 w 3303"/>
              <a:gd name="T47" fmla="*/ 0 h 31"/>
              <a:gd name="T48" fmla="*/ 2324 w 3303"/>
              <a:gd name="T49" fmla="*/ 30 h 31"/>
              <a:gd name="T50" fmla="*/ 2446 w 3303"/>
              <a:gd name="T51" fmla="*/ 30 h 31"/>
              <a:gd name="T52" fmla="*/ 2569 w 3303"/>
              <a:gd name="T53" fmla="*/ 0 h 31"/>
              <a:gd name="T54" fmla="*/ 2813 w 3303"/>
              <a:gd name="T55" fmla="*/ 30 h 31"/>
              <a:gd name="T56" fmla="*/ 2691 w 3303"/>
              <a:gd name="T57" fmla="*/ 0 h 31"/>
              <a:gd name="T58" fmla="*/ 2813 w 3303"/>
              <a:gd name="T59" fmla="*/ 30 h 31"/>
              <a:gd name="T60" fmla="*/ 2935 w 3303"/>
              <a:gd name="T61" fmla="*/ 30 h 31"/>
              <a:gd name="T62" fmla="*/ 3058 w 3303"/>
              <a:gd name="T63" fmla="*/ 0 h 31"/>
              <a:gd name="T64" fmla="*/ 3302 w 3303"/>
              <a:gd name="T65" fmla="*/ 30 h 31"/>
              <a:gd name="T66" fmla="*/ 3180 w 3303"/>
              <a:gd name="T67" fmla="*/ 0 h 31"/>
              <a:gd name="T68" fmla="*/ 3302 w 3303"/>
              <a:gd name="T69"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03" h="31">
                <a:moveTo>
                  <a:pt x="122" y="30"/>
                </a:moveTo>
                <a:lnTo>
                  <a:pt x="0" y="30"/>
                </a:lnTo>
                <a:lnTo>
                  <a:pt x="0" y="0"/>
                </a:lnTo>
                <a:lnTo>
                  <a:pt x="122" y="0"/>
                </a:lnTo>
                <a:lnTo>
                  <a:pt x="122" y="30"/>
                </a:lnTo>
                <a:close/>
                <a:moveTo>
                  <a:pt x="367" y="30"/>
                </a:moveTo>
                <a:lnTo>
                  <a:pt x="244" y="30"/>
                </a:lnTo>
                <a:lnTo>
                  <a:pt x="244" y="0"/>
                </a:lnTo>
                <a:lnTo>
                  <a:pt x="367" y="0"/>
                </a:lnTo>
                <a:lnTo>
                  <a:pt x="367" y="30"/>
                </a:lnTo>
                <a:close/>
                <a:moveTo>
                  <a:pt x="611" y="30"/>
                </a:moveTo>
                <a:lnTo>
                  <a:pt x="489" y="30"/>
                </a:lnTo>
                <a:lnTo>
                  <a:pt x="489" y="0"/>
                </a:lnTo>
                <a:lnTo>
                  <a:pt x="611" y="0"/>
                </a:lnTo>
                <a:lnTo>
                  <a:pt x="611" y="30"/>
                </a:lnTo>
                <a:close/>
                <a:moveTo>
                  <a:pt x="856" y="30"/>
                </a:moveTo>
                <a:lnTo>
                  <a:pt x="734" y="30"/>
                </a:lnTo>
                <a:lnTo>
                  <a:pt x="734" y="0"/>
                </a:lnTo>
                <a:lnTo>
                  <a:pt x="856" y="0"/>
                </a:lnTo>
                <a:lnTo>
                  <a:pt x="856" y="30"/>
                </a:lnTo>
                <a:close/>
                <a:moveTo>
                  <a:pt x="1101" y="30"/>
                </a:moveTo>
                <a:lnTo>
                  <a:pt x="978" y="30"/>
                </a:lnTo>
                <a:lnTo>
                  <a:pt x="978" y="0"/>
                </a:lnTo>
                <a:lnTo>
                  <a:pt x="1101" y="0"/>
                </a:lnTo>
                <a:lnTo>
                  <a:pt x="1101" y="30"/>
                </a:lnTo>
                <a:close/>
                <a:moveTo>
                  <a:pt x="1345" y="30"/>
                </a:moveTo>
                <a:lnTo>
                  <a:pt x="1223" y="30"/>
                </a:lnTo>
                <a:lnTo>
                  <a:pt x="1223" y="0"/>
                </a:lnTo>
                <a:lnTo>
                  <a:pt x="1345" y="0"/>
                </a:lnTo>
                <a:lnTo>
                  <a:pt x="1345" y="30"/>
                </a:lnTo>
                <a:close/>
                <a:moveTo>
                  <a:pt x="1590" y="30"/>
                </a:moveTo>
                <a:lnTo>
                  <a:pt x="1468" y="30"/>
                </a:lnTo>
                <a:lnTo>
                  <a:pt x="1468" y="0"/>
                </a:lnTo>
                <a:lnTo>
                  <a:pt x="1590" y="0"/>
                </a:lnTo>
                <a:lnTo>
                  <a:pt x="1590" y="30"/>
                </a:lnTo>
                <a:close/>
                <a:moveTo>
                  <a:pt x="1835" y="30"/>
                </a:moveTo>
                <a:lnTo>
                  <a:pt x="1712" y="30"/>
                </a:lnTo>
                <a:lnTo>
                  <a:pt x="1712" y="0"/>
                </a:lnTo>
                <a:lnTo>
                  <a:pt x="1835" y="0"/>
                </a:lnTo>
                <a:lnTo>
                  <a:pt x="1835" y="30"/>
                </a:lnTo>
                <a:close/>
                <a:moveTo>
                  <a:pt x="2079" y="30"/>
                </a:moveTo>
                <a:lnTo>
                  <a:pt x="1957" y="30"/>
                </a:lnTo>
                <a:lnTo>
                  <a:pt x="1957" y="0"/>
                </a:lnTo>
                <a:lnTo>
                  <a:pt x="2079" y="0"/>
                </a:lnTo>
                <a:lnTo>
                  <a:pt x="2079" y="30"/>
                </a:lnTo>
                <a:close/>
                <a:moveTo>
                  <a:pt x="2324" y="30"/>
                </a:moveTo>
                <a:lnTo>
                  <a:pt x="2202" y="30"/>
                </a:lnTo>
                <a:lnTo>
                  <a:pt x="2202" y="0"/>
                </a:lnTo>
                <a:lnTo>
                  <a:pt x="2324" y="0"/>
                </a:lnTo>
                <a:lnTo>
                  <a:pt x="2324" y="30"/>
                </a:lnTo>
                <a:close/>
                <a:moveTo>
                  <a:pt x="2569" y="30"/>
                </a:moveTo>
                <a:lnTo>
                  <a:pt x="2446" y="30"/>
                </a:lnTo>
                <a:lnTo>
                  <a:pt x="2446" y="0"/>
                </a:lnTo>
                <a:lnTo>
                  <a:pt x="2569" y="0"/>
                </a:lnTo>
                <a:lnTo>
                  <a:pt x="2569" y="30"/>
                </a:lnTo>
                <a:close/>
                <a:moveTo>
                  <a:pt x="2813" y="30"/>
                </a:moveTo>
                <a:lnTo>
                  <a:pt x="2691" y="30"/>
                </a:lnTo>
                <a:lnTo>
                  <a:pt x="2691" y="0"/>
                </a:lnTo>
                <a:lnTo>
                  <a:pt x="2813" y="0"/>
                </a:lnTo>
                <a:lnTo>
                  <a:pt x="2813" y="30"/>
                </a:lnTo>
                <a:close/>
                <a:moveTo>
                  <a:pt x="3058" y="30"/>
                </a:moveTo>
                <a:lnTo>
                  <a:pt x="2935" y="30"/>
                </a:lnTo>
                <a:lnTo>
                  <a:pt x="2935" y="0"/>
                </a:lnTo>
                <a:lnTo>
                  <a:pt x="3058" y="0"/>
                </a:lnTo>
                <a:lnTo>
                  <a:pt x="3058" y="30"/>
                </a:lnTo>
                <a:close/>
                <a:moveTo>
                  <a:pt x="3302" y="30"/>
                </a:moveTo>
                <a:lnTo>
                  <a:pt x="3180" y="30"/>
                </a:lnTo>
                <a:lnTo>
                  <a:pt x="3180" y="0"/>
                </a:lnTo>
                <a:lnTo>
                  <a:pt x="3302" y="0"/>
                </a:lnTo>
                <a:lnTo>
                  <a:pt x="3302" y="30"/>
                </a:lnTo>
                <a:close/>
              </a:path>
            </a:pathLst>
          </a:custGeom>
          <a:solidFill>
            <a:schemeClr val="accent2"/>
          </a:solidFill>
          <a:ln>
            <a:noFill/>
          </a:ln>
          <a:effectLst/>
        </p:spPr>
        <p:txBody>
          <a:bodyPr wrap="none" anchor="ctr"/>
          <a:lstStyle/>
          <a:p>
            <a:endParaRPr lang="en-US" sz="900" dirty="0"/>
          </a:p>
        </p:txBody>
      </p:sp>
      <p:sp>
        <p:nvSpPr>
          <p:cNvPr id="18" name="Freeform 82">
            <a:extLst>
              <a:ext uri="{FF2B5EF4-FFF2-40B4-BE49-F238E27FC236}">
                <a16:creationId xmlns:a16="http://schemas.microsoft.com/office/drawing/2014/main" id="{7623FA5A-9676-FE4F-82A0-9B0289F3C27A}"/>
              </a:ext>
            </a:extLst>
          </p:cNvPr>
          <p:cNvSpPr>
            <a:spLocks noChangeArrowheads="1"/>
          </p:cNvSpPr>
          <p:nvPr/>
        </p:nvSpPr>
        <p:spPr bwMode="auto">
          <a:xfrm>
            <a:off x="2824957" y="2055766"/>
            <a:ext cx="2971679" cy="19226"/>
          </a:xfrm>
          <a:custGeom>
            <a:avLst/>
            <a:gdLst>
              <a:gd name="T0" fmla="*/ 0 w 4771"/>
              <a:gd name="T1" fmla="*/ 30 h 31"/>
              <a:gd name="T2" fmla="*/ 122 w 4771"/>
              <a:gd name="T3" fmla="*/ 0 h 31"/>
              <a:gd name="T4" fmla="*/ 367 w 4771"/>
              <a:gd name="T5" fmla="*/ 30 h 31"/>
              <a:gd name="T6" fmla="*/ 245 w 4771"/>
              <a:gd name="T7" fmla="*/ 0 h 31"/>
              <a:gd name="T8" fmla="*/ 367 w 4771"/>
              <a:gd name="T9" fmla="*/ 30 h 31"/>
              <a:gd name="T10" fmla="*/ 489 w 4771"/>
              <a:gd name="T11" fmla="*/ 30 h 31"/>
              <a:gd name="T12" fmla="*/ 612 w 4771"/>
              <a:gd name="T13" fmla="*/ 0 h 31"/>
              <a:gd name="T14" fmla="*/ 856 w 4771"/>
              <a:gd name="T15" fmla="*/ 30 h 31"/>
              <a:gd name="T16" fmla="*/ 734 w 4771"/>
              <a:gd name="T17" fmla="*/ 0 h 31"/>
              <a:gd name="T18" fmla="*/ 856 w 4771"/>
              <a:gd name="T19" fmla="*/ 30 h 31"/>
              <a:gd name="T20" fmla="*/ 978 w 4771"/>
              <a:gd name="T21" fmla="*/ 30 h 31"/>
              <a:gd name="T22" fmla="*/ 1101 w 4771"/>
              <a:gd name="T23" fmla="*/ 0 h 31"/>
              <a:gd name="T24" fmla="*/ 1345 w 4771"/>
              <a:gd name="T25" fmla="*/ 30 h 31"/>
              <a:gd name="T26" fmla="*/ 1223 w 4771"/>
              <a:gd name="T27" fmla="*/ 0 h 31"/>
              <a:gd name="T28" fmla="*/ 1345 w 4771"/>
              <a:gd name="T29" fmla="*/ 30 h 31"/>
              <a:gd name="T30" fmla="*/ 1468 w 4771"/>
              <a:gd name="T31" fmla="*/ 30 h 31"/>
              <a:gd name="T32" fmla="*/ 1590 w 4771"/>
              <a:gd name="T33" fmla="*/ 0 h 31"/>
              <a:gd name="T34" fmla="*/ 1835 w 4771"/>
              <a:gd name="T35" fmla="*/ 30 h 31"/>
              <a:gd name="T36" fmla="*/ 1712 w 4771"/>
              <a:gd name="T37" fmla="*/ 0 h 31"/>
              <a:gd name="T38" fmla="*/ 1835 w 4771"/>
              <a:gd name="T39" fmla="*/ 30 h 31"/>
              <a:gd name="T40" fmla="*/ 1957 w 4771"/>
              <a:gd name="T41" fmla="*/ 30 h 31"/>
              <a:gd name="T42" fmla="*/ 2079 w 4771"/>
              <a:gd name="T43" fmla="*/ 0 h 31"/>
              <a:gd name="T44" fmla="*/ 2324 w 4771"/>
              <a:gd name="T45" fmla="*/ 30 h 31"/>
              <a:gd name="T46" fmla="*/ 2202 w 4771"/>
              <a:gd name="T47" fmla="*/ 0 h 31"/>
              <a:gd name="T48" fmla="*/ 2324 w 4771"/>
              <a:gd name="T49" fmla="*/ 30 h 31"/>
              <a:gd name="T50" fmla="*/ 2446 w 4771"/>
              <a:gd name="T51" fmla="*/ 30 h 31"/>
              <a:gd name="T52" fmla="*/ 2569 w 4771"/>
              <a:gd name="T53" fmla="*/ 0 h 31"/>
              <a:gd name="T54" fmla="*/ 2813 w 4771"/>
              <a:gd name="T55" fmla="*/ 30 h 31"/>
              <a:gd name="T56" fmla="*/ 2691 w 4771"/>
              <a:gd name="T57" fmla="*/ 0 h 31"/>
              <a:gd name="T58" fmla="*/ 2813 w 4771"/>
              <a:gd name="T59" fmla="*/ 30 h 31"/>
              <a:gd name="T60" fmla="*/ 2936 w 4771"/>
              <a:gd name="T61" fmla="*/ 30 h 31"/>
              <a:gd name="T62" fmla="*/ 3058 w 4771"/>
              <a:gd name="T63" fmla="*/ 0 h 31"/>
              <a:gd name="T64" fmla="*/ 3303 w 4771"/>
              <a:gd name="T65" fmla="*/ 30 h 31"/>
              <a:gd name="T66" fmla="*/ 3180 w 4771"/>
              <a:gd name="T67" fmla="*/ 0 h 31"/>
              <a:gd name="T68" fmla="*/ 3303 w 4771"/>
              <a:gd name="T69" fmla="*/ 30 h 31"/>
              <a:gd name="T70" fmla="*/ 3425 w 4771"/>
              <a:gd name="T71" fmla="*/ 30 h 31"/>
              <a:gd name="T72" fmla="*/ 3547 w 4771"/>
              <a:gd name="T73" fmla="*/ 0 h 31"/>
              <a:gd name="T74" fmla="*/ 3792 w 4771"/>
              <a:gd name="T75" fmla="*/ 30 h 31"/>
              <a:gd name="T76" fmla="*/ 3670 w 4771"/>
              <a:gd name="T77" fmla="*/ 0 h 31"/>
              <a:gd name="T78" fmla="*/ 3792 w 4771"/>
              <a:gd name="T79" fmla="*/ 30 h 31"/>
              <a:gd name="T80" fmla="*/ 3914 w 4771"/>
              <a:gd name="T81" fmla="*/ 30 h 31"/>
              <a:gd name="T82" fmla="*/ 4037 w 4771"/>
              <a:gd name="T83" fmla="*/ 0 h 31"/>
              <a:gd name="T84" fmla="*/ 4281 w 4771"/>
              <a:gd name="T85" fmla="*/ 30 h 31"/>
              <a:gd name="T86" fmla="*/ 4159 w 4771"/>
              <a:gd name="T87" fmla="*/ 0 h 31"/>
              <a:gd name="T88" fmla="*/ 4281 w 4771"/>
              <a:gd name="T89" fmla="*/ 30 h 31"/>
              <a:gd name="T90" fmla="*/ 4403 w 4771"/>
              <a:gd name="T91" fmla="*/ 30 h 31"/>
              <a:gd name="T92" fmla="*/ 4526 w 4771"/>
              <a:gd name="T93" fmla="*/ 0 h 31"/>
              <a:gd name="T94" fmla="*/ 4770 w 4771"/>
              <a:gd name="T95" fmla="*/ 30 h 31"/>
              <a:gd name="T96" fmla="*/ 4648 w 4771"/>
              <a:gd name="T97" fmla="*/ 0 h 31"/>
              <a:gd name="T98" fmla="*/ 4770 w 4771"/>
              <a:gd name="T99"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71" h="31">
                <a:moveTo>
                  <a:pt x="122" y="30"/>
                </a:moveTo>
                <a:lnTo>
                  <a:pt x="0" y="30"/>
                </a:lnTo>
                <a:lnTo>
                  <a:pt x="0" y="0"/>
                </a:lnTo>
                <a:lnTo>
                  <a:pt x="122" y="0"/>
                </a:lnTo>
                <a:lnTo>
                  <a:pt x="122" y="30"/>
                </a:lnTo>
                <a:close/>
                <a:moveTo>
                  <a:pt x="367" y="30"/>
                </a:moveTo>
                <a:lnTo>
                  <a:pt x="245" y="30"/>
                </a:lnTo>
                <a:lnTo>
                  <a:pt x="245" y="0"/>
                </a:lnTo>
                <a:lnTo>
                  <a:pt x="367" y="0"/>
                </a:lnTo>
                <a:lnTo>
                  <a:pt x="367" y="30"/>
                </a:lnTo>
                <a:close/>
                <a:moveTo>
                  <a:pt x="612" y="30"/>
                </a:moveTo>
                <a:lnTo>
                  <a:pt x="489" y="30"/>
                </a:lnTo>
                <a:lnTo>
                  <a:pt x="489" y="0"/>
                </a:lnTo>
                <a:lnTo>
                  <a:pt x="612" y="0"/>
                </a:lnTo>
                <a:lnTo>
                  <a:pt x="612" y="30"/>
                </a:lnTo>
                <a:close/>
                <a:moveTo>
                  <a:pt x="856" y="30"/>
                </a:moveTo>
                <a:lnTo>
                  <a:pt x="734" y="30"/>
                </a:lnTo>
                <a:lnTo>
                  <a:pt x="734" y="0"/>
                </a:lnTo>
                <a:lnTo>
                  <a:pt x="856" y="0"/>
                </a:lnTo>
                <a:lnTo>
                  <a:pt x="856" y="30"/>
                </a:lnTo>
                <a:close/>
                <a:moveTo>
                  <a:pt x="1101" y="30"/>
                </a:moveTo>
                <a:lnTo>
                  <a:pt x="978" y="30"/>
                </a:lnTo>
                <a:lnTo>
                  <a:pt x="978" y="0"/>
                </a:lnTo>
                <a:lnTo>
                  <a:pt x="1101" y="0"/>
                </a:lnTo>
                <a:lnTo>
                  <a:pt x="1101" y="30"/>
                </a:lnTo>
                <a:close/>
                <a:moveTo>
                  <a:pt x="1345" y="30"/>
                </a:moveTo>
                <a:lnTo>
                  <a:pt x="1223" y="30"/>
                </a:lnTo>
                <a:lnTo>
                  <a:pt x="1223" y="0"/>
                </a:lnTo>
                <a:lnTo>
                  <a:pt x="1345" y="0"/>
                </a:lnTo>
                <a:lnTo>
                  <a:pt x="1345" y="30"/>
                </a:lnTo>
                <a:close/>
                <a:moveTo>
                  <a:pt x="1590" y="30"/>
                </a:moveTo>
                <a:lnTo>
                  <a:pt x="1468" y="30"/>
                </a:lnTo>
                <a:lnTo>
                  <a:pt x="1468" y="0"/>
                </a:lnTo>
                <a:lnTo>
                  <a:pt x="1590" y="0"/>
                </a:lnTo>
                <a:lnTo>
                  <a:pt x="1590" y="30"/>
                </a:lnTo>
                <a:close/>
                <a:moveTo>
                  <a:pt x="1835" y="30"/>
                </a:moveTo>
                <a:lnTo>
                  <a:pt x="1712" y="30"/>
                </a:lnTo>
                <a:lnTo>
                  <a:pt x="1712" y="0"/>
                </a:lnTo>
                <a:lnTo>
                  <a:pt x="1835" y="0"/>
                </a:lnTo>
                <a:lnTo>
                  <a:pt x="1835" y="30"/>
                </a:lnTo>
                <a:close/>
                <a:moveTo>
                  <a:pt x="2079" y="30"/>
                </a:moveTo>
                <a:lnTo>
                  <a:pt x="1957" y="30"/>
                </a:lnTo>
                <a:lnTo>
                  <a:pt x="1957" y="0"/>
                </a:lnTo>
                <a:lnTo>
                  <a:pt x="2079" y="0"/>
                </a:lnTo>
                <a:lnTo>
                  <a:pt x="2079" y="30"/>
                </a:lnTo>
                <a:close/>
                <a:moveTo>
                  <a:pt x="2324" y="30"/>
                </a:moveTo>
                <a:lnTo>
                  <a:pt x="2202" y="30"/>
                </a:lnTo>
                <a:lnTo>
                  <a:pt x="2202" y="0"/>
                </a:lnTo>
                <a:lnTo>
                  <a:pt x="2324" y="0"/>
                </a:lnTo>
                <a:lnTo>
                  <a:pt x="2324" y="30"/>
                </a:lnTo>
                <a:close/>
                <a:moveTo>
                  <a:pt x="2569" y="30"/>
                </a:moveTo>
                <a:lnTo>
                  <a:pt x="2446" y="30"/>
                </a:lnTo>
                <a:lnTo>
                  <a:pt x="2446" y="0"/>
                </a:lnTo>
                <a:lnTo>
                  <a:pt x="2569" y="0"/>
                </a:lnTo>
                <a:lnTo>
                  <a:pt x="2569" y="30"/>
                </a:lnTo>
                <a:close/>
                <a:moveTo>
                  <a:pt x="2813" y="30"/>
                </a:moveTo>
                <a:lnTo>
                  <a:pt x="2691" y="30"/>
                </a:lnTo>
                <a:lnTo>
                  <a:pt x="2691" y="0"/>
                </a:lnTo>
                <a:lnTo>
                  <a:pt x="2813" y="0"/>
                </a:lnTo>
                <a:lnTo>
                  <a:pt x="2813" y="30"/>
                </a:lnTo>
                <a:close/>
                <a:moveTo>
                  <a:pt x="3058" y="30"/>
                </a:moveTo>
                <a:lnTo>
                  <a:pt x="2936" y="30"/>
                </a:lnTo>
                <a:lnTo>
                  <a:pt x="2936" y="0"/>
                </a:lnTo>
                <a:lnTo>
                  <a:pt x="3058" y="0"/>
                </a:lnTo>
                <a:lnTo>
                  <a:pt x="3058" y="30"/>
                </a:lnTo>
                <a:close/>
                <a:moveTo>
                  <a:pt x="3303" y="30"/>
                </a:moveTo>
                <a:lnTo>
                  <a:pt x="3180" y="30"/>
                </a:lnTo>
                <a:lnTo>
                  <a:pt x="3180" y="0"/>
                </a:lnTo>
                <a:lnTo>
                  <a:pt x="3303" y="0"/>
                </a:lnTo>
                <a:lnTo>
                  <a:pt x="3303" y="30"/>
                </a:lnTo>
                <a:close/>
                <a:moveTo>
                  <a:pt x="3547" y="30"/>
                </a:moveTo>
                <a:lnTo>
                  <a:pt x="3425" y="30"/>
                </a:lnTo>
                <a:lnTo>
                  <a:pt x="3425" y="0"/>
                </a:lnTo>
                <a:lnTo>
                  <a:pt x="3547" y="0"/>
                </a:lnTo>
                <a:lnTo>
                  <a:pt x="3547" y="30"/>
                </a:lnTo>
                <a:close/>
                <a:moveTo>
                  <a:pt x="3792" y="30"/>
                </a:moveTo>
                <a:lnTo>
                  <a:pt x="3670" y="30"/>
                </a:lnTo>
                <a:lnTo>
                  <a:pt x="3670" y="0"/>
                </a:lnTo>
                <a:lnTo>
                  <a:pt x="3792" y="0"/>
                </a:lnTo>
                <a:lnTo>
                  <a:pt x="3792" y="30"/>
                </a:lnTo>
                <a:close/>
                <a:moveTo>
                  <a:pt x="4037" y="30"/>
                </a:moveTo>
                <a:lnTo>
                  <a:pt x="3914" y="30"/>
                </a:lnTo>
                <a:lnTo>
                  <a:pt x="3914" y="0"/>
                </a:lnTo>
                <a:lnTo>
                  <a:pt x="4037" y="0"/>
                </a:lnTo>
                <a:lnTo>
                  <a:pt x="4037" y="30"/>
                </a:lnTo>
                <a:close/>
                <a:moveTo>
                  <a:pt x="4281" y="30"/>
                </a:moveTo>
                <a:lnTo>
                  <a:pt x="4159" y="30"/>
                </a:lnTo>
                <a:lnTo>
                  <a:pt x="4159" y="0"/>
                </a:lnTo>
                <a:lnTo>
                  <a:pt x="4281" y="0"/>
                </a:lnTo>
                <a:lnTo>
                  <a:pt x="4281" y="30"/>
                </a:lnTo>
                <a:close/>
                <a:moveTo>
                  <a:pt x="4526" y="30"/>
                </a:moveTo>
                <a:lnTo>
                  <a:pt x="4403" y="30"/>
                </a:lnTo>
                <a:lnTo>
                  <a:pt x="4403" y="0"/>
                </a:lnTo>
                <a:lnTo>
                  <a:pt x="4526" y="0"/>
                </a:lnTo>
                <a:lnTo>
                  <a:pt x="4526" y="30"/>
                </a:lnTo>
                <a:close/>
                <a:moveTo>
                  <a:pt x="4770" y="30"/>
                </a:moveTo>
                <a:lnTo>
                  <a:pt x="4648" y="30"/>
                </a:lnTo>
                <a:lnTo>
                  <a:pt x="4648" y="0"/>
                </a:lnTo>
                <a:lnTo>
                  <a:pt x="4770" y="0"/>
                </a:lnTo>
                <a:lnTo>
                  <a:pt x="4770" y="30"/>
                </a:lnTo>
                <a:close/>
              </a:path>
            </a:pathLst>
          </a:custGeom>
          <a:solidFill>
            <a:schemeClr val="accent1"/>
          </a:solidFill>
          <a:ln>
            <a:noFill/>
          </a:ln>
          <a:effectLst/>
        </p:spPr>
        <p:txBody>
          <a:bodyPr wrap="none" anchor="ctr"/>
          <a:lstStyle/>
          <a:p>
            <a:endParaRPr lang="en-US" sz="900" dirty="0"/>
          </a:p>
        </p:txBody>
      </p:sp>
      <p:sp>
        <p:nvSpPr>
          <p:cNvPr id="19" name="Freeform 83">
            <a:extLst>
              <a:ext uri="{FF2B5EF4-FFF2-40B4-BE49-F238E27FC236}">
                <a16:creationId xmlns:a16="http://schemas.microsoft.com/office/drawing/2014/main" id="{C7F4E7A6-A308-6449-A4CF-7AA15D9A8BA2}"/>
              </a:ext>
            </a:extLst>
          </p:cNvPr>
          <p:cNvSpPr>
            <a:spLocks noChangeArrowheads="1"/>
          </p:cNvSpPr>
          <p:nvPr/>
        </p:nvSpPr>
        <p:spPr bwMode="auto">
          <a:xfrm>
            <a:off x="2857915" y="5444907"/>
            <a:ext cx="2894778" cy="552041"/>
          </a:xfrm>
          <a:custGeom>
            <a:avLst/>
            <a:gdLst>
              <a:gd name="T0" fmla="*/ 2568 w 4648"/>
              <a:gd name="T1" fmla="*/ 30 h 888"/>
              <a:gd name="T2" fmla="*/ 2690 w 4648"/>
              <a:gd name="T3" fmla="*/ 0 h 888"/>
              <a:gd name="T4" fmla="*/ 2935 w 4648"/>
              <a:gd name="T5" fmla="*/ 30 h 888"/>
              <a:gd name="T6" fmla="*/ 2812 w 4648"/>
              <a:gd name="T7" fmla="*/ 0 h 888"/>
              <a:gd name="T8" fmla="*/ 2935 w 4648"/>
              <a:gd name="T9" fmla="*/ 30 h 888"/>
              <a:gd name="T10" fmla="*/ 3057 w 4648"/>
              <a:gd name="T11" fmla="*/ 30 h 888"/>
              <a:gd name="T12" fmla="*/ 3179 w 4648"/>
              <a:gd name="T13" fmla="*/ 0 h 888"/>
              <a:gd name="T14" fmla="*/ 3424 w 4648"/>
              <a:gd name="T15" fmla="*/ 30 h 888"/>
              <a:gd name="T16" fmla="*/ 3302 w 4648"/>
              <a:gd name="T17" fmla="*/ 0 h 888"/>
              <a:gd name="T18" fmla="*/ 3424 w 4648"/>
              <a:gd name="T19" fmla="*/ 30 h 888"/>
              <a:gd name="T20" fmla="*/ 3546 w 4648"/>
              <a:gd name="T21" fmla="*/ 30 h 888"/>
              <a:gd name="T22" fmla="*/ 3669 w 4648"/>
              <a:gd name="T23" fmla="*/ 0 h 888"/>
              <a:gd name="T24" fmla="*/ 3913 w 4648"/>
              <a:gd name="T25" fmla="*/ 30 h 888"/>
              <a:gd name="T26" fmla="*/ 3791 w 4648"/>
              <a:gd name="T27" fmla="*/ 0 h 888"/>
              <a:gd name="T28" fmla="*/ 3913 w 4648"/>
              <a:gd name="T29" fmla="*/ 30 h 888"/>
              <a:gd name="T30" fmla="*/ 4036 w 4648"/>
              <a:gd name="T31" fmla="*/ 30 h 888"/>
              <a:gd name="T32" fmla="*/ 4158 w 4648"/>
              <a:gd name="T33" fmla="*/ 0 h 888"/>
              <a:gd name="T34" fmla="*/ 4403 w 4648"/>
              <a:gd name="T35" fmla="*/ 30 h 888"/>
              <a:gd name="T36" fmla="*/ 4280 w 4648"/>
              <a:gd name="T37" fmla="*/ 0 h 888"/>
              <a:gd name="T38" fmla="*/ 4403 w 4648"/>
              <a:gd name="T39" fmla="*/ 30 h 888"/>
              <a:gd name="T40" fmla="*/ 4525 w 4648"/>
              <a:gd name="T41" fmla="*/ 30 h 888"/>
              <a:gd name="T42" fmla="*/ 4647 w 4648"/>
              <a:gd name="T43" fmla="*/ 0 h 888"/>
              <a:gd name="T44" fmla="*/ 2475 w 4648"/>
              <a:gd name="T45" fmla="*/ 152 h 888"/>
              <a:gd name="T46" fmla="*/ 2444 w 4648"/>
              <a:gd name="T47" fmla="*/ 29 h 888"/>
              <a:gd name="T48" fmla="*/ 2475 w 4648"/>
              <a:gd name="T49" fmla="*/ 152 h 888"/>
              <a:gd name="T50" fmla="*/ 2444 w 4648"/>
              <a:gd name="T51" fmla="*/ 396 h 888"/>
              <a:gd name="T52" fmla="*/ 2475 w 4648"/>
              <a:gd name="T53" fmla="*/ 274 h 888"/>
              <a:gd name="T54" fmla="*/ 2475 w 4648"/>
              <a:gd name="T55" fmla="*/ 641 h 888"/>
              <a:gd name="T56" fmla="*/ 2444 w 4648"/>
              <a:gd name="T57" fmla="*/ 518 h 888"/>
              <a:gd name="T58" fmla="*/ 2475 w 4648"/>
              <a:gd name="T59" fmla="*/ 641 h 888"/>
              <a:gd name="T60" fmla="*/ 0 w 4648"/>
              <a:gd name="T61" fmla="*/ 887 h 888"/>
              <a:gd name="T62" fmla="*/ 123 w 4648"/>
              <a:gd name="T63" fmla="*/ 857 h 888"/>
              <a:gd name="T64" fmla="*/ 367 w 4648"/>
              <a:gd name="T65" fmla="*/ 887 h 888"/>
              <a:gd name="T66" fmla="*/ 245 w 4648"/>
              <a:gd name="T67" fmla="*/ 857 h 888"/>
              <a:gd name="T68" fmla="*/ 367 w 4648"/>
              <a:gd name="T69" fmla="*/ 887 h 888"/>
              <a:gd name="T70" fmla="*/ 490 w 4648"/>
              <a:gd name="T71" fmla="*/ 887 h 888"/>
              <a:gd name="T72" fmla="*/ 612 w 4648"/>
              <a:gd name="T73" fmla="*/ 857 h 888"/>
              <a:gd name="T74" fmla="*/ 857 w 4648"/>
              <a:gd name="T75" fmla="*/ 887 h 888"/>
              <a:gd name="T76" fmla="*/ 734 w 4648"/>
              <a:gd name="T77" fmla="*/ 857 h 888"/>
              <a:gd name="T78" fmla="*/ 857 w 4648"/>
              <a:gd name="T79" fmla="*/ 887 h 888"/>
              <a:gd name="T80" fmla="*/ 979 w 4648"/>
              <a:gd name="T81" fmla="*/ 887 h 888"/>
              <a:gd name="T82" fmla="*/ 1101 w 4648"/>
              <a:gd name="T83" fmla="*/ 857 h 888"/>
              <a:gd name="T84" fmla="*/ 1346 w 4648"/>
              <a:gd name="T85" fmla="*/ 887 h 888"/>
              <a:gd name="T86" fmla="*/ 1223 w 4648"/>
              <a:gd name="T87" fmla="*/ 857 h 888"/>
              <a:gd name="T88" fmla="*/ 1346 w 4648"/>
              <a:gd name="T89" fmla="*/ 887 h 888"/>
              <a:gd name="T90" fmla="*/ 1468 w 4648"/>
              <a:gd name="T91" fmla="*/ 887 h 888"/>
              <a:gd name="T92" fmla="*/ 1590 w 4648"/>
              <a:gd name="T93" fmla="*/ 857 h 888"/>
              <a:gd name="T94" fmla="*/ 1835 w 4648"/>
              <a:gd name="T95" fmla="*/ 887 h 888"/>
              <a:gd name="T96" fmla="*/ 1713 w 4648"/>
              <a:gd name="T97" fmla="*/ 857 h 888"/>
              <a:gd name="T98" fmla="*/ 1835 w 4648"/>
              <a:gd name="T99" fmla="*/ 887 h 888"/>
              <a:gd name="T100" fmla="*/ 1957 w 4648"/>
              <a:gd name="T101" fmla="*/ 887 h 888"/>
              <a:gd name="T102" fmla="*/ 2080 w 4648"/>
              <a:gd name="T103" fmla="*/ 857 h 888"/>
              <a:gd name="T104" fmla="*/ 2324 w 4648"/>
              <a:gd name="T105" fmla="*/ 887 h 888"/>
              <a:gd name="T106" fmla="*/ 2202 w 4648"/>
              <a:gd name="T107" fmla="*/ 857 h 888"/>
              <a:gd name="T108" fmla="*/ 2324 w 4648"/>
              <a:gd name="T109" fmla="*/ 887 h 888"/>
              <a:gd name="T110" fmla="*/ 2447 w 4648"/>
              <a:gd name="T111" fmla="*/ 887 h 888"/>
              <a:gd name="T112" fmla="*/ 2444 w 4648"/>
              <a:gd name="T113" fmla="*/ 872 h 888"/>
              <a:gd name="T114" fmla="*/ 2475 w 4648"/>
              <a:gd name="T115" fmla="*/ 763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48" h="888">
                <a:moveTo>
                  <a:pt x="2690" y="30"/>
                </a:moveTo>
                <a:lnTo>
                  <a:pt x="2568" y="30"/>
                </a:lnTo>
                <a:lnTo>
                  <a:pt x="2568" y="0"/>
                </a:lnTo>
                <a:lnTo>
                  <a:pt x="2690" y="0"/>
                </a:lnTo>
                <a:lnTo>
                  <a:pt x="2690" y="30"/>
                </a:lnTo>
                <a:close/>
                <a:moveTo>
                  <a:pt x="2935" y="30"/>
                </a:moveTo>
                <a:lnTo>
                  <a:pt x="2812" y="30"/>
                </a:lnTo>
                <a:lnTo>
                  <a:pt x="2812" y="0"/>
                </a:lnTo>
                <a:lnTo>
                  <a:pt x="2935" y="0"/>
                </a:lnTo>
                <a:lnTo>
                  <a:pt x="2935" y="30"/>
                </a:lnTo>
                <a:close/>
                <a:moveTo>
                  <a:pt x="3179" y="30"/>
                </a:moveTo>
                <a:lnTo>
                  <a:pt x="3057" y="30"/>
                </a:lnTo>
                <a:lnTo>
                  <a:pt x="3057" y="0"/>
                </a:lnTo>
                <a:lnTo>
                  <a:pt x="3179" y="0"/>
                </a:lnTo>
                <a:lnTo>
                  <a:pt x="3179" y="30"/>
                </a:lnTo>
                <a:close/>
                <a:moveTo>
                  <a:pt x="3424" y="30"/>
                </a:moveTo>
                <a:lnTo>
                  <a:pt x="3302" y="30"/>
                </a:lnTo>
                <a:lnTo>
                  <a:pt x="3302" y="0"/>
                </a:lnTo>
                <a:lnTo>
                  <a:pt x="3424" y="0"/>
                </a:lnTo>
                <a:lnTo>
                  <a:pt x="3424" y="30"/>
                </a:lnTo>
                <a:close/>
                <a:moveTo>
                  <a:pt x="3669" y="30"/>
                </a:moveTo>
                <a:lnTo>
                  <a:pt x="3546" y="30"/>
                </a:lnTo>
                <a:lnTo>
                  <a:pt x="3546" y="0"/>
                </a:lnTo>
                <a:lnTo>
                  <a:pt x="3669" y="0"/>
                </a:lnTo>
                <a:lnTo>
                  <a:pt x="3669" y="30"/>
                </a:lnTo>
                <a:close/>
                <a:moveTo>
                  <a:pt x="3913" y="30"/>
                </a:moveTo>
                <a:lnTo>
                  <a:pt x="3791" y="30"/>
                </a:lnTo>
                <a:lnTo>
                  <a:pt x="3791" y="0"/>
                </a:lnTo>
                <a:lnTo>
                  <a:pt x="3913" y="0"/>
                </a:lnTo>
                <a:lnTo>
                  <a:pt x="3913" y="30"/>
                </a:lnTo>
                <a:close/>
                <a:moveTo>
                  <a:pt x="4158" y="30"/>
                </a:moveTo>
                <a:lnTo>
                  <a:pt x="4036" y="30"/>
                </a:lnTo>
                <a:lnTo>
                  <a:pt x="4036" y="0"/>
                </a:lnTo>
                <a:lnTo>
                  <a:pt x="4158" y="0"/>
                </a:lnTo>
                <a:lnTo>
                  <a:pt x="4158" y="30"/>
                </a:lnTo>
                <a:close/>
                <a:moveTo>
                  <a:pt x="4403" y="30"/>
                </a:moveTo>
                <a:lnTo>
                  <a:pt x="4280" y="30"/>
                </a:lnTo>
                <a:lnTo>
                  <a:pt x="4280" y="0"/>
                </a:lnTo>
                <a:lnTo>
                  <a:pt x="4403" y="0"/>
                </a:lnTo>
                <a:lnTo>
                  <a:pt x="4403" y="30"/>
                </a:lnTo>
                <a:close/>
                <a:moveTo>
                  <a:pt x="4647" y="30"/>
                </a:moveTo>
                <a:lnTo>
                  <a:pt x="4525" y="30"/>
                </a:lnTo>
                <a:lnTo>
                  <a:pt x="4525" y="0"/>
                </a:lnTo>
                <a:lnTo>
                  <a:pt x="4647" y="0"/>
                </a:lnTo>
                <a:lnTo>
                  <a:pt x="4647" y="30"/>
                </a:lnTo>
                <a:close/>
                <a:moveTo>
                  <a:pt x="2475" y="152"/>
                </a:moveTo>
                <a:lnTo>
                  <a:pt x="2444" y="152"/>
                </a:lnTo>
                <a:lnTo>
                  <a:pt x="2444" y="29"/>
                </a:lnTo>
                <a:lnTo>
                  <a:pt x="2475" y="29"/>
                </a:lnTo>
                <a:lnTo>
                  <a:pt x="2475" y="152"/>
                </a:lnTo>
                <a:close/>
                <a:moveTo>
                  <a:pt x="2475" y="396"/>
                </a:moveTo>
                <a:lnTo>
                  <a:pt x="2444" y="396"/>
                </a:lnTo>
                <a:lnTo>
                  <a:pt x="2444" y="274"/>
                </a:lnTo>
                <a:lnTo>
                  <a:pt x="2475" y="274"/>
                </a:lnTo>
                <a:lnTo>
                  <a:pt x="2475" y="396"/>
                </a:lnTo>
                <a:close/>
                <a:moveTo>
                  <a:pt x="2475" y="641"/>
                </a:moveTo>
                <a:lnTo>
                  <a:pt x="2444" y="641"/>
                </a:lnTo>
                <a:lnTo>
                  <a:pt x="2444" y="518"/>
                </a:lnTo>
                <a:lnTo>
                  <a:pt x="2475" y="518"/>
                </a:lnTo>
                <a:lnTo>
                  <a:pt x="2475" y="641"/>
                </a:lnTo>
                <a:close/>
                <a:moveTo>
                  <a:pt x="123" y="887"/>
                </a:moveTo>
                <a:lnTo>
                  <a:pt x="0" y="887"/>
                </a:lnTo>
                <a:lnTo>
                  <a:pt x="0" y="857"/>
                </a:lnTo>
                <a:lnTo>
                  <a:pt x="123" y="857"/>
                </a:lnTo>
                <a:lnTo>
                  <a:pt x="123" y="887"/>
                </a:lnTo>
                <a:close/>
                <a:moveTo>
                  <a:pt x="367" y="887"/>
                </a:moveTo>
                <a:lnTo>
                  <a:pt x="245" y="887"/>
                </a:lnTo>
                <a:lnTo>
                  <a:pt x="245" y="857"/>
                </a:lnTo>
                <a:lnTo>
                  <a:pt x="367" y="857"/>
                </a:lnTo>
                <a:lnTo>
                  <a:pt x="367" y="887"/>
                </a:lnTo>
                <a:close/>
                <a:moveTo>
                  <a:pt x="612" y="887"/>
                </a:moveTo>
                <a:lnTo>
                  <a:pt x="490" y="887"/>
                </a:lnTo>
                <a:lnTo>
                  <a:pt x="490" y="857"/>
                </a:lnTo>
                <a:lnTo>
                  <a:pt x="612" y="857"/>
                </a:lnTo>
                <a:lnTo>
                  <a:pt x="612" y="887"/>
                </a:lnTo>
                <a:close/>
                <a:moveTo>
                  <a:pt x="857" y="887"/>
                </a:moveTo>
                <a:lnTo>
                  <a:pt x="734" y="887"/>
                </a:lnTo>
                <a:lnTo>
                  <a:pt x="734" y="857"/>
                </a:lnTo>
                <a:lnTo>
                  <a:pt x="857" y="857"/>
                </a:lnTo>
                <a:lnTo>
                  <a:pt x="857" y="887"/>
                </a:lnTo>
                <a:close/>
                <a:moveTo>
                  <a:pt x="1101" y="887"/>
                </a:moveTo>
                <a:lnTo>
                  <a:pt x="979" y="887"/>
                </a:lnTo>
                <a:lnTo>
                  <a:pt x="979" y="857"/>
                </a:lnTo>
                <a:lnTo>
                  <a:pt x="1101" y="857"/>
                </a:lnTo>
                <a:lnTo>
                  <a:pt x="1101" y="887"/>
                </a:lnTo>
                <a:close/>
                <a:moveTo>
                  <a:pt x="1346" y="887"/>
                </a:moveTo>
                <a:lnTo>
                  <a:pt x="1223" y="887"/>
                </a:lnTo>
                <a:lnTo>
                  <a:pt x="1223" y="857"/>
                </a:lnTo>
                <a:lnTo>
                  <a:pt x="1346" y="857"/>
                </a:lnTo>
                <a:lnTo>
                  <a:pt x="1346" y="887"/>
                </a:lnTo>
                <a:close/>
                <a:moveTo>
                  <a:pt x="1590" y="887"/>
                </a:moveTo>
                <a:lnTo>
                  <a:pt x="1468" y="887"/>
                </a:lnTo>
                <a:lnTo>
                  <a:pt x="1468" y="857"/>
                </a:lnTo>
                <a:lnTo>
                  <a:pt x="1590" y="857"/>
                </a:lnTo>
                <a:lnTo>
                  <a:pt x="1590" y="887"/>
                </a:lnTo>
                <a:close/>
                <a:moveTo>
                  <a:pt x="1835" y="887"/>
                </a:moveTo>
                <a:lnTo>
                  <a:pt x="1713" y="887"/>
                </a:lnTo>
                <a:lnTo>
                  <a:pt x="1713" y="857"/>
                </a:lnTo>
                <a:lnTo>
                  <a:pt x="1835" y="857"/>
                </a:lnTo>
                <a:lnTo>
                  <a:pt x="1835" y="887"/>
                </a:lnTo>
                <a:close/>
                <a:moveTo>
                  <a:pt x="2080" y="887"/>
                </a:moveTo>
                <a:lnTo>
                  <a:pt x="1957" y="887"/>
                </a:lnTo>
                <a:lnTo>
                  <a:pt x="1957" y="857"/>
                </a:lnTo>
                <a:lnTo>
                  <a:pt x="2080" y="857"/>
                </a:lnTo>
                <a:lnTo>
                  <a:pt x="2080" y="887"/>
                </a:lnTo>
                <a:close/>
                <a:moveTo>
                  <a:pt x="2324" y="887"/>
                </a:moveTo>
                <a:lnTo>
                  <a:pt x="2202" y="887"/>
                </a:lnTo>
                <a:lnTo>
                  <a:pt x="2202" y="857"/>
                </a:lnTo>
                <a:lnTo>
                  <a:pt x="2324" y="857"/>
                </a:lnTo>
                <a:lnTo>
                  <a:pt x="2324" y="887"/>
                </a:lnTo>
                <a:close/>
                <a:moveTo>
                  <a:pt x="2475" y="887"/>
                </a:moveTo>
                <a:lnTo>
                  <a:pt x="2447" y="887"/>
                </a:lnTo>
                <a:lnTo>
                  <a:pt x="2447" y="872"/>
                </a:lnTo>
                <a:lnTo>
                  <a:pt x="2444" y="872"/>
                </a:lnTo>
                <a:lnTo>
                  <a:pt x="2444" y="763"/>
                </a:lnTo>
                <a:lnTo>
                  <a:pt x="2475" y="763"/>
                </a:lnTo>
                <a:lnTo>
                  <a:pt x="2475" y="887"/>
                </a:lnTo>
                <a:close/>
              </a:path>
            </a:pathLst>
          </a:custGeom>
          <a:solidFill>
            <a:schemeClr val="accent4"/>
          </a:solidFill>
          <a:ln>
            <a:noFill/>
          </a:ln>
          <a:effectLst/>
        </p:spPr>
        <p:txBody>
          <a:bodyPr wrap="none" anchor="ctr"/>
          <a:lstStyle/>
          <a:p>
            <a:endParaRPr lang="en-US" sz="900" dirty="0"/>
          </a:p>
        </p:txBody>
      </p:sp>
      <p:sp>
        <p:nvSpPr>
          <p:cNvPr id="34" name="Subtitle 2">
            <a:extLst>
              <a:ext uri="{FF2B5EF4-FFF2-40B4-BE49-F238E27FC236}">
                <a16:creationId xmlns:a16="http://schemas.microsoft.com/office/drawing/2014/main" id="{450E330D-9C81-1046-B524-1DA406D10012}"/>
              </a:ext>
            </a:extLst>
          </p:cNvPr>
          <p:cNvSpPr txBox="1">
            <a:spLocks/>
          </p:cNvSpPr>
          <p:nvPr/>
        </p:nvSpPr>
        <p:spPr>
          <a:xfrm>
            <a:off x="6096000" y="1984641"/>
            <a:ext cx="4544755" cy="48494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a:t>
            </a:r>
          </a:p>
        </p:txBody>
      </p:sp>
      <p:sp>
        <p:nvSpPr>
          <p:cNvPr id="35" name="TextBox 34">
            <a:extLst>
              <a:ext uri="{FF2B5EF4-FFF2-40B4-BE49-F238E27FC236}">
                <a16:creationId xmlns:a16="http://schemas.microsoft.com/office/drawing/2014/main" id="{02E74B8C-82AE-0D44-B6DE-7E6136D67C8B}"/>
              </a:ext>
            </a:extLst>
          </p:cNvPr>
          <p:cNvSpPr txBox="1"/>
          <p:nvPr/>
        </p:nvSpPr>
        <p:spPr>
          <a:xfrm>
            <a:off x="6096000" y="1647509"/>
            <a:ext cx="1439433"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1</a:t>
            </a:r>
          </a:p>
        </p:txBody>
      </p:sp>
      <p:sp>
        <p:nvSpPr>
          <p:cNvPr id="38" name="Subtitle 2">
            <a:extLst>
              <a:ext uri="{FF2B5EF4-FFF2-40B4-BE49-F238E27FC236}">
                <a16:creationId xmlns:a16="http://schemas.microsoft.com/office/drawing/2014/main" id="{BD8F5043-F4A6-B04E-95B2-1F08F7B9F6BF}"/>
              </a:ext>
            </a:extLst>
          </p:cNvPr>
          <p:cNvSpPr txBox="1">
            <a:spLocks/>
          </p:cNvSpPr>
          <p:nvPr/>
        </p:nvSpPr>
        <p:spPr>
          <a:xfrm>
            <a:off x="6096000" y="3096960"/>
            <a:ext cx="4544755" cy="48494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a:t>
            </a:r>
          </a:p>
        </p:txBody>
      </p:sp>
      <p:sp>
        <p:nvSpPr>
          <p:cNvPr id="39" name="TextBox 38">
            <a:extLst>
              <a:ext uri="{FF2B5EF4-FFF2-40B4-BE49-F238E27FC236}">
                <a16:creationId xmlns:a16="http://schemas.microsoft.com/office/drawing/2014/main" id="{56C310F4-B526-0742-8EF7-3F1AB43F3E35}"/>
              </a:ext>
            </a:extLst>
          </p:cNvPr>
          <p:cNvSpPr txBox="1"/>
          <p:nvPr/>
        </p:nvSpPr>
        <p:spPr>
          <a:xfrm>
            <a:off x="6096000" y="2759828"/>
            <a:ext cx="1471493"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2</a:t>
            </a:r>
          </a:p>
        </p:txBody>
      </p:sp>
      <p:sp>
        <p:nvSpPr>
          <p:cNvPr id="41" name="Subtitle 2">
            <a:extLst>
              <a:ext uri="{FF2B5EF4-FFF2-40B4-BE49-F238E27FC236}">
                <a16:creationId xmlns:a16="http://schemas.microsoft.com/office/drawing/2014/main" id="{90077951-F384-5141-97B2-8C4938F6B584}"/>
              </a:ext>
            </a:extLst>
          </p:cNvPr>
          <p:cNvSpPr txBox="1">
            <a:spLocks/>
          </p:cNvSpPr>
          <p:nvPr/>
        </p:nvSpPr>
        <p:spPr>
          <a:xfrm>
            <a:off x="6096000" y="4223012"/>
            <a:ext cx="4544755" cy="48494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a:t>
            </a:r>
          </a:p>
        </p:txBody>
      </p:sp>
      <p:sp>
        <p:nvSpPr>
          <p:cNvPr id="42" name="TextBox 41">
            <a:extLst>
              <a:ext uri="{FF2B5EF4-FFF2-40B4-BE49-F238E27FC236}">
                <a16:creationId xmlns:a16="http://schemas.microsoft.com/office/drawing/2014/main" id="{B8EEB8B2-0D9A-6748-B68D-EE7D380A6912}"/>
              </a:ext>
            </a:extLst>
          </p:cNvPr>
          <p:cNvSpPr txBox="1"/>
          <p:nvPr/>
        </p:nvSpPr>
        <p:spPr>
          <a:xfrm>
            <a:off x="6096000" y="3885880"/>
            <a:ext cx="1471493"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3</a:t>
            </a:r>
          </a:p>
        </p:txBody>
      </p:sp>
      <p:sp>
        <p:nvSpPr>
          <p:cNvPr id="44" name="Subtitle 2">
            <a:extLst>
              <a:ext uri="{FF2B5EF4-FFF2-40B4-BE49-F238E27FC236}">
                <a16:creationId xmlns:a16="http://schemas.microsoft.com/office/drawing/2014/main" id="{0F2770FA-D16C-334E-BAB8-31EDF538CACC}"/>
              </a:ext>
            </a:extLst>
          </p:cNvPr>
          <p:cNvSpPr txBox="1">
            <a:spLocks/>
          </p:cNvSpPr>
          <p:nvPr/>
        </p:nvSpPr>
        <p:spPr>
          <a:xfrm>
            <a:off x="6096000" y="5354556"/>
            <a:ext cx="4544755" cy="48494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a:t>
            </a:r>
          </a:p>
        </p:txBody>
      </p:sp>
      <p:sp>
        <p:nvSpPr>
          <p:cNvPr id="45" name="TextBox 44">
            <a:extLst>
              <a:ext uri="{FF2B5EF4-FFF2-40B4-BE49-F238E27FC236}">
                <a16:creationId xmlns:a16="http://schemas.microsoft.com/office/drawing/2014/main" id="{4023E61E-30F3-D746-99A3-76C9AD09D8A8}"/>
              </a:ext>
            </a:extLst>
          </p:cNvPr>
          <p:cNvSpPr txBox="1"/>
          <p:nvPr/>
        </p:nvSpPr>
        <p:spPr>
          <a:xfrm>
            <a:off x="6096000" y="5017424"/>
            <a:ext cx="1474699"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4</a:t>
            </a:r>
          </a:p>
        </p:txBody>
      </p:sp>
      <p:sp>
        <p:nvSpPr>
          <p:cNvPr id="21" name="TextBox 20">
            <a:extLst>
              <a:ext uri="{FF2B5EF4-FFF2-40B4-BE49-F238E27FC236}">
                <a16:creationId xmlns:a16="http://schemas.microsoft.com/office/drawing/2014/main" id="{AF91B7AA-AE45-7343-9419-F8E634769DE8}"/>
              </a:ext>
            </a:extLst>
          </p:cNvPr>
          <p:cNvSpPr txBox="1"/>
          <p:nvPr/>
        </p:nvSpPr>
        <p:spPr>
          <a:xfrm>
            <a:off x="1309920" y="1961558"/>
            <a:ext cx="356188" cy="669414"/>
          </a:xfrm>
          <a:prstGeom prst="rect">
            <a:avLst/>
          </a:prstGeom>
          <a:noFill/>
        </p:spPr>
        <p:txBody>
          <a:bodyPr wrap="none" rtlCol="0" anchor="ctr">
            <a:spAutoFit/>
          </a:bodyPr>
          <a:lstStyle/>
          <a:p>
            <a:pPr algn="ctr"/>
            <a:r>
              <a:rPr lang="en-US" sz="3750" b="1" dirty="0">
                <a:solidFill>
                  <a:schemeClr val="bg1"/>
                </a:solidFill>
                <a:latin typeface="Segoe UI Light" panose="020B0502040204020203" pitchFamily="34" charset="0"/>
                <a:cs typeface="Poppins" pitchFamily="2" charset="77"/>
              </a:rPr>
              <a:t>1</a:t>
            </a:r>
          </a:p>
        </p:txBody>
      </p:sp>
      <p:sp>
        <p:nvSpPr>
          <p:cNvPr id="22" name="TextBox 21">
            <a:extLst>
              <a:ext uri="{FF2B5EF4-FFF2-40B4-BE49-F238E27FC236}">
                <a16:creationId xmlns:a16="http://schemas.microsoft.com/office/drawing/2014/main" id="{F6D2280D-1C58-2345-B7F1-28C79210FC75}"/>
              </a:ext>
            </a:extLst>
          </p:cNvPr>
          <p:cNvSpPr txBox="1"/>
          <p:nvPr/>
        </p:nvSpPr>
        <p:spPr>
          <a:xfrm>
            <a:off x="2919420" y="3045377"/>
            <a:ext cx="433131" cy="669414"/>
          </a:xfrm>
          <a:prstGeom prst="rect">
            <a:avLst/>
          </a:prstGeom>
          <a:noFill/>
        </p:spPr>
        <p:txBody>
          <a:bodyPr wrap="none" rtlCol="0" anchor="ctr">
            <a:spAutoFit/>
          </a:bodyPr>
          <a:lstStyle/>
          <a:p>
            <a:pPr algn="ctr"/>
            <a:r>
              <a:rPr lang="en-US" sz="3750" b="1" dirty="0">
                <a:solidFill>
                  <a:schemeClr val="bg1"/>
                </a:solidFill>
                <a:latin typeface="Segoe UI Light" panose="020B0502040204020203" pitchFamily="34" charset="0"/>
                <a:cs typeface="Poppins" pitchFamily="2" charset="77"/>
              </a:rPr>
              <a:t>2</a:t>
            </a:r>
          </a:p>
        </p:txBody>
      </p:sp>
      <p:sp>
        <p:nvSpPr>
          <p:cNvPr id="24" name="TextBox 23">
            <a:extLst>
              <a:ext uri="{FF2B5EF4-FFF2-40B4-BE49-F238E27FC236}">
                <a16:creationId xmlns:a16="http://schemas.microsoft.com/office/drawing/2014/main" id="{D5381FAD-264E-9345-8705-73EAB3010518}"/>
              </a:ext>
            </a:extLst>
          </p:cNvPr>
          <p:cNvSpPr txBox="1"/>
          <p:nvPr/>
        </p:nvSpPr>
        <p:spPr>
          <a:xfrm>
            <a:off x="2899817" y="4396976"/>
            <a:ext cx="433131" cy="669414"/>
          </a:xfrm>
          <a:prstGeom prst="rect">
            <a:avLst/>
          </a:prstGeom>
          <a:noFill/>
        </p:spPr>
        <p:txBody>
          <a:bodyPr wrap="none" rtlCol="0" anchor="ctr">
            <a:spAutoFit/>
          </a:bodyPr>
          <a:lstStyle/>
          <a:p>
            <a:pPr algn="ctr"/>
            <a:r>
              <a:rPr lang="en-US" sz="3750" b="1" dirty="0">
                <a:solidFill>
                  <a:schemeClr val="bg1"/>
                </a:solidFill>
                <a:latin typeface="Segoe UI Light" panose="020B0502040204020203" pitchFamily="34" charset="0"/>
                <a:cs typeface="Poppins" pitchFamily="2" charset="77"/>
              </a:rPr>
              <a:t>3</a:t>
            </a:r>
          </a:p>
        </p:txBody>
      </p:sp>
      <p:sp>
        <p:nvSpPr>
          <p:cNvPr id="25" name="TextBox 24">
            <a:extLst>
              <a:ext uri="{FF2B5EF4-FFF2-40B4-BE49-F238E27FC236}">
                <a16:creationId xmlns:a16="http://schemas.microsoft.com/office/drawing/2014/main" id="{8EC75A0B-BC50-1A45-9DC4-FD0E50DF4638}"/>
              </a:ext>
            </a:extLst>
          </p:cNvPr>
          <p:cNvSpPr txBox="1"/>
          <p:nvPr/>
        </p:nvSpPr>
        <p:spPr>
          <a:xfrm>
            <a:off x="1268241" y="5491517"/>
            <a:ext cx="439544" cy="669414"/>
          </a:xfrm>
          <a:prstGeom prst="rect">
            <a:avLst/>
          </a:prstGeom>
          <a:noFill/>
        </p:spPr>
        <p:txBody>
          <a:bodyPr wrap="none" rtlCol="0" anchor="ctr">
            <a:spAutoFit/>
          </a:bodyPr>
          <a:lstStyle/>
          <a:p>
            <a:pPr algn="ctr"/>
            <a:r>
              <a:rPr lang="en-US" sz="3750" b="1" dirty="0">
                <a:solidFill>
                  <a:schemeClr val="bg1"/>
                </a:solidFill>
                <a:latin typeface="Segoe UI Light" panose="020B0502040204020203" pitchFamily="34" charset="0"/>
                <a:cs typeface="Poppins" pitchFamily="2" charset="77"/>
              </a:rPr>
              <a:t>4</a:t>
            </a:r>
          </a:p>
        </p:txBody>
      </p:sp>
      <p:sp>
        <p:nvSpPr>
          <p:cNvPr id="26" name="Titel 1">
            <a:extLst>
              <a:ext uri="{FF2B5EF4-FFF2-40B4-BE49-F238E27FC236}">
                <a16:creationId xmlns:a16="http://schemas.microsoft.com/office/drawing/2014/main" id="{58C15771-01D7-489C-AC9C-A9C93897E062}"/>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Process slide</a:t>
            </a:r>
          </a:p>
        </p:txBody>
      </p:sp>
    </p:spTree>
    <p:custDataLst>
      <p:tags r:id="rId1"/>
    </p:custDataLst>
    <p:extLst>
      <p:ext uri="{BB962C8B-B14F-4D97-AF65-F5344CB8AC3E}">
        <p14:creationId xmlns:p14="http://schemas.microsoft.com/office/powerpoint/2010/main" val="5700526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26EF0E27-3EA0-4C48-8070-FF6AA26C0106}"/>
              </a:ext>
            </a:extLst>
          </p:cNvPr>
          <p:cNvSpPr>
            <a:spLocks noChangeArrowheads="1"/>
          </p:cNvSpPr>
          <p:nvPr/>
        </p:nvSpPr>
        <p:spPr bwMode="auto">
          <a:xfrm>
            <a:off x="762000" y="5609092"/>
            <a:ext cx="10666476" cy="113772"/>
          </a:xfrm>
          <a:prstGeom prst="roundRect">
            <a:avLst>
              <a:gd name="adj" fmla="val 50000"/>
            </a:avLst>
          </a:prstGeom>
          <a:solidFill>
            <a:schemeClr val="bg1">
              <a:lumMod val="85000"/>
            </a:schemeClr>
          </a:solidFill>
          <a:ln>
            <a:noFill/>
          </a:ln>
          <a:effectLst/>
        </p:spPr>
        <p:txBody>
          <a:bodyPr wrap="none" anchor="ctr"/>
          <a:lstStyle/>
          <a:p>
            <a:endParaRPr lang="en-US" sz="3266" dirty="0">
              <a:latin typeface="Lato Light" panose="020F0502020204030203" pitchFamily="34" charset="0"/>
            </a:endParaRPr>
          </a:p>
        </p:txBody>
      </p:sp>
      <p:sp>
        <p:nvSpPr>
          <p:cNvPr id="5" name="Freeform 4">
            <a:extLst>
              <a:ext uri="{FF2B5EF4-FFF2-40B4-BE49-F238E27FC236}">
                <a16:creationId xmlns:a16="http://schemas.microsoft.com/office/drawing/2014/main" id="{BC25DE8C-FC04-7042-9053-645F24844A19}"/>
              </a:ext>
            </a:extLst>
          </p:cNvPr>
          <p:cNvSpPr>
            <a:spLocks noChangeArrowheads="1"/>
          </p:cNvSpPr>
          <p:nvPr/>
        </p:nvSpPr>
        <p:spPr bwMode="auto">
          <a:xfrm>
            <a:off x="3593294" y="5349231"/>
            <a:ext cx="615743" cy="615743"/>
          </a:xfrm>
          <a:custGeom>
            <a:avLst/>
            <a:gdLst>
              <a:gd name="T0" fmla="*/ 1441 w 1442"/>
              <a:gd name="T1" fmla="*/ 721 h 1444"/>
              <a:gd name="T2" fmla="*/ 1441 w 1442"/>
              <a:gd name="T3" fmla="*/ 721 h 1444"/>
              <a:gd name="T4" fmla="*/ 721 w 1442"/>
              <a:gd name="T5" fmla="*/ 0 h 1444"/>
              <a:gd name="T6" fmla="*/ 721 w 1442"/>
              <a:gd name="T7" fmla="*/ 0 h 1444"/>
              <a:gd name="T8" fmla="*/ 0 w 1442"/>
              <a:gd name="T9" fmla="*/ 721 h 1444"/>
              <a:gd name="T10" fmla="*/ 0 w 1442"/>
              <a:gd name="T11" fmla="*/ 721 h 1444"/>
              <a:gd name="T12" fmla="*/ 721 w 1442"/>
              <a:gd name="T13" fmla="*/ 1443 h 1444"/>
              <a:gd name="T14" fmla="*/ 721 w 1442"/>
              <a:gd name="T15" fmla="*/ 1443 h 1444"/>
              <a:gd name="T16" fmla="*/ 1441 w 1442"/>
              <a:gd name="T17" fmla="*/ 721 h 1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2" h="1444">
                <a:moveTo>
                  <a:pt x="1441" y="721"/>
                </a:moveTo>
                <a:lnTo>
                  <a:pt x="1441" y="721"/>
                </a:lnTo>
                <a:cubicBezTo>
                  <a:pt x="1441" y="323"/>
                  <a:pt x="1119" y="0"/>
                  <a:pt x="721" y="0"/>
                </a:cubicBezTo>
                <a:lnTo>
                  <a:pt x="721" y="0"/>
                </a:lnTo>
                <a:cubicBezTo>
                  <a:pt x="323" y="0"/>
                  <a:pt x="0" y="323"/>
                  <a:pt x="0" y="721"/>
                </a:cubicBezTo>
                <a:lnTo>
                  <a:pt x="0" y="721"/>
                </a:lnTo>
                <a:cubicBezTo>
                  <a:pt x="0" y="1120"/>
                  <a:pt x="323" y="1443"/>
                  <a:pt x="721" y="1443"/>
                </a:cubicBezTo>
                <a:lnTo>
                  <a:pt x="721" y="1443"/>
                </a:lnTo>
                <a:cubicBezTo>
                  <a:pt x="1119" y="1443"/>
                  <a:pt x="1441" y="1120"/>
                  <a:pt x="1441" y="721"/>
                </a:cubicBezTo>
              </a:path>
            </a:pathLst>
          </a:custGeom>
          <a:solidFill>
            <a:schemeClr val="accent2"/>
          </a:solidFill>
          <a:ln>
            <a:noFill/>
          </a:ln>
          <a:effectLst/>
        </p:spPr>
        <p:txBody>
          <a:bodyPr wrap="none" anchor="ctr"/>
          <a:lstStyle/>
          <a:p>
            <a:endParaRPr lang="en-US" sz="3266" dirty="0">
              <a:latin typeface="Lato Light" panose="020F0502020204030203" pitchFamily="34" charset="0"/>
            </a:endParaRPr>
          </a:p>
        </p:txBody>
      </p:sp>
      <p:sp useBgFill="1">
        <p:nvSpPr>
          <p:cNvPr id="6" name="Freeform 5">
            <a:extLst>
              <a:ext uri="{FF2B5EF4-FFF2-40B4-BE49-F238E27FC236}">
                <a16:creationId xmlns:a16="http://schemas.microsoft.com/office/drawing/2014/main" id="{EAC8E7FB-16FA-0447-A2EB-BE35ABF29D62}"/>
              </a:ext>
            </a:extLst>
          </p:cNvPr>
          <p:cNvSpPr>
            <a:spLocks noChangeArrowheads="1"/>
          </p:cNvSpPr>
          <p:nvPr/>
        </p:nvSpPr>
        <p:spPr bwMode="auto">
          <a:xfrm>
            <a:off x="3760882" y="5518701"/>
            <a:ext cx="276803" cy="278686"/>
          </a:xfrm>
          <a:custGeom>
            <a:avLst/>
            <a:gdLst>
              <a:gd name="T0" fmla="*/ 649 w 650"/>
              <a:gd name="T1" fmla="*/ 325 h 652"/>
              <a:gd name="T2" fmla="*/ 649 w 650"/>
              <a:gd name="T3" fmla="*/ 325 h 652"/>
              <a:gd name="T4" fmla="*/ 325 w 650"/>
              <a:gd name="T5" fmla="*/ 0 h 652"/>
              <a:gd name="T6" fmla="*/ 325 w 650"/>
              <a:gd name="T7" fmla="*/ 0 h 652"/>
              <a:gd name="T8" fmla="*/ 0 w 650"/>
              <a:gd name="T9" fmla="*/ 325 h 652"/>
              <a:gd name="T10" fmla="*/ 0 w 650"/>
              <a:gd name="T11" fmla="*/ 325 h 652"/>
              <a:gd name="T12" fmla="*/ 325 w 650"/>
              <a:gd name="T13" fmla="*/ 651 h 652"/>
              <a:gd name="T14" fmla="*/ 325 w 650"/>
              <a:gd name="T15" fmla="*/ 651 h 652"/>
              <a:gd name="T16" fmla="*/ 649 w 650"/>
              <a:gd name="T17" fmla="*/ 325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652">
                <a:moveTo>
                  <a:pt x="649" y="325"/>
                </a:moveTo>
                <a:lnTo>
                  <a:pt x="649" y="325"/>
                </a:lnTo>
                <a:cubicBezTo>
                  <a:pt x="649" y="146"/>
                  <a:pt x="505" y="0"/>
                  <a:pt x="325" y="0"/>
                </a:cubicBezTo>
                <a:lnTo>
                  <a:pt x="325" y="0"/>
                </a:lnTo>
                <a:cubicBezTo>
                  <a:pt x="146" y="0"/>
                  <a:pt x="0" y="146"/>
                  <a:pt x="0" y="325"/>
                </a:cubicBezTo>
                <a:lnTo>
                  <a:pt x="0" y="325"/>
                </a:lnTo>
                <a:cubicBezTo>
                  <a:pt x="0" y="505"/>
                  <a:pt x="146" y="651"/>
                  <a:pt x="325" y="651"/>
                </a:cubicBezTo>
                <a:lnTo>
                  <a:pt x="325" y="651"/>
                </a:lnTo>
                <a:cubicBezTo>
                  <a:pt x="505" y="651"/>
                  <a:pt x="649" y="505"/>
                  <a:pt x="649" y="325"/>
                </a:cubicBez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9" name="Freeform 8">
            <a:extLst>
              <a:ext uri="{FF2B5EF4-FFF2-40B4-BE49-F238E27FC236}">
                <a16:creationId xmlns:a16="http://schemas.microsoft.com/office/drawing/2014/main" id="{A7029D66-5E45-D44C-803A-90AC76EAC23D}"/>
              </a:ext>
            </a:extLst>
          </p:cNvPr>
          <p:cNvSpPr>
            <a:spLocks noChangeArrowheads="1"/>
          </p:cNvSpPr>
          <p:nvPr/>
        </p:nvSpPr>
        <p:spPr bwMode="auto">
          <a:xfrm>
            <a:off x="2956837" y="1946634"/>
            <a:ext cx="1888657" cy="3110730"/>
          </a:xfrm>
          <a:custGeom>
            <a:avLst/>
            <a:gdLst>
              <a:gd name="T0" fmla="*/ 3862 w 4423"/>
              <a:gd name="T1" fmla="*/ 0 h 7286"/>
              <a:gd name="T2" fmla="*/ 559 w 4423"/>
              <a:gd name="T3" fmla="*/ 0 h 7286"/>
              <a:gd name="T4" fmla="*/ 559 w 4423"/>
              <a:gd name="T5" fmla="*/ 0 h 7286"/>
              <a:gd name="T6" fmla="*/ 0 w 4423"/>
              <a:gd name="T7" fmla="*/ 559 h 7286"/>
              <a:gd name="T8" fmla="*/ 0 w 4423"/>
              <a:gd name="T9" fmla="*/ 5348 h 7286"/>
              <a:gd name="T10" fmla="*/ 0 w 4423"/>
              <a:gd name="T11" fmla="*/ 5348 h 7286"/>
              <a:gd name="T12" fmla="*/ 559 w 4423"/>
              <a:gd name="T13" fmla="*/ 5908 h 7286"/>
              <a:gd name="T14" fmla="*/ 1323 w 4423"/>
              <a:gd name="T15" fmla="*/ 5908 h 7286"/>
              <a:gd name="T16" fmla="*/ 2044 w 4423"/>
              <a:gd name="T17" fmla="*/ 7157 h 7286"/>
              <a:gd name="T18" fmla="*/ 2044 w 4423"/>
              <a:gd name="T19" fmla="*/ 7157 h 7286"/>
              <a:gd name="T20" fmla="*/ 2378 w 4423"/>
              <a:gd name="T21" fmla="*/ 7157 h 7286"/>
              <a:gd name="T22" fmla="*/ 3098 w 4423"/>
              <a:gd name="T23" fmla="*/ 5908 h 7286"/>
              <a:gd name="T24" fmla="*/ 3862 w 4423"/>
              <a:gd name="T25" fmla="*/ 5908 h 7286"/>
              <a:gd name="T26" fmla="*/ 3862 w 4423"/>
              <a:gd name="T27" fmla="*/ 5908 h 7286"/>
              <a:gd name="T28" fmla="*/ 4422 w 4423"/>
              <a:gd name="T29" fmla="*/ 5348 h 7286"/>
              <a:gd name="T30" fmla="*/ 4422 w 4423"/>
              <a:gd name="T31" fmla="*/ 559 h 7286"/>
              <a:gd name="T32" fmla="*/ 4422 w 4423"/>
              <a:gd name="T33" fmla="*/ 559 h 7286"/>
              <a:gd name="T34" fmla="*/ 3862 w 4423"/>
              <a:gd name="T35" fmla="*/ 0 h 7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23" h="7286">
                <a:moveTo>
                  <a:pt x="3862" y="0"/>
                </a:moveTo>
                <a:lnTo>
                  <a:pt x="559" y="0"/>
                </a:lnTo>
                <a:lnTo>
                  <a:pt x="559" y="0"/>
                </a:lnTo>
                <a:cubicBezTo>
                  <a:pt x="250" y="0"/>
                  <a:pt x="0" y="250"/>
                  <a:pt x="0" y="559"/>
                </a:cubicBezTo>
                <a:lnTo>
                  <a:pt x="0" y="5348"/>
                </a:lnTo>
                <a:lnTo>
                  <a:pt x="0" y="5348"/>
                </a:lnTo>
                <a:cubicBezTo>
                  <a:pt x="0" y="5657"/>
                  <a:pt x="250" y="5908"/>
                  <a:pt x="559" y="5908"/>
                </a:cubicBezTo>
                <a:lnTo>
                  <a:pt x="1323" y="5908"/>
                </a:lnTo>
                <a:lnTo>
                  <a:pt x="2044" y="7157"/>
                </a:lnTo>
                <a:lnTo>
                  <a:pt x="2044" y="7157"/>
                </a:lnTo>
                <a:cubicBezTo>
                  <a:pt x="2118" y="7285"/>
                  <a:pt x="2304" y="7285"/>
                  <a:pt x="2378" y="7157"/>
                </a:cubicBezTo>
                <a:lnTo>
                  <a:pt x="3098" y="5908"/>
                </a:lnTo>
                <a:lnTo>
                  <a:pt x="3862" y="5908"/>
                </a:lnTo>
                <a:lnTo>
                  <a:pt x="3862" y="5908"/>
                </a:lnTo>
                <a:cubicBezTo>
                  <a:pt x="4171" y="5908"/>
                  <a:pt x="4422" y="5657"/>
                  <a:pt x="4422" y="5348"/>
                </a:cubicBezTo>
                <a:lnTo>
                  <a:pt x="4422" y="559"/>
                </a:lnTo>
                <a:lnTo>
                  <a:pt x="4422" y="559"/>
                </a:lnTo>
                <a:cubicBezTo>
                  <a:pt x="4422" y="250"/>
                  <a:pt x="4171" y="0"/>
                  <a:pt x="3862" y="0"/>
                </a:cubicBezTo>
              </a:path>
            </a:pathLst>
          </a:custGeom>
          <a:solidFill>
            <a:schemeClr val="accent2"/>
          </a:solidFill>
          <a:ln>
            <a:noFill/>
          </a:ln>
          <a:effectLst/>
        </p:spPr>
        <p:txBody>
          <a:bodyPr wrap="none" anchor="ctr"/>
          <a:lstStyle/>
          <a:p>
            <a:endParaRPr lang="en-US" sz="3266" dirty="0">
              <a:latin typeface="Lato Light" panose="020F0502020204030203" pitchFamily="34" charset="0"/>
            </a:endParaRPr>
          </a:p>
        </p:txBody>
      </p:sp>
      <p:sp>
        <p:nvSpPr>
          <p:cNvPr id="3" name="Freeform 2">
            <a:extLst>
              <a:ext uri="{FF2B5EF4-FFF2-40B4-BE49-F238E27FC236}">
                <a16:creationId xmlns:a16="http://schemas.microsoft.com/office/drawing/2014/main" id="{9B1838FA-68B0-A044-ABF7-1805B28127A9}"/>
              </a:ext>
            </a:extLst>
          </p:cNvPr>
          <p:cNvSpPr>
            <a:spLocks noChangeArrowheads="1"/>
          </p:cNvSpPr>
          <p:nvPr/>
        </p:nvSpPr>
        <p:spPr bwMode="auto">
          <a:xfrm>
            <a:off x="1396574" y="5349231"/>
            <a:ext cx="615743" cy="615743"/>
          </a:xfrm>
          <a:custGeom>
            <a:avLst/>
            <a:gdLst>
              <a:gd name="T0" fmla="*/ 1443 w 1444"/>
              <a:gd name="T1" fmla="*/ 721 h 1444"/>
              <a:gd name="T2" fmla="*/ 1443 w 1444"/>
              <a:gd name="T3" fmla="*/ 721 h 1444"/>
              <a:gd name="T4" fmla="*/ 722 w 1444"/>
              <a:gd name="T5" fmla="*/ 0 h 1444"/>
              <a:gd name="T6" fmla="*/ 722 w 1444"/>
              <a:gd name="T7" fmla="*/ 0 h 1444"/>
              <a:gd name="T8" fmla="*/ 0 w 1444"/>
              <a:gd name="T9" fmla="*/ 721 h 1444"/>
              <a:gd name="T10" fmla="*/ 0 w 1444"/>
              <a:gd name="T11" fmla="*/ 721 h 1444"/>
              <a:gd name="T12" fmla="*/ 722 w 1444"/>
              <a:gd name="T13" fmla="*/ 1443 h 1444"/>
              <a:gd name="T14" fmla="*/ 722 w 1444"/>
              <a:gd name="T15" fmla="*/ 1443 h 1444"/>
              <a:gd name="T16" fmla="*/ 1443 w 1444"/>
              <a:gd name="T17" fmla="*/ 721 h 1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4" h="1444">
                <a:moveTo>
                  <a:pt x="1443" y="721"/>
                </a:moveTo>
                <a:lnTo>
                  <a:pt x="1443" y="721"/>
                </a:lnTo>
                <a:cubicBezTo>
                  <a:pt x="1443" y="323"/>
                  <a:pt x="1120" y="0"/>
                  <a:pt x="722" y="0"/>
                </a:cubicBezTo>
                <a:lnTo>
                  <a:pt x="722" y="0"/>
                </a:lnTo>
                <a:cubicBezTo>
                  <a:pt x="323" y="0"/>
                  <a:pt x="0" y="323"/>
                  <a:pt x="0" y="721"/>
                </a:cubicBezTo>
                <a:lnTo>
                  <a:pt x="0" y="721"/>
                </a:lnTo>
                <a:cubicBezTo>
                  <a:pt x="0" y="1120"/>
                  <a:pt x="323" y="1443"/>
                  <a:pt x="722" y="1443"/>
                </a:cubicBezTo>
                <a:lnTo>
                  <a:pt x="722" y="1443"/>
                </a:lnTo>
                <a:cubicBezTo>
                  <a:pt x="1120" y="1443"/>
                  <a:pt x="1443" y="1120"/>
                  <a:pt x="1443" y="721"/>
                </a:cubicBezTo>
              </a:path>
            </a:pathLst>
          </a:custGeom>
          <a:solidFill>
            <a:schemeClr val="accent1"/>
          </a:solidFill>
          <a:ln>
            <a:noFill/>
          </a:ln>
          <a:effectLst/>
        </p:spPr>
        <p:txBody>
          <a:bodyPr wrap="none" anchor="ctr"/>
          <a:lstStyle/>
          <a:p>
            <a:endParaRPr lang="en-US" sz="3266" dirty="0">
              <a:latin typeface="Lato Light" panose="020F0502020204030203" pitchFamily="34" charset="0"/>
            </a:endParaRPr>
          </a:p>
        </p:txBody>
      </p:sp>
      <p:sp useBgFill="1">
        <p:nvSpPr>
          <p:cNvPr id="4" name="Freeform 3">
            <a:extLst>
              <a:ext uri="{FF2B5EF4-FFF2-40B4-BE49-F238E27FC236}">
                <a16:creationId xmlns:a16="http://schemas.microsoft.com/office/drawing/2014/main" id="{78E9A22D-71B5-5246-8247-D4FAA71A30FD}"/>
              </a:ext>
            </a:extLst>
          </p:cNvPr>
          <p:cNvSpPr>
            <a:spLocks noChangeArrowheads="1"/>
          </p:cNvSpPr>
          <p:nvPr/>
        </p:nvSpPr>
        <p:spPr bwMode="auto">
          <a:xfrm>
            <a:off x="1566045" y="5518701"/>
            <a:ext cx="278686" cy="278686"/>
          </a:xfrm>
          <a:custGeom>
            <a:avLst/>
            <a:gdLst>
              <a:gd name="T0" fmla="*/ 650 w 651"/>
              <a:gd name="T1" fmla="*/ 325 h 652"/>
              <a:gd name="T2" fmla="*/ 650 w 651"/>
              <a:gd name="T3" fmla="*/ 325 h 652"/>
              <a:gd name="T4" fmla="*/ 326 w 651"/>
              <a:gd name="T5" fmla="*/ 0 h 652"/>
              <a:gd name="T6" fmla="*/ 326 w 651"/>
              <a:gd name="T7" fmla="*/ 0 h 652"/>
              <a:gd name="T8" fmla="*/ 0 w 651"/>
              <a:gd name="T9" fmla="*/ 325 h 652"/>
              <a:gd name="T10" fmla="*/ 0 w 651"/>
              <a:gd name="T11" fmla="*/ 325 h 652"/>
              <a:gd name="T12" fmla="*/ 326 w 651"/>
              <a:gd name="T13" fmla="*/ 651 h 652"/>
              <a:gd name="T14" fmla="*/ 326 w 651"/>
              <a:gd name="T15" fmla="*/ 651 h 652"/>
              <a:gd name="T16" fmla="*/ 650 w 651"/>
              <a:gd name="T17" fmla="*/ 325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1" h="652">
                <a:moveTo>
                  <a:pt x="650" y="325"/>
                </a:moveTo>
                <a:lnTo>
                  <a:pt x="650" y="325"/>
                </a:lnTo>
                <a:cubicBezTo>
                  <a:pt x="650" y="146"/>
                  <a:pt x="505" y="0"/>
                  <a:pt x="326" y="0"/>
                </a:cubicBezTo>
                <a:lnTo>
                  <a:pt x="326" y="0"/>
                </a:lnTo>
                <a:cubicBezTo>
                  <a:pt x="146" y="0"/>
                  <a:pt x="0" y="146"/>
                  <a:pt x="0" y="325"/>
                </a:cubicBezTo>
                <a:lnTo>
                  <a:pt x="0" y="325"/>
                </a:lnTo>
                <a:cubicBezTo>
                  <a:pt x="0" y="505"/>
                  <a:pt x="146" y="651"/>
                  <a:pt x="326" y="651"/>
                </a:cubicBezTo>
                <a:lnTo>
                  <a:pt x="326" y="651"/>
                </a:lnTo>
                <a:cubicBezTo>
                  <a:pt x="505" y="651"/>
                  <a:pt x="650" y="505"/>
                  <a:pt x="650" y="325"/>
                </a:cubicBez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10" name="Freeform 9">
            <a:extLst>
              <a:ext uri="{FF2B5EF4-FFF2-40B4-BE49-F238E27FC236}">
                <a16:creationId xmlns:a16="http://schemas.microsoft.com/office/drawing/2014/main" id="{8B9C8BF9-D14F-F14F-B069-DF79C6A88569}"/>
              </a:ext>
            </a:extLst>
          </p:cNvPr>
          <p:cNvSpPr>
            <a:spLocks noChangeArrowheads="1"/>
          </p:cNvSpPr>
          <p:nvPr/>
        </p:nvSpPr>
        <p:spPr bwMode="auto">
          <a:xfrm>
            <a:off x="762000" y="1946633"/>
            <a:ext cx="1888658" cy="3110731"/>
          </a:xfrm>
          <a:custGeom>
            <a:avLst/>
            <a:gdLst>
              <a:gd name="T0" fmla="*/ 3864 w 4424"/>
              <a:gd name="T1" fmla="*/ 0 h 7286"/>
              <a:gd name="T2" fmla="*/ 559 w 4424"/>
              <a:gd name="T3" fmla="*/ 0 h 7286"/>
              <a:gd name="T4" fmla="*/ 559 w 4424"/>
              <a:gd name="T5" fmla="*/ 0 h 7286"/>
              <a:gd name="T6" fmla="*/ 0 w 4424"/>
              <a:gd name="T7" fmla="*/ 559 h 7286"/>
              <a:gd name="T8" fmla="*/ 0 w 4424"/>
              <a:gd name="T9" fmla="*/ 5348 h 7286"/>
              <a:gd name="T10" fmla="*/ 0 w 4424"/>
              <a:gd name="T11" fmla="*/ 5348 h 7286"/>
              <a:gd name="T12" fmla="*/ 559 w 4424"/>
              <a:gd name="T13" fmla="*/ 5908 h 7286"/>
              <a:gd name="T14" fmla="*/ 1323 w 4424"/>
              <a:gd name="T15" fmla="*/ 5908 h 7286"/>
              <a:gd name="T16" fmla="*/ 2044 w 4424"/>
              <a:gd name="T17" fmla="*/ 7157 h 7286"/>
              <a:gd name="T18" fmla="*/ 2044 w 4424"/>
              <a:gd name="T19" fmla="*/ 7157 h 7286"/>
              <a:gd name="T20" fmla="*/ 2378 w 4424"/>
              <a:gd name="T21" fmla="*/ 7157 h 7286"/>
              <a:gd name="T22" fmla="*/ 3099 w 4424"/>
              <a:gd name="T23" fmla="*/ 5908 h 7286"/>
              <a:gd name="T24" fmla="*/ 3864 w 4424"/>
              <a:gd name="T25" fmla="*/ 5908 h 7286"/>
              <a:gd name="T26" fmla="*/ 3864 w 4424"/>
              <a:gd name="T27" fmla="*/ 5908 h 7286"/>
              <a:gd name="T28" fmla="*/ 4423 w 4424"/>
              <a:gd name="T29" fmla="*/ 5348 h 7286"/>
              <a:gd name="T30" fmla="*/ 4423 w 4424"/>
              <a:gd name="T31" fmla="*/ 559 h 7286"/>
              <a:gd name="T32" fmla="*/ 4423 w 4424"/>
              <a:gd name="T33" fmla="*/ 559 h 7286"/>
              <a:gd name="T34" fmla="*/ 3864 w 4424"/>
              <a:gd name="T35" fmla="*/ 0 h 7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24" h="7286">
                <a:moveTo>
                  <a:pt x="3864" y="0"/>
                </a:moveTo>
                <a:lnTo>
                  <a:pt x="559" y="0"/>
                </a:lnTo>
                <a:lnTo>
                  <a:pt x="559" y="0"/>
                </a:lnTo>
                <a:cubicBezTo>
                  <a:pt x="250" y="0"/>
                  <a:pt x="0" y="250"/>
                  <a:pt x="0" y="559"/>
                </a:cubicBezTo>
                <a:lnTo>
                  <a:pt x="0" y="5348"/>
                </a:lnTo>
                <a:lnTo>
                  <a:pt x="0" y="5348"/>
                </a:lnTo>
                <a:cubicBezTo>
                  <a:pt x="0" y="5657"/>
                  <a:pt x="250" y="5908"/>
                  <a:pt x="559" y="5908"/>
                </a:cubicBezTo>
                <a:lnTo>
                  <a:pt x="1323" y="5908"/>
                </a:lnTo>
                <a:lnTo>
                  <a:pt x="2044" y="7157"/>
                </a:lnTo>
                <a:lnTo>
                  <a:pt x="2044" y="7157"/>
                </a:lnTo>
                <a:cubicBezTo>
                  <a:pt x="2119" y="7285"/>
                  <a:pt x="2304" y="7285"/>
                  <a:pt x="2378" y="7157"/>
                </a:cubicBezTo>
                <a:lnTo>
                  <a:pt x="3099" y="5908"/>
                </a:lnTo>
                <a:lnTo>
                  <a:pt x="3864" y="5908"/>
                </a:lnTo>
                <a:lnTo>
                  <a:pt x="3864" y="5908"/>
                </a:lnTo>
                <a:cubicBezTo>
                  <a:pt x="4172" y="5908"/>
                  <a:pt x="4423" y="5657"/>
                  <a:pt x="4423" y="5348"/>
                </a:cubicBezTo>
                <a:lnTo>
                  <a:pt x="4423" y="559"/>
                </a:lnTo>
                <a:lnTo>
                  <a:pt x="4423" y="559"/>
                </a:lnTo>
                <a:cubicBezTo>
                  <a:pt x="4423" y="250"/>
                  <a:pt x="4172" y="0"/>
                  <a:pt x="3864" y="0"/>
                </a:cubicBezTo>
              </a:path>
            </a:pathLst>
          </a:custGeom>
          <a:solidFill>
            <a:schemeClr val="accent1"/>
          </a:solidFill>
          <a:ln>
            <a:noFill/>
          </a:ln>
          <a:effectLst/>
        </p:spPr>
        <p:txBody>
          <a:bodyPr wrap="none" anchor="ctr"/>
          <a:lstStyle/>
          <a:p>
            <a:endParaRPr lang="en-US" sz="3266" dirty="0">
              <a:latin typeface="Lato Light" panose="020F0502020204030203" pitchFamily="34" charset="0"/>
            </a:endParaRPr>
          </a:p>
        </p:txBody>
      </p:sp>
      <p:sp>
        <p:nvSpPr>
          <p:cNvPr id="7" name="Freeform 6">
            <a:extLst>
              <a:ext uri="{FF2B5EF4-FFF2-40B4-BE49-F238E27FC236}">
                <a16:creationId xmlns:a16="http://schemas.microsoft.com/office/drawing/2014/main" id="{621A3F23-823B-0847-AA9B-58759136B646}"/>
              </a:ext>
            </a:extLst>
          </p:cNvPr>
          <p:cNvSpPr>
            <a:spLocks noChangeArrowheads="1"/>
          </p:cNvSpPr>
          <p:nvPr/>
        </p:nvSpPr>
        <p:spPr bwMode="auto">
          <a:xfrm>
            <a:off x="5788129" y="5349231"/>
            <a:ext cx="615743" cy="615743"/>
          </a:xfrm>
          <a:custGeom>
            <a:avLst/>
            <a:gdLst>
              <a:gd name="T0" fmla="*/ 1442 w 1443"/>
              <a:gd name="T1" fmla="*/ 721 h 1444"/>
              <a:gd name="T2" fmla="*/ 1442 w 1443"/>
              <a:gd name="T3" fmla="*/ 721 h 1444"/>
              <a:gd name="T4" fmla="*/ 721 w 1443"/>
              <a:gd name="T5" fmla="*/ 0 h 1444"/>
              <a:gd name="T6" fmla="*/ 721 w 1443"/>
              <a:gd name="T7" fmla="*/ 0 h 1444"/>
              <a:gd name="T8" fmla="*/ 0 w 1443"/>
              <a:gd name="T9" fmla="*/ 721 h 1444"/>
              <a:gd name="T10" fmla="*/ 0 w 1443"/>
              <a:gd name="T11" fmla="*/ 721 h 1444"/>
              <a:gd name="T12" fmla="*/ 721 w 1443"/>
              <a:gd name="T13" fmla="*/ 1443 h 1444"/>
              <a:gd name="T14" fmla="*/ 721 w 1443"/>
              <a:gd name="T15" fmla="*/ 1443 h 1444"/>
              <a:gd name="T16" fmla="*/ 1442 w 1443"/>
              <a:gd name="T17" fmla="*/ 721 h 1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3" h="1444">
                <a:moveTo>
                  <a:pt x="1442" y="721"/>
                </a:moveTo>
                <a:lnTo>
                  <a:pt x="1442" y="721"/>
                </a:lnTo>
                <a:cubicBezTo>
                  <a:pt x="1442" y="323"/>
                  <a:pt x="1119" y="0"/>
                  <a:pt x="721" y="0"/>
                </a:cubicBezTo>
                <a:lnTo>
                  <a:pt x="721" y="0"/>
                </a:lnTo>
                <a:cubicBezTo>
                  <a:pt x="323" y="0"/>
                  <a:pt x="0" y="323"/>
                  <a:pt x="0" y="721"/>
                </a:cubicBezTo>
                <a:lnTo>
                  <a:pt x="0" y="721"/>
                </a:lnTo>
                <a:cubicBezTo>
                  <a:pt x="0" y="1120"/>
                  <a:pt x="323" y="1443"/>
                  <a:pt x="721" y="1443"/>
                </a:cubicBezTo>
                <a:lnTo>
                  <a:pt x="721" y="1443"/>
                </a:lnTo>
                <a:cubicBezTo>
                  <a:pt x="1119" y="1443"/>
                  <a:pt x="1442" y="1120"/>
                  <a:pt x="1442" y="721"/>
                </a:cubicBezTo>
              </a:path>
            </a:pathLst>
          </a:custGeom>
          <a:solidFill>
            <a:schemeClr val="accent3"/>
          </a:solidFill>
          <a:ln>
            <a:noFill/>
          </a:ln>
          <a:effectLst/>
        </p:spPr>
        <p:txBody>
          <a:bodyPr wrap="none" anchor="ctr"/>
          <a:lstStyle/>
          <a:p>
            <a:endParaRPr lang="en-US" sz="3266" dirty="0">
              <a:latin typeface="Lato Light" panose="020F0502020204030203" pitchFamily="34" charset="0"/>
            </a:endParaRPr>
          </a:p>
        </p:txBody>
      </p:sp>
      <p:sp useBgFill="1">
        <p:nvSpPr>
          <p:cNvPr id="8" name="Freeform 7">
            <a:extLst>
              <a:ext uri="{FF2B5EF4-FFF2-40B4-BE49-F238E27FC236}">
                <a16:creationId xmlns:a16="http://schemas.microsoft.com/office/drawing/2014/main" id="{6054974B-932D-5345-B3CF-830616536577}"/>
              </a:ext>
            </a:extLst>
          </p:cNvPr>
          <p:cNvSpPr>
            <a:spLocks noChangeArrowheads="1"/>
          </p:cNvSpPr>
          <p:nvPr/>
        </p:nvSpPr>
        <p:spPr bwMode="auto">
          <a:xfrm>
            <a:off x="5957600" y="5518701"/>
            <a:ext cx="278686" cy="278686"/>
          </a:xfrm>
          <a:custGeom>
            <a:avLst/>
            <a:gdLst>
              <a:gd name="T0" fmla="*/ 650 w 651"/>
              <a:gd name="T1" fmla="*/ 325 h 652"/>
              <a:gd name="T2" fmla="*/ 650 w 651"/>
              <a:gd name="T3" fmla="*/ 325 h 652"/>
              <a:gd name="T4" fmla="*/ 325 w 651"/>
              <a:gd name="T5" fmla="*/ 0 h 652"/>
              <a:gd name="T6" fmla="*/ 325 w 651"/>
              <a:gd name="T7" fmla="*/ 0 h 652"/>
              <a:gd name="T8" fmla="*/ 0 w 651"/>
              <a:gd name="T9" fmla="*/ 325 h 652"/>
              <a:gd name="T10" fmla="*/ 0 w 651"/>
              <a:gd name="T11" fmla="*/ 325 h 652"/>
              <a:gd name="T12" fmla="*/ 325 w 651"/>
              <a:gd name="T13" fmla="*/ 651 h 652"/>
              <a:gd name="T14" fmla="*/ 325 w 651"/>
              <a:gd name="T15" fmla="*/ 651 h 652"/>
              <a:gd name="T16" fmla="*/ 650 w 651"/>
              <a:gd name="T17" fmla="*/ 325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1" h="652">
                <a:moveTo>
                  <a:pt x="650" y="325"/>
                </a:moveTo>
                <a:lnTo>
                  <a:pt x="650" y="325"/>
                </a:lnTo>
                <a:cubicBezTo>
                  <a:pt x="650" y="146"/>
                  <a:pt x="505" y="0"/>
                  <a:pt x="325" y="0"/>
                </a:cubicBezTo>
                <a:lnTo>
                  <a:pt x="325" y="0"/>
                </a:lnTo>
                <a:cubicBezTo>
                  <a:pt x="145" y="0"/>
                  <a:pt x="0" y="146"/>
                  <a:pt x="0" y="325"/>
                </a:cubicBezTo>
                <a:lnTo>
                  <a:pt x="0" y="325"/>
                </a:lnTo>
                <a:cubicBezTo>
                  <a:pt x="0" y="505"/>
                  <a:pt x="145" y="651"/>
                  <a:pt x="325" y="651"/>
                </a:cubicBezTo>
                <a:lnTo>
                  <a:pt x="325" y="651"/>
                </a:lnTo>
                <a:cubicBezTo>
                  <a:pt x="505" y="651"/>
                  <a:pt x="650" y="505"/>
                  <a:pt x="650" y="325"/>
                </a:cubicBez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11" name="Freeform 10">
            <a:extLst>
              <a:ext uri="{FF2B5EF4-FFF2-40B4-BE49-F238E27FC236}">
                <a16:creationId xmlns:a16="http://schemas.microsoft.com/office/drawing/2014/main" id="{F8329EB9-56E0-3D4F-B9F0-D7508B5CFC49}"/>
              </a:ext>
            </a:extLst>
          </p:cNvPr>
          <p:cNvSpPr>
            <a:spLocks noChangeArrowheads="1"/>
          </p:cNvSpPr>
          <p:nvPr/>
        </p:nvSpPr>
        <p:spPr bwMode="auto">
          <a:xfrm>
            <a:off x="5151673" y="1946634"/>
            <a:ext cx="1888657" cy="3110730"/>
          </a:xfrm>
          <a:custGeom>
            <a:avLst/>
            <a:gdLst>
              <a:gd name="T0" fmla="*/ 3864 w 4425"/>
              <a:gd name="T1" fmla="*/ 0 h 7286"/>
              <a:gd name="T2" fmla="*/ 560 w 4425"/>
              <a:gd name="T3" fmla="*/ 0 h 7286"/>
              <a:gd name="T4" fmla="*/ 560 w 4425"/>
              <a:gd name="T5" fmla="*/ 0 h 7286"/>
              <a:gd name="T6" fmla="*/ 0 w 4425"/>
              <a:gd name="T7" fmla="*/ 559 h 7286"/>
              <a:gd name="T8" fmla="*/ 0 w 4425"/>
              <a:gd name="T9" fmla="*/ 5348 h 7286"/>
              <a:gd name="T10" fmla="*/ 0 w 4425"/>
              <a:gd name="T11" fmla="*/ 5348 h 7286"/>
              <a:gd name="T12" fmla="*/ 560 w 4425"/>
              <a:gd name="T13" fmla="*/ 5908 h 7286"/>
              <a:gd name="T14" fmla="*/ 1324 w 4425"/>
              <a:gd name="T15" fmla="*/ 5908 h 7286"/>
              <a:gd name="T16" fmla="*/ 2045 w 4425"/>
              <a:gd name="T17" fmla="*/ 7157 h 7286"/>
              <a:gd name="T18" fmla="*/ 2045 w 4425"/>
              <a:gd name="T19" fmla="*/ 7157 h 7286"/>
              <a:gd name="T20" fmla="*/ 2379 w 4425"/>
              <a:gd name="T21" fmla="*/ 7157 h 7286"/>
              <a:gd name="T22" fmla="*/ 3100 w 4425"/>
              <a:gd name="T23" fmla="*/ 5908 h 7286"/>
              <a:gd name="T24" fmla="*/ 3864 w 4425"/>
              <a:gd name="T25" fmla="*/ 5908 h 7286"/>
              <a:gd name="T26" fmla="*/ 3864 w 4425"/>
              <a:gd name="T27" fmla="*/ 5908 h 7286"/>
              <a:gd name="T28" fmla="*/ 4424 w 4425"/>
              <a:gd name="T29" fmla="*/ 5348 h 7286"/>
              <a:gd name="T30" fmla="*/ 4424 w 4425"/>
              <a:gd name="T31" fmla="*/ 559 h 7286"/>
              <a:gd name="T32" fmla="*/ 4424 w 4425"/>
              <a:gd name="T33" fmla="*/ 559 h 7286"/>
              <a:gd name="T34" fmla="*/ 3864 w 4425"/>
              <a:gd name="T35" fmla="*/ 0 h 7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25" h="7286">
                <a:moveTo>
                  <a:pt x="3864" y="0"/>
                </a:moveTo>
                <a:lnTo>
                  <a:pt x="560" y="0"/>
                </a:lnTo>
                <a:lnTo>
                  <a:pt x="560" y="0"/>
                </a:lnTo>
                <a:cubicBezTo>
                  <a:pt x="251" y="0"/>
                  <a:pt x="0" y="250"/>
                  <a:pt x="0" y="559"/>
                </a:cubicBezTo>
                <a:lnTo>
                  <a:pt x="0" y="5348"/>
                </a:lnTo>
                <a:lnTo>
                  <a:pt x="0" y="5348"/>
                </a:lnTo>
                <a:cubicBezTo>
                  <a:pt x="0" y="5657"/>
                  <a:pt x="251" y="5908"/>
                  <a:pt x="560" y="5908"/>
                </a:cubicBezTo>
                <a:lnTo>
                  <a:pt x="1324" y="5908"/>
                </a:lnTo>
                <a:lnTo>
                  <a:pt x="2045" y="7157"/>
                </a:lnTo>
                <a:lnTo>
                  <a:pt x="2045" y="7157"/>
                </a:lnTo>
                <a:cubicBezTo>
                  <a:pt x="2119" y="7285"/>
                  <a:pt x="2305" y="7285"/>
                  <a:pt x="2379" y="7157"/>
                </a:cubicBezTo>
                <a:lnTo>
                  <a:pt x="3100" y="5908"/>
                </a:lnTo>
                <a:lnTo>
                  <a:pt x="3864" y="5908"/>
                </a:lnTo>
                <a:lnTo>
                  <a:pt x="3864" y="5908"/>
                </a:lnTo>
                <a:cubicBezTo>
                  <a:pt x="4173" y="5908"/>
                  <a:pt x="4424" y="5657"/>
                  <a:pt x="4424" y="5348"/>
                </a:cubicBezTo>
                <a:lnTo>
                  <a:pt x="4424" y="559"/>
                </a:lnTo>
                <a:lnTo>
                  <a:pt x="4424" y="559"/>
                </a:lnTo>
                <a:cubicBezTo>
                  <a:pt x="4424" y="250"/>
                  <a:pt x="4173" y="0"/>
                  <a:pt x="3864" y="0"/>
                </a:cubicBezTo>
              </a:path>
            </a:pathLst>
          </a:custGeom>
          <a:solidFill>
            <a:schemeClr val="accent3"/>
          </a:solidFill>
          <a:ln>
            <a:noFill/>
          </a:ln>
          <a:effectLst/>
        </p:spPr>
        <p:txBody>
          <a:bodyPr wrap="none" anchor="ctr"/>
          <a:lstStyle/>
          <a:p>
            <a:endParaRPr lang="en-US" sz="3266" dirty="0">
              <a:latin typeface="Lato Light" panose="020F0502020204030203" pitchFamily="34" charset="0"/>
            </a:endParaRPr>
          </a:p>
        </p:txBody>
      </p:sp>
      <p:sp>
        <p:nvSpPr>
          <p:cNvPr id="16" name="Freeform 15">
            <a:extLst>
              <a:ext uri="{FF2B5EF4-FFF2-40B4-BE49-F238E27FC236}">
                <a16:creationId xmlns:a16="http://schemas.microsoft.com/office/drawing/2014/main" id="{74F0CDEA-AD62-5440-B261-7D38617FA5D4}"/>
              </a:ext>
            </a:extLst>
          </p:cNvPr>
          <p:cNvSpPr>
            <a:spLocks noChangeArrowheads="1"/>
          </p:cNvSpPr>
          <p:nvPr/>
        </p:nvSpPr>
        <p:spPr bwMode="auto">
          <a:xfrm>
            <a:off x="7982965" y="5349231"/>
            <a:ext cx="615743" cy="615743"/>
          </a:xfrm>
          <a:custGeom>
            <a:avLst/>
            <a:gdLst>
              <a:gd name="T0" fmla="*/ 1442 w 1443"/>
              <a:gd name="T1" fmla="*/ 721 h 1444"/>
              <a:gd name="T2" fmla="*/ 1442 w 1443"/>
              <a:gd name="T3" fmla="*/ 721 h 1444"/>
              <a:gd name="T4" fmla="*/ 721 w 1443"/>
              <a:gd name="T5" fmla="*/ 0 h 1444"/>
              <a:gd name="T6" fmla="*/ 721 w 1443"/>
              <a:gd name="T7" fmla="*/ 0 h 1444"/>
              <a:gd name="T8" fmla="*/ 0 w 1443"/>
              <a:gd name="T9" fmla="*/ 721 h 1444"/>
              <a:gd name="T10" fmla="*/ 0 w 1443"/>
              <a:gd name="T11" fmla="*/ 721 h 1444"/>
              <a:gd name="T12" fmla="*/ 721 w 1443"/>
              <a:gd name="T13" fmla="*/ 1443 h 1444"/>
              <a:gd name="T14" fmla="*/ 721 w 1443"/>
              <a:gd name="T15" fmla="*/ 1443 h 1444"/>
              <a:gd name="T16" fmla="*/ 1442 w 1443"/>
              <a:gd name="T17" fmla="*/ 721 h 1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3" h="1444">
                <a:moveTo>
                  <a:pt x="1442" y="721"/>
                </a:moveTo>
                <a:lnTo>
                  <a:pt x="1442" y="721"/>
                </a:lnTo>
                <a:cubicBezTo>
                  <a:pt x="1442" y="323"/>
                  <a:pt x="1119" y="0"/>
                  <a:pt x="721" y="0"/>
                </a:cubicBezTo>
                <a:lnTo>
                  <a:pt x="721" y="0"/>
                </a:lnTo>
                <a:cubicBezTo>
                  <a:pt x="323" y="0"/>
                  <a:pt x="0" y="323"/>
                  <a:pt x="0" y="721"/>
                </a:cubicBezTo>
                <a:lnTo>
                  <a:pt x="0" y="721"/>
                </a:lnTo>
                <a:cubicBezTo>
                  <a:pt x="0" y="1120"/>
                  <a:pt x="323" y="1443"/>
                  <a:pt x="721" y="1443"/>
                </a:cubicBezTo>
                <a:lnTo>
                  <a:pt x="721" y="1443"/>
                </a:lnTo>
                <a:cubicBezTo>
                  <a:pt x="1119" y="1443"/>
                  <a:pt x="1442" y="1120"/>
                  <a:pt x="1442" y="721"/>
                </a:cubicBezTo>
              </a:path>
            </a:pathLst>
          </a:custGeom>
          <a:solidFill>
            <a:schemeClr val="accent4"/>
          </a:solidFill>
          <a:ln>
            <a:noFill/>
          </a:ln>
          <a:effectLst/>
        </p:spPr>
        <p:txBody>
          <a:bodyPr wrap="none" anchor="ctr"/>
          <a:lstStyle/>
          <a:p>
            <a:endParaRPr lang="en-US" sz="3266" dirty="0">
              <a:latin typeface="Lato Light" panose="020F0502020204030203" pitchFamily="34" charset="0"/>
            </a:endParaRPr>
          </a:p>
        </p:txBody>
      </p:sp>
      <p:sp useBgFill="1">
        <p:nvSpPr>
          <p:cNvPr id="17" name="Freeform 16">
            <a:extLst>
              <a:ext uri="{FF2B5EF4-FFF2-40B4-BE49-F238E27FC236}">
                <a16:creationId xmlns:a16="http://schemas.microsoft.com/office/drawing/2014/main" id="{D26A0A9D-2EE1-D349-A534-BA9A86328A23}"/>
              </a:ext>
            </a:extLst>
          </p:cNvPr>
          <p:cNvSpPr>
            <a:spLocks noChangeArrowheads="1"/>
          </p:cNvSpPr>
          <p:nvPr/>
        </p:nvSpPr>
        <p:spPr bwMode="auto">
          <a:xfrm>
            <a:off x="8152436" y="5518701"/>
            <a:ext cx="278686" cy="278686"/>
          </a:xfrm>
          <a:custGeom>
            <a:avLst/>
            <a:gdLst>
              <a:gd name="T0" fmla="*/ 650 w 651"/>
              <a:gd name="T1" fmla="*/ 325 h 652"/>
              <a:gd name="T2" fmla="*/ 650 w 651"/>
              <a:gd name="T3" fmla="*/ 325 h 652"/>
              <a:gd name="T4" fmla="*/ 325 w 651"/>
              <a:gd name="T5" fmla="*/ 0 h 652"/>
              <a:gd name="T6" fmla="*/ 325 w 651"/>
              <a:gd name="T7" fmla="*/ 0 h 652"/>
              <a:gd name="T8" fmla="*/ 0 w 651"/>
              <a:gd name="T9" fmla="*/ 325 h 652"/>
              <a:gd name="T10" fmla="*/ 0 w 651"/>
              <a:gd name="T11" fmla="*/ 325 h 652"/>
              <a:gd name="T12" fmla="*/ 325 w 651"/>
              <a:gd name="T13" fmla="*/ 651 h 652"/>
              <a:gd name="T14" fmla="*/ 325 w 651"/>
              <a:gd name="T15" fmla="*/ 651 h 652"/>
              <a:gd name="T16" fmla="*/ 650 w 651"/>
              <a:gd name="T17" fmla="*/ 325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1" h="652">
                <a:moveTo>
                  <a:pt x="650" y="325"/>
                </a:moveTo>
                <a:lnTo>
                  <a:pt x="650" y="325"/>
                </a:lnTo>
                <a:cubicBezTo>
                  <a:pt x="650" y="146"/>
                  <a:pt x="505" y="0"/>
                  <a:pt x="325" y="0"/>
                </a:cubicBezTo>
                <a:lnTo>
                  <a:pt x="325" y="0"/>
                </a:lnTo>
                <a:cubicBezTo>
                  <a:pt x="145" y="0"/>
                  <a:pt x="0" y="146"/>
                  <a:pt x="0" y="325"/>
                </a:cubicBezTo>
                <a:lnTo>
                  <a:pt x="0" y="325"/>
                </a:lnTo>
                <a:cubicBezTo>
                  <a:pt x="0" y="505"/>
                  <a:pt x="145" y="651"/>
                  <a:pt x="325" y="651"/>
                </a:cubicBezTo>
                <a:lnTo>
                  <a:pt x="325" y="651"/>
                </a:lnTo>
                <a:cubicBezTo>
                  <a:pt x="505" y="651"/>
                  <a:pt x="650" y="505"/>
                  <a:pt x="650" y="325"/>
                </a:cubicBez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18" name="Freeform 17">
            <a:extLst>
              <a:ext uri="{FF2B5EF4-FFF2-40B4-BE49-F238E27FC236}">
                <a16:creationId xmlns:a16="http://schemas.microsoft.com/office/drawing/2014/main" id="{7B21E0F6-8CFA-C748-8648-5335C623982B}"/>
              </a:ext>
            </a:extLst>
          </p:cNvPr>
          <p:cNvSpPr>
            <a:spLocks noChangeArrowheads="1"/>
          </p:cNvSpPr>
          <p:nvPr/>
        </p:nvSpPr>
        <p:spPr bwMode="auto">
          <a:xfrm>
            <a:off x="7346508" y="1946634"/>
            <a:ext cx="1888657" cy="3110730"/>
          </a:xfrm>
          <a:custGeom>
            <a:avLst/>
            <a:gdLst>
              <a:gd name="T0" fmla="*/ 3864 w 4425"/>
              <a:gd name="T1" fmla="*/ 0 h 7286"/>
              <a:gd name="T2" fmla="*/ 560 w 4425"/>
              <a:gd name="T3" fmla="*/ 0 h 7286"/>
              <a:gd name="T4" fmla="*/ 560 w 4425"/>
              <a:gd name="T5" fmla="*/ 0 h 7286"/>
              <a:gd name="T6" fmla="*/ 0 w 4425"/>
              <a:gd name="T7" fmla="*/ 559 h 7286"/>
              <a:gd name="T8" fmla="*/ 0 w 4425"/>
              <a:gd name="T9" fmla="*/ 5348 h 7286"/>
              <a:gd name="T10" fmla="*/ 0 w 4425"/>
              <a:gd name="T11" fmla="*/ 5348 h 7286"/>
              <a:gd name="T12" fmla="*/ 560 w 4425"/>
              <a:gd name="T13" fmla="*/ 5908 h 7286"/>
              <a:gd name="T14" fmla="*/ 1324 w 4425"/>
              <a:gd name="T15" fmla="*/ 5908 h 7286"/>
              <a:gd name="T16" fmla="*/ 2045 w 4425"/>
              <a:gd name="T17" fmla="*/ 7157 h 7286"/>
              <a:gd name="T18" fmla="*/ 2045 w 4425"/>
              <a:gd name="T19" fmla="*/ 7157 h 7286"/>
              <a:gd name="T20" fmla="*/ 2379 w 4425"/>
              <a:gd name="T21" fmla="*/ 7157 h 7286"/>
              <a:gd name="T22" fmla="*/ 3100 w 4425"/>
              <a:gd name="T23" fmla="*/ 5908 h 7286"/>
              <a:gd name="T24" fmla="*/ 3864 w 4425"/>
              <a:gd name="T25" fmla="*/ 5908 h 7286"/>
              <a:gd name="T26" fmla="*/ 3864 w 4425"/>
              <a:gd name="T27" fmla="*/ 5908 h 7286"/>
              <a:gd name="T28" fmla="*/ 4424 w 4425"/>
              <a:gd name="T29" fmla="*/ 5348 h 7286"/>
              <a:gd name="T30" fmla="*/ 4424 w 4425"/>
              <a:gd name="T31" fmla="*/ 559 h 7286"/>
              <a:gd name="T32" fmla="*/ 4424 w 4425"/>
              <a:gd name="T33" fmla="*/ 559 h 7286"/>
              <a:gd name="T34" fmla="*/ 3864 w 4425"/>
              <a:gd name="T35" fmla="*/ 0 h 7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25" h="7286">
                <a:moveTo>
                  <a:pt x="3864" y="0"/>
                </a:moveTo>
                <a:lnTo>
                  <a:pt x="560" y="0"/>
                </a:lnTo>
                <a:lnTo>
                  <a:pt x="560" y="0"/>
                </a:lnTo>
                <a:cubicBezTo>
                  <a:pt x="251" y="0"/>
                  <a:pt x="0" y="250"/>
                  <a:pt x="0" y="559"/>
                </a:cubicBezTo>
                <a:lnTo>
                  <a:pt x="0" y="5348"/>
                </a:lnTo>
                <a:lnTo>
                  <a:pt x="0" y="5348"/>
                </a:lnTo>
                <a:cubicBezTo>
                  <a:pt x="0" y="5657"/>
                  <a:pt x="251" y="5908"/>
                  <a:pt x="560" y="5908"/>
                </a:cubicBezTo>
                <a:lnTo>
                  <a:pt x="1324" y="5908"/>
                </a:lnTo>
                <a:lnTo>
                  <a:pt x="2045" y="7157"/>
                </a:lnTo>
                <a:lnTo>
                  <a:pt x="2045" y="7157"/>
                </a:lnTo>
                <a:cubicBezTo>
                  <a:pt x="2119" y="7285"/>
                  <a:pt x="2305" y="7285"/>
                  <a:pt x="2379" y="7157"/>
                </a:cubicBezTo>
                <a:lnTo>
                  <a:pt x="3100" y="5908"/>
                </a:lnTo>
                <a:lnTo>
                  <a:pt x="3864" y="5908"/>
                </a:lnTo>
                <a:lnTo>
                  <a:pt x="3864" y="5908"/>
                </a:lnTo>
                <a:cubicBezTo>
                  <a:pt x="4173" y="5908"/>
                  <a:pt x="4424" y="5657"/>
                  <a:pt x="4424" y="5348"/>
                </a:cubicBezTo>
                <a:lnTo>
                  <a:pt x="4424" y="559"/>
                </a:lnTo>
                <a:lnTo>
                  <a:pt x="4424" y="559"/>
                </a:lnTo>
                <a:cubicBezTo>
                  <a:pt x="4424" y="250"/>
                  <a:pt x="4173" y="0"/>
                  <a:pt x="3864" y="0"/>
                </a:cubicBezTo>
              </a:path>
            </a:pathLst>
          </a:custGeom>
          <a:solidFill>
            <a:schemeClr val="accent4"/>
          </a:solidFill>
          <a:ln>
            <a:noFill/>
          </a:ln>
          <a:effectLst/>
        </p:spPr>
        <p:txBody>
          <a:bodyPr wrap="none" anchor="ctr"/>
          <a:lstStyle/>
          <a:p>
            <a:endParaRPr lang="en-US" sz="3266" dirty="0">
              <a:latin typeface="Lato Light" panose="020F0502020204030203" pitchFamily="34" charset="0"/>
            </a:endParaRPr>
          </a:p>
        </p:txBody>
      </p:sp>
      <p:sp>
        <p:nvSpPr>
          <p:cNvPr id="20" name="Freeform 19">
            <a:extLst>
              <a:ext uri="{FF2B5EF4-FFF2-40B4-BE49-F238E27FC236}">
                <a16:creationId xmlns:a16="http://schemas.microsoft.com/office/drawing/2014/main" id="{FB7C000B-8AB5-9D44-9FC2-91A67C77196F}"/>
              </a:ext>
            </a:extLst>
          </p:cNvPr>
          <p:cNvSpPr>
            <a:spLocks noChangeArrowheads="1"/>
          </p:cNvSpPr>
          <p:nvPr/>
        </p:nvSpPr>
        <p:spPr bwMode="auto">
          <a:xfrm>
            <a:off x="10177800" y="5349231"/>
            <a:ext cx="615743" cy="615743"/>
          </a:xfrm>
          <a:custGeom>
            <a:avLst/>
            <a:gdLst>
              <a:gd name="T0" fmla="*/ 1442 w 1443"/>
              <a:gd name="T1" fmla="*/ 721 h 1444"/>
              <a:gd name="T2" fmla="*/ 1442 w 1443"/>
              <a:gd name="T3" fmla="*/ 721 h 1444"/>
              <a:gd name="T4" fmla="*/ 721 w 1443"/>
              <a:gd name="T5" fmla="*/ 0 h 1444"/>
              <a:gd name="T6" fmla="*/ 721 w 1443"/>
              <a:gd name="T7" fmla="*/ 0 h 1444"/>
              <a:gd name="T8" fmla="*/ 0 w 1443"/>
              <a:gd name="T9" fmla="*/ 721 h 1444"/>
              <a:gd name="T10" fmla="*/ 0 w 1443"/>
              <a:gd name="T11" fmla="*/ 721 h 1444"/>
              <a:gd name="T12" fmla="*/ 721 w 1443"/>
              <a:gd name="T13" fmla="*/ 1443 h 1444"/>
              <a:gd name="T14" fmla="*/ 721 w 1443"/>
              <a:gd name="T15" fmla="*/ 1443 h 1444"/>
              <a:gd name="T16" fmla="*/ 1442 w 1443"/>
              <a:gd name="T17" fmla="*/ 721 h 1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3" h="1444">
                <a:moveTo>
                  <a:pt x="1442" y="721"/>
                </a:moveTo>
                <a:lnTo>
                  <a:pt x="1442" y="721"/>
                </a:lnTo>
                <a:cubicBezTo>
                  <a:pt x="1442" y="323"/>
                  <a:pt x="1119" y="0"/>
                  <a:pt x="721" y="0"/>
                </a:cubicBezTo>
                <a:lnTo>
                  <a:pt x="721" y="0"/>
                </a:lnTo>
                <a:cubicBezTo>
                  <a:pt x="323" y="0"/>
                  <a:pt x="0" y="323"/>
                  <a:pt x="0" y="721"/>
                </a:cubicBezTo>
                <a:lnTo>
                  <a:pt x="0" y="721"/>
                </a:lnTo>
                <a:cubicBezTo>
                  <a:pt x="0" y="1120"/>
                  <a:pt x="323" y="1443"/>
                  <a:pt x="721" y="1443"/>
                </a:cubicBezTo>
                <a:lnTo>
                  <a:pt x="721" y="1443"/>
                </a:lnTo>
                <a:cubicBezTo>
                  <a:pt x="1119" y="1443"/>
                  <a:pt x="1442" y="1120"/>
                  <a:pt x="1442" y="721"/>
                </a:cubicBezTo>
              </a:path>
            </a:pathLst>
          </a:custGeom>
          <a:solidFill>
            <a:schemeClr val="accent5"/>
          </a:solidFill>
          <a:ln>
            <a:noFill/>
          </a:ln>
          <a:effectLst/>
        </p:spPr>
        <p:txBody>
          <a:bodyPr wrap="none" anchor="ctr"/>
          <a:lstStyle/>
          <a:p>
            <a:endParaRPr lang="en-US" sz="3266" dirty="0">
              <a:latin typeface="Lato Light" panose="020F0502020204030203" pitchFamily="34" charset="0"/>
            </a:endParaRPr>
          </a:p>
        </p:txBody>
      </p:sp>
      <p:sp useBgFill="1">
        <p:nvSpPr>
          <p:cNvPr id="21" name="Freeform 20">
            <a:extLst>
              <a:ext uri="{FF2B5EF4-FFF2-40B4-BE49-F238E27FC236}">
                <a16:creationId xmlns:a16="http://schemas.microsoft.com/office/drawing/2014/main" id="{B2E271E2-4494-0C4B-9D1D-F69C1B83EE6C}"/>
              </a:ext>
            </a:extLst>
          </p:cNvPr>
          <p:cNvSpPr>
            <a:spLocks noChangeArrowheads="1"/>
          </p:cNvSpPr>
          <p:nvPr/>
        </p:nvSpPr>
        <p:spPr bwMode="auto">
          <a:xfrm>
            <a:off x="10347271" y="5518701"/>
            <a:ext cx="278686" cy="278686"/>
          </a:xfrm>
          <a:custGeom>
            <a:avLst/>
            <a:gdLst>
              <a:gd name="T0" fmla="*/ 650 w 651"/>
              <a:gd name="T1" fmla="*/ 325 h 652"/>
              <a:gd name="T2" fmla="*/ 650 w 651"/>
              <a:gd name="T3" fmla="*/ 325 h 652"/>
              <a:gd name="T4" fmla="*/ 325 w 651"/>
              <a:gd name="T5" fmla="*/ 0 h 652"/>
              <a:gd name="T6" fmla="*/ 325 w 651"/>
              <a:gd name="T7" fmla="*/ 0 h 652"/>
              <a:gd name="T8" fmla="*/ 0 w 651"/>
              <a:gd name="T9" fmla="*/ 325 h 652"/>
              <a:gd name="T10" fmla="*/ 0 w 651"/>
              <a:gd name="T11" fmla="*/ 325 h 652"/>
              <a:gd name="T12" fmla="*/ 325 w 651"/>
              <a:gd name="T13" fmla="*/ 651 h 652"/>
              <a:gd name="T14" fmla="*/ 325 w 651"/>
              <a:gd name="T15" fmla="*/ 651 h 652"/>
              <a:gd name="T16" fmla="*/ 650 w 651"/>
              <a:gd name="T17" fmla="*/ 325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1" h="652">
                <a:moveTo>
                  <a:pt x="650" y="325"/>
                </a:moveTo>
                <a:lnTo>
                  <a:pt x="650" y="325"/>
                </a:lnTo>
                <a:cubicBezTo>
                  <a:pt x="650" y="146"/>
                  <a:pt x="505" y="0"/>
                  <a:pt x="325" y="0"/>
                </a:cubicBezTo>
                <a:lnTo>
                  <a:pt x="325" y="0"/>
                </a:lnTo>
                <a:cubicBezTo>
                  <a:pt x="145" y="0"/>
                  <a:pt x="0" y="146"/>
                  <a:pt x="0" y="325"/>
                </a:cubicBezTo>
                <a:lnTo>
                  <a:pt x="0" y="325"/>
                </a:lnTo>
                <a:cubicBezTo>
                  <a:pt x="0" y="505"/>
                  <a:pt x="145" y="651"/>
                  <a:pt x="325" y="651"/>
                </a:cubicBezTo>
                <a:lnTo>
                  <a:pt x="325" y="651"/>
                </a:lnTo>
                <a:cubicBezTo>
                  <a:pt x="505" y="651"/>
                  <a:pt x="650" y="505"/>
                  <a:pt x="650" y="325"/>
                </a:cubicBez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22" name="Freeform 21">
            <a:extLst>
              <a:ext uri="{FF2B5EF4-FFF2-40B4-BE49-F238E27FC236}">
                <a16:creationId xmlns:a16="http://schemas.microsoft.com/office/drawing/2014/main" id="{20A58439-5B65-564E-8A6D-90BFEB58CDED}"/>
              </a:ext>
            </a:extLst>
          </p:cNvPr>
          <p:cNvSpPr>
            <a:spLocks noChangeArrowheads="1"/>
          </p:cNvSpPr>
          <p:nvPr/>
        </p:nvSpPr>
        <p:spPr bwMode="auto">
          <a:xfrm>
            <a:off x="9541344" y="1946634"/>
            <a:ext cx="1888657" cy="3110730"/>
          </a:xfrm>
          <a:custGeom>
            <a:avLst/>
            <a:gdLst>
              <a:gd name="T0" fmla="*/ 3864 w 4425"/>
              <a:gd name="T1" fmla="*/ 0 h 7286"/>
              <a:gd name="T2" fmla="*/ 560 w 4425"/>
              <a:gd name="T3" fmla="*/ 0 h 7286"/>
              <a:gd name="T4" fmla="*/ 560 w 4425"/>
              <a:gd name="T5" fmla="*/ 0 h 7286"/>
              <a:gd name="T6" fmla="*/ 0 w 4425"/>
              <a:gd name="T7" fmla="*/ 559 h 7286"/>
              <a:gd name="T8" fmla="*/ 0 w 4425"/>
              <a:gd name="T9" fmla="*/ 5348 h 7286"/>
              <a:gd name="T10" fmla="*/ 0 w 4425"/>
              <a:gd name="T11" fmla="*/ 5348 h 7286"/>
              <a:gd name="T12" fmla="*/ 560 w 4425"/>
              <a:gd name="T13" fmla="*/ 5908 h 7286"/>
              <a:gd name="T14" fmla="*/ 1324 w 4425"/>
              <a:gd name="T15" fmla="*/ 5908 h 7286"/>
              <a:gd name="T16" fmla="*/ 2045 w 4425"/>
              <a:gd name="T17" fmla="*/ 7157 h 7286"/>
              <a:gd name="T18" fmla="*/ 2045 w 4425"/>
              <a:gd name="T19" fmla="*/ 7157 h 7286"/>
              <a:gd name="T20" fmla="*/ 2379 w 4425"/>
              <a:gd name="T21" fmla="*/ 7157 h 7286"/>
              <a:gd name="T22" fmla="*/ 3100 w 4425"/>
              <a:gd name="T23" fmla="*/ 5908 h 7286"/>
              <a:gd name="T24" fmla="*/ 3864 w 4425"/>
              <a:gd name="T25" fmla="*/ 5908 h 7286"/>
              <a:gd name="T26" fmla="*/ 3864 w 4425"/>
              <a:gd name="T27" fmla="*/ 5908 h 7286"/>
              <a:gd name="T28" fmla="*/ 4424 w 4425"/>
              <a:gd name="T29" fmla="*/ 5348 h 7286"/>
              <a:gd name="T30" fmla="*/ 4424 w 4425"/>
              <a:gd name="T31" fmla="*/ 559 h 7286"/>
              <a:gd name="T32" fmla="*/ 4424 w 4425"/>
              <a:gd name="T33" fmla="*/ 559 h 7286"/>
              <a:gd name="T34" fmla="*/ 3864 w 4425"/>
              <a:gd name="T35" fmla="*/ 0 h 7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25" h="7286">
                <a:moveTo>
                  <a:pt x="3864" y="0"/>
                </a:moveTo>
                <a:lnTo>
                  <a:pt x="560" y="0"/>
                </a:lnTo>
                <a:lnTo>
                  <a:pt x="560" y="0"/>
                </a:lnTo>
                <a:cubicBezTo>
                  <a:pt x="251" y="0"/>
                  <a:pt x="0" y="250"/>
                  <a:pt x="0" y="559"/>
                </a:cubicBezTo>
                <a:lnTo>
                  <a:pt x="0" y="5348"/>
                </a:lnTo>
                <a:lnTo>
                  <a:pt x="0" y="5348"/>
                </a:lnTo>
                <a:cubicBezTo>
                  <a:pt x="0" y="5657"/>
                  <a:pt x="251" y="5908"/>
                  <a:pt x="560" y="5908"/>
                </a:cubicBezTo>
                <a:lnTo>
                  <a:pt x="1324" y="5908"/>
                </a:lnTo>
                <a:lnTo>
                  <a:pt x="2045" y="7157"/>
                </a:lnTo>
                <a:lnTo>
                  <a:pt x="2045" y="7157"/>
                </a:lnTo>
                <a:cubicBezTo>
                  <a:pt x="2119" y="7285"/>
                  <a:pt x="2305" y="7285"/>
                  <a:pt x="2379" y="7157"/>
                </a:cubicBezTo>
                <a:lnTo>
                  <a:pt x="3100" y="5908"/>
                </a:lnTo>
                <a:lnTo>
                  <a:pt x="3864" y="5908"/>
                </a:lnTo>
                <a:lnTo>
                  <a:pt x="3864" y="5908"/>
                </a:lnTo>
                <a:cubicBezTo>
                  <a:pt x="4173" y="5908"/>
                  <a:pt x="4424" y="5657"/>
                  <a:pt x="4424" y="5348"/>
                </a:cubicBezTo>
                <a:lnTo>
                  <a:pt x="4424" y="559"/>
                </a:lnTo>
                <a:lnTo>
                  <a:pt x="4424" y="559"/>
                </a:lnTo>
                <a:cubicBezTo>
                  <a:pt x="4424" y="250"/>
                  <a:pt x="4173" y="0"/>
                  <a:pt x="3864" y="0"/>
                </a:cubicBezTo>
              </a:path>
            </a:pathLst>
          </a:custGeom>
          <a:solidFill>
            <a:schemeClr val="accent5"/>
          </a:solidFill>
          <a:ln>
            <a:noFill/>
          </a:ln>
          <a:effectLst/>
        </p:spPr>
        <p:txBody>
          <a:bodyPr wrap="none" anchor="ctr"/>
          <a:lstStyle/>
          <a:p>
            <a:endParaRPr lang="en-US" sz="3266" dirty="0">
              <a:latin typeface="Lato Light" panose="020F0502020204030203" pitchFamily="34" charset="0"/>
            </a:endParaRPr>
          </a:p>
        </p:txBody>
      </p:sp>
      <p:sp>
        <p:nvSpPr>
          <p:cNvPr id="25" name="TextBox 24">
            <a:extLst>
              <a:ext uri="{FF2B5EF4-FFF2-40B4-BE49-F238E27FC236}">
                <a16:creationId xmlns:a16="http://schemas.microsoft.com/office/drawing/2014/main" id="{C5C5FC15-29B2-4D4E-A74F-7A276D55EDFE}"/>
              </a:ext>
            </a:extLst>
          </p:cNvPr>
          <p:cNvSpPr txBox="1"/>
          <p:nvPr/>
        </p:nvSpPr>
        <p:spPr>
          <a:xfrm>
            <a:off x="1250956" y="2193323"/>
            <a:ext cx="1015021" cy="338554"/>
          </a:xfrm>
          <a:prstGeom prst="rect">
            <a:avLst/>
          </a:prstGeom>
          <a:noFill/>
        </p:spPr>
        <p:txBody>
          <a:bodyPr wrap="none" rtlCol="0" anchor="b" anchorCtr="0">
            <a:spAutoFit/>
          </a:bodyPr>
          <a:lstStyle/>
          <a:p>
            <a:pPr algn="r"/>
            <a:r>
              <a:rPr lang="en-US" sz="1600" b="1" dirty="0">
                <a:solidFill>
                  <a:schemeClr val="bg1"/>
                </a:solidFill>
                <a:latin typeface="Segoe UI Light" panose="020B0502040204020203" pitchFamily="34" charset="0"/>
                <a:ea typeface="League Spartan" charset="0"/>
                <a:cs typeface="Poppins" pitchFamily="2" charset="77"/>
              </a:rPr>
              <a:t>Milestone</a:t>
            </a:r>
          </a:p>
        </p:txBody>
      </p:sp>
      <p:sp>
        <p:nvSpPr>
          <p:cNvPr id="26" name="Subtitle 2">
            <a:extLst>
              <a:ext uri="{FF2B5EF4-FFF2-40B4-BE49-F238E27FC236}">
                <a16:creationId xmlns:a16="http://schemas.microsoft.com/office/drawing/2014/main" id="{4C8F4756-1534-464B-80AB-69BE60E35946}"/>
              </a:ext>
            </a:extLst>
          </p:cNvPr>
          <p:cNvSpPr txBox="1">
            <a:spLocks/>
          </p:cNvSpPr>
          <p:nvPr/>
        </p:nvSpPr>
        <p:spPr>
          <a:xfrm>
            <a:off x="898517" y="2534972"/>
            <a:ext cx="1611857" cy="163910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spcBef>
                <a:spcPts val="0"/>
              </a:spcBef>
              <a:spcAft>
                <a:spcPts val="900"/>
              </a:spcAft>
            </a:pPr>
            <a:r>
              <a:rPr lang="en-US" sz="12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 Cum sociis natoque penatibus et magnis</a:t>
            </a:r>
          </a:p>
        </p:txBody>
      </p:sp>
      <p:sp>
        <p:nvSpPr>
          <p:cNvPr id="29" name="TextBox 28">
            <a:extLst>
              <a:ext uri="{FF2B5EF4-FFF2-40B4-BE49-F238E27FC236}">
                <a16:creationId xmlns:a16="http://schemas.microsoft.com/office/drawing/2014/main" id="{932A65F4-041F-394B-AEF5-CAB057703A0A}"/>
              </a:ext>
            </a:extLst>
          </p:cNvPr>
          <p:cNvSpPr txBox="1"/>
          <p:nvPr/>
        </p:nvSpPr>
        <p:spPr>
          <a:xfrm>
            <a:off x="3446733" y="2193323"/>
            <a:ext cx="1015021" cy="338554"/>
          </a:xfrm>
          <a:prstGeom prst="rect">
            <a:avLst/>
          </a:prstGeom>
          <a:noFill/>
        </p:spPr>
        <p:txBody>
          <a:bodyPr wrap="none" rtlCol="0" anchor="b" anchorCtr="0">
            <a:spAutoFit/>
          </a:bodyPr>
          <a:lstStyle/>
          <a:p>
            <a:pPr algn="r"/>
            <a:r>
              <a:rPr lang="en-US" sz="1600" b="1" dirty="0">
                <a:solidFill>
                  <a:schemeClr val="bg1"/>
                </a:solidFill>
                <a:latin typeface="Segoe UI Light" panose="020B0502040204020203" pitchFamily="34" charset="0"/>
                <a:ea typeface="League Spartan" charset="0"/>
                <a:cs typeface="Poppins" pitchFamily="2" charset="77"/>
              </a:rPr>
              <a:t>Milestone</a:t>
            </a:r>
          </a:p>
        </p:txBody>
      </p:sp>
      <p:sp>
        <p:nvSpPr>
          <p:cNvPr id="30" name="Subtitle 2">
            <a:extLst>
              <a:ext uri="{FF2B5EF4-FFF2-40B4-BE49-F238E27FC236}">
                <a16:creationId xmlns:a16="http://schemas.microsoft.com/office/drawing/2014/main" id="{DA72B6E5-5061-AF48-B362-DAD5DA0AA8D8}"/>
              </a:ext>
            </a:extLst>
          </p:cNvPr>
          <p:cNvSpPr txBox="1">
            <a:spLocks/>
          </p:cNvSpPr>
          <p:nvPr/>
        </p:nvSpPr>
        <p:spPr>
          <a:xfrm>
            <a:off x="3094294" y="2534972"/>
            <a:ext cx="1611857" cy="163910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spcBef>
                <a:spcPts val="0"/>
              </a:spcBef>
              <a:spcAft>
                <a:spcPts val="900"/>
              </a:spcAft>
            </a:pPr>
            <a:r>
              <a:rPr lang="en-US" sz="12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 Cum sociis natoque penatibus et magnis</a:t>
            </a:r>
          </a:p>
        </p:txBody>
      </p:sp>
      <p:sp>
        <p:nvSpPr>
          <p:cNvPr id="36" name="TextBox 35">
            <a:extLst>
              <a:ext uri="{FF2B5EF4-FFF2-40B4-BE49-F238E27FC236}">
                <a16:creationId xmlns:a16="http://schemas.microsoft.com/office/drawing/2014/main" id="{3FC6BDC1-FA16-8140-A4D3-225A77EA3414}"/>
              </a:ext>
            </a:extLst>
          </p:cNvPr>
          <p:cNvSpPr txBox="1"/>
          <p:nvPr/>
        </p:nvSpPr>
        <p:spPr>
          <a:xfrm>
            <a:off x="5642511" y="2193323"/>
            <a:ext cx="1015021" cy="338554"/>
          </a:xfrm>
          <a:prstGeom prst="rect">
            <a:avLst/>
          </a:prstGeom>
          <a:noFill/>
        </p:spPr>
        <p:txBody>
          <a:bodyPr wrap="none" rtlCol="0" anchor="b" anchorCtr="0">
            <a:spAutoFit/>
          </a:bodyPr>
          <a:lstStyle/>
          <a:p>
            <a:pPr algn="r"/>
            <a:r>
              <a:rPr lang="en-US" sz="1600" b="1" dirty="0">
                <a:solidFill>
                  <a:schemeClr val="bg1"/>
                </a:solidFill>
                <a:latin typeface="Segoe UI Light" panose="020B0502040204020203" pitchFamily="34" charset="0"/>
                <a:ea typeface="League Spartan" charset="0"/>
                <a:cs typeface="Poppins" pitchFamily="2" charset="77"/>
              </a:rPr>
              <a:t>Milestone</a:t>
            </a:r>
          </a:p>
        </p:txBody>
      </p:sp>
      <p:sp>
        <p:nvSpPr>
          <p:cNvPr id="37" name="Subtitle 2">
            <a:extLst>
              <a:ext uri="{FF2B5EF4-FFF2-40B4-BE49-F238E27FC236}">
                <a16:creationId xmlns:a16="http://schemas.microsoft.com/office/drawing/2014/main" id="{A7999A7F-24B6-0345-B7BC-16BAE99D4827}"/>
              </a:ext>
            </a:extLst>
          </p:cNvPr>
          <p:cNvSpPr txBox="1">
            <a:spLocks/>
          </p:cNvSpPr>
          <p:nvPr/>
        </p:nvSpPr>
        <p:spPr>
          <a:xfrm>
            <a:off x="5290072" y="2534972"/>
            <a:ext cx="1611857" cy="163910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spcBef>
                <a:spcPts val="0"/>
              </a:spcBef>
              <a:spcAft>
                <a:spcPts val="900"/>
              </a:spcAft>
            </a:pPr>
            <a:r>
              <a:rPr lang="en-US" sz="12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 Cum sociis natoque penatibus et magnis</a:t>
            </a:r>
          </a:p>
        </p:txBody>
      </p:sp>
      <p:sp>
        <p:nvSpPr>
          <p:cNvPr id="39" name="TextBox 38">
            <a:extLst>
              <a:ext uri="{FF2B5EF4-FFF2-40B4-BE49-F238E27FC236}">
                <a16:creationId xmlns:a16="http://schemas.microsoft.com/office/drawing/2014/main" id="{346529E6-40D4-4F48-B3C8-5A670C0721EA}"/>
              </a:ext>
            </a:extLst>
          </p:cNvPr>
          <p:cNvSpPr txBox="1"/>
          <p:nvPr/>
        </p:nvSpPr>
        <p:spPr>
          <a:xfrm>
            <a:off x="7838288" y="2193323"/>
            <a:ext cx="1015021" cy="338554"/>
          </a:xfrm>
          <a:prstGeom prst="rect">
            <a:avLst/>
          </a:prstGeom>
          <a:noFill/>
        </p:spPr>
        <p:txBody>
          <a:bodyPr wrap="none" rtlCol="0" anchor="b" anchorCtr="0">
            <a:spAutoFit/>
          </a:bodyPr>
          <a:lstStyle/>
          <a:p>
            <a:pPr algn="r"/>
            <a:r>
              <a:rPr lang="en-US" sz="1600" b="1" dirty="0">
                <a:solidFill>
                  <a:schemeClr val="bg1"/>
                </a:solidFill>
                <a:latin typeface="Segoe UI Light" panose="020B0502040204020203" pitchFamily="34" charset="0"/>
                <a:ea typeface="League Spartan" charset="0"/>
                <a:cs typeface="Poppins" pitchFamily="2" charset="77"/>
              </a:rPr>
              <a:t>Milestone</a:t>
            </a:r>
          </a:p>
        </p:txBody>
      </p:sp>
      <p:sp>
        <p:nvSpPr>
          <p:cNvPr id="40" name="Subtitle 2">
            <a:extLst>
              <a:ext uri="{FF2B5EF4-FFF2-40B4-BE49-F238E27FC236}">
                <a16:creationId xmlns:a16="http://schemas.microsoft.com/office/drawing/2014/main" id="{7CA5A667-135B-3042-BDA6-A82F9DD12E4E}"/>
              </a:ext>
            </a:extLst>
          </p:cNvPr>
          <p:cNvSpPr txBox="1">
            <a:spLocks/>
          </p:cNvSpPr>
          <p:nvPr/>
        </p:nvSpPr>
        <p:spPr>
          <a:xfrm>
            <a:off x="7485849" y="2534972"/>
            <a:ext cx="1611857" cy="163910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spcBef>
                <a:spcPts val="0"/>
              </a:spcBef>
              <a:spcAft>
                <a:spcPts val="900"/>
              </a:spcAft>
            </a:pPr>
            <a:r>
              <a:rPr lang="en-US" sz="12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 Cum sociis natoque penatibus et magnis</a:t>
            </a:r>
          </a:p>
        </p:txBody>
      </p:sp>
      <p:sp>
        <p:nvSpPr>
          <p:cNvPr id="42" name="TextBox 41">
            <a:extLst>
              <a:ext uri="{FF2B5EF4-FFF2-40B4-BE49-F238E27FC236}">
                <a16:creationId xmlns:a16="http://schemas.microsoft.com/office/drawing/2014/main" id="{D3F0CB12-360A-B945-8411-57A341EEC39E}"/>
              </a:ext>
            </a:extLst>
          </p:cNvPr>
          <p:cNvSpPr txBox="1"/>
          <p:nvPr/>
        </p:nvSpPr>
        <p:spPr>
          <a:xfrm>
            <a:off x="10034065" y="2193323"/>
            <a:ext cx="1015021" cy="338554"/>
          </a:xfrm>
          <a:prstGeom prst="rect">
            <a:avLst/>
          </a:prstGeom>
          <a:noFill/>
        </p:spPr>
        <p:txBody>
          <a:bodyPr wrap="none" rtlCol="0" anchor="b" anchorCtr="0">
            <a:spAutoFit/>
          </a:bodyPr>
          <a:lstStyle/>
          <a:p>
            <a:pPr algn="r"/>
            <a:r>
              <a:rPr lang="en-US" sz="1600" b="1" dirty="0">
                <a:solidFill>
                  <a:schemeClr val="bg1"/>
                </a:solidFill>
                <a:latin typeface="Segoe UI Light" panose="020B0502040204020203" pitchFamily="34" charset="0"/>
                <a:ea typeface="League Spartan" charset="0"/>
                <a:cs typeface="Poppins" pitchFamily="2" charset="77"/>
              </a:rPr>
              <a:t>Milestone</a:t>
            </a:r>
          </a:p>
        </p:txBody>
      </p:sp>
      <p:sp>
        <p:nvSpPr>
          <p:cNvPr id="43" name="Subtitle 2">
            <a:extLst>
              <a:ext uri="{FF2B5EF4-FFF2-40B4-BE49-F238E27FC236}">
                <a16:creationId xmlns:a16="http://schemas.microsoft.com/office/drawing/2014/main" id="{D55558BE-0CA3-CD40-9239-09F21139FA2F}"/>
              </a:ext>
            </a:extLst>
          </p:cNvPr>
          <p:cNvSpPr txBox="1">
            <a:spLocks/>
          </p:cNvSpPr>
          <p:nvPr/>
        </p:nvSpPr>
        <p:spPr>
          <a:xfrm>
            <a:off x="9681626" y="2534972"/>
            <a:ext cx="1611857" cy="163910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spcBef>
                <a:spcPts val="0"/>
              </a:spcBef>
              <a:spcAft>
                <a:spcPts val="900"/>
              </a:spcAft>
            </a:pPr>
            <a:r>
              <a:rPr lang="en-US" sz="12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 Cum sociis natoque penatibus et magnis</a:t>
            </a:r>
          </a:p>
        </p:txBody>
      </p:sp>
      <p:sp>
        <p:nvSpPr>
          <p:cNvPr id="44" name="TextBox 43">
            <a:extLst>
              <a:ext uri="{FF2B5EF4-FFF2-40B4-BE49-F238E27FC236}">
                <a16:creationId xmlns:a16="http://schemas.microsoft.com/office/drawing/2014/main" id="{EC1D77A3-89EC-C742-ACB8-6CB2F6C2D253}"/>
              </a:ext>
            </a:extLst>
          </p:cNvPr>
          <p:cNvSpPr txBox="1"/>
          <p:nvPr/>
        </p:nvSpPr>
        <p:spPr>
          <a:xfrm>
            <a:off x="1400517" y="6111361"/>
            <a:ext cx="607859" cy="338554"/>
          </a:xfrm>
          <a:prstGeom prst="rect">
            <a:avLst/>
          </a:prstGeom>
          <a:noFill/>
        </p:spPr>
        <p:txBody>
          <a:bodyPr wrap="none" rtlCol="0" anchor="ctr" anchorCtr="0">
            <a:spAutoFit/>
          </a:bodyPr>
          <a:lstStyle/>
          <a:p>
            <a:pPr algn="ctr"/>
            <a:r>
              <a:rPr lang="en-US" sz="1600" b="1" dirty="0">
                <a:solidFill>
                  <a:schemeClr val="accent1"/>
                </a:solidFill>
                <a:latin typeface="Segoe UI Light" panose="020B0502040204020203" pitchFamily="34" charset="0"/>
                <a:ea typeface="League Spartan" charset="0"/>
                <a:cs typeface="Poppins" pitchFamily="2" charset="77"/>
              </a:rPr>
              <a:t>2020</a:t>
            </a:r>
          </a:p>
        </p:txBody>
      </p:sp>
      <p:sp>
        <p:nvSpPr>
          <p:cNvPr id="45" name="TextBox 44">
            <a:extLst>
              <a:ext uri="{FF2B5EF4-FFF2-40B4-BE49-F238E27FC236}">
                <a16:creationId xmlns:a16="http://schemas.microsoft.com/office/drawing/2014/main" id="{65FEA4B1-FAB1-7B4E-BDD2-5FB1A070F658}"/>
              </a:ext>
            </a:extLst>
          </p:cNvPr>
          <p:cNvSpPr txBox="1"/>
          <p:nvPr/>
        </p:nvSpPr>
        <p:spPr>
          <a:xfrm>
            <a:off x="3611383" y="6111361"/>
            <a:ext cx="575799" cy="338554"/>
          </a:xfrm>
          <a:prstGeom prst="rect">
            <a:avLst/>
          </a:prstGeom>
          <a:noFill/>
        </p:spPr>
        <p:txBody>
          <a:bodyPr wrap="none" rtlCol="0" anchor="ctr" anchorCtr="0">
            <a:spAutoFit/>
          </a:bodyPr>
          <a:lstStyle/>
          <a:p>
            <a:pPr algn="ctr"/>
            <a:r>
              <a:rPr lang="en-US" sz="1600" b="1" dirty="0">
                <a:solidFill>
                  <a:schemeClr val="accent2"/>
                </a:solidFill>
                <a:latin typeface="Segoe UI Light" panose="020B0502040204020203" pitchFamily="34" charset="0"/>
                <a:ea typeface="League Spartan" charset="0"/>
                <a:cs typeface="Poppins" pitchFamily="2" charset="77"/>
              </a:rPr>
              <a:t>2021</a:t>
            </a:r>
          </a:p>
        </p:txBody>
      </p:sp>
      <p:sp>
        <p:nvSpPr>
          <p:cNvPr id="46" name="TextBox 45">
            <a:extLst>
              <a:ext uri="{FF2B5EF4-FFF2-40B4-BE49-F238E27FC236}">
                <a16:creationId xmlns:a16="http://schemas.microsoft.com/office/drawing/2014/main" id="{5D1BD5FE-FAB2-DA48-88AC-9820502F0891}"/>
              </a:ext>
            </a:extLst>
          </p:cNvPr>
          <p:cNvSpPr txBox="1"/>
          <p:nvPr/>
        </p:nvSpPr>
        <p:spPr>
          <a:xfrm>
            <a:off x="5792072" y="6111361"/>
            <a:ext cx="607859" cy="338554"/>
          </a:xfrm>
          <a:prstGeom prst="rect">
            <a:avLst/>
          </a:prstGeom>
          <a:noFill/>
        </p:spPr>
        <p:txBody>
          <a:bodyPr wrap="none" rtlCol="0" anchor="ctr" anchorCtr="0">
            <a:spAutoFit/>
          </a:bodyPr>
          <a:lstStyle/>
          <a:p>
            <a:pPr algn="ctr"/>
            <a:r>
              <a:rPr lang="en-US" sz="1600" b="1" dirty="0">
                <a:solidFill>
                  <a:schemeClr val="accent3"/>
                </a:solidFill>
                <a:latin typeface="Segoe UI Light" panose="020B0502040204020203" pitchFamily="34" charset="0"/>
                <a:ea typeface="League Spartan" charset="0"/>
                <a:cs typeface="Poppins" pitchFamily="2" charset="77"/>
              </a:rPr>
              <a:t>2022</a:t>
            </a:r>
          </a:p>
        </p:txBody>
      </p:sp>
      <p:sp>
        <p:nvSpPr>
          <p:cNvPr id="47" name="TextBox 46">
            <a:extLst>
              <a:ext uri="{FF2B5EF4-FFF2-40B4-BE49-F238E27FC236}">
                <a16:creationId xmlns:a16="http://schemas.microsoft.com/office/drawing/2014/main" id="{C214D705-53B3-B64F-952F-69233B4F1B6D}"/>
              </a:ext>
            </a:extLst>
          </p:cNvPr>
          <p:cNvSpPr txBox="1"/>
          <p:nvPr/>
        </p:nvSpPr>
        <p:spPr>
          <a:xfrm>
            <a:off x="7988790" y="6111361"/>
            <a:ext cx="607859" cy="338554"/>
          </a:xfrm>
          <a:prstGeom prst="rect">
            <a:avLst/>
          </a:prstGeom>
          <a:noFill/>
        </p:spPr>
        <p:txBody>
          <a:bodyPr wrap="none" rtlCol="0" anchor="ctr" anchorCtr="0">
            <a:spAutoFit/>
          </a:bodyPr>
          <a:lstStyle/>
          <a:p>
            <a:pPr algn="ctr"/>
            <a:r>
              <a:rPr lang="en-US" sz="1600" b="1" dirty="0">
                <a:solidFill>
                  <a:schemeClr val="accent4"/>
                </a:solidFill>
                <a:latin typeface="Segoe UI Light" panose="020B0502040204020203" pitchFamily="34" charset="0"/>
                <a:ea typeface="League Spartan" charset="0"/>
                <a:cs typeface="Poppins" pitchFamily="2" charset="77"/>
              </a:rPr>
              <a:t>2023</a:t>
            </a:r>
          </a:p>
        </p:txBody>
      </p:sp>
      <p:sp>
        <p:nvSpPr>
          <p:cNvPr id="48" name="TextBox 47">
            <a:extLst>
              <a:ext uri="{FF2B5EF4-FFF2-40B4-BE49-F238E27FC236}">
                <a16:creationId xmlns:a16="http://schemas.microsoft.com/office/drawing/2014/main" id="{408D4600-33AE-104B-AD32-B91140F96FF7}"/>
              </a:ext>
            </a:extLst>
          </p:cNvPr>
          <p:cNvSpPr txBox="1"/>
          <p:nvPr/>
        </p:nvSpPr>
        <p:spPr>
          <a:xfrm>
            <a:off x="10180139" y="6111361"/>
            <a:ext cx="611065" cy="338554"/>
          </a:xfrm>
          <a:prstGeom prst="rect">
            <a:avLst/>
          </a:prstGeom>
          <a:noFill/>
        </p:spPr>
        <p:txBody>
          <a:bodyPr wrap="none" rtlCol="0" anchor="ctr" anchorCtr="0">
            <a:spAutoFit/>
          </a:bodyPr>
          <a:lstStyle/>
          <a:p>
            <a:pPr algn="ctr"/>
            <a:r>
              <a:rPr lang="en-US" sz="1600" b="1" dirty="0">
                <a:solidFill>
                  <a:schemeClr val="accent5"/>
                </a:solidFill>
                <a:latin typeface="Segoe UI Light" panose="020B0502040204020203" pitchFamily="34" charset="0"/>
                <a:ea typeface="League Spartan" charset="0"/>
                <a:cs typeface="Poppins" pitchFamily="2" charset="77"/>
              </a:rPr>
              <a:t>2024</a:t>
            </a:r>
          </a:p>
        </p:txBody>
      </p:sp>
      <p:sp>
        <p:nvSpPr>
          <p:cNvPr id="35" name="Titel 1">
            <a:extLst>
              <a:ext uri="{FF2B5EF4-FFF2-40B4-BE49-F238E27FC236}">
                <a16:creationId xmlns:a16="http://schemas.microsoft.com/office/drawing/2014/main" id="{DDC6F846-C05B-4EB7-99B1-BE08DE3D9CD2}"/>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Product roadmap</a:t>
            </a:r>
          </a:p>
        </p:txBody>
      </p:sp>
    </p:spTree>
    <p:custDataLst>
      <p:tags r:id="rId1"/>
    </p:custDataLst>
    <p:extLst>
      <p:ext uri="{BB962C8B-B14F-4D97-AF65-F5344CB8AC3E}">
        <p14:creationId xmlns:p14="http://schemas.microsoft.com/office/powerpoint/2010/main" val="19206203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a:extLst>
              <a:ext uri="{FF2B5EF4-FFF2-40B4-BE49-F238E27FC236}">
                <a16:creationId xmlns:a16="http://schemas.microsoft.com/office/drawing/2014/main" id="{97E080E8-FE16-AD4F-8474-F087344020C5}"/>
              </a:ext>
            </a:extLst>
          </p:cNvPr>
          <p:cNvSpPr/>
          <p:nvPr/>
        </p:nvSpPr>
        <p:spPr>
          <a:xfrm rot="5400000">
            <a:off x="5940126" y="1918595"/>
            <a:ext cx="3042464" cy="2426817"/>
          </a:xfrm>
          <a:custGeom>
            <a:avLst/>
            <a:gdLst>
              <a:gd name="connsiteX0" fmla="*/ 4443713 w 6084927"/>
              <a:gd name="connsiteY0" fmla="*/ 4079819 h 4853633"/>
              <a:gd name="connsiteX1" fmla="*/ 4443713 w 6084927"/>
              <a:gd name="connsiteY1" fmla="*/ 0 h 4853633"/>
              <a:gd name="connsiteX2" fmla="*/ 6084927 w 6084927"/>
              <a:gd name="connsiteY2" fmla="*/ 2039910 h 4853633"/>
              <a:gd name="connsiteX3" fmla="*/ 0 w 6084927"/>
              <a:gd name="connsiteY3" fmla="*/ 4816737 h 4853633"/>
              <a:gd name="connsiteX4" fmla="*/ 8488 w 6084927"/>
              <a:gd name="connsiteY4" fmla="*/ 4702750 h 4853633"/>
              <a:gd name="connsiteX5" fmla="*/ 4338710 w 6084927"/>
              <a:gd name="connsiteY5" fmla="*/ 574816 h 4853633"/>
              <a:gd name="connsiteX6" fmla="*/ 4443712 w 6084927"/>
              <a:gd name="connsiteY6" fmla="*/ 572161 h 4853633"/>
              <a:gd name="connsiteX7" fmla="*/ 4443712 w 6084927"/>
              <a:gd name="connsiteY7" fmla="*/ 3513727 h 4853633"/>
              <a:gd name="connsiteX8" fmla="*/ 4406101 w 6084927"/>
              <a:gd name="connsiteY8" fmla="*/ 3515627 h 4853633"/>
              <a:gd name="connsiteX9" fmla="*/ 2954035 w 6084927"/>
              <a:gd name="connsiteY9" fmla="*/ 4845028 h 4853633"/>
              <a:gd name="connsiteX10" fmla="*/ 2952776 w 6084927"/>
              <a:gd name="connsiteY10" fmla="*/ 4853633 h 4853633"/>
              <a:gd name="connsiteX11" fmla="*/ 1453459 w 6084927"/>
              <a:gd name="connsiteY11" fmla="*/ 3647353 h 485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84927" h="4853633">
                <a:moveTo>
                  <a:pt x="4443713" y="4079819"/>
                </a:moveTo>
                <a:lnTo>
                  <a:pt x="4443713" y="0"/>
                </a:lnTo>
                <a:lnTo>
                  <a:pt x="6084927" y="2039910"/>
                </a:lnTo>
                <a:close/>
                <a:moveTo>
                  <a:pt x="0" y="4816737"/>
                </a:moveTo>
                <a:lnTo>
                  <a:pt x="8488" y="4702750"/>
                </a:lnTo>
                <a:cubicBezTo>
                  <a:pt x="229182" y="2459185"/>
                  <a:pt x="2065764" y="690032"/>
                  <a:pt x="4338710" y="574816"/>
                </a:cubicBezTo>
                <a:lnTo>
                  <a:pt x="4443712" y="572161"/>
                </a:lnTo>
                <a:lnTo>
                  <a:pt x="4443712" y="3513727"/>
                </a:lnTo>
                <a:lnTo>
                  <a:pt x="4406101" y="3515627"/>
                </a:lnTo>
                <a:cubicBezTo>
                  <a:pt x="3677933" y="3589575"/>
                  <a:pt x="3089712" y="4136909"/>
                  <a:pt x="2954035" y="4845028"/>
                </a:cubicBezTo>
                <a:lnTo>
                  <a:pt x="2952776" y="4853633"/>
                </a:lnTo>
                <a:lnTo>
                  <a:pt x="1453459" y="364735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78" name="Freeform 77">
            <a:extLst>
              <a:ext uri="{FF2B5EF4-FFF2-40B4-BE49-F238E27FC236}">
                <a16:creationId xmlns:a16="http://schemas.microsoft.com/office/drawing/2014/main" id="{C7F12D52-9E92-0440-8E4C-A3DF1695168F}"/>
              </a:ext>
            </a:extLst>
          </p:cNvPr>
          <p:cNvSpPr/>
          <p:nvPr/>
        </p:nvSpPr>
        <p:spPr>
          <a:xfrm rot="5400000">
            <a:off x="4116090" y="1009966"/>
            <a:ext cx="2427421" cy="3042579"/>
          </a:xfrm>
          <a:custGeom>
            <a:avLst/>
            <a:gdLst>
              <a:gd name="connsiteX0" fmla="*/ 576010 w 4854841"/>
              <a:gd name="connsiteY0" fmla="*/ 1641215 h 6085158"/>
              <a:gd name="connsiteX1" fmla="*/ 3517577 w 4854841"/>
              <a:gd name="connsiteY1" fmla="*/ 1641215 h 6085158"/>
              <a:gd name="connsiteX2" fmla="*/ 3519477 w 4854841"/>
              <a:gd name="connsiteY2" fmla="*/ 1678825 h 6085158"/>
              <a:gd name="connsiteX3" fmla="*/ 4848877 w 4854841"/>
              <a:gd name="connsiteY3" fmla="*/ 3130891 h 6085158"/>
              <a:gd name="connsiteX4" fmla="*/ 4854841 w 4854841"/>
              <a:gd name="connsiteY4" fmla="*/ 3131763 h 6085158"/>
              <a:gd name="connsiteX5" fmla="*/ 3651200 w 4854841"/>
              <a:gd name="connsiteY5" fmla="*/ 4627801 h 6085158"/>
              <a:gd name="connsiteX6" fmla="*/ 4823720 w 4854841"/>
              <a:gd name="connsiteY6" fmla="*/ 6085158 h 6085158"/>
              <a:gd name="connsiteX7" fmla="*/ 4706599 w 4854841"/>
              <a:gd name="connsiteY7" fmla="*/ 6076438 h 6085158"/>
              <a:gd name="connsiteX8" fmla="*/ 578665 w 4854841"/>
              <a:gd name="connsiteY8" fmla="*/ 1746216 h 6085158"/>
              <a:gd name="connsiteX9" fmla="*/ 0 w 4854841"/>
              <a:gd name="connsiteY9" fmla="*/ 1641214 h 6085158"/>
              <a:gd name="connsiteX10" fmla="*/ 2039910 w 4854841"/>
              <a:gd name="connsiteY10" fmla="*/ 0 h 6085158"/>
              <a:gd name="connsiteX11" fmla="*/ 4079818 w 4854841"/>
              <a:gd name="connsiteY11" fmla="*/ 1641214 h 6085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4841" h="6085158">
                <a:moveTo>
                  <a:pt x="576010" y="1641215"/>
                </a:moveTo>
                <a:lnTo>
                  <a:pt x="3517577" y="1641215"/>
                </a:lnTo>
                <a:lnTo>
                  <a:pt x="3519477" y="1678825"/>
                </a:lnTo>
                <a:cubicBezTo>
                  <a:pt x="3593425" y="2406993"/>
                  <a:pt x="4140758" y="2995213"/>
                  <a:pt x="4848877" y="3130891"/>
                </a:cubicBezTo>
                <a:lnTo>
                  <a:pt x="4854841" y="3131763"/>
                </a:lnTo>
                <a:lnTo>
                  <a:pt x="3651200" y="4627801"/>
                </a:lnTo>
                <a:lnTo>
                  <a:pt x="4823720" y="6085158"/>
                </a:lnTo>
                <a:lnTo>
                  <a:pt x="4706599" y="6076438"/>
                </a:lnTo>
                <a:cubicBezTo>
                  <a:pt x="2463034" y="5855743"/>
                  <a:pt x="693881" y="4019161"/>
                  <a:pt x="578665" y="1746216"/>
                </a:cubicBezTo>
                <a:close/>
                <a:moveTo>
                  <a:pt x="0" y="1641214"/>
                </a:moveTo>
                <a:lnTo>
                  <a:pt x="2039910" y="0"/>
                </a:lnTo>
                <a:lnTo>
                  <a:pt x="4079818" y="164121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79" name="Freeform 78">
            <a:extLst>
              <a:ext uri="{FF2B5EF4-FFF2-40B4-BE49-F238E27FC236}">
                <a16:creationId xmlns:a16="http://schemas.microsoft.com/office/drawing/2014/main" id="{D4F77FFF-CB03-7340-A4D2-2EEFD0C7B4D9}"/>
              </a:ext>
            </a:extLst>
          </p:cNvPr>
          <p:cNvSpPr/>
          <p:nvPr/>
        </p:nvSpPr>
        <p:spPr>
          <a:xfrm rot="5400000">
            <a:off x="3209547" y="3450834"/>
            <a:ext cx="3042737" cy="2427361"/>
          </a:xfrm>
          <a:custGeom>
            <a:avLst/>
            <a:gdLst>
              <a:gd name="connsiteX0" fmla="*/ 1641214 w 6085474"/>
              <a:gd name="connsiteY0" fmla="*/ 4282378 h 4854721"/>
              <a:gd name="connsiteX1" fmla="*/ 1641215 w 6085474"/>
              <a:gd name="connsiteY1" fmla="*/ 1340812 h 4854721"/>
              <a:gd name="connsiteX2" fmla="*/ 1678826 w 6085474"/>
              <a:gd name="connsiteY2" fmla="*/ 1338912 h 4854721"/>
              <a:gd name="connsiteX3" fmla="*/ 3130892 w 6085474"/>
              <a:gd name="connsiteY3" fmla="*/ 9511 h 4854721"/>
              <a:gd name="connsiteX4" fmla="*/ 3132283 w 6085474"/>
              <a:gd name="connsiteY4" fmla="*/ 0 h 4854721"/>
              <a:gd name="connsiteX5" fmla="*/ 4627802 w 6085474"/>
              <a:gd name="connsiteY5" fmla="*/ 1203224 h 4854721"/>
              <a:gd name="connsiteX6" fmla="*/ 6085474 w 6085474"/>
              <a:gd name="connsiteY6" fmla="*/ 30450 h 4854721"/>
              <a:gd name="connsiteX7" fmla="*/ 6076439 w 6085474"/>
              <a:gd name="connsiteY7" fmla="*/ 151789 h 4854721"/>
              <a:gd name="connsiteX8" fmla="*/ 1746217 w 6085474"/>
              <a:gd name="connsiteY8" fmla="*/ 4279723 h 4854721"/>
              <a:gd name="connsiteX9" fmla="*/ 0 w 6085474"/>
              <a:gd name="connsiteY9" fmla="*/ 2814812 h 4854721"/>
              <a:gd name="connsiteX10" fmla="*/ 1641214 w 6085474"/>
              <a:gd name="connsiteY10" fmla="*/ 774903 h 4854721"/>
              <a:gd name="connsiteX11" fmla="*/ 1641214 w 6085474"/>
              <a:gd name="connsiteY11" fmla="*/ 4282378 h 4854721"/>
              <a:gd name="connsiteX12" fmla="*/ 1641214 w 6085474"/>
              <a:gd name="connsiteY12" fmla="*/ 4854721 h 4854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5474" h="4854721">
                <a:moveTo>
                  <a:pt x="1641214" y="4282378"/>
                </a:moveTo>
                <a:lnTo>
                  <a:pt x="1641215" y="1340812"/>
                </a:lnTo>
                <a:lnTo>
                  <a:pt x="1678826" y="1338912"/>
                </a:lnTo>
                <a:cubicBezTo>
                  <a:pt x="2406993" y="1264963"/>
                  <a:pt x="2995214" y="717630"/>
                  <a:pt x="3130892" y="9511"/>
                </a:cubicBezTo>
                <a:lnTo>
                  <a:pt x="3132283" y="0"/>
                </a:lnTo>
                <a:lnTo>
                  <a:pt x="4627802" y="1203224"/>
                </a:lnTo>
                <a:lnTo>
                  <a:pt x="6085474" y="30450"/>
                </a:lnTo>
                <a:lnTo>
                  <a:pt x="6076439" y="151789"/>
                </a:lnTo>
                <a:cubicBezTo>
                  <a:pt x="5855745" y="2395354"/>
                  <a:pt x="4019161" y="4164506"/>
                  <a:pt x="1746217" y="4279723"/>
                </a:cubicBezTo>
                <a:close/>
                <a:moveTo>
                  <a:pt x="0" y="2814812"/>
                </a:moveTo>
                <a:lnTo>
                  <a:pt x="1641214" y="774903"/>
                </a:lnTo>
                <a:lnTo>
                  <a:pt x="1641214" y="4282378"/>
                </a:lnTo>
                <a:lnTo>
                  <a:pt x="1641214" y="485472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80" name="Freeform 79">
            <a:extLst>
              <a:ext uri="{FF2B5EF4-FFF2-40B4-BE49-F238E27FC236}">
                <a16:creationId xmlns:a16="http://schemas.microsoft.com/office/drawing/2014/main" id="{E067C105-1CEF-584F-A511-47FFD8134067}"/>
              </a:ext>
            </a:extLst>
          </p:cNvPr>
          <p:cNvSpPr/>
          <p:nvPr/>
        </p:nvSpPr>
        <p:spPr>
          <a:xfrm rot="5400000">
            <a:off x="5650526" y="3743939"/>
            <a:ext cx="2425519" cy="3040604"/>
          </a:xfrm>
          <a:custGeom>
            <a:avLst/>
            <a:gdLst>
              <a:gd name="connsiteX0" fmla="*/ 0 w 4851038"/>
              <a:gd name="connsiteY0" fmla="*/ 2953426 h 6081207"/>
              <a:gd name="connsiteX1" fmla="*/ 1203508 w 4851038"/>
              <a:gd name="connsiteY1" fmla="*/ 1457554 h 6081207"/>
              <a:gd name="connsiteX2" fmla="*/ 30830 w 4851038"/>
              <a:gd name="connsiteY2" fmla="*/ 0 h 6081207"/>
              <a:gd name="connsiteX3" fmla="*/ 148106 w 4851038"/>
              <a:gd name="connsiteY3" fmla="*/ 8732 h 6081207"/>
              <a:gd name="connsiteX4" fmla="*/ 4276040 w 4851038"/>
              <a:gd name="connsiteY4" fmla="*/ 4338954 h 6081207"/>
              <a:gd name="connsiteX5" fmla="*/ 4278596 w 4851038"/>
              <a:gd name="connsiteY5" fmla="*/ 4439993 h 6081207"/>
              <a:gd name="connsiteX6" fmla="*/ 4851038 w 4851038"/>
              <a:gd name="connsiteY6" fmla="*/ 4439993 h 6081207"/>
              <a:gd name="connsiteX7" fmla="*/ 2811130 w 4851038"/>
              <a:gd name="connsiteY7" fmla="*/ 6081207 h 6081207"/>
              <a:gd name="connsiteX8" fmla="*/ 771222 w 4851038"/>
              <a:gd name="connsiteY8" fmla="*/ 4439993 h 6081207"/>
              <a:gd name="connsiteX9" fmla="*/ 1336928 w 4851038"/>
              <a:gd name="connsiteY9" fmla="*/ 4439993 h 6081207"/>
              <a:gd name="connsiteX10" fmla="*/ 1335228 w 4851038"/>
              <a:gd name="connsiteY10" fmla="*/ 4406346 h 6081207"/>
              <a:gd name="connsiteX11" fmla="*/ 5829 w 4851038"/>
              <a:gd name="connsiteY11" fmla="*/ 2954279 h 608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1038" h="6081207">
                <a:moveTo>
                  <a:pt x="0" y="2953426"/>
                </a:moveTo>
                <a:lnTo>
                  <a:pt x="1203508" y="1457554"/>
                </a:lnTo>
                <a:lnTo>
                  <a:pt x="30830" y="0"/>
                </a:lnTo>
                <a:lnTo>
                  <a:pt x="148106" y="8732"/>
                </a:lnTo>
                <a:cubicBezTo>
                  <a:pt x="2391672" y="229427"/>
                  <a:pt x="4160825" y="2066009"/>
                  <a:pt x="4276040" y="4338954"/>
                </a:cubicBezTo>
                <a:lnTo>
                  <a:pt x="4278596" y="4439993"/>
                </a:lnTo>
                <a:lnTo>
                  <a:pt x="4851038" y="4439993"/>
                </a:lnTo>
                <a:lnTo>
                  <a:pt x="2811130" y="6081207"/>
                </a:lnTo>
                <a:lnTo>
                  <a:pt x="771222" y="4439993"/>
                </a:lnTo>
                <a:lnTo>
                  <a:pt x="1336928" y="4439993"/>
                </a:lnTo>
                <a:lnTo>
                  <a:pt x="1335228" y="4406346"/>
                </a:lnTo>
                <a:cubicBezTo>
                  <a:pt x="1261280" y="3678178"/>
                  <a:pt x="713947" y="3089956"/>
                  <a:pt x="5829" y="2954279"/>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37" name="TextBox 36">
            <a:extLst>
              <a:ext uri="{FF2B5EF4-FFF2-40B4-BE49-F238E27FC236}">
                <a16:creationId xmlns:a16="http://schemas.microsoft.com/office/drawing/2014/main" id="{9972781B-B6B7-2144-AF4A-4E37DC8B0E24}"/>
              </a:ext>
            </a:extLst>
          </p:cNvPr>
          <p:cNvSpPr txBox="1"/>
          <p:nvPr/>
        </p:nvSpPr>
        <p:spPr>
          <a:xfrm>
            <a:off x="5905943" y="2060501"/>
            <a:ext cx="582211" cy="553998"/>
          </a:xfrm>
          <a:prstGeom prst="rect">
            <a:avLst/>
          </a:prstGeom>
          <a:noFill/>
        </p:spPr>
        <p:txBody>
          <a:bodyPr wrap="none" rtlCol="0" anchor="ctr" anchorCtr="0">
            <a:spAutoFit/>
          </a:bodyPr>
          <a:lstStyle/>
          <a:p>
            <a:pPr algn="ctr"/>
            <a:r>
              <a:rPr lang="en-US" sz="3000" b="1" dirty="0">
                <a:solidFill>
                  <a:schemeClr val="bg1"/>
                </a:solidFill>
                <a:latin typeface="Segoe UI Light" panose="020B0502040204020203" pitchFamily="34" charset="0"/>
                <a:ea typeface="League Spartan" charset="0"/>
                <a:cs typeface="Poppins" pitchFamily="2" charset="77"/>
              </a:rPr>
              <a:t>02</a:t>
            </a:r>
          </a:p>
        </p:txBody>
      </p:sp>
      <p:sp>
        <p:nvSpPr>
          <p:cNvPr id="38" name="TextBox 37">
            <a:extLst>
              <a:ext uri="{FF2B5EF4-FFF2-40B4-BE49-F238E27FC236}">
                <a16:creationId xmlns:a16="http://schemas.microsoft.com/office/drawing/2014/main" id="{1BA5758D-B06A-164F-96B8-6B714E82279D}"/>
              </a:ext>
            </a:extLst>
          </p:cNvPr>
          <p:cNvSpPr txBox="1"/>
          <p:nvPr/>
        </p:nvSpPr>
        <p:spPr>
          <a:xfrm>
            <a:off x="5702712" y="5180047"/>
            <a:ext cx="588623" cy="553998"/>
          </a:xfrm>
          <a:prstGeom prst="rect">
            <a:avLst/>
          </a:prstGeom>
          <a:noFill/>
        </p:spPr>
        <p:txBody>
          <a:bodyPr wrap="none" rtlCol="0" anchor="ctr" anchorCtr="0">
            <a:spAutoFit/>
          </a:bodyPr>
          <a:lstStyle/>
          <a:p>
            <a:pPr algn="ctr"/>
            <a:r>
              <a:rPr lang="en-US" sz="3000" b="1" dirty="0">
                <a:solidFill>
                  <a:schemeClr val="bg1"/>
                </a:solidFill>
                <a:latin typeface="Segoe UI Light" panose="020B0502040204020203" pitchFamily="34" charset="0"/>
                <a:ea typeface="League Spartan" charset="0"/>
                <a:cs typeface="Poppins" pitchFamily="2" charset="77"/>
              </a:rPr>
              <a:t>04</a:t>
            </a:r>
          </a:p>
        </p:txBody>
      </p:sp>
      <p:sp>
        <p:nvSpPr>
          <p:cNvPr id="39" name="TextBox 38">
            <a:extLst>
              <a:ext uri="{FF2B5EF4-FFF2-40B4-BE49-F238E27FC236}">
                <a16:creationId xmlns:a16="http://schemas.microsoft.com/office/drawing/2014/main" id="{7F8A3664-E360-3648-90C6-85B65E6B8EE1}"/>
              </a:ext>
            </a:extLst>
          </p:cNvPr>
          <p:cNvSpPr txBox="1"/>
          <p:nvPr/>
        </p:nvSpPr>
        <p:spPr>
          <a:xfrm>
            <a:off x="7363705" y="3634500"/>
            <a:ext cx="582211" cy="553998"/>
          </a:xfrm>
          <a:prstGeom prst="rect">
            <a:avLst/>
          </a:prstGeom>
          <a:noFill/>
        </p:spPr>
        <p:txBody>
          <a:bodyPr wrap="none" rtlCol="0" anchor="ctr" anchorCtr="0">
            <a:spAutoFit/>
          </a:bodyPr>
          <a:lstStyle/>
          <a:p>
            <a:pPr algn="ctr"/>
            <a:r>
              <a:rPr lang="en-US" sz="3000" b="1" dirty="0">
                <a:solidFill>
                  <a:schemeClr val="bg1"/>
                </a:solidFill>
                <a:latin typeface="Segoe UI Light" panose="020B0502040204020203" pitchFamily="34" charset="0"/>
                <a:ea typeface="League Spartan" charset="0"/>
                <a:cs typeface="Poppins" pitchFamily="2" charset="77"/>
              </a:rPr>
              <a:t>03</a:t>
            </a:r>
          </a:p>
        </p:txBody>
      </p:sp>
      <p:sp>
        <p:nvSpPr>
          <p:cNvPr id="40" name="TextBox 39">
            <a:extLst>
              <a:ext uri="{FF2B5EF4-FFF2-40B4-BE49-F238E27FC236}">
                <a16:creationId xmlns:a16="http://schemas.microsoft.com/office/drawing/2014/main" id="{6D1BAE2C-333A-AA4C-91DE-D9FACA6B49EC}"/>
              </a:ext>
            </a:extLst>
          </p:cNvPr>
          <p:cNvSpPr txBox="1"/>
          <p:nvPr/>
        </p:nvSpPr>
        <p:spPr>
          <a:xfrm>
            <a:off x="4276541" y="3530366"/>
            <a:ext cx="521297" cy="553998"/>
          </a:xfrm>
          <a:prstGeom prst="rect">
            <a:avLst/>
          </a:prstGeom>
          <a:noFill/>
        </p:spPr>
        <p:txBody>
          <a:bodyPr wrap="none" rtlCol="0" anchor="ctr" anchorCtr="0">
            <a:spAutoFit/>
          </a:bodyPr>
          <a:lstStyle/>
          <a:p>
            <a:pPr algn="ctr"/>
            <a:r>
              <a:rPr lang="en-US" sz="3000" b="1" dirty="0">
                <a:solidFill>
                  <a:schemeClr val="bg1"/>
                </a:solidFill>
                <a:latin typeface="Segoe UI Light" panose="020B0502040204020203" pitchFamily="34" charset="0"/>
                <a:ea typeface="League Spartan" charset="0"/>
                <a:cs typeface="Poppins" pitchFamily="2" charset="77"/>
              </a:rPr>
              <a:t>01</a:t>
            </a:r>
          </a:p>
        </p:txBody>
      </p:sp>
      <p:sp>
        <p:nvSpPr>
          <p:cNvPr id="41" name="TextBox 40">
            <a:extLst>
              <a:ext uri="{FF2B5EF4-FFF2-40B4-BE49-F238E27FC236}">
                <a16:creationId xmlns:a16="http://schemas.microsoft.com/office/drawing/2014/main" id="{8ADFDCBB-0C84-684C-9987-EEA7C6E6AEA9}"/>
              </a:ext>
            </a:extLst>
          </p:cNvPr>
          <p:cNvSpPr txBox="1"/>
          <p:nvPr/>
        </p:nvSpPr>
        <p:spPr>
          <a:xfrm>
            <a:off x="8821823" y="1772333"/>
            <a:ext cx="1471493"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3</a:t>
            </a:r>
          </a:p>
        </p:txBody>
      </p:sp>
      <p:sp>
        <p:nvSpPr>
          <p:cNvPr id="42" name="Subtitle 2">
            <a:extLst>
              <a:ext uri="{FF2B5EF4-FFF2-40B4-BE49-F238E27FC236}">
                <a16:creationId xmlns:a16="http://schemas.microsoft.com/office/drawing/2014/main" id="{6C0E2967-ED4D-E041-A7BA-92F5A5E37A00}"/>
              </a:ext>
            </a:extLst>
          </p:cNvPr>
          <p:cNvSpPr txBox="1">
            <a:spLocks/>
          </p:cNvSpPr>
          <p:nvPr/>
        </p:nvSpPr>
        <p:spPr>
          <a:xfrm>
            <a:off x="8821824" y="2160412"/>
            <a:ext cx="2608177" cy="946606"/>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a:t>
            </a:r>
          </a:p>
        </p:txBody>
      </p:sp>
      <p:sp>
        <p:nvSpPr>
          <p:cNvPr id="45" name="TextBox 44">
            <a:extLst>
              <a:ext uri="{FF2B5EF4-FFF2-40B4-BE49-F238E27FC236}">
                <a16:creationId xmlns:a16="http://schemas.microsoft.com/office/drawing/2014/main" id="{B615510F-0DD7-EF43-B8C2-F27C9026760C}"/>
              </a:ext>
            </a:extLst>
          </p:cNvPr>
          <p:cNvSpPr txBox="1"/>
          <p:nvPr/>
        </p:nvSpPr>
        <p:spPr>
          <a:xfrm>
            <a:off x="8821823" y="4512124"/>
            <a:ext cx="1474699"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4</a:t>
            </a:r>
          </a:p>
        </p:txBody>
      </p:sp>
      <p:sp>
        <p:nvSpPr>
          <p:cNvPr id="46" name="Subtitle 2">
            <a:extLst>
              <a:ext uri="{FF2B5EF4-FFF2-40B4-BE49-F238E27FC236}">
                <a16:creationId xmlns:a16="http://schemas.microsoft.com/office/drawing/2014/main" id="{02DB20CD-C485-754B-A6B1-4E1CA52727C6}"/>
              </a:ext>
            </a:extLst>
          </p:cNvPr>
          <p:cNvSpPr txBox="1">
            <a:spLocks/>
          </p:cNvSpPr>
          <p:nvPr/>
        </p:nvSpPr>
        <p:spPr>
          <a:xfrm>
            <a:off x="8821824" y="4900203"/>
            <a:ext cx="2608177" cy="946606"/>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a:t>
            </a:r>
          </a:p>
        </p:txBody>
      </p:sp>
      <p:sp>
        <p:nvSpPr>
          <p:cNvPr id="48" name="TextBox 47">
            <a:extLst>
              <a:ext uri="{FF2B5EF4-FFF2-40B4-BE49-F238E27FC236}">
                <a16:creationId xmlns:a16="http://schemas.microsoft.com/office/drawing/2014/main" id="{495486BC-1AF2-ED46-B24E-161563522D08}"/>
              </a:ext>
            </a:extLst>
          </p:cNvPr>
          <p:cNvSpPr txBox="1"/>
          <p:nvPr/>
        </p:nvSpPr>
        <p:spPr>
          <a:xfrm>
            <a:off x="1895942" y="1772333"/>
            <a:ext cx="1471493" cy="338554"/>
          </a:xfrm>
          <a:prstGeom prst="rect">
            <a:avLst/>
          </a:prstGeom>
          <a:noFill/>
        </p:spPr>
        <p:txBody>
          <a:bodyPr wrap="none" rtlCol="0" anchor="b" anchorCtr="0">
            <a:spAutoFit/>
          </a:bodyPr>
          <a:lstStyle/>
          <a:p>
            <a:pPr algn="r"/>
            <a:r>
              <a:rPr lang="en-US" sz="1600" b="1" dirty="0">
                <a:solidFill>
                  <a:schemeClr val="tx2"/>
                </a:solidFill>
                <a:latin typeface="Segoe UI Light" panose="020B0502040204020203" pitchFamily="34" charset="0"/>
                <a:ea typeface="League Spartan" charset="0"/>
                <a:cs typeface="Poppins" pitchFamily="2" charset="77"/>
              </a:rPr>
              <a:t>YOUR TITLE 02</a:t>
            </a:r>
          </a:p>
        </p:txBody>
      </p:sp>
      <p:sp>
        <p:nvSpPr>
          <p:cNvPr id="49" name="Subtitle 2">
            <a:extLst>
              <a:ext uri="{FF2B5EF4-FFF2-40B4-BE49-F238E27FC236}">
                <a16:creationId xmlns:a16="http://schemas.microsoft.com/office/drawing/2014/main" id="{A3F49A70-0329-F34C-A3CB-FAEC305A76C9}"/>
              </a:ext>
            </a:extLst>
          </p:cNvPr>
          <p:cNvSpPr txBox="1">
            <a:spLocks/>
          </p:cNvSpPr>
          <p:nvPr/>
        </p:nvSpPr>
        <p:spPr>
          <a:xfrm>
            <a:off x="759259" y="2160412"/>
            <a:ext cx="2608177" cy="946606"/>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a:t>
            </a:r>
          </a:p>
        </p:txBody>
      </p:sp>
      <p:sp>
        <p:nvSpPr>
          <p:cNvPr id="51" name="TextBox 50">
            <a:extLst>
              <a:ext uri="{FF2B5EF4-FFF2-40B4-BE49-F238E27FC236}">
                <a16:creationId xmlns:a16="http://schemas.microsoft.com/office/drawing/2014/main" id="{BE40FC42-B6C4-5A40-9AB6-75047875B6D3}"/>
              </a:ext>
            </a:extLst>
          </p:cNvPr>
          <p:cNvSpPr txBox="1"/>
          <p:nvPr/>
        </p:nvSpPr>
        <p:spPr>
          <a:xfrm>
            <a:off x="1928003" y="4512124"/>
            <a:ext cx="1439432" cy="338554"/>
          </a:xfrm>
          <a:prstGeom prst="rect">
            <a:avLst/>
          </a:prstGeom>
          <a:noFill/>
        </p:spPr>
        <p:txBody>
          <a:bodyPr wrap="none" rtlCol="0" anchor="b" anchorCtr="0">
            <a:spAutoFit/>
          </a:bodyPr>
          <a:lstStyle/>
          <a:p>
            <a:pPr algn="r"/>
            <a:r>
              <a:rPr lang="en-US" sz="1600" b="1" dirty="0">
                <a:solidFill>
                  <a:schemeClr val="tx2"/>
                </a:solidFill>
                <a:latin typeface="Segoe UI Light" panose="020B0502040204020203" pitchFamily="34" charset="0"/>
                <a:ea typeface="League Spartan" charset="0"/>
                <a:cs typeface="Poppins" pitchFamily="2" charset="77"/>
              </a:rPr>
              <a:t>YOUR TITLE 01</a:t>
            </a:r>
          </a:p>
        </p:txBody>
      </p:sp>
      <p:sp>
        <p:nvSpPr>
          <p:cNvPr id="52" name="Subtitle 2">
            <a:extLst>
              <a:ext uri="{FF2B5EF4-FFF2-40B4-BE49-F238E27FC236}">
                <a16:creationId xmlns:a16="http://schemas.microsoft.com/office/drawing/2014/main" id="{F2E8D031-3A30-5044-BC54-E2654874F146}"/>
              </a:ext>
            </a:extLst>
          </p:cNvPr>
          <p:cNvSpPr txBox="1">
            <a:spLocks/>
          </p:cNvSpPr>
          <p:nvPr/>
        </p:nvSpPr>
        <p:spPr>
          <a:xfrm>
            <a:off x="759259" y="4900203"/>
            <a:ext cx="2608177" cy="946606"/>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a:t>
            </a:r>
          </a:p>
        </p:txBody>
      </p:sp>
      <p:sp>
        <p:nvSpPr>
          <p:cNvPr id="53" name="Freeform 1023">
            <a:extLst>
              <a:ext uri="{FF2B5EF4-FFF2-40B4-BE49-F238E27FC236}">
                <a16:creationId xmlns:a16="http://schemas.microsoft.com/office/drawing/2014/main" id="{129B0FC0-F993-0641-86DB-C0145FB28E27}"/>
              </a:ext>
            </a:extLst>
          </p:cNvPr>
          <p:cNvSpPr>
            <a:spLocks noChangeAspect="1" noChangeArrowheads="1"/>
          </p:cNvSpPr>
          <p:nvPr/>
        </p:nvSpPr>
        <p:spPr bwMode="auto">
          <a:xfrm>
            <a:off x="6714028" y="4900203"/>
            <a:ext cx="637039" cy="637039"/>
          </a:xfrm>
          <a:custGeom>
            <a:avLst/>
            <a:gdLst>
              <a:gd name="T0" fmla="*/ 3670157 w 290207"/>
              <a:gd name="T1" fmla="*/ 5477950 h 290151"/>
              <a:gd name="T2" fmla="*/ 3670157 w 290207"/>
              <a:gd name="T3" fmla="*/ 4845325 h 290151"/>
              <a:gd name="T4" fmla="*/ 1584205 w 290207"/>
              <a:gd name="T5" fmla="*/ 4859715 h 290151"/>
              <a:gd name="T6" fmla="*/ 1792085 w 290207"/>
              <a:gd name="T7" fmla="*/ 4126449 h 290151"/>
              <a:gd name="T8" fmla="*/ 2236500 w 290207"/>
              <a:gd name="T9" fmla="*/ 4327731 h 290151"/>
              <a:gd name="T10" fmla="*/ 5240015 w 290207"/>
              <a:gd name="T11" fmla="*/ 1804432 h 290151"/>
              <a:gd name="T12" fmla="*/ 2649283 w 290207"/>
              <a:gd name="T13" fmla="*/ 1423059 h 290151"/>
              <a:gd name="T14" fmla="*/ 3337750 w 290207"/>
              <a:gd name="T15" fmla="*/ 1514130 h 290151"/>
              <a:gd name="T16" fmla="*/ 2649283 w 290207"/>
              <a:gd name="T17" fmla="*/ 1605202 h 290151"/>
              <a:gd name="T18" fmla="*/ 2649283 w 290207"/>
              <a:gd name="T19" fmla="*/ 1423059 h 290151"/>
              <a:gd name="T20" fmla="*/ 1870901 w 290207"/>
              <a:gd name="T21" fmla="*/ 3961101 h 290151"/>
              <a:gd name="T22" fmla="*/ 4874450 w 290207"/>
              <a:gd name="T23" fmla="*/ 1437791 h 290151"/>
              <a:gd name="T24" fmla="*/ 5039301 w 290207"/>
              <a:gd name="T25" fmla="*/ 841146 h 290151"/>
              <a:gd name="T26" fmla="*/ 4752598 w 290207"/>
              <a:gd name="T27" fmla="*/ 1071158 h 290151"/>
              <a:gd name="T28" fmla="*/ 5555429 w 290207"/>
              <a:gd name="T29" fmla="*/ 1495302 h 290151"/>
              <a:gd name="T30" fmla="*/ 5139671 w 290207"/>
              <a:gd name="T31" fmla="*/ 877052 h 290151"/>
              <a:gd name="T32" fmla="*/ 93200 w 290207"/>
              <a:gd name="T33" fmla="*/ 0 h 290151"/>
              <a:gd name="T34" fmla="*/ 4609201 w 290207"/>
              <a:gd name="T35" fmla="*/ 86224 h 290151"/>
              <a:gd name="T36" fmla="*/ 4516025 w 290207"/>
              <a:gd name="T37" fmla="*/ 603897 h 290151"/>
              <a:gd name="T38" fmla="*/ 4429994 w 290207"/>
              <a:gd name="T39" fmla="*/ 172546 h 290151"/>
              <a:gd name="T40" fmla="*/ 179216 w 290207"/>
              <a:gd name="T41" fmla="*/ 5607360 h 290151"/>
              <a:gd name="T42" fmla="*/ 3498122 w 290207"/>
              <a:gd name="T43" fmla="*/ 4759072 h 290151"/>
              <a:gd name="T44" fmla="*/ 4429994 w 290207"/>
              <a:gd name="T45" fmla="*/ 4665598 h 290151"/>
              <a:gd name="T46" fmla="*/ 2544751 w 290207"/>
              <a:gd name="T47" fmla="*/ 4759072 h 290151"/>
              <a:gd name="T48" fmla="*/ 1483861 w 290207"/>
              <a:gd name="T49" fmla="*/ 5075377 h 290151"/>
              <a:gd name="T50" fmla="*/ 587786 w 290207"/>
              <a:gd name="T51" fmla="*/ 4198348 h 290151"/>
              <a:gd name="T52" fmla="*/ 1763397 w 290207"/>
              <a:gd name="T53" fmla="*/ 3012178 h 290151"/>
              <a:gd name="T54" fmla="*/ 1218620 w 290207"/>
              <a:gd name="T55" fmla="*/ 2710236 h 290151"/>
              <a:gd name="T56" fmla="*/ 1218620 w 290207"/>
              <a:gd name="T57" fmla="*/ 1437791 h 290151"/>
              <a:gd name="T58" fmla="*/ 2258041 w 290207"/>
              <a:gd name="T59" fmla="*/ 1524048 h 290151"/>
              <a:gd name="T60" fmla="*/ 1218620 w 290207"/>
              <a:gd name="T61" fmla="*/ 1610319 h 290151"/>
              <a:gd name="T62" fmla="*/ 1218620 w 290207"/>
              <a:gd name="T63" fmla="*/ 2530489 h 290151"/>
              <a:gd name="T64" fmla="*/ 1942626 w 290207"/>
              <a:gd name="T65" fmla="*/ 3012178 h 290151"/>
              <a:gd name="T66" fmla="*/ 759822 w 290207"/>
              <a:gd name="T67" fmla="*/ 4198348 h 290151"/>
              <a:gd name="T68" fmla="*/ 1663024 w 290207"/>
              <a:gd name="T69" fmla="*/ 3932364 h 290151"/>
              <a:gd name="T70" fmla="*/ 4501690 w 290207"/>
              <a:gd name="T71" fmla="*/ 1071158 h 290151"/>
              <a:gd name="T72" fmla="*/ 4487376 w 290207"/>
              <a:gd name="T73" fmla="*/ 927350 h 290151"/>
              <a:gd name="T74" fmla="*/ 4623530 w 290207"/>
              <a:gd name="T75" fmla="*/ 941739 h 290151"/>
              <a:gd name="T76" fmla="*/ 5039301 w 290207"/>
              <a:gd name="T77" fmla="*/ 661380 h 290151"/>
              <a:gd name="T78" fmla="*/ 5677274 w 290207"/>
              <a:gd name="T79" fmla="*/ 1164612 h 290151"/>
              <a:gd name="T80" fmla="*/ 5490922 w 290207"/>
              <a:gd name="T81" fmla="*/ 1804432 h 290151"/>
              <a:gd name="T82" fmla="*/ 5512410 w 290207"/>
              <a:gd name="T83" fmla="*/ 1955386 h 290151"/>
              <a:gd name="T84" fmla="*/ 5390551 w 290207"/>
              <a:gd name="T85" fmla="*/ 1955386 h 290151"/>
              <a:gd name="T86" fmla="*/ 4609201 w 290207"/>
              <a:gd name="T87" fmla="*/ 2695869 h 290151"/>
              <a:gd name="T88" fmla="*/ 4580526 w 290207"/>
              <a:gd name="T89" fmla="*/ 4816592 h 290151"/>
              <a:gd name="T90" fmla="*/ 3584151 w 290207"/>
              <a:gd name="T91" fmla="*/ 5779869 h 290151"/>
              <a:gd name="T92" fmla="*/ 0 w 290207"/>
              <a:gd name="T93" fmla="*/ 5686422 h 290151"/>
              <a:gd name="T94" fmla="*/ 93200 w 290207"/>
              <a:gd name="T95" fmla="*/ 0 h 2901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0207" h="290151">
                <a:moveTo>
                  <a:pt x="184636" y="243236"/>
                </a:moveTo>
                <a:lnTo>
                  <a:pt x="184636" y="274994"/>
                </a:lnTo>
                <a:lnTo>
                  <a:pt x="216731" y="243236"/>
                </a:lnTo>
                <a:lnTo>
                  <a:pt x="184636" y="243236"/>
                </a:lnTo>
                <a:close/>
                <a:moveTo>
                  <a:pt x="90155" y="207148"/>
                </a:moveTo>
                <a:lnTo>
                  <a:pt x="79697" y="243958"/>
                </a:lnTo>
                <a:lnTo>
                  <a:pt x="116840" y="233853"/>
                </a:lnTo>
                <a:lnTo>
                  <a:pt x="90155" y="207148"/>
                </a:lnTo>
                <a:close/>
                <a:moveTo>
                  <a:pt x="251350" y="78312"/>
                </a:moveTo>
                <a:lnTo>
                  <a:pt x="112513" y="217253"/>
                </a:lnTo>
                <a:lnTo>
                  <a:pt x="125134" y="229523"/>
                </a:lnTo>
                <a:lnTo>
                  <a:pt x="263611" y="90582"/>
                </a:lnTo>
                <a:lnTo>
                  <a:pt x="251350" y="78312"/>
                </a:lnTo>
                <a:close/>
                <a:moveTo>
                  <a:pt x="133278" y="71437"/>
                </a:moveTo>
                <a:lnTo>
                  <a:pt x="163585" y="71437"/>
                </a:lnTo>
                <a:cubicBezTo>
                  <a:pt x="166110" y="71437"/>
                  <a:pt x="167914" y="73342"/>
                  <a:pt x="167914" y="76009"/>
                </a:cubicBezTo>
                <a:cubicBezTo>
                  <a:pt x="167914" y="78676"/>
                  <a:pt x="166110" y="80581"/>
                  <a:pt x="163585" y="80581"/>
                </a:cubicBezTo>
                <a:lnTo>
                  <a:pt x="133278" y="80581"/>
                </a:lnTo>
                <a:cubicBezTo>
                  <a:pt x="130752" y="80581"/>
                  <a:pt x="128587" y="78676"/>
                  <a:pt x="128587" y="76009"/>
                </a:cubicBezTo>
                <a:cubicBezTo>
                  <a:pt x="128587" y="73342"/>
                  <a:pt x="130752" y="71437"/>
                  <a:pt x="133278" y="71437"/>
                </a:cubicBezTo>
                <a:close/>
                <a:moveTo>
                  <a:pt x="232598" y="59546"/>
                </a:moveTo>
                <a:lnTo>
                  <a:pt x="94121" y="198848"/>
                </a:lnTo>
                <a:lnTo>
                  <a:pt x="106382" y="211118"/>
                </a:lnTo>
                <a:lnTo>
                  <a:pt x="245220" y="72177"/>
                </a:lnTo>
                <a:lnTo>
                  <a:pt x="232598" y="59546"/>
                </a:lnTo>
                <a:close/>
                <a:moveTo>
                  <a:pt x="253514" y="42224"/>
                </a:moveTo>
                <a:cubicBezTo>
                  <a:pt x="251711" y="42224"/>
                  <a:pt x="249547" y="42946"/>
                  <a:pt x="248105" y="44028"/>
                </a:cubicBezTo>
                <a:lnTo>
                  <a:pt x="239090" y="53772"/>
                </a:lnTo>
                <a:lnTo>
                  <a:pt x="270103" y="84447"/>
                </a:lnTo>
                <a:lnTo>
                  <a:pt x="279479" y="75064"/>
                </a:lnTo>
                <a:cubicBezTo>
                  <a:pt x="282003" y="72177"/>
                  <a:pt x="282003" y="67847"/>
                  <a:pt x="279479" y="64959"/>
                </a:cubicBezTo>
                <a:lnTo>
                  <a:pt x="258563" y="44028"/>
                </a:lnTo>
                <a:cubicBezTo>
                  <a:pt x="257481" y="42946"/>
                  <a:pt x="255317" y="42224"/>
                  <a:pt x="253514" y="42224"/>
                </a:cubicBezTo>
                <a:close/>
                <a:moveTo>
                  <a:pt x="4688" y="0"/>
                </a:moveTo>
                <a:lnTo>
                  <a:pt x="227189" y="0"/>
                </a:lnTo>
                <a:cubicBezTo>
                  <a:pt x="229713" y="0"/>
                  <a:pt x="231877" y="1805"/>
                  <a:pt x="231877" y="4331"/>
                </a:cubicBezTo>
                <a:lnTo>
                  <a:pt x="231877" y="25984"/>
                </a:lnTo>
                <a:cubicBezTo>
                  <a:pt x="231877" y="28510"/>
                  <a:pt x="229713" y="30315"/>
                  <a:pt x="227189" y="30315"/>
                </a:cubicBezTo>
                <a:cubicBezTo>
                  <a:pt x="224665" y="30315"/>
                  <a:pt x="222862" y="28510"/>
                  <a:pt x="222862" y="25984"/>
                </a:cubicBezTo>
                <a:lnTo>
                  <a:pt x="222862" y="8661"/>
                </a:lnTo>
                <a:lnTo>
                  <a:pt x="9016" y="8661"/>
                </a:lnTo>
                <a:lnTo>
                  <a:pt x="9016" y="281490"/>
                </a:lnTo>
                <a:lnTo>
                  <a:pt x="175981" y="281490"/>
                </a:lnTo>
                <a:lnTo>
                  <a:pt x="175981" y="238906"/>
                </a:lnTo>
                <a:cubicBezTo>
                  <a:pt x="175981" y="236380"/>
                  <a:pt x="177785" y="234214"/>
                  <a:pt x="180309" y="234214"/>
                </a:cubicBezTo>
                <a:lnTo>
                  <a:pt x="222862" y="234214"/>
                </a:lnTo>
                <a:lnTo>
                  <a:pt x="222862" y="144354"/>
                </a:lnTo>
                <a:lnTo>
                  <a:pt x="128019" y="238906"/>
                </a:lnTo>
                <a:cubicBezTo>
                  <a:pt x="127659" y="239628"/>
                  <a:pt x="126938" y="239988"/>
                  <a:pt x="126216" y="239988"/>
                </a:cubicBezTo>
                <a:lnTo>
                  <a:pt x="74648" y="254785"/>
                </a:lnTo>
                <a:cubicBezTo>
                  <a:pt x="74287" y="254785"/>
                  <a:pt x="73566" y="254785"/>
                  <a:pt x="73206" y="254785"/>
                </a:cubicBezTo>
                <a:cubicBezTo>
                  <a:pt x="49044" y="254785"/>
                  <a:pt x="29571" y="235297"/>
                  <a:pt x="29571" y="210757"/>
                </a:cubicBezTo>
                <a:cubicBezTo>
                  <a:pt x="29571" y="186578"/>
                  <a:pt x="49044" y="166729"/>
                  <a:pt x="73206" y="166729"/>
                </a:cubicBezTo>
                <a:cubicBezTo>
                  <a:pt x="81860" y="166729"/>
                  <a:pt x="88712" y="159872"/>
                  <a:pt x="88712" y="151211"/>
                </a:cubicBezTo>
                <a:cubicBezTo>
                  <a:pt x="88712" y="142910"/>
                  <a:pt x="81860" y="136054"/>
                  <a:pt x="73206" y="136054"/>
                </a:cubicBezTo>
                <a:lnTo>
                  <a:pt x="61305" y="136054"/>
                </a:lnTo>
                <a:cubicBezTo>
                  <a:pt x="43635" y="136054"/>
                  <a:pt x="29571" y="121618"/>
                  <a:pt x="29571" y="103935"/>
                </a:cubicBezTo>
                <a:cubicBezTo>
                  <a:pt x="29571" y="86613"/>
                  <a:pt x="43635" y="72177"/>
                  <a:pt x="61305" y="72177"/>
                </a:cubicBezTo>
                <a:lnTo>
                  <a:pt x="108907" y="72177"/>
                </a:lnTo>
                <a:cubicBezTo>
                  <a:pt x="111431" y="72177"/>
                  <a:pt x="113595" y="73982"/>
                  <a:pt x="113595" y="76508"/>
                </a:cubicBezTo>
                <a:cubicBezTo>
                  <a:pt x="113595" y="79034"/>
                  <a:pt x="111431" y="80838"/>
                  <a:pt x="108907" y="80838"/>
                </a:cubicBezTo>
                <a:lnTo>
                  <a:pt x="61305" y="80838"/>
                </a:lnTo>
                <a:cubicBezTo>
                  <a:pt x="48323" y="80838"/>
                  <a:pt x="38226" y="91304"/>
                  <a:pt x="38226" y="103935"/>
                </a:cubicBezTo>
                <a:cubicBezTo>
                  <a:pt x="38226" y="116566"/>
                  <a:pt x="48323" y="127032"/>
                  <a:pt x="61305" y="127032"/>
                </a:cubicBezTo>
                <a:lnTo>
                  <a:pt x="73206" y="127032"/>
                </a:lnTo>
                <a:cubicBezTo>
                  <a:pt x="86548" y="127032"/>
                  <a:pt x="97728" y="137858"/>
                  <a:pt x="97728" y="151211"/>
                </a:cubicBezTo>
                <a:cubicBezTo>
                  <a:pt x="97728" y="164564"/>
                  <a:pt x="86548" y="175751"/>
                  <a:pt x="73206" y="175751"/>
                </a:cubicBezTo>
                <a:cubicBezTo>
                  <a:pt x="54093" y="175751"/>
                  <a:pt x="38226" y="191269"/>
                  <a:pt x="38226" y="210757"/>
                </a:cubicBezTo>
                <a:cubicBezTo>
                  <a:pt x="38226" y="229162"/>
                  <a:pt x="51929" y="244319"/>
                  <a:pt x="69960" y="246123"/>
                </a:cubicBezTo>
                <a:lnTo>
                  <a:pt x="83663" y="197404"/>
                </a:lnTo>
                <a:cubicBezTo>
                  <a:pt x="83663" y="196682"/>
                  <a:pt x="84385" y="196321"/>
                  <a:pt x="84745" y="195600"/>
                </a:cubicBezTo>
                <a:lnTo>
                  <a:pt x="226468" y="53772"/>
                </a:lnTo>
                <a:lnTo>
                  <a:pt x="225747" y="52328"/>
                </a:lnTo>
                <a:cubicBezTo>
                  <a:pt x="223944" y="50885"/>
                  <a:pt x="223944" y="47998"/>
                  <a:pt x="225747" y="46554"/>
                </a:cubicBezTo>
                <a:cubicBezTo>
                  <a:pt x="227189" y="44750"/>
                  <a:pt x="230074" y="44750"/>
                  <a:pt x="231877" y="46554"/>
                </a:cubicBezTo>
                <a:lnTo>
                  <a:pt x="232598" y="47276"/>
                </a:lnTo>
                <a:lnTo>
                  <a:pt x="241974" y="38254"/>
                </a:lnTo>
                <a:cubicBezTo>
                  <a:pt x="244859" y="35006"/>
                  <a:pt x="249187" y="33202"/>
                  <a:pt x="253514" y="33202"/>
                </a:cubicBezTo>
                <a:cubicBezTo>
                  <a:pt x="257842" y="33202"/>
                  <a:pt x="261808" y="35006"/>
                  <a:pt x="265054" y="38254"/>
                </a:cubicBezTo>
                <a:lnTo>
                  <a:pt x="285609" y="58464"/>
                </a:lnTo>
                <a:cubicBezTo>
                  <a:pt x="291740" y="64959"/>
                  <a:pt x="291740" y="75064"/>
                  <a:pt x="285609" y="81199"/>
                </a:cubicBezTo>
                <a:lnTo>
                  <a:pt x="276233" y="90582"/>
                </a:lnTo>
                <a:lnTo>
                  <a:pt x="277315" y="92026"/>
                </a:lnTo>
                <a:cubicBezTo>
                  <a:pt x="279118" y="93830"/>
                  <a:pt x="279118" y="96356"/>
                  <a:pt x="277315" y="98161"/>
                </a:cubicBezTo>
                <a:cubicBezTo>
                  <a:pt x="276594" y="98883"/>
                  <a:pt x="275512" y="99243"/>
                  <a:pt x="274069" y="99243"/>
                </a:cubicBezTo>
                <a:cubicBezTo>
                  <a:pt x="273348" y="99243"/>
                  <a:pt x="271906" y="98883"/>
                  <a:pt x="271184" y="98161"/>
                </a:cubicBezTo>
                <a:lnTo>
                  <a:pt x="270103" y="97078"/>
                </a:lnTo>
                <a:lnTo>
                  <a:pt x="231877" y="135332"/>
                </a:lnTo>
                <a:lnTo>
                  <a:pt x="231877" y="238906"/>
                </a:lnTo>
                <a:cubicBezTo>
                  <a:pt x="231877" y="239988"/>
                  <a:pt x="231156" y="241071"/>
                  <a:pt x="230435" y="241793"/>
                </a:cubicBezTo>
                <a:lnTo>
                  <a:pt x="183554" y="288708"/>
                </a:lnTo>
                <a:cubicBezTo>
                  <a:pt x="182473" y="289790"/>
                  <a:pt x="181391" y="290151"/>
                  <a:pt x="180309" y="290151"/>
                </a:cubicBezTo>
                <a:lnTo>
                  <a:pt x="4688" y="290151"/>
                </a:lnTo>
                <a:cubicBezTo>
                  <a:pt x="2164" y="290151"/>
                  <a:pt x="0" y="288347"/>
                  <a:pt x="0" y="285460"/>
                </a:cubicBezTo>
                <a:lnTo>
                  <a:pt x="0" y="4331"/>
                </a:lnTo>
                <a:cubicBezTo>
                  <a:pt x="0" y="1805"/>
                  <a:pt x="2164" y="0"/>
                  <a:pt x="4688" y="0"/>
                </a:cubicBezTo>
                <a:close/>
              </a:path>
            </a:pathLst>
          </a:custGeom>
          <a:solidFill>
            <a:schemeClr val="bg1"/>
          </a:solidFill>
          <a:ln>
            <a:noFill/>
          </a:ln>
          <a:effectLst/>
        </p:spPr>
        <p:txBody>
          <a:bodyPr anchor="ctr"/>
          <a:lstStyle/>
          <a:p>
            <a:endParaRPr lang="en-US" sz="900" dirty="0"/>
          </a:p>
        </p:txBody>
      </p:sp>
      <p:sp>
        <p:nvSpPr>
          <p:cNvPr id="54" name="Freeform 1024">
            <a:extLst>
              <a:ext uri="{FF2B5EF4-FFF2-40B4-BE49-F238E27FC236}">
                <a16:creationId xmlns:a16="http://schemas.microsoft.com/office/drawing/2014/main" id="{2BC86284-5AD1-BC41-89FF-5D5D148E68FC}"/>
              </a:ext>
            </a:extLst>
          </p:cNvPr>
          <p:cNvSpPr>
            <a:spLocks noChangeAspect="1" noChangeArrowheads="1"/>
          </p:cNvSpPr>
          <p:nvPr/>
        </p:nvSpPr>
        <p:spPr bwMode="auto">
          <a:xfrm>
            <a:off x="4502930" y="4465054"/>
            <a:ext cx="637039" cy="637039"/>
          </a:xfrm>
          <a:custGeom>
            <a:avLst/>
            <a:gdLst>
              <a:gd name="T0" fmla="*/ 2048306 w 290151"/>
              <a:gd name="T1" fmla="*/ 5000275 h 290151"/>
              <a:gd name="T2" fmla="*/ 474371 w 290151"/>
              <a:gd name="T3" fmla="*/ 5000275 h 290151"/>
              <a:gd name="T4" fmla="*/ 1613868 w 290151"/>
              <a:gd name="T5" fmla="*/ 4205917 h 290151"/>
              <a:gd name="T6" fmla="*/ 560869 w 290151"/>
              <a:gd name="T7" fmla="*/ 4388056 h 290151"/>
              <a:gd name="T8" fmla="*/ 4488890 w 290151"/>
              <a:gd name="T9" fmla="*/ 3736553 h 290151"/>
              <a:gd name="T10" fmla="*/ 4424856 w 290151"/>
              <a:gd name="T11" fmla="*/ 4169303 h 290151"/>
              <a:gd name="T12" fmla="*/ 4545818 w 290151"/>
              <a:gd name="T13" fmla="*/ 3743779 h 290151"/>
              <a:gd name="T14" fmla="*/ 4830421 w 290151"/>
              <a:gd name="T15" fmla="*/ 3765391 h 290151"/>
              <a:gd name="T16" fmla="*/ 4375067 w 290151"/>
              <a:gd name="T17" fmla="*/ 4342407 h 290151"/>
              <a:gd name="T18" fmla="*/ 4588507 w 290151"/>
              <a:gd name="T19" fmla="*/ 3570675 h 290151"/>
              <a:gd name="T20" fmla="*/ 2016784 w 290151"/>
              <a:gd name="T21" fmla="*/ 3608837 h 290151"/>
              <a:gd name="T22" fmla="*/ 1264894 w 290151"/>
              <a:gd name="T23" fmla="*/ 3608837 h 290151"/>
              <a:gd name="T24" fmla="*/ 910225 w 290151"/>
              <a:gd name="T25" fmla="*/ 3510199 h 290151"/>
              <a:gd name="T26" fmla="*/ 561492 w 290151"/>
              <a:gd name="T27" fmla="*/ 3692338 h 290151"/>
              <a:gd name="T28" fmla="*/ 560869 w 290151"/>
              <a:gd name="T29" fmla="*/ 2814459 h 290151"/>
              <a:gd name="T30" fmla="*/ 1613868 w 290151"/>
              <a:gd name="T31" fmla="*/ 2996631 h 290151"/>
              <a:gd name="T32" fmla="*/ 560869 w 290151"/>
              <a:gd name="T33" fmla="*/ 2814459 h 290151"/>
              <a:gd name="T34" fmla="*/ 4549836 w 290151"/>
              <a:gd name="T35" fmla="*/ 3052396 h 290151"/>
              <a:gd name="T36" fmla="*/ 5039091 w 290151"/>
              <a:gd name="T37" fmla="*/ 2727537 h 290151"/>
              <a:gd name="T38" fmla="*/ 5312500 w 290151"/>
              <a:gd name="T39" fmla="*/ 2994664 h 290151"/>
              <a:gd name="T40" fmla="*/ 4549836 w 290151"/>
              <a:gd name="T41" fmla="*/ 3254557 h 290151"/>
              <a:gd name="T42" fmla="*/ 4017348 w 290151"/>
              <a:gd name="T43" fmla="*/ 2778077 h 290151"/>
              <a:gd name="T44" fmla="*/ 3837483 w 290151"/>
              <a:gd name="T45" fmla="*/ 3528881 h 290151"/>
              <a:gd name="T46" fmla="*/ 3117982 w 290151"/>
              <a:gd name="T47" fmla="*/ 3745501 h 290151"/>
              <a:gd name="T48" fmla="*/ 3679200 w 290151"/>
              <a:gd name="T49" fmla="*/ 4265296 h 290151"/>
              <a:gd name="T50" fmla="*/ 3341039 w 290151"/>
              <a:gd name="T51" fmla="*/ 4799553 h 290151"/>
              <a:gd name="T52" fmla="*/ 3499335 w 290151"/>
              <a:gd name="T53" fmla="*/ 4359149 h 290151"/>
              <a:gd name="T54" fmla="*/ 3010044 w 290151"/>
              <a:gd name="T55" fmla="*/ 4113702 h 290151"/>
              <a:gd name="T56" fmla="*/ 3657598 w 290151"/>
              <a:gd name="T57" fmla="*/ 3427822 h 290151"/>
              <a:gd name="T58" fmla="*/ 3636035 w 290151"/>
              <a:gd name="T59" fmla="*/ 2871938 h 290151"/>
              <a:gd name="T60" fmla="*/ 2508893 w 290151"/>
              <a:gd name="T61" fmla="*/ 4902840 h 290151"/>
              <a:gd name="T62" fmla="*/ 2508893 w 290151"/>
              <a:gd name="T63" fmla="*/ 2271678 h 290151"/>
              <a:gd name="T64" fmla="*/ 2048306 w 290151"/>
              <a:gd name="T65" fmla="*/ 2185843 h 290151"/>
              <a:gd name="T66" fmla="*/ 474371 w 290151"/>
              <a:gd name="T67" fmla="*/ 2185843 h 290151"/>
              <a:gd name="T68" fmla="*/ 4049803 w 290151"/>
              <a:gd name="T69" fmla="*/ 1391442 h 290151"/>
              <a:gd name="T70" fmla="*/ 3121489 w 290151"/>
              <a:gd name="T71" fmla="*/ 1573584 h 290151"/>
              <a:gd name="T72" fmla="*/ 1698436 w 290151"/>
              <a:gd name="T73" fmla="*/ 1391442 h 290151"/>
              <a:gd name="T74" fmla="*/ 2626747 w 290151"/>
              <a:gd name="T75" fmla="*/ 1573584 h 290151"/>
              <a:gd name="T76" fmla="*/ 1698436 w 290151"/>
              <a:gd name="T77" fmla="*/ 1391442 h 290151"/>
              <a:gd name="T78" fmla="*/ 1352520 w 290151"/>
              <a:gd name="T79" fmla="*/ 1482514 h 290151"/>
              <a:gd name="T80" fmla="*/ 474371 w 290151"/>
              <a:gd name="T81" fmla="*/ 1482514 h 290151"/>
              <a:gd name="T82" fmla="*/ 1337142 w 290151"/>
              <a:gd name="T83" fmla="*/ 438512 h 290151"/>
              <a:gd name="T84" fmla="*/ 3270919 w 290151"/>
              <a:gd name="T85" fmla="*/ 438512 h 290151"/>
              <a:gd name="T86" fmla="*/ 553576 w 290151"/>
              <a:gd name="T87" fmla="*/ 172546 h 290151"/>
              <a:gd name="T88" fmla="*/ 553576 w 290151"/>
              <a:gd name="T89" fmla="*/ 5607360 h 290151"/>
              <a:gd name="T90" fmla="*/ 4435510 w 290151"/>
              <a:gd name="T91" fmla="*/ 5075377 h 290151"/>
              <a:gd name="T92" fmla="*/ 2329161 w 290151"/>
              <a:gd name="T93" fmla="*/ 2192604 h 290151"/>
              <a:gd name="T94" fmla="*/ 4435510 w 290151"/>
              <a:gd name="T95" fmla="*/ 553576 h 290151"/>
              <a:gd name="T96" fmla="*/ 3443426 w 290151"/>
              <a:gd name="T97" fmla="*/ 438512 h 290151"/>
              <a:gd name="T98" fmla="*/ 1164592 w 290151"/>
              <a:gd name="T99" fmla="*/ 438512 h 290151"/>
              <a:gd name="T100" fmla="*/ 553576 w 290151"/>
              <a:gd name="T101" fmla="*/ 0 h 290151"/>
              <a:gd name="T102" fmla="*/ 4608061 w 290151"/>
              <a:gd name="T103" fmla="*/ 2099149 h 290151"/>
              <a:gd name="T104" fmla="*/ 5779816 w 290151"/>
              <a:gd name="T105" fmla="*/ 4989109 h 290151"/>
              <a:gd name="T106" fmla="*/ 4608061 w 290151"/>
              <a:gd name="T107" fmla="*/ 5226334 h 290151"/>
              <a:gd name="T108" fmla="*/ 0 w 290151"/>
              <a:gd name="T109" fmla="*/ 5226334 h 29015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90151" h="290151">
                <a:moveTo>
                  <a:pt x="28141" y="246062"/>
                </a:moveTo>
                <a:lnTo>
                  <a:pt x="98496" y="246062"/>
                </a:lnTo>
                <a:cubicBezTo>
                  <a:pt x="101022" y="246062"/>
                  <a:pt x="102826" y="248348"/>
                  <a:pt x="102826" y="251015"/>
                </a:cubicBezTo>
                <a:cubicBezTo>
                  <a:pt x="102826" y="253301"/>
                  <a:pt x="101022" y="255206"/>
                  <a:pt x="98496" y="255206"/>
                </a:cubicBezTo>
                <a:lnTo>
                  <a:pt x="28141" y="255206"/>
                </a:lnTo>
                <a:cubicBezTo>
                  <a:pt x="25616" y="255206"/>
                  <a:pt x="23812" y="253301"/>
                  <a:pt x="23812" y="251015"/>
                </a:cubicBezTo>
                <a:cubicBezTo>
                  <a:pt x="23812" y="248348"/>
                  <a:pt x="25616" y="246062"/>
                  <a:pt x="28141" y="246062"/>
                </a:cubicBezTo>
                <a:close/>
                <a:moveTo>
                  <a:pt x="28157" y="211137"/>
                </a:moveTo>
                <a:lnTo>
                  <a:pt x="81018" y="211137"/>
                </a:lnTo>
                <a:cubicBezTo>
                  <a:pt x="83552" y="211137"/>
                  <a:pt x="85363" y="213042"/>
                  <a:pt x="85363" y="215709"/>
                </a:cubicBezTo>
                <a:cubicBezTo>
                  <a:pt x="85363" y="218376"/>
                  <a:pt x="83552" y="220281"/>
                  <a:pt x="81018" y="220281"/>
                </a:cubicBezTo>
                <a:lnTo>
                  <a:pt x="28157" y="220281"/>
                </a:lnTo>
                <a:cubicBezTo>
                  <a:pt x="25622" y="220281"/>
                  <a:pt x="23812" y="218376"/>
                  <a:pt x="23812" y="215709"/>
                </a:cubicBezTo>
                <a:cubicBezTo>
                  <a:pt x="23812" y="213042"/>
                  <a:pt x="25622" y="211137"/>
                  <a:pt x="28157" y="211137"/>
                </a:cubicBezTo>
                <a:close/>
                <a:moveTo>
                  <a:pt x="225346" y="187576"/>
                </a:moveTo>
                <a:cubicBezTo>
                  <a:pt x="223203" y="187576"/>
                  <a:pt x="221417" y="187938"/>
                  <a:pt x="219631" y="189024"/>
                </a:cubicBezTo>
                <a:cubicBezTo>
                  <a:pt x="217488" y="190110"/>
                  <a:pt x="215344" y="192645"/>
                  <a:pt x="214630" y="195541"/>
                </a:cubicBezTo>
                <a:cubicBezTo>
                  <a:pt x="212844" y="201334"/>
                  <a:pt x="216416" y="207851"/>
                  <a:pt x="222131" y="209300"/>
                </a:cubicBezTo>
                <a:cubicBezTo>
                  <a:pt x="228203" y="211110"/>
                  <a:pt x="233918" y="207851"/>
                  <a:pt x="235704" y="201696"/>
                </a:cubicBezTo>
                <a:cubicBezTo>
                  <a:pt x="236775" y="198800"/>
                  <a:pt x="236061" y="195903"/>
                  <a:pt x="234632" y="193369"/>
                </a:cubicBezTo>
                <a:cubicBezTo>
                  <a:pt x="233561" y="190834"/>
                  <a:pt x="231061" y="188662"/>
                  <a:pt x="228203" y="187938"/>
                </a:cubicBezTo>
                <a:cubicBezTo>
                  <a:pt x="227132" y="187576"/>
                  <a:pt x="226060" y="187576"/>
                  <a:pt x="225346" y="187576"/>
                </a:cubicBezTo>
                <a:close/>
                <a:moveTo>
                  <a:pt x="230346" y="179248"/>
                </a:moveTo>
                <a:cubicBezTo>
                  <a:pt x="235704" y="181059"/>
                  <a:pt x="239990" y="184317"/>
                  <a:pt x="242490" y="189024"/>
                </a:cubicBezTo>
                <a:cubicBezTo>
                  <a:pt x="244991" y="193731"/>
                  <a:pt x="245705" y="199162"/>
                  <a:pt x="244276" y="204231"/>
                </a:cubicBezTo>
                <a:cubicBezTo>
                  <a:pt x="241776" y="212920"/>
                  <a:pt x="233918" y="218713"/>
                  <a:pt x="225346" y="218713"/>
                </a:cubicBezTo>
                <a:cubicBezTo>
                  <a:pt x="223203" y="218713"/>
                  <a:pt x="221417" y="218351"/>
                  <a:pt x="219631" y="217989"/>
                </a:cubicBezTo>
                <a:cubicBezTo>
                  <a:pt x="209272" y="214731"/>
                  <a:pt x="203200" y="203507"/>
                  <a:pt x="206058" y="193369"/>
                </a:cubicBezTo>
                <a:cubicBezTo>
                  <a:pt x="207486" y="187938"/>
                  <a:pt x="211058" y="183955"/>
                  <a:pt x="215702" y="181059"/>
                </a:cubicBezTo>
                <a:cubicBezTo>
                  <a:pt x="220345" y="178524"/>
                  <a:pt x="225346" y="177800"/>
                  <a:pt x="230346" y="179248"/>
                </a:cubicBezTo>
                <a:close/>
                <a:moveTo>
                  <a:pt x="68129" y="176212"/>
                </a:moveTo>
                <a:lnTo>
                  <a:pt x="96971" y="176212"/>
                </a:lnTo>
                <a:cubicBezTo>
                  <a:pt x="99463" y="176212"/>
                  <a:pt x="101244" y="178498"/>
                  <a:pt x="101244" y="181165"/>
                </a:cubicBezTo>
                <a:cubicBezTo>
                  <a:pt x="101244" y="183451"/>
                  <a:pt x="99463" y="185356"/>
                  <a:pt x="96971" y="185356"/>
                </a:cubicBezTo>
                <a:lnTo>
                  <a:pt x="68129" y="185356"/>
                </a:lnTo>
                <a:cubicBezTo>
                  <a:pt x="65636" y="185356"/>
                  <a:pt x="63500" y="183451"/>
                  <a:pt x="63500" y="181165"/>
                </a:cubicBezTo>
                <a:cubicBezTo>
                  <a:pt x="63500" y="178498"/>
                  <a:pt x="65636" y="176212"/>
                  <a:pt x="68129" y="176212"/>
                </a:cubicBezTo>
                <a:close/>
                <a:moveTo>
                  <a:pt x="28188" y="176212"/>
                </a:moveTo>
                <a:lnTo>
                  <a:pt x="45694" y="176212"/>
                </a:lnTo>
                <a:cubicBezTo>
                  <a:pt x="48247" y="176212"/>
                  <a:pt x="50435" y="178498"/>
                  <a:pt x="50435" y="181165"/>
                </a:cubicBezTo>
                <a:cubicBezTo>
                  <a:pt x="50435" y="183451"/>
                  <a:pt x="48247" y="185356"/>
                  <a:pt x="45694" y="185356"/>
                </a:cubicBezTo>
                <a:lnTo>
                  <a:pt x="28188" y="185356"/>
                </a:lnTo>
                <a:cubicBezTo>
                  <a:pt x="25635" y="185356"/>
                  <a:pt x="23812" y="183451"/>
                  <a:pt x="23812" y="181165"/>
                </a:cubicBezTo>
                <a:cubicBezTo>
                  <a:pt x="23812" y="178498"/>
                  <a:pt x="25635" y="176212"/>
                  <a:pt x="28188" y="176212"/>
                </a:cubicBezTo>
                <a:close/>
                <a:moveTo>
                  <a:pt x="28157" y="141287"/>
                </a:moveTo>
                <a:lnTo>
                  <a:pt x="81018" y="141287"/>
                </a:lnTo>
                <a:cubicBezTo>
                  <a:pt x="83552" y="141287"/>
                  <a:pt x="85363" y="143192"/>
                  <a:pt x="85363" y="145859"/>
                </a:cubicBezTo>
                <a:cubicBezTo>
                  <a:pt x="85363" y="148526"/>
                  <a:pt x="83552" y="150431"/>
                  <a:pt x="81018" y="150431"/>
                </a:cubicBezTo>
                <a:lnTo>
                  <a:pt x="28157" y="150431"/>
                </a:lnTo>
                <a:cubicBezTo>
                  <a:pt x="25622" y="150431"/>
                  <a:pt x="23812" y="148526"/>
                  <a:pt x="23812" y="145859"/>
                </a:cubicBezTo>
                <a:cubicBezTo>
                  <a:pt x="23812" y="143192"/>
                  <a:pt x="25622" y="141287"/>
                  <a:pt x="28157" y="141287"/>
                </a:cubicBezTo>
                <a:close/>
                <a:moveTo>
                  <a:pt x="198785" y="130761"/>
                </a:moveTo>
                <a:cubicBezTo>
                  <a:pt x="205648" y="128587"/>
                  <a:pt x="211427" y="128949"/>
                  <a:pt x="216123" y="132211"/>
                </a:cubicBezTo>
                <a:cubicBezTo>
                  <a:pt x="222263" y="135473"/>
                  <a:pt x="226237" y="142721"/>
                  <a:pt x="228404" y="153231"/>
                </a:cubicBezTo>
                <a:cubicBezTo>
                  <a:pt x="228765" y="154319"/>
                  <a:pt x="229487" y="154681"/>
                  <a:pt x="229849" y="154681"/>
                </a:cubicBezTo>
                <a:cubicBezTo>
                  <a:pt x="230571" y="154681"/>
                  <a:pt x="230932" y="154681"/>
                  <a:pt x="231655" y="153956"/>
                </a:cubicBezTo>
                <a:cubicBezTo>
                  <a:pt x="238156" y="143808"/>
                  <a:pt x="245019" y="138010"/>
                  <a:pt x="252965" y="136922"/>
                </a:cubicBezTo>
                <a:cubicBezTo>
                  <a:pt x="259467" y="135835"/>
                  <a:pt x="265968" y="138010"/>
                  <a:pt x="272470" y="143446"/>
                </a:cubicBezTo>
                <a:cubicBezTo>
                  <a:pt x="274276" y="145258"/>
                  <a:pt x="274276" y="147795"/>
                  <a:pt x="272831" y="149607"/>
                </a:cubicBezTo>
                <a:cubicBezTo>
                  <a:pt x="271025" y="151782"/>
                  <a:pt x="268497" y="151782"/>
                  <a:pt x="266691" y="150332"/>
                </a:cubicBezTo>
                <a:cubicBezTo>
                  <a:pt x="261995" y="146708"/>
                  <a:pt x="258022" y="144896"/>
                  <a:pt x="254410" y="145621"/>
                </a:cubicBezTo>
                <a:cubicBezTo>
                  <a:pt x="247908" y="146708"/>
                  <a:pt x="242490" y="153231"/>
                  <a:pt x="239240" y="158668"/>
                </a:cubicBezTo>
                <a:cubicBezTo>
                  <a:pt x="236711" y="162292"/>
                  <a:pt x="232738" y="164104"/>
                  <a:pt x="228404" y="163379"/>
                </a:cubicBezTo>
                <a:cubicBezTo>
                  <a:pt x="223708" y="162654"/>
                  <a:pt x="220457" y="159030"/>
                  <a:pt x="219735" y="154681"/>
                </a:cubicBezTo>
                <a:cubicBezTo>
                  <a:pt x="218290" y="147070"/>
                  <a:pt x="215401" y="141996"/>
                  <a:pt x="211789" y="139459"/>
                </a:cubicBezTo>
                <a:cubicBezTo>
                  <a:pt x="208899" y="138010"/>
                  <a:pt x="206009" y="138010"/>
                  <a:pt x="201674" y="139459"/>
                </a:cubicBezTo>
                <a:cubicBezTo>
                  <a:pt x="195895" y="140909"/>
                  <a:pt x="192283" y="143808"/>
                  <a:pt x="190477" y="147433"/>
                </a:cubicBezTo>
                <a:cubicBezTo>
                  <a:pt x="188671" y="152869"/>
                  <a:pt x="190838" y="160117"/>
                  <a:pt x="193728" y="165191"/>
                </a:cubicBezTo>
                <a:cubicBezTo>
                  <a:pt x="195895" y="169178"/>
                  <a:pt x="195173" y="173889"/>
                  <a:pt x="192644" y="177151"/>
                </a:cubicBezTo>
                <a:cubicBezTo>
                  <a:pt x="189394" y="180413"/>
                  <a:pt x="185059" y="181863"/>
                  <a:pt x="180725" y="180051"/>
                </a:cubicBezTo>
                <a:cubicBezTo>
                  <a:pt x="172417" y="177151"/>
                  <a:pt x="165555" y="177151"/>
                  <a:pt x="161581" y="179326"/>
                </a:cubicBezTo>
                <a:cubicBezTo>
                  <a:pt x="159053" y="180776"/>
                  <a:pt x="157247" y="183675"/>
                  <a:pt x="156525" y="188024"/>
                </a:cubicBezTo>
                <a:cubicBezTo>
                  <a:pt x="155080" y="193461"/>
                  <a:pt x="155802" y="198172"/>
                  <a:pt x="157969" y="201071"/>
                </a:cubicBezTo>
                <a:cubicBezTo>
                  <a:pt x="161581" y="205421"/>
                  <a:pt x="169167" y="206508"/>
                  <a:pt x="174585" y="206870"/>
                </a:cubicBezTo>
                <a:cubicBezTo>
                  <a:pt x="179280" y="207233"/>
                  <a:pt x="183253" y="210132"/>
                  <a:pt x="184698" y="214119"/>
                </a:cubicBezTo>
                <a:cubicBezTo>
                  <a:pt x="186143" y="218468"/>
                  <a:pt x="185059" y="222817"/>
                  <a:pt x="181447" y="225716"/>
                </a:cubicBezTo>
                <a:cubicBezTo>
                  <a:pt x="176391" y="230065"/>
                  <a:pt x="173140" y="234052"/>
                  <a:pt x="172056" y="237676"/>
                </a:cubicBezTo>
                <a:cubicBezTo>
                  <a:pt x="171334" y="239488"/>
                  <a:pt x="169889" y="240938"/>
                  <a:pt x="167722" y="240938"/>
                </a:cubicBezTo>
                <a:cubicBezTo>
                  <a:pt x="167361" y="240938"/>
                  <a:pt x="166999" y="240938"/>
                  <a:pt x="166638" y="240575"/>
                </a:cubicBezTo>
                <a:cubicBezTo>
                  <a:pt x="164110" y="240213"/>
                  <a:pt x="163026" y="237314"/>
                  <a:pt x="163749" y="235139"/>
                </a:cubicBezTo>
                <a:cubicBezTo>
                  <a:pt x="165193" y="229703"/>
                  <a:pt x="169528" y="224629"/>
                  <a:pt x="175668" y="218830"/>
                </a:cubicBezTo>
                <a:cubicBezTo>
                  <a:pt x="176391" y="218468"/>
                  <a:pt x="176752" y="217743"/>
                  <a:pt x="176391" y="217018"/>
                </a:cubicBezTo>
                <a:cubicBezTo>
                  <a:pt x="176029" y="216656"/>
                  <a:pt x="175668" y="215931"/>
                  <a:pt x="174585" y="215931"/>
                </a:cubicBezTo>
                <a:cubicBezTo>
                  <a:pt x="163387" y="215206"/>
                  <a:pt x="155802" y="212307"/>
                  <a:pt x="151107" y="206508"/>
                </a:cubicBezTo>
                <a:cubicBezTo>
                  <a:pt x="147133" y="201434"/>
                  <a:pt x="146050" y="194548"/>
                  <a:pt x="147856" y="186212"/>
                </a:cubicBezTo>
                <a:cubicBezTo>
                  <a:pt x="148939" y="179326"/>
                  <a:pt x="152190" y="174614"/>
                  <a:pt x="157247" y="171715"/>
                </a:cubicBezTo>
                <a:cubicBezTo>
                  <a:pt x="163749" y="167728"/>
                  <a:pt x="172417" y="168091"/>
                  <a:pt x="183614" y="172077"/>
                </a:cubicBezTo>
                <a:cubicBezTo>
                  <a:pt x="185059" y="172440"/>
                  <a:pt x="185420" y="171715"/>
                  <a:pt x="185782" y="171352"/>
                </a:cubicBezTo>
                <a:cubicBezTo>
                  <a:pt x="186143" y="170990"/>
                  <a:pt x="186504" y="170265"/>
                  <a:pt x="185782" y="169178"/>
                </a:cubicBezTo>
                <a:cubicBezTo>
                  <a:pt x="180725" y="159393"/>
                  <a:pt x="179641" y="150694"/>
                  <a:pt x="182531" y="144171"/>
                </a:cubicBezTo>
                <a:cubicBezTo>
                  <a:pt x="185059" y="138010"/>
                  <a:pt x="190477" y="133298"/>
                  <a:pt x="198785" y="130761"/>
                </a:cubicBezTo>
                <a:close/>
                <a:moveTo>
                  <a:pt x="125948" y="114039"/>
                </a:moveTo>
                <a:lnTo>
                  <a:pt x="125948" y="246123"/>
                </a:lnTo>
                <a:lnTo>
                  <a:pt x="281490" y="246123"/>
                </a:lnTo>
                <a:lnTo>
                  <a:pt x="281490" y="114039"/>
                </a:lnTo>
                <a:lnTo>
                  <a:pt x="125948" y="114039"/>
                </a:lnTo>
                <a:close/>
                <a:moveTo>
                  <a:pt x="28141" y="104775"/>
                </a:moveTo>
                <a:lnTo>
                  <a:pt x="98496" y="104775"/>
                </a:lnTo>
                <a:cubicBezTo>
                  <a:pt x="101022" y="104775"/>
                  <a:pt x="102826" y="107061"/>
                  <a:pt x="102826" y="109728"/>
                </a:cubicBezTo>
                <a:cubicBezTo>
                  <a:pt x="102826" y="112014"/>
                  <a:pt x="101022" y="113919"/>
                  <a:pt x="98496" y="113919"/>
                </a:cubicBezTo>
                <a:lnTo>
                  <a:pt x="28141" y="113919"/>
                </a:lnTo>
                <a:cubicBezTo>
                  <a:pt x="25616" y="113919"/>
                  <a:pt x="23812" y="112014"/>
                  <a:pt x="23812" y="109728"/>
                </a:cubicBezTo>
                <a:cubicBezTo>
                  <a:pt x="23812" y="107061"/>
                  <a:pt x="25616" y="104775"/>
                  <a:pt x="28141" y="104775"/>
                </a:cubicBezTo>
                <a:close/>
                <a:moveTo>
                  <a:pt x="156701" y="69850"/>
                </a:moveTo>
                <a:lnTo>
                  <a:pt x="203302" y="69850"/>
                </a:lnTo>
                <a:cubicBezTo>
                  <a:pt x="205811" y="69850"/>
                  <a:pt x="207604" y="71755"/>
                  <a:pt x="207604" y="74422"/>
                </a:cubicBezTo>
                <a:cubicBezTo>
                  <a:pt x="207604" y="76708"/>
                  <a:pt x="205811" y="78994"/>
                  <a:pt x="203302" y="78994"/>
                </a:cubicBezTo>
                <a:lnTo>
                  <a:pt x="156701" y="78994"/>
                </a:lnTo>
                <a:cubicBezTo>
                  <a:pt x="154551" y="78994"/>
                  <a:pt x="152400" y="76708"/>
                  <a:pt x="152400" y="74422"/>
                </a:cubicBezTo>
                <a:cubicBezTo>
                  <a:pt x="152400" y="71755"/>
                  <a:pt x="154551" y="69850"/>
                  <a:pt x="156701" y="69850"/>
                </a:cubicBezTo>
                <a:close/>
                <a:moveTo>
                  <a:pt x="85263" y="69850"/>
                </a:moveTo>
                <a:lnTo>
                  <a:pt x="131865" y="69850"/>
                </a:lnTo>
                <a:cubicBezTo>
                  <a:pt x="134374" y="69850"/>
                  <a:pt x="136166" y="71755"/>
                  <a:pt x="136166" y="74422"/>
                </a:cubicBezTo>
                <a:cubicBezTo>
                  <a:pt x="136166" y="76708"/>
                  <a:pt x="134374" y="78994"/>
                  <a:pt x="131865" y="78994"/>
                </a:cubicBezTo>
                <a:lnTo>
                  <a:pt x="85263" y="78994"/>
                </a:lnTo>
                <a:cubicBezTo>
                  <a:pt x="83113" y="78994"/>
                  <a:pt x="80962" y="76708"/>
                  <a:pt x="80962" y="74422"/>
                </a:cubicBezTo>
                <a:cubicBezTo>
                  <a:pt x="80962" y="71755"/>
                  <a:pt x="83113" y="69850"/>
                  <a:pt x="85263" y="69850"/>
                </a:cubicBezTo>
                <a:close/>
                <a:moveTo>
                  <a:pt x="28184" y="69850"/>
                </a:moveTo>
                <a:lnTo>
                  <a:pt x="63525" y="69850"/>
                </a:lnTo>
                <a:cubicBezTo>
                  <a:pt x="66076" y="69850"/>
                  <a:pt x="67897" y="71755"/>
                  <a:pt x="67897" y="74422"/>
                </a:cubicBezTo>
                <a:cubicBezTo>
                  <a:pt x="67897" y="76708"/>
                  <a:pt x="66076" y="78994"/>
                  <a:pt x="63525" y="78994"/>
                </a:cubicBezTo>
                <a:lnTo>
                  <a:pt x="28184" y="78994"/>
                </a:lnTo>
                <a:cubicBezTo>
                  <a:pt x="25633" y="78994"/>
                  <a:pt x="23812" y="76708"/>
                  <a:pt x="23812" y="74422"/>
                </a:cubicBezTo>
                <a:cubicBezTo>
                  <a:pt x="23812" y="71755"/>
                  <a:pt x="25633" y="69850"/>
                  <a:pt x="28184" y="69850"/>
                </a:cubicBezTo>
                <a:close/>
                <a:moveTo>
                  <a:pt x="67124" y="8661"/>
                </a:moveTo>
                <a:lnTo>
                  <a:pt x="67124" y="22014"/>
                </a:lnTo>
                <a:cubicBezTo>
                  <a:pt x="67124" y="29231"/>
                  <a:pt x="73259" y="35006"/>
                  <a:pt x="80477" y="35006"/>
                </a:cubicBezTo>
                <a:lnTo>
                  <a:pt x="150849" y="35006"/>
                </a:lnTo>
                <a:cubicBezTo>
                  <a:pt x="158067" y="35006"/>
                  <a:pt x="164202" y="29231"/>
                  <a:pt x="164202" y="22014"/>
                </a:cubicBezTo>
                <a:lnTo>
                  <a:pt x="164202" y="8661"/>
                </a:lnTo>
                <a:lnTo>
                  <a:pt x="67124" y="8661"/>
                </a:lnTo>
                <a:close/>
                <a:moveTo>
                  <a:pt x="27788" y="8661"/>
                </a:moveTo>
                <a:cubicBezTo>
                  <a:pt x="17322" y="8661"/>
                  <a:pt x="8661" y="17322"/>
                  <a:pt x="8661" y="27788"/>
                </a:cubicBezTo>
                <a:lnTo>
                  <a:pt x="8661" y="262363"/>
                </a:lnTo>
                <a:cubicBezTo>
                  <a:pt x="8661" y="272829"/>
                  <a:pt x="17322" y="281490"/>
                  <a:pt x="27788" y="281490"/>
                </a:cubicBezTo>
                <a:lnTo>
                  <a:pt x="203539" y="281490"/>
                </a:lnTo>
                <a:cubicBezTo>
                  <a:pt x="214005" y="281490"/>
                  <a:pt x="222666" y="272829"/>
                  <a:pt x="222666" y="262363"/>
                </a:cubicBezTo>
                <a:lnTo>
                  <a:pt x="222666" y="254785"/>
                </a:lnTo>
                <a:lnTo>
                  <a:pt x="121618" y="254785"/>
                </a:lnTo>
                <a:cubicBezTo>
                  <a:pt x="119092" y="254785"/>
                  <a:pt x="116926" y="252980"/>
                  <a:pt x="116926" y="250454"/>
                </a:cubicBezTo>
                <a:lnTo>
                  <a:pt x="116926" y="110070"/>
                </a:lnTo>
                <a:cubicBezTo>
                  <a:pt x="116926" y="107543"/>
                  <a:pt x="119092" y="105378"/>
                  <a:pt x="121618" y="105378"/>
                </a:cubicBezTo>
                <a:lnTo>
                  <a:pt x="222666" y="105378"/>
                </a:lnTo>
                <a:lnTo>
                  <a:pt x="222666" y="27788"/>
                </a:lnTo>
                <a:cubicBezTo>
                  <a:pt x="222666" y="17322"/>
                  <a:pt x="214005" y="8661"/>
                  <a:pt x="203539" y="8661"/>
                </a:cubicBezTo>
                <a:lnTo>
                  <a:pt x="172863" y="8661"/>
                </a:lnTo>
                <a:lnTo>
                  <a:pt x="172863" y="22014"/>
                </a:lnTo>
                <a:cubicBezTo>
                  <a:pt x="172863" y="33923"/>
                  <a:pt x="163120" y="43667"/>
                  <a:pt x="150849" y="43667"/>
                </a:cubicBezTo>
                <a:lnTo>
                  <a:pt x="80477" y="43667"/>
                </a:lnTo>
                <a:cubicBezTo>
                  <a:pt x="68207" y="43667"/>
                  <a:pt x="58463" y="33923"/>
                  <a:pt x="58463" y="22014"/>
                </a:cubicBezTo>
                <a:lnTo>
                  <a:pt x="58463" y="8661"/>
                </a:lnTo>
                <a:lnTo>
                  <a:pt x="27788" y="8661"/>
                </a:lnTo>
                <a:close/>
                <a:moveTo>
                  <a:pt x="27788" y="0"/>
                </a:moveTo>
                <a:lnTo>
                  <a:pt x="203539" y="0"/>
                </a:lnTo>
                <a:cubicBezTo>
                  <a:pt x="219057" y="0"/>
                  <a:pt x="231327" y="12270"/>
                  <a:pt x="231327" y="27788"/>
                </a:cubicBezTo>
                <a:lnTo>
                  <a:pt x="231327" y="105378"/>
                </a:lnTo>
                <a:lnTo>
                  <a:pt x="285821" y="105378"/>
                </a:lnTo>
                <a:cubicBezTo>
                  <a:pt x="287986" y="105378"/>
                  <a:pt x="290151" y="107543"/>
                  <a:pt x="290151" y="110070"/>
                </a:cubicBezTo>
                <a:lnTo>
                  <a:pt x="290151" y="250454"/>
                </a:lnTo>
                <a:cubicBezTo>
                  <a:pt x="290151" y="252980"/>
                  <a:pt x="287986" y="254785"/>
                  <a:pt x="285821" y="254785"/>
                </a:cubicBezTo>
                <a:lnTo>
                  <a:pt x="231327" y="254785"/>
                </a:lnTo>
                <a:lnTo>
                  <a:pt x="231327" y="262363"/>
                </a:lnTo>
                <a:cubicBezTo>
                  <a:pt x="231327" y="277520"/>
                  <a:pt x="219057" y="290151"/>
                  <a:pt x="203539" y="290151"/>
                </a:cubicBezTo>
                <a:lnTo>
                  <a:pt x="27788" y="290151"/>
                </a:lnTo>
                <a:cubicBezTo>
                  <a:pt x="12270" y="290151"/>
                  <a:pt x="0" y="277520"/>
                  <a:pt x="0" y="262363"/>
                </a:cubicBezTo>
                <a:lnTo>
                  <a:pt x="0" y="27788"/>
                </a:lnTo>
                <a:cubicBezTo>
                  <a:pt x="0" y="12270"/>
                  <a:pt x="12270" y="0"/>
                  <a:pt x="27788" y="0"/>
                </a:cubicBezTo>
                <a:close/>
              </a:path>
            </a:pathLst>
          </a:custGeom>
          <a:solidFill>
            <a:schemeClr val="bg1"/>
          </a:solidFill>
          <a:ln>
            <a:noFill/>
          </a:ln>
          <a:effectLst/>
        </p:spPr>
        <p:txBody>
          <a:bodyPr anchor="ctr"/>
          <a:lstStyle/>
          <a:p>
            <a:endParaRPr lang="en-US" sz="900" dirty="0"/>
          </a:p>
        </p:txBody>
      </p:sp>
      <p:sp>
        <p:nvSpPr>
          <p:cNvPr id="55" name="Freeform 1025">
            <a:extLst>
              <a:ext uri="{FF2B5EF4-FFF2-40B4-BE49-F238E27FC236}">
                <a16:creationId xmlns:a16="http://schemas.microsoft.com/office/drawing/2014/main" id="{88CDD3F7-3A2E-3142-BDDE-518626FF13D4}"/>
              </a:ext>
            </a:extLst>
          </p:cNvPr>
          <p:cNvSpPr>
            <a:spLocks noChangeAspect="1" noChangeArrowheads="1"/>
          </p:cNvSpPr>
          <p:nvPr/>
        </p:nvSpPr>
        <p:spPr bwMode="auto">
          <a:xfrm>
            <a:off x="4905558" y="2291246"/>
            <a:ext cx="633202" cy="633202"/>
          </a:xfrm>
          <a:custGeom>
            <a:avLst/>
            <a:gdLst>
              <a:gd name="T0" fmla="*/ 2479687 w 288771"/>
              <a:gd name="T1" fmla="*/ 4236112 h 290202"/>
              <a:gd name="T2" fmla="*/ 3229034 w 288771"/>
              <a:gd name="T3" fmla="*/ 4236112 h 290202"/>
              <a:gd name="T4" fmla="*/ 2854346 w 288771"/>
              <a:gd name="T5" fmla="*/ 3720588 h 290202"/>
              <a:gd name="T6" fmla="*/ 2854346 w 288771"/>
              <a:gd name="T7" fmla="*/ 4751613 h 290202"/>
              <a:gd name="T8" fmla="*/ 2854346 w 288771"/>
              <a:gd name="T9" fmla="*/ 3720588 h 290202"/>
              <a:gd name="T10" fmla="*/ 4162414 w 288771"/>
              <a:gd name="T11" fmla="*/ 3138851 h 290202"/>
              <a:gd name="T12" fmla="*/ 4068831 w 288771"/>
              <a:gd name="T13" fmla="*/ 3794167 h 290202"/>
              <a:gd name="T14" fmla="*/ 4450161 w 288771"/>
              <a:gd name="T15" fmla="*/ 3179379 h 290202"/>
              <a:gd name="T16" fmla="*/ 4119228 w 288771"/>
              <a:gd name="T17" fmla="*/ 2983458 h 290202"/>
              <a:gd name="T18" fmla="*/ 4795527 w 288771"/>
              <a:gd name="T19" fmla="*/ 3348273 h 290202"/>
              <a:gd name="T20" fmla="*/ 4406951 w 288771"/>
              <a:gd name="T21" fmla="*/ 3990023 h 290202"/>
              <a:gd name="T22" fmla="*/ 3982530 w 288771"/>
              <a:gd name="T23" fmla="*/ 3936047 h 290202"/>
              <a:gd name="T24" fmla="*/ 3781039 w 288771"/>
              <a:gd name="T25" fmla="*/ 3226665 h 290202"/>
              <a:gd name="T26" fmla="*/ 4263091 w 288771"/>
              <a:gd name="T27" fmla="*/ 1590318 h 290202"/>
              <a:gd name="T28" fmla="*/ 3932162 w 288771"/>
              <a:gd name="T29" fmla="*/ 2130786 h 290202"/>
              <a:gd name="T30" fmla="*/ 4450161 w 288771"/>
              <a:gd name="T31" fmla="*/ 2259137 h 290202"/>
              <a:gd name="T32" fmla="*/ 4263091 w 288771"/>
              <a:gd name="T33" fmla="*/ 1590318 h 290202"/>
              <a:gd name="T34" fmla="*/ 1135847 w 288771"/>
              <a:gd name="T35" fmla="*/ 1769443 h 290202"/>
              <a:gd name="T36" fmla="*/ 1270191 w 288771"/>
              <a:gd name="T37" fmla="*/ 2258124 h 290202"/>
              <a:gd name="T38" fmla="*/ 1779589 w 288771"/>
              <a:gd name="T39" fmla="*/ 2129167 h 290202"/>
              <a:gd name="T40" fmla="*/ 1461295 w 288771"/>
              <a:gd name="T41" fmla="*/ 1586177 h 290202"/>
              <a:gd name="T42" fmla="*/ 4745157 w 288771"/>
              <a:gd name="T43" fmla="*/ 1691653 h 290202"/>
              <a:gd name="T44" fmla="*/ 4543688 w 288771"/>
              <a:gd name="T45" fmla="*/ 2400988 h 290202"/>
              <a:gd name="T46" fmla="*/ 4119228 w 288771"/>
              <a:gd name="T47" fmla="*/ 2455054 h 290202"/>
              <a:gd name="T48" fmla="*/ 3723523 w 288771"/>
              <a:gd name="T49" fmla="*/ 1813281 h 290202"/>
              <a:gd name="T50" fmla="*/ 4406951 w 288771"/>
              <a:gd name="T51" fmla="*/ 1441710 h 290202"/>
              <a:gd name="T52" fmla="*/ 1730113 w 288771"/>
              <a:gd name="T53" fmla="*/ 1491178 h 290202"/>
              <a:gd name="T54" fmla="*/ 1602711 w 288771"/>
              <a:gd name="T55" fmla="*/ 2454964 h 290202"/>
              <a:gd name="T56" fmla="*/ 1192382 w 288771"/>
              <a:gd name="T57" fmla="*/ 2400652 h 290202"/>
              <a:gd name="T58" fmla="*/ 1318901 w 288771"/>
              <a:gd name="T59" fmla="*/ 1439415 h 290202"/>
              <a:gd name="T60" fmla="*/ 2479687 w 288771"/>
              <a:gd name="T61" fmla="*/ 1178907 h 290202"/>
              <a:gd name="T62" fmla="*/ 3229034 w 288771"/>
              <a:gd name="T63" fmla="*/ 1178907 h 290202"/>
              <a:gd name="T64" fmla="*/ 2854346 w 288771"/>
              <a:gd name="T65" fmla="*/ 666714 h 290202"/>
              <a:gd name="T66" fmla="*/ 2854346 w 288771"/>
              <a:gd name="T67" fmla="*/ 1697789 h 290202"/>
              <a:gd name="T68" fmla="*/ 2854346 w 288771"/>
              <a:gd name="T69" fmla="*/ 666714 h 290202"/>
              <a:gd name="T70" fmla="*/ 326357 w 288771"/>
              <a:gd name="T71" fmla="*/ 1862106 h 290202"/>
              <a:gd name="T72" fmla="*/ 305041 w 288771"/>
              <a:gd name="T73" fmla="*/ 2920052 h 290202"/>
              <a:gd name="T74" fmla="*/ 1318108 w 288771"/>
              <a:gd name="T75" fmla="*/ 2879605 h 290202"/>
              <a:gd name="T76" fmla="*/ 2005184 w 288771"/>
              <a:gd name="T77" fmla="*/ 3182851 h 290202"/>
              <a:gd name="T78" fmla="*/ 1495155 w 288771"/>
              <a:gd name="T79" fmla="*/ 4422756 h 290202"/>
              <a:gd name="T80" fmla="*/ 1608548 w 288771"/>
              <a:gd name="T81" fmla="*/ 4961800 h 290202"/>
              <a:gd name="T82" fmla="*/ 5377170 w 288771"/>
              <a:gd name="T83" fmla="*/ 3540009 h 290202"/>
              <a:gd name="T84" fmla="*/ 3322828 w 288771"/>
              <a:gd name="T85" fmla="*/ 204427 h 290202"/>
              <a:gd name="T86" fmla="*/ 5306340 w 288771"/>
              <a:gd name="T87" fmla="*/ 1336489 h 290202"/>
              <a:gd name="T88" fmla="*/ 2841121 w 288771"/>
              <a:gd name="T89" fmla="*/ 5420042 h 290202"/>
              <a:gd name="T90" fmla="*/ 1523479 w 288771"/>
              <a:gd name="T91" fmla="*/ 5110055 h 290202"/>
              <a:gd name="T92" fmla="*/ 1360590 w 288771"/>
              <a:gd name="T93" fmla="*/ 4321665 h 290202"/>
              <a:gd name="T94" fmla="*/ 1856409 w 288771"/>
              <a:gd name="T95" fmla="*/ 3263697 h 290202"/>
              <a:gd name="T96" fmla="*/ 637991 w 288771"/>
              <a:gd name="T97" fmla="*/ 3155899 h 290202"/>
              <a:gd name="T98" fmla="*/ 477 w 288771"/>
              <a:gd name="T99" fmla="*/ 2637034 h 290202"/>
              <a:gd name="T100" fmla="*/ 3351188 w 288771"/>
              <a:gd name="T101" fmla="*/ 42717 h 2902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8771" h="290202">
                <a:moveTo>
                  <a:pt x="144742" y="208171"/>
                </a:moveTo>
                <a:cubicBezTo>
                  <a:pt x="134346" y="208171"/>
                  <a:pt x="125743" y="216416"/>
                  <a:pt x="125743" y="226812"/>
                </a:cubicBezTo>
                <a:cubicBezTo>
                  <a:pt x="125743" y="237207"/>
                  <a:pt x="134346" y="245810"/>
                  <a:pt x="144742" y="245810"/>
                </a:cubicBezTo>
                <a:cubicBezTo>
                  <a:pt x="155138" y="245810"/>
                  <a:pt x="163741" y="237207"/>
                  <a:pt x="163741" y="226812"/>
                </a:cubicBezTo>
                <a:cubicBezTo>
                  <a:pt x="163741" y="216416"/>
                  <a:pt x="155138" y="208171"/>
                  <a:pt x="144742" y="208171"/>
                </a:cubicBezTo>
                <a:close/>
                <a:moveTo>
                  <a:pt x="144742" y="199209"/>
                </a:moveTo>
                <a:cubicBezTo>
                  <a:pt x="159798" y="199209"/>
                  <a:pt x="172344" y="211756"/>
                  <a:pt x="172344" y="226812"/>
                </a:cubicBezTo>
                <a:cubicBezTo>
                  <a:pt x="172344" y="242226"/>
                  <a:pt x="159798" y="254414"/>
                  <a:pt x="144742" y="254414"/>
                </a:cubicBezTo>
                <a:cubicBezTo>
                  <a:pt x="129328" y="254414"/>
                  <a:pt x="117140" y="242226"/>
                  <a:pt x="117140" y="226812"/>
                </a:cubicBezTo>
                <a:cubicBezTo>
                  <a:pt x="117140" y="211756"/>
                  <a:pt x="129328" y="199209"/>
                  <a:pt x="144742" y="199209"/>
                </a:cubicBezTo>
                <a:close/>
                <a:moveTo>
                  <a:pt x="216177" y="167700"/>
                </a:moveTo>
                <a:cubicBezTo>
                  <a:pt x="214353" y="167700"/>
                  <a:pt x="212893" y="167700"/>
                  <a:pt x="211069" y="168062"/>
                </a:cubicBezTo>
                <a:cubicBezTo>
                  <a:pt x="206326" y="169509"/>
                  <a:pt x="201948" y="172764"/>
                  <a:pt x="199395" y="177105"/>
                </a:cubicBezTo>
                <a:cubicBezTo>
                  <a:pt x="193922" y="186148"/>
                  <a:pt x="197206" y="198084"/>
                  <a:pt x="206326" y="203148"/>
                </a:cubicBezTo>
                <a:cubicBezTo>
                  <a:pt x="215812" y="208573"/>
                  <a:pt x="227487" y="205318"/>
                  <a:pt x="232959" y="196275"/>
                </a:cubicBezTo>
                <a:cubicBezTo>
                  <a:pt x="238067" y="187233"/>
                  <a:pt x="235148" y="175296"/>
                  <a:pt x="225662" y="170232"/>
                </a:cubicBezTo>
                <a:cubicBezTo>
                  <a:pt x="222744" y="168424"/>
                  <a:pt x="219460" y="167700"/>
                  <a:pt x="216177" y="167700"/>
                </a:cubicBezTo>
                <a:close/>
                <a:moveTo>
                  <a:pt x="208880" y="159743"/>
                </a:moveTo>
                <a:cubicBezTo>
                  <a:pt x="216177" y="157934"/>
                  <a:pt x="223473" y="158658"/>
                  <a:pt x="230405" y="162275"/>
                </a:cubicBezTo>
                <a:cubicBezTo>
                  <a:pt x="236607" y="166254"/>
                  <a:pt x="241350" y="172403"/>
                  <a:pt x="243174" y="179275"/>
                </a:cubicBezTo>
                <a:cubicBezTo>
                  <a:pt x="245363" y="186509"/>
                  <a:pt x="244269" y="194105"/>
                  <a:pt x="240621" y="200616"/>
                </a:cubicBezTo>
                <a:cubicBezTo>
                  <a:pt x="236607" y="207127"/>
                  <a:pt x="230770" y="211829"/>
                  <a:pt x="223473" y="213637"/>
                </a:cubicBezTo>
                <a:cubicBezTo>
                  <a:pt x="220920" y="214361"/>
                  <a:pt x="218366" y="214723"/>
                  <a:pt x="216177" y="214723"/>
                </a:cubicBezTo>
                <a:cubicBezTo>
                  <a:pt x="211069" y="214723"/>
                  <a:pt x="206326" y="213276"/>
                  <a:pt x="201948" y="210744"/>
                </a:cubicBezTo>
                <a:cubicBezTo>
                  <a:pt x="195381" y="207127"/>
                  <a:pt x="191003" y="200978"/>
                  <a:pt x="188814" y="193743"/>
                </a:cubicBezTo>
                <a:cubicBezTo>
                  <a:pt x="186990" y="186509"/>
                  <a:pt x="188085" y="179275"/>
                  <a:pt x="191733" y="172764"/>
                </a:cubicBezTo>
                <a:cubicBezTo>
                  <a:pt x="195381" y="166254"/>
                  <a:pt x="201584" y="161551"/>
                  <a:pt x="208880" y="159743"/>
                </a:cubicBezTo>
                <a:close/>
                <a:moveTo>
                  <a:pt x="216177" y="85150"/>
                </a:moveTo>
                <a:cubicBezTo>
                  <a:pt x="212893" y="85150"/>
                  <a:pt x="209610" y="86236"/>
                  <a:pt x="206326" y="87682"/>
                </a:cubicBezTo>
                <a:cubicBezTo>
                  <a:pt x="197206" y="93108"/>
                  <a:pt x="193922" y="104683"/>
                  <a:pt x="199395" y="114087"/>
                </a:cubicBezTo>
                <a:cubicBezTo>
                  <a:pt x="201948" y="118428"/>
                  <a:pt x="206326" y="121683"/>
                  <a:pt x="211069" y="122768"/>
                </a:cubicBezTo>
                <a:cubicBezTo>
                  <a:pt x="216177" y="124215"/>
                  <a:pt x="221284" y="123492"/>
                  <a:pt x="225662" y="120960"/>
                </a:cubicBezTo>
                <a:cubicBezTo>
                  <a:pt x="235148" y="115534"/>
                  <a:pt x="238067" y="103959"/>
                  <a:pt x="232959" y="94917"/>
                </a:cubicBezTo>
                <a:cubicBezTo>
                  <a:pt x="229311" y="88767"/>
                  <a:pt x="222744" y="85150"/>
                  <a:pt x="216177" y="85150"/>
                </a:cubicBezTo>
                <a:close/>
                <a:moveTo>
                  <a:pt x="74098" y="84928"/>
                </a:moveTo>
                <a:cubicBezTo>
                  <a:pt x="67641" y="84928"/>
                  <a:pt x="61183" y="88562"/>
                  <a:pt x="57596" y="94740"/>
                </a:cubicBezTo>
                <a:cubicBezTo>
                  <a:pt x="55084" y="99101"/>
                  <a:pt x="54367" y="104189"/>
                  <a:pt x="55802" y="109276"/>
                </a:cubicBezTo>
                <a:cubicBezTo>
                  <a:pt x="57237" y="114001"/>
                  <a:pt x="60466" y="118362"/>
                  <a:pt x="64412" y="120905"/>
                </a:cubicBezTo>
                <a:cubicBezTo>
                  <a:pt x="69076" y="123449"/>
                  <a:pt x="74098" y="124176"/>
                  <a:pt x="79121" y="122722"/>
                </a:cubicBezTo>
                <a:cubicBezTo>
                  <a:pt x="83785" y="121632"/>
                  <a:pt x="87731" y="118362"/>
                  <a:pt x="90242" y="114001"/>
                </a:cubicBezTo>
                <a:cubicBezTo>
                  <a:pt x="95624" y="104552"/>
                  <a:pt x="92754" y="92923"/>
                  <a:pt x="83426" y="87472"/>
                </a:cubicBezTo>
                <a:cubicBezTo>
                  <a:pt x="80556" y="86019"/>
                  <a:pt x="77327" y="84928"/>
                  <a:pt x="74098" y="84928"/>
                </a:cubicBezTo>
                <a:close/>
                <a:moveTo>
                  <a:pt x="223473" y="77193"/>
                </a:moveTo>
                <a:cubicBezTo>
                  <a:pt x="230770" y="79363"/>
                  <a:pt x="236607" y="84065"/>
                  <a:pt x="240621" y="90576"/>
                </a:cubicBezTo>
                <a:cubicBezTo>
                  <a:pt x="244269" y="97087"/>
                  <a:pt x="245363" y="104321"/>
                  <a:pt x="243174" y="111555"/>
                </a:cubicBezTo>
                <a:cubicBezTo>
                  <a:pt x="241350" y="118789"/>
                  <a:pt x="236607" y="124577"/>
                  <a:pt x="230405" y="128555"/>
                </a:cubicBezTo>
                <a:cubicBezTo>
                  <a:pt x="226027" y="131087"/>
                  <a:pt x="220920" y="132173"/>
                  <a:pt x="216177" y="132173"/>
                </a:cubicBezTo>
                <a:cubicBezTo>
                  <a:pt x="213623" y="132173"/>
                  <a:pt x="211069" y="131811"/>
                  <a:pt x="208880" y="131449"/>
                </a:cubicBezTo>
                <a:cubicBezTo>
                  <a:pt x="201584" y="129279"/>
                  <a:pt x="195381" y="124577"/>
                  <a:pt x="191733" y="118428"/>
                </a:cubicBezTo>
                <a:cubicBezTo>
                  <a:pt x="188085" y="111917"/>
                  <a:pt x="186990" y="104321"/>
                  <a:pt x="188814" y="97087"/>
                </a:cubicBezTo>
                <a:cubicBezTo>
                  <a:pt x="191003" y="89853"/>
                  <a:pt x="195381" y="84065"/>
                  <a:pt x="201948" y="80086"/>
                </a:cubicBezTo>
                <a:cubicBezTo>
                  <a:pt x="208515" y="76469"/>
                  <a:pt x="216177" y="75384"/>
                  <a:pt x="223473" y="77193"/>
                </a:cubicBezTo>
                <a:close/>
                <a:moveTo>
                  <a:pt x="66878" y="77070"/>
                </a:moveTo>
                <a:cubicBezTo>
                  <a:pt x="73740" y="75207"/>
                  <a:pt x="81274" y="76025"/>
                  <a:pt x="87731" y="79841"/>
                </a:cubicBezTo>
                <a:cubicBezTo>
                  <a:pt x="101005" y="87472"/>
                  <a:pt x="105669" y="104916"/>
                  <a:pt x="98135" y="118362"/>
                </a:cubicBezTo>
                <a:cubicBezTo>
                  <a:pt x="94548" y="124539"/>
                  <a:pt x="88449" y="129264"/>
                  <a:pt x="81274" y="131444"/>
                </a:cubicBezTo>
                <a:cubicBezTo>
                  <a:pt x="78762" y="131807"/>
                  <a:pt x="76610" y="132171"/>
                  <a:pt x="74098" y="132171"/>
                </a:cubicBezTo>
                <a:cubicBezTo>
                  <a:pt x="69076" y="132171"/>
                  <a:pt x="64412" y="131081"/>
                  <a:pt x="60466" y="128537"/>
                </a:cubicBezTo>
                <a:cubicBezTo>
                  <a:pt x="46833" y="120542"/>
                  <a:pt x="42528" y="103462"/>
                  <a:pt x="50062" y="90379"/>
                </a:cubicBezTo>
                <a:cubicBezTo>
                  <a:pt x="53829" y="83475"/>
                  <a:pt x="60017" y="78932"/>
                  <a:pt x="66878" y="77070"/>
                </a:cubicBezTo>
                <a:close/>
                <a:moveTo>
                  <a:pt x="144742" y="44245"/>
                </a:moveTo>
                <a:cubicBezTo>
                  <a:pt x="134346" y="44245"/>
                  <a:pt x="125743" y="52793"/>
                  <a:pt x="125743" y="63122"/>
                </a:cubicBezTo>
                <a:cubicBezTo>
                  <a:pt x="125743" y="73450"/>
                  <a:pt x="134346" y="81999"/>
                  <a:pt x="144742" y="81999"/>
                </a:cubicBezTo>
                <a:cubicBezTo>
                  <a:pt x="155138" y="81999"/>
                  <a:pt x="163741" y="73450"/>
                  <a:pt x="163741" y="63122"/>
                </a:cubicBezTo>
                <a:cubicBezTo>
                  <a:pt x="163741" y="52793"/>
                  <a:pt x="155138" y="44245"/>
                  <a:pt x="144742" y="44245"/>
                </a:cubicBezTo>
                <a:close/>
                <a:moveTo>
                  <a:pt x="144742" y="35697"/>
                </a:moveTo>
                <a:cubicBezTo>
                  <a:pt x="159798" y="35697"/>
                  <a:pt x="172344" y="48163"/>
                  <a:pt x="172344" y="63122"/>
                </a:cubicBezTo>
                <a:cubicBezTo>
                  <a:pt x="172344" y="78437"/>
                  <a:pt x="159798" y="90903"/>
                  <a:pt x="144742" y="90903"/>
                </a:cubicBezTo>
                <a:cubicBezTo>
                  <a:pt x="129328" y="90903"/>
                  <a:pt x="117140" y="78437"/>
                  <a:pt x="117140" y="63122"/>
                </a:cubicBezTo>
                <a:cubicBezTo>
                  <a:pt x="117140" y="48163"/>
                  <a:pt x="129328" y="35697"/>
                  <a:pt x="144742" y="35697"/>
                </a:cubicBezTo>
                <a:close/>
                <a:moveTo>
                  <a:pt x="168496" y="10946"/>
                </a:moveTo>
                <a:cubicBezTo>
                  <a:pt x="103478" y="-600"/>
                  <a:pt x="38101" y="37284"/>
                  <a:pt x="16548" y="99702"/>
                </a:cubicBezTo>
                <a:cubicBezTo>
                  <a:pt x="11878" y="113412"/>
                  <a:pt x="9364" y="127483"/>
                  <a:pt x="9004" y="141554"/>
                </a:cubicBezTo>
                <a:cubicBezTo>
                  <a:pt x="8645" y="146966"/>
                  <a:pt x="10800" y="152378"/>
                  <a:pt x="15470" y="156347"/>
                </a:cubicBezTo>
                <a:cubicBezTo>
                  <a:pt x="19422" y="159955"/>
                  <a:pt x="25528" y="161398"/>
                  <a:pt x="30916" y="160315"/>
                </a:cubicBezTo>
                <a:lnTo>
                  <a:pt x="66838" y="154182"/>
                </a:lnTo>
                <a:cubicBezTo>
                  <a:pt x="68634" y="153821"/>
                  <a:pt x="70789" y="153821"/>
                  <a:pt x="72585" y="153821"/>
                </a:cubicBezTo>
                <a:cubicBezTo>
                  <a:pt x="84440" y="153821"/>
                  <a:pt x="95216" y="159955"/>
                  <a:pt x="101682" y="170418"/>
                </a:cubicBezTo>
                <a:cubicBezTo>
                  <a:pt x="108507" y="182685"/>
                  <a:pt x="107429" y="197838"/>
                  <a:pt x="98808" y="208662"/>
                </a:cubicBezTo>
                <a:lnTo>
                  <a:pt x="75818" y="236804"/>
                </a:lnTo>
                <a:cubicBezTo>
                  <a:pt x="72226" y="241494"/>
                  <a:pt x="70789" y="247267"/>
                  <a:pt x="71867" y="253040"/>
                </a:cubicBezTo>
                <a:cubicBezTo>
                  <a:pt x="72945" y="258452"/>
                  <a:pt x="76537" y="263142"/>
                  <a:pt x="81566" y="265668"/>
                </a:cubicBezTo>
                <a:cubicBezTo>
                  <a:pt x="93779" y="272523"/>
                  <a:pt x="107429" y="277213"/>
                  <a:pt x="121439" y="279378"/>
                </a:cubicBezTo>
                <a:cubicBezTo>
                  <a:pt x="186098" y="290923"/>
                  <a:pt x="251116" y="252318"/>
                  <a:pt x="272669" y="189540"/>
                </a:cubicBezTo>
                <a:cubicBezTo>
                  <a:pt x="285601" y="151656"/>
                  <a:pt x="281290" y="110526"/>
                  <a:pt x="261174" y="76250"/>
                </a:cubicBezTo>
                <a:cubicBezTo>
                  <a:pt x="241417" y="41974"/>
                  <a:pt x="207292" y="18162"/>
                  <a:pt x="168496" y="10946"/>
                </a:cubicBezTo>
                <a:close/>
                <a:moveTo>
                  <a:pt x="169933" y="2287"/>
                </a:moveTo>
                <a:cubicBezTo>
                  <a:pt x="211602" y="9863"/>
                  <a:pt x="247524" y="35119"/>
                  <a:pt x="269077" y="71559"/>
                </a:cubicBezTo>
                <a:cubicBezTo>
                  <a:pt x="290270" y="108000"/>
                  <a:pt x="294581" y="152378"/>
                  <a:pt x="280931" y="192426"/>
                </a:cubicBezTo>
                <a:cubicBezTo>
                  <a:pt x="260815" y="251236"/>
                  <a:pt x="204777" y="290202"/>
                  <a:pt x="144069" y="290202"/>
                </a:cubicBezTo>
                <a:cubicBezTo>
                  <a:pt x="136167" y="290202"/>
                  <a:pt x="127905" y="289480"/>
                  <a:pt x="119643" y="288037"/>
                </a:cubicBezTo>
                <a:cubicBezTo>
                  <a:pt x="104915" y="285512"/>
                  <a:pt x="90546" y="280460"/>
                  <a:pt x="77255" y="273605"/>
                </a:cubicBezTo>
                <a:cubicBezTo>
                  <a:pt x="70071" y="269997"/>
                  <a:pt x="65042" y="263142"/>
                  <a:pt x="63246" y="254844"/>
                </a:cubicBezTo>
                <a:cubicBezTo>
                  <a:pt x="61450" y="246546"/>
                  <a:pt x="63605" y="237887"/>
                  <a:pt x="68993" y="231392"/>
                </a:cubicBezTo>
                <a:lnTo>
                  <a:pt x="91983" y="203250"/>
                </a:lnTo>
                <a:cubicBezTo>
                  <a:pt x="99886" y="193148"/>
                  <a:pt x="98090" y="181963"/>
                  <a:pt x="94138" y="174747"/>
                </a:cubicBezTo>
                <a:cubicBezTo>
                  <a:pt x="89828" y="167531"/>
                  <a:pt x="80847" y="160676"/>
                  <a:pt x="68275" y="163202"/>
                </a:cubicBezTo>
                <a:lnTo>
                  <a:pt x="32353" y="168975"/>
                </a:lnTo>
                <a:cubicBezTo>
                  <a:pt x="24091" y="170779"/>
                  <a:pt x="16189" y="168253"/>
                  <a:pt x="9364" y="162841"/>
                </a:cubicBezTo>
                <a:cubicBezTo>
                  <a:pt x="3257" y="157429"/>
                  <a:pt x="-335" y="149492"/>
                  <a:pt x="24" y="141193"/>
                </a:cubicBezTo>
                <a:cubicBezTo>
                  <a:pt x="383" y="126040"/>
                  <a:pt x="2898" y="111247"/>
                  <a:pt x="8286" y="96815"/>
                </a:cubicBezTo>
                <a:cubicBezTo>
                  <a:pt x="31276" y="30429"/>
                  <a:pt x="100604" y="-10341"/>
                  <a:pt x="169933" y="2287"/>
                </a:cubicBezTo>
                <a:close/>
              </a:path>
            </a:pathLst>
          </a:custGeom>
          <a:solidFill>
            <a:schemeClr val="bg1"/>
          </a:solidFill>
          <a:ln>
            <a:noFill/>
          </a:ln>
          <a:effectLst/>
        </p:spPr>
        <p:txBody>
          <a:bodyPr anchor="ctr"/>
          <a:lstStyle/>
          <a:p>
            <a:endParaRPr lang="en-US" sz="900" dirty="0"/>
          </a:p>
        </p:txBody>
      </p:sp>
      <p:sp>
        <p:nvSpPr>
          <p:cNvPr id="56" name="Freeform 906">
            <a:extLst>
              <a:ext uri="{FF2B5EF4-FFF2-40B4-BE49-F238E27FC236}">
                <a16:creationId xmlns:a16="http://schemas.microsoft.com/office/drawing/2014/main" id="{7A42B8A6-1199-C045-9D79-FE69E40B8BC8}"/>
              </a:ext>
            </a:extLst>
          </p:cNvPr>
          <p:cNvSpPr>
            <a:spLocks noChangeAspect="1" noChangeArrowheads="1"/>
          </p:cNvSpPr>
          <p:nvPr/>
        </p:nvSpPr>
        <p:spPr bwMode="auto">
          <a:xfrm>
            <a:off x="7055459" y="2563884"/>
            <a:ext cx="637039" cy="585232"/>
          </a:xfrm>
          <a:custGeom>
            <a:avLst/>
            <a:gdLst>
              <a:gd name="T0" fmla="*/ 2147483646 w 805"/>
              <a:gd name="T1" fmla="*/ 2147483646 h 740"/>
              <a:gd name="T2" fmla="*/ 2147483646 w 805"/>
              <a:gd name="T3" fmla="*/ 2147483646 h 740"/>
              <a:gd name="T4" fmla="*/ 2147483646 w 805"/>
              <a:gd name="T5" fmla="*/ 2147483646 h 740"/>
              <a:gd name="T6" fmla="*/ 2147483646 w 805"/>
              <a:gd name="T7" fmla="*/ 2147483646 h 740"/>
              <a:gd name="T8" fmla="*/ 2147483646 w 805"/>
              <a:gd name="T9" fmla="*/ 2147483646 h 740"/>
              <a:gd name="T10" fmla="*/ 2147483646 w 805"/>
              <a:gd name="T11" fmla="*/ 2147483646 h 740"/>
              <a:gd name="T12" fmla="*/ 2147483646 w 805"/>
              <a:gd name="T13" fmla="*/ 2147483646 h 740"/>
              <a:gd name="T14" fmla="*/ 2147483646 w 805"/>
              <a:gd name="T15" fmla="*/ 2147483646 h 740"/>
              <a:gd name="T16" fmla="*/ 2147483646 w 805"/>
              <a:gd name="T17" fmla="*/ 2147483646 h 740"/>
              <a:gd name="T18" fmla="*/ 2147483646 w 805"/>
              <a:gd name="T19" fmla="*/ 2147483646 h 740"/>
              <a:gd name="T20" fmla="*/ 2147483646 w 805"/>
              <a:gd name="T21" fmla="*/ 2147483646 h 740"/>
              <a:gd name="T22" fmla="*/ 2147483646 w 805"/>
              <a:gd name="T23" fmla="*/ 2147483646 h 740"/>
              <a:gd name="T24" fmla="*/ 2147483646 w 805"/>
              <a:gd name="T25" fmla="*/ 2147483646 h 740"/>
              <a:gd name="T26" fmla="*/ 2147483646 w 805"/>
              <a:gd name="T27" fmla="*/ 2147483646 h 740"/>
              <a:gd name="T28" fmla="*/ 2147483646 w 805"/>
              <a:gd name="T29" fmla="*/ 2147483646 h 740"/>
              <a:gd name="T30" fmla="*/ 2147483646 w 805"/>
              <a:gd name="T31" fmla="*/ 2147483646 h 740"/>
              <a:gd name="T32" fmla="*/ 2147483646 w 805"/>
              <a:gd name="T33" fmla="*/ 2147483646 h 740"/>
              <a:gd name="T34" fmla="*/ 2147483646 w 805"/>
              <a:gd name="T35" fmla="*/ 2147483646 h 740"/>
              <a:gd name="T36" fmla="*/ 2147483646 w 805"/>
              <a:gd name="T37" fmla="*/ 2147483646 h 740"/>
              <a:gd name="T38" fmla="*/ 2147483646 w 805"/>
              <a:gd name="T39" fmla="*/ 2147483646 h 740"/>
              <a:gd name="T40" fmla="*/ 2147483646 w 805"/>
              <a:gd name="T41" fmla="*/ 2147483646 h 740"/>
              <a:gd name="T42" fmla="*/ 2147483646 w 805"/>
              <a:gd name="T43" fmla="*/ 2147483646 h 740"/>
              <a:gd name="T44" fmla="*/ 2147483646 w 805"/>
              <a:gd name="T45" fmla="*/ 2147483646 h 740"/>
              <a:gd name="T46" fmla="*/ 2147483646 w 805"/>
              <a:gd name="T47" fmla="*/ 2147483646 h 740"/>
              <a:gd name="T48" fmla="*/ 2147483646 w 805"/>
              <a:gd name="T49" fmla="*/ 2147483646 h 740"/>
              <a:gd name="T50" fmla="*/ 2147483646 w 805"/>
              <a:gd name="T51" fmla="*/ 2147483646 h 740"/>
              <a:gd name="T52" fmla="*/ 2147483646 w 805"/>
              <a:gd name="T53" fmla="*/ 2147483646 h 740"/>
              <a:gd name="T54" fmla="*/ 2147483646 w 805"/>
              <a:gd name="T55" fmla="*/ 2147483646 h 740"/>
              <a:gd name="T56" fmla="*/ 2147483646 w 805"/>
              <a:gd name="T57" fmla="*/ 2147483646 h 740"/>
              <a:gd name="T58" fmla="*/ 2147483646 w 805"/>
              <a:gd name="T59" fmla="*/ 2147483646 h 740"/>
              <a:gd name="T60" fmla="*/ 2147483646 w 805"/>
              <a:gd name="T61" fmla="*/ 2147483646 h 740"/>
              <a:gd name="T62" fmla="*/ 2147483646 w 805"/>
              <a:gd name="T63" fmla="*/ 2147483646 h 740"/>
              <a:gd name="T64" fmla="*/ 2147483646 w 805"/>
              <a:gd name="T65" fmla="*/ 2147483646 h 740"/>
              <a:gd name="T66" fmla="*/ 2147483646 w 805"/>
              <a:gd name="T67" fmla="*/ 0 h 740"/>
              <a:gd name="T68" fmla="*/ 2147483646 w 805"/>
              <a:gd name="T69" fmla="*/ 0 h 740"/>
              <a:gd name="T70" fmla="*/ 2147483646 w 805"/>
              <a:gd name="T71" fmla="*/ 0 h 740"/>
              <a:gd name="T72" fmla="*/ 2147483646 w 805"/>
              <a:gd name="T73" fmla="*/ 2147483646 h 740"/>
              <a:gd name="T74" fmla="*/ 2147483646 w 805"/>
              <a:gd name="T75" fmla="*/ 2147483646 h 740"/>
              <a:gd name="T76" fmla="*/ 2147483646 w 805"/>
              <a:gd name="T77" fmla="*/ 2147483646 h 740"/>
              <a:gd name="T78" fmla="*/ 2147483646 w 805"/>
              <a:gd name="T79" fmla="*/ 2147483646 h 740"/>
              <a:gd name="T80" fmla="*/ 0 w 805"/>
              <a:gd name="T81" fmla="*/ 2147483646 h 740"/>
              <a:gd name="T82" fmla="*/ 0 w 805"/>
              <a:gd name="T83" fmla="*/ 2147483646 h 740"/>
              <a:gd name="T84" fmla="*/ 2147483646 w 805"/>
              <a:gd name="T85" fmla="*/ 2147483646 h 740"/>
              <a:gd name="T86" fmla="*/ 2147483646 w 805"/>
              <a:gd name="T87" fmla="*/ 2147483646 h 740"/>
              <a:gd name="T88" fmla="*/ 2147483646 w 805"/>
              <a:gd name="T89" fmla="*/ 2147483646 h 740"/>
              <a:gd name="T90" fmla="*/ 2147483646 w 805"/>
              <a:gd name="T91" fmla="*/ 2147483646 h 740"/>
              <a:gd name="T92" fmla="*/ 2147483646 w 805"/>
              <a:gd name="T93" fmla="*/ 2147483646 h 740"/>
              <a:gd name="T94" fmla="*/ 2147483646 w 805"/>
              <a:gd name="T95" fmla="*/ 2147483646 h 74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805" h="740">
                <a:moveTo>
                  <a:pt x="109" y="715"/>
                </a:moveTo>
                <a:lnTo>
                  <a:pt x="158" y="564"/>
                </a:lnTo>
                <a:lnTo>
                  <a:pt x="646" y="564"/>
                </a:lnTo>
                <a:lnTo>
                  <a:pt x="693" y="715"/>
                </a:lnTo>
                <a:lnTo>
                  <a:pt x="109" y="715"/>
                </a:lnTo>
                <a:close/>
                <a:moveTo>
                  <a:pt x="318" y="61"/>
                </a:moveTo>
                <a:lnTo>
                  <a:pt x="318" y="61"/>
                </a:lnTo>
                <a:cubicBezTo>
                  <a:pt x="324" y="39"/>
                  <a:pt x="345" y="25"/>
                  <a:pt x="368" y="25"/>
                </a:cubicBezTo>
                <a:lnTo>
                  <a:pt x="435" y="25"/>
                </a:lnTo>
                <a:cubicBezTo>
                  <a:pt x="458" y="25"/>
                  <a:pt x="478" y="39"/>
                  <a:pt x="485" y="61"/>
                </a:cubicBezTo>
                <a:lnTo>
                  <a:pt x="522" y="176"/>
                </a:lnTo>
                <a:lnTo>
                  <a:pt x="281" y="176"/>
                </a:lnTo>
                <a:lnTo>
                  <a:pt x="318" y="61"/>
                </a:lnTo>
                <a:close/>
                <a:moveTo>
                  <a:pt x="273" y="200"/>
                </a:moveTo>
                <a:lnTo>
                  <a:pt x="530" y="200"/>
                </a:lnTo>
                <a:lnTo>
                  <a:pt x="552" y="270"/>
                </a:lnTo>
                <a:lnTo>
                  <a:pt x="251" y="270"/>
                </a:lnTo>
                <a:lnTo>
                  <a:pt x="273" y="200"/>
                </a:lnTo>
                <a:close/>
                <a:moveTo>
                  <a:pt x="243" y="294"/>
                </a:moveTo>
                <a:lnTo>
                  <a:pt x="559" y="294"/>
                </a:lnTo>
                <a:lnTo>
                  <a:pt x="607" y="445"/>
                </a:lnTo>
                <a:lnTo>
                  <a:pt x="195" y="445"/>
                </a:lnTo>
                <a:lnTo>
                  <a:pt x="243" y="294"/>
                </a:lnTo>
                <a:close/>
                <a:moveTo>
                  <a:pt x="188" y="470"/>
                </a:moveTo>
                <a:lnTo>
                  <a:pt x="616" y="470"/>
                </a:lnTo>
                <a:lnTo>
                  <a:pt x="637" y="540"/>
                </a:lnTo>
                <a:lnTo>
                  <a:pt x="165" y="540"/>
                </a:lnTo>
                <a:lnTo>
                  <a:pt x="188" y="470"/>
                </a:lnTo>
                <a:close/>
                <a:moveTo>
                  <a:pt x="791" y="715"/>
                </a:moveTo>
                <a:lnTo>
                  <a:pt x="719" y="715"/>
                </a:lnTo>
                <a:lnTo>
                  <a:pt x="509" y="54"/>
                </a:lnTo>
                <a:cubicBezTo>
                  <a:pt x="498" y="22"/>
                  <a:pt x="469" y="0"/>
                  <a:pt x="435" y="0"/>
                </a:cubicBezTo>
                <a:lnTo>
                  <a:pt x="368" y="0"/>
                </a:lnTo>
                <a:cubicBezTo>
                  <a:pt x="334" y="0"/>
                  <a:pt x="304" y="22"/>
                  <a:pt x="294" y="54"/>
                </a:cubicBezTo>
                <a:lnTo>
                  <a:pt x="84" y="715"/>
                </a:lnTo>
                <a:lnTo>
                  <a:pt x="11" y="715"/>
                </a:lnTo>
                <a:cubicBezTo>
                  <a:pt x="5" y="715"/>
                  <a:pt x="0" y="721"/>
                  <a:pt x="0" y="727"/>
                </a:cubicBezTo>
                <a:cubicBezTo>
                  <a:pt x="0" y="734"/>
                  <a:pt x="5" y="739"/>
                  <a:pt x="11" y="739"/>
                </a:cubicBezTo>
                <a:lnTo>
                  <a:pt x="791" y="739"/>
                </a:lnTo>
                <a:cubicBezTo>
                  <a:pt x="798" y="739"/>
                  <a:pt x="804" y="734"/>
                  <a:pt x="804" y="727"/>
                </a:cubicBezTo>
                <a:cubicBezTo>
                  <a:pt x="804" y="721"/>
                  <a:pt x="798" y="715"/>
                  <a:pt x="791" y="715"/>
                </a:cubicBezTo>
                <a:close/>
              </a:path>
            </a:pathLst>
          </a:custGeom>
          <a:solidFill>
            <a:schemeClr val="bg1"/>
          </a:solidFill>
          <a:ln>
            <a:noFill/>
          </a:ln>
          <a:effectLst/>
        </p:spPr>
        <p:txBody>
          <a:bodyPr wrap="none" anchor="ctr"/>
          <a:lstStyle/>
          <a:p>
            <a:endParaRPr lang="en-US" sz="900" dirty="0"/>
          </a:p>
        </p:txBody>
      </p:sp>
      <p:sp>
        <p:nvSpPr>
          <p:cNvPr id="24" name="Titel 1">
            <a:extLst>
              <a:ext uri="{FF2B5EF4-FFF2-40B4-BE49-F238E27FC236}">
                <a16:creationId xmlns:a16="http://schemas.microsoft.com/office/drawing/2014/main" id="{EC575808-F407-4876-84C1-6B772E912841}"/>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Circle infographic</a:t>
            </a:r>
          </a:p>
        </p:txBody>
      </p:sp>
    </p:spTree>
    <p:custDataLst>
      <p:tags r:id="rId1"/>
    </p:custDataLst>
    <p:extLst>
      <p:ext uri="{BB962C8B-B14F-4D97-AF65-F5344CB8AC3E}">
        <p14:creationId xmlns:p14="http://schemas.microsoft.com/office/powerpoint/2010/main" val="2781477738"/>
      </p:ext>
    </p:extLst>
  </p:cSld>
  <p:clrMapOvr>
    <a:masterClrMapping/>
  </p:clrMapOvr>
  <mc:AlternateContent xmlns:mc="http://schemas.openxmlformats.org/markup-compatibility/2006" xmlns:p14="http://schemas.microsoft.com/office/powerpoint/2010/main">
    <mc:Choice Requires="p14">
      <p:transition spd="med">
        <p14:pan/>
      </p:transition>
    </mc:Choice>
    <mc:Fallback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5" descr="Graph">
            <a:extLst>
              <a:ext uri="{FF2B5EF4-FFF2-40B4-BE49-F238E27FC236}">
                <a16:creationId xmlns:a16="http://schemas.microsoft.com/office/drawing/2014/main" id="{D51FCC6A-69E4-4D84-8D16-7E31BD8438CB}"/>
              </a:ext>
            </a:extLst>
          </p:cNvPr>
          <p:cNvPicPr>
            <a:picLocks noChangeAspect="1"/>
          </p:cNvPicPr>
          <p:nvPr/>
        </p:nvPicPr>
        <p:blipFill rotWithShape="1">
          <a:blip r:embed="rId3"/>
          <a:srcRect t="4619" b="6656"/>
          <a:stretch/>
        </p:blipFill>
        <p:spPr>
          <a:xfrm>
            <a:off x="20" y="97201"/>
            <a:ext cx="12191980" cy="6760799"/>
          </a:xfrm>
          <a:prstGeom prst="rect">
            <a:avLst/>
          </a:prstGeom>
          <a:noFill/>
        </p:spPr>
      </p:pic>
      <p:pic>
        <p:nvPicPr>
          <p:cNvPr id="14" name="Signpost">
            <a:extLst>
              <a:ext uri="{FF2B5EF4-FFF2-40B4-BE49-F238E27FC236}">
                <a16:creationId xmlns:a16="http://schemas.microsoft.com/office/drawing/2014/main" id="{8B073CCF-A8D1-44A7-949A-7ADE5CDA44C7}"/>
              </a:ext>
            </a:extLst>
          </p:cNvPr>
          <p:cNvPicPr>
            <a:picLocks noGrp="1" noChangeAspect="1"/>
          </p:cNvPicPr>
          <p:nvPr>
            <p:ph type="pic" sz="quarter" idx="13"/>
            <p:custDataLst>
              <p:tags r:id="rId1"/>
            </p:custDataLst>
          </p:nvPr>
        </p:nvPicPr>
        <p:blipFill>
          <a:blip r:embed="rId4" cstate="screen">
            <a:extLst>
              <a:ext uri="{28A0092B-C50C-407E-A947-70E740481C1C}">
                <a14:useLocalDpi xmlns:a14="http://schemas.microsoft.com/office/drawing/2010/main"/>
              </a:ext>
            </a:extLst>
          </a:blip>
          <a:srcRect t="8425" b="8425"/>
          <a:stretch>
            <a:fillRect/>
          </a:stretch>
        </p:blipFill>
        <p:spPr>
          <a:xfrm>
            <a:off x="1" y="96839"/>
            <a:ext cx="12191345" cy="6760799"/>
          </a:xfrm>
          <a:prstGeom prst="rect">
            <a:avLst/>
          </a:prstGeom>
        </p:spPr>
      </p:pic>
      <p:sp>
        <p:nvSpPr>
          <p:cNvPr id="7" name="Text Placeholder 6">
            <a:extLst>
              <a:ext uri="{FF2B5EF4-FFF2-40B4-BE49-F238E27FC236}">
                <a16:creationId xmlns:a16="http://schemas.microsoft.com/office/drawing/2014/main" id="{BCF95545-1719-4621-A135-0489F304F27C}"/>
              </a:ext>
            </a:extLst>
          </p:cNvPr>
          <p:cNvSpPr>
            <a:spLocks noGrp="1"/>
          </p:cNvSpPr>
          <p:nvPr>
            <p:ph type="body" sz="quarter" idx="14"/>
          </p:nvPr>
        </p:nvSpPr>
        <p:spPr>
          <a:xfrm>
            <a:off x="0" y="3914775"/>
            <a:ext cx="6002412" cy="738664"/>
          </a:xfrm>
        </p:spPr>
        <p:txBody>
          <a:bodyPr/>
          <a:lstStyle/>
          <a:p>
            <a:r>
              <a:rPr lang="de-DE" dirty="0"/>
              <a:t>Comparison slides</a:t>
            </a:r>
            <a:endParaRPr lang="en-US" dirty="0"/>
          </a:p>
        </p:txBody>
      </p:sp>
    </p:spTree>
    <p:extLst>
      <p:ext uri="{BB962C8B-B14F-4D97-AF65-F5344CB8AC3E}">
        <p14:creationId xmlns:p14="http://schemas.microsoft.com/office/powerpoint/2010/main" val="2567676356"/>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 name="Straight Connector 34">
            <a:extLst>
              <a:ext uri="{FF2B5EF4-FFF2-40B4-BE49-F238E27FC236}">
                <a16:creationId xmlns:a16="http://schemas.microsoft.com/office/drawing/2014/main" id="{45B12D08-A232-1645-A105-2BC5ED0B58EB}"/>
              </a:ext>
            </a:extLst>
          </p:cNvPr>
          <p:cNvCxnSpPr>
            <a:cxnSpLocks/>
          </p:cNvCxnSpPr>
          <p:nvPr/>
        </p:nvCxnSpPr>
        <p:spPr>
          <a:xfrm flipH="1">
            <a:off x="1193074" y="1733550"/>
            <a:ext cx="4314010" cy="0"/>
          </a:xfrm>
          <a:prstGeom prst="line">
            <a:avLst/>
          </a:prstGeom>
          <a:ln w="38100">
            <a:solidFill>
              <a:schemeClr val="bg1">
                <a:lumMod val="75000"/>
              </a:schemeClr>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0D95A8B-ED8B-ED4B-B38D-A8C8F01AB926}"/>
              </a:ext>
            </a:extLst>
          </p:cNvPr>
          <p:cNvCxnSpPr>
            <a:cxnSpLocks/>
          </p:cNvCxnSpPr>
          <p:nvPr/>
        </p:nvCxnSpPr>
        <p:spPr>
          <a:xfrm flipH="1">
            <a:off x="6684916" y="1733550"/>
            <a:ext cx="4314010" cy="0"/>
          </a:xfrm>
          <a:prstGeom prst="line">
            <a:avLst/>
          </a:prstGeom>
          <a:ln w="38100">
            <a:solidFill>
              <a:schemeClr val="bg1">
                <a:lumMod val="75000"/>
              </a:schemeClr>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3" name="Rounded Rectangle 2">
            <a:extLst>
              <a:ext uri="{FF2B5EF4-FFF2-40B4-BE49-F238E27FC236}">
                <a16:creationId xmlns:a16="http://schemas.microsoft.com/office/drawing/2014/main" id="{C7A5BB8C-8510-1344-81BB-835C0BCD9B7F}"/>
              </a:ext>
            </a:extLst>
          </p:cNvPr>
          <p:cNvSpPr/>
          <p:nvPr/>
        </p:nvSpPr>
        <p:spPr>
          <a:xfrm>
            <a:off x="1193075" y="2326822"/>
            <a:ext cx="4314009" cy="593090"/>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 name="Oval 1">
            <a:extLst>
              <a:ext uri="{FF2B5EF4-FFF2-40B4-BE49-F238E27FC236}">
                <a16:creationId xmlns:a16="http://schemas.microsoft.com/office/drawing/2014/main" id="{7CBC00E3-1825-374A-86B8-61E465BBAFF4}"/>
              </a:ext>
            </a:extLst>
          </p:cNvPr>
          <p:cNvSpPr/>
          <p:nvPr/>
        </p:nvSpPr>
        <p:spPr>
          <a:xfrm>
            <a:off x="1193075" y="2326822"/>
            <a:ext cx="590550" cy="59055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4" name="Rounded Rectangle 3">
            <a:extLst>
              <a:ext uri="{FF2B5EF4-FFF2-40B4-BE49-F238E27FC236}">
                <a16:creationId xmlns:a16="http://schemas.microsoft.com/office/drawing/2014/main" id="{D781FDEA-C204-E548-A775-062F2E0EEF99}"/>
              </a:ext>
            </a:extLst>
          </p:cNvPr>
          <p:cNvSpPr/>
          <p:nvPr/>
        </p:nvSpPr>
        <p:spPr>
          <a:xfrm>
            <a:off x="1193075" y="3132455"/>
            <a:ext cx="4314009" cy="593090"/>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5" name="Oval 4">
            <a:extLst>
              <a:ext uri="{FF2B5EF4-FFF2-40B4-BE49-F238E27FC236}">
                <a16:creationId xmlns:a16="http://schemas.microsoft.com/office/drawing/2014/main" id="{D7BBF6B3-C1B8-F04B-B236-056E681C8686}"/>
              </a:ext>
            </a:extLst>
          </p:cNvPr>
          <p:cNvSpPr/>
          <p:nvPr/>
        </p:nvSpPr>
        <p:spPr>
          <a:xfrm>
            <a:off x="1193075" y="3132455"/>
            <a:ext cx="590550" cy="59055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6" name="Rounded Rectangle 5">
            <a:extLst>
              <a:ext uri="{FF2B5EF4-FFF2-40B4-BE49-F238E27FC236}">
                <a16:creationId xmlns:a16="http://schemas.microsoft.com/office/drawing/2014/main" id="{ED7B0A12-3F84-494A-A143-055695EC5BAC}"/>
              </a:ext>
            </a:extLst>
          </p:cNvPr>
          <p:cNvSpPr/>
          <p:nvPr/>
        </p:nvSpPr>
        <p:spPr>
          <a:xfrm>
            <a:off x="1193075" y="3935549"/>
            <a:ext cx="4314009" cy="593090"/>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7" name="Oval 6">
            <a:extLst>
              <a:ext uri="{FF2B5EF4-FFF2-40B4-BE49-F238E27FC236}">
                <a16:creationId xmlns:a16="http://schemas.microsoft.com/office/drawing/2014/main" id="{902CE3C2-9AFA-2B4E-B584-8600E2F56B94}"/>
              </a:ext>
            </a:extLst>
          </p:cNvPr>
          <p:cNvSpPr/>
          <p:nvPr/>
        </p:nvSpPr>
        <p:spPr>
          <a:xfrm>
            <a:off x="1193075" y="3935549"/>
            <a:ext cx="590550" cy="59055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8" name="Rounded Rectangle 7">
            <a:extLst>
              <a:ext uri="{FF2B5EF4-FFF2-40B4-BE49-F238E27FC236}">
                <a16:creationId xmlns:a16="http://schemas.microsoft.com/office/drawing/2014/main" id="{90A8F19F-ECD9-BE43-9954-3874A983D8D7}"/>
              </a:ext>
            </a:extLst>
          </p:cNvPr>
          <p:cNvSpPr/>
          <p:nvPr/>
        </p:nvSpPr>
        <p:spPr>
          <a:xfrm>
            <a:off x="1193075" y="4736102"/>
            <a:ext cx="4314009" cy="593090"/>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9" name="Oval 8">
            <a:extLst>
              <a:ext uri="{FF2B5EF4-FFF2-40B4-BE49-F238E27FC236}">
                <a16:creationId xmlns:a16="http://schemas.microsoft.com/office/drawing/2014/main" id="{0FD47B87-BB88-C845-83C5-89A793317227}"/>
              </a:ext>
            </a:extLst>
          </p:cNvPr>
          <p:cNvSpPr/>
          <p:nvPr/>
        </p:nvSpPr>
        <p:spPr>
          <a:xfrm>
            <a:off x="1193075" y="4736102"/>
            <a:ext cx="590550" cy="59055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0" name="Rounded Rectangle 9">
            <a:extLst>
              <a:ext uri="{FF2B5EF4-FFF2-40B4-BE49-F238E27FC236}">
                <a16:creationId xmlns:a16="http://schemas.microsoft.com/office/drawing/2014/main" id="{FF078FF9-71F3-DF44-9FA7-51BD059300A1}"/>
              </a:ext>
            </a:extLst>
          </p:cNvPr>
          <p:cNvSpPr/>
          <p:nvPr/>
        </p:nvSpPr>
        <p:spPr>
          <a:xfrm>
            <a:off x="1193075" y="5534116"/>
            <a:ext cx="4314009" cy="593090"/>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1" name="Oval 10">
            <a:extLst>
              <a:ext uri="{FF2B5EF4-FFF2-40B4-BE49-F238E27FC236}">
                <a16:creationId xmlns:a16="http://schemas.microsoft.com/office/drawing/2014/main" id="{5F322B17-13B8-6E44-AAF6-05BB211E9725}"/>
              </a:ext>
            </a:extLst>
          </p:cNvPr>
          <p:cNvSpPr/>
          <p:nvPr/>
        </p:nvSpPr>
        <p:spPr>
          <a:xfrm>
            <a:off x="1193075" y="5534116"/>
            <a:ext cx="590550" cy="59055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2" name="Rounded Rectangle 11">
            <a:extLst>
              <a:ext uri="{FF2B5EF4-FFF2-40B4-BE49-F238E27FC236}">
                <a16:creationId xmlns:a16="http://schemas.microsoft.com/office/drawing/2014/main" id="{DD2D2912-0BB1-A741-8337-164A3C237213}"/>
              </a:ext>
            </a:extLst>
          </p:cNvPr>
          <p:cNvSpPr/>
          <p:nvPr/>
        </p:nvSpPr>
        <p:spPr>
          <a:xfrm>
            <a:off x="6684917" y="2326822"/>
            <a:ext cx="4314009" cy="593090"/>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3" name="Oval 12">
            <a:extLst>
              <a:ext uri="{FF2B5EF4-FFF2-40B4-BE49-F238E27FC236}">
                <a16:creationId xmlns:a16="http://schemas.microsoft.com/office/drawing/2014/main" id="{3F626941-A6D6-FF4E-980B-4AE2A33FFD99}"/>
              </a:ext>
            </a:extLst>
          </p:cNvPr>
          <p:cNvSpPr/>
          <p:nvPr/>
        </p:nvSpPr>
        <p:spPr>
          <a:xfrm>
            <a:off x="6684917" y="2326822"/>
            <a:ext cx="590550" cy="5905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4" name="Rounded Rectangle 13">
            <a:extLst>
              <a:ext uri="{FF2B5EF4-FFF2-40B4-BE49-F238E27FC236}">
                <a16:creationId xmlns:a16="http://schemas.microsoft.com/office/drawing/2014/main" id="{B1D41D74-E6FD-994A-B77F-041D2805CB13}"/>
              </a:ext>
            </a:extLst>
          </p:cNvPr>
          <p:cNvSpPr/>
          <p:nvPr/>
        </p:nvSpPr>
        <p:spPr>
          <a:xfrm>
            <a:off x="6684917" y="3132455"/>
            <a:ext cx="4314009" cy="593090"/>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5" name="Oval 14">
            <a:extLst>
              <a:ext uri="{FF2B5EF4-FFF2-40B4-BE49-F238E27FC236}">
                <a16:creationId xmlns:a16="http://schemas.microsoft.com/office/drawing/2014/main" id="{4DADD9DD-8D40-894B-AB28-B7184E3F202D}"/>
              </a:ext>
            </a:extLst>
          </p:cNvPr>
          <p:cNvSpPr/>
          <p:nvPr/>
        </p:nvSpPr>
        <p:spPr>
          <a:xfrm>
            <a:off x="6684917" y="3132455"/>
            <a:ext cx="590550" cy="5905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6" name="Rounded Rectangle 15">
            <a:extLst>
              <a:ext uri="{FF2B5EF4-FFF2-40B4-BE49-F238E27FC236}">
                <a16:creationId xmlns:a16="http://schemas.microsoft.com/office/drawing/2014/main" id="{6677F9D6-1B9F-D64E-A32C-6A1E07D74FE9}"/>
              </a:ext>
            </a:extLst>
          </p:cNvPr>
          <p:cNvSpPr/>
          <p:nvPr/>
        </p:nvSpPr>
        <p:spPr>
          <a:xfrm>
            <a:off x="6684917" y="3935549"/>
            <a:ext cx="4314009" cy="593090"/>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7" name="Oval 16">
            <a:extLst>
              <a:ext uri="{FF2B5EF4-FFF2-40B4-BE49-F238E27FC236}">
                <a16:creationId xmlns:a16="http://schemas.microsoft.com/office/drawing/2014/main" id="{F296CEF1-85A7-A74A-A8F3-1ECA62EA1014}"/>
              </a:ext>
            </a:extLst>
          </p:cNvPr>
          <p:cNvSpPr/>
          <p:nvPr/>
        </p:nvSpPr>
        <p:spPr>
          <a:xfrm>
            <a:off x="6684917" y="3935549"/>
            <a:ext cx="590550" cy="5905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8" name="Rounded Rectangle 17">
            <a:extLst>
              <a:ext uri="{FF2B5EF4-FFF2-40B4-BE49-F238E27FC236}">
                <a16:creationId xmlns:a16="http://schemas.microsoft.com/office/drawing/2014/main" id="{59A0BEAF-8F08-E84D-8CD1-CD9A8B3111E6}"/>
              </a:ext>
            </a:extLst>
          </p:cNvPr>
          <p:cNvSpPr/>
          <p:nvPr/>
        </p:nvSpPr>
        <p:spPr>
          <a:xfrm>
            <a:off x="6684917" y="4736102"/>
            <a:ext cx="4314009" cy="593090"/>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9" name="Oval 18">
            <a:extLst>
              <a:ext uri="{FF2B5EF4-FFF2-40B4-BE49-F238E27FC236}">
                <a16:creationId xmlns:a16="http://schemas.microsoft.com/office/drawing/2014/main" id="{644B8134-C858-4C4F-AF30-5EEEEF41E482}"/>
              </a:ext>
            </a:extLst>
          </p:cNvPr>
          <p:cNvSpPr/>
          <p:nvPr/>
        </p:nvSpPr>
        <p:spPr>
          <a:xfrm>
            <a:off x="6684917" y="4736102"/>
            <a:ext cx="590550" cy="5905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0" name="Rounded Rectangle 19">
            <a:extLst>
              <a:ext uri="{FF2B5EF4-FFF2-40B4-BE49-F238E27FC236}">
                <a16:creationId xmlns:a16="http://schemas.microsoft.com/office/drawing/2014/main" id="{65B08553-FE7C-C342-A881-7D6D53AF7965}"/>
              </a:ext>
            </a:extLst>
          </p:cNvPr>
          <p:cNvSpPr/>
          <p:nvPr/>
        </p:nvSpPr>
        <p:spPr>
          <a:xfrm>
            <a:off x="6684917" y="5534116"/>
            <a:ext cx="4314009" cy="593090"/>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1" name="Oval 20">
            <a:extLst>
              <a:ext uri="{FF2B5EF4-FFF2-40B4-BE49-F238E27FC236}">
                <a16:creationId xmlns:a16="http://schemas.microsoft.com/office/drawing/2014/main" id="{172E6395-56CA-454A-9BEE-C1F3E59CFBCE}"/>
              </a:ext>
            </a:extLst>
          </p:cNvPr>
          <p:cNvSpPr/>
          <p:nvPr/>
        </p:nvSpPr>
        <p:spPr>
          <a:xfrm>
            <a:off x="6684917" y="5534116"/>
            <a:ext cx="590550" cy="5905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2" name="Chevron 21">
            <a:extLst>
              <a:ext uri="{FF2B5EF4-FFF2-40B4-BE49-F238E27FC236}">
                <a16:creationId xmlns:a16="http://schemas.microsoft.com/office/drawing/2014/main" id="{78BAEA5B-153C-AD4A-ADAD-46DC67630261}"/>
              </a:ext>
            </a:extLst>
          </p:cNvPr>
          <p:cNvSpPr/>
          <p:nvPr/>
        </p:nvSpPr>
        <p:spPr>
          <a:xfrm>
            <a:off x="2048740" y="1494408"/>
            <a:ext cx="2602679" cy="484095"/>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Lato Light" panose="020F0502020204030203" pitchFamily="34" charset="0"/>
            </a:endParaRPr>
          </a:p>
        </p:txBody>
      </p:sp>
      <p:sp>
        <p:nvSpPr>
          <p:cNvPr id="23" name="Chevron 22">
            <a:extLst>
              <a:ext uri="{FF2B5EF4-FFF2-40B4-BE49-F238E27FC236}">
                <a16:creationId xmlns:a16="http://schemas.microsoft.com/office/drawing/2014/main" id="{729A5A60-6423-0F4E-B487-91401DB41310}"/>
              </a:ext>
            </a:extLst>
          </p:cNvPr>
          <p:cNvSpPr/>
          <p:nvPr/>
        </p:nvSpPr>
        <p:spPr>
          <a:xfrm flipH="1">
            <a:off x="7541792" y="1494408"/>
            <a:ext cx="2601468" cy="484095"/>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Lato Light" panose="020F0502020204030203" pitchFamily="34" charset="0"/>
            </a:endParaRPr>
          </a:p>
        </p:txBody>
      </p:sp>
      <p:sp>
        <p:nvSpPr>
          <p:cNvPr id="26" name="Freeform 25">
            <a:extLst>
              <a:ext uri="{FF2B5EF4-FFF2-40B4-BE49-F238E27FC236}">
                <a16:creationId xmlns:a16="http://schemas.microsoft.com/office/drawing/2014/main" id="{2277C497-87F2-A641-BC52-14D950F2715E}"/>
              </a:ext>
            </a:extLst>
          </p:cNvPr>
          <p:cNvSpPr/>
          <p:nvPr/>
        </p:nvSpPr>
        <p:spPr>
          <a:xfrm>
            <a:off x="5673040" y="1305209"/>
            <a:ext cx="422961" cy="858550"/>
          </a:xfrm>
          <a:custGeom>
            <a:avLst/>
            <a:gdLst>
              <a:gd name="connsiteX0" fmla="*/ 845921 w 845921"/>
              <a:gd name="connsiteY0" fmla="*/ 0 h 1717099"/>
              <a:gd name="connsiteX1" fmla="*/ 845921 w 845921"/>
              <a:gd name="connsiteY1" fmla="*/ 1717099 h 1717099"/>
              <a:gd name="connsiteX2" fmla="*/ 771371 w 845921"/>
              <a:gd name="connsiteY2" fmla="*/ 1713334 h 1717099"/>
              <a:gd name="connsiteX3" fmla="*/ 0 w 845921"/>
              <a:gd name="connsiteY3" fmla="*/ 858549 h 1717099"/>
              <a:gd name="connsiteX4" fmla="*/ 771371 w 845921"/>
              <a:gd name="connsiteY4" fmla="*/ 3764 h 1717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921" h="1717099">
                <a:moveTo>
                  <a:pt x="845921" y="0"/>
                </a:moveTo>
                <a:lnTo>
                  <a:pt x="845921" y="1717099"/>
                </a:lnTo>
                <a:lnTo>
                  <a:pt x="771371" y="1713334"/>
                </a:lnTo>
                <a:cubicBezTo>
                  <a:pt x="338103" y="1669333"/>
                  <a:pt x="0" y="1303426"/>
                  <a:pt x="0" y="858549"/>
                </a:cubicBezTo>
                <a:cubicBezTo>
                  <a:pt x="0" y="413673"/>
                  <a:pt x="338103" y="47765"/>
                  <a:pt x="771371" y="3764"/>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7" name="Freeform 26">
            <a:extLst>
              <a:ext uri="{FF2B5EF4-FFF2-40B4-BE49-F238E27FC236}">
                <a16:creationId xmlns:a16="http://schemas.microsoft.com/office/drawing/2014/main" id="{5B513782-EF45-1D4F-8B5B-EE5D50DD5412}"/>
              </a:ext>
            </a:extLst>
          </p:cNvPr>
          <p:cNvSpPr/>
          <p:nvPr/>
        </p:nvSpPr>
        <p:spPr>
          <a:xfrm rot="10800000">
            <a:off x="6096001" y="1305209"/>
            <a:ext cx="422961" cy="858550"/>
          </a:xfrm>
          <a:custGeom>
            <a:avLst/>
            <a:gdLst>
              <a:gd name="connsiteX0" fmla="*/ 845921 w 845921"/>
              <a:gd name="connsiteY0" fmla="*/ 0 h 1717099"/>
              <a:gd name="connsiteX1" fmla="*/ 845921 w 845921"/>
              <a:gd name="connsiteY1" fmla="*/ 1717099 h 1717099"/>
              <a:gd name="connsiteX2" fmla="*/ 771371 w 845921"/>
              <a:gd name="connsiteY2" fmla="*/ 1713334 h 1717099"/>
              <a:gd name="connsiteX3" fmla="*/ 0 w 845921"/>
              <a:gd name="connsiteY3" fmla="*/ 858549 h 1717099"/>
              <a:gd name="connsiteX4" fmla="*/ 771371 w 845921"/>
              <a:gd name="connsiteY4" fmla="*/ 3764 h 1717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921" h="1717099">
                <a:moveTo>
                  <a:pt x="845921" y="0"/>
                </a:moveTo>
                <a:lnTo>
                  <a:pt x="845921" y="1717099"/>
                </a:lnTo>
                <a:lnTo>
                  <a:pt x="771371" y="1713334"/>
                </a:lnTo>
                <a:cubicBezTo>
                  <a:pt x="338103" y="1669333"/>
                  <a:pt x="0" y="1303426"/>
                  <a:pt x="0" y="858549"/>
                </a:cubicBezTo>
                <a:cubicBezTo>
                  <a:pt x="0" y="413673"/>
                  <a:pt x="338103" y="47765"/>
                  <a:pt x="771371" y="3764"/>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cxnSp>
        <p:nvCxnSpPr>
          <p:cNvPr id="29" name="Straight Connector 28">
            <a:extLst>
              <a:ext uri="{FF2B5EF4-FFF2-40B4-BE49-F238E27FC236}">
                <a16:creationId xmlns:a16="http://schemas.microsoft.com/office/drawing/2014/main" id="{74CD9035-784F-724E-8B63-0B36B9F21497}"/>
              </a:ext>
            </a:extLst>
          </p:cNvPr>
          <p:cNvCxnSpPr>
            <a:cxnSpLocks/>
          </p:cNvCxnSpPr>
          <p:nvPr/>
        </p:nvCxnSpPr>
        <p:spPr>
          <a:xfrm>
            <a:off x="6096000" y="2326822"/>
            <a:ext cx="0" cy="3797844"/>
          </a:xfrm>
          <a:prstGeom prst="line">
            <a:avLst/>
          </a:prstGeom>
          <a:ln w="38100">
            <a:solidFill>
              <a:schemeClr val="bg1">
                <a:lumMod val="75000"/>
              </a:schemeClr>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36" name="Freeform 735">
            <a:extLst>
              <a:ext uri="{FF2B5EF4-FFF2-40B4-BE49-F238E27FC236}">
                <a16:creationId xmlns:a16="http://schemas.microsoft.com/office/drawing/2014/main" id="{73980EFB-0983-3D4D-A286-B12B8D866C93}"/>
              </a:ext>
            </a:extLst>
          </p:cNvPr>
          <p:cNvSpPr>
            <a:spLocks noChangeArrowheads="1"/>
          </p:cNvSpPr>
          <p:nvPr/>
        </p:nvSpPr>
        <p:spPr bwMode="auto">
          <a:xfrm>
            <a:off x="1348027" y="2461239"/>
            <a:ext cx="280646" cy="321716"/>
          </a:xfrm>
          <a:custGeom>
            <a:avLst/>
            <a:gdLst/>
            <a:ahLst/>
            <a:cxnLst/>
            <a:rect l="0" t="0" r="r" b="b"/>
            <a:pathLst>
              <a:path w="259989" h="297474">
                <a:moveTo>
                  <a:pt x="131617" y="219900"/>
                </a:moveTo>
                <a:cubicBezTo>
                  <a:pt x="129093" y="229597"/>
                  <a:pt x="125127" y="236061"/>
                  <a:pt x="115751" y="242167"/>
                </a:cubicBezTo>
                <a:cubicBezTo>
                  <a:pt x="111785" y="244681"/>
                  <a:pt x="109621" y="249709"/>
                  <a:pt x="111063" y="254737"/>
                </a:cubicBezTo>
                <a:cubicBezTo>
                  <a:pt x="112506" y="259764"/>
                  <a:pt x="117915" y="263356"/>
                  <a:pt x="125487" y="264433"/>
                </a:cubicBezTo>
                <a:lnTo>
                  <a:pt x="125487" y="253659"/>
                </a:lnTo>
                <a:cubicBezTo>
                  <a:pt x="125487" y="251504"/>
                  <a:pt x="127651" y="248990"/>
                  <a:pt x="130175" y="248990"/>
                </a:cubicBezTo>
                <a:cubicBezTo>
                  <a:pt x="132699" y="248990"/>
                  <a:pt x="134502" y="251504"/>
                  <a:pt x="134502" y="253659"/>
                </a:cubicBezTo>
                <a:lnTo>
                  <a:pt x="134502" y="265152"/>
                </a:lnTo>
                <a:cubicBezTo>
                  <a:pt x="140272" y="264433"/>
                  <a:pt x="144238" y="262997"/>
                  <a:pt x="146762" y="260124"/>
                </a:cubicBezTo>
                <a:cubicBezTo>
                  <a:pt x="150008" y="256173"/>
                  <a:pt x="149647" y="251145"/>
                  <a:pt x="148926" y="247195"/>
                </a:cubicBezTo>
                <a:cubicBezTo>
                  <a:pt x="147484" y="237498"/>
                  <a:pt x="138108" y="226724"/>
                  <a:pt x="131617" y="219900"/>
                </a:cubicBezTo>
                <a:close/>
                <a:moveTo>
                  <a:pt x="130175" y="186500"/>
                </a:moveTo>
                <a:cubicBezTo>
                  <a:pt x="88706" y="186500"/>
                  <a:pt x="54810" y="219900"/>
                  <a:pt x="54810" y="261201"/>
                </a:cubicBezTo>
                <a:cubicBezTo>
                  <a:pt x="54810" y="270539"/>
                  <a:pt x="56613" y="279876"/>
                  <a:pt x="59859" y="288496"/>
                </a:cubicBezTo>
                <a:lnTo>
                  <a:pt x="125487" y="288496"/>
                </a:lnTo>
                <a:lnTo>
                  <a:pt x="125487" y="273771"/>
                </a:lnTo>
                <a:cubicBezTo>
                  <a:pt x="113588" y="272334"/>
                  <a:pt x="104933" y="266229"/>
                  <a:pt x="102409" y="256891"/>
                </a:cubicBezTo>
                <a:cubicBezTo>
                  <a:pt x="99885" y="248631"/>
                  <a:pt x="103491" y="239294"/>
                  <a:pt x="110703" y="234625"/>
                </a:cubicBezTo>
                <a:cubicBezTo>
                  <a:pt x="119357" y="229238"/>
                  <a:pt x="121881" y="224210"/>
                  <a:pt x="124045" y="210562"/>
                </a:cubicBezTo>
                <a:cubicBezTo>
                  <a:pt x="124045" y="208767"/>
                  <a:pt x="125127" y="207689"/>
                  <a:pt x="126569" y="206971"/>
                </a:cubicBezTo>
                <a:cubicBezTo>
                  <a:pt x="128011" y="206253"/>
                  <a:pt x="129814" y="206971"/>
                  <a:pt x="131257" y="207689"/>
                </a:cubicBezTo>
                <a:cubicBezTo>
                  <a:pt x="132339" y="208408"/>
                  <a:pt x="155056" y="226724"/>
                  <a:pt x="157941" y="245758"/>
                </a:cubicBezTo>
                <a:cubicBezTo>
                  <a:pt x="159383" y="254018"/>
                  <a:pt x="157941" y="260842"/>
                  <a:pt x="153614" y="265870"/>
                </a:cubicBezTo>
                <a:cubicBezTo>
                  <a:pt x="149286" y="270539"/>
                  <a:pt x="143156" y="273412"/>
                  <a:pt x="134502" y="274130"/>
                </a:cubicBezTo>
                <a:lnTo>
                  <a:pt x="134502" y="288496"/>
                </a:lnTo>
                <a:lnTo>
                  <a:pt x="199770" y="288496"/>
                </a:lnTo>
                <a:cubicBezTo>
                  <a:pt x="203376" y="279876"/>
                  <a:pt x="205179" y="270539"/>
                  <a:pt x="205179" y="261201"/>
                </a:cubicBezTo>
                <a:cubicBezTo>
                  <a:pt x="205179" y="219900"/>
                  <a:pt x="171283" y="186500"/>
                  <a:pt x="130175" y="186500"/>
                </a:cubicBezTo>
                <a:close/>
                <a:moveTo>
                  <a:pt x="74643" y="135861"/>
                </a:moveTo>
                <a:cubicBezTo>
                  <a:pt x="35699" y="155614"/>
                  <a:pt x="9015" y="196197"/>
                  <a:pt x="9015" y="242885"/>
                </a:cubicBezTo>
                <a:cubicBezTo>
                  <a:pt x="9015" y="258687"/>
                  <a:pt x="12260" y="274130"/>
                  <a:pt x="18390" y="288496"/>
                </a:cubicBezTo>
                <a:lnTo>
                  <a:pt x="50483" y="288496"/>
                </a:lnTo>
                <a:cubicBezTo>
                  <a:pt x="47599" y="279876"/>
                  <a:pt x="45796" y="270539"/>
                  <a:pt x="45796" y="261201"/>
                </a:cubicBezTo>
                <a:cubicBezTo>
                  <a:pt x="45796" y="214872"/>
                  <a:pt x="83658" y="177162"/>
                  <a:pt x="130175" y="177162"/>
                </a:cubicBezTo>
                <a:cubicBezTo>
                  <a:pt x="176331" y="177162"/>
                  <a:pt x="214194" y="214872"/>
                  <a:pt x="214194" y="261201"/>
                </a:cubicBezTo>
                <a:cubicBezTo>
                  <a:pt x="214194" y="270539"/>
                  <a:pt x="212751" y="279876"/>
                  <a:pt x="209506" y="288496"/>
                </a:cubicBezTo>
                <a:lnTo>
                  <a:pt x="241960" y="288496"/>
                </a:lnTo>
                <a:cubicBezTo>
                  <a:pt x="247729" y="274130"/>
                  <a:pt x="250975" y="258687"/>
                  <a:pt x="250975" y="242885"/>
                </a:cubicBezTo>
                <a:cubicBezTo>
                  <a:pt x="250975" y="196197"/>
                  <a:pt x="224291" y="155614"/>
                  <a:pt x="184986" y="135861"/>
                </a:cubicBezTo>
                <a:lnTo>
                  <a:pt x="74643" y="135861"/>
                </a:lnTo>
                <a:close/>
                <a:moveTo>
                  <a:pt x="58056" y="87737"/>
                </a:moveTo>
                <a:cubicBezTo>
                  <a:pt x="68152" y="94920"/>
                  <a:pt x="78610" y="107489"/>
                  <a:pt x="78249" y="126883"/>
                </a:cubicBezTo>
                <a:lnTo>
                  <a:pt x="181740" y="126883"/>
                </a:lnTo>
                <a:cubicBezTo>
                  <a:pt x="181380" y="107489"/>
                  <a:pt x="192198" y="94920"/>
                  <a:pt x="201934" y="87737"/>
                </a:cubicBezTo>
                <a:lnTo>
                  <a:pt x="58056" y="87737"/>
                </a:lnTo>
                <a:close/>
                <a:moveTo>
                  <a:pt x="40387" y="78758"/>
                </a:moveTo>
                <a:lnTo>
                  <a:pt x="219603" y="78758"/>
                </a:lnTo>
                <a:cubicBezTo>
                  <a:pt x="221766" y="78758"/>
                  <a:pt x="223569" y="80554"/>
                  <a:pt x="224291" y="82709"/>
                </a:cubicBezTo>
                <a:cubicBezTo>
                  <a:pt x="224291" y="84864"/>
                  <a:pt x="223209" y="87018"/>
                  <a:pt x="221045" y="87737"/>
                </a:cubicBezTo>
                <a:cubicBezTo>
                  <a:pt x="219603" y="88096"/>
                  <a:pt x="188952" y="98152"/>
                  <a:pt x="191116" y="128679"/>
                </a:cubicBezTo>
                <a:cubicBezTo>
                  <a:pt x="231863" y="150586"/>
                  <a:pt x="259989" y="193683"/>
                  <a:pt x="259989" y="242885"/>
                </a:cubicBezTo>
                <a:cubicBezTo>
                  <a:pt x="259989" y="260842"/>
                  <a:pt x="256384" y="278440"/>
                  <a:pt x="249172" y="294960"/>
                </a:cubicBezTo>
                <a:cubicBezTo>
                  <a:pt x="248090" y="296397"/>
                  <a:pt x="246647" y="297474"/>
                  <a:pt x="244844" y="297474"/>
                </a:cubicBezTo>
                <a:lnTo>
                  <a:pt x="203015" y="297474"/>
                </a:lnTo>
                <a:lnTo>
                  <a:pt x="56974" y="297474"/>
                </a:lnTo>
                <a:lnTo>
                  <a:pt x="15145" y="297474"/>
                </a:lnTo>
                <a:cubicBezTo>
                  <a:pt x="13342" y="297474"/>
                  <a:pt x="11539" y="296397"/>
                  <a:pt x="11178" y="294960"/>
                </a:cubicBezTo>
                <a:cubicBezTo>
                  <a:pt x="3966" y="278440"/>
                  <a:pt x="0" y="260842"/>
                  <a:pt x="0" y="242885"/>
                </a:cubicBezTo>
                <a:cubicBezTo>
                  <a:pt x="0" y="193683"/>
                  <a:pt x="28126" y="150586"/>
                  <a:pt x="68874" y="128679"/>
                </a:cubicBezTo>
                <a:cubicBezTo>
                  <a:pt x="71037" y="98152"/>
                  <a:pt x="40387" y="88096"/>
                  <a:pt x="38944" y="87737"/>
                </a:cubicBezTo>
                <a:cubicBezTo>
                  <a:pt x="36781" y="87018"/>
                  <a:pt x="35699" y="84864"/>
                  <a:pt x="36059" y="82709"/>
                </a:cubicBezTo>
                <a:cubicBezTo>
                  <a:pt x="36059" y="80554"/>
                  <a:pt x="38223" y="78758"/>
                  <a:pt x="40387" y="78758"/>
                </a:cubicBezTo>
                <a:close/>
                <a:moveTo>
                  <a:pt x="92409" y="16698"/>
                </a:moveTo>
                <a:cubicBezTo>
                  <a:pt x="94220" y="18497"/>
                  <a:pt x="94582" y="21375"/>
                  <a:pt x="92772" y="23175"/>
                </a:cubicBezTo>
                <a:cubicBezTo>
                  <a:pt x="89151" y="27493"/>
                  <a:pt x="89151" y="35049"/>
                  <a:pt x="92772" y="39367"/>
                </a:cubicBezTo>
                <a:cubicBezTo>
                  <a:pt x="99651" y="47283"/>
                  <a:pt x="99651" y="59518"/>
                  <a:pt x="92772" y="67074"/>
                </a:cubicBezTo>
                <a:cubicBezTo>
                  <a:pt x="92047" y="68154"/>
                  <a:pt x="90599" y="68873"/>
                  <a:pt x="89513" y="68873"/>
                </a:cubicBezTo>
                <a:cubicBezTo>
                  <a:pt x="88427" y="68873"/>
                  <a:pt x="87340" y="68514"/>
                  <a:pt x="86616" y="67794"/>
                </a:cubicBezTo>
                <a:cubicBezTo>
                  <a:pt x="84444" y="66355"/>
                  <a:pt x="84444" y="63476"/>
                  <a:pt x="85892" y="61317"/>
                </a:cubicBezTo>
                <a:cubicBezTo>
                  <a:pt x="89875" y="56999"/>
                  <a:pt x="89875" y="49802"/>
                  <a:pt x="85892" y="45124"/>
                </a:cubicBezTo>
                <a:cubicBezTo>
                  <a:pt x="79375" y="37568"/>
                  <a:pt x="79375" y="24974"/>
                  <a:pt x="85892" y="17417"/>
                </a:cubicBezTo>
                <a:cubicBezTo>
                  <a:pt x="87703" y="15618"/>
                  <a:pt x="90599" y="15258"/>
                  <a:pt x="92409" y="16698"/>
                </a:cubicBezTo>
                <a:close/>
                <a:moveTo>
                  <a:pt x="176547" y="8770"/>
                </a:moveTo>
                <a:cubicBezTo>
                  <a:pt x="178357" y="10581"/>
                  <a:pt x="178719" y="13117"/>
                  <a:pt x="176909" y="15291"/>
                </a:cubicBezTo>
                <a:cubicBezTo>
                  <a:pt x="173288" y="19638"/>
                  <a:pt x="173288" y="26883"/>
                  <a:pt x="176909" y="31592"/>
                </a:cubicBezTo>
                <a:cubicBezTo>
                  <a:pt x="183788" y="39561"/>
                  <a:pt x="183788" y="51878"/>
                  <a:pt x="176909" y="59485"/>
                </a:cubicBezTo>
                <a:cubicBezTo>
                  <a:pt x="176185" y="60572"/>
                  <a:pt x="174737" y="60934"/>
                  <a:pt x="173651" y="60934"/>
                </a:cubicBezTo>
                <a:cubicBezTo>
                  <a:pt x="172564" y="60934"/>
                  <a:pt x="171478" y="60572"/>
                  <a:pt x="170754" y="60210"/>
                </a:cubicBezTo>
                <a:cubicBezTo>
                  <a:pt x="168582" y="58398"/>
                  <a:pt x="168582" y="55500"/>
                  <a:pt x="170030" y="53689"/>
                </a:cubicBezTo>
                <a:cubicBezTo>
                  <a:pt x="174013" y="49342"/>
                  <a:pt x="174013" y="41735"/>
                  <a:pt x="170030" y="37388"/>
                </a:cubicBezTo>
                <a:cubicBezTo>
                  <a:pt x="163513" y="29781"/>
                  <a:pt x="163513" y="17464"/>
                  <a:pt x="170030" y="9495"/>
                </a:cubicBezTo>
                <a:cubicBezTo>
                  <a:pt x="171840" y="7683"/>
                  <a:pt x="174737" y="7321"/>
                  <a:pt x="176547" y="8770"/>
                </a:cubicBezTo>
                <a:close/>
                <a:moveTo>
                  <a:pt x="133684" y="1182"/>
                </a:moveTo>
                <a:cubicBezTo>
                  <a:pt x="135495" y="2621"/>
                  <a:pt x="135857" y="5500"/>
                  <a:pt x="134047" y="7659"/>
                </a:cubicBezTo>
                <a:cubicBezTo>
                  <a:pt x="130426" y="11618"/>
                  <a:pt x="130426" y="19174"/>
                  <a:pt x="134047" y="23492"/>
                </a:cubicBezTo>
                <a:cubicBezTo>
                  <a:pt x="140926" y="31408"/>
                  <a:pt x="140926" y="43643"/>
                  <a:pt x="134047" y="51559"/>
                </a:cubicBezTo>
                <a:cubicBezTo>
                  <a:pt x="133322" y="52639"/>
                  <a:pt x="132236" y="52998"/>
                  <a:pt x="130788" y="52998"/>
                </a:cubicBezTo>
                <a:cubicBezTo>
                  <a:pt x="129702" y="52998"/>
                  <a:pt x="128615" y="52639"/>
                  <a:pt x="127891" y="51919"/>
                </a:cubicBezTo>
                <a:cubicBezTo>
                  <a:pt x="126081" y="50480"/>
                  <a:pt x="125719" y="47601"/>
                  <a:pt x="127167" y="45442"/>
                </a:cubicBezTo>
                <a:cubicBezTo>
                  <a:pt x="131150" y="41484"/>
                  <a:pt x="131150" y="33567"/>
                  <a:pt x="127167" y="29609"/>
                </a:cubicBezTo>
                <a:cubicBezTo>
                  <a:pt x="120650" y="21693"/>
                  <a:pt x="120650" y="9459"/>
                  <a:pt x="127167" y="1542"/>
                </a:cubicBezTo>
                <a:cubicBezTo>
                  <a:pt x="128978" y="-257"/>
                  <a:pt x="131874" y="-617"/>
                  <a:pt x="133684" y="1182"/>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37" name="Freeform 734">
            <a:extLst>
              <a:ext uri="{FF2B5EF4-FFF2-40B4-BE49-F238E27FC236}">
                <a16:creationId xmlns:a16="http://schemas.microsoft.com/office/drawing/2014/main" id="{0C510773-0392-404E-B11C-C6A6CE9A761B}"/>
              </a:ext>
            </a:extLst>
          </p:cNvPr>
          <p:cNvSpPr>
            <a:spLocks noChangeArrowheads="1"/>
          </p:cNvSpPr>
          <p:nvPr/>
        </p:nvSpPr>
        <p:spPr bwMode="auto">
          <a:xfrm>
            <a:off x="1327492" y="3276699"/>
            <a:ext cx="321716" cy="304603"/>
          </a:xfrm>
          <a:custGeom>
            <a:avLst/>
            <a:gdLst/>
            <a:ahLst/>
            <a:cxnLst/>
            <a:rect l="0" t="0" r="r" b="b"/>
            <a:pathLst>
              <a:path w="298090" h="282212">
                <a:moveTo>
                  <a:pt x="23926" y="233476"/>
                </a:moveTo>
                <a:cubicBezTo>
                  <a:pt x="25627" y="231775"/>
                  <a:pt x="28348" y="231775"/>
                  <a:pt x="29709" y="233476"/>
                </a:cubicBezTo>
                <a:cubicBezTo>
                  <a:pt x="31410" y="234837"/>
                  <a:pt x="31410" y="237558"/>
                  <a:pt x="29709" y="239259"/>
                </a:cubicBezTo>
                <a:cubicBezTo>
                  <a:pt x="28348" y="240960"/>
                  <a:pt x="25627" y="240960"/>
                  <a:pt x="23926" y="239259"/>
                </a:cubicBezTo>
                <a:cubicBezTo>
                  <a:pt x="22225" y="237558"/>
                  <a:pt x="22225" y="234837"/>
                  <a:pt x="23926" y="233476"/>
                </a:cubicBezTo>
                <a:close/>
                <a:moveTo>
                  <a:pt x="50366" y="231775"/>
                </a:moveTo>
                <a:lnTo>
                  <a:pt x="226726" y="231775"/>
                </a:lnTo>
                <a:cubicBezTo>
                  <a:pt x="229251" y="231775"/>
                  <a:pt x="231414" y="233607"/>
                  <a:pt x="231414" y="236538"/>
                </a:cubicBezTo>
                <a:cubicBezTo>
                  <a:pt x="231414" y="239102"/>
                  <a:pt x="229251" y="240934"/>
                  <a:pt x="226726" y="240934"/>
                </a:cubicBezTo>
                <a:lnTo>
                  <a:pt x="50366" y="240934"/>
                </a:lnTo>
                <a:cubicBezTo>
                  <a:pt x="48202" y="240934"/>
                  <a:pt x="46038" y="239102"/>
                  <a:pt x="46038" y="236538"/>
                </a:cubicBezTo>
                <a:cubicBezTo>
                  <a:pt x="46038" y="233607"/>
                  <a:pt x="48202" y="231775"/>
                  <a:pt x="50366" y="231775"/>
                </a:cubicBezTo>
                <a:close/>
                <a:moveTo>
                  <a:pt x="271056" y="218996"/>
                </a:moveTo>
                <a:cubicBezTo>
                  <a:pt x="260964" y="218996"/>
                  <a:pt x="252673" y="226989"/>
                  <a:pt x="252673" y="237162"/>
                </a:cubicBezTo>
                <a:cubicBezTo>
                  <a:pt x="252673" y="246971"/>
                  <a:pt x="260964" y="255327"/>
                  <a:pt x="271056" y="255327"/>
                </a:cubicBezTo>
                <a:cubicBezTo>
                  <a:pt x="281149" y="255327"/>
                  <a:pt x="289079" y="246971"/>
                  <a:pt x="289079" y="237162"/>
                </a:cubicBezTo>
                <a:cubicBezTo>
                  <a:pt x="289079" y="226989"/>
                  <a:pt x="281149" y="218996"/>
                  <a:pt x="271056" y="218996"/>
                </a:cubicBezTo>
                <a:close/>
                <a:moveTo>
                  <a:pt x="27033" y="218996"/>
                </a:moveTo>
                <a:cubicBezTo>
                  <a:pt x="16941" y="218996"/>
                  <a:pt x="9011" y="226989"/>
                  <a:pt x="9011" y="237162"/>
                </a:cubicBezTo>
                <a:cubicBezTo>
                  <a:pt x="9011" y="246971"/>
                  <a:pt x="16941" y="255327"/>
                  <a:pt x="27033" y="255327"/>
                </a:cubicBezTo>
                <a:lnTo>
                  <a:pt x="250511" y="255327"/>
                </a:lnTo>
                <a:cubicBezTo>
                  <a:pt x="246546" y="250604"/>
                  <a:pt x="244023" y="244065"/>
                  <a:pt x="244023" y="237162"/>
                </a:cubicBezTo>
                <a:cubicBezTo>
                  <a:pt x="244023" y="229895"/>
                  <a:pt x="246546" y="223355"/>
                  <a:pt x="250511" y="218996"/>
                </a:cubicBezTo>
                <a:lnTo>
                  <a:pt x="27033" y="218996"/>
                </a:lnTo>
                <a:close/>
                <a:moveTo>
                  <a:pt x="27033" y="209550"/>
                </a:moveTo>
                <a:lnTo>
                  <a:pt x="271056" y="209550"/>
                </a:lnTo>
                <a:cubicBezTo>
                  <a:pt x="285835" y="209550"/>
                  <a:pt x="298090" y="221902"/>
                  <a:pt x="298090" y="237162"/>
                </a:cubicBezTo>
                <a:cubicBezTo>
                  <a:pt x="298090" y="252057"/>
                  <a:pt x="285835" y="264410"/>
                  <a:pt x="271056" y="264410"/>
                </a:cubicBezTo>
                <a:lnTo>
                  <a:pt x="244023" y="264410"/>
                </a:lnTo>
                <a:lnTo>
                  <a:pt x="244023" y="277852"/>
                </a:lnTo>
                <a:cubicBezTo>
                  <a:pt x="244023" y="280395"/>
                  <a:pt x="241860" y="282212"/>
                  <a:pt x="239337" y="282212"/>
                </a:cubicBezTo>
                <a:cubicBezTo>
                  <a:pt x="236814" y="282212"/>
                  <a:pt x="234651" y="280395"/>
                  <a:pt x="234651" y="277852"/>
                </a:cubicBezTo>
                <a:lnTo>
                  <a:pt x="234651" y="264410"/>
                </a:lnTo>
                <a:lnTo>
                  <a:pt x="63078" y="264410"/>
                </a:lnTo>
                <a:lnTo>
                  <a:pt x="63078" y="277852"/>
                </a:lnTo>
                <a:cubicBezTo>
                  <a:pt x="63078" y="280395"/>
                  <a:pt x="60916" y="282212"/>
                  <a:pt x="58393" y="282212"/>
                </a:cubicBezTo>
                <a:cubicBezTo>
                  <a:pt x="56230" y="282212"/>
                  <a:pt x="54067" y="280395"/>
                  <a:pt x="54067" y="277852"/>
                </a:cubicBezTo>
                <a:lnTo>
                  <a:pt x="54067" y="264410"/>
                </a:lnTo>
                <a:lnTo>
                  <a:pt x="27033" y="264410"/>
                </a:lnTo>
                <a:cubicBezTo>
                  <a:pt x="11895" y="264410"/>
                  <a:pt x="0" y="252057"/>
                  <a:pt x="0" y="237162"/>
                </a:cubicBezTo>
                <a:cubicBezTo>
                  <a:pt x="0" y="221902"/>
                  <a:pt x="11895" y="209550"/>
                  <a:pt x="27033" y="209550"/>
                </a:cubicBezTo>
                <a:close/>
                <a:moveTo>
                  <a:pt x="227436" y="0"/>
                </a:moveTo>
                <a:lnTo>
                  <a:pt x="256846" y="0"/>
                </a:lnTo>
                <a:cubicBezTo>
                  <a:pt x="258639" y="0"/>
                  <a:pt x="260432" y="1079"/>
                  <a:pt x="260791" y="2879"/>
                </a:cubicBezTo>
                <a:cubicBezTo>
                  <a:pt x="261867" y="4319"/>
                  <a:pt x="261508" y="6478"/>
                  <a:pt x="260074" y="7918"/>
                </a:cubicBezTo>
                <a:lnTo>
                  <a:pt x="226360" y="41749"/>
                </a:lnTo>
                <a:lnTo>
                  <a:pt x="297016" y="197949"/>
                </a:lnTo>
                <a:cubicBezTo>
                  <a:pt x="298091" y="200109"/>
                  <a:pt x="297016" y="202988"/>
                  <a:pt x="294864" y="204068"/>
                </a:cubicBezTo>
                <a:cubicBezTo>
                  <a:pt x="294146" y="204068"/>
                  <a:pt x="293429" y="204428"/>
                  <a:pt x="292712" y="204428"/>
                </a:cubicBezTo>
                <a:cubicBezTo>
                  <a:pt x="291277" y="204428"/>
                  <a:pt x="289484" y="203348"/>
                  <a:pt x="288766" y="201549"/>
                </a:cubicBezTo>
                <a:lnTo>
                  <a:pt x="219545" y="48228"/>
                </a:lnTo>
                <a:lnTo>
                  <a:pt x="203765" y="64423"/>
                </a:lnTo>
                <a:lnTo>
                  <a:pt x="247879" y="193990"/>
                </a:lnTo>
                <a:cubicBezTo>
                  <a:pt x="248597" y="196150"/>
                  <a:pt x="247162" y="198669"/>
                  <a:pt x="244652" y="199749"/>
                </a:cubicBezTo>
                <a:cubicBezTo>
                  <a:pt x="244293" y="199749"/>
                  <a:pt x="243934" y="199749"/>
                  <a:pt x="243576" y="199749"/>
                </a:cubicBezTo>
                <a:cubicBezTo>
                  <a:pt x="241424" y="199749"/>
                  <a:pt x="239630" y="198669"/>
                  <a:pt x="238913" y="196870"/>
                </a:cubicBezTo>
                <a:lnTo>
                  <a:pt x="195157" y="68022"/>
                </a:lnTo>
                <a:lnTo>
                  <a:pt x="127729" y="68022"/>
                </a:lnTo>
                <a:cubicBezTo>
                  <a:pt x="120197" y="68022"/>
                  <a:pt x="113742" y="74141"/>
                  <a:pt x="113742" y="81699"/>
                </a:cubicBezTo>
                <a:cubicBezTo>
                  <a:pt x="113742" y="89617"/>
                  <a:pt x="120197" y="95376"/>
                  <a:pt x="127729" y="95376"/>
                </a:cubicBezTo>
                <a:lnTo>
                  <a:pt x="183321" y="95376"/>
                </a:lnTo>
                <a:cubicBezTo>
                  <a:pt x="185832" y="95376"/>
                  <a:pt x="187625" y="97535"/>
                  <a:pt x="187625" y="100414"/>
                </a:cubicBezTo>
                <a:cubicBezTo>
                  <a:pt x="187625" y="102574"/>
                  <a:pt x="185832" y="104733"/>
                  <a:pt x="183321" y="104733"/>
                </a:cubicBezTo>
                <a:lnTo>
                  <a:pt x="127729" y="104733"/>
                </a:lnTo>
                <a:cubicBezTo>
                  <a:pt x="114818" y="104733"/>
                  <a:pt x="104775" y="94296"/>
                  <a:pt x="104775" y="81699"/>
                </a:cubicBezTo>
                <a:cubicBezTo>
                  <a:pt x="104775" y="69102"/>
                  <a:pt x="114818" y="58665"/>
                  <a:pt x="127729" y="58665"/>
                </a:cubicBezTo>
                <a:lnTo>
                  <a:pt x="196591" y="58665"/>
                </a:lnTo>
                <a:lnTo>
                  <a:pt x="246086" y="8997"/>
                </a:lnTo>
                <a:lnTo>
                  <a:pt x="229229" y="8997"/>
                </a:lnTo>
                <a:lnTo>
                  <a:pt x="177224" y="47508"/>
                </a:lnTo>
                <a:cubicBezTo>
                  <a:pt x="175072" y="48947"/>
                  <a:pt x="172203" y="48228"/>
                  <a:pt x="170768" y="46428"/>
                </a:cubicBezTo>
                <a:cubicBezTo>
                  <a:pt x="169333" y="44269"/>
                  <a:pt x="169692" y="41389"/>
                  <a:pt x="171844" y="39950"/>
                </a:cubicBezTo>
                <a:lnTo>
                  <a:pt x="224925" y="720"/>
                </a:lnTo>
                <a:cubicBezTo>
                  <a:pt x="225643" y="360"/>
                  <a:pt x="226719" y="0"/>
                  <a:pt x="227436"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38" name="Freeform 733">
            <a:extLst>
              <a:ext uri="{FF2B5EF4-FFF2-40B4-BE49-F238E27FC236}">
                <a16:creationId xmlns:a16="http://schemas.microsoft.com/office/drawing/2014/main" id="{20829E07-F790-DE4B-BFD5-0CD982893E37}"/>
              </a:ext>
            </a:extLst>
          </p:cNvPr>
          <p:cNvSpPr>
            <a:spLocks noChangeArrowheads="1"/>
          </p:cNvSpPr>
          <p:nvPr/>
        </p:nvSpPr>
        <p:spPr bwMode="auto">
          <a:xfrm>
            <a:off x="1327492" y="4069966"/>
            <a:ext cx="320005" cy="321716"/>
          </a:xfrm>
          <a:custGeom>
            <a:avLst/>
            <a:gdLst/>
            <a:ahLst/>
            <a:cxnLst/>
            <a:rect l="0" t="0" r="r" b="b"/>
            <a:pathLst>
              <a:path w="296500" h="298092">
                <a:moveTo>
                  <a:pt x="135191" y="228696"/>
                </a:moveTo>
                <a:cubicBezTo>
                  <a:pt x="143784" y="228696"/>
                  <a:pt x="152423" y="231967"/>
                  <a:pt x="159083" y="238508"/>
                </a:cubicBezTo>
                <a:cubicBezTo>
                  <a:pt x="163762" y="243232"/>
                  <a:pt x="169881" y="245776"/>
                  <a:pt x="176361" y="245776"/>
                </a:cubicBezTo>
                <a:cubicBezTo>
                  <a:pt x="183200" y="245776"/>
                  <a:pt x="189319" y="243232"/>
                  <a:pt x="193999" y="238508"/>
                </a:cubicBezTo>
                <a:cubicBezTo>
                  <a:pt x="205517" y="226879"/>
                  <a:pt x="223515" y="225425"/>
                  <a:pt x="236833" y="234510"/>
                </a:cubicBezTo>
                <a:cubicBezTo>
                  <a:pt x="238993" y="235964"/>
                  <a:pt x="239353" y="238871"/>
                  <a:pt x="237913" y="241052"/>
                </a:cubicBezTo>
                <a:cubicBezTo>
                  <a:pt x="236474" y="242869"/>
                  <a:pt x="233954" y="243596"/>
                  <a:pt x="231794" y="241779"/>
                </a:cubicBezTo>
                <a:cubicBezTo>
                  <a:pt x="222075" y="235237"/>
                  <a:pt x="208757" y="236328"/>
                  <a:pt x="200478" y="245049"/>
                </a:cubicBezTo>
                <a:cubicBezTo>
                  <a:pt x="193999" y="251591"/>
                  <a:pt x="185720" y="255225"/>
                  <a:pt x="176361" y="255225"/>
                </a:cubicBezTo>
                <a:cubicBezTo>
                  <a:pt x="167722" y="255225"/>
                  <a:pt x="159083" y="251591"/>
                  <a:pt x="152603" y="245049"/>
                </a:cubicBezTo>
                <a:cubicBezTo>
                  <a:pt x="143245" y="235237"/>
                  <a:pt x="127406" y="235237"/>
                  <a:pt x="117688" y="245049"/>
                </a:cubicBezTo>
                <a:cubicBezTo>
                  <a:pt x="111568" y="251591"/>
                  <a:pt x="102929" y="255225"/>
                  <a:pt x="94290" y="255225"/>
                </a:cubicBezTo>
                <a:cubicBezTo>
                  <a:pt x="84931" y="255225"/>
                  <a:pt x="76652" y="251591"/>
                  <a:pt x="70173" y="245049"/>
                </a:cubicBezTo>
                <a:cubicBezTo>
                  <a:pt x="66934" y="241415"/>
                  <a:pt x="62614" y="239235"/>
                  <a:pt x="57935" y="238145"/>
                </a:cubicBezTo>
                <a:cubicBezTo>
                  <a:pt x="55415" y="237781"/>
                  <a:pt x="53975" y="235237"/>
                  <a:pt x="54335" y="232693"/>
                </a:cubicBezTo>
                <a:cubicBezTo>
                  <a:pt x="55055" y="230513"/>
                  <a:pt x="57215" y="228696"/>
                  <a:pt x="59734" y="229423"/>
                </a:cubicBezTo>
                <a:cubicBezTo>
                  <a:pt x="66214" y="230513"/>
                  <a:pt x="71973" y="233784"/>
                  <a:pt x="76652" y="238508"/>
                </a:cubicBezTo>
                <a:cubicBezTo>
                  <a:pt x="81332" y="243232"/>
                  <a:pt x="87451" y="245776"/>
                  <a:pt x="94290" y="245776"/>
                </a:cubicBezTo>
                <a:cubicBezTo>
                  <a:pt x="100770" y="245776"/>
                  <a:pt x="106889" y="243232"/>
                  <a:pt x="111568" y="238508"/>
                </a:cubicBezTo>
                <a:cubicBezTo>
                  <a:pt x="118048" y="231967"/>
                  <a:pt x="126597" y="228696"/>
                  <a:pt x="135191" y="228696"/>
                </a:cubicBezTo>
                <a:close/>
                <a:moveTo>
                  <a:pt x="239257" y="187420"/>
                </a:moveTo>
                <a:cubicBezTo>
                  <a:pt x="248235" y="187420"/>
                  <a:pt x="256854" y="191055"/>
                  <a:pt x="262958" y="197232"/>
                </a:cubicBezTo>
                <a:cubicBezTo>
                  <a:pt x="264754" y="199050"/>
                  <a:pt x="264754" y="201957"/>
                  <a:pt x="262958" y="203774"/>
                </a:cubicBezTo>
                <a:cubicBezTo>
                  <a:pt x="261163" y="205591"/>
                  <a:pt x="258290" y="205591"/>
                  <a:pt x="256495" y="203774"/>
                </a:cubicBezTo>
                <a:cubicBezTo>
                  <a:pt x="247158" y="193962"/>
                  <a:pt x="231357" y="193962"/>
                  <a:pt x="221661" y="203774"/>
                </a:cubicBezTo>
                <a:cubicBezTo>
                  <a:pt x="215197" y="210315"/>
                  <a:pt x="206938" y="213949"/>
                  <a:pt x="197960" y="213949"/>
                </a:cubicBezTo>
                <a:cubicBezTo>
                  <a:pt x="188982" y="213949"/>
                  <a:pt x="180723" y="210315"/>
                  <a:pt x="174259" y="203774"/>
                </a:cubicBezTo>
                <a:cubicBezTo>
                  <a:pt x="164563" y="193962"/>
                  <a:pt x="149121" y="193962"/>
                  <a:pt x="139425" y="203774"/>
                </a:cubicBezTo>
                <a:cubicBezTo>
                  <a:pt x="133321" y="210315"/>
                  <a:pt x="124702" y="213949"/>
                  <a:pt x="115724" y="213949"/>
                </a:cubicBezTo>
                <a:cubicBezTo>
                  <a:pt x="106747" y="213949"/>
                  <a:pt x="98487" y="210315"/>
                  <a:pt x="92023" y="203774"/>
                </a:cubicBezTo>
                <a:cubicBezTo>
                  <a:pt x="82327" y="193962"/>
                  <a:pt x="66527" y="193962"/>
                  <a:pt x="57190" y="203774"/>
                </a:cubicBezTo>
                <a:cubicBezTo>
                  <a:pt x="52880" y="208135"/>
                  <a:pt x="47135" y="211405"/>
                  <a:pt x="41030" y="212859"/>
                </a:cubicBezTo>
                <a:cubicBezTo>
                  <a:pt x="38516" y="213223"/>
                  <a:pt x="36002" y="211769"/>
                  <a:pt x="35643" y="209588"/>
                </a:cubicBezTo>
                <a:cubicBezTo>
                  <a:pt x="34925" y="207045"/>
                  <a:pt x="36361" y="204501"/>
                  <a:pt x="38875" y="204137"/>
                </a:cubicBezTo>
                <a:cubicBezTo>
                  <a:pt x="43543" y="203047"/>
                  <a:pt x="47494" y="200503"/>
                  <a:pt x="50726" y="197232"/>
                </a:cubicBezTo>
                <a:cubicBezTo>
                  <a:pt x="64013" y="184150"/>
                  <a:pt x="85200" y="184150"/>
                  <a:pt x="98487" y="197232"/>
                </a:cubicBezTo>
                <a:cubicBezTo>
                  <a:pt x="102796" y="201957"/>
                  <a:pt x="109260" y="204501"/>
                  <a:pt x="115724" y="204501"/>
                </a:cubicBezTo>
                <a:cubicBezTo>
                  <a:pt x="122547" y="204501"/>
                  <a:pt x="128293" y="201957"/>
                  <a:pt x="133321" y="197232"/>
                </a:cubicBezTo>
                <a:cubicBezTo>
                  <a:pt x="146248" y="184150"/>
                  <a:pt x="167436" y="184150"/>
                  <a:pt x="180723" y="197232"/>
                </a:cubicBezTo>
                <a:cubicBezTo>
                  <a:pt x="185391" y="201957"/>
                  <a:pt x="191496" y="204501"/>
                  <a:pt x="197960" y="204501"/>
                </a:cubicBezTo>
                <a:cubicBezTo>
                  <a:pt x="204424" y="204501"/>
                  <a:pt x="210888" y="201957"/>
                  <a:pt x="215197" y="197232"/>
                </a:cubicBezTo>
                <a:cubicBezTo>
                  <a:pt x="221661" y="191055"/>
                  <a:pt x="230280" y="187420"/>
                  <a:pt x="239257" y="187420"/>
                </a:cubicBezTo>
                <a:close/>
                <a:moveTo>
                  <a:pt x="7140" y="181691"/>
                </a:moveTo>
                <a:cubicBezTo>
                  <a:pt x="9663" y="181333"/>
                  <a:pt x="11825" y="182407"/>
                  <a:pt x="12546" y="184914"/>
                </a:cubicBezTo>
                <a:cubicBezTo>
                  <a:pt x="28766" y="246160"/>
                  <a:pt x="84634" y="288780"/>
                  <a:pt x="148432" y="288780"/>
                </a:cubicBezTo>
                <a:cubicBezTo>
                  <a:pt x="211869" y="288780"/>
                  <a:pt x="267737" y="246160"/>
                  <a:pt x="283956" y="184914"/>
                </a:cubicBezTo>
                <a:cubicBezTo>
                  <a:pt x="284317" y="182407"/>
                  <a:pt x="286840" y="180975"/>
                  <a:pt x="289363" y="181691"/>
                </a:cubicBezTo>
                <a:cubicBezTo>
                  <a:pt x="291886" y="182407"/>
                  <a:pt x="293328" y="184914"/>
                  <a:pt x="292607" y="187063"/>
                </a:cubicBezTo>
                <a:cubicBezTo>
                  <a:pt x="275666" y="252606"/>
                  <a:pt x="216194" y="298092"/>
                  <a:pt x="148432" y="298092"/>
                </a:cubicBezTo>
                <a:cubicBezTo>
                  <a:pt x="80309" y="298092"/>
                  <a:pt x="21197" y="252606"/>
                  <a:pt x="3896" y="187063"/>
                </a:cubicBezTo>
                <a:cubicBezTo>
                  <a:pt x="3175" y="184914"/>
                  <a:pt x="4617" y="182407"/>
                  <a:pt x="7140" y="181691"/>
                </a:cubicBezTo>
                <a:close/>
                <a:moveTo>
                  <a:pt x="148432" y="147673"/>
                </a:moveTo>
                <a:cubicBezTo>
                  <a:pt x="157082" y="147673"/>
                  <a:pt x="165012" y="150884"/>
                  <a:pt x="171500" y="157305"/>
                </a:cubicBezTo>
                <a:cubicBezTo>
                  <a:pt x="180511" y="166224"/>
                  <a:pt x="196009" y="166224"/>
                  <a:pt x="205020" y="157305"/>
                </a:cubicBezTo>
                <a:cubicBezTo>
                  <a:pt x="211508" y="150884"/>
                  <a:pt x="219438" y="147673"/>
                  <a:pt x="228449" y="147673"/>
                </a:cubicBezTo>
                <a:cubicBezTo>
                  <a:pt x="237099" y="147673"/>
                  <a:pt x="245029" y="150884"/>
                  <a:pt x="251517" y="157305"/>
                </a:cubicBezTo>
                <a:cubicBezTo>
                  <a:pt x="255842" y="161586"/>
                  <a:pt x="261970" y="163727"/>
                  <a:pt x="268457" y="163727"/>
                </a:cubicBezTo>
                <a:cubicBezTo>
                  <a:pt x="274585" y="163727"/>
                  <a:pt x="280712" y="161586"/>
                  <a:pt x="285038" y="157305"/>
                </a:cubicBezTo>
                <a:cubicBezTo>
                  <a:pt x="286840" y="155165"/>
                  <a:pt x="289723" y="155165"/>
                  <a:pt x="291526" y="157305"/>
                </a:cubicBezTo>
                <a:cubicBezTo>
                  <a:pt x="293328" y="158732"/>
                  <a:pt x="293328" y="161586"/>
                  <a:pt x="291526" y="163370"/>
                </a:cubicBezTo>
                <a:cubicBezTo>
                  <a:pt x="285038" y="169435"/>
                  <a:pt x="277108" y="173002"/>
                  <a:pt x="268457" y="173002"/>
                </a:cubicBezTo>
                <a:cubicBezTo>
                  <a:pt x="259447" y="173002"/>
                  <a:pt x="251517" y="169435"/>
                  <a:pt x="245029" y="163370"/>
                </a:cubicBezTo>
                <a:cubicBezTo>
                  <a:pt x="240704" y="159089"/>
                  <a:pt x="234576" y="156592"/>
                  <a:pt x="228449" y="156592"/>
                </a:cubicBezTo>
                <a:cubicBezTo>
                  <a:pt x="221961" y="156592"/>
                  <a:pt x="215834" y="158732"/>
                  <a:pt x="211508" y="163370"/>
                </a:cubicBezTo>
                <a:cubicBezTo>
                  <a:pt x="198533" y="175856"/>
                  <a:pt x="177988" y="175856"/>
                  <a:pt x="165012" y="163370"/>
                </a:cubicBezTo>
                <a:cubicBezTo>
                  <a:pt x="160687" y="158732"/>
                  <a:pt x="154559" y="156592"/>
                  <a:pt x="148432" y="156592"/>
                </a:cubicBezTo>
                <a:cubicBezTo>
                  <a:pt x="141944" y="156592"/>
                  <a:pt x="135816" y="158732"/>
                  <a:pt x="131491" y="163370"/>
                </a:cubicBezTo>
                <a:cubicBezTo>
                  <a:pt x="118515" y="175856"/>
                  <a:pt x="97970" y="175856"/>
                  <a:pt x="84995" y="163370"/>
                </a:cubicBezTo>
                <a:cubicBezTo>
                  <a:pt x="75623" y="154095"/>
                  <a:pt x="60845" y="154095"/>
                  <a:pt x="51474" y="163370"/>
                </a:cubicBezTo>
                <a:cubicBezTo>
                  <a:pt x="38498" y="175856"/>
                  <a:pt x="17953" y="175856"/>
                  <a:pt x="4977" y="163370"/>
                </a:cubicBezTo>
                <a:cubicBezTo>
                  <a:pt x="3175" y="161586"/>
                  <a:pt x="3175" y="158732"/>
                  <a:pt x="4977" y="157305"/>
                </a:cubicBezTo>
                <a:cubicBezTo>
                  <a:pt x="6779" y="155165"/>
                  <a:pt x="9663" y="155165"/>
                  <a:pt x="11465" y="157305"/>
                </a:cubicBezTo>
                <a:cubicBezTo>
                  <a:pt x="15790" y="161586"/>
                  <a:pt x="21918" y="163727"/>
                  <a:pt x="28406" y="163727"/>
                </a:cubicBezTo>
                <a:cubicBezTo>
                  <a:pt x="34533" y="163727"/>
                  <a:pt x="40660" y="161586"/>
                  <a:pt x="44986" y="157305"/>
                </a:cubicBezTo>
                <a:cubicBezTo>
                  <a:pt x="57962" y="144463"/>
                  <a:pt x="78507" y="144463"/>
                  <a:pt x="91482" y="157305"/>
                </a:cubicBezTo>
                <a:cubicBezTo>
                  <a:pt x="100854" y="166224"/>
                  <a:pt x="115632" y="166224"/>
                  <a:pt x="125003" y="157305"/>
                </a:cubicBezTo>
                <a:cubicBezTo>
                  <a:pt x="131491" y="150884"/>
                  <a:pt x="139421" y="147673"/>
                  <a:pt x="148432" y="147673"/>
                </a:cubicBezTo>
                <a:close/>
                <a:moveTo>
                  <a:pt x="166149" y="90152"/>
                </a:moveTo>
                <a:lnTo>
                  <a:pt x="166149" y="114673"/>
                </a:lnTo>
                <a:lnTo>
                  <a:pt x="223658" y="114673"/>
                </a:lnTo>
                <a:lnTo>
                  <a:pt x="223658" y="90152"/>
                </a:lnTo>
                <a:lnTo>
                  <a:pt x="166149" y="90152"/>
                </a:lnTo>
                <a:close/>
                <a:moveTo>
                  <a:pt x="166149" y="56615"/>
                </a:moveTo>
                <a:lnTo>
                  <a:pt x="166149" y="81137"/>
                </a:lnTo>
                <a:lnTo>
                  <a:pt x="223658" y="81137"/>
                </a:lnTo>
                <a:lnTo>
                  <a:pt x="223658" y="56615"/>
                </a:lnTo>
                <a:lnTo>
                  <a:pt x="166149" y="56615"/>
                </a:lnTo>
                <a:close/>
                <a:moveTo>
                  <a:pt x="247877" y="45899"/>
                </a:moveTo>
                <a:cubicBezTo>
                  <a:pt x="249692" y="44450"/>
                  <a:pt x="252957" y="44450"/>
                  <a:pt x="254409" y="45899"/>
                </a:cubicBezTo>
                <a:cubicBezTo>
                  <a:pt x="279083" y="71265"/>
                  <a:pt x="293960" y="104240"/>
                  <a:pt x="296500" y="139390"/>
                </a:cubicBezTo>
                <a:cubicBezTo>
                  <a:pt x="296500" y="141926"/>
                  <a:pt x="294686" y="143738"/>
                  <a:pt x="292509" y="144100"/>
                </a:cubicBezTo>
                <a:cubicBezTo>
                  <a:pt x="292146" y="144100"/>
                  <a:pt x="292146" y="144100"/>
                  <a:pt x="291783" y="144100"/>
                </a:cubicBezTo>
                <a:cubicBezTo>
                  <a:pt x="289606" y="144100"/>
                  <a:pt x="287792" y="142289"/>
                  <a:pt x="287429" y="139752"/>
                </a:cubicBezTo>
                <a:cubicBezTo>
                  <a:pt x="284889" y="107139"/>
                  <a:pt x="270737" y="75976"/>
                  <a:pt x="247877" y="52422"/>
                </a:cubicBezTo>
                <a:cubicBezTo>
                  <a:pt x="246063" y="50610"/>
                  <a:pt x="246063" y="47711"/>
                  <a:pt x="247877" y="45899"/>
                </a:cubicBezTo>
                <a:close/>
                <a:moveTo>
                  <a:pt x="166149" y="23079"/>
                </a:moveTo>
                <a:lnTo>
                  <a:pt x="166149" y="47600"/>
                </a:lnTo>
                <a:lnTo>
                  <a:pt x="223658" y="47600"/>
                </a:lnTo>
                <a:lnTo>
                  <a:pt x="223658" y="23079"/>
                </a:lnTo>
                <a:lnTo>
                  <a:pt x="166149" y="23079"/>
                </a:lnTo>
                <a:close/>
                <a:moveTo>
                  <a:pt x="135895" y="1949"/>
                </a:moveTo>
                <a:cubicBezTo>
                  <a:pt x="138053" y="1588"/>
                  <a:pt x="140569" y="3392"/>
                  <a:pt x="140929" y="5917"/>
                </a:cubicBezTo>
                <a:cubicBezTo>
                  <a:pt x="140929" y="8443"/>
                  <a:pt x="139131" y="10608"/>
                  <a:pt x="136614" y="10968"/>
                </a:cubicBezTo>
                <a:cubicBezTo>
                  <a:pt x="67948" y="16380"/>
                  <a:pt x="14380" y="70860"/>
                  <a:pt x="8988" y="139772"/>
                </a:cubicBezTo>
                <a:cubicBezTo>
                  <a:pt x="8628" y="142298"/>
                  <a:pt x="6831" y="144102"/>
                  <a:pt x="4674" y="144102"/>
                </a:cubicBezTo>
                <a:cubicBezTo>
                  <a:pt x="4314" y="144102"/>
                  <a:pt x="4314" y="144102"/>
                  <a:pt x="3955" y="144102"/>
                </a:cubicBezTo>
                <a:cubicBezTo>
                  <a:pt x="1438" y="143741"/>
                  <a:pt x="0" y="141937"/>
                  <a:pt x="0" y="139412"/>
                </a:cubicBezTo>
                <a:cubicBezTo>
                  <a:pt x="5752" y="65809"/>
                  <a:pt x="62555" y="7721"/>
                  <a:pt x="135895" y="1949"/>
                </a:cubicBezTo>
                <a:close/>
                <a:moveTo>
                  <a:pt x="161476" y="0"/>
                </a:moveTo>
                <a:cubicBezTo>
                  <a:pt x="163992" y="0"/>
                  <a:pt x="166149" y="2163"/>
                  <a:pt x="166149" y="4688"/>
                </a:cubicBezTo>
                <a:lnTo>
                  <a:pt x="166149" y="14063"/>
                </a:lnTo>
                <a:lnTo>
                  <a:pt x="223658" y="14063"/>
                </a:lnTo>
                <a:lnTo>
                  <a:pt x="223658" y="4688"/>
                </a:lnTo>
                <a:cubicBezTo>
                  <a:pt x="223658" y="2163"/>
                  <a:pt x="225815" y="0"/>
                  <a:pt x="228331" y="0"/>
                </a:cubicBezTo>
                <a:cubicBezTo>
                  <a:pt x="230847" y="0"/>
                  <a:pt x="233004" y="2163"/>
                  <a:pt x="233004" y="4688"/>
                </a:cubicBezTo>
                <a:lnTo>
                  <a:pt x="233004" y="133064"/>
                </a:lnTo>
                <a:cubicBezTo>
                  <a:pt x="233004" y="135588"/>
                  <a:pt x="230847" y="137752"/>
                  <a:pt x="228331" y="137752"/>
                </a:cubicBezTo>
                <a:cubicBezTo>
                  <a:pt x="225815" y="137752"/>
                  <a:pt x="223658" y="135588"/>
                  <a:pt x="223658" y="133064"/>
                </a:cubicBezTo>
                <a:lnTo>
                  <a:pt x="223658" y="123688"/>
                </a:lnTo>
                <a:lnTo>
                  <a:pt x="166149" y="123688"/>
                </a:lnTo>
                <a:lnTo>
                  <a:pt x="166149" y="133064"/>
                </a:lnTo>
                <a:cubicBezTo>
                  <a:pt x="166149" y="135588"/>
                  <a:pt x="163992" y="137752"/>
                  <a:pt x="161476" y="137752"/>
                </a:cubicBezTo>
                <a:cubicBezTo>
                  <a:pt x="158960" y="137752"/>
                  <a:pt x="157163" y="135588"/>
                  <a:pt x="157163" y="133064"/>
                </a:cubicBezTo>
                <a:lnTo>
                  <a:pt x="157163" y="4688"/>
                </a:lnTo>
                <a:cubicBezTo>
                  <a:pt x="157163" y="2163"/>
                  <a:pt x="158960" y="0"/>
                  <a:pt x="161476"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39" name="Freeform 732">
            <a:extLst>
              <a:ext uri="{FF2B5EF4-FFF2-40B4-BE49-F238E27FC236}">
                <a16:creationId xmlns:a16="http://schemas.microsoft.com/office/drawing/2014/main" id="{C7F5FD4C-AC92-E34D-B34D-5914E44DCB26}"/>
              </a:ext>
            </a:extLst>
          </p:cNvPr>
          <p:cNvSpPr>
            <a:spLocks noChangeArrowheads="1"/>
          </p:cNvSpPr>
          <p:nvPr/>
        </p:nvSpPr>
        <p:spPr bwMode="auto">
          <a:xfrm>
            <a:off x="1325781" y="4871375"/>
            <a:ext cx="321716" cy="320004"/>
          </a:xfrm>
          <a:custGeom>
            <a:avLst/>
            <a:gdLst/>
            <a:ahLst/>
            <a:cxnLst/>
            <a:rect l="0" t="0" r="r" b="b"/>
            <a:pathLst>
              <a:path w="298090" h="296522">
                <a:moveTo>
                  <a:pt x="229743" y="289038"/>
                </a:moveTo>
                <a:cubicBezTo>
                  <a:pt x="231648" y="287337"/>
                  <a:pt x="234696" y="287337"/>
                  <a:pt x="236601" y="289038"/>
                </a:cubicBezTo>
                <a:cubicBezTo>
                  <a:pt x="237363" y="289718"/>
                  <a:pt x="237744" y="291079"/>
                  <a:pt x="237744" y="292100"/>
                </a:cubicBezTo>
                <a:cubicBezTo>
                  <a:pt x="237744" y="293120"/>
                  <a:pt x="237363" y="294481"/>
                  <a:pt x="236601" y="295161"/>
                </a:cubicBezTo>
                <a:cubicBezTo>
                  <a:pt x="235839" y="295842"/>
                  <a:pt x="234315" y="296522"/>
                  <a:pt x="233172" y="296522"/>
                </a:cubicBezTo>
                <a:cubicBezTo>
                  <a:pt x="232029" y="296522"/>
                  <a:pt x="230886" y="295842"/>
                  <a:pt x="229743" y="295161"/>
                </a:cubicBezTo>
                <a:cubicBezTo>
                  <a:pt x="228981" y="294481"/>
                  <a:pt x="228600" y="293120"/>
                  <a:pt x="228600" y="292100"/>
                </a:cubicBezTo>
                <a:cubicBezTo>
                  <a:pt x="228600" y="291079"/>
                  <a:pt x="228981" y="289718"/>
                  <a:pt x="229743" y="289038"/>
                </a:cubicBezTo>
                <a:close/>
                <a:moveTo>
                  <a:pt x="271018" y="279223"/>
                </a:moveTo>
                <a:cubicBezTo>
                  <a:pt x="272923" y="277812"/>
                  <a:pt x="275971" y="277812"/>
                  <a:pt x="277876" y="279223"/>
                </a:cubicBezTo>
                <a:cubicBezTo>
                  <a:pt x="278638" y="279929"/>
                  <a:pt x="279019" y="281340"/>
                  <a:pt x="279019" y="282398"/>
                </a:cubicBezTo>
                <a:cubicBezTo>
                  <a:pt x="279019" y="283457"/>
                  <a:pt x="278638" y="284868"/>
                  <a:pt x="277876" y="285573"/>
                </a:cubicBezTo>
                <a:cubicBezTo>
                  <a:pt x="277114" y="286279"/>
                  <a:pt x="275971" y="286984"/>
                  <a:pt x="274447" y="286984"/>
                </a:cubicBezTo>
                <a:cubicBezTo>
                  <a:pt x="273304" y="286984"/>
                  <a:pt x="272161" y="286279"/>
                  <a:pt x="271018" y="285573"/>
                </a:cubicBezTo>
                <a:cubicBezTo>
                  <a:pt x="270256" y="284868"/>
                  <a:pt x="269875" y="283457"/>
                  <a:pt x="269875" y="282398"/>
                </a:cubicBezTo>
                <a:cubicBezTo>
                  <a:pt x="269875" y="281340"/>
                  <a:pt x="270256" y="279929"/>
                  <a:pt x="271018" y="279223"/>
                </a:cubicBezTo>
                <a:close/>
                <a:moveTo>
                  <a:pt x="190378" y="279223"/>
                </a:moveTo>
                <a:cubicBezTo>
                  <a:pt x="191844" y="277812"/>
                  <a:pt x="195141" y="277812"/>
                  <a:pt x="196606" y="279223"/>
                </a:cubicBezTo>
                <a:cubicBezTo>
                  <a:pt x="197705" y="280282"/>
                  <a:pt x="198072" y="281340"/>
                  <a:pt x="198072" y="282398"/>
                </a:cubicBezTo>
                <a:cubicBezTo>
                  <a:pt x="198072" y="283457"/>
                  <a:pt x="197705" y="284868"/>
                  <a:pt x="196606" y="285573"/>
                </a:cubicBezTo>
                <a:cubicBezTo>
                  <a:pt x="195873" y="286279"/>
                  <a:pt x="194408" y="286984"/>
                  <a:pt x="193675" y="286984"/>
                </a:cubicBezTo>
                <a:cubicBezTo>
                  <a:pt x="192210" y="286984"/>
                  <a:pt x="191111" y="286279"/>
                  <a:pt x="190378" y="285573"/>
                </a:cubicBezTo>
                <a:cubicBezTo>
                  <a:pt x="189279" y="284868"/>
                  <a:pt x="188913" y="283457"/>
                  <a:pt x="188913" y="282398"/>
                </a:cubicBezTo>
                <a:cubicBezTo>
                  <a:pt x="188913" y="281340"/>
                  <a:pt x="189279" y="280282"/>
                  <a:pt x="190378" y="279223"/>
                </a:cubicBezTo>
                <a:close/>
                <a:moveTo>
                  <a:pt x="233172" y="265112"/>
                </a:moveTo>
                <a:cubicBezTo>
                  <a:pt x="235839" y="265112"/>
                  <a:pt x="237744" y="266943"/>
                  <a:pt x="237744" y="269508"/>
                </a:cubicBezTo>
                <a:cubicBezTo>
                  <a:pt x="237744" y="272072"/>
                  <a:pt x="235839" y="274270"/>
                  <a:pt x="233172" y="274270"/>
                </a:cubicBezTo>
                <a:cubicBezTo>
                  <a:pt x="230505" y="274270"/>
                  <a:pt x="228600" y="272072"/>
                  <a:pt x="228600" y="269508"/>
                </a:cubicBezTo>
                <a:cubicBezTo>
                  <a:pt x="228600" y="266943"/>
                  <a:pt x="230505" y="265112"/>
                  <a:pt x="233172" y="265112"/>
                </a:cubicBezTo>
                <a:close/>
                <a:moveTo>
                  <a:pt x="272522" y="257528"/>
                </a:moveTo>
                <a:cubicBezTo>
                  <a:pt x="274991" y="257175"/>
                  <a:pt x="277108" y="259291"/>
                  <a:pt x="277460" y="261408"/>
                </a:cubicBezTo>
                <a:cubicBezTo>
                  <a:pt x="277460" y="263878"/>
                  <a:pt x="275697" y="265994"/>
                  <a:pt x="273227" y="266347"/>
                </a:cubicBezTo>
                <a:lnTo>
                  <a:pt x="272874" y="266347"/>
                </a:lnTo>
                <a:cubicBezTo>
                  <a:pt x="270758" y="266347"/>
                  <a:pt x="268641" y="264583"/>
                  <a:pt x="268288" y="262466"/>
                </a:cubicBezTo>
                <a:cubicBezTo>
                  <a:pt x="268288" y="259644"/>
                  <a:pt x="270052" y="257880"/>
                  <a:pt x="272522" y="257528"/>
                </a:cubicBezTo>
                <a:close/>
                <a:moveTo>
                  <a:pt x="195439" y="257528"/>
                </a:moveTo>
                <a:cubicBezTo>
                  <a:pt x="197908" y="257880"/>
                  <a:pt x="199672" y="259644"/>
                  <a:pt x="199672" y="262466"/>
                </a:cubicBezTo>
                <a:cubicBezTo>
                  <a:pt x="199672" y="264583"/>
                  <a:pt x="197555" y="266347"/>
                  <a:pt x="195086" y="266347"/>
                </a:cubicBezTo>
                <a:lnTo>
                  <a:pt x="194733" y="266347"/>
                </a:lnTo>
                <a:cubicBezTo>
                  <a:pt x="192617" y="265994"/>
                  <a:pt x="190500" y="263878"/>
                  <a:pt x="190853" y="261408"/>
                </a:cubicBezTo>
                <a:cubicBezTo>
                  <a:pt x="190853" y="259291"/>
                  <a:pt x="192969" y="257175"/>
                  <a:pt x="195439" y="257528"/>
                </a:cubicBezTo>
                <a:close/>
                <a:moveTo>
                  <a:pt x="233172" y="242887"/>
                </a:moveTo>
                <a:cubicBezTo>
                  <a:pt x="235839" y="242887"/>
                  <a:pt x="237744" y="245003"/>
                  <a:pt x="237744" y="247473"/>
                </a:cubicBezTo>
                <a:cubicBezTo>
                  <a:pt x="237744" y="249942"/>
                  <a:pt x="235839" y="252059"/>
                  <a:pt x="233172" y="252059"/>
                </a:cubicBezTo>
                <a:cubicBezTo>
                  <a:pt x="230505" y="252059"/>
                  <a:pt x="228600" y="249942"/>
                  <a:pt x="228600" y="247473"/>
                </a:cubicBezTo>
                <a:cubicBezTo>
                  <a:pt x="228600" y="245003"/>
                  <a:pt x="230505" y="242887"/>
                  <a:pt x="233172" y="242887"/>
                </a:cubicBezTo>
                <a:close/>
                <a:moveTo>
                  <a:pt x="270934" y="238125"/>
                </a:moveTo>
                <a:cubicBezTo>
                  <a:pt x="273403" y="238125"/>
                  <a:pt x="275520" y="239956"/>
                  <a:pt x="275520" y="242521"/>
                </a:cubicBezTo>
                <a:cubicBezTo>
                  <a:pt x="275872" y="244719"/>
                  <a:pt x="274109" y="247283"/>
                  <a:pt x="271639" y="247283"/>
                </a:cubicBezTo>
                <a:lnTo>
                  <a:pt x="271286" y="247283"/>
                </a:lnTo>
                <a:cubicBezTo>
                  <a:pt x="269169" y="247283"/>
                  <a:pt x="267053" y="245818"/>
                  <a:pt x="267053" y="242887"/>
                </a:cubicBezTo>
                <a:cubicBezTo>
                  <a:pt x="266700" y="240689"/>
                  <a:pt x="268464" y="238491"/>
                  <a:pt x="270934" y="238125"/>
                </a:cubicBezTo>
                <a:close/>
                <a:moveTo>
                  <a:pt x="197380" y="238125"/>
                </a:moveTo>
                <a:cubicBezTo>
                  <a:pt x="199496" y="238491"/>
                  <a:pt x="201260" y="240689"/>
                  <a:pt x="201260" y="242887"/>
                </a:cubicBezTo>
                <a:cubicBezTo>
                  <a:pt x="200907" y="245818"/>
                  <a:pt x="199143" y="247283"/>
                  <a:pt x="197027" y="247283"/>
                </a:cubicBezTo>
                <a:lnTo>
                  <a:pt x="196321" y="247283"/>
                </a:lnTo>
                <a:cubicBezTo>
                  <a:pt x="193852" y="247283"/>
                  <a:pt x="192088" y="244719"/>
                  <a:pt x="192441" y="242521"/>
                </a:cubicBezTo>
                <a:cubicBezTo>
                  <a:pt x="192793" y="239956"/>
                  <a:pt x="194910" y="238125"/>
                  <a:pt x="197380" y="238125"/>
                </a:cubicBezTo>
                <a:close/>
                <a:moveTo>
                  <a:pt x="233172" y="220662"/>
                </a:moveTo>
                <a:cubicBezTo>
                  <a:pt x="235839" y="220662"/>
                  <a:pt x="237744" y="222778"/>
                  <a:pt x="237744" y="225248"/>
                </a:cubicBezTo>
                <a:cubicBezTo>
                  <a:pt x="237744" y="227717"/>
                  <a:pt x="235839" y="229834"/>
                  <a:pt x="233172" y="229834"/>
                </a:cubicBezTo>
                <a:cubicBezTo>
                  <a:pt x="230505" y="229834"/>
                  <a:pt x="228600" y="227717"/>
                  <a:pt x="228600" y="225248"/>
                </a:cubicBezTo>
                <a:cubicBezTo>
                  <a:pt x="228600" y="222778"/>
                  <a:pt x="230505" y="220662"/>
                  <a:pt x="233172" y="220662"/>
                </a:cubicBezTo>
                <a:close/>
                <a:moveTo>
                  <a:pt x="267758" y="217487"/>
                </a:moveTo>
                <a:cubicBezTo>
                  <a:pt x="270228" y="217487"/>
                  <a:pt x="272345" y="219318"/>
                  <a:pt x="272697" y="221883"/>
                </a:cubicBezTo>
                <a:cubicBezTo>
                  <a:pt x="272697" y="224447"/>
                  <a:pt x="270934" y="226645"/>
                  <a:pt x="268464" y="226645"/>
                </a:cubicBezTo>
                <a:lnTo>
                  <a:pt x="268111" y="226645"/>
                </a:lnTo>
                <a:cubicBezTo>
                  <a:pt x="265994" y="226645"/>
                  <a:pt x="263878" y="224814"/>
                  <a:pt x="263525" y="222616"/>
                </a:cubicBezTo>
                <a:cubicBezTo>
                  <a:pt x="263525" y="220051"/>
                  <a:pt x="265289" y="217853"/>
                  <a:pt x="267758" y="217487"/>
                </a:cubicBezTo>
                <a:close/>
                <a:moveTo>
                  <a:pt x="198437" y="217487"/>
                </a:moveTo>
                <a:cubicBezTo>
                  <a:pt x="200819" y="217853"/>
                  <a:pt x="202860" y="220051"/>
                  <a:pt x="202520" y="222616"/>
                </a:cubicBezTo>
                <a:cubicBezTo>
                  <a:pt x="202520" y="224814"/>
                  <a:pt x="200478" y="226645"/>
                  <a:pt x="198097" y="226645"/>
                </a:cubicBezTo>
                <a:lnTo>
                  <a:pt x="197757" y="226645"/>
                </a:lnTo>
                <a:cubicBezTo>
                  <a:pt x="195716" y="226645"/>
                  <a:pt x="193675" y="224447"/>
                  <a:pt x="194015" y="221883"/>
                </a:cubicBezTo>
                <a:cubicBezTo>
                  <a:pt x="194015" y="219318"/>
                  <a:pt x="196396" y="217487"/>
                  <a:pt x="198437" y="217487"/>
                </a:cubicBezTo>
                <a:close/>
                <a:moveTo>
                  <a:pt x="233172" y="198437"/>
                </a:moveTo>
                <a:cubicBezTo>
                  <a:pt x="235839" y="198437"/>
                  <a:pt x="237744" y="200268"/>
                  <a:pt x="237744" y="202833"/>
                </a:cubicBezTo>
                <a:cubicBezTo>
                  <a:pt x="237744" y="205397"/>
                  <a:pt x="235839" y="207595"/>
                  <a:pt x="233172" y="207595"/>
                </a:cubicBezTo>
                <a:cubicBezTo>
                  <a:pt x="230505" y="207595"/>
                  <a:pt x="228600" y="205397"/>
                  <a:pt x="228600" y="202833"/>
                </a:cubicBezTo>
                <a:cubicBezTo>
                  <a:pt x="228600" y="200268"/>
                  <a:pt x="230505" y="198437"/>
                  <a:pt x="233172" y="198437"/>
                </a:cubicBezTo>
                <a:close/>
                <a:moveTo>
                  <a:pt x="266171" y="197203"/>
                </a:moveTo>
                <a:cubicBezTo>
                  <a:pt x="268641" y="196850"/>
                  <a:pt x="270758" y="198614"/>
                  <a:pt x="270758" y="201083"/>
                </a:cubicBezTo>
                <a:cubicBezTo>
                  <a:pt x="271110" y="203553"/>
                  <a:pt x="269346" y="205669"/>
                  <a:pt x="266877" y="206022"/>
                </a:cubicBezTo>
                <a:cubicBezTo>
                  <a:pt x="266877" y="206022"/>
                  <a:pt x="266877" y="206022"/>
                  <a:pt x="266524" y="206022"/>
                </a:cubicBezTo>
                <a:cubicBezTo>
                  <a:pt x="264407" y="206022"/>
                  <a:pt x="262291" y="204258"/>
                  <a:pt x="262291" y="201789"/>
                </a:cubicBezTo>
                <a:cubicBezTo>
                  <a:pt x="261938" y="199672"/>
                  <a:pt x="263702" y="197203"/>
                  <a:pt x="266171" y="197203"/>
                </a:cubicBezTo>
                <a:close/>
                <a:moveTo>
                  <a:pt x="200392" y="197203"/>
                </a:moveTo>
                <a:cubicBezTo>
                  <a:pt x="202956" y="197203"/>
                  <a:pt x="204422" y="199672"/>
                  <a:pt x="204422" y="201789"/>
                </a:cubicBezTo>
                <a:cubicBezTo>
                  <a:pt x="204055" y="204258"/>
                  <a:pt x="202223" y="206022"/>
                  <a:pt x="200025" y="206022"/>
                </a:cubicBezTo>
                <a:cubicBezTo>
                  <a:pt x="199659" y="206022"/>
                  <a:pt x="199659" y="206022"/>
                  <a:pt x="199293" y="206022"/>
                </a:cubicBezTo>
                <a:cubicBezTo>
                  <a:pt x="196728" y="205669"/>
                  <a:pt x="195263" y="203553"/>
                  <a:pt x="195263" y="201083"/>
                </a:cubicBezTo>
                <a:cubicBezTo>
                  <a:pt x="195629" y="198614"/>
                  <a:pt x="197461" y="196850"/>
                  <a:pt x="200392" y="197203"/>
                </a:cubicBezTo>
                <a:close/>
                <a:moveTo>
                  <a:pt x="71729" y="132310"/>
                </a:moveTo>
                <a:cubicBezTo>
                  <a:pt x="67403" y="132310"/>
                  <a:pt x="63799" y="135896"/>
                  <a:pt x="63799" y="140199"/>
                </a:cubicBezTo>
                <a:cubicBezTo>
                  <a:pt x="63799" y="144143"/>
                  <a:pt x="67043" y="147370"/>
                  <a:pt x="71008" y="147729"/>
                </a:cubicBezTo>
                <a:lnTo>
                  <a:pt x="180584" y="159561"/>
                </a:lnTo>
                <a:cubicBezTo>
                  <a:pt x="183107" y="153107"/>
                  <a:pt x="187072" y="147012"/>
                  <a:pt x="192118" y="141633"/>
                </a:cubicBezTo>
                <a:cubicBezTo>
                  <a:pt x="193920" y="139840"/>
                  <a:pt x="196804" y="139482"/>
                  <a:pt x="198606" y="141275"/>
                </a:cubicBezTo>
                <a:cubicBezTo>
                  <a:pt x="200408" y="143067"/>
                  <a:pt x="200408" y="145936"/>
                  <a:pt x="198606" y="147729"/>
                </a:cubicBezTo>
                <a:cubicBezTo>
                  <a:pt x="191037" y="155617"/>
                  <a:pt x="186711" y="165657"/>
                  <a:pt x="185630" y="176414"/>
                </a:cubicBezTo>
                <a:lnTo>
                  <a:pt x="282951" y="176414"/>
                </a:lnTo>
                <a:cubicBezTo>
                  <a:pt x="280788" y="151673"/>
                  <a:pt x="259882" y="132310"/>
                  <a:pt x="234290" y="132310"/>
                </a:cubicBezTo>
                <a:lnTo>
                  <a:pt x="71729" y="132310"/>
                </a:lnTo>
                <a:close/>
                <a:moveTo>
                  <a:pt x="121470" y="0"/>
                </a:moveTo>
                <a:lnTo>
                  <a:pt x="257719" y="0"/>
                </a:lnTo>
                <a:cubicBezTo>
                  <a:pt x="276823" y="0"/>
                  <a:pt x="292323" y="15060"/>
                  <a:pt x="292323" y="34063"/>
                </a:cubicBezTo>
                <a:cubicBezTo>
                  <a:pt x="292323" y="52709"/>
                  <a:pt x="276823" y="68127"/>
                  <a:pt x="257719" y="68127"/>
                </a:cubicBezTo>
                <a:lnTo>
                  <a:pt x="42893" y="68127"/>
                </a:lnTo>
                <a:cubicBezTo>
                  <a:pt x="24150" y="68127"/>
                  <a:pt x="9011" y="83187"/>
                  <a:pt x="9011" y="101832"/>
                </a:cubicBezTo>
                <a:cubicBezTo>
                  <a:pt x="9011" y="120119"/>
                  <a:pt x="24150" y="135538"/>
                  <a:pt x="42893" y="135538"/>
                </a:cubicBezTo>
                <a:lnTo>
                  <a:pt x="55869" y="135538"/>
                </a:lnTo>
                <a:cubicBezTo>
                  <a:pt x="58032" y="128366"/>
                  <a:pt x="64159" y="123346"/>
                  <a:pt x="71729" y="123346"/>
                </a:cubicBezTo>
                <a:lnTo>
                  <a:pt x="234290" y="123346"/>
                </a:lnTo>
                <a:cubicBezTo>
                  <a:pt x="264568" y="123346"/>
                  <a:pt x="289439" y="146653"/>
                  <a:pt x="291962" y="176414"/>
                </a:cubicBezTo>
                <a:lnTo>
                  <a:pt x="293764" y="176414"/>
                </a:lnTo>
                <a:cubicBezTo>
                  <a:pt x="296288" y="176414"/>
                  <a:pt x="298090" y="178565"/>
                  <a:pt x="298090" y="180717"/>
                </a:cubicBezTo>
                <a:cubicBezTo>
                  <a:pt x="298090" y="183585"/>
                  <a:pt x="296288" y="185378"/>
                  <a:pt x="293764" y="185378"/>
                </a:cubicBezTo>
                <a:lnTo>
                  <a:pt x="287637" y="185378"/>
                </a:lnTo>
                <a:lnTo>
                  <a:pt x="180944" y="185378"/>
                </a:lnTo>
                <a:lnTo>
                  <a:pt x="175177" y="185378"/>
                </a:lnTo>
                <a:cubicBezTo>
                  <a:pt x="172654" y="185378"/>
                  <a:pt x="170491" y="183585"/>
                  <a:pt x="170491" y="180717"/>
                </a:cubicBezTo>
                <a:cubicBezTo>
                  <a:pt x="170491" y="178565"/>
                  <a:pt x="172654" y="176414"/>
                  <a:pt x="175177" y="176414"/>
                </a:cubicBezTo>
                <a:lnTo>
                  <a:pt x="176619" y="176414"/>
                </a:lnTo>
                <a:cubicBezTo>
                  <a:pt x="176979" y="173546"/>
                  <a:pt x="177340" y="171036"/>
                  <a:pt x="178061" y="168526"/>
                </a:cubicBezTo>
                <a:lnTo>
                  <a:pt x="70287" y="157052"/>
                </a:lnTo>
                <a:cubicBezTo>
                  <a:pt x="63078" y="155976"/>
                  <a:pt x="57311" y="150956"/>
                  <a:pt x="55869" y="144502"/>
                </a:cubicBezTo>
                <a:lnTo>
                  <a:pt x="42893" y="144502"/>
                </a:lnTo>
                <a:cubicBezTo>
                  <a:pt x="19104" y="144502"/>
                  <a:pt x="0" y="125498"/>
                  <a:pt x="0" y="101832"/>
                </a:cubicBezTo>
                <a:cubicBezTo>
                  <a:pt x="0" y="78167"/>
                  <a:pt x="19104" y="59163"/>
                  <a:pt x="42893" y="59163"/>
                </a:cubicBezTo>
                <a:lnTo>
                  <a:pt x="257719" y="59163"/>
                </a:lnTo>
                <a:cubicBezTo>
                  <a:pt x="271777" y="59163"/>
                  <a:pt x="282951" y="47689"/>
                  <a:pt x="282951" y="34063"/>
                </a:cubicBezTo>
                <a:cubicBezTo>
                  <a:pt x="282951" y="20079"/>
                  <a:pt x="271777" y="8964"/>
                  <a:pt x="257719" y="8964"/>
                </a:cubicBezTo>
                <a:lnTo>
                  <a:pt x="121470" y="8964"/>
                </a:lnTo>
                <a:cubicBezTo>
                  <a:pt x="118947" y="8964"/>
                  <a:pt x="116785" y="6812"/>
                  <a:pt x="116785" y="4661"/>
                </a:cubicBezTo>
                <a:cubicBezTo>
                  <a:pt x="116785" y="1793"/>
                  <a:pt x="118947" y="0"/>
                  <a:pt x="121470"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40" name="Freeform 731">
            <a:extLst>
              <a:ext uri="{FF2B5EF4-FFF2-40B4-BE49-F238E27FC236}">
                <a16:creationId xmlns:a16="http://schemas.microsoft.com/office/drawing/2014/main" id="{50CDC9FD-F22E-9B47-AEA2-73F8571482B0}"/>
              </a:ext>
            </a:extLst>
          </p:cNvPr>
          <p:cNvSpPr>
            <a:spLocks noChangeArrowheads="1"/>
          </p:cNvSpPr>
          <p:nvPr/>
        </p:nvSpPr>
        <p:spPr bwMode="auto">
          <a:xfrm>
            <a:off x="1332626" y="5667677"/>
            <a:ext cx="308025" cy="323427"/>
          </a:xfrm>
          <a:custGeom>
            <a:avLst/>
            <a:gdLst/>
            <a:ahLst/>
            <a:cxnLst/>
            <a:rect l="0" t="0" r="r" b="b"/>
            <a:pathLst>
              <a:path w="284882" h="299678">
                <a:moveTo>
                  <a:pt x="261064" y="203200"/>
                </a:moveTo>
                <a:cubicBezTo>
                  <a:pt x="263629" y="203200"/>
                  <a:pt x="265827" y="205032"/>
                  <a:pt x="265827" y="207596"/>
                </a:cubicBezTo>
                <a:cubicBezTo>
                  <a:pt x="265827" y="210161"/>
                  <a:pt x="263629" y="212359"/>
                  <a:pt x="261064" y="212359"/>
                </a:cubicBezTo>
                <a:cubicBezTo>
                  <a:pt x="258500" y="212359"/>
                  <a:pt x="256668" y="210161"/>
                  <a:pt x="256668" y="207596"/>
                </a:cubicBezTo>
                <a:cubicBezTo>
                  <a:pt x="256668" y="205032"/>
                  <a:pt x="258500" y="203200"/>
                  <a:pt x="261064" y="203200"/>
                </a:cubicBezTo>
                <a:close/>
                <a:moveTo>
                  <a:pt x="39499" y="80817"/>
                </a:moveTo>
                <a:cubicBezTo>
                  <a:pt x="41662" y="79375"/>
                  <a:pt x="44545" y="80096"/>
                  <a:pt x="45626" y="82259"/>
                </a:cubicBezTo>
                <a:cubicBezTo>
                  <a:pt x="47068" y="84423"/>
                  <a:pt x="45987" y="87307"/>
                  <a:pt x="44185" y="88389"/>
                </a:cubicBezTo>
                <a:lnTo>
                  <a:pt x="13549" y="106056"/>
                </a:lnTo>
                <a:cubicBezTo>
                  <a:pt x="11387" y="107138"/>
                  <a:pt x="9945" y="109301"/>
                  <a:pt x="9224" y="111465"/>
                </a:cubicBezTo>
                <a:cubicBezTo>
                  <a:pt x="8503" y="113989"/>
                  <a:pt x="9224" y="116512"/>
                  <a:pt x="10305" y="118315"/>
                </a:cubicBezTo>
                <a:lnTo>
                  <a:pt x="107258" y="285976"/>
                </a:lnTo>
                <a:cubicBezTo>
                  <a:pt x="109781" y="290303"/>
                  <a:pt x="115187" y="292106"/>
                  <a:pt x="119512" y="289582"/>
                </a:cubicBezTo>
                <a:lnTo>
                  <a:pt x="199886" y="243070"/>
                </a:lnTo>
                <a:cubicBezTo>
                  <a:pt x="202048" y="241988"/>
                  <a:pt x="204571" y="242349"/>
                  <a:pt x="206013" y="244512"/>
                </a:cubicBezTo>
                <a:cubicBezTo>
                  <a:pt x="207094" y="246675"/>
                  <a:pt x="206373" y="249560"/>
                  <a:pt x="204571" y="251002"/>
                </a:cubicBezTo>
                <a:lnTo>
                  <a:pt x="123837" y="297154"/>
                </a:lnTo>
                <a:cubicBezTo>
                  <a:pt x="120954" y="298957"/>
                  <a:pt x="118071" y="299678"/>
                  <a:pt x="114827" y="299678"/>
                </a:cubicBezTo>
                <a:cubicBezTo>
                  <a:pt x="113385" y="299678"/>
                  <a:pt x="111583" y="299317"/>
                  <a:pt x="110142" y="298957"/>
                </a:cubicBezTo>
                <a:cubicBezTo>
                  <a:pt x="105456" y="297875"/>
                  <a:pt x="101491" y="294630"/>
                  <a:pt x="99329" y="290664"/>
                </a:cubicBezTo>
                <a:lnTo>
                  <a:pt x="2376" y="123003"/>
                </a:lnTo>
                <a:cubicBezTo>
                  <a:pt x="-147" y="118676"/>
                  <a:pt x="-507" y="113989"/>
                  <a:pt x="574" y="109301"/>
                </a:cubicBezTo>
                <a:cubicBezTo>
                  <a:pt x="2016" y="104614"/>
                  <a:pt x="4899" y="100648"/>
                  <a:pt x="9224" y="98124"/>
                </a:cubicBezTo>
                <a:lnTo>
                  <a:pt x="39499" y="80817"/>
                </a:lnTo>
                <a:close/>
                <a:moveTo>
                  <a:pt x="197930" y="67536"/>
                </a:moveTo>
                <a:cubicBezTo>
                  <a:pt x="188279" y="73625"/>
                  <a:pt x="153248" y="98696"/>
                  <a:pt x="153248" y="123409"/>
                </a:cubicBezTo>
                <a:cubicBezTo>
                  <a:pt x="153248" y="135586"/>
                  <a:pt x="162900" y="145614"/>
                  <a:pt x="175053" y="145614"/>
                </a:cubicBezTo>
                <a:cubicBezTo>
                  <a:pt x="182917" y="145614"/>
                  <a:pt x="190066" y="141316"/>
                  <a:pt x="193998" y="134869"/>
                </a:cubicBezTo>
                <a:cubicBezTo>
                  <a:pt x="194713" y="133079"/>
                  <a:pt x="196500" y="132362"/>
                  <a:pt x="197930" y="132362"/>
                </a:cubicBezTo>
                <a:cubicBezTo>
                  <a:pt x="199360" y="132362"/>
                  <a:pt x="201147" y="133079"/>
                  <a:pt x="201862" y="134869"/>
                </a:cubicBezTo>
                <a:cubicBezTo>
                  <a:pt x="205794" y="141316"/>
                  <a:pt x="212943" y="145614"/>
                  <a:pt x="220807" y="145614"/>
                </a:cubicBezTo>
                <a:cubicBezTo>
                  <a:pt x="232960" y="145614"/>
                  <a:pt x="242611" y="135586"/>
                  <a:pt x="242611" y="123409"/>
                </a:cubicBezTo>
                <a:cubicBezTo>
                  <a:pt x="242611" y="98696"/>
                  <a:pt x="207581" y="73625"/>
                  <a:pt x="197930" y="67536"/>
                </a:cubicBezTo>
                <a:close/>
                <a:moveTo>
                  <a:pt x="195428" y="58224"/>
                </a:moveTo>
                <a:cubicBezTo>
                  <a:pt x="196857" y="57150"/>
                  <a:pt x="198645" y="57150"/>
                  <a:pt x="200074" y="58224"/>
                </a:cubicBezTo>
                <a:cubicBezTo>
                  <a:pt x="202219" y="59299"/>
                  <a:pt x="251547" y="90100"/>
                  <a:pt x="251547" y="123409"/>
                </a:cubicBezTo>
                <a:cubicBezTo>
                  <a:pt x="251547" y="140600"/>
                  <a:pt x="237607" y="154568"/>
                  <a:pt x="220807" y="154568"/>
                </a:cubicBezTo>
                <a:cubicBezTo>
                  <a:pt x="214015" y="154568"/>
                  <a:pt x="207581" y="152419"/>
                  <a:pt x="202219" y="148479"/>
                </a:cubicBezTo>
                <a:lnTo>
                  <a:pt x="202219" y="165313"/>
                </a:lnTo>
                <a:lnTo>
                  <a:pt x="205436" y="165313"/>
                </a:lnTo>
                <a:cubicBezTo>
                  <a:pt x="207938" y="165313"/>
                  <a:pt x="210083" y="167462"/>
                  <a:pt x="210083" y="169969"/>
                </a:cubicBezTo>
                <a:cubicBezTo>
                  <a:pt x="210083" y="172476"/>
                  <a:pt x="207938" y="174267"/>
                  <a:pt x="205436" y="174267"/>
                </a:cubicBezTo>
                <a:lnTo>
                  <a:pt x="190423" y="174267"/>
                </a:lnTo>
                <a:cubicBezTo>
                  <a:pt x="187564" y="174267"/>
                  <a:pt x="185776" y="172476"/>
                  <a:pt x="185776" y="169969"/>
                </a:cubicBezTo>
                <a:cubicBezTo>
                  <a:pt x="185776" y="167462"/>
                  <a:pt x="187564" y="165313"/>
                  <a:pt x="190423" y="165313"/>
                </a:cubicBezTo>
                <a:lnTo>
                  <a:pt x="193283" y="165313"/>
                </a:lnTo>
                <a:lnTo>
                  <a:pt x="193283" y="148479"/>
                </a:lnTo>
                <a:cubicBezTo>
                  <a:pt x="188279" y="152419"/>
                  <a:pt x="181487" y="154568"/>
                  <a:pt x="175053" y="154568"/>
                </a:cubicBezTo>
                <a:cubicBezTo>
                  <a:pt x="157895" y="154568"/>
                  <a:pt x="143955" y="140600"/>
                  <a:pt x="143955" y="123409"/>
                </a:cubicBezTo>
                <a:cubicBezTo>
                  <a:pt x="143955" y="90100"/>
                  <a:pt x="193283" y="59299"/>
                  <a:pt x="195428" y="58224"/>
                </a:cubicBezTo>
                <a:close/>
                <a:moveTo>
                  <a:pt x="95743" y="32470"/>
                </a:moveTo>
                <a:cubicBezTo>
                  <a:pt x="97890" y="31750"/>
                  <a:pt x="100395" y="33549"/>
                  <a:pt x="101111" y="35709"/>
                </a:cubicBezTo>
                <a:cubicBezTo>
                  <a:pt x="101469" y="38228"/>
                  <a:pt x="100037" y="40747"/>
                  <a:pt x="97890" y="41107"/>
                </a:cubicBezTo>
                <a:lnTo>
                  <a:pt x="66397" y="49745"/>
                </a:lnTo>
                <a:cubicBezTo>
                  <a:pt x="63892" y="50105"/>
                  <a:pt x="62103" y="51904"/>
                  <a:pt x="61029" y="53704"/>
                </a:cubicBezTo>
                <a:cubicBezTo>
                  <a:pt x="59955" y="55863"/>
                  <a:pt x="59598" y="58382"/>
                  <a:pt x="59955" y="60902"/>
                </a:cubicBezTo>
                <a:lnTo>
                  <a:pt x="109700" y="247330"/>
                </a:lnTo>
                <a:cubicBezTo>
                  <a:pt x="111132" y="252368"/>
                  <a:pt x="115784" y="255248"/>
                  <a:pt x="120794" y="253808"/>
                </a:cubicBezTo>
                <a:lnTo>
                  <a:pt x="167676" y="241571"/>
                </a:lnTo>
                <a:cubicBezTo>
                  <a:pt x="169823" y="240852"/>
                  <a:pt x="172328" y="241931"/>
                  <a:pt x="173044" y="244451"/>
                </a:cubicBezTo>
                <a:cubicBezTo>
                  <a:pt x="173760" y="246970"/>
                  <a:pt x="172328" y="249489"/>
                  <a:pt x="169823" y="249849"/>
                </a:cubicBezTo>
                <a:lnTo>
                  <a:pt x="122942" y="262446"/>
                </a:lnTo>
                <a:cubicBezTo>
                  <a:pt x="121510" y="262805"/>
                  <a:pt x="120079" y="263165"/>
                  <a:pt x="118647" y="263165"/>
                </a:cubicBezTo>
                <a:cubicBezTo>
                  <a:pt x="110416" y="263165"/>
                  <a:pt x="103258" y="257767"/>
                  <a:pt x="101111" y="249849"/>
                </a:cubicBezTo>
                <a:lnTo>
                  <a:pt x="51366" y="63061"/>
                </a:lnTo>
                <a:cubicBezTo>
                  <a:pt x="50293" y="58382"/>
                  <a:pt x="50651" y="53704"/>
                  <a:pt x="53156" y="49385"/>
                </a:cubicBezTo>
                <a:cubicBezTo>
                  <a:pt x="55661" y="45066"/>
                  <a:pt x="59598" y="42187"/>
                  <a:pt x="63892" y="41107"/>
                </a:cubicBezTo>
                <a:lnTo>
                  <a:pt x="95743" y="32470"/>
                </a:lnTo>
                <a:close/>
                <a:moveTo>
                  <a:pt x="135651" y="19050"/>
                </a:moveTo>
                <a:cubicBezTo>
                  <a:pt x="138215" y="19050"/>
                  <a:pt x="140413" y="20881"/>
                  <a:pt x="140413" y="23446"/>
                </a:cubicBezTo>
                <a:cubicBezTo>
                  <a:pt x="140413" y="26010"/>
                  <a:pt x="138215" y="28208"/>
                  <a:pt x="135651" y="28208"/>
                </a:cubicBezTo>
                <a:cubicBezTo>
                  <a:pt x="133453" y="28208"/>
                  <a:pt x="131255" y="26010"/>
                  <a:pt x="131255" y="23446"/>
                </a:cubicBezTo>
                <a:cubicBezTo>
                  <a:pt x="131255" y="20881"/>
                  <a:pt x="133453" y="19050"/>
                  <a:pt x="135651" y="19050"/>
                </a:cubicBezTo>
                <a:close/>
                <a:moveTo>
                  <a:pt x="131840" y="9006"/>
                </a:moveTo>
                <a:cubicBezTo>
                  <a:pt x="126787" y="9006"/>
                  <a:pt x="122816" y="13328"/>
                  <a:pt x="122816" y="18372"/>
                </a:cubicBezTo>
                <a:lnTo>
                  <a:pt x="122816" y="211816"/>
                </a:lnTo>
                <a:cubicBezTo>
                  <a:pt x="122816" y="216860"/>
                  <a:pt x="126787" y="220822"/>
                  <a:pt x="131840" y="220822"/>
                </a:cubicBezTo>
                <a:lnTo>
                  <a:pt x="266835" y="220822"/>
                </a:lnTo>
                <a:cubicBezTo>
                  <a:pt x="271888" y="220822"/>
                  <a:pt x="275859" y="216860"/>
                  <a:pt x="275859" y="211816"/>
                </a:cubicBezTo>
                <a:lnTo>
                  <a:pt x="275859" y="18372"/>
                </a:lnTo>
                <a:cubicBezTo>
                  <a:pt x="275859" y="13328"/>
                  <a:pt x="271888" y="9006"/>
                  <a:pt x="266835" y="9006"/>
                </a:cubicBezTo>
                <a:lnTo>
                  <a:pt x="131840" y="9006"/>
                </a:lnTo>
                <a:close/>
                <a:moveTo>
                  <a:pt x="131840" y="0"/>
                </a:moveTo>
                <a:lnTo>
                  <a:pt x="266835" y="0"/>
                </a:lnTo>
                <a:cubicBezTo>
                  <a:pt x="276941" y="0"/>
                  <a:pt x="284882" y="8285"/>
                  <a:pt x="284882" y="18372"/>
                </a:cubicBezTo>
                <a:lnTo>
                  <a:pt x="284882" y="211816"/>
                </a:lnTo>
                <a:cubicBezTo>
                  <a:pt x="284882" y="221543"/>
                  <a:pt x="276941" y="229828"/>
                  <a:pt x="266835" y="229828"/>
                </a:cubicBezTo>
                <a:lnTo>
                  <a:pt x="131840" y="229828"/>
                </a:lnTo>
                <a:cubicBezTo>
                  <a:pt x="121734" y="229828"/>
                  <a:pt x="113793" y="221543"/>
                  <a:pt x="113793" y="211816"/>
                </a:cubicBezTo>
                <a:lnTo>
                  <a:pt x="113793" y="18372"/>
                </a:lnTo>
                <a:cubicBezTo>
                  <a:pt x="113793" y="8285"/>
                  <a:pt x="121734" y="0"/>
                  <a:pt x="131840"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41" name="Freeform 735">
            <a:extLst>
              <a:ext uri="{FF2B5EF4-FFF2-40B4-BE49-F238E27FC236}">
                <a16:creationId xmlns:a16="http://schemas.microsoft.com/office/drawing/2014/main" id="{BE3C304B-3D48-E842-92AF-B0E15D2A5410}"/>
              </a:ext>
            </a:extLst>
          </p:cNvPr>
          <p:cNvSpPr>
            <a:spLocks noChangeArrowheads="1"/>
          </p:cNvSpPr>
          <p:nvPr/>
        </p:nvSpPr>
        <p:spPr bwMode="auto">
          <a:xfrm>
            <a:off x="6844331" y="2461239"/>
            <a:ext cx="280646" cy="321716"/>
          </a:xfrm>
          <a:custGeom>
            <a:avLst/>
            <a:gdLst/>
            <a:ahLst/>
            <a:cxnLst/>
            <a:rect l="0" t="0" r="r" b="b"/>
            <a:pathLst>
              <a:path w="259989" h="297474">
                <a:moveTo>
                  <a:pt x="131617" y="219900"/>
                </a:moveTo>
                <a:cubicBezTo>
                  <a:pt x="129093" y="229597"/>
                  <a:pt x="125127" y="236061"/>
                  <a:pt x="115751" y="242167"/>
                </a:cubicBezTo>
                <a:cubicBezTo>
                  <a:pt x="111785" y="244681"/>
                  <a:pt x="109621" y="249709"/>
                  <a:pt x="111063" y="254737"/>
                </a:cubicBezTo>
                <a:cubicBezTo>
                  <a:pt x="112506" y="259764"/>
                  <a:pt x="117915" y="263356"/>
                  <a:pt x="125487" y="264433"/>
                </a:cubicBezTo>
                <a:lnTo>
                  <a:pt x="125487" y="253659"/>
                </a:lnTo>
                <a:cubicBezTo>
                  <a:pt x="125487" y="251504"/>
                  <a:pt x="127651" y="248990"/>
                  <a:pt x="130175" y="248990"/>
                </a:cubicBezTo>
                <a:cubicBezTo>
                  <a:pt x="132699" y="248990"/>
                  <a:pt x="134502" y="251504"/>
                  <a:pt x="134502" y="253659"/>
                </a:cubicBezTo>
                <a:lnTo>
                  <a:pt x="134502" y="265152"/>
                </a:lnTo>
                <a:cubicBezTo>
                  <a:pt x="140272" y="264433"/>
                  <a:pt x="144238" y="262997"/>
                  <a:pt x="146762" y="260124"/>
                </a:cubicBezTo>
                <a:cubicBezTo>
                  <a:pt x="150008" y="256173"/>
                  <a:pt x="149647" y="251145"/>
                  <a:pt x="148926" y="247195"/>
                </a:cubicBezTo>
                <a:cubicBezTo>
                  <a:pt x="147484" y="237498"/>
                  <a:pt x="138108" y="226724"/>
                  <a:pt x="131617" y="219900"/>
                </a:cubicBezTo>
                <a:close/>
                <a:moveTo>
                  <a:pt x="130175" y="186500"/>
                </a:moveTo>
                <a:cubicBezTo>
                  <a:pt x="88706" y="186500"/>
                  <a:pt x="54810" y="219900"/>
                  <a:pt x="54810" y="261201"/>
                </a:cubicBezTo>
                <a:cubicBezTo>
                  <a:pt x="54810" y="270539"/>
                  <a:pt x="56613" y="279876"/>
                  <a:pt x="59859" y="288496"/>
                </a:cubicBezTo>
                <a:lnTo>
                  <a:pt x="125487" y="288496"/>
                </a:lnTo>
                <a:lnTo>
                  <a:pt x="125487" y="273771"/>
                </a:lnTo>
                <a:cubicBezTo>
                  <a:pt x="113588" y="272334"/>
                  <a:pt x="104933" y="266229"/>
                  <a:pt x="102409" y="256891"/>
                </a:cubicBezTo>
                <a:cubicBezTo>
                  <a:pt x="99885" y="248631"/>
                  <a:pt x="103491" y="239294"/>
                  <a:pt x="110703" y="234625"/>
                </a:cubicBezTo>
                <a:cubicBezTo>
                  <a:pt x="119357" y="229238"/>
                  <a:pt x="121881" y="224210"/>
                  <a:pt x="124045" y="210562"/>
                </a:cubicBezTo>
                <a:cubicBezTo>
                  <a:pt x="124045" y="208767"/>
                  <a:pt x="125127" y="207689"/>
                  <a:pt x="126569" y="206971"/>
                </a:cubicBezTo>
                <a:cubicBezTo>
                  <a:pt x="128011" y="206253"/>
                  <a:pt x="129814" y="206971"/>
                  <a:pt x="131257" y="207689"/>
                </a:cubicBezTo>
                <a:cubicBezTo>
                  <a:pt x="132339" y="208408"/>
                  <a:pt x="155056" y="226724"/>
                  <a:pt x="157941" y="245758"/>
                </a:cubicBezTo>
                <a:cubicBezTo>
                  <a:pt x="159383" y="254018"/>
                  <a:pt x="157941" y="260842"/>
                  <a:pt x="153614" y="265870"/>
                </a:cubicBezTo>
                <a:cubicBezTo>
                  <a:pt x="149286" y="270539"/>
                  <a:pt x="143156" y="273412"/>
                  <a:pt x="134502" y="274130"/>
                </a:cubicBezTo>
                <a:lnTo>
                  <a:pt x="134502" y="288496"/>
                </a:lnTo>
                <a:lnTo>
                  <a:pt x="199770" y="288496"/>
                </a:lnTo>
                <a:cubicBezTo>
                  <a:pt x="203376" y="279876"/>
                  <a:pt x="205179" y="270539"/>
                  <a:pt x="205179" y="261201"/>
                </a:cubicBezTo>
                <a:cubicBezTo>
                  <a:pt x="205179" y="219900"/>
                  <a:pt x="171283" y="186500"/>
                  <a:pt x="130175" y="186500"/>
                </a:cubicBezTo>
                <a:close/>
                <a:moveTo>
                  <a:pt x="74643" y="135861"/>
                </a:moveTo>
                <a:cubicBezTo>
                  <a:pt x="35699" y="155614"/>
                  <a:pt x="9015" y="196197"/>
                  <a:pt x="9015" y="242885"/>
                </a:cubicBezTo>
                <a:cubicBezTo>
                  <a:pt x="9015" y="258687"/>
                  <a:pt x="12260" y="274130"/>
                  <a:pt x="18390" y="288496"/>
                </a:cubicBezTo>
                <a:lnTo>
                  <a:pt x="50483" y="288496"/>
                </a:lnTo>
                <a:cubicBezTo>
                  <a:pt x="47599" y="279876"/>
                  <a:pt x="45796" y="270539"/>
                  <a:pt x="45796" y="261201"/>
                </a:cubicBezTo>
                <a:cubicBezTo>
                  <a:pt x="45796" y="214872"/>
                  <a:pt x="83658" y="177162"/>
                  <a:pt x="130175" y="177162"/>
                </a:cubicBezTo>
                <a:cubicBezTo>
                  <a:pt x="176331" y="177162"/>
                  <a:pt x="214194" y="214872"/>
                  <a:pt x="214194" y="261201"/>
                </a:cubicBezTo>
                <a:cubicBezTo>
                  <a:pt x="214194" y="270539"/>
                  <a:pt x="212751" y="279876"/>
                  <a:pt x="209506" y="288496"/>
                </a:cubicBezTo>
                <a:lnTo>
                  <a:pt x="241960" y="288496"/>
                </a:lnTo>
                <a:cubicBezTo>
                  <a:pt x="247729" y="274130"/>
                  <a:pt x="250975" y="258687"/>
                  <a:pt x="250975" y="242885"/>
                </a:cubicBezTo>
                <a:cubicBezTo>
                  <a:pt x="250975" y="196197"/>
                  <a:pt x="224291" y="155614"/>
                  <a:pt x="184986" y="135861"/>
                </a:cubicBezTo>
                <a:lnTo>
                  <a:pt x="74643" y="135861"/>
                </a:lnTo>
                <a:close/>
                <a:moveTo>
                  <a:pt x="58056" y="87737"/>
                </a:moveTo>
                <a:cubicBezTo>
                  <a:pt x="68152" y="94920"/>
                  <a:pt x="78610" y="107489"/>
                  <a:pt x="78249" y="126883"/>
                </a:cubicBezTo>
                <a:lnTo>
                  <a:pt x="181740" y="126883"/>
                </a:lnTo>
                <a:cubicBezTo>
                  <a:pt x="181380" y="107489"/>
                  <a:pt x="192198" y="94920"/>
                  <a:pt x="201934" y="87737"/>
                </a:cubicBezTo>
                <a:lnTo>
                  <a:pt x="58056" y="87737"/>
                </a:lnTo>
                <a:close/>
                <a:moveTo>
                  <a:pt x="40387" y="78758"/>
                </a:moveTo>
                <a:lnTo>
                  <a:pt x="219603" y="78758"/>
                </a:lnTo>
                <a:cubicBezTo>
                  <a:pt x="221766" y="78758"/>
                  <a:pt x="223569" y="80554"/>
                  <a:pt x="224291" y="82709"/>
                </a:cubicBezTo>
                <a:cubicBezTo>
                  <a:pt x="224291" y="84864"/>
                  <a:pt x="223209" y="87018"/>
                  <a:pt x="221045" y="87737"/>
                </a:cubicBezTo>
                <a:cubicBezTo>
                  <a:pt x="219603" y="88096"/>
                  <a:pt x="188952" y="98152"/>
                  <a:pt x="191116" y="128679"/>
                </a:cubicBezTo>
                <a:cubicBezTo>
                  <a:pt x="231863" y="150586"/>
                  <a:pt x="259989" y="193683"/>
                  <a:pt x="259989" y="242885"/>
                </a:cubicBezTo>
                <a:cubicBezTo>
                  <a:pt x="259989" y="260842"/>
                  <a:pt x="256384" y="278440"/>
                  <a:pt x="249172" y="294960"/>
                </a:cubicBezTo>
                <a:cubicBezTo>
                  <a:pt x="248090" y="296397"/>
                  <a:pt x="246647" y="297474"/>
                  <a:pt x="244844" y="297474"/>
                </a:cubicBezTo>
                <a:lnTo>
                  <a:pt x="203015" y="297474"/>
                </a:lnTo>
                <a:lnTo>
                  <a:pt x="56974" y="297474"/>
                </a:lnTo>
                <a:lnTo>
                  <a:pt x="15145" y="297474"/>
                </a:lnTo>
                <a:cubicBezTo>
                  <a:pt x="13342" y="297474"/>
                  <a:pt x="11539" y="296397"/>
                  <a:pt x="11178" y="294960"/>
                </a:cubicBezTo>
                <a:cubicBezTo>
                  <a:pt x="3966" y="278440"/>
                  <a:pt x="0" y="260842"/>
                  <a:pt x="0" y="242885"/>
                </a:cubicBezTo>
                <a:cubicBezTo>
                  <a:pt x="0" y="193683"/>
                  <a:pt x="28126" y="150586"/>
                  <a:pt x="68874" y="128679"/>
                </a:cubicBezTo>
                <a:cubicBezTo>
                  <a:pt x="71037" y="98152"/>
                  <a:pt x="40387" y="88096"/>
                  <a:pt x="38944" y="87737"/>
                </a:cubicBezTo>
                <a:cubicBezTo>
                  <a:pt x="36781" y="87018"/>
                  <a:pt x="35699" y="84864"/>
                  <a:pt x="36059" y="82709"/>
                </a:cubicBezTo>
                <a:cubicBezTo>
                  <a:pt x="36059" y="80554"/>
                  <a:pt x="38223" y="78758"/>
                  <a:pt x="40387" y="78758"/>
                </a:cubicBezTo>
                <a:close/>
                <a:moveTo>
                  <a:pt x="92409" y="16698"/>
                </a:moveTo>
                <a:cubicBezTo>
                  <a:pt x="94220" y="18497"/>
                  <a:pt x="94582" y="21375"/>
                  <a:pt x="92772" y="23175"/>
                </a:cubicBezTo>
                <a:cubicBezTo>
                  <a:pt x="89151" y="27493"/>
                  <a:pt x="89151" y="35049"/>
                  <a:pt x="92772" y="39367"/>
                </a:cubicBezTo>
                <a:cubicBezTo>
                  <a:pt x="99651" y="47283"/>
                  <a:pt x="99651" y="59518"/>
                  <a:pt x="92772" y="67074"/>
                </a:cubicBezTo>
                <a:cubicBezTo>
                  <a:pt x="92047" y="68154"/>
                  <a:pt x="90599" y="68873"/>
                  <a:pt x="89513" y="68873"/>
                </a:cubicBezTo>
                <a:cubicBezTo>
                  <a:pt x="88427" y="68873"/>
                  <a:pt x="87340" y="68514"/>
                  <a:pt x="86616" y="67794"/>
                </a:cubicBezTo>
                <a:cubicBezTo>
                  <a:pt x="84444" y="66355"/>
                  <a:pt x="84444" y="63476"/>
                  <a:pt x="85892" y="61317"/>
                </a:cubicBezTo>
                <a:cubicBezTo>
                  <a:pt x="89875" y="56999"/>
                  <a:pt x="89875" y="49802"/>
                  <a:pt x="85892" y="45124"/>
                </a:cubicBezTo>
                <a:cubicBezTo>
                  <a:pt x="79375" y="37568"/>
                  <a:pt x="79375" y="24974"/>
                  <a:pt x="85892" y="17417"/>
                </a:cubicBezTo>
                <a:cubicBezTo>
                  <a:pt x="87703" y="15618"/>
                  <a:pt x="90599" y="15258"/>
                  <a:pt x="92409" y="16698"/>
                </a:cubicBezTo>
                <a:close/>
                <a:moveTo>
                  <a:pt x="176547" y="8770"/>
                </a:moveTo>
                <a:cubicBezTo>
                  <a:pt x="178357" y="10581"/>
                  <a:pt x="178719" y="13117"/>
                  <a:pt x="176909" y="15291"/>
                </a:cubicBezTo>
                <a:cubicBezTo>
                  <a:pt x="173288" y="19638"/>
                  <a:pt x="173288" y="26883"/>
                  <a:pt x="176909" y="31592"/>
                </a:cubicBezTo>
                <a:cubicBezTo>
                  <a:pt x="183788" y="39561"/>
                  <a:pt x="183788" y="51878"/>
                  <a:pt x="176909" y="59485"/>
                </a:cubicBezTo>
                <a:cubicBezTo>
                  <a:pt x="176185" y="60572"/>
                  <a:pt x="174737" y="60934"/>
                  <a:pt x="173651" y="60934"/>
                </a:cubicBezTo>
                <a:cubicBezTo>
                  <a:pt x="172564" y="60934"/>
                  <a:pt x="171478" y="60572"/>
                  <a:pt x="170754" y="60210"/>
                </a:cubicBezTo>
                <a:cubicBezTo>
                  <a:pt x="168582" y="58398"/>
                  <a:pt x="168582" y="55500"/>
                  <a:pt x="170030" y="53689"/>
                </a:cubicBezTo>
                <a:cubicBezTo>
                  <a:pt x="174013" y="49342"/>
                  <a:pt x="174013" y="41735"/>
                  <a:pt x="170030" y="37388"/>
                </a:cubicBezTo>
                <a:cubicBezTo>
                  <a:pt x="163513" y="29781"/>
                  <a:pt x="163513" y="17464"/>
                  <a:pt x="170030" y="9495"/>
                </a:cubicBezTo>
                <a:cubicBezTo>
                  <a:pt x="171840" y="7683"/>
                  <a:pt x="174737" y="7321"/>
                  <a:pt x="176547" y="8770"/>
                </a:cubicBezTo>
                <a:close/>
                <a:moveTo>
                  <a:pt x="133684" y="1182"/>
                </a:moveTo>
                <a:cubicBezTo>
                  <a:pt x="135495" y="2621"/>
                  <a:pt x="135857" y="5500"/>
                  <a:pt x="134047" y="7659"/>
                </a:cubicBezTo>
                <a:cubicBezTo>
                  <a:pt x="130426" y="11618"/>
                  <a:pt x="130426" y="19174"/>
                  <a:pt x="134047" y="23492"/>
                </a:cubicBezTo>
                <a:cubicBezTo>
                  <a:pt x="140926" y="31408"/>
                  <a:pt x="140926" y="43643"/>
                  <a:pt x="134047" y="51559"/>
                </a:cubicBezTo>
                <a:cubicBezTo>
                  <a:pt x="133322" y="52639"/>
                  <a:pt x="132236" y="52998"/>
                  <a:pt x="130788" y="52998"/>
                </a:cubicBezTo>
                <a:cubicBezTo>
                  <a:pt x="129702" y="52998"/>
                  <a:pt x="128615" y="52639"/>
                  <a:pt x="127891" y="51919"/>
                </a:cubicBezTo>
                <a:cubicBezTo>
                  <a:pt x="126081" y="50480"/>
                  <a:pt x="125719" y="47601"/>
                  <a:pt x="127167" y="45442"/>
                </a:cubicBezTo>
                <a:cubicBezTo>
                  <a:pt x="131150" y="41484"/>
                  <a:pt x="131150" y="33567"/>
                  <a:pt x="127167" y="29609"/>
                </a:cubicBezTo>
                <a:cubicBezTo>
                  <a:pt x="120650" y="21693"/>
                  <a:pt x="120650" y="9459"/>
                  <a:pt x="127167" y="1542"/>
                </a:cubicBezTo>
                <a:cubicBezTo>
                  <a:pt x="128978" y="-257"/>
                  <a:pt x="131874" y="-617"/>
                  <a:pt x="133684" y="1182"/>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42" name="Freeform 734">
            <a:extLst>
              <a:ext uri="{FF2B5EF4-FFF2-40B4-BE49-F238E27FC236}">
                <a16:creationId xmlns:a16="http://schemas.microsoft.com/office/drawing/2014/main" id="{F428EF3F-8888-AE4C-95EA-B4997B779683}"/>
              </a:ext>
            </a:extLst>
          </p:cNvPr>
          <p:cNvSpPr>
            <a:spLocks noChangeArrowheads="1"/>
          </p:cNvSpPr>
          <p:nvPr/>
        </p:nvSpPr>
        <p:spPr bwMode="auto">
          <a:xfrm>
            <a:off x="6823796" y="3276699"/>
            <a:ext cx="321716" cy="304603"/>
          </a:xfrm>
          <a:custGeom>
            <a:avLst/>
            <a:gdLst/>
            <a:ahLst/>
            <a:cxnLst/>
            <a:rect l="0" t="0" r="r" b="b"/>
            <a:pathLst>
              <a:path w="298090" h="282212">
                <a:moveTo>
                  <a:pt x="23926" y="233476"/>
                </a:moveTo>
                <a:cubicBezTo>
                  <a:pt x="25627" y="231775"/>
                  <a:pt x="28348" y="231775"/>
                  <a:pt x="29709" y="233476"/>
                </a:cubicBezTo>
                <a:cubicBezTo>
                  <a:pt x="31410" y="234837"/>
                  <a:pt x="31410" y="237558"/>
                  <a:pt x="29709" y="239259"/>
                </a:cubicBezTo>
                <a:cubicBezTo>
                  <a:pt x="28348" y="240960"/>
                  <a:pt x="25627" y="240960"/>
                  <a:pt x="23926" y="239259"/>
                </a:cubicBezTo>
                <a:cubicBezTo>
                  <a:pt x="22225" y="237558"/>
                  <a:pt x="22225" y="234837"/>
                  <a:pt x="23926" y="233476"/>
                </a:cubicBezTo>
                <a:close/>
                <a:moveTo>
                  <a:pt x="50366" y="231775"/>
                </a:moveTo>
                <a:lnTo>
                  <a:pt x="226726" y="231775"/>
                </a:lnTo>
                <a:cubicBezTo>
                  <a:pt x="229251" y="231775"/>
                  <a:pt x="231414" y="233607"/>
                  <a:pt x="231414" y="236538"/>
                </a:cubicBezTo>
                <a:cubicBezTo>
                  <a:pt x="231414" y="239102"/>
                  <a:pt x="229251" y="240934"/>
                  <a:pt x="226726" y="240934"/>
                </a:cubicBezTo>
                <a:lnTo>
                  <a:pt x="50366" y="240934"/>
                </a:lnTo>
                <a:cubicBezTo>
                  <a:pt x="48202" y="240934"/>
                  <a:pt x="46038" y="239102"/>
                  <a:pt x="46038" y="236538"/>
                </a:cubicBezTo>
                <a:cubicBezTo>
                  <a:pt x="46038" y="233607"/>
                  <a:pt x="48202" y="231775"/>
                  <a:pt x="50366" y="231775"/>
                </a:cubicBezTo>
                <a:close/>
                <a:moveTo>
                  <a:pt x="271056" y="218996"/>
                </a:moveTo>
                <a:cubicBezTo>
                  <a:pt x="260964" y="218996"/>
                  <a:pt x="252673" y="226989"/>
                  <a:pt x="252673" y="237162"/>
                </a:cubicBezTo>
                <a:cubicBezTo>
                  <a:pt x="252673" y="246971"/>
                  <a:pt x="260964" y="255327"/>
                  <a:pt x="271056" y="255327"/>
                </a:cubicBezTo>
                <a:cubicBezTo>
                  <a:pt x="281149" y="255327"/>
                  <a:pt x="289079" y="246971"/>
                  <a:pt x="289079" y="237162"/>
                </a:cubicBezTo>
                <a:cubicBezTo>
                  <a:pt x="289079" y="226989"/>
                  <a:pt x="281149" y="218996"/>
                  <a:pt x="271056" y="218996"/>
                </a:cubicBezTo>
                <a:close/>
                <a:moveTo>
                  <a:pt x="27033" y="218996"/>
                </a:moveTo>
                <a:cubicBezTo>
                  <a:pt x="16941" y="218996"/>
                  <a:pt x="9011" y="226989"/>
                  <a:pt x="9011" y="237162"/>
                </a:cubicBezTo>
                <a:cubicBezTo>
                  <a:pt x="9011" y="246971"/>
                  <a:pt x="16941" y="255327"/>
                  <a:pt x="27033" y="255327"/>
                </a:cubicBezTo>
                <a:lnTo>
                  <a:pt x="250511" y="255327"/>
                </a:lnTo>
                <a:cubicBezTo>
                  <a:pt x="246546" y="250604"/>
                  <a:pt x="244023" y="244065"/>
                  <a:pt x="244023" y="237162"/>
                </a:cubicBezTo>
                <a:cubicBezTo>
                  <a:pt x="244023" y="229895"/>
                  <a:pt x="246546" y="223355"/>
                  <a:pt x="250511" y="218996"/>
                </a:cubicBezTo>
                <a:lnTo>
                  <a:pt x="27033" y="218996"/>
                </a:lnTo>
                <a:close/>
                <a:moveTo>
                  <a:pt x="27033" y="209550"/>
                </a:moveTo>
                <a:lnTo>
                  <a:pt x="271056" y="209550"/>
                </a:lnTo>
                <a:cubicBezTo>
                  <a:pt x="285835" y="209550"/>
                  <a:pt x="298090" y="221902"/>
                  <a:pt x="298090" y="237162"/>
                </a:cubicBezTo>
                <a:cubicBezTo>
                  <a:pt x="298090" y="252057"/>
                  <a:pt x="285835" y="264410"/>
                  <a:pt x="271056" y="264410"/>
                </a:cubicBezTo>
                <a:lnTo>
                  <a:pt x="244023" y="264410"/>
                </a:lnTo>
                <a:lnTo>
                  <a:pt x="244023" y="277852"/>
                </a:lnTo>
                <a:cubicBezTo>
                  <a:pt x="244023" y="280395"/>
                  <a:pt x="241860" y="282212"/>
                  <a:pt x="239337" y="282212"/>
                </a:cubicBezTo>
                <a:cubicBezTo>
                  <a:pt x="236814" y="282212"/>
                  <a:pt x="234651" y="280395"/>
                  <a:pt x="234651" y="277852"/>
                </a:cubicBezTo>
                <a:lnTo>
                  <a:pt x="234651" y="264410"/>
                </a:lnTo>
                <a:lnTo>
                  <a:pt x="63078" y="264410"/>
                </a:lnTo>
                <a:lnTo>
                  <a:pt x="63078" y="277852"/>
                </a:lnTo>
                <a:cubicBezTo>
                  <a:pt x="63078" y="280395"/>
                  <a:pt x="60916" y="282212"/>
                  <a:pt x="58393" y="282212"/>
                </a:cubicBezTo>
                <a:cubicBezTo>
                  <a:pt x="56230" y="282212"/>
                  <a:pt x="54067" y="280395"/>
                  <a:pt x="54067" y="277852"/>
                </a:cubicBezTo>
                <a:lnTo>
                  <a:pt x="54067" y="264410"/>
                </a:lnTo>
                <a:lnTo>
                  <a:pt x="27033" y="264410"/>
                </a:lnTo>
                <a:cubicBezTo>
                  <a:pt x="11895" y="264410"/>
                  <a:pt x="0" y="252057"/>
                  <a:pt x="0" y="237162"/>
                </a:cubicBezTo>
                <a:cubicBezTo>
                  <a:pt x="0" y="221902"/>
                  <a:pt x="11895" y="209550"/>
                  <a:pt x="27033" y="209550"/>
                </a:cubicBezTo>
                <a:close/>
                <a:moveTo>
                  <a:pt x="227436" y="0"/>
                </a:moveTo>
                <a:lnTo>
                  <a:pt x="256846" y="0"/>
                </a:lnTo>
                <a:cubicBezTo>
                  <a:pt x="258639" y="0"/>
                  <a:pt x="260432" y="1079"/>
                  <a:pt x="260791" y="2879"/>
                </a:cubicBezTo>
                <a:cubicBezTo>
                  <a:pt x="261867" y="4319"/>
                  <a:pt x="261508" y="6478"/>
                  <a:pt x="260074" y="7918"/>
                </a:cubicBezTo>
                <a:lnTo>
                  <a:pt x="226360" y="41749"/>
                </a:lnTo>
                <a:lnTo>
                  <a:pt x="297016" y="197949"/>
                </a:lnTo>
                <a:cubicBezTo>
                  <a:pt x="298091" y="200109"/>
                  <a:pt x="297016" y="202988"/>
                  <a:pt x="294864" y="204068"/>
                </a:cubicBezTo>
                <a:cubicBezTo>
                  <a:pt x="294146" y="204068"/>
                  <a:pt x="293429" y="204428"/>
                  <a:pt x="292712" y="204428"/>
                </a:cubicBezTo>
                <a:cubicBezTo>
                  <a:pt x="291277" y="204428"/>
                  <a:pt x="289484" y="203348"/>
                  <a:pt x="288766" y="201549"/>
                </a:cubicBezTo>
                <a:lnTo>
                  <a:pt x="219545" y="48228"/>
                </a:lnTo>
                <a:lnTo>
                  <a:pt x="203765" y="64423"/>
                </a:lnTo>
                <a:lnTo>
                  <a:pt x="247879" y="193990"/>
                </a:lnTo>
                <a:cubicBezTo>
                  <a:pt x="248597" y="196150"/>
                  <a:pt x="247162" y="198669"/>
                  <a:pt x="244652" y="199749"/>
                </a:cubicBezTo>
                <a:cubicBezTo>
                  <a:pt x="244293" y="199749"/>
                  <a:pt x="243934" y="199749"/>
                  <a:pt x="243576" y="199749"/>
                </a:cubicBezTo>
                <a:cubicBezTo>
                  <a:pt x="241424" y="199749"/>
                  <a:pt x="239630" y="198669"/>
                  <a:pt x="238913" y="196870"/>
                </a:cubicBezTo>
                <a:lnTo>
                  <a:pt x="195157" y="68022"/>
                </a:lnTo>
                <a:lnTo>
                  <a:pt x="127729" y="68022"/>
                </a:lnTo>
                <a:cubicBezTo>
                  <a:pt x="120197" y="68022"/>
                  <a:pt x="113742" y="74141"/>
                  <a:pt x="113742" y="81699"/>
                </a:cubicBezTo>
                <a:cubicBezTo>
                  <a:pt x="113742" y="89617"/>
                  <a:pt x="120197" y="95376"/>
                  <a:pt x="127729" y="95376"/>
                </a:cubicBezTo>
                <a:lnTo>
                  <a:pt x="183321" y="95376"/>
                </a:lnTo>
                <a:cubicBezTo>
                  <a:pt x="185832" y="95376"/>
                  <a:pt x="187625" y="97535"/>
                  <a:pt x="187625" y="100414"/>
                </a:cubicBezTo>
                <a:cubicBezTo>
                  <a:pt x="187625" y="102574"/>
                  <a:pt x="185832" y="104733"/>
                  <a:pt x="183321" y="104733"/>
                </a:cubicBezTo>
                <a:lnTo>
                  <a:pt x="127729" y="104733"/>
                </a:lnTo>
                <a:cubicBezTo>
                  <a:pt x="114818" y="104733"/>
                  <a:pt x="104775" y="94296"/>
                  <a:pt x="104775" y="81699"/>
                </a:cubicBezTo>
                <a:cubicBezTo>
                  <a:pt x="104775" y="69102"/>
                  <a:pt x="114818" y="58665"/>
                  <a:pt x="127729" y="58665"/>
                </a:cubicBezTo>
                <a:lnTo>
                  <a:pt x="196591" y="58665"/>
                </a:lnTo>
                <a:lnTo>
                  <a:pt x="246086" y="8997"/>
                </a:lnTo>
                <a:lnTo>
                  <a:pt x="229229" y="8997"/>
                </a:lnTo>
                <a:lnTo>
                  <a:pt x="177224" y="47508"/>
                </a:lnTo>
                <a:cubicBezTo>
                  <a:pt x="175072" y="48947"/>
                  <a:pt x="172203" y="48228"/>
                  <a:pt x="170768" y="46428"/>
                </a:cubicBezTo>
                <a:cubicBezTo>
                  <a:pt x="169333" y="44269"/>
                  <a:pt x="169692" y="41389"/>
                  <a:pt x="171844" y="39950"/>
                </a:cubicBezTo>
                <a:lnTo>
                  <a:pt x="224925" y="720"/>
                </a:lnTo>
                <a:cubicBezTo>
                  <a:pt x="225643" y="360"/>
                  <a:pt x="226719" y="0"/>
                  <a:pt x="227436"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43" name="Freeform 733">
            <a:extLst>
              <a:ext uri="{FF2B5EF4-FFF2-40B4-BE49-F238E27FC236}">
                <a16:creationId xmlns:a16="http://schemas.microsoft.com/office/drawing/2014/main" id="{D65BF5FD-2434-514A-A90E-D08BDCA9444C}"/>
              </a:ext>
            </a:extLst>
          </p:cNvPr>
          <p:cNvSpPr>
            <a:spLocks noChangeArrowheads="1"/>
          </p:cNvSpPr>
          <p:nvPr/>
        </p:nvSpPr>
        <p:spPr bwMode="auto">
          <a:xfrm>
            <a:off x="6823796" y="4069966"/>
            <a:ext cx="320005" cy="321716"/>
          </a:xfrm>
          <a:custGeom>
            <a:avLst/>
            <a:gdLst/>
            <a:ahLst/>
            <a:cxnLst/>
            <a:rect l="0" t="0" r="r" b="b"/>
            <a:pathLst>
              <a:path w="296500" h="298092">
                <a:moveTo>
                  <a:pt x="135191" y="228696"/>
                </a:moveTo>
                <a:cubicBezTo>
                  <a:pt x="143784" y="228696"/>
                  <a:pt x="152423" y="231967"/>
                  <a:pt x="159083" y="238508"/>
                </a:cubicBezTo>
                <a:cubicBezTo>
                  <a:pt x="163762" y="243232"/>
                  <a:pt x="169881" y="245776"/>
                  <a:pt x="176361" y="245776"/>
                </a:cubicBezTo>
                <a:cubicBezTo>
                  <a:pt x="183200" y="245776"/>
                  <a:pt x="189319" y="243232"/>
                  <a:pt x="193999" y="238508"/>
                </a:cubicBezTo>
                <a:cubicBezTo>
                  <a:pt x="205517" y="226879"/>
                  <a:pt x="223515" y="225425"/>
                  <a:pt x="236833" y="234510"/>
                </a:cubicBezTo>
                <a:cubicBezTo>
                  <a:pt x="238993" y="235964"/>
                  <a:pt x="239353" y="238871"/>
                  <a:pt x="237913" y="241052"/>
                </a:cubicBezTo>
                <a:cubicBezTo>
                  <a:pt x="236474" y="242869"/>
                  <a:pt x="233954" y="243596"/>
                  <a:pt x="231794" y="241779"/>
                </a:cubicBezTo>
                <a:cubicBezTo>
                  <a:pt x="222075" y="235237"/>
                  <a:pt x="208757" y="236328"/>
                  <a:pt x="200478" y="245049"/>
                </a:cubicBezTo>
                <a:cubicBezTo>
                  <a:pt x="193999" y="251591"/>
                  <a:pt x="185720" y="255225"/>
                  <a:pt x="176361" y="255225"/>
                </a:cubicBezTo>
                <a:cubicBezTo>
                  <a:pt x="167722" y="255225"/>
                  <a:pt x="159083" y="251591"/>
                  <a:pt x="152603" y="245049"/>
                </a:cubicBezTo>
                <a:cubicBezTo>
                  <a:pt x="143245" y="235237"/>
                  <a:pt x="127406" y="235237"/>
                  <a:pt x="117688" y="245049"/>
                </a:cubicBezTo>
                <a:cubicBezTo>
                  <a:pt x="111568" y="251591"/>
                  <a:pt x="102929" y="255225"/>
                  <a:pt x="94290" y="255225"/>
                </a:cubicBezTo>
                <a:cubicBezTo>
                  <a:pt x="84931" y="255225"/>
                  <a:pt x="76652" y="251591"/>
                  <a:pt x="70173" y="245049"/>
                </a:cubicBezTo>
                <a:cubicBezTo>
                  <a:pt x="66934" y="241415"/>
                  <a:pt x="62614" y="239235"/>
                  <a:pt x="57935" y="238145"/>
                </a:cubicBezTo>
                <a:cubicBezTo>
                  <a:pt x="55415" y="237781"/>
                  <a:pt x="53975" y="235237"/>
                  <a:pt x="54335" y="232693"/>
                </a:cubicBezTo>
                <a:cubicBezTo>
                  <a:pt x="55055" y="230513"/>
                  <a:pt x="57215" y="228696"/>
                  <a:pt x="59734" y="229423"/>
                </a:cubicBezTo>
                <a:cubicBezTo>
                  <a:pt x="66214" y="230513"/>
                  <a:pt x="71973" y="233784"/>
                  <a:pt x="76652" y="238508"/>
                </a:cubicBezTo>
                <a:cubicBezTo>
                  <a:pt x="81332" y="243232"/>
                  <a:pt x="87451" y="245776"/>
                  <a:pt x="94290" y="245776"/>
                </a:cubicBezTo>
                <a:cubicBezTo>
                  <a:pt x="100770" y="245776"/>
                  <a:pt x="106889" y="243232"/>
                  <a:pt x="111568" y="238508"/>
                </a:cubicBezTo>
                <a:cubicBezTo>
                  <a:pt x="118048" y="231967"/>
                  <a:pt x="126597" y="228696"/>
                  <a:pt x="135191" y="228696"/>
                </a:cubicBezTo>
                <a:close/>
                <a:moveTo>
                  <a:pt x="239257" y="187420"/>
                </a:moveTo>
                <a:cubicBezTo>
                  <a:pt x="248235" y="187420"/>
                  <a:pt x="256854" y="191055"/>
                  <a:pt x="262958" y="197232"/>
                </a:cubicBezTo>
                <a:cubicBezTo>
                  <a:pt x="264754" y="199050"/>
                  <a:pt x="264754" y="201957"/>
                  <a:pt x="262958" y="203774"/>
                </a:cubicBezTo>
                <a:cubicBezTo>
                  <a:pt x="261163" y="205591"/>
                  <a:pt x="258290" y="205591"/>
                  <a:pt x="256495" y="203774"/>
                </a:cubicBezTo>
                <a:cubicBezTo>
                  <a:pt x="247158" y="193962"/>
                  <a:pt x="231357" y="193962"/>
                  <a:pt x="221661" y="203774"/>
                </a:cubicBezTo>
                <a:cubicBezTo>
                  <a:pt x="215197" y="210315"/>
                  <a:pt x="206938" y="213949"/>
                  <a:pt x="197960" y="213949"/>
                </a:cubicBezTo>
                <a:cubicBezTo>
                  <a:pt x="188982" y="213949"/>
                  <a:pt x="180723" y="210315"/>
                  <a:pt x="174259" y="203774"/>
                </a:cubicBezTo>
                <a:cubicBezTo>
                  <a:pt x="164563" y="193962"/>
                  <a:pt x="149121" y="193962"/>
                  <a:pt x="139425" y="203774"/>
                </a:cubicBezTo>
                <a:cubicBezTo>
                  <a:pt x="133321" y="210315"/>
                  <a:pt x="124702" y="213949"/>
                  <a:pt x="115724" y="213949"/>
                </a:cubicBezTo>
                <a:cubicBezTo>
                  <a:pt x="106747" y="213949"/>
                  <a:pt x="98487" y="210315"/>
                  <a:pt x="92023" y="203774"/>
                </a:cubicBezTo>
                <a:cubicBezTo>
                  <a:pt x="82327" y="193962"/>
                  <a:pt x="66527" y="193962"/>
                  <a:pt x="57190" y="203774"/>
                </a:cubicBezTo>
                <a:cubicBezTo>
                  <a:pt x="52880" y="208135"/>
                  <a:pt x="47135" y="211405"/>
                  <a:pt x="41030" y="212859"/>
                </a:cubicBezTo>
                <a:cubicBezTo>
                  <a:pt x="38516" y="213223"/>
                  <a:pt x="36002" y="211769"/>
                  <a:pt x="35643" y="209588"/>
                </a:cubicBezTo>
                <a:cubicBezTo>
                  <a:pt x="34925" y="207045"/>
                  <a:pt x="36361" y="204501"/>
                  <a:pt x="38875" y="204137"/>
                </a:cubicBezTo>
                <a:cubicBezTo>
                  <a:pt x="43543" y="203047"/>
                  <a:pt x="47494" y="200503"/>
                  <a:pt x="50726" y="197232"/>
                </a:cubicBezTo>
                <a:cubicBezTo>
                  <a:pt x="64013" y="184150"/>
                  <a:pt x="85200" y="184150"/>
                  <a:pt x="98487" y="197232"/>
                </a:cubicBezTo>
                <a:cubicBezTo>
                  <a:pt x="102796" y="201957"/>
                  <a:pt x="109260" y="204501"/>
                  <a:pt x="115724" y="204501"/>
                </a:cubicBezTo>
                <a:cubicBezTo>
                  <a:pt x="122547" y="204501"/>
                  <a:pt x="128293" y="201957"/>
                  <a:pt x="133321" y="197232"/>
                </a:cubicBezTo>
                <a:cubicBezTo>
                  <a:pt x="146248" y="184150"/>
                  <a:pt x="167436" y="184150"/>
                  <a:pt x="180723" y="197232"/>
                </a:cubicBezTo>
                <a:cubicBezTo>
                  <a:pt x="185391" y="201957"/>
                  <a:pt x="191496" y="204501"/>
                  <a:pt x="197960" y="204501"/>
                </a:cubicBezTo>
                <a:cubicBezTo>
                  <a:pt x="204424" y="204501"/>
                  <a:pt x="210888" y="201957"/>
                  <a:pt x="215197" y="197232"/>
                </a:cubicBezTo>
                <a:cubicBezTo>
                  <a:pt x="221661" y="191055"/>
                  <a:pt x="230280" y="187420"/>
                  <a:pt x="239257" y="187420"/>
                </a:cubicBezTo>
                <a:close/>
                <a:moveTo>
                  <a:pt x="7140" y="181691"/>
                </a:moveTo>
                <a:cubicBezTo>
                  <a:pt x="9663" y="181333"/>
                  <a:pt x="11825" y="182407"/>
                  <a:pt x="12546" y="184914"/>
                </a:cubicBezTo>
                <a:cubicBezTo>
                  <a:pt x="28766" y="246160"/>
                  <a:pt x="84634" y="288780"/>
                  <a:pt x="148432" y="288780"/>
                </a:cubicBezTo>
                <a:cubicBezTo>
                  <a:pt x="211869" y="288780"/>
                  <a:pt x="267737" y="246160"/>
                  <a:pt x="283956" y="184914"/>
                </a:cubicBezTo>
                <a:cubicBezTo>
                  <a:pt x="284317" y="182407"/>
                  <a:pt x="286840" y="180975"/>
                  <a:pt x="289363" y="181691"/>
                </a:cubicBezTo>
                <a:cubicBezTo>
                  <a:pt x="291886" y="182407"/>
                  <a:pt x="293328" y="184914"/>
                  <a:pt x="292607" y="187063"/>
                </a:cubicBezTo>
                <a:cubicBezTo>
                  <a:pt x="275666" y="252606"/>
                  <a:pt x="216194" y="298092"/>
                  <a:pt x="148432" y="298092"/>
                </a:cubicBezTo>
                <a:cubicBezTo>
                  <a:pt x="80309" y="298092"/>
                  <a:pt x="21197" y="252606"/>
                  <a:pt x="3896" y="187063"/>
                </a:cubicBezTo>
                <a:cubicBezTo>
                  <a:pt x="3175" y="184914"/>
                  <a:pt x="4617" y="182407"/>
                  <a:pt x="7140" y="181691"/>
                </a:cubicBezTo>
                <a:close/>
                <a:moveTo>
                  <a:pt x="148432" y="147673"/>
                </a:moveTo>
                <a:cubicBezTo>
                  <a:pt x="157082" y="147673"/>
                  <a:pt x="165012" y="150884"/>
                  <a:pt x="171500" y="157305"/>
                </a:cubicBezTo>
                <a:cubicBezTo>
                  <a:pt x="180511" y="166224"/>
                  <a:pt x="196009" y="166224"/>
                  <a:pt x="205020" y="157305"/>
                </a:cubicBezTo>
                <a:cubicBezTo>
                  <a:pt x="211508" y="150884"/>
                  <a:pt x="219438" y="147673"/>
                  <a:pt x="228449" y="147673"/>
                </a:cubicBezTo>
                <a:cubicBezTo>
                  <a:pt x="237099" y="147673"/>
                  <a:pt x="245029" y="150884"/>
                  <a:pt x="251517" y="157305"/>
                </a:cubicBezTo>
                <a:cubicBezTo>
                  <a:pt x="255842" y="161586"/>
                  <a:pt x="261970" y="163727"/>
                  <a:pt x="268457" y="163727"/>
                </a:cubicBezTo>
                <a:cubicBezTo>
                  <a:pt x="274585" y="163727"/>
                  <a:pt x="280712" y="161586"/>
                  <a:pt x="285038" y="157305"/>
                </a:cubicBezTo>
                <a:cubicBezTo>
                  <a:pt x="286840" y="155165"/>
                  <a:pt x="289723" y="155165"/>
                  <a:pt x="291526" y="157305"/>
                </a:cubicBezTo>
                <a:cubicBezTo>
                  <a:pt x="293328" y="158732"/>
                  <a:pt x="293328" y="161586"/>
                  <a:pt x="291526" y="163370"/>
                </a:cubicBezTo>
                <a:cubicBezTo>
                  <a:pt x="285038" y="169435"/>
                  <a:pt x="277108" y="173002"/>
                  <a:pt x="268457" y="173002"/>
                </a:cubicBezTo>
                <a:cubicBezTo>
                  <a:pt x="259447" y="173002"/>
                  <a:pt x="251517" y="169435"/>
                  <a:pt x="245029" y="163370"/>
                </a:cubicBezTo>
                <a:cubicBezTo>
                  <a:pt x="240704" y="159089"/>
                  <a:pt x="234576" y="156592"/>
                  <a:pt x="228449" y="156592"/>
                </a:cubicBezTo>
                <a:cubicBezTo>
                  <a:pt x="221961" y="156592"/>
                  <a:pt x="215834" y="158732"/>
                  <a:pt x="211508" y="163370"/>
                </a:cubicBezTo>
                <a:cubicBezTo>
                  <a:pt x="198533" y="175856"/>
                  <a:pt x="177988" y="175856"/>
                  <a:pt x="165012" y="163370"/>
                </a:cubicBezTo>
                <a:cubicBezTo>
                  <a:pt x="160687" y="158732"/>
                  <a:pt x="154559" y="156592"/>
                  <a:pt x="148432" y="156592"/>
                </a:cubicBezTo>
                <a:cubicBezTo>
                  <a:pt x="141944" y="156592"/>
                  <a:pt x="135816" y="158732"/>
                  <a:pt x="131491" y="163370"/>
                </a:cubicBezTo>
                <a:cubicBezTo>
                  <a:pt x="118515" y="175856"/>
                  <a:pt x="97970" y="175856"/>
                  <a:pt x="84995" y="163370"/>
                </a:cubicBezTo>
                <a:cubicBezTo>
                  <a:pt x="75623" y="154095"/>
                  <a:pt x="60845" y="154095"/>
                  <a:pt x="51474" y="163370"/>
                </a:cubicBezTo>
                <a:cubicBezTo>
                  <a:pt x="38498" y="175856"/>
                  <a:pt x="17953" y="175856"/>
                  <a:pt x="4977" y="163370"/>
                </a:cubicBezTo>
                <a:cubicBezTo>
                  <a:pt x="3175" y="161586"/>
                  <a:pt x="3175" y="158732"/>
                  <a:pt x="4977" y="157305"/>
                </a:cubicBezTo>
                <a:cubicBezTo>
                  <a:pt x="6779" y="155165"/>
                  <a:pt x="9663" y="155165"/>
                  <a:pt x="11465" y="157305"/>
                </a:cubicBezTo>
                <a:cubicBezTo>
                  <a:pt x="15790" y="161586"/>
                  <a:pt x="21918" y="163727"/>
                  <a:pt x="28406" y="163727"/>
                </a:cubicBezTo>
                <a:cubicBezTo>
                  <a:pt x="34533" y="163727"/>
                  <a:pt x="40660" y="161586"/>
                  <a:pt x="44986" y="157305"/>
                </a:cubicBezTo>
                <a:cubicBezTo>
                  <a:pt x="57962" y="144463"/>
                  <a:pt x="78507" y="144463"/>
                  <a:pt x="91482" y="157305"/>
                </a:cubicBezTo>
                <a:cubicBezTo>
                  <a:pt x="100854" y="166224"/>
                  <a:pt x="115632" y="166224"/>
                  <a:pt x="125003" y="157305"/>
                </a:cubicBezTo>
                <a:cubicBezTo>
                  <a:pt x="131491" y="150884"/>
                  <a:pt x="139421" y="147673"/>
                  <a:pt x="148432" y="147673"/>
                </a:cubicBezTo>
                <a:close/>
                <a:moveTo>
                  <a:pt x="166149" y="90152"/>
                </a:moveTo>
                <a:lnTo>
                  <a:pt x="166149" y="114673"/>
                </a:lnTo>
                <a:lnTo>
                  <a:pt x="223658" y="114673"/>
                </a:lnTo>
                <a:lnTo>
                  <a:pt x="223658" y="90152"/>
                </a:lnTo>
                <a:lnTo>
                  <a:pt x="166149" y="90152"/>
                </a:lnTo>
                <a:close/>
                <a:moveTo>
                  <a:pt x="166149" y="56615"/>
                </a:moveTo>
                <a:lnTo>
                  <a:pt x="166149" y="81137"/>
                </a:lnTo>
                <a:lnTo>
                  <a:pt x="223658" y="81137"/>
                </a:lnTo>
                <a:lnTo>
                  <a:pt x="223658" y="56615"/>
                </a:lnTo>
                <a:lnTo>
                  <a:pt x="166149" y="56615"/>
                </a:lnTo>
                <a:close/>
                <a:moveTo>
                  <a:pt x="247877" y="45899"/>
                </a:moveTo>
                <a:cubicBezTo>
                  <a:pt x="249692" y="44450"/>
                  <a:pt x="252957" y="44450"/>
                  <a:pt x="254409" y="45899"/>
                </a:cubicBezTo>
                <a:cubicBezTo>
                  <a:pt x="279083" y="71265"/>
                  <a:pt x="293960" y="104240"/>
                  <a:pt x="296500" y="139390"/>
                </a:cubicBezTo>
                <a:cubicBezTo>
                  <a:pt x="296500" y="141926"/>
                  <a:pt x="294686" y="143738"/>
                  <a:pt x="292509" y="144100"/>
                </a:cubicBezTo>
                <a:cubicBezTo>
                  <a:pt x="292146" y="144100"/>
                  <a:pt x="292146" y="144100"/>
                  <a:pt x="291783" y="144100"/>
                </a:cubicBezTo>
                <a:cubicBezTo>
                  <a:pt x="289606" y="144100"/>
                  <a:pt x="287792" y="142289"/>
                  <a:pt x="287429" y="139752"/>
                </a:cubicBezTo>
                <a:cubicBezTo>
                  <a:pt x="284889" y="107139"/>
                  <a:pt x="270737" y="75976"/>
                  <a:pt x="247877" y="52422"/>
                </a:cubicBezTo>
                <a:cubicBezTo>
                  <a:pt x="246063" y="50610"/>
                  <a:pt x="246063" y="47711"/>
                  <a:pt x="247877" y="45899"/>
                </a:cubicBezTo>
                <a:close/>
                <a:moveTo>
                  <a:pt x="166149" y="23079"/>
                </a:moveTo>
                <a:lnTo>
                  <a:pt x="166149" y="47600"/>
                </a:lnTo>
                <a:lnTo>
                  <a:pt x="223658" y="47600"/>
                </a:lnTo>
                <a:lnTo>
                  <a:pt x="223658" y="23079"/>
                </a:lnTo>
                <a:lnTo>
                  <a:pt x="166149" y="23079"/>
                </a:lnTo>
                <a:close/>
                <a:moveTo>
                  <a:pt x="135895" y="1949"/>
                </a:moveTo>
                <a:cubicBezTo>
                  <a:pt x="138053" y="1588"/>
                  <a:pt x="140569" y="3392"/>
                  <a:pt x="140929" y="5917"/>
                </a:cubicBezTo>
                <a:cubicBezTo>
                  <a:pt x="140929" y="8443"/>
                  <a:pt x="139131" y="10608"/>
                  <a:pt x="136614" y="10968"/>
                </a:cubicBezTo>
                <a:cubicBezTo>
                  <a:pt x="67948" y="16380"/>
                  <a:pt x="14380" y="70860"/>
                  <a:pt x="8988" y="139772"/>
                </a:cubicBezTo>
                <a:cubicBezTo>
                  <a:pt x="8628" y="142298"/>
                  <a:pt x="6831" y="144102"/>
                  <a:pt x="4674" y="144102"/>
                </a:cubicBezTo>
                <a:cubicBezTo>
                  <a:pt x="4314" y="144102"/>
                  <a:pt x="4314" y="144102"/>
                  <a:pt x="3955" y="144102"/>
                </a:cubicBezTo>
                <a:cubicBezTo>
                  <a:pt x="1438" y="143741"/>
                  <a:pt x="0" y="141937"/>
                  <a:pt x="0" y="139412"/>
                </a:cubicBezTo>
                <a:cubicBezTo>
                  <a:pt x="5752" y="65809"/>
                  <a:pt x="62555" y="7721"/>
                  <a:pt x="135895" y="1949"/>
                </a:cubicBezTo>
                <a:close/>
                <a:moveTo>
                  <a:pt x="161476" y="0"/>
                </a:moveTo>
                <a:cubicBezTo>
                  <a:pt x="163992" y="0"/>
                  <a:pt x="166149" y="2163"/>
                  <a:pt x="166149" y="4688"/>
                </a:cubicBezTo>
                <a:lnTo>
                  <a:pt x="166149" y="14063"/>
                </a:lnTo>
                <a:lnTo>
                  <a:pt x="223658" y="14063"/>
                </a:lnTo>
                <a:lnTo>
                  <a:pt x="223658" y="4688"/>
                </a:lnTo>
                <a:cubicBezTo>
                  <a:pt x="223658" y="2163"/>
                  <a:pt x="225815" y="0"/>
                  <a:pt x="228331" y="0"/>
                </a:cubicBezTo>
                <a:cubicBezTo>
                  <a:pt x="230847" y="0"/>
                  <a:pt x="233004" y="2163"/>
                  <a:pt x="233004" y="4688"/>
                </a:cubicBezTo>
                <a:lnTo>
                  <a:pt x="233004" y="133064"/>
                </a:lnTo>
                <a:cubicBezTo>
                  <a:pt x="233004" y="135588"/>
                  <a:pt x="230847" y="137752"/>
                  <a:pt x="228331" y="137752"/>
                </a:cubicBezTo>
                <a:cubicBezTo>
                  <a:pt x="225815" y="137752"/>
                  <a:pt x="223658" y="135588"/>
                  <a:pt x="223658" y="133064"/>
                </a:cubicBezTo>
                <a:lnTo>
                  <a:pt x="223658" y="123688"/>
                </a:lnTo>
                <a:lnTo>
                  <a:pt x="166149" y="123688"/>
                </a:lnTo>
                <a:lnTo>
                  <a:pt x="166149" y="133064"/>
                </a:lnTo>
                <a:cubicBezTo>
                  <a:pt x="166149" y="135588"/>
                  <a:pt x="163992" y="137752"/>
                  <a:pt x="161476" y="137752"/>
                </a:cubicBezTo>
                <a:cubicBezTo>
                  <a:pt x="158960" y="137752"/>
                  <a:pt x="157163" y="135588"/>
                  <a:pt x="157163" y="133064"/>
                </a:cubicBezTo>
                <a:lnTo>
                  <a:pt x="157163" y="4688"/>
                </a:lnTo>
                <a:cubicBezTo>
                  <a:pt x="157163" y="2163"/>
                  <a:pt x="158960" y="0"/>
                  <a:pt x="161476"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44" name="Freeform 732">
            <a:extLst>
              <a:ext uri="{FF2B5EF4-FFF2-40B4-BE49-F238E27FC236}">
                <a16:creationId xmlns:a16="http://schemas.microsoft.com/office/drawing/2014/main" id="{763DC41A-1F47-C84B-87D4-5358E324C7D6}"/>
              </a:ext>
            </a:extLst>
          </p:cNvPr>
          <p:cNvSpPr>
            <a:spLocks noChangeArrowheads="1"/>
          </p:cNvSpPr>
          <p:nvPr/>
        </p:nvSpPr>
        <p:spPr bwMode="auto">
          <a:xfrm>
            <a:off x="6822085" y="4871375"/>
            <a:ext cx="321716" cy="320004"/>
          </a:xfrm>
          <a:custGeom>
            <a:avLst/>
            <a:gdLst/>
            <a:ahLst/>
            <a:cxnLst/>
            <a:rect l="0" t="0" r="r" b="b"/>
            <a:pathLst>
              <a:path w="298090" h="296522">
                <a:moveTo>
                  <a:pt x="229743" y="289038"/>
                </a:moveTo>
                <a:cubicBezTo>
                  <a:pt x="231648" y="287337"/>
                  <a:pt x="234696" y="287337"/>
                  <a:pt x="236601" y="289038"/>
                </a:cubicBezTo>
                <a:cubicBezTo>
                  <a:pt x="237363" y="289718"/>
                  <a:pt x="237744" y="291079"/>
                  <a:pt x="237744" y="292100"/>
                </a:cubicBezTo>
                <a:cubicBezTo>
                  <a:pt x="237744" y="293120"/>
                  <a:pt x="237363" y="294481"/>
                  <a:pt x="236601" y="295161"/>
                </a:cubicBezTo>
                <a:cubicBezTo>
                  <a:pt x="235839" y="295842"/>
                  <a:pt x="234315" y="296522"/>
                  <a:pt x="233172" y="296522"/>
                </a:cubicBezTo>
                <a:cubicBezTo>
                  <a:pt x="232029" y="296522"/>
                  <a:pt x="230886" y="295842"/>
                  <a:pt x="229743" y="295161"/>
                </a:cubicBezTo>
                <a:cubicBezTo>
                  <a:pt x="228981" y="294481"/>
                  <a:pt x="228600" y="293120"/>
                  <a:pt x="228600" y="292100"/>
                </a:cubicBezTo>
                <a:cubicBezTo>
                  <a:pt x="228600" y="291079"/>
                  <a:pt x="228981" y="289718"/>
                  <a:pt x="229743" y="289038"/>
                </a:cubicBezTo>
                <a:close/>
                <a:moveTo>
                  <a:pt x="271018" y="279223"/>
                </a:moveTo>
                <a:cubicBezTo>
                  <a:pt x="272923" y="277812"/>
                  <a:pt x="275971" y="277812"/>
                  <a:pt x="277876" y="279223"/>
                </a:cubicBezTo>
                <a:cubicBezTo>
                  <a:pt x="278638" y="279929"/>
                  <a:pt x="279019" y="281340"/>
                  <a:pt x="279019" y="282398"/>
                </a:cubicBezTo>
                <a:cubicBezTo>
                  <a:pt x="279019" y="283457"/>
                  <a:pt x="278638" y="284868"/>
                  <a:pt x="277876" y="285573"/>
                </a:cubicBezTo>
                <a:cubicBezTo>
                  <a:pt x="277114" y="286279"/>
                  <a:pt x="275971" y="286984"/>
                  <a:pt x="274447" y="286984"/>
                </a:cubicBezTo>
                <a:cubicBezTo>
                  <a:pt x="273304" y="286984"/>
                  <a:pt x="272161" y="286279"/>
                  <a:pt x="271018" y="285573"/>
                </a:cubicBezTo>
                <a:cubicBezTo>
                  <a:pt x="270256" y="284868"/>
                  <a:pt x="269875" y="283457"/>
                  <a:pt x="269875" y="282398"/>
                </a:cubicBezTo>
                <a:cubicBezTo>
                  <a:pt x="269875" y="281340"/>
                  <a:pt x="270256" y="279929"/>
                  <a:pt x="271018" y="279223"/>
                </a:cubicBezTo>
                <a:close/>
                <a:moveTo>
                  <a:pt x="190378" y="279223"/>
                </a:moveTo>
                <a:cubicBezTo>
                  <a:pt x="191844" y="277812"/>
                  <a:pt x="195141" y="277812"/>
                  <a:pt x="196606" y="279223"/>
                </a:cubicBezTo>
                <a:cubicBezTo>
                  <a:pt x="197705" y="280282"/>
                  <a:pt x="198072" y="281340"/>
                  <a:pt x="198072" y="282398"/>
                </a:cubicBezTo>
                <a:cubicBezTo>
                  <a:pt x="198072" y="283457"/>
                  <a:pt x="197705" y="284868"/>
                  <a:pt x="196606" y="285573"/>
                </a:cubicBezTo>
                <a:cubicBezTo>
                  <a:pt x="195873" y="286279"/>
                  <a:pt x="194408" y="286984"/>
                  <a:pt x="193675" y="286984"/>
                </a:cubicBezTo>
                <a:cubicBezTo>
                  <a:pt x="192210" y="286984"/>
                  <a:pt x="191111" y="286279"/>
                  <a:pt x="190378" y="285573"/>
                </a:cubicBezTo>
                <a:cubicBezTo>
                  <a:pt x="189279" y="284868"/>
                  <a:pt x="188913" y="283457"/>
                  <a:pt x="188913" y="282398"/>
                </a:cubicBezTo>
                <a:cubicBezTo>
                  <a:pt x="188913" y="281340"/>
                  <a:pt x="189279" y="280282"/>
                  <a:pt x="190378" y="279223"/>
                </a:cubicBezTo>
                <a:close/>
                <a:moveTo>
                  <a:pt x="233172" y="265112"/>
                </a:moveTo>
                <a:cubicBezTo>
                  <a:pt x="235839" y="265112"/>
                  <a:pt x="237744" y="266943"/>
                  <a:pt x="237744" y="269508"/>
                </a:cubicBezTo>
                <a:cubicBezTo>
                  <a:pt x="237744" y="272072"/>
                  <a:pt x="235839" y="274270"/>
                  <a:pt x="233172" y="274270"/>
                </a:cubicBezTo>
                <a:cubicBezTo>
                  <a:pt x="230505" y="274270"/>
                  <a:pt x="228600" y="272072"/>
                  <a:pt x="228600" y="269508"/>
                </a:cubicBezTo>
                <a:cubicBezTo>
                  <a:pt x="228600" y="266943"/>
                  <a:pt x="230505" y="265112"/>
                  <a:pt x="233172" y="265112"/>
                </a:cubicBezTo>
                <a:close/>
                <a:moveTo>
                  <a:pt x="272522" y="257528"/>
                </a:moveTo>
                <a:cubicBezTo>
                  <a:pt x="274991" y="257175"/>
                  <a:pt x="277108" y="259291"/>
                  <a:pt x="277460" y="261408"/>
                </a:cubicBezTo>
                <a:cubicBezTo>
                  <a:pt x="277460" y="263878"/>
                  <a:pt x="275697" y="265994"/>
                  <a:pt x="273227" y="266347"/>
                </a:cubicBezTo>
                <a:lnTo>
                  <a:pt x="272874" y="266347"/>
                </a:lnTo>
                <a:cubicBezTo>
                  <a:pt x="270758" y="266347"/>
                  <a:pt x="268641" y="264583"/>
                  <a:pt x="268288" y="262466"/>
                </a:cubicBezTo>
                <a:cubicBezTo>
                  <a:pt x="268288" y="259644"/>
                  <a:pt x="270052" y="257880"/>
                  <a:pt x="272522" y="257528"/>
                </a:cubicBezTo>
                <a:close/>
                <a:moveTo>
                  <a:pt x="195439" y="257528"/>
                </a:moveTo>
                <a:cubicBezTo>
                  <a:pt x="197908" y="257880"/>
                  <a:pt x="199672" y="259644"/>
                  <a:pt x="199672" y="262466"/>
                </a:cubicBezTo>
                <a:cubicBezTo>
                  <a:pt x="199672" y="264583"/>
                  <a:pt x="197555" y="266347"/>
                  <a:pt x="195086" y="266347"/>
                </a:cubicBezTo>
                <a:lnTo>
                  <a:pt x="194733" y="266347"/>
                </a:lnTo>
                <a:cubicBezTo>
                  <a:pt x="192617" y="265994"/>
                  <a:pt x="190500" y="263878"/>
                  <a:pt x="190853" y="261408"/>
                </a:cubicBezTo>
                <a:cubicBezTo>
                  <a:pt x="190853" y="259291"/>
                  <a:pt x="192969" y="257175"/>
                  <a:pt x="195439" y="257528"/>
                </a:cubicBezTo>
                <a:close/>
                <a:moveTo>
                  <a:pt x="233172" y="242887"/>
                </a:moveTo>
                <a:cubicBezTo>
                  <a:pt x="235839" y="242887"/>
                  <a:pt x="237744" y="245003"/>
                  <a:pt x="237744" y="247473"/>
                </a:cubicBezTo>
                <a:cubicBezTo>
                  <a:pt x="237744" y="249942"/>
                  <a:pt x="235839" y="252059"/>
                  <a:pt x="233172" y="252059"/>
                </a:cubicBezTo>
                <a:cubicBezTo>
                  <a:pt x="230505" y="252059"/>
                  <a:pt x="228600" y="249942"/>
                  <a:pt x="228600" y="247473"/>
                </a:cubicBezTo>
                <a:cubicBezTo>
                  <a:pt x="228600" y="245003"/>
                  <a:pt x="230505" y="242887"/>
                  <a:pt x="233172" y="242887"/>
                </a:cubicBezTo>
                <a:close/>
                <a:moveTo>
                  <a:pt x="270934" y="238125"/>
                </a:moveTo>
                <a:cubicBezTo>
                  <a:pt x="273403" y="238125"/>
                  <a:pt x="275520" y="239956"/>
                  <a:pt x="275520" y="242521"/>
                </a:cubicBezTo>
                <a:cubicBezTo>
                  <a:pt x="275872" y="244719"/>
                  <a:pt x="274109" y="247283"/>
                  <a:pt x="271639" y="247283"/>
                </a:cubicBezTo>
                <a:lnTo>
                  <a:pt x="271286" y="247283"/>
                </a:lnTo>
                <a:cubicBezTo>
                  <a:pt x="269169" y="247283"/>
                  <a:pt x="267053" y="245818"/>
                  <a:pt x="267053" y="242887"/>
                </a:cubicBezTo>
                <a:cubicBezTo>
                  <a:pt x="266700" y="240689"/>
                  <a:pt x="268464" y="238491"/>
                  <a:pt x="270934" y="238125"/>
                </a:cubicBezTo>
                <a:close/>
                <a:moveTo>
                  <a:pt x="197380" y="238125"/>
                </a:moveTo>
                <a:cubicBezTo>
                  <a:pt x="199496" y="238491"/>
                  <a:pt x="201260" y="240689"/>
                  <a:pt x="201260" y="242887"/>
                </a:cubicBezTo>
                <a:cubicBezTo>
                  <a:pt x="200907" y="245818"/>
                  <a:pt x="199143" y="247283"/>
                  <a:pt x="197027" y="247283"/>
                </a:cubicBezTo>
                <a:lnTo>
                  <a:pt x="196321" y="247283"/>
                </a:lnTo>
                <a:cubicBezTo>
                  <a:pt x="193852" y="247283"/>
                  <a:pt x="192088" y="244719"/>
                  <a:pt x="192441" y="242521"/>
                </a:cubicBezTo>
                <a:cubicBezTo>
                  <a:pt x="192793" y="239956"/>
                  <a:pt x="194910" y="238125"/>
                  <a:pt x="197380" y="238125"/>
                </a:cubicBezTo>
                <a:close/>
                <a:moveTo>
                  <a:pt x="233172" y="220662"/>
                </a:moveTo>
                <a:cubicBezTo>
                  <a:pt x="235839" y="220662"/>
                  <a:pt x="237744" y="222778"/>
                  <a:pt x="237744" y="225248"/>
                </a:cubicBezTo>
                <a:cubicBezTo>
                  <a:pt x="237744" y="227717"/>
                  <a:pt x="235839" y="229834"/>
                  <a:pt x="233172" y="229834"/>
                </a:cubicBezTo>
                <a:cubicBezTo>
                  <a:pt x="230505" y="229834"/>
                  <a:pt x="228600" y="227717"/>
                  <a:pt x="228600" y="225248"/>
                </a:cubicBezTo>
                <a:cubicBezTo>
                  <a:pt x="228600" y="222778"/>
                  <a:pt x="230505" y="220662"/>
                  <a:pt x="233172" y="220662"/>
                </a:cubicBezTo>
                <a:close/>
                <a:moveTo>
                  <a:pt x="267758" y="217487"/>
                </a:moveTo>
                <a:cubicBezTo>
                  <a:pt x="270228" y="217487"/>
                  <a:pt x="272345" y="219318"/>
                  <a:pt x="272697" y="221883"/>
                </a:cubicBezTo>
                <a:cubicBezTo>
                  <a:pt x="272697" y="224447"/>
                  <a:pt x="270934" y="226645"/>
                  <a:pt x="268464" y="226645"/>
                </a:cubicBezTo>
                <a:lnTo>
                  <a:pt x="268111" y="226645"/>
                </a:lnTo>
                <a:cubicBezTo>
                  <a:pt x="265994" y="226645"/>
                  <a:pt x="263878" y="224814"/>
                  <a:pt x="263525" y="222616"/>
                </a:cubicBezTo>
                <a:cubicBezTo>
                  <a:pt x="263525" y="220051"/>
                  <a:pt x="265289" y="217853"/>
                  <a:pt x="267758" y="217487"/>
                </a:cubicBezTo>
                <a:close/>
                <a:moveTo>
                  <a:pt x="198437" y="217487"/>
                </a:moveTo>
                <a:cubicBezTo>
                  <a:pt x="200819" y="217853"/>
                  <a:pt x="202860" y="220051"/>
                  <a:pt x="202520" y="222616"/>
                </a:cubicBezTo>
                <a:cubicBezTo>
                  <a:pt x="202520" y="224814"/>
                  <a:pt x="200478" y="226645"/>
                  <a:pt x="198097" y="226645"/>
                </a:cubicBezTo>
                <a:lnTo>
                  <a:pt x="197757" y="226645"/>
                </a:lnTo>
                <a:cubicBezTo>
                  <a:pt x="195716" y="226645"/>
                  <a:pt x="193675" y="224447"/>
                  <a:pt x="194015" y="221883"/>
                </a:cubicBezTo>
                <a:cubicBezTo>
                  <a:pt x="194015" y="219318"/>
                  <a:pt x="196396" y="217487"/>
                  <a:pt x="198437" y="217487"/>
                </a:cubicBezTo>
                <a:close/>
                <a:moveTo>
                  <a:pt x="233172" y="198437"/>
                </a:moveTo>
                <a:cubicBezTo>
                  <a:pt x="235839" y="198437"/>
                  <a:pt x="237744" y="200268"/>
                  <a:pt x="237744" y="202833"/>
                </a:cubicBezTo>
                <a:cubicBezTo>
                  <a:pt x="237744" y="205397"/>
                  <a:pt x="235839" y="207595"/>
                  <a:pt x="233172" y="207595"/>
                </a:cubicBezTo>
                <a:cubicBezTo>
                  <a:pt x="230505" y="207595"/>
                  <a:pt x="228600" y="205397"/>
                  <a:pt x="228600" y="202833"/>
                </a:cubicBezTo>
                <a:cubicBezTo>
                  <a:pt x="228600" y="200268"/>
                  <a:pt x="230505" y="198437"/>
                  <a:pt x="233172" y="198437"/>
                </a:cubicBezTo>
                <a:close/>
                <a:moveTo>
                  <a:pt x="266171" y="197203"/>
                </a:moveTo>
                <a:cubicBezTo>
                  <a:pt x="268641" y="196850"/>
                  <a:pt x="270758" y="198614"/>
                  <a:pt x="270758" y="201083"/>
                </a:cubicBezTo>
                <a:cubicBezTo>
                  <a:pt x="271110" y="203553"/>
                  <a:pt x="269346" y="205669"/>
                  <a:pt x="266877" y="206022"/>
                </a:cubicBezTo>
                <a:cubicBezTo>
                  <a:pt x="266877" y="206022"/>
                  <a:pt x="266877" y="206022"/>
                  <a:pt x="266524" y="206022"/>
                </a:cubicBezTo>
                <a:cubicBezTo>
                  <a:pt x="264407" y="206022"/>
                  <a:pt x="262291" y="204258"/>
                  <a:pt x="262291" y="201789"/>
                </a:cubicBezTo>
                <a:cubicBezTo>
                  <a:pt x="261938" y="199672"/>
                  <a:pt x="263702" y="197203"/>
                  <a:pt x="266171" y="197203"/>
                </a:cubicBezTo>
                <a:close/>
                <a:moveTo>
                  <a:pt x="200392" y="197203"/>
                </a:moveTo>
                <a:cubicBezTo>
                  <a:pt x="202956" y="197203"/>
                  <a:pt x="204422" y="199672"/>
                  <a:pt x="204422" y="201789"/>
                </a:cubicBezTo>
                <a:cubicBezTo>
                  <a:pt x="204055" y="204258"/>
                  <a:pt x="202223" y="206022"/>
                  <a:pt x="200025" y="206022"/>
                </a:cubicBezTo>
                <a:cubicBezTo>
                  <a:pt x="199659" y="206022"/>
                  <a:pt x="199659" y="206022"/>
                  <a:pt x="199293" y="206022"/>
                </a:cubicBezTo>
                <a:cubicBezTo>
                  <a:pt x="196728" y="205669"/>
                  <a:pt x="195263" y="203553"/>
                  <a:pt x="195263" y="201083"/>
                </a:cubicBezTo>
                <a:cubicBezTo>
                  <a:pt x="195629" y="198614"/>
                  <a:pt x="197461" y="196850"/>
                  <a:pt x="200392" y="197203"/>
                </a:cubicBezTo>
                <a:close/>
                <a:moveTo>
                  <a:pt x="71729" y="132310"/>
                </a:moveTo>
                <a:cubicBezTo>
                  <a:pt x="67403" y="132310"/>
                  <a:pt x="63799" y="135896"/>
                  <a:pt x="63799" y="140199"/>
                </a:cubicBezTo>
                <a:cubicBezTo>
                  <a:pt x="63799" y="144143"/>
                  <a:pt x="67043" y="147370"/>
                  <a:pt x="71008" y="147729"/>
                </a:cubicBezTo>
                <a:lnTo>
                  <a:pt x="180584" y="159561"/>
                </a:lnTo>
                <a:cubicBezTo>
                  <a:pt x="183107" y="153107"/>
                  <a:pt x="187072" y="147012"/>
                  <a:pt x="192118" y="141633"/>
                </a:cubicBezTo>
                <a:cubicBezTo>
                  <a:pt x="193920" y="139840"/>
                  <a:pt x="196804" y="139482"/>
                  <a:pt x="198606" y="141275"/>
                </a:cubicBezTo>
                <a:cubicBezTo>
                  <a:pt x="200408" y="143067"/>
                  <a:pt x="200408" y="145936"/>
                  <a:pt x="198606" y="147729"/>
                </a:cubicBezTo>
                <a:cubicBezTo>
                  <a:pt x="191037" y="155617"/>
                  <a:pt x="186711" y="165657"/>
                  <a:pt x="185630" y="176414"/>
                </a:cubicBezTo>
                <a:lnTo>
                  <a:pt x="282951" y="176414"/>
                </a:lnTo>
                <a:cubicBezTo>
                  <a:pt x="280788" y="151673"/>
                  <a:pt x="259882" y="132310"/>
                  <a:pt x="234290" y="132310"/>
                </a:cubicBezTo>
                <a:lnTo>
                  <a:pt x="71729" y="132310"/>
                </a:lnTo>
                <a:close/>
                <a:moveTo>
                  <a:pt x="121470" y="0"/>
                </a:moveTo>
                <a:lnTo>
                  <a:pt x="257719" y="0"/>
                </a:lnTo>
                <a:cubicBezTo>
                  <a:pt x="276823" y="0"/>
                  <a:pt x="292323" y="15060"/>
                  <a:pt x="292323" y="34063"/>
                </a:cubicBezTo>
                <a:cubicBezTo>
                  <a:pt x="292323" y="52709"/>
                  <a:pt x="276823" y="68127"/>
                  <a:pt x="257719" y="68127"/>
                </a:cubicBezTo>
                <a:lnTo>
                  <a:pt x="42893" y="68127"/>
                </a:lnTo>
                <a:cubicBezTo>
                  <a:pt x="24150" y="68127"/>
                  <a:pt x="9011" y="83187"/>
                  <a:pt x="9011" y="101832"/>
                </a:cubicBezTo>
                <a:cubicBezTo>
                  <a:pt x="9011" y="120119"/>
                  <a:pt x="24150" y="135538"/>
                  <a:pt x="42893" y="135538"/>
                </a:cubicBezTo>
                <a:lnTo>
                  <a:pt x="55869" y="135538"/>
                </a:lnTo>
                <a:cubicBezTo>
                  <a:pt x="58032" y="128366"/>
                  <a:pt x="64159" y="123346"/>
                  <a:pt x="71729" y="123346"/>
                </a:cubicBezTo>
                <a:lnTo>
                  <a:pt x="234290" y="123346"/>
                </a:lnTo>
                <a:cubicBezTo>
                  <a:pt x="264568" y="123346"/>
                  <a:pt x="289439" y="146653"/>
                  <a:pt x="291962" y="176414"/>
                </a:cubicBezTo>
                <a:lnTo>
                  <a:pt x="293764" y="176414"/>
                </a:lnTo>
                <a:cubicBezTo>
                  <a:pt x="296288" y="176414"/>
                  <a:pt x="298090" y="178565"/>
                  <a:pt x="298090" y="180717"/>
                </a:cubicBezTo>
                <a:cubicBezTo>
                  <a:pt x="298090" y="183585"/>
                  <a:pt x="296288" y="185378"/>
                  <a:pt x="293764" y="185378"/>
                </a:cubicBezTo>
                <a:lnTo>
                  <a:pt x="287637" y="185378"/>
                </a:lnTo>
                <a:lnTo>
                  <a:pt x="180944" y="185378"/>
                </a:lnTo>
                <a:lnTo>
                  <a:pt x="175177" y="185378"/>
                </a:lnTo>
                <a:cubicBezTo>
                  <a:pt x="172654" y="185378"/>
                  <a:pt x="170491" y="183585"/>
                  <a:pt x="170491" y="180717"/>
                </a:cubicBezTo>
                <a:cubicBezTo>
                  <a:pt x="170491" y="178565"/>
                  <a:pt x="172654" y="176414"/>
                  <a:pt x="175177" y="176414"/>
                </a:cubicBezTo>
                <a:lnTo>
                  <a:pt x="176619" y="176414"/>
                </a:lnTo>
                <a:cubicBezTo>
                  <a:pt x="176979" y="173546"/>
                  <a:pt x="177340" y="171036"/>
                  <a:pt x="178061" y="168526"/>
                </a:cubicBezTo>
                <a:lnTo>
                  <a:pt x="70287" y="157052"/>
                </a:lnTo>
                <a:cubicBezTo>
                  <a:pt x="63078" y="155976"/>
                  <a:pt x="57311" y="150956"/>
                  <a:pt x="55869" y="144502"/>
                </a:cubicBezTo>
                <a:lnTo>
                  <a:pt x="42893" y="144502"/>
                </a:lnTo>
                <a:cubicBezTo>
                  <a:pt x="19104" y="144502"/>
                  <a:pt x="0" y="125498"/>
                  <a:pt x="0" y="101832"/>
                </a:cubicBezTo>
                <a:cubicBezTo>
                  <a:pt x="0" y="78167"/>
                  <a:pt x="19104" y="59163"/>
                  <a:pt x="42893" y="59163"/>
                </a:cubicBezTo>
                <a:lnTo>
                  <a:pt x="257719" y="59163"/>
                </a:lnTo>
                <a:cubicBezTo>
                  <a:pt x="271777" y="59163"/>
                  <a:pt x="282951" y="47689"/>
                  <a:pt x="282951" y="34063"/>
                </a:cubicBezTo>
                <a:cubicBezTo>
                  <a:pt x="282951" y="20079"/>
                  <a:pt x="271777" y="8964"/>
                  <a:pt x="257719" y="8964"/>
                </a:cubicBezTo>
                <a:lnTo>
                  <a:pt x="121470" y="8964"/>
                </a:lnTo>
                <a:cubicBezTo>
                  <a:pt x="118947" y="8964"/>
                  <a:pt x="116785" y="6812"/>
                  <a:pt x="116785" y="4661"/>
                </a:cubicBezTo>
                <a:cubicBezTo>
                  <a:pt x="116785" y="1793"/>
                  <a:pt x="118947" y="0"/>
                  <a:pt x="121470"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45" name="Freeform 731">
            <a:extLst>
              <a:ext uri="{FF2B5EF4-FFF2-40B4-BE49-F238E27FC236}">
                <a16:creationId xmlns:a16="http://schemas.microsoft.com/office/drawing/2014/main" id="{E9B6C172-69A2-D449-A233-CEE02D505C22}"/>
              </a:ext>
            </a:extLst>
          </p:cNvPr>
          <p:cNvSpPr>
            <a:spLocks noChangeArrowheads="1"/>
          </p:cNvSpPr>
          <p:nvPr/>
        </p:nvSpPr>
        <p:spPr bwMode="auto">
          <a:xfrm>
            <a:off x="6828930" y="5667677"/>
            <a:ext cx="308025" cy="323427"/>
          </a:xfrm>
          <a:custGeom>
            <a:avLst/>
            <a:gdLst/>
            <a:ahLst/>
            <a:cxnLst/>
            <a:rect l="0" t="0" r="r" b="b"/>
            <a:pathLst>
              <a:path w="284882" h="299678">
                <a:moveTo>
                  <a:pt x="261064" y="203200"/>
                </a:moveTo>
                <a:cubicBezTo>
                  <a:pt x="263629" y="203200"/>
                  <a:pt x="265827" y="205032"/>
                  <a:pt x="265827" y="207596"/>
                </a:cubicBezTo>
                <a:cubicBezTo>
                  <a:pt x="265827" y="210161"/>
                  <a:pt x="263629" y="212359"/>
                  <a:pt x="261064" y="212359"/>
                </a:cubicBezTo>
                <a:cubicBezTo>
                  <a:pt x="258500" y="212359"/>
                  <a:pt x="256668" y="210161"/>
                  <a:pt x="256668" y="207596"/>
                </a:cubicBezTo>
                <a:cubicBezTo>
                  <a:pt x="256668" y="205032"/>
                  <a:pt x="258500" y="203200"/>
                  <a:pt x="261064" y="203200"/>
                </a:cubicBezTo>
                <a:close/>
                <a:moveTo>
                  <a:pt x="39499" y="80817"/>
                </a:moveTo>
                <a:cubicBezTo>
                  <a:pt x="41662" y="79375"/>
                  <a:pt x="44545" y="80096"/>
                  <a:pt x="45626" y="82259"/>
                </a:cubicBezTo>
                <a:cubicBezTo>
                  <a:pt x="47068" y="84423"/>
                  <a:pt x="45987" y="87307"/>
                  <a:pt x="44185" y="88389"/>
                </a:cubicBezTo>
                <a:lnTo>
                  <a:pt x="13549" y="106056"/>
                </a:lnTo>
                <a:cubicBezTo>
                  <a:pt x="11387" y="107138"/>
                  <a:pt x="9945" y="109301"/>
                  <a:pt x="9224" y="111465"/>
                </a:cubicBezTo>
                <a:cubicBezTo>
                  <a:pt x="8503" y="113989"/>
                  <a:pt x="9224" y="116512"/>
                  <a:pt x="10305" y="118315"/>
                </a:cubicBezTo>
                <a:lnTo>
                  <a:pt x="107258" y="285976"/>
                </a:lnTo>
                <a:cubicBezTo>
                  <a:pt x="109781" y="290303"/>
                  <a:pt x="115187" y="292106"/>
                  <a:pt x="119512" y="289582"/>
                </a:cubicBezTo>
                <a:lnTo>
                  <a:pt x="199886" y="243070"/>
                </a:lnTo>
                <a:cubicBezTo>
                  <a:pt x="202048" y="241988"/>
                  <a:pt x="204571" y="242349"/>
                  <a:pt x="206013" y="244512"/>
                </a:cubicBezTo>
                <a:cubicBezTo>
                  <a:pt x="207094" y="246675"/>
                  <a:pt x="206373" y="249560"/>
                  <a:pt x="204571" y="251002"/>
                </a:cubicBezTo>
                <a:lnTo>
                  <a:pt x="123837" y="297154"/>
                </a:lnTo>
                <a:cubicBezTo>
                  <a:pt x="120954" y="298957"/>
                  <a:pt x="118071" y="299678"/>
                  <a:pt x="114827" y="299678"/>
                </a:cubicBezTo>
                <a:cubicBezTo>
                  <a:pt x="113385" y="299678"/>
                  <a:pt x="111583" y="299317"/>
                  <a:pt x="110142" y="298957"/>
                </a:cubicBezTo>
                <a:cubicBezTo>
                  <a:pt x="105456" y="297875"/>
                  <a:pt x="101491" y="294630"/>
                  <a:pt x="99329" y="290664"/>
                </a:cubicBezTo>
                <a:lnTo>
                  <a:pt x="2376" y="123003"/>
                </a:lnTo>
                <a:cubicBezTo>
                  <a:pt x="-147" y="118676"/>
                  <a:pt x="-507" y="113989"/>
                  <a:pt x="574" y="109301"/>
                </a:cubicBezTo>
                <a:cubicBezTo>
                  <a:pt x="2016" y="104614"/>
                  <a:pt x="4899" y="100648"/>
                  <a:pt x="9224" y="98124"/>
                </a:cubicBezTo>
                <a:lnTo>
                  <a:pt x="39499" y="80817"/>
                </a:lnTo>
                <a:close/>
                <a:moveTo>
                  <a:pt x="197930" y="67536"/>
                </a:moveTo>
                <a:cubicBezTo>
                  <a:pt x="188279" y="73625"/>
                  <a:pt x="153248" y="98696"/>
                  <a:pt x="153248" y="123409"/>
                </a:cubicBezTo>
                <a:cubicBezTo>
                  <a:pt x="153248" y="135586"/>
                  <a:pt x="162900" y="145614"/>
                  <a:pt x="175053" y="145614"/>
                </a:cubicBezTo>
                <a:cubicBezTo>
                  <a:pt x="182917" y="145614"/>
                  <a:pt x="190066" y="141316"/>
                  <a:pt x="193998" y="134869"/>
                </a:cubicBezTo>
                <a:cubicBezTo>
                  <a:pt x="194713" y="133079"/>
                  <a:pt x="196500" y="132362"/>
                  <a:pt x="197930" y="132362"/>
                </a:cubicBezTo>
                <a:cubicBezTo>
                  <a:pt x="199360" y="132362"/>
                  <a:pt x="201147" y="133079"/>
                  <a:pt x="201862" y="134869"/>
                </a:cubicBezTo>
                <a:cubicBezTo>
                  <a:pt x="205794" y="141316"/>
                  <a:pt x="212943" y="145614"/>
                  <a:pt x="220807" y="145614"/>
                </a:cubicBezTo>
                <a:cubicBezTo>
                  <a:pt x="232960" y="145614"/>
                  <a:pt x="242611" y="135586"/>
                  <a:pt x="242611" y="123409"/>
                </a:cubicBezTo>
                <a:cubicBezTo>
                  <a:pt x="242611" y="98696"/>
                  <a:pt x="207581" y="73625"/>
                  <a:pt x="197930" y="67536"/>
                </a:cubicBezTo>
                <a:close/>
                <a:moveTo>
                  <a:pt x="195428" y="58224"/>
                </a:moveTo>
                <a:cubicBezTo>
                  <a:pt x="196857" y="57150"/>
                  <a:pt x="198645" y="57150"/>
                  <a:pt x="200074" y="58224"/>
                </a:cubicBezTo>
                <a:cubicBezTo>
                  <a:pt x="202219" y="59299"/>
                  <a:pt x="251547" y="90100"/>
                  <a:pt x="251547" y="123409"/>
                </a:cubicBezTo>
                <a:cubicBezTo>
                  <a:pt x="251547" y="140600"/>
                  <a:pt x="237607" y="154568"/>
                  <a:pt x="220807" y="154568"/>
                </a:cubicBezTo>
                <a:cubicBezTo>
                  <a:pt x="214015" y="154568"/>
                  <a:pt x="207581" y="152419"/>
                  <a:pt x="202219" y="148479"/>
                </a:cubicBezTo>
                <a:lnTo>
                  <a:pt x="202219" y="165313"/>
                </a:lnTo>
                <a:lnTo>
                  <a:pt x="205436" y="165313"/>
                </a:lnTo>
                <a:cubicBezTo>
                  <a:pt x="207938" y="165313"/>
                  <a:pt x="210083" y="167462"/>
                  <a:pt x="210083" y="169969"/>
                </a:cubicBezTo>
                <a:cubicBezTo>
                  <a:pt x="210083" y="172476"/>
                  <a:pt x="207938" y="174267"/>
                  <a:pt x="205436" y="174267"/>
                </a:cubicBezTo>
                <a:lnTo>
                  <a:pt x="190423" y="174267"/>
                </a:lnTo>
                <a:cubicBezTo>
                  <a:pt x="187564" y="174267"/>
                  <a:pt x="185776" y="172476"/>
                  <a:pt x="185776" y="169969"/>
                </a:cubicBezTo>
                <a:cubicBezTo>
                  <a:pt x="185776" y="167462"/>
                  <a:pt x="187564" y="165313"/>
                  <a:pt x="190423" y="165313"/>
                </a:cubicBezTo>
                <a:lnTo>
                  <a:pt x="193283" y="165313"/>
                </a:lnTo>
                <a:lnTo>
                  <a:pt x="193283" y="148479"/>
                </a:lnTo>
                <a:cubicBezTo>
                  <a:pt x="188279" y="152419"/>
                  <a:pt x="181487" y="154568"/>
                  <a:pt x="175053" y="154568"/>
                </a:cubicBezTo>
                <a:cubicBezTo>
                  <a:pt x="157895" y="154568"/>
                  <a:pt x="143955" y="140600"/>
                  <a:pt x="143955" y="123409"/>
                </a:cubicBezTo>
                <a:cubicBezTo>
                  <a:pt x="143955" y="90100"/>
                  <a:pt x="193283" y="59299"/>
                  <a:pt x="195428" y="58224"/>
                </a:cubicBezTo>
                <a:close/>
                <a:moveTo>
                  <a:pt x="95743" y="32470"/>
                </a:moveTo>
                <a:cubicBezTo>
                  <a:pt x="97890" y="31750"/>
                  <a:pt x="100395" y="33549"/>
                  <a:pt x="101111" y="35709"/>
                </a:cubicBezTo>
                <a:cubicBezTo>
                  <a:pt x="101469" y="38228"/>
                  <a:pt x="100037" y="40747"/>
                  <a:pt x="97890" y="41107"/>
                </a:cubicBezTo>
                <a:lnTo>
                  <a:pt x="66397" y="49745"/>
                </a:lnTo>
                <a:cubicBezTo>
                  <a:pt x="63892" y="50105"/>
                  <a:pt x="62103" y="51904"/>
                  <a:pt x="61029" y="53704"/>
                </a:cubicBezTo>
                <a:cubicBezTo>
                  <a:pt x="59955" y="55863"/>
                  <a:pt x="59598" y="58382"/>
                  <a:pt x="59955" y="60902"/>
                </a:cubicBezTo>
                <a:lnTo>
                  <a:pt x="109700" y="247330"/>
                </a:lnTo>
                <a:cubicBezTo>
                  <a:pt x="111132" y="252368"/>
                  <a:pt x="115784" y="255248"/>
                  <a:pt x="120794" y="253808"/>
                </a:cubicBezTo>
                <a:lnTo>
                  <a:pt x="167676" y="241571"/>
                </a:lnTo>
                <a:cubicBezTo>
                  <a:pt x="169823" y="240852"/>
                  <a:pt x="172328" y="241931"/>
                  <a:pt x="173044" y="244451"/>
                </a:cubicBezTo>
                <a:cubicBezTo>
                  <a:pt x="173760" y="246970"/>
                  <a:pt x="172328" y="249489"/>
                  <a:pt x="169823" y="249849"/>
                </a:cubicBezTo>
                <a:lnTo>
                  <a:pt x="122942" y="262446"/>
                </a:lnTo>
                <a:cubicBezTo>
                  <a:pt x="121510" y="262805"/>
                  <a:pt x="120079" y="263165"/>
                  <a:pt x="118647" y="263165"/>
                </a:cubicBezTo>
                <a:cubicBezTo>
                  <a:pt x="110416" y="263165"/>
                  <a:pt x="103258" y="257767"/>
                  <a:pt x="101111" y="249849"/>
                </a:cubicBezTo>
                <a:lnTo>
                  <a:pt x="51366" y="63061"/>
                </a:lnTo>
                <a:cubicBezTo>
                  <a:pt x="50293" y="58382"/>
                  <a:pt x="50651" y="53704"/>
                  <a:pt x="53156" y="49385"/>
                </a:cubicBezTo>
                <a:cubicBezTo>
                  <a:pt x="55661" y="45066"/>
                  <a:pt x="59598" y="42187"/>
                  <a:pt x="63892" y="41107"/>
                </a:cubicBezTo>
                <a:lnTo>
                  <a:pt x="95743" y="32470"/>
                </a:lnTo>
                <a:close/>
                <a:moveTo>
                  <a:pt x="135651" y="19050"/>
                </a:moveTo>
                <a:cubicBezTo>
                  <a:pt x="138215" y="19050"/>
                  <a:pt x="140413" y="20881"/>
                  <a:pt x="140413" y="23446"/>
                </a:cubicBezTo>
                <a:cubicBezTo>
                  <a:pt x="140413" y="26010"/>
                  <a:pt x="138215" y="28208"/>
                  <a:pt x="135651" y="28208"/>
                </a:cubicBezTo>
                <a:cubicBezTo>
                  <a:pt x="133453" y="28208"/>
                  <a:pt x="131255" y="26010"/>
                  <a:pt x="131255" y="23446"/>
                </a:cubicBezTo>
                <a:cubicBezTo>
                  <a:pt x="131255" y="20881"/>
                  <a:pt x="133453" y="19050"/>
                  <a:pt x="135651" y="19050"/>
                </a:cubicBezTo>
                <a:close/>
                <a:moveTo>
                  <a:pt x="131840" y="9006"/>
                </a:moveTo>
                <a:cubicBezTo>
                  <a:pt x="126787" y="9006"/>
                  <a:pt x="122816" y="13328"/>
                  <a:pt x="122816" y="18372"/>
                </a:cubicBezTo>
                <a:lnTo>
                  <a:pt x="122816" y="211816"/>
                </a:lnTo>
                <a:cubicBezTo>
                  <a:pt x="122816" y="216860"/>
                  <a:pt x="126787" y="220822"/>
                  <a:pt x="131840" y="220822"/>
                </a:cubicBezTo>
                <a:lnTo>
                  <a:pt x="266835" y="220822"/>
                </a:lnTo>
                <a:cubicBezTo>
                  <a:pt x="271888" y="220822"/>
                  <a:pt x="275859" y="216860"/>
                  <a:pt x="275859" y="211816"/>
                </a:cubicBezTo>
                <a:lnTo>
                  <a:pt x="275859" y="18372"/>
                </a:lnTo>
                <a:cubicBezTo>
                  <a:pt x="275859" y="13328"/>
                  <a:pt x="271888" y="9006"/>
                  <a:pt x="266835" y="9006"/>
                </a:cubicBezTo>
                <a:lnTo>
                  <a:pt x="131840" y="9006"/>
                </a:lnTo>
                <a:close/>
                <a:moveTo>
                  <a:pt x="131840" y="0"/>
                </a:moveTo>
                <a:lnTo>
                  <a:pt x="266835" y="0"/>
                </a:lnTo>
                <a:cubicBezTo>
                  <a:pt x="276941" y="0"/>
                  <a:pt x="284882" y="8285"/>
                  <a:pt x="284882" y="18372"/>
                </a:cubicBezTo>
                <a:lnTo>
                  <a:pt x="284882" y="211816"/>
                </a:lnTo>
                <a:cubicBezTo>
                  <a:pt x="284882" y="221543"/>
                  <a:pt x="276941" y="229828"/>
                  <a:pt x="266835" y="229828"/>
                </a:cubicBezTo>
                <a:lnTo>
                  <a:pt x="131840" y="229828"/>
                </a:lnTo>
                <a:cubicBezTo>
                  <a:pt x="121734" y="229828"/>
                  <a:pt x="113793" y="221543"/>
                  <a:pt x="113793" y="211816"/>
                </a:cubicBezTo>
                <a:lnTo>
                  <a:pt x="113793" y="18372"/>
                </a:lnTo>
                <a:cubicBezTo>
                  <a:pt x="113793" y="8285"/>
                  <a:pt x="121734" y="0"/>
                  <a:pt x="131840"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46" name="Subtitle 2">
            <a:extLst>
              <a:ext uri="{FF2B5EF4-FFF2-40B4-BE49-F238E27FC236}">
                <a16:creationId xmlns:a16="http://schemas.microsoft.com/office/drawing/2014/main" id="{CBF749C7-3947-124A-8E78-FCF5767165A9}"/>
              </a:ext>
            </a:extLst>
          </p:cNvPr>
          <p:cNvSpPr txBox="1">
            <a:spLocks/>
          </p:cNvSpPr>
          <p:nvPr/>
        </p:nvSpPr>
        <p:spPr>
          <a:xfrm>
            <a:off x="1897816" y="2383386"/>
            <a:ext cx="3495076" cy="484941"/>
          </a:xfrm>
          <a:prstGeom prst="rect">
            <a:avLst/>
          </a:prstGeom>
        </p:spPr>
        <p:txBody>
          <a:bodyPr vert="horz" wrap="square" lIns="45720" tIns="22860" rIns="45720" bIns="22860" rtlCol="0" anchor="ctr">
            <a:spAutoFit/>
          </a:bodyPr>
          <a:lstStyle>
            <a:defPPr>
              <a:defRPr lang="de-DE"/>
            </a:defPPr>
            <a:lvl1pPr indent="0" defTabSz="1087636">
              <a:lnSpc>
                <a:spcPts val="1750"/>
              </a:lnSpc>
              <a:spcBef>
                <a:spcPct val="20000"/>
              </a:spcBef>
              <a:buFont typeface="Arial"/>
              <a:buNone/>
              <a:defRPr sz="1200">
                <a:solidFill>
                  <a:schemeClr val="bg1">
                    <a:lumMod val="50000"/>
                  </a:schemeClr>
                </a:solidFill>
                <a:latin typeface="Segoe UI Light" panose="020B0502040204020203" pitchFamily="34" charset="0"/>
                <a:ea typeface="Lato Light" panose="020F0502020204030203" pitchFamily="34" charset="0"/>
                <a:cs typeface="Lato Light" panose="020F0502020204030203"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met, consectetuer adipiscing elit. Aenean commodo ligula eget dolor.</a:t>
            </a:r>
          </a:p>
        </p:txBody>
      </p:sp>
      <p:sp>
        <p:nvSpPr>
          <p:cNvPr id="47" name="Subtitle 2">
            <a:extLst>
              <a:ext uri="{FF2B5EF4-FFF2-40B4-BE49-F238E27FC236}">
                <a16:creationId xmlns:a16="http://schemas.microsoft.com/office/drawing/2014/main" id="{8BDA0FC2-2D2A-EF4D-BC48-E898D1DBBE98}"/>
              </a:ext>
            </a:extLst>
          </p:cNvPr>
          <p:cNvSpPr txBox="1">
            <a:spLocks/>
          </p:cNvSpPr>
          <p:nvPr/>
        </p:nvSpPr>
        <p:spPr>
          <a:xfrm>
            <a:off x="1897816" y="3186530"/>
            <a:ext cx="3495076"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lumMod val="50000"/>
                  </a:schemeClr>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adipiscing elit. Aenean commodo ligula eget dolor.</a:t>
            </a:r>
          </a:p>
        </p:txBody>
      </p:sp>
      <p:sp>
        <p:nvSpPr>
          <p:cNvPr id="50" name="Subtitle 2">
            <a:extLst>
              <a:ext uri="{FF2B5EF4-FFF2-40B4-BE49-F238E27FC236}">
                <a16:creationId xmlns:a16="http://schemas.microsoft.com/office/drawing/2014/main" id="{FECBB0CB-AA25-8D49-A987-5BE45C32A576}"/>
              </a:ext>
            </a:extLst>
          </p:cNvPr>
          <p:cNvSpPr txBox="1">
            <a:spLocks/>
          </p:cNvSpPr>
          <p:nvPr/>
        </p:nvSpPr>
        <p:spPr>
          <a:xfrm>
            <a:off x="1897816" y="3983274"/>
            <a:ext cx="3495076"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lumMod val="50000"/>
                  </a:schemeClr>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adipiscing elit. Aenean commodo ligula eget dolor.</a:t>
            </a:r>
          </a:p>
        </p:txBody>
      </p:sp>
      <p:sp>
        <p:nvSpPr>
          <p:cNvPr id="51" name="Subtitle 2">
            <a:extLst>
              <a:ext uri="{FF2B5EF4-FFF2-40B4-BE49-F238E27FC236}">
                <a16:creationId xmlns:a16="http://schemas.microsoft.com/office/drawing/2014/main" id="{439F6C61-917B-4E4F-875C-0B767294B845}"/>
              </a:ext>
            </a:extLst>
          </p:cNvPr>
          <p:cNvSpPr txBox="1">
            <a:spLocks/>
          </p:cNvSpPr>
          <p:nvPr/>
        </p:nvSpPr>
        <p:spPr>
          <a:xfrm>
            <a:off x="1897816" y="4788907"/>
            <a:ext cx="3495076"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lumMod val="50000"/>
                  </a:schemeClr>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adipiscing elit. Aenean commodo ligula eget dolor.</a:t>
            </a:r>
          </a:p>
        </p:txBody>
      </p:sp>
      <p:sp>
        <p:nvSpPr>
          <p:cNvPr id="52" name="Subtitle 2">
            <a:extLst>
              <a:ext uri="{FF2B5EF4-FFF2-40B4-BE49-F238E27FC236}">
                <a16:creationId xmlns:a16="http://schemas.microsoft.com/office/drawing/2014/main" id="{18BC4B07-6B96-3342-BA89-8FE00ACA0FC0}"/>
              </a:ext>
            </a:extLst>
          </p:cNvPr>
          <p:cNvSpPr txBox="1">
            <a:spLocks/>
          </p:cNvSpPr>
          <p:nvPr/>
        </p:nvSpPr>
        <p:spPr>
          <a:xfrm>
            <a:off x="1897816" y="5586921"/>
            <a:ext cx="3495076"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lumMod val="50000"/>
                  </a:schemeClr>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adipiscing elit. Aenean commodo ligula eget dolor.</a:t>
            </a:r>
          </a:p>
        </p:txBody>
      </p:sp>
      <p:sp>
        <p:nvSpPr>
          <p:cNvPr id="53" name="Subtitle 2">
            <a:extLst>
              <a:ext uri="{FF2B5EF4-FFF2-40B4-BE49-F238E27FC236}">
                <a16:creationId xmlns:a16="http://schemas.microsoft.com/office/drawing/2014/main" id="{F7AC84C5-CF41-6F43-B1B1-3DC00BD4CB97}"/>
              </a:ext>
            </a:extLst>
          </p:cNvPr>
          <p:cNvSpPr txBox="1">
            <a:spLocks/>
          </p:cNvSpPr>
          <p:nvPr/>
        </p:nvSpPr>
        <p:spPr>
          <a:xfrm>
            <a:off x="7389658" y="2383386"/>
            <a:ext cx="3495076"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lumMod val="50000"/>
                  </a:schemeClr>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adipiscing elit. Aenean commodo ligula eget dolor.</a:t>
            </a:r>
          </a:p>
        </p:txBody>
      </p:sp>
      <p:sp>
        <p:nvSpPr>
          <p:cNvPr id="54" name="Subtitle 2">
            <a:extLst>
              <a:ext uri="{FF2B5EF4-FFF2-40B4-BE49-F238E27FC236}">
                <a16:creationId xmlns:a16="http://schemas.microsoft.com/office/drawing/2014/main" id="{196753E0-4E34-974E-B702-83850DC33ACC}"/>
              </a:ext>
            </a:extLst>
          </p:cNvPr>
          <p:cNvSpPr txBox="1">
            <a:spLocks/>
          </p:cNvSpPr>
          <p:nvPr/>
        </p:nvSpPr>
        <p:spPr>
          <a:xfrm>
            <a:off x="7389658" y="3186530"/>
            <a:ext cx="3495076"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lumMod val="50000"/>
                  </a:schemeClr>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adipiscing elit. Aenean commodo ligula eget dolor.</a:t>
            </a:r>
          </a:p>
        </p:txBody>
      </p:sp>
      <p:sp>
        <p:nvSpPr>
          <p:cNvPr id="55" name="Subtitle 2">
            <a:extLst>
              <a:ext uri="{FF2B5EF4-FFF2-40B4-BE49-F238E27FC236}">
                <a16:creationId xmlns:a16="http://schemas.microsoft.com/office/drawing/2014/main" id="{4708E119-EA15-B640-97F1-E99263C32B8A}"/>
              </a:ext>
            </a:extLst>
          </p:cNvPr>
          <p:cNvSpPr txBox="1">
            <a:spLocks/>
          </p:cNvSpPr>
          <p:nvPr/>
        </p:nvSpPr>
        <p:spPr>
          <a:xfrm>
            <a:off x="7389658" y="3983274"/>
            <a:ext cx="3495076"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lumMod val="50000"/>
                  </a:schemeClr>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adipiscing elit. Aenean commodo ligula eget dolor.</a:t>
            </a:r>
          </a:p>
        </p:txBody>
      </p:sp>
      <p:sp>
        <p:nvSpPr>
          <p:cNvPr id="56" name="Subtitle 2">
            <a:extLst>
              <a:ext uri="{FF2B5EF4-FFF2-40B4-BE49-F238E27FC236}">
                <a16:creationId xmlns:a16="http://schemas.microsoft.com/office/drawing/2014/main" id="{6F6A9778-CDB7-8542-BEA7-F4E4E85FA722}"/>
              </a:ext>
            </a:extLst>
          </p:cNvPr>
          <p:cNvSpPr txBox="1">
            <a:spLocks/>
          </p:cNvSpPr>
          <p:nvPr/>
        </p:nvSpPr>
        <p:spPr>
          <a:xfrm>
            <a:off x="7389658" y="4788907"/>
            <a:ext cx="3495076"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lumMod val="50000"/>
                  </a:schemeClr>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adipiscing elit. Aenean commodo ligula eget dolor.</a:t>
            </a:r>
          </a:p>
        </p:txBody>
      </p:sp>
      <p:sp>
        <p:nvSpPr>
          <p:cNvPr id="57" name="Subtitle 2">
            <a:extLst>
              <a:ext uri="{FF2B5EF4-FFF2-40B4-BE49-F238E27FC236}">
                <a16:creationId xmlns:a16="http://schemas.microsoft.com/office/drawing/2014/main" id="{B4730610-8C43-AC4D-A041-EAF334A8BFED}"/>
              </a:ext>
            </a:extLst>
          </p:cNvPr>
          <p:cNvSpPr txBox="1">
            <a:spLocks/>
          </p:cNvSpPr>
          <p:nvPr/>
        </p:nvSpPr>
        <p:spPr>
          <a:xfrm>
            <a:off x="7389658" y="5586921"/>
            <a:ext cx="3495076"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lumMod val="50000"/>
                  </a:schemeClr>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adipiscing elit. Aenean commodo ligula eget dolor.</a:t>
            </a:r>
          </a:p>
        </p:txBody>
      </p:sp>
      <p:sp>
        <p:nvSpPr>
          <p:cNvPr id="58" name="TextBox 57">
            <a:extLst>
              <a:ext uri="{FF2B5EF4-FFF2-40B4-BE49-F238E27FC236}">
                <a16:creationId xmlns:a16="http://schemas.microsoft.com/office/drawing/2014/main" id="{4CBF6C0E-7DE5-FC41-8940-644E34B76DE8}"/>
              </a:ext>
            </a:extLst>
          </p:cNvPr>
          <p:cNvSpPr txBox="1"/>
          <p:nvPr/>
        </p:nvSpPr>
        <p:spPr>
          <a:xfrm>
            <a:off x="2777646" y="1568522"/>
            <a:ext cx="1144865" cy="338554"/>
          </a:xfrm>
          <a:prstGeom prst="rect">
            <a:avLst/>
          </a:prstGeom>
          <a:noFill/>
        </p:spPr>
        <p:txBody>
          <a:bodyPr wrap="none" rtlCol="0" anchor="ctr"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OPTION 01</a:t>
            </a:r>
          </a:p>
        </p:txBody>
      </p:sp>
      <p:sp>
        <p:nvSpPr>
          <p:cNvPr id="59" name="TextBox 58">
            <a:extLst>
              <a:ext uri="{FF2B5EF4-FFF2-40B4-BE49-F238E27FC236}">
                <a16:creationId xmlns:a16="http://schemas.microsoft.com/office/drawing/2014/main" id="{3725B544-4E10-B54E-822C-7EEA5EF1AADA}"/>
              </a:ext>
            </a:extLst>
          </p:cNvPr>
          <p:cNvSpPr txBox="1"/>
          <p:nvPr/>
        </p:nvSpPr>
        <p:spPr>
          <a:xfrm>
            <a:off x="8253458" y="1568522"/>
            <a:ext cx="1176925" cy="338554"/>
          </a:xfrm>
          <a:prstGeom prst="rect">
            <a:avLst/>
          </a:prstGeom>
          <a:noFill/>
        </p:spPr>
        <p:txBody>
          <a:bodyPr wrap="none" rtlCol="0" anchor="ctr"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OPTION 02</a:t>
            </a:r>
          </a:p>
        </p:txBody>
      </p:sp>
      <p:sp>
        <p:nvSpPr>
          <p:cNvPr id="62" name="Titel 1">
            <a:extLst>
              <a:ext uri="{FF2B5EF4-FFF2-40B4-BE49-F238E27FC236}">
                <a16:creationId xmlns:a16="http://schemas.microsoft.com/office/drawing/2014/main" id="{48619942-DE46-49BB-8A10-34E4C521038F}"/>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2-option comparison</a:t>
            </a:r>
          </a:p>
        </p:txBody>
      </p:sp>
    </p:spTree>
    <p:custDataLst>
      <p:tags r:id="rId1"/>
    </p:custDataLst>
    <p:extLst>
      <p:ext uri="{BB962C8B-B14F-4D97-AF65-F5344CB8AC3E}">
        <p14:creationId xmlns:p14="http://schemas.microsoft.com/office/powerpoint/2010/main" val="3177127210"/>
      </p:ext>
    </p:extLst>
  </p:cSld>
  <p:clrMapOvr>
    <a:masterClrMapping/>
  </p:clrMapOvr>
  <mc:AlternateContent xmlns:mc="http://schemas.openxmlformats.org/markup-compatibility/2006" xmlns:p14="http://schemas.microsoft.com/office/powerpoint/2010/main">
    <mc:Choice Requires="p14">
      <p:transition spd="med">
        <p14:pan/>
      </p:transition>
    </mc:Choice>
    <mc:Fallback xmlns:a16="http://schemas.microsoft.com/office/drawing/2014/main"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ight Arrow 3">
            <a:extLst>
              <a:ext uri="{FF2B5EF4-FFF2-40B4-BE49-F238E27FC236}">
                <a16:creationId xmlns:a16="http://schemas.microsoft.com/office/drawing/2014/main" id="{2F1C3EEF-05C1-EC44-8167-46BC540656D3}"/>
              </a:ext>
            </a:extLst>
          </p:cNvPr>
          <p:cNvSpPr/>
          <p:nvPr/>
        </p:nvSpPr>
        <p:spPr>
          <a:xfrm>
            <a:off x="8535110" y="1493520"/>
            <a:ext cx="2399869" cy="1676400"/>
          </a:xfrm>
          <a:prstGeom prst="rightArrow">
            <a:avLst>
              <a:gd name="adj1" fmla="val 50000"/>
              <a:gd name="adj2" fmla="val 72727"/>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5" name="Left Arrow 4">
            <a:extLst>
              <a:ext uri="{FF2B5EF4-FFF2-40B4-BE49-F238E27FC236}">
                <a16:creationId xmlns:a16="http://schemas.microsoft.com/office/drawing/2014/main" id="{7A2D170D-92D8-CA45-965B-BCBB9746CCDC}"/>
              </a:ext>
            </a:extLst>
          </p:cNvPr>
          <p:cNvSpPr/>
          <p:nvPr/>
        </p:nvSpPr>
        <p:spPr>
          <a:xfrm>
            <a:off x="1257022" y="1493520"/>
            <a:ext cx="2482411" cy="1676400"/>
          </a:xfrm>
          <a:prstGeom prst="leftArrow">
            <a:avLst>
              <a:gd name="adj1" fmla="val 50000"/>
              <a:gd name="adj2" fmla="val 74545"/>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6" name="TextBox 5">
            <a:extLst>
              <a:ext uri="{FF2B5EF4-FFF2-40B4-BE49-F238E27FC236}">
                <a16:creationId xmlns:a16="http://schemas.microsoft.com/office/drawing/2014/main" id="{814B8D85-F0F3-2D4E-82C6-F19672C9D86A}"/>
              </a:ext>
            </a:extLst>
          </p:cNvPr>
          <p:cNvSpPr txBox="1"/>
          <p:nvPr/>
        </p:nvSpPr>
        <p:spPr>
          <a:xfrm>
            <a:off x="8926703" y="2054721"/>
            <a:ext cx="1213730" cy="553998"/>
          </a:xfrm>
          <a:prstGeom prst="rect">
            <a:avLst/>
          </a:prstGeom>
          <a:noFill/>
        </p:spPr>
        <p:txBody>
          <a:bodyPr wrap="none" rtlCol="0" anchor="ctr">
            <a:spAutoFit/>
          </a:bodyPr>
          <a:lstStyle/>
          <a:p>
            <a:pPr algn="ctr"/>
            <a:r>
              <a:rPr lang="en-US" sz="3000" b="1" dirty="0">
                <a:solidFill>
                  <a:schemeClr val="bg1"/>
                </a:solidFill>
                <a:latin typeface="Segoe UI Light" panose="020B0502040204020203" pitchFamily="34" charset="0"/>
                <a:cs typeface="Poppins" pitchFamily="2" charset="77"/>
              </a:rPr>
              <a:t>CONS</a:t>
            </a:r>
          </a:p>
        </p:txBody>
      </p:sp>
      <p:sp>
        <p:nvSpPr>
          <p:cNvPr id="7" name="TextBox 6">
            <a:extLst>
              <a:ext uri="{FF2B5EF4-FFF2-40B4-BE49-F238E27FC236}">
                <a16:creationId xmlns:a16="http://schemas.microsoft.com/office/drawing/2014/main" id="{D25B4111-3D3E-E645-9028-F7689F861EA2}"/>
              </a:ext>
            </a:extLst>
          </p:cNvPr>
          <p:cNvSpPr txBox="1"/>
          <p:nvPr/>
        </p:nvSpPr>
        <p:spPr>
          <a:xfrm>
            <a:off x="2194993" y="2054721"/>
            <a:ext cx="1091966" cy="553998"/>
          </a:xfrm>
          <a:prstGeom prst="rect">
            <a:avLst/>
          </a:prstGeom>
          <a:noFill/>
        </p:spPr>
        <p:txBody>
          <a:bodyPr wrap="none" rtlCol="0" anchor="ctr">
            <a:spAutoFit/>
          </a:bodyPr>
          <a:lstStyle/>
          <a:p>
            <a:pPr algn="ctr"/>
            <a:r>
              <a:rPr lang="en-US" sz="3000" b="1" dirty="0">
                <a:solidFill>
                  <a:schemeClr val="bg1"/>
                </a:solidFill>
                <a:latin typeface="Segoe UI Light" panose="020B0502040204020203" pitchFamily="34" charset="0"/>
                <a:cs typeface="Poppins" pitchFamily="2" charset="77"/>
              </a:rPr>
              <a:t>PROS</a:t>
            </a:r>
          </a:p>
        </p:txBody>
      </p:sp>
      <p:sp>
        <p:nvSpPr>
          <p:cNvPr id="8" name="Oval 7">
            <a:extLst>
              <a:ext uri="{FF2B5EF4-FFF2-40B4-BE49-F238E27FC236}">
                <a16:creationId xmlns:a16="http://schemas.microsoft.com/office/drawing/2014/main" id="{AA036737-C2DE-F046-ACAA-149BEC2B6835}"/>
              </a:ext>
            </a:extLst>
          </p:cNvPr>
          <p:cNvSpPr/>
          <p:nvPr/>
        </p:nvSpPr>
        <p:spPr>
          <a:xfrm>
            <a:off x="3656890" y="3445563"/>
            <a:ext cx="807720" cy="8077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900" dirty="0">
              <a:latin typeface="Lato Light" panose="020F0502020204030203" pitchFamily="34" charset="0"/>
            </a:endParaRPr>
          </a:p>
        </p:txBody>
      </p:sp>
      <p:sp>
        <p:nvSpPr>
          <p:cNvPr id="9" name="Oval 8">
            <a:extLst>
              <a:ext uri="{FF2B5EF4-FFF2-40B4-BE49-F238E27FC236}">
                <a16:creationId xmlns:a16="http://schemas.microsoft.com/office/drawing/2014/main" id="{8879EF00-48FD-9944-B1BC-02C219A52D9B}"/>
              </a:ext>
            </a:extLst>
          </p:cNvPr>
          <p:cNvSpPr/>
          <p:nvPr/>
        </p:nvSpPr>
        <p:spPr>
          <a:xfrm>
            <a:off x="3656890" y="4541521"/>
            <a:ext cx="807720" cy="8077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900" dirty="0">
              <a:latin typeface="Lato Light" panose="020F0502020204030203" pitchFamily="34" charset="0"/>
            </a:endParaRPr>
          </a:p>
        </p:txBody>
      </p:sp>
      <p:sp>
        <p:nvSpPr>
          <p:cNvPr id="10" name="Oval 9">
            <a:extLst>
              <a:ext uri="{FF2B5EF4-FFF2-40B4-BE49-F238E27FC236}">
                <a16:creationId xmlns:a16="http://schemas.microsoft.com/office/drawing/2014/main" id="{3ED35123-3E75-9D4C-A493-649AA8E16906}"/>
              </a:ext>
            </a:extLst>
          </p:cNvPr>
          <p:cNvSpPr/>
          <p:nvPr/>
        </p:nvSpPr>
        <p:spPr>
          <a:xfrm>
            <a:off x="3656890" y="5637479"/>
            <a:ext cx="807720" cy="8077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900" dirty="0">
              <a:latin typeface="Lato Light" panose="020F0502020204030203" pitchFamily="34" charset="0"/>
            </a:endParaRPr>
          </a:p>
        </p:txBody>
      </p:sp>
      <p:sp>
        <p:nvSpPr>
          <p:cNvPr id="11" name="Freeform 739">
            <a:extLst>
              <a:ext uri="{FF2B5EF4-FFF2-40B4-BE49-F238E27FC236}">
                <a16:creationId xmlns:a16="http://schemas.microsoft.com/office/drawing/2014/main" id="{F4CFEADC-1CEB-EF41-8A91-738A2D20E795}"/>
              </a:ext>
            </a:extLst>
          </p:cNvPr>
          <p:cNvSpPr>
            <a:spLocks noChangeArrowheads="1"/>
          </p:cNvSpPr>
          <p:nvPr/>
        </p:nvSpPr>
        <p:spPr bwMode="auto">
          <a:xfrm>
            <a:off x="3865030" y="3653703"/>
            <a:ext cx="387276" cy="391440"/>
          </a:xfrm>
          <a:custGeom>
            <a:avLst/>
            <a:gdLst/>
            <a:ahLst/>
            <a:cxnLst/>
            <a:rect l="0" t="0" r="r" b="b"/>
            <a:pathLst>
              <a:path w="294916" h="298090">
                <a:moveTo>
                  <a:pt x="209423" y="175177"/>
                </a:moveTo>
                <a:lnTo>
                  <a:pt x="209423" y="223477"/>
                </a:lnTo>
                <a:cubicBezTo>
                  <a:pt x="209423" y="244744"/>
                  <a:pt x="226306" y="262045"/>
                  <a:pt x="247499" y="262045"/>
                </a:cubicBezTo>
                <a:cubicBezTo>
                  <a:pt x="268693" y="262045"/>
                  <a:pt x="285936" y="244744"/>
                  <a:pt x="285936" y="223477"/>
                </a:cubicBezTo>
                <a:lnTo>
                  <a:pt x="285936" y="175177"/>
                </a:lnTo>
                <a:cubicBezTo>
                  <a:pt x="274800" y="182747"/>
                  <a:pt x="261150" y="186351"/>
                  <a:pt x="247859" y="186351"/>
                </a:cubicBezTo>
                <a:cubicBezTo>
                  <a:pt x="234209" y="186351"/>
                  <a:pt x="220558" y="182747"/>
                  <a:pt x="209423" y="175177"/>
                </a:cubicBezTo>
                <a:close/>
                <a:moveTo>
                  <a:pt x="58555" y="164647"/>
                </a:moveTo>
                <a:cubicBezTo>
                  <a:pt x="49784" y="164647"/>
                  <a:pt x="42475" y="171541"/>
                  <a:pt x="42475" y="180612"/>
                </a:cubicBezTo>
                <a:cubicBezTo>
                  <a:pt x="42475" y="189321"/>
                  <a:pt x="49784" y="196578"/>
                  <a:pt x="58555" y="196578"/>
                </a:cubicBezTo>
                <a:cubicBezTo>
                  <a:pt x="67692" y="196578"/>
                  <a:pt x="75001" y="189321"/>
                  <a:pt x="75001" y="180612"/>
                </a:cubicBezTo>
                <a:cubicBezTo>
                  <a:pt x="75001" y="171541"/>
                  <a:pt x="67692" y="164647"/>
                  <a:pt x="58555" y="164647"/>
                </a:cubicBezTo>
                <a:close/>
                <a:moveTo>
                  <a:pt x="58555" y="155575"/>
                </a:moveTo>
                <a:cubicBezTo>
                  <a:pt x="72443" y="155575"/>
                  <a:pt x="83773" y="166824"/>
                  <a:pt x="83773" y="180612"/>
                </a:cubicBezTo>
                <a:cubicBezTo>
                  <a:pt x="83773" y="194401"/>
                  <a:pt x="72443" y="206012"/>
                  <a:pt x="58555" y="206012"/>
                </a:cubicBezTo>
                <a:cubicBezTo>
                  <a:pt x="44668" y="206012"/>
                  <a:pt x="33338" y="194401"/>
                  <a:pt x="33338" y="180612"/>
                </a:cubicBezTo>
                <a:cubicBezTo>
                  <a:pt x="33338" y="166824"/>
                  <a:pt x="44668" y="155575"/>
                  <a:pt x="58555" y="155575"/>
                </a:cubicBezTo>
                <a:close/>
                <a:moveTo>
                  <a:pt x="249238" y="130175"/>
                </a:moveTo>
                <a:cubicBezTo>
                  <a:pt x="251436" y="130175"/>
                  <a:pt x="253634" y="132366"/>
                  <a:pt x="253634" y="134921"/>
                </a:cubicBezTo>
                <a:lnTo>
                  <a:pt x="253634" y="161942"/>
                </a:lnTo>
                <a:cubicBezTo>
                  <a:pt x="253634" y="164132"/>
                  <a:pt x="251436" y="166323"/>
                  <a:pt x="249238" y="166323"/>
                </a:cubicBezTo>
                <a:cubicBezTo>
                  <a:pt x="246307" y="166323"/>
                  <a:pt x="244475" y="164132"/>
                  <a:pt x="244475" y="161942"/>
                </a:cubicBezTo>
                <a:lnTo>
                  <a:pt x="244475" y="134921"/>
                </a:lnTo>
                <a:cubicBezTo>
                  <a:pt x="244475" y="132366"/>
                  <a:pt x="246307" y="130175"/>
                  <a:pt x="249238" y="130175"/>
                </a:cubicBezTo>
                <a:close/>
                <a:moveTo>
                  <a:pt x="247499" y="118226"/>
                </a:moveTo>
                <a:cubicBezTo>
                  <a:pt x="226306" y="118226"/>
                  <a:pt x="209423" y="135528"/>
                  <a:pt x="209423" y="156434"/>
                </a:cubicBezTo>
                <a:lnTo>
                  <a:pt x="209423" y="164004"/>
                </a:lnTo>
                <a:cubicBezTo>
                  <a:pt x="230616" y="181665"/>
                  <a:pt x="264383" y="181665"/>
                  <a:pt x="285936" y="164004"/>
                </a:cubicBezTo>
                <a:lnTo>
                  <a:pt x="285936" y="156434"/>
                </a:lnTo>
                <a:cubicBezTo>
                  <a:pt x="285936" y="135528"/>
                  <a:pt x="268693" y="118226"/>
                  <a:pt x="247859" y="118226"/>
                </a:cubicBezTo>
                <a:lnTo>
                  <a:pt x="247499" y="118226"/>
                </a:lnTo>
                <a:close/>
                <a:moveTo>
                  <a:pt x="58911" y="0"/>
                </a:moveTo>
                <a:cubicBezTo>
                  <a:pt x="59989" y="0"/>
                  <a:pt x="61067" y="360"/>
                  <a:pt x="62144" y="1081"/>
                </a:cubicBezTo>
                <a:lnTo>
                  <a:pt x="85493" y="24871"/>
                </a:lnTo>
                <a:cubicBezTo>
                  <a:pt x="86212" y="25591"/>
                  <a:pt x="86930" y="26673"/>
                  <a:pt x="86930" y="27754"/>
                </a:cubicBezTo>
                <a:lnTo>
                  <a:pt x="86930" y="130121"/>
                </a:lnTo>
                <a:cubicBezTo>
                  <a:pt x="104532" y="140214"/>
                  <a:pt x="116027" y="159318"/>
                  <a:pt x="116027" y="180224"/>
                </a:cubicBezTo>
                <a:cubicBezTo>
                  <a:pt x="116027" y="210501"/>
                  <a:pt x="92318" y="236093"/>
                  <a:pt x="62144" y="238256"/>
                </a:cubicBezTo>
                <a:lnTo>
                  <a:pt x="62504" y="249429"/>
                </a:lnTo>
                <a:cubicBezTo>
                  <a:pt x="62504" y="271056"/>
                  <a:pt x="80105" y="289079"/>
                  <a:pt x="102017" y="289079"/>
                </a:cubicBezTo>
                <a:cubicBezTo>
                  <a:pt x="123929" y="289079"/>
                  <a:pt x="141890" y="271056"/>
                  <a:pt x="141890" y="249429"/>
                </a:cubicBezTo>
                <a:lnTo>
                  <a:pt x="141890" y="89751"/>
                </a:lnTo>
                <a:cubicBezTo>
                  <a:pt x="141890" y="59113"/>
                  <a:pt x="166676" y="34603"/>
                  <a:pt x="197209" y="34603"/>
                </a:cubicBezTo>
                <a:cubicBezTo>
                  <a:pt x="227383" y="34603"/>
                  <a:pt x="252169" y="59113"/>
                  <a:pt x="252169" y="89751"/>
                </a:cubicBezTo>
                <a:lnTo>
                  <a:pt x="252169" y="109215"/>
                </a:lnTo>
                <a:cubicBezTo>
                  <a:pt x="276237" y="111378"/>
                  <a:pt x="294916" y="131923"/>
                  <a:pt x="294916" y="156434"/>
                </a:cubicBezTo>
                <a:lnTo>
                  <a:pt x="294916" y="223477"/>
                </a:lnTo>
                <a:cubicBezTo>
                  <a:pt x="294916" y="249790"/>
                  <a:pt x="273722" y="271056"/>
                  <a:pt x="247859" y="271056"/>
                </a:cubicBezTo>
                <a:cubicBezTo>
                  <a:pt x="221277" y="271056"/>
                  <a:pt x="200442" y="249790"/>
                  <a:pt x="200442" y="223477"/>
                </a:cubicBezTo>
                <a:lnTo>
                  <a:pt x="200442" y="156434"/>
                </a:lnTo>
                <a:cubicBezTo>
                  <a:pt x="200442" y="131923"/>
                  <a:pt x="219121" y="111378"/>
                  <a:pt x="243189" y="109215"/>
                </a:cubicBezTo>
                <a:lnTo>
                  <a:pt x="243189" y="89751"/>
                </a:lnTo>
                <a:cubicBezTo>
                  <a:pt x="243189" y="64159"/>
                  <a:pt x="222354" y="43253"/>
                  <a:pt x="197209" y="43253"/>
                </a:cubicBezTo>
                <a:cubicBezTo>
                  <a:pt x="171705" y="43253"/>
                  <a:pt x="150871" y="64159"/>
                  <a:pt x="150871" y="89751"/>
                </a:cubicBezTo>
                <a:lnTo>
                  <a:pt x="150871" y="249429"/>
                </a:lnTo>
                <a:cubicBezTo>
                  <a:pt x="150871" y="276103"/>
                  <a:pt x="128958" y="298090"/>
                  <a:pt x="102017" y="298090"/>
                </a:cubicBezTo>
                <a:cubicBezTo>
                  <a:pt x="75435" y="298090"/>
                  <a:pt x="53523" y="276103"/>
                  <a:pt x="53523" y="249429"/>
                </a:cubicBezTo>
                <a:lnTo>
                  <a:pt x="53523" y="238256"/>
                </a:lnTo>
                <a:cubicBezTo>
                  <a:pt x="53523" y="233570"/>
                  <a:pt x="57115" y="229605"/>
                  <a:pt x="61785" y="229244"/>
                </a:cubicBezTo>
                <a:cubicBezTo>
                  <a:pt x="86930" y="227442"/>
                  <a:pt x="106687" y="205815"/>
                  <a:pt x="106687" y="180224"/>
                </a:cubicBezTo>
                <a:cubicBezTo>
                  <a:pt x="106687" y="161841"/>
                  <a:pt x="96629" y="145260"/>
                  <a:pt x="80105" y="136609"/>
                </a:cubicBezTo>
                <a:cubicBezTo>
                  <a:pt x="78668" y="135888"/>
                  <a:pt x="77950" y="134446"/>
                  <a:pt x="77950" y="132644"/>
                </a:cubicBezTo>
                <a:lnTo>
                  <a:pt x="77950" y="29917"/>
                </a:lnTo>
                <a:lnTo>
                  <a:pt x="58911" y="10813"/>
                </a:lnTo>
                <a:lnTo>
                  <a:pt x="43465" y="26673"/>
                </a:lnTo>
                <a:lnTo>
                  <a:pt x="50649" y="33882"/>
                </a:lnTo>
                <a:cubicBezTo>
                  <a:pt x="52446" y="35684"/>
                  <a:pt x="53523" y="38207"/>
                  <a:pt x="53523" y="41091"/>
                </a:cubicBezTo>
                <a:cubicBezTo>
                  <a:pt x="53523" y="43614"/>
                  <a:pt x="52446" y="46137"/>
                  <a:pt x="50649" y="48300"/>
                </a:cubicBezTo>
                <a:lnTo>
                  <a:pt x="42747" y="56229"/>
                </a:lnTo>
                <a:lnTo>
                  <a:pt x="49931" y="63438"/>
                </a:lnTo>
                <a:cubicBezTo>
                  <a:pt x="52086" y="65241"/>
                  <a:pt x="52805" y="67764"/>
                  <a:pt x="52805" y="70647"/>
                </a:cubicBezTo>
                <a:cubicBezTo>
                  <a:pt x="52805" y="73531"/>
                  <a:pt x="52086" y="76054"/>
                  <a:pt x="49931" y="77856"/>
                </a:cubicBezTo>
                <a:lnTo>
                  <a:pt x="42747" y="85426"/>
                </a:lnTo>
                <a:lnTo>
                  <a:pt x="49931" y="92635"/>
                </a:lnTo>
                <a:cubicBezTo>
                  <a:pt x="54242" y="96600"/>
                  <a:pt x="54242" y="102727"/>
                  <a:pt x="49931" y="107052"/>
                </a:cubicBezTo>
                <a:lnTo>
                  <a:pt x="38077" y="118947"/>
                </a:lnTo>
                <a:lnTo>
                  <a:pt x="38077" y="132644"/>
                </a:lnTo>
                <a:cubicBezTo>
                  <a:pt x="38077" y="134446"/>
                  <a:pt x="36999" y="135888"/>
                  <a:pt x="35562" y="136609"/>
                </a:cubicBezTo>
                <a:cubicBezTo>
                  <a:pt x="19038" y="145260"/>
                  <a:pt x="8980" y="161841"/>
                  <a:pt x="8980" y="180224"/>
                </a:cubicBezTo>
                <a:cubicBezTo>
                  <a:pt x="8980" y="200048"/>
                  <a:pt x="20834" y="217710"/>
                  <a:pt x="38795" y="225640"/>
                </a:cubicBezTo>
                <a:cubicBezTo>
                  <a:pt x="41310" y="226361"/>
                  <a:pt x="42028" y="229244"/>
                  <a:pt x="41310" y="231768"/>
                </a:cubicBezTo>
                <a:cubicBezTo>
                  <a:pt x="40232" y="233570"/>
                  <a:pt x="37718" y="234651"/>
                  <a:pt x="35562" y="233930"/>
                </a:cubicBezTo>
                <a:cubicBezTo>
                  <a:pt x="14009" y="224919"/>
                  <a:pt x="0" y="203653"/>
                  <a:pt x="0" y="180224"/>
                </a:cubicBezTo>
                <a:cubicBezTo>
                  <a:pt x="0" y="159318"/>
                  <a:pt x="11136" y="140214"/>
                  <a:pt x="29096" y="130121"/>
                </a:cubicBezTo>
                <a:lnTo>
                  <a:pt x="29096" y="117145"/>
                </a:lnTo>
                <a:cubicBezTo>
                  <a:pt x="29096" y="116064"/>
                  <a:pt x="29456" y="114622"/>
                  <a:pt x="30533" y="113901"/>
                </a:cubicBezTo>
                <a:lnTo>
                  <a:pt x="43824" y="100564"/>
                </a:lnTo>
                <a:cubicBezTo>
                  <a:pt x="44184" y="100204"/>
                  <a:pt x="44184" y="99483"/>
                  <a:pt x="43824" y="99123"/>
                </a:cubicBezTo>
                <a:lnTo>
                  <a:pt x="33048" y="88309"/>
                </a:lnTo>
                <a:cubicBezTo>
                  <a:pt x="32688" y="87588"/>
                  <a:pt x="31970" y="86867"/>
                  <a:pt x="31970" y="85786"/>
                </a:cubicBezTo>
                <a:cubicBezTo>
                  <a:pt x="31611" y="84344"/>
                  <a:pt x="31970" y="82903"/>
                  <a:pt x="33048" y="81821"/>
                </a:cubicBezTo>
                <a:lnTo>
                  <a:pt x="43824" y="71368"/>
                </a:lnTo>
                <a:cubicBezTo>
                  <a:pt x="43824" y="71008"/>
                  <a:pt x="43824" y="71008"/>
                  <a:pt x="43824" y="70647"/>
                </a:cubicBezTo>
                <a:lnTo>
                  <a:pt x="43824" y="69926"/>
                </a:lnTo>
                <a:lnTo>
                  <a:pt x="33048" y="59113"/>
                </a:lnTo>
                <a:cubicBezTo>
                  <a:pt x="31611" y="57671"/>
                  <a:pt x="31611" y="54427"/>
                  <a:pt x="33048" y="52985"/>
                </a:cubicBezTo>
                <a:lnTo>
                  <a:pt x="44184" y="41812"/>
                </a:lnTo>
                <a:cubicBezTo>
                  <a:pt x="44543" y="41451"/>
                  <a:pt x="44543" y="40730"/>
                  <a:pt x="44184" y="40370"/>
                </a:cubicBezTo>
                <a:lnTo>
                  <a:pt x="33407" y="29917"/>
                </a:lnTo>
                <a:cubicBezTo>
                  <a:pt x="32688" y="28835"/>
                  <a:pt x="32329" y="27754"/>
                  <a:pt x="32329" y="26673"/>
                </a:cubicBezTo>
                <a:cubicBezTo>
                  <a:pt x="32329" y="25231"/>
                  <a:pt x="32688" y="24150"/>
                  <a:pt x="33407" y="23429"/>
                </a:cubicBezTo>
                <a:lnTo>
                  <a:pt x="55679" y="1081"/>
                </a:lnTo>
                <a:cubicBezTo>
                  <a:pt x="56397" y="360"/>
                  <a:pt x="57834" y="0"/>
                  <a:pt x="58911" y="0"/>
                </a:cubicBezTo>
                <a:close/>
              </a:path>
            </a:pathLst>
          </a:custGeom>
          <a:solidFill>
            <a:schemeClr val="bg1"/>
          </a:solidFill>
          <a:ln>
            <a:noFill/>
          </a:ln>
          <a:effectLst/>
        </p:spPr>
        <p:txBody>
          <a:bodyPr anchor="ctr"/>
          <a:lstStyle/>
          <a:p>
            <a:pPr algn="r"/>
            <a:endParaRPr lang="en-US" sz="900" dirty="0">
              <a:latin typeface="Lato Light" panose="020F0502020204030203" pitchFamily="34" charset="0"/>
            </a:endParaRPr>
          </a:p>
        </p:txBody>
      </p:sp>
      <p:sp>
        <p:nvSpPr>
          <p:cNvPr id="12" name="Freeform 740">
            <a:extLst>
              <a:ext uri="{FF2B5EF4-FFF2-40B4-BE49-F238E27FC236}">
                <a16:creationId xmlns:a16="http://schemas.microsoft.com/office/drawing/2014/main" id="{3458813F-6A8B-6643-8B1F-C2DAE077F047}"/>
              </a:ext>
            </a:extLst>
          </p:cNvPr>
          <p:cNvSpPr>
            <a:spLocks noChangeArrowheads="1"/>
          </p:cNvSpPr>
          <p:nvPr/>
        </p:nvSpPr>
        <p:spPr bwMode="auto">
          <a:xfrm>
            <a:off x="3865030" y="4754866"/>
            <a:ext cx="391440" cy="381030"/>
          </a:xfrm>
          <a:custGeom>
            <a:avLst/>
            <a:gdLst/>
            <a:ahLst/>
            <a:cxnLst/>
            <a:rect l="0" t="0" r="r" b="b"/>
            <a:pathLst>
              <a:path w="298090" h="290302">
                <a:moveTo>
                  <a:pt x="23019" y="206348"/>
                </a:moveTo>
                <a:cubicBezTo>
                  <a:pt x="25982" y="206348"/>
                  <a:pt x="28205" y="208647"/>
                  <a:pt x="28205" y="211713"/>
                </a:cubicBezTo>
                <a:cubicBezTo>
                  <a:pt x="28205" y="214779"/>
                  <a:pt x="25982" y="217078"/>
                  <a:pt x="23019" y="217078"/>
                </a:cubicBezTo>
                <a:cubicBezTo>
                  <a:pt x="20055" y="217078"/>
                  <a:pt x="17462" y="214779"/>
                  <a:pt x="17462" y="211713"/>
                </a:cubicBezTo>
                <a:cubicBezTo>
                  <a:pt x="17462" y="208647"/>
                  <a:pt x="20055" y="206348"/>
                  <a:pt x="23019" y="206348"/>
                </a:cubicBezTo>
                <a:close/>
                <a:moveTo>
                  <a:pt x="47162" y="195228"/>
                </a:moveTo>
                <a:lnTo>
                  <a:pt x="47162" y="268694"/>
                </a:lnTo>
                <a:cubicBezTo>
                  <a:pt x="67683" y="275177"/>
                  <a:pt x="189367" y="307588"/>
                  <a:pt x="281890" y="234482"/>
                </a:cubicBezTo>
                <a:cubicBezTo>
                  <a:pt x="283690" y="233042"/>
                  <a:pt x="289090" y="228720"/>
                  <a:pt x="289090" y="224759"/>
                </a:cubicBezTo>
                <a:cubicBezTo>
                  <a:pt x="289090" y="223678"/>
                  <a:pt x="289090" y="222238"/>
                  <a:pt x="286570" y="220437"/>
                </a:cubicBezTo>
                <a:cubicBezTo>
                  <a:pt x="284770" y="218997"/>
                  <a:pt x="275769" y="222598"/>
                  <a:pt x="266769" y="226559"/>
                </a:cubicBezTo>
                <a:cubicBezTo>
                  <a:pt x="252009" y="232682"/>
                  <a:pt x="229328" y="242405"/>
                  <a:pt x="195847" y="249247"/>
                </a:cubicBezTo>
                <a:cubicBezTo>
                  <a:pt x="188287" y="251768"/>
                  <a:pt x="177846" y="253209"/>
                  <a:pt x="164166" y="253209"/>
                </a:cubicBezTo>
                <a:cubicBezTo>
                  <a:pt x="153005" y="253209"/>
                  <a:pt x="139685" y="252489"/>
                  <a:pt x="123844" y="250328"/>
                </a:cubicBezTo>
                <a:cubicBezTo>
                  <a:pt x="121684" y="249968"/>
                  <a:pt x="119524" y="247807"/>
                  <a:pt x="120244" y="245286"/>
                </a:cubicBezTo>
                <a:cubicBezTo>
                  <a:pt x="120244" y="242765"/>
                  <a:pt x="122764" y="241325"/>
                  <a:pt x="125284" y="241325"/>
                </a:cubicBezTo>
                <a:cubicBezTo>
                  <a:pt x="165966" y="246727"/>
                  <a:pt x="184326" y="243846"/>
                  <a:pt x="192967" y="240604"/>
                </a:cubicBezTo>
                <a:cubicBezTo>
                  <a:pt x="201247" y="237363"/>
                  <a:pt x="201247" y="233402"/>
                  <a:pt x="201607" y="231601"/>
                </a:cubicBezTo>
                <a:cubicBezTo>
                  <a:pt x="201607" y="226199"/>
                  <a:pt x="200527" y="222238"/>
                  <a:pt x="198367" y="219717"/>
                </a:cubicBezTo>
                <a:cubicBezTo>
                  <a:pt x="195127" y="216476"/>
                  <a:pt x="189727" y="216476"/>
                  <a:pt x="189727" y="216476"/>
                </a:cubicBezTo>
                <a:cubicBezTo>
                  <a:pt x="145445" y="217196"/>
                  <a:pt x="137525" y="212515"/>
                  <a:pt x="128165" y="207113"/>
                </a:cubicBezTo>
                <a:cubicBezTo>
                  <a:pt x="119164" y="201710"/>
                  <a:pt x="108724" y="195948"/>
                  <a:pt x="47162" y="195228"/>
                </a:cubicBezTo>
                <a:close/>
                <a:moveTo>
                  <a:pt x="9000" y="195228"/>
                </a:moveTo>
                <a:lnTo>
                  <a:pt x="9000" y="267614"/>
                </a:lnTo>
                <a:lnTo>
                  <a:pt x="38162" y="267614"/>
                </a:lnTo>
                <a:lnTo>
                  <a:pt x="38162" y="195228"/>
                </a:lnTo>
                <a:lnTo>
                  <a:pt x="9000" y="195228"/>
                </a:lnTo>
                <a:close/>
                <a:moveTo>
                  <a:pt x="196360" y="174422"/>
                </a:moveTo>
                <a:lnTo>
                  <a:pt x="219413" y="189944"/>
                </a:lnTo>
                <a:cubicBezTo>
                  <a:pt x="221541" y="191708"/>
                  <a:pt x="221896" y="194177"/>
                  <a:pt x="220477" y="196294"/>
                </a:cubicBezTo>
                <a:cubicBezTo>
                  <a:pt x="219768" y="197705"/>
                  <a:pt x="218349" y="198058"/>
                  <a:pt x="216930" y="198058"/>
                </a:cubicBezTo>
                <a:cubicBezTo>
                  <a:pt x="215866" y="198058"/>
                  <a:pt x="215157" y="198058"/>
                  <a:pt x="214448" y="197705"/>
                </a:cubicBezTo>
                <a:lnTo>
                  <a:pt x="191395" y="181830"/>
                </a:lnTo>
                <a:cubicBezTo>
                  <a:pt x="189622" y="180772"/>
                  <a:pt x="188912" y="177597"/>
                  <a:pt x="190331" y="175833"/>
                </a:cubicBezTo>
                <a:cubicBezTo>
                  <a:pt x="191750" y="173716"/>
                  <a:pt x="194587" y="173011"/>
                  <a:pt x="196360" y="174422"/>
                </a:cubicBezTo>
                <a:close/>
                <a:moveTo>
                  <a:pt x="110688" y="149051"/>
                </a:moveTo>
                <a:lnTo>
                  <a:pt x="157480" y="181828"/>
                </a:lnTo>
                <a:cubicBezTo>
                  <a:pt x="159623" y="182909"/>
                  <a:pt x="159980" y="186151"/>
                  <a:pt x="158908" y="187951"/>
                </a:cubicBezTo>
                <a:cubicBezTo>
                  <a:pt x="157837" y="189392"/>
                  <a:pt x="156408" y="190113"/>
                  <a:pt x="154979" y="190113"/>
                </a:cubicBezTo>
                <a:cubicBezTo>
                  <a:pt x="154265" y="190113"/>
                  <a:pt x="153551" y="189752"/>
                  <a:pt x="152479" y="189032"/>
                </a:cubicBezTo>
                <a:lnTo>
                  <a:pt x="105688" y="156615"/>
                </a:lnTo>
                <a:cubicBezTo>
                  <a:pt x="103544" y="155175"/>
                  <a:pt x="103187" y="152293"/>
                  <a:pt x="104259" y="150492"/>
                </a:cubicBezTo>
                <a:cubicBezTo>
                  <a:pt x="105688" y="148331"/>
                  <a:pt x="108545" y="147611"/>
                  <a:pt x="110688" y="149051"/>
                </a:cubicBezTo>
                <a:close/>
                <a:moveTo>
                  <a:pt x="155085" y="144259"/>
                </a:moveTo>
                <a:lnTo>
                  <a:pt x="178138" y="159781"/>
                </a:lnTo>
                <a:cubicBezTo>
                  <a:pt x="180266" y="161545"/>
                  <a:pt x="180621" y="164014"/>
                  <a:pt x="179202" y="166131"/>
                </a:cubicBezTo>
                <a:cubicBezTo>
                  <a:pt x="178138" y="167542"/>
                  <a:pt x="177074" y="167895"/>
                  <a:pt x="175655" y="167895"/>
                </a:cubicBezTo>
                <a:cubicBezTo>
                  <a:pt x="174591" y="167895"/>
                  <a:pt x="173882" y="167895"/>
                  <a:pt x="173173" y="167542"/>
                </a:cubicBezTo>
                <a:lnTo>
                  <a:pt x="150120" y="151667"/>
                </a:lnTo>
                <a:cubicBezTo>
                  <a:pt x="147992" y="150256"/>
                  <a:pt x="147637" y="147434"/>
                  <a:pt x="148701" y="145670"/>
                </a:cubicBezTo>
                <a:cubicBezTo>
                  <a:pt x="150475" y="143553"/>
                  <a:pt x="152957" y="142848"/>
                  <a:pt x="155085" y="144259"/>
                </a:cubicBezTo>
                <a:close/>
                <a:moveTo>
                  <a:pt x="229742" y="137017"/>
                </a:moveTo>
                <a:cubicBezTo>
                  <a:pt x="229385" y="139922"/>
                  <a:pt x="228315" y="142464"/>
                  <a:pt x="226888" y="144643"/>
                </a:cubicBezTo>
                <a:cubicBezTo>
                  <a:pt x="225104" y="146822"/>
                  <a:pt x="223320" y="148638"/>
                  <a:pt x="220823" y="150453"/>
                </a:cubicBezTo>
                <a:cubicBezTo>
                  <a:pt x="221537" y="152995"/>
                  <a:pt x="222964" y="155174"/>
                  <a:pt x="225461" y="156627"/>
                </a:cubicBezTo>
                <a:cubicBezTo>
                  <a:pt x="230099" y="160258"/>
                  <a:pt x="236877" y="158806"/>
                  <a:pt x="240087" y="154085"/>
                </a:cubicBezTo>
                <a:cubicBezTo>
                  <a:pt x="243655" y="149001"/>
                  <a:pt x="242228" y="142464"/>
                  <a:pt x="237590" y="139196"/>
                </a:cubicBezTo>
                <a:cubicBezTo>
                  <a:pt x="235093" y="137380"/>
                  <a:pt x="232596" y="136654"/>
                  <a:pt x="229742" y="137017"/>
                </a:cubicBezTo>
                <a:close/>
                <a:moveTo>
                  <a:pt x="210478" y="122491"/>
                </a:moveTo>
                <a:cubicBezTo>
                  <a:pt x="210121" y="122491"/>
                  <a:pt x="209408" y="122491"/>
                  <a:pt x="208694" y="122854"/>
                </a:cubicBezTo>
                <a:cubicBezTo>
                  <a:pt x="205840" y="123217"/>
                  <a:pt x="203343" y="125033"/>
                  <a:pt x="201916" y="127212"/>
                </a:cubicBezTo>
                <a:cubicBezTo>
                  <a:pt x="200132" y="129754"/>
                  <a:pt x="199419" y="132296"/>
                  <a:pt x="200132" y="135564"/>
                </a:cubicBezTo>
                <a:cubicBezTo>
                  <a:pt x="200489" y="138106"/>
                  <a:pt x="202273" y="140648"/>
                  <a:pt x="204413" y="142101"/>
                </a:cubicBezTo>
                <a:cubicBezTo>
                  <a:pt x="206910" y="143917"/>
                  <a:pt x="209764" y="144643"/>
                  <a:pt x="212618" y="143917"/>
                </a:cubicBezTo>
                <a:cubicBezTo>
                  <a:pt x="215115" y="143554"/>
                  <a:pt x="217613" y="141738"/>
                  <a:pt x="219396" y="139559"/>
                </a:cubicBezTo>
                <a:cubicBezTo>
                  <a:pt x="220823" y="137017"/>
                  <a:pt x="221537" y="134112"/>
                  <a:pt x="221180" y="131206"/>
                </a:cubicBezTo>
                <a:cubicBezTo>
                  <a:pt x="220467" y="128664"/>
                  <a:pt x="219040" y="126122"/>
                  <a:pt x="216542" y="124670"/>
                </a:cubicBezTo>
                <a:cubicBezTo>
                  <a:pt x="214759" y="123217"/>
                  <a:pt x="212618" y="122491"/>
                  <a:pt x="210478" y="122491"/>
                </a:cubicBezTo>
                <a:close/>
                <a:moveTo>
                  <a:pt x="112223" y="115684"/>
                </a:moveTo>
                <a:lnTo>
                  <a:pt x="135275" y="131206"/>
                </a:lnTo>
                <a:cubicBezTo>
                  <a:pt x="137048" y="132970"/>
                  <a:pt x="137758" y="135439"/>
                  <a:pt x="136339" y="137556"/>
                </a:cubicBezTo>
                <a:cubicBezTo>
                  <a:pt x="135275" y="138967"/>
                  <a:pt x="133856" y="139320"/>
                  <a:pt x="132793" y="139320"/>
                </a:cubicBezTo>
                <a:cubicBezTo>
                  <a:pt x="131729" y="139320"/>
                  <a:pt x="130665" y="139320"/>
                  <a:pt x="130310" y="138614"/>
                </a:cubicBezTo>
                <a:lnTo>
                  <a:pt x="107258" y="123092"/>
                </a:lnTo>
                <a:cubicBezTo>
                  <a:pt x="105130" y="121681"/>
                  <a:pt x="104775" y="118859"/>
                  <a:pt x="106194" y="116742"/>
                </a:cubicBezTo>
                <a:cubicBezTo>
                  <a:pt x="107612" y="114978"/>
                  <a:pt x="110095" y="114273"/>
                  <a:pt x="112223" y="115684"/>
                </a:cubicBezTo>
                <a:close/>
                <a:moveTo>
                  <a:pt x="206910" y="113775"/>
                </a:moveTo>
                <a:cubicBezTo>
                  <a:pt x="212261" y="112686"/>
                  <a:pt x="217256" y="113775"/>
                  <a:pt x="221894" y="116680"/>
                </a:cubicBezTo>
                <a:cubicBezTo>
                  <a:pt x="225461" y="119586"/>
                  <a:pt x="228315" y="123580"/>
                  <a:pt x="229385" y="128301"/>
                </a:cubicBezTo>
                <a:cubicBezTo>
                  <a:pt x="234023" y="127575"/>
                  <a:pt x="238304" y="128664"/>
                  <a:pt x="242585" y="131206"/>
                </a:cubicBezTo>
                <a:cubicBezTo>
                  <a:pt x="251146" y="137743"/>
                  <a:pt x="253644" y="150090"/>
                  <a:pt x="247579" y="159169"/>
                </a:cubicBezTo>
                <a:cubicBezTo>
                  <a:pt x="243655" y="164979"/>
                  <a:pt x="237590" y="167885"/>
                  <a:pt x="231169" y="167885"/>
                </a:cubicBezTo>
                <a:cubicBezTo>
                  <a:pt x="227245" y="167885"/>
                  <a:pt x="223677" y="166795"/>
                  <a:pt x="220110" y="164253"/>
                </a:cubicBezTo>
                <a:cubicBezTo>
                  <a:pt x="216542" y="161711"/>
                  <a:pt x="213688" y="157716"/>
                  <a:pt x="212618" y="152995"/>
                </a:cubicBezTo>
                <a:cubicBezTo>
                  <a:pt x="211905" y="152995"/>
                  <a:pt x="211191" y="153359"/>
                  <a:pt x="210478" y="153359"/>
                </a:cubicBezTo>
                <a:cubicBezTo>
                  <a:pt x="206554" y="153359"/>
                  <a:pt x="202986" y="151906"/>
                  <a:pt x="199419" y="150090"/>
                </a:cubicBezTo>
                <a:cubicBezTo>
                  <a:pt x="195138" y="146822"/>
                  <a:pt x="192284" y="142101"/>
                  <a:pt x="191214" y="137017"/>
                </a:cubicBezTo>
                <a:cubicBezTo>
                  <a:pt x="190500" y="131933"/>
                  <a:pt x="191570" y="126485"/>
                  <a:pt x="194424" y="122128"/>
                </a:cubicBezTo>
                <a:cubicBezTo>
                  <a:pt x="197635" y="117770"/>
                  <a:pt x="201916" y="114865"/>
                  <a:pt x="206910" y="113775"/>
                </a:cubicBezTo>
                <a:close/>
                <a:moveTo>
                  <a:pt x="53474" y="110936"/>
                </a:moveTo>
                <a:lnTo>
                  <a:pt x="89242" y="135883"/>
                </a:lnTo>
                <a:cubicBezTo>
                  <a:pt x="91367" y="137308"/>
                  <a:pt x="91721" y="139803"/>
                  <a:pt x="90305" y="141941"/>
                </a:cubicBezTo>
                <a:cubicBezTo>
                  <a:pt x="89596" y="143367"/>
                  <a:pt x="88180" y="144079"/>
                  <a:pt x="86763" y="144079"/>
                </a:cubicBezTo>
                <a:cubicBezTo>
                  <a:pt x="86055" y="144079"/>
                  <a:pt x="84992" y="143723"/>
                  <a:pt x="84284" y="143010"/>
                </a:cubicBezTo>
                <a:lnTo>
                  <a:pt x="48516" y="118420"/>
                </a:lnTo>
                <a:cubicBezTo>
                  <a:pt x="46391" y="116995"/>
                  <a:pt x="46037" y="114144"/>
                  <a:pt x="47100" y="112005"/>
                </a:cubicBezTo>
                <a:cubicBezTo>
                  <a:pt x="48516" y="109867"/>
                  <a:pt x="51349" y="109511"/>
                  <a:pt x="53474" y="110936"/>
                </a:cubicBezTo>
                <a:close/>
                <a:moveTo>
                  <a:pt x="70000" y="87109"/>
                </a:moveTo>
                <a:lnTo>
                  <a:pt x="93529" y="102631"/>
                </a:lnTo>
                <a:cubicBezTo>
                  <a:pt x="95734" y="104042"/>
                  <a:pt x="96470" y="106864"/>
                  <a:pt x="94999" y="108981"/>
                </a:cubicBezTo>
                <a:cubicBezTo>
                  <a:pt x="93896" y="110392"/>
                  <a:pt x="92426" y="110745"/>
                  <a:pt x="90955" y="110745"/>
                </a:cubicBezTo>
                <a:cubicBezTo>
                  <a:pt x="90220" y="110745"/>
                  <a:pt x="89117" y="110745"/>
                  <a:pt x="88382" y="110039"/>
                </a:cubicBezTo>
                <a:lnTo>
                  <a:pt x="64486" y="94517"/>
                </a:lnTo>
                <a:cubicBezTo>
                  <a:pt x="62648" y="93106"/>
                  <a:pt x="61912" y="90284"/>
                  <a:pt x="63383" y="88167"/>
                </a:cubicBezTo>
                <a:cubicBezTo>
                  <a:pt x="65221" y="86403"/>
                  <a:pt x="67794" y="85698"/>
                  <a:pt x="70000" y="87109"/>
                </a:cubicBezTo>
                <a:close/>
                <a:moveTo>
                  <a:pt x="103501" y="46963"/>
                </a:moveTo>
                <a:cubicBezTo>
                  <a:pt x="102791" y="46963"/>
                  <a:pt x="102081" y="47324"/>
                  <a:pt x="101726" y="47686"/>
                </a:cubicBezTo>
                <a:lnTo>
                  <a:pt x="92138" y="61776"/>
                </a:lnTo>
                <a:cubicBezTo>
                  <a:pt x="91783" y="62860"/>
                  <a:pt x="91783" y="63221"/>
                  <a:pt x="91783" y="63582"/>
                </a:cubicBezTo>
                <a:cubicBezTo>
                  <a:pt x="92138" y="63944"/>
                  <a:pt x="92138" y="64666"/>
                  <a:pt x="92848" y="65028"/>
                </a:cubicBezTo>
                <a:lnTo>
                  <a:pt x="112734" y="79118"/>
                </a:lnTo>
                <a:cubicBezTo>
                  <a:pt x="113444" y="79479"/>
                  <a:pt x="114154" y="79479"/>
                  <a:pt x="114509" y="79479"/>
                </a:cubicBezTo>
                <a:cubicBezTo>
                  <a:pt x="114864" y="79118"/>
                  <a:pt x="115219" y="79118"/>
                  <a:pt x="115930" y="78395"/>
                </a:cubicBezTo>
                <a:lnTo>
                  <a:pt x="125517" y="64305"/>
                </a:lnTo>
                <a:cubicBezTo>
                  <a:pt x="125872" y="63221"/>
                  <a:pt x="125872" y="62137"/>
                  <a:pt x="124807" y="61053"/>
                </a:cubicBezTo>
                <a:lnTo>
                  <a:pt x="104566" y="47324"/>
                </a:lnTo>
                <a:cubicBezTo>
                  <a:pt x="104211" y="46963"/>
                  <a:pt x="103856" y="46963"/>
                  <a:pt x="103501" y="46963"/>
                </a:cubicBezTo>
                <a:close/>
                <a:moveTo>
                  <a:pt x="109893" y="39737"/>
                </a:moveTo>
                <a:lnTo>
                  <a:pt x="129778" y="53828"/>
                </a:lnTo>
                <a:cubicBezTo>
                  <a:pt x="135105" y="57441"/>
                  <a:pt x="136170" y="64305"/>
                  <a:pt x="132619" y="69363"/>
                </a:cubicBezTo>
                <a:lnTo>
                  <a:pt x="123387" y="83453"/>
                </a:lnTo>
                <a:cubicBezTo>
                  <a:pt x="121611" y="85982"/>
                  <a:pt x="119125" y="87789"/>
                  <a:pt x="116285" y="88511"/>
                </a:cubicBezTo>
                <a:cubicBezTo>
                  <a:pt x="115219" y="88511"/>
                  <a:pt x="114864" y="88511"/>
                  <a:pt x="114154" y="88511"/>
                </a:cubicBezTo>
                <a:cubicBezTo>
                  <a:pt x="111668" y="88511"/>
                  <a:pt x="109893" y="87789"/>
                  <a:pt x="107762" y="86344"/>
                </a:cubicBezTo>
                <a:lnTo>
                  <a:pt x="87877" y="72253"/>
                </a:lnTo>
                <a:cubicBezTo>
                  <a:pt x="85391" y="70808"/>
                  <a:pt x="83616" y="68279"/>
                  <a:pt x="82905" y="65028"/>
                </a:cubicBezTo>
                <a:cubicBezTo>
                  <a:pt x="82550" y="62137"/>
                  <a:pt x="83260" y="59247"/>
                  <a:pt x="85036" y="56718"/>
                </a:cubicBezTo>
                <a:lnTo>
                  <a:pt x="94269" y="42628"/>
                </a:lnTo>
                <a:cubicBezTo>
                  <a:pt x="97819" y="37570"/>
                  <a:pt x="104566" y="36486"/>
                  <a:pt x="109893" y="39737"/>
                </a:cubicBezTo>
                <a:close/>
                <a:moveTo>
                  <a:pt x="97429" y="399"/>
                </a:moveTo>
                <a:cubicBezTo>
                  <a:pt x="103144" y="-681"/>
                  <a:pt x="109264" y="399"/>
                  <a:pt x="114484" y="4000"/>
                </a:cubicBezTo>
                <a:lnTo>
                  <a:pt x="281530" y="118521"/>
                </a:lnTo>
                <a:cubicBezTo>
                  <a:pt x="291970" y="125723"/>
                  <a:pt x="294490" y="139768"/>
                  <a:pt x="287290" y="150212"/>
                </a:cubicBezTo>
                <a:lnTo>
                  <a:pt x="253809" y="199189"/>
                </a:lnTo>
                <a:cubicBezTo>
                  <a:pt x="263169" y="195228"/>
                  <a:pt x="269649" y="194148"/>
                  <a:pt x="274329" y="197389"/>
                </a:cubicBezTo>
                <a:cubicBezTo>
                  <a:pt x="279010" y="200990"/>
                  <a:pt x="280090" y="205311"/>
                  <a:pt x="280090" y="208193"/>
                </a:cubicBezTo>
                <a:cubicBezTo>
                  <a:pt x="280450" y="209273"/>
                  <a:pt x="280090" y="210714"/>
                  <a:pt x="279730" y="211794"/>
                </a:cubicBezTo>
                <a:cubicBezTo>
                  <a:pt x="285130" y="210714"/>
                  <a:pt x="289090" y="210714"/>
                  <a:pt x="292330" y="213595"/>
                </a:cubicBezTo>
                <a:cubicBezTo>
                  <a:pt x="297370" y="217556"/>
                  <a:pt x="298090" y="222238"/>
                  <a:pt x="298090" y="225119"/>
                </a:cubicBezTo>
                <a:cubicBezTo>
                  <a:pt x="297370" y="234122"/>
                  <a:pt x="288010" y="240965"/>
                  <a:pt x="286930" y="241685"/>
                </a:cubicBezTo>
                <a:cubicBezTo>
                  <a:pt x="238688" y="279858"/>
                  <a:pt x="182166" y="290302"/>
                  <a:pt x="135725" y="290302"/>
                </a:cubicBezTo>
                <a:cubicBezTo>
                  <a:pt x="86043" y="290302"/>
                  <a:pt x="47522" y="278418"/>
                  <a:pt x="41762" y="276617"/>
                </a:cubicBezTo>
                <a:lnTo>
                  <a:pt x="4680" y="276617"/>
                </a:lnTo>
                <a:cubicBezTo>
                  <a:pt x="2160" y="276617"/>
                  <a:pt x="0" y="274817"/>
                  <a:pt x="0" y="272296"/>
                </a:cubicBezTo>
                <a:lnTo>
                  <a:pt x="0" y="190906"/>
                </a:lnTo>
                <a:cubicBezTo>
                  <a:pt x="0" y="188385"/>
                  <a:pt x="2160" y="186585"/>
                  <a:pt x="4680" y="186585"/>
                </a:cubicBezTo>
                <a:lnTo>
                  <a:pt x="42482" y="186585"/>
                </a:lnTo>
                <a:cubicBezTo>
                  <a:pt x="110524" y="186585"/>
                  <a:pt x="122404" y="193427"/>
                  <a:pt x="132485" y="199549"/>
                </a:cubicBezTo>
                <a:cubicBezTo>
                  <a:pt x="140765" y="204231"/>
                  <a:pt x="147965" y="208193"/>
                  <a:pt x="189367" y="207473"/>
                </a:cubicBezTo>
                <a:cubicBezTo>
                  <a:pt x="189367" y="207473"/>
                  <a:pt x="198367" y="207113"/>
                  <a:pt x="204847" y="213235"/>
                </a:cubicBezTo>
                <a:cubicBezTo>
                  <a:pt x="208807" y="217916"/>
                  <a:pt x="210967" y="224039"/>
                  <a:pt x="210247" y="232322"/>
                </a:cubicBezTo>
                <a:cubicBezTo>
                  <a:pt x="210247" y="233762"/>
                  <a:pt x="210247" y="235203"/>
                  <a:pt x="209527" y="236643"/>
                </a:cubicBezTo>
                <a:cubicBezTo>
                  <a:pt x="234008" y="230881"/>
                  <a:pt x="250929" y="223318"/>
                  <a:pt x="263169" y="218277"/>
                </a:cubicBezTo>
                <a:cubicBezTo>
                  <a:pt x="264249" y="217916"/>
                  <a:pt x="264969" y="217196"/>
                  <a:pt x="266409" y="216836"/>
                </a:cubicBezTo>
                <a:cubicBezTo>
                  <a:pt x="269289" y="213595"/>
                  <a:pt x="271449" y="210714"/>
                  <a:pt x="271449" y="208553"/>
                </a:cubicBezTo>
                <a:cubicBezTo>
                  <a:pt x="271449" y="208193"/>
                  <a:pt x="271089" y="206752"/>
                  <a:pt x="268569" y="204591"/>
                </a:cubicBezTo>
                <a:cubicBezTo>
                  <a:pt x="266409" y="203511"/>
                  <a:pt x="255249" y="208193"/>
                  <a:pt x="246969" y="211794"/>
                </a:cubicBezTo>
                <a:lnTo>
                  <a:pt x="244088" y="212875"/>
                </a:lnTo>
                <a:lnTo>
                  <a:pt x="240488" y="217916"/>
                </a:lnTo>
                <a:cubicBezTo>
                  <a:pt x="239768" y="219717"/>
                  <a:pt x="238328" y="220077"/>
                  <a:pt x="236888" y="220077"/>
                </a:cubicBezTo>
                <a:cubicBezTo>
                  <a:pt x="235808" y="220077"/>
                  <a:pt x="235088" y="220077"/>
                  <a:pt x="234728" y="219357"/>
                </a:cubicBezTo>
                <a:cubicBezTo>
                  <a:pt x="232208" y="217916"/>
                  <a:pt x="231848" y="215035"/>
                  <a:pt x="233288" y="212875"/>
                </a:cubicBezTo>
                <a:lnTo>
                  <a:pt x="279730" y="145170"/>
                </a:lnTo>
                <a:cubicBezTo>
                  <a:pt x="284050" y="139048"/>
                  <a:pt x="282610" y="130405"/>
                  <a:pt x="276489" y="126083"/>
                </a:cubicBezTo>
                <a:lnTo>
                  <a:pt x="109444" y="11563"/>
                </a:lnTo>
                <a:cubicBezTo>
                  <a:pt x="103324" y="7241"/>
                  <a:pt x="94683" y="8682"/>
                  <a:pt x="90363" y="15164"/>
                </a:cubicBezTo>
                <a:lnTo>
                  <a:pt x="23401" y="112759"/>
                </a:lnTo>
                <a:cubicBezTo>
                  <a:pt x="19081" y="118881"/>
                  <a:pt x="20521" y="127524"/>
                  <a:pt x="27001" y="131846"/>
                </a:cubicBezTo>
                <a:lnTo>
                  <a:pt x="84963" y="171460"/>
                </a:lnTo>
                <a:cubicBezTo>
                  <a:pt x="86763" y="172900"/>
                  <a:pt x="87483" y="175781"/>
                  <a:pt x="86043" y="177942"/>
                </a:cubicBezTo>
                <a:cubicBezTo>
                  <a:pt x="84603" y="180103"/>
                  <a:pt x="81723" y="180463"/>
                  <a:pt x="79563" y="179022"/>
                </a:cubicBezTo>
                <a:lnTo>
                  <a:pt x="21601" y="139048"/>
                </a:lnTo>
                <a:cubicBezTo>
                  <a:pt x="11520" y="132206"/>
                  <a:pt x="8640" y="118161"/>
                  <a:pt x="15840" y="107717"/>
                </a:cubicBezTo>
                <a:lnTo>
                  <a:pt x="82803" y="9762"/>
                </a:lnTo>
                <a:cubicBezTo>
                  <a:pt x="86403" y="4721"/>
                  <a:pt x="91713" y="1479"/>
                  <a:pt x="97429" y="399"/>
                </a:cubicBezTo>
                <a:close/>
              </a:path>
            </a:pathLst>
          </a:custGeom>
          <a:solidFill>
            <a:schemeClr val="bg1"/>
          </a:solidFill>
          <a:ln>
            <a:noFill/>
          </a:ln>
          <a:effectLst/>
        </p:spPr>
        <p:txBody>
          <a:bodyPr anchor="ctr"/>
          <a:lstStyle/>
          <a:p>
            <a:pPr algn="r"/>
            <a:endParaRPr lang="en-US" sz="900" dirty="0">
              <a:latin typeface="Lato Light" panose="020F0502020204030203" pitchFamily="34" charset="0"/>
            </a:endParaRPr>
          </a:p>
        </p:txBody>
      </p:sp>
      <p:sp>
        <p:nvSpPr>
          <p:cNvPr id="13" name="Freeform 749">
            <a:extLst>
              <a:ext uri="{FF2B5EF4-FFF2-40B4-BE49-F238E27FC236}">
                <a16:creationId xmlns:a16="http://schemas.microsoft.com/office/drawing/2014/main" id="{A8CB2027-9859-4B43-AD17-F8B73ABE1525}"/>
              </a:ext>
            </a:extLst>
          </p:cNvPr>
          <p:cNvSpPr>
            <a:spLocks noChangeArrowheads="1"/>
          </p:cNvSpPr>
          <p:nvPr/>
        </p:nvSpPr>
        <p:spPr bwMode="auto">
          <a:xfrm>
            <a:off x="3865030" y="5845619"/>
            <a:ext cx="391440" cy="391440"/>
          </a:xfrm>
          <a:custGeom>
            <a:avLst/>
            <a:gdLst/>
            <a:ahLst/>
            <a:cxnLst/>
            <a:rect l="0" t="0" r="r" b="b"/>
            <a:pathLst>
              <a:path w="298090" h="298090">
                <a:moveTo>
                  <a:pt x="154805" y="248709"/>
                </a:moveTo>
                <a:lnTo>
                  <a:pt x="117724" y="285474"/>
                </a:lnTo>
                <a:cubicBezTo>
                  <a:pt x="127804" y="287997"/>
                  <a:pt x="138245" y="289079"/>
                  <a:pt x="149045" y="289079"/>
                </a:cubicBezTo>
                <a:cubicBezTo>
                  <a:pt x="162726" y="289079"/>
                  <a:pt x="176406" y="286916"/>
                  <a:pt x="189006" y="283311"/>
                </a:cubicBezTo>
                <a:lnTo>
                  <a:pt x="154805" y="248709"/>
                </a:lnTo>
                <a:close/>
                <a:moveTo>
                  <a:pt x="208807" y="194642"/>
                </a:moveTo>
                <a:lnTo>
                  <a:pt x="160926" y="242221"/>
                </a:lnTo>
                <a:lnTo>
                  <a:pt x="198727" y="280067"/>
                </a:lnTo>
                <a:cubicBezTo>
                  <a:pt x="220328" y="271417"/>
                  <a:pt x="239408" y="258080"/>
                  <a:pt x="254889" y="240418"/>
                </a:cubicBezTo>
                <a:lnTo>
                  <a:pt x="208807" y="194642"/>
                </a:lnTo>
                <a:close/>
                <a:moveTo>
                  <a:pt x="47522" y="141656"/>
                </a:moveTo>
                <a:lnTo>
                  <a:pt x="11881" y="177701"/>
                </a:lnTo>
                <a:cubicBezTo>
                  <a:pt x="22321" y="227442"/>
                  <a:pt x="59402" y="267812"/>
                  <a:pt x="107644" y="282591"/>
                </a:cubicBezTo>
                <a:lnTo>
                  <a:pt x="148325" y="242221"/>
                </a:lnTo>
                <a:lnTo>
                  <a:pt x="97203" y="191398"/>
                </a:lnTo>
                <a:lnTo>
                  <a:pt x="47522" y="141656"/>
                </a:lnTo>
                <a:close/>
                <a:moveTo>
                  <a:pt x="154805" y="140214"/>
                </a:moveTo>
                <a:lnTo>
                  <a:pt x="106924" y="188154"/>
                </a:lnTo>
                <a:lnTo>
                  <a:pt x="154805" y="236093"/>
                </a:lnTo>
                <a:lnTo>
                  <a:pt x="202327" y="188154"/>
                </a:lnTo>
                <a:lnTo>
                  <a:pt x="154805" y="140214"/>
                </a:lnTo>
                <a:close/>
                <a:moveTo>
                  <a:pt x="101884" y="87589"/>
                </a:moveTo>
                <a:lnTo>
                  <a:pt x="54002" y="135528"/>
                </a:lnTo>
                <a:lnTo>
                  <a:pt x="100443" y="181665"/>
                </a:lnTo>
                <a:lnTo>
                  <a:pt x="148325" y="133726"/>
                </a:lnTo>
                <a:lnTo>
                  <a:pt x="101884" y="87589"/>
                </a:lnTo>
                <a:close/>
                <a:moveTo>
                  <a:pt x="57602" y="43254"/>
                </a:moveTo>
                <a:cubicBezTo>
                  <a:pt x="27721" y="68846"/>
                  <a:pt x="9000" y="106693"/>
                  <a:pt x="9000" y="148865"/>
                </a:cubicBezTo>
                <a:cubicBezTo>
                  <a:pt x="9000" y="154992"/>
                  <a:pt x="9360" y="160760"/>
                  <a:pt x="10080" y="166527"/>
                </a:cubicBezTo>
                <a:lnTo>
                  <a:pt x="10703" y="165906"/>
                </a:lnTo>
                <a:lnTo>
                  <a:pt x="95763" y="81101"/>
                </a:lnTo>
                <a:lnTo>
                  <a:pt x="57602" y="43254"/>
                </a:lnTo>
                <a:close/>
                <a:moveTo>
                  <a:pt x="235744" y="40399"/>
                </a:moveTo>
                <a:cubicBezTo>
                  <a:pt x="224641" y="40399"/>
                  <a:pt x="215329" y="49408"/>
                  <a:pt x="215329" y="60939"/>
                </a:cubicBezTo>
                <a:cubicBezTo>
                  <a:pt x="215329" y="72110"/>
                  <a:pt x="224641" y="81119"/>
                  <a:pt x="235744" y="81119"/>
                </a:cubicBezTo>
                <a:cubicBezTo>
                  <a:pt x="246847" y="81119"/>
                  <a:pt x="255801" y="72110"/>
                  <a:pt x="255801" y="60939"/>
                </a:cubicBezTo>
                <a:cubicBezTo>
                  <a:pt x="255801" y="49408"/>
                  <a:pt x="246847" y="40399"/>
                  <a:pt x="235744" y="40399"/>
                </a:cubicBezTo>
                <a:close/>
                <a:moveTo>
                  <a:pt x="235744" y="31750"/>
                </a:moveTo>
                <a:cubicBezTo>
                  <a:pt x="251861" y="31750"/>
                  <a:pt x="264755" y="44723"/>
                  <a:pt x="264755" y="60939"/>
                </a:cubicBezTo>
                <a:cubicBezTo>
                  <a:pt x="264755" y="77155"/>
                  <a:pt x="251861" y="90128"/>
                  <a:pt x="235744" y="90128"/>
                </a:cubicBezTo>
                <a:cubicBezTo>
                  <a:pt x="219627" y="90128"/>
                  <a:pt x="206375" y="77155"/>
                  <a:pt x="206375" y="60939"/>
                </a:cubicBezTo>
                <a:cubicBezTo>
                  <a:pt x="206375" y="44723"/>
                  <a:pt x="219627" y="31750"/>
                  <a:pt x="235744" y="31750"/>
                </a:cubicBezTo>
                <a:close/>
                <a:moveTo>
                  <a:pt x="235565" y="8633"/>
                </a:moveTo>
                <a:cubicBezTo>
                  <a:pt x="206887" y="8633"/>
                  <a:pt x="183587" y="32373"/>
                  <a:pt x="183587" y="61148"/>
                </a:cubicBezTo>
                <a:cubicBezTo>
                  <a:pt x="183587" y="97478"/>
                  <a:pt x="223735" y="141720"/>
                  <a:pt x="235565" y="153590"/>
                </a:cubicBezTo>
                <a:cubicBezTo>
                  <a:pt x="247036" y="141720"/>
                  <a:pt x="287543" y="97478"/>
                  <a:pt x="287543" y="61148"/>
                </a:cubicBezTo>
                <a:cubicBezTo>
                  <a:pt x="287543" y="32373"/>
                  <a:pt x="263884" y="8633"/>
                  <a:pt x="235565" y="8633"/>
                </a:cubicBezTo>
                <a:close/>
                <a:moveTo>
                  <a:pt x="235565" y="0"/>
                </a:moveTo>
                <a:cubicBezTo>
                  <a:pt x="268903" y="0"/>
                  <a:pt x="296505" y="27337"/>
                  <a:pt x="296505" y="61148"/>
                </a:cubicBezTo>
                <a:cubicBezTo>
                  <a:pt x="296505" y="107549"/>
                  <a:pt x="240942" y="161144"/>
                  <a:pt x="238433" y="163661"/>
                </a:cubicBezTo>
                <a:cubicBezTo>
                  <a:pt x="237716" y="164381"/>
                  <a:pt x="236640" y="164741"/>
                  <a:pt x="235565" y="164741"/>
                </a:cubicBezTo>
                <a:cubicBezTo>
                  <a:pt x="234131" y="164741"/>
                  <a:pt x="233414" y="164381"/>
                  <a:pt x="232339" y="163661"/>
                </a:cubicBezTo>
                <a:cubicBezTo>
                  <a:pt x="230188" y="161144"/>
                  <a:pt x="174625" y="107549"/>
                  <a:pt x="174625" y="61148"/>
                </a:cubicBezTo>
                <a:cubicBezTo>
                  <a:pt x="174625" y="27337"/>
                  <a:pt x="201869" y="0"/>
                  <a:pt x="235565" y="0"/>
                </a:cubicBezTo>
                <a:close/>
                <a:moveTo>
                  <a:pt x="149045" y="0"/>
                </a:moveTo>
                <a:cubicBezTo>
                  <a:pt x="159485" y="0"/>
                  <a:pt x="170646" y="1082"/>
                  <a:pt x="181086" y="3244"/>
                </a:cubicBezTo>
                <a:cubicBezTo>
                  <a:pt x="183606" y="3965"/>
                  <a:pt x="185046" y="6488"/>
                  <a:pt x="184686" y="8651"/>
                </a:cubicBezTo>
                <a:cubicBezTo>
                  <a:pt x="183966" y="11174"/>
                  <a:pt x="181806" y="12616"/>
                  <a:pt x="179286" y="12255"/>
                </a:cubicBezTo>
                <a:cubicBezTo>
                  <a:pt x="169206" y="10093"/>
                  <a:pt x="159125" y="8651"/>
                  <a:pt x="149045" y="8651"/>
                </a:cubicBezTo>
                <a:cubicBezTo>
                  <a:pt x="117364" y="8651"/>
                  <a:pt x="88203" y="19464"/>
                  <a:pt x="64442" y="37487"/>
                </a:cubicBezTo>
                <a:lnTo>
                  <a:pt x="154805" y="127598"/>
                </a:lnTo>
                <a:lnTo>
                  <a:pt x="171726" y="110297"/>
                </a:lnTo>
                <a:cubicBezTo>
                  <a:pt x="173166" y="108855"/>
                  <a:pt x="176046" y="108855"/>
                  <a:pt x="177846" y="110297"/>
                </a:cubicBezTo>
                <a:cubicBezTo>
                  <a:pt x="179646" y="112099"/>
                  <a:pt x="179646" y="114983"/>
                  <a:pt x="177846" y="116785"/>
                </a:cubicBezTo>
                <a:lnTo>
                  <a:pt x="160926" y="133726"/>
                </a:lnTo>
                <a:lnTo>
                  <a:pt x="260649" y="233570"/>
                </a:lnTo>
                <a:cubicBezTo>
                  <a:pt x="278290" y="209780"/>
                  <a:pt x="289090" y="180584"/>
                  <a:pt x="289090" y="148865"/>
                </a:cubicBezTo>
                <a:cubicBezTo>
                  <a:pt x="289090" y="140935"/>
                  <a:pt x="288370" y="132645"/>
                  <a:pt x="286570" y="124715"/>
                </a:cubicBezTo>
                <a:cubicBezTo>
                  <a:pt x="286210" y="122192"/>
                  <a:pt x="288010" y="120029"/>
                  <a:pt x="290530" y="119669"/>
                </a:cubicBezTo>
                <a:cubicBezTo>
                  <a:pt x="293050" y="119308"/>
                  <a:pt x="295210" y="120750"/>
                  <a:pt x="295570" y="123273"/>
                </a:cubicBezTo>
                <a:cubicBezTo>
                  <a:pt x="297010" y="131563"/>
                  <a:pt x="298090" y="140214"/>
                  <a:pt x="298090" y="148865"/>
                </a:cubicBezTo>
                <a:cubicBezTo>
                  <a:pt x="298090" y="231047"/>
                  <a:pt x="231128" y="298090"/>
                  <a:pt x="149045" y="298090"/>
                </a:cubicBezTo>
                <a:cubicBezTo>
                  <a:pt x="66962" y="298090"/>
                  <a:pt x="0" y="231047"/>
                  <a:pt x="0" y="148865"/>
                </a:cubicBezTo>
                <a:cubicBezTo>
                  <a:pt x="0" y="66683"/>
                  <a:pt x="66962" y="0"/>
                  <a:pt x="149045" y="0"/>
                </a:cubicBezTo>
                <a:close/>
              </a:path>
            </a:pathLst>
          </a:custGeom>
          <a:solidFill>
            <a:schemeClr val="bg1"/>
          </a:solidFill>
          <a:ln>
            <a:noFill/>
          </a:ln>
          <a:effectLst/>
        </p:spPr>
        <p:txBody>
          <a:bodyPr anchor="ctr"/>
          <a:lstStyle/>
          <a:p>
            <a:pPr algn="r"/>
            <a:endParaRPr lang="en-US" sz="900" dirty="0">
              <a:latin typeface="Lato Light" panose="020F0502020204030203" pitchFamily="34" charset="0"/>
            </a:endParaRPr>
          </a:p>
        </p:txBody>
      </p:sp>
      <p:sp>
        <p:nvSpPr>
          <p:cNvPr id="14" name="Oval 13">
            <a:extLst>
              <a:ext uri="{FF2B5EF4-FFF2-40B4-BE49-F238E27FC236}">
                <a16:creationId xmlns:a16="http://schemas.microsoft.com/office/drawing/2014/main" id="{25214822-83A3-1B45-A57F-1EFD3A231708}"/>
              </a:ext>
            </a:extLst>
          </p:cNvPr>
          <p:cNvSpPr/>
          <p:nvPr/>
        </p:nvSpPr>
        <p:spPr>
          <a:xfrm>
            <a:off x="7727390" y="3445563"/>
            <a:ext cx="807720" cy="8077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5" name="Oval 14">
            <a:extLst>
              <a:ext uri="{FF2B5EF4-FFF2-40B4-BE49-F238E27FC236}">
                <a16:creationId xmlns:a16="http://schemas.microsoft.com/office/drawing/2014/main" id="{8A298900-EE15-EA47-A492-12704DBBACB6}"/>
              </a:ext>
            </a:extLst>
          </p:cNvPr>
          <p:cNvSpPr/>
          <p:nvPr/>
        </p:nvSpPr>
        <p:spPr>
          <a:xfrm>
            <a:off x="7727390" y="4541521"/>
            <a:ext cx="807720" cy="8077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6" name="Oval 15">
            <a:extLst>
              <a:ext uri="{FF2B5EF4-FFF2-40B4-BE49-F238E27FC236}">
                <a16:creationId xmlns:a16="http://schemas.microsoft.com/office/drawing/2014/main" id="{71E8ECDB-665A-9546-8601-3B3342A8D10E}"/>
              </a:ext>
            </a:extLst>
          </p:cNvPr>
          <p:cNvSpPr/>
          <p:nvPr/>
        </p:nvSpPr>
        <p:spPr>
          <a:xfrm>
            <a:off x="7727390" y="5637479"/>
            <a:ext cx="807720" cy="8077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7" name="Freeform 739">
            <a:extLst>
              <a:ext uri="{FF2B5EF4-FFF2-40B4-BE49-F238E27FC236}">
                <a16:creationId xmlns:a16="http://schemas.microsoft.com/office/drawing/2014/main" id="{D63BE957-1AC6-BD43-A385-CB86A765728A}"/>
              </a:ext>
            </a:extLst>
          </p:cNvPr>
          <p:cNvSpPr>
            <a:spLocks noChangeArrowheads="1"/>
          </p:cNvSpPr>
          <p:nvPr/>
        </p:nvSpPr>
        <p:spPr bwMode="auto">
          <a:xfrm>
            <a:off x="7935530" y="3653703"/>
            <a:ext cx="387276" cy="391440"/>
          </a:xfrm>
          <a:custGeom>
            <a:avLst/>
            <a:gdLst/>
            <a:ahLst/>
            <a:cxnLst/>
            <a:rect l="0" t="0" r="r" b="b"/>
            <a:pathLst>
              <a:path w="294916" h="298090">
                <a:moveTo>
                  <a:pt x="209423" y="175177"/>
                </a:moveTo>
                <a:lnTo>
                  <a:pt x="209423" y="223477"/>
                </a:lnTo>
                <a:cubicBezTo>
                  <a:pt x="209423" y="244744"/>
                  <a:pt x="226306" y="262045"/>
                  <a:pt x="247499" y="262045"/>
                </a:cubicBezTo>
                <a:cubicBezTo>
                  <a:pt x="268693" y="262045"/>
                  <a:pt x="285936" y="244744"/>
                  <a:pt x="285936" y="223477"/>
                </a:cubicBezTo>
                <a:lnTo>
                  <a:pt x="285936" y="175177"/>
                </a:lnTo>
                <a:cubicBezTo>
                  <a:pt x="274800" y="182747"/>
                  <a:pt x="261150" y="186351"/>
                  <a:pt x="247859" y="186351"/>
                </a:cubicBezTo>
                <a:cubicBezTo>
                  <a:pt x="234209" y="186351"/>
                  <a:pt x="220558" y="182747"/>
                  <a:pt x="209423" y="175177"/>
                </a:cubicBezTo>
                <a:close/>
                <a:moveTo>
                  <a:pt x="58555" y="164647"/>
                </a:moveTo>
                <a:cubicBezTo>
                  <a:pt x="49784" y="164647"/>
                  <a:pt x="42475" y="171541"/>
                  <a:pt x="42475" y="180612"/>
                </a:cubicBezTo>
                <a:cubicBezTo>
                  <a:pt x="42475" y="189321"/>
                  <a:pt x="49784" y="196578"/>
                  <a:pt x="58555" y="196578"/>
                </a:cubicBezTo>
                <a:cubicBezTo>
                  <a:pt x="67692" y="196578"/>
                  <a:pt x="75001" y="189321"/>
                  <a:pt x="75001" y="180612"/>
                </a:cubicBezTo>
                <a:cubicBezTo>
                  <a:pt x="75001" y="171541"/>
                  <a:pt x="67692" y="164647"/>
                  <a:pt x="58555" y="164647"/>
                </a:cubicBezTo>
                <a:close/>
                <a:moveTo>
                  <a:pt x="58555" y="155575"/>
                </a:moveTo>
                <a:cubicBezTo>
                  <a:pt x="72443" y="155575"/>
                  <a:pt x="83773" y="166824"/>
                  <a:pt x="83773" y="180612"/>
                </a:cubicBezTo>
                <a:cubicBezTo>
                  <a:pt x="83773" y="194401"/>
                  <a:pt x="72443" y="206012"/>
                  <a:pt x="58555" y="206012"/>
                </a:cubicBezTo>
                <a:cubicBezTo>
                  <a:pt x="44668" y="206012"/>
                  <a:pt x="33338" y="194401"/>
                  <a:pt x="33338" y="180612"/>
                </a:cubicBezTo>
                <a:cubicBezTo>
                  <a:pt x="33338" y="166824"/>
                  <a:pt x="44668" y="155575"/>
                  <a:pt x="58555" y="155575"/>
                </a:cubicBezTo>
                <a:close/>
                <a:moveTo>
                  <a:pt x="249238" y="130175"/>
                </a:moveTo>
                <a:cubicBezTo>
                  <a:pt x="251436" y="130175"/>
                  <a:pt x="253634" y="132366"/>
                  <a:pt x="253634" y="134921"/>
                </a:cubicBezTo>
                <a:lnTo>
                  <a:pt x="253634" y="161942"/>
                </a:lnTo>
                <a:cubicBezTo>
                  <a:pt x="253634" y="164132"/>
                  <a:pt x="251436" y="166323"/>
                  <a:pt x="249238" y="166323"/>
                </a:cubicBezTo>
                <a:cubicBezTo>
                  <a:pt x="246307" y="166323"/>
                  <a:pt x="244475" y="164132"/>
                  <a:pt x="244475" y="161942"/>
                </a:cubicBezTo>
                <a:lnTo>
                  <a:pt x="244475" y="134921"/>
                </a:lnTo>
                <a:cubicBezTo>
                  <a:pt x="244475" y="132366"/>
                  <a:pt x="246307" y="130175"/>
                  <a:pt x="249238" y="130175"/>
                </a:cubicBezTo>
                <a:close/>
                <a:moveTo>
                  <a:pt x="247499" y="118226"/>
                </a:moveTo>
                <a:cubicBezTo>
                  <a:pt x="226306" y="118226"/>
                  <a:pt x="209423" y="135528"/>
                  <a:pt x="209423" y="156434"/>
                </a:cubicBezTo>
                <a:lnTo>
                  <a:pt x="209423" y="164004"/>
                </a:lnTo>
                <a:cubicBezTo>
                  <a:pt x="230616" y="181665"/>
                  <a:pt x="264383" y="181665"/>
                  <a:pt x="285936" y="164004"/>
                </a:cubicBezTo>
                <a:lnTo>
                  <a:pt x="285936" y="156434"/>
                </a:lnTo>
                <a:cubicBezTo>
                  <a:pt x="285936" y="135528"/>
                  <a:pt x="268693" y="118226"/>
                  <a:pt x="247859" y="118226"/>
                </a:cubicBezTo>
                <a:lnTo>
                  <a:pt x="247499" y="118226"/>
                </a:lnTo>
                <a:close/>
                <a:moveTo>
                  <a:pt x="58911" y="0"/>
                </a:moveTo>
                <a:cubicBezTo>
                  <a:pt x="59989" y="0"/>
                  <a:pt x="61067" y="360"/>
                  <a:pt x="62144" y="1081"/>
                </a:cubicBezTo>
                <a:lnTo>
                  <a:pt x="85493" y="24871"/>
                </a:lnTo>
                <a:cubicBezTo>
                  <a:pt x="86212" y="25591"/>
                  <a:pt x="86930" y="26673"/>
                  <a:pt x="86930" y="27754"/>
                </a:cubicBezTo>
                <a:lnTo>
                  <a:pt x="86930" y="130121"/>
                </a:lnTo>
                <a:cubicBezTo>
                  <a:pt x="104532" y="140214"/>
                  <a:pt x="116027" y="159318"/>
                  <a:pt x="116027" y="180224"/>
                </a:cubicBezTo>
                <a:cubicBezTo>
                  <a:pt x="116027" y="210501"/>
                  <a:pt x="92318" y="236093"/>
                  <a:pt x="62144" y="238256"/>
                </a:cubicBezTo>
                <a:lnTo>
                  <a:pt x="62504" y="249429"/>
                </a:lnTo>
                <a:cubicBezTo>
                  <a:pt x="62504" y="271056"/>
                  <a:pt x="80105" y="289079"/>
                  <a:pt x="102017" y="289079"/>
                </a:cubicBezTo>
                <a:cubicBezTo>
                  <a:pt x="123929" y="289079"/>
                  <a:pt x="141890" y="271056"/>
                  <a:pt x="141890" y="249429"/>
                </a:cubicBezTo>
                <a:lnTo>
                  <a:pt x="141890" y="89751"/>
                </a:lnTo>
                <a:cubicBezTo>
                  <a:pt x="141890" y="59113"/>
                  <a:pt x="166676" y="34603"/>
                  <a:pt x="197209" y="34603"/>
                </a:cubicBezTo>
                <a:cubicBezTo>
                  <a:pt x="227383" y="34603"/>
                  <a:pt x="252169" y="59113"/>
                  <a:pt x="252169" y="89751"/>
                </a:cubicBezTo>
                <a:lnTo>
                  <a:pt x="252169" y="109215"/>
                </a:lnTo>
                <a:cubicBezTo>
                  <a:pt x="276237" y="111378"/>
                  <a:pt x="294916" y="131923"/>
                  <a:pt x="294916" y="156434"/>
                </a:cubicBezTo>
                <a:lnTo>
                  <a:pt x="294916" y="223477"/>
                </a:lnTo>
                <a:cubicBezTo>
                  <a:pt x="294916" y="249790"/>
                  <a:pt x="273722" y="271056"/>
                  <a:pt x="247859" y="271056"/>
                </a:cubicBezTo>
                <a:cubicBezTo>
                  <a:pt x="221277" y="271056"/>
                  <a:pt x="200442" y="249790"/>
                  <a:pt x="200442" y="223477"/>
                </a:cubicBezTo>
                <a:lnTo>
                  <a:pt x="200442" y="156434"/>
                </a:lnTo>
                <a:cubicBezTo>
                  <a:pt x="200442" y="131923"/>
                  <a:pt x="219121" y="111378"/>
                  <a:pt x="243189" y="109215"/>
                </a:cubicBezTo>
                <a:lnTo>
                  <a:pt x="243189" y="89751"/>
                </a:lnTo>
                <a:cubicBezTo>
                  <a:pt x="243189" y="64159"/>
                  <a:pt x="222354" y="43253"/>
                  <a:pt x="197209" y="43253"/>
                </a:cubicBezTo>
                <a:cubicBezTo>
                  <a:pt x="171705" y="43253"/>
                  <a:pt x="150871" y="64159"/>
                  <a:pt x="150871" y="89751"/>
                </a:cubicBezTo>
                <a:lnTo>
                  <a:pt x="150871" y="249429"/>
                </a:lnTo>
                <a:cubicBezTo>
                  <a:pt x="150871" y="276103"/>
                  <a:pt x="128958" y="298090"/>
                  <a:pt x="102017" y="298090"/>
                </a:cubicBezTo>
                <a:cubicBezTo>
                  <a:pt x="75435" y="298090"/>
                  <a:pt x="53523" y="276103"/>
                  <a:pt x="53523" y="249429"/>
                </a:cubicBezTo>
                <a:lnTo>
                  <a:pt x="53523" y="238256"/>
                </a:lnTo>
                <a:cubicBezTo>
                  <a:pt x="53523" y="233570"/>
                  <a:pt x="57115" y="229605"/>
                  <a:pt x="61785" y="229244"/>
                </a:cubicBezTo>
                <a:cubicBezTo>
                  <a:pt x="86930" y="227442"/>
                  <a:pt x="106687" y="205815"/>
                  <a:pt x="106687" y="180224"/>
                </a:cubicBezTo>
                <a:cubicBezTo>
                  <a:pt x="106687" y="161841"/>
                  <a:pt x="96629" y="145260"/>
                  <a:pt x="80105" y="136609"/>
                </a:cubicBezTo>
                <a:cubicBezTo>
                  <a:pt x="78668" y="135888"/>
                  <a:pt x="77950" y="134446"/>
                  <a:pt x="77950" y="132644"/>
                </a:cubicBezTo>
                <a:lnTo>
                  <a:pt x="77950" y="29917"/>
                </a:lnTo>
                <a:lnTo>
                  <a:pt x="58911" y="10813"/>
                </a:lnTo>
                <a:lnTo>
                  <a:pt x="43465" y="26673"/>
                </a:lnTo>
                <a:lnTo>
                  <a:pt x="50649" y="33882"/>
                </a:lnTo>
                <a:cubicBezTo>
                  <a:pt x="52446" y="35684"/>
                  <a:pt x="53523" y="38207"/>
                  <a:pt x="53523" y="41091"/>
                </a:cubicBezTo>
                <a:cubicBezTo>
                  <a:pt x="53523" y="43614"/>
                  <a:pt x="52446" y="46137"/>
                  <a:pt x="50649" y="48300"/>
                </a:cubicBezTo>
                <a:lnTo>
                  <a:pt x="42747" y="56229"/>
                </a:lnTo>
                <a:lnTo>
                  <a:pt x="49931" y="63438"/>
                </a:lnTo>
                <a:cubicBezTo>
                  <a:pt x="52086" y="65241"/>
                  <a:pt x="52805" y="67764"/>
                  <a:pt x="52805" y="70647"/>
                </a:cubicBezTo>
                <a:cubicBezTo>
                  <a:pt x="52805" y="73531"/>
                  <a:pt x="52086" y="76054"/>
                  <a:pt x="49931" y="77856"/>
                </a:cubicBezTo>
                <a:lnTo>
                  <a:pt x="42747" y="85426"/>
                </a:lnTo>
                <a:lnTo>
                  <a:pt x="49931" y="92635"/>
                </a:lnTo>
                <a:cubicBezTo>
                  <a:pt x="54242" y="96600"/>
                  <a:pt x="54242" y="102727"/>
                  <a:pt x="49931" y="107052"/>
                </a:cubicBezTo>
                <a:lnTo>
                  <a:pt x="38077" y="118947"/>
                </a:lnTo>
                <a:lnTo>
                  <a:pt x="38077" y="132644"/>
                </a:lnTo>
                <a:cubicBezTo>
                  <a:pt x="38077" y="134446"/>
                  <a:pt x="36999" y="135888"/>
                  <a:pt x="35562" y="136609"/>
                </a:cubicBezTo>
                <a:cubicBezTo>
                  <a:pt x="19038" y="145260"/>
                  <a:pt x="8980" y="161841"/>
                  <a:pt x="8980" y="180224"/>
                </a:cubicBezTo>
                <a:cubicBezTo>
                  <a:pt x="8980" y="200048"/>
                  <a:pt x="20834" y="217710"/>
                  <a:pt x="38795" y="225640"/>
                </a:cubicBezTo>
                <a:cubicBezTo>
                  <a:pt x="41310" y="226361"/>
                  <a:pt x="42028" y="229244"/>
                  <a:pt x="41310" y="231768"/>
                </a:cubicBezTo>
                <a:cubicBezTo>
                  <a:pt x="40232" y="233570"/>
                  <a:pt x="37718" y="234651"/>
                  <a:pt x="35562" y="233930"/>
                </a:cubicBezTo>
                <a:cubicBezTo>
                  <a:pt x="14009" y="224919"/>
                  <a:pt x="0" y="203653"/>
                  <a:pt x="0" y="180224"/>
                </a:cubicBezTo>
                <a:cubicBezTo>
                  <a:pt x="0" y="159318"/>
                  <a:pt x="11136" y="140214"/>
                  <a:pt x="29096" y="130121"/>
                </a:cubicBezTo>
                <a:lnTo>
                  <a:pt x="29096" y="117145"/>
                </a:lnTo>
                <a:cubicBezTo>
                  <a:pt x="29096" y="116064"/>
                  <a:pt x="29456" y="114622"/>
                  <a:pt x="30533" y="113901"/>
                </a:cubicBezTo>
                <a:lnTo>
                  <a:pt x="43824" y="100564"/>
                </a:lnTo>
                <a:cubicBezTo>
                  <a:pt x="44184" y="100204"/>
                  <a:pt x="44184" y="99483"/>
                  <a:pt x="43824" y="99123"/>
                </a:cubicBezTo>
                <a:lnTo>
                  <a:pt x="33048" y="88309"/>
                </a:lnTo>
                <a:cubicBezTo>
                  <a:pt x="32688" y="87588"/>
                  <a:pt x="31970" y="86867"/>
                  <a:pt x="31970" y="85786"/>
                </a:cubicBezTo>
                <a:cubicBezTo>
                  <a:pt x="31611" y="84344"/>
                  <a:pt x="31970" y="82903"/>
                  <a:pt x="33048" y="81821"/>
                </a:cubicBezTo>
                <a:lnTo>
                  <a:pt x="43824" y="71368"/>
                </a:lnTo>
                <a:cubicBezTo>
                  <a:pt x="43824" y="71008"/>
                  <a:pt x="43824" y="71008"/>
                  <a:pt x="43824" y="70647"/>
                </a:cubicBezTo>
                <a:lnTo>
                  <a:pt x="43824" y="69926"/>
                </a:lnTo>
                <a:lnTo>
                  <a:pt x="33048" y="59113"/>
                </a:lnTo>
                <a:cubicBezTo>
                  <a:pt x="31611" y="57671"/>
                  <a:pt x="31611" y="54427"/>
                  <a:pt x="33048" y="52985"/>
                </a:cubicBezTo>
                <a:lnTo>
                  <a:pt x="44184" y="41812"/>
                </a:lnTo>
                <a:cubicBezTo>
                  <a:pt x="44543" y="41451"/>
                  <a:pt x="44543" y="40730"/>
                  <a:pt x="44184" y="40370"/>
                </a:cubicBezTo>
                <a:lnTo>
                  <a:pt x="33407" y="29917"/>
                </a:lnTo>
                <a:cubicBezTo>
                  <a:pt x="32688" y="28835"/>
                  <a:pt x="32329" y="27754"/>
                  <a:pt x="32329" y="26673"/>
                </a:cubicBezTo>
                <a:cubicBezTo>
                  <a:pt x="32329" y="25231"/>
                  <a:pt x="32688" y="24150"/>
                  <a:pt x="33407" y="23429"/>
                </a:cubicBezTo>
                <a:lnTo>
                  <a:pt x="55679" y="1081"/>
                </a:lnTo>
                <a:cubicBezTo>
                  <a:pt x="56397" y="360"/>
                  <a:pt x="57834" y="0"/>
                  <a:pt x="58911"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18" name="Freeform 740">
            <a:extLst>
              <a:ext uri="{FF2B5EF4-FFF2-40B4-BE49-F238E27FC236}">
                <a16:creationId xmlns:a16="http://schemas.microsoft.com/office/drawing/2014/main" id="{96387864-9B40-AE49-AC90-6179C2F2DE26}"/>
              </a:ext>
            </a:extLst>
          </p:cNvPr>
          <p:cNvSpPr>
            <a:spLocks noChangeArrowheads="1"/>
          </p:cNvSpPr>
          <p:nvPr/>
        </p:nvSpPr>
        <p:spPr bwMode="auto">
          <a:xfrm>
            <a:off x="7935530" y="4754866"/>
            <a:ext cx="391440" cy="381030"/>
          </a:xfrm>
          <a:custGeom>
            <a:avLst/>
            <a:gdLst/>
            <a:ahLst/>
            <a:cxnLst/>
            <a:rect l="0" t="0" r="r" b="b"/>
            <a:pathLst>
              <a:path w="298090" h="290302">
                <a:moveTo>
                  <a:pt x="23019" y="206348"/>
                </a:moveTo>
                <a:cubicBezTo>
                  <a:pt x="25982" y="206348"/>
                  <a:pt x="28205" y="208647"/>
                  <a:pt x="28205" y="211713"/>
                </a:cubicBezTo>
                <a:cubicBezTo>
                  <a:pt x="28205" y="214779"/>
                  <a:pt x="25982" y="217078"/>
                  <a:pt x="23019" y="217078"/>
                </a:cubicBezTo>
                <a:cubicBezTo>
                  <a:pt x="20055" y="217078"/>
                  <a:pt x="17462" y="214779"/>
                  <a:pt x="17462" y="211713"/>
                </a:cubicBezTo>
                <a:cubicBezTo>
                  <a:pt x="17462" y="208647"/>
                  <a:pt x="20055" y="206348"/>
                  <a:pt x="23019" y="206348"/>
                </a:cubicBezTo>
                <a:close/>
                <a:moveTo>
                  <a:pt x="47162" y="195228"/>
                </a:moveTo>
                <a:lnTo>
                  <a:pt x="47162" y="268694"/>
                </a:lnTo>
                <a:cubicBezTo>
                  <a:pt x="67683" y="275177"/>
                  <a:pt x="189367" y="307588"/>
                  <a:pt x="281890" y="234482"/>
                </a:cubicBezTo>
                <a:cubicBezTo>
                  <a:pt x="283690" y="233042"/>
                  <a:pt x="289090" y="228720"/>
                  <a:pt x="289090" y="224759"/>
                </a:cubicBezTo>
                <a:cubicBezTo>
                  <a:pt x="289090" y="223678"/>
                  <a:pt x="289090" y="222238"/>
                  <a:pt x="286570" y="220437"/>
                </a:cubicBezTo>
                <a:cubicBezTo>
                  <a:pt x="284770" y="218997"/>
                  <a:pt x="275769" y="222598"/>
                  <a:pt x="266769" y="226559"/>
                </a:cubicBezTo>
                <a:cubicBezTo>
                  <a:pt x="252009" y="232682"/>
                  <a:pt x="229328" y="242405"/>
                  <a:pt x="195847" y="249247"/>
                </a:cubicBezTo>
                <a:cubicBezTo>
                  <a:pt x="188287" y="251768"/>
                  <a:pt x="177846" y="253209"/>
                  <a:pt x="164166" y="253209"/>
                </a:cubicBezTo>
                <a:cubicBezTo>
                  <a:pt x="153005" y="253209"/>
                  <a:pt x="139685" y="252489"/>
                  <a:pt x="123844" y="250328"/>
                </a:cubicBezTo>
                <a:cubicBezTo>
                  <a:pt x="121684" y="249968"/>
                  <a:pt x="119524" y="247807"/>
                  <a:pt x="120244" y="245286"/>
                </a:cubicBezTo>
                <a:cubicBezTo>
                  <a:pt x="120244" y="242765"/>
                  <a:pt x="122764" y="241325"/>
                  <a:pt x="125284" y="241325"/>
                </a:cubicBezTo>
                <a:cubicBezTo>
                  <a:pt x="165966" y="246727"/>
                  <a:pt x="184326" y="243846"/>
                  <a:pt x="192967" y="240604"/>
                </a:cubicBezTo>
                <a:cubicBezTo>
                  <a:pt x="201247" y="237363"/>
                  <a:pt x="201247" y="233402"/>
                  <a:pt x="201607" y="231601"/>
                </a:cubicBezTo>
                <a:cubicBezTo>
                  <a:pt x="201607" y="226199"/>
                  <a:pt x="200527" y="222238"/>
                  <a:pt x="198367" y="219717"/>
                </a:cubicBezTo>
                <a:cubicBezTo>
                  <a:pt x="195127" y="216476"/>
                  <a:pt x="189727" y="216476"/>
                  <a:pt x="189727" y="216476"/>
                </a:cubicBezTo>
                <a:cubicBezTo>
                  <a:pt x="145445" y="217196"/>
                  <a:pt x="137525" y="212515"/>
                  <a:pt x="128165" y="207113"/>
                </a:cubicBezTo>
                <a:cubicBezTo>
                  <a:pt x="119164" y="201710"/>
                  <a:pt x="108724" y="195948"/>
                  <a:pt x="47162" y="195228"/>
                </a:cubicBezTo>
                <a:close/>
                <a:moveTo>
                  <a:pt x="9000" y="195228"/>
                </a:moveTo>
                <a:lnTo>
                  <a:pt x="9000" y="267614"/>
                </a:lnTo>
                <a:lnTo>
                  <a:pt x="38162" y="267614"/>
                </a:lnTo>
                <a:lnTo>
                  <a:pt x="38162" y="195228"/>
                </a:lnTo>
                <a:lnTo>
                  <a:pt x="9000" y="195228"/>
                </a:lnTo>
                <a:close/>
                <a:moveTo>
                  <a:pt x="196360" y="174422"/>
                </a:moveTo>
                <a:lnTo>
                  <a:pt x="219413" y="189944"/>
                </a:lnTo>
                <a:cubicBezTo>
                  <a:pt x="221541" y="191708"/>
                  <a:pt x="221896" y="194177"/>
                  <a:pt x="220477" y="196294"/>
                </a:cubicBezTo>
                <a:cubicBezTo>
                  <a:pt x="219768" y="197705"/>
                  <a:pt x="218349" y="198058"/>
                  <a:pt x="216930" y="198058"/>
                </a:cubicBezTo>
                <a:cubicBezTo>
                  <a:pt x="215866" y="198058"/>
                  <a:pt x="215157" y="198058"/>
                  <a:pt x="214448" y="197705"/>
                </a:cubicBezTo>
                <a:lnTo>
                  <a:pt x="191395" y="181830"/>
                </a:lnTo>
                <a:cubicBezTo>
                  <a:pt x="189622" y="180772"/>
                  <a:pt x="188912" y="177597"/>
                  <a:pt x="190331" y="175833"/>
                </a:cubicBezTo>
                <a:cubicBezTo>
                  <a:pt x="191750" y="173716"/>
                  <a:pt x="194587" y="173011"/>
                  <a:pt x="196360" y="174422"/>
                </a:cubicBezTo>
                <a:close/>
                <a:moveTo>
                  <a:pt x="110688" y="149051"/>
                </a:moveTo>
                <a:lnTo>
                  <a:pt x="157480" y="181828"/>
                </a:lnTo>
                <a:cubicBezTo>
                  <a:pt x="159623" y="182909"/>
                  <a:pt x="159980" y="186151"/>
                  <a:pt x="158908" y="187951"/>
                </a:cubicBezTo>
                <a:cubicBezTo>
                  <a:pt x="157837" y="189392"/>
                  <a:pt x="156408" y="190113"/>
                  <a:pt x="154979" y="190113"/>
                </a:cubicBezTo>
                <a:cubicBezTo>
                  <a:pt x="154265" y="190113"/>
                  <a:pt x="153551" y="189752"/>
                  <a:pt x="152479" y="189032"/>
                </a:cubicBezTo>
                <a:lnTo>
                  <a:pt x="105688" y="156615"/>
                </a:lnTo>
                <a:cubicBezTo>
                  <a:pt x="103544" y="155175"/>
                  <a:pt x="103187" y="152293"/>
                  <a:pt x="104259" y="150492"/>
                </a:cubicBezTo>
                <a:cubicBezTo>
                  <a:pt x="105688" y="148331"/>
                  <a:pt x="108545" y="147611"/>
                  <a:pt x="110688" y="149051"/>
                </a:cubicBezTo>
                <a:close/>
                <a:moveTo>
                  <a:pt x="155085" y="144259"/>
                </a:moveTo>
                <a:lnTo>
                  <a:pt x="178138" y="159781"/>
                </a:lnTo>
                <a:cubicBezTo>
                  <a:pt x="180266" y="161545"/>
                  <a:pt x="180621" y="164014"/>
                  <a:pt x="179202" y="166131"/>
                </a:cubicBezTo>
                <a:cubicBezTo>
                  <a:pt x="178138" y="167542"/>
                  <a:pt x="177074" y="167895"/>
                  <a:pt x="175655" y="167895"/>
                </a:cubicBezTo>
                <a:cubicBezTo>
                  <a:pt x="174591" y="167895"/>
                  <a:pt x="173882" y="167895"/>
                  <a:pt x="173173" y="167542"/>
                </a:cubicBezTo>
                <a:lnTo>
                  <a:pt x="150120" y="151667"/>
                </a:lnTo>
                <a:cubicBezTo>
                  <a:pt x="147992" y="150256"/>
                  <a:pt x="147637" y="147434"/>
                  <a:pt x="148701" y="145670"/>
                </a:cubicBezTo>
                <a:cubicBezTo>
                  <a:pt x="150475" y="143553"/>
                  <a:pt x="152957" y="142848"/>
                  <a:pt x="155085" y="144259"/>
                </a:cubicBezTo>
                <a:close/>
                <a:moveTo>
                  <a:pt x="229742" y="137017"/>
                </a:moveTo>
                <a:cubicBezTo>
                  <a:pt x="229385" y="139922"/>
                  <a:pt x="228315" y="142464"/>
                  <a:pt x="226888" y="144643"/>
                </a:cubicBezTo>
                <a:cubicBezTo>
                  <a:pt x="225104" y="146822"/>
                  <a:pt x="223320" y="148638"/>
                  <a:pt x="220823" y="150453"/>
                </a:cubicBezTo>
                <a:cubicBezTo>
                  <a:pt x="221537" y="152995"/>
                  <a:pt x="222964" y="155174"/>
                  <a:pt x="225461" y="156627"/>
                </a:cubicBezTo>
                <a:cubicBezTo>
                  <a:pt x="230099" y="160258"/>
                  <a:pt x="236877" y="158806"/>
                  <a:pt x="240087" y="154085"/>
                </a:cubicBezTo>
                <a:cubicBezTo>
                  <a:pt x="243655" y="149001"/>
                  <a:pt x="242228" y="142464"/>
                  <a:pt x="237590" y="139196"/>
                </a:cubicBezTo>
                <a:cubicBezTo>
                  <a:pt x="235093" y="137380"/>
                  <a:pt x="232596" y="136654"/>
                  <a:pt x="229742" y="137017"/>
                </a:cubicBezTo>
                <a:close/>
                <a:moveTo>
                  <a:pt x="210478" y="122491"/>
                </a:moveTo>
                <a:cubicBezTo>
                  <a:pt x="210121" y="122491"/>
                  <a:pt x="209408" y="122491"/>
                  <a:pt x="208694" y="122854"/>
                </a:cubicBezTo>
                <a:cubicBezTo>
                  <a:pt x="205840" y="123217"/>
                  <a:pt x="203343" y="125033"/>
                  <a:pt x="201916" y="127212"/>
                </a:cubicBezTo>
                <a:cubicBezTo>
                  <a:pt x="200132" y="129754"/>
                  <a:pt x="199419" y="132296"/>
                  <a:pt x="200132" y="135564"/>
                </a:cubicBezTo>
                <a:cubicBezTo>
                  <a:pt x="200489" y="138106"/>
                  <a:pt x="202273" y="140648"/>
                  <a:pt x="204413" y="142101"/>
                </a:cubicBezTo>
                <a:cubicBezTo>
                  <a:pt x="206910" y="143917"/>
                  <a:pt x="209764" y="144643"/>
                  <a:pt x="212618" y="143917"/>
                </a:cubicBezTo>
                <a:cubicBezTo>
                  <a:pt x="215115" y="143554"/>
                  <a:pt x="217613" y="141738"/>
                  <a:pt x="219396" y="139559"/>
                </a:cubicBezTo>
                <a:cubicBezTo>
                  <a:pt x="220823" y="137017"/>
                  <a:pt x="221537" y="134112"/>
                  <a:pt x="221180" y="131206"/>
                </a:cubicBezTo>
                <a:cubicBezTo>
                  <a:pt x="220467" y="128664"/>
                  <a:pt x="219040" y="126122"/>
                  <a:pt x="216542" y="124670"/>
                </a:cubicBezTo>
                <a:cubicBezTo>
                  <a:pt x="214759" y="123217"/>
                  <a:pt x="212618" y="122491"/>
                  <a:pt x="210478" y="122491"/>
                </a:cubicBezTo>
                <a:close/>
                <a:moveTo>
                  <a:pt x="112223" y="115684"/>
                </a:moveTo>
                <a:lnTo>
                  <a:pt x="135275" y="131206"/>
                </a:lnTo>
                <a:cubicBezTo>
                  <a:pt x="137048" y="132970"/>
                  <a:pt x="137758" y="135439"/>
                  <a:pt x="136339" y="137556"/>
                </a:cubicBezTo>
                <a:cubicBezTo>
                  <a:pt x="135275" y="138967"/>
                  <a:pt x="133856" y="139320"/>
                  <a:pt x="132793" y="139320"/>
                </a:cubicBezTo>
                <a:cubicBezTo>
                  <a:pt x="131729" y="139320"/>
                  <a:pt x="130665" y="139320"/>
                  <a:pt x="130310" y="138614"/>
                </a:cubicBezTo>
                <a:lnTo>
                  <a:pt x="107258" y="123092"/>
                </a:lnTo>
                <a:cubicBezTo>
                  <a:pt x="105130" y="121681"/>
                  <a:pt x="104775" y="118859"/>
                  <a:pt x="106194" y="116742"/>
                </a:cubicBezTo>
                <a:cubicBezTo>
                  <a:pt x="107612" y="114978"/>
                  <a:pt x="110095" y="114273"/>
                  <a:pt x="112223" y="115684"/>
                </a:cubicBezTo>
                <a:close/>
                <a:moveTo>
                  <a:pt x="206910" y="113775"/>
                </a:moveTo>
                <a:cubicBezTo>
                  <a:pt x="212261" y="112686"/>
                  <a:pt x="217256" y="113775"/>
                  <a:pt x="221894" y="116680"/>
                </a:cubicBezTo>
                <a:cubicBezTo>
                  <a:pt x="225461" y="119586"/>
                  <a:pt x="228315" y="123580"/>
                  <a:pt x="229385" y="128301"/>
                </a:cubicBezTo>
                <a:cubicBezTo>
                  <a:pt x="234023" y="127575"/>
                  <a:pt x="238304" y="128664"/>
                  <a:pt x="242585" y="131206"/>
                </a:cubicBezTo>
                <a:cubicBezTo>
                  <a:pt x="251146" y="137743"/>
                  <a:pt x="253644" y="150090"/>
                  <a:pt x="247579" y="159169"/>
                </a:cubicBezTo>
                <a:cubicBezTo>
                  <a:pt x="243655" y="164979"/>
                  <a:pt x="237590" y="167885"/>
                  <a:pt x="231169" y="167885"/>
                </a:cubicBezTo>
                <a:cubicBezTo>
                  <a:pt x="227245" y="167885"/>
                  <a:pt x="223677" y="166795"/>
                  <a:pt x="220110" y="164253"/>
                </a:cubicBezTo>
                <a:cubicBezTo>
                  <a:pt x="216542" y="161711"/>
                  <a:pt x="213688" y="157716"/>
                  <a:pt x="212618" y="152995"/>
                </a:cubicBezTo>
                <a:cubicBezTo>
                  <a:pt x="211905" y="152995"/>
                  <a:pt x="211191" y="153359"/>
                  <a:pt x="210478" y="153359"/>
                </a:cubicBezTo>
                <a:cubicBezTo>
                  <a:pt x="206554" y="153359"/>
                  <a:pt x="202986" y="151906"/>
                  <a:pt x="199419" y="150090"/>
                </a:cubicBezTo>
                <a:cubicBezTo>
                  <a:pt x="195138" y="146822"/>
                  <a:pt x="192284" y="142101"/>
                  <a:pt x="191214" y="137017"/>
                </a:cubicBezTo>
                <a:cubicBezTo>
                  <a:pt x="190500" y="131933"/>
                  <a:pt x="191570" y="126485"/>
                  <a:pt x="194424" y="122128"/>
                </a:cubicBezTo>
                <a:cubicBezTo>
                  <a:pt x="197635" y="117770"/>
                  <a:pt x="201916" y="114865"/>
                  <a:pt x="206910" y="113775"/>
                </a:cubicBezTo>
                <a:close/>
                <a:moveTo>
                  <a:pt x="53474" y="110936"/>
                </a:moveTo>
                <a:lnTo>
                  <a:pt x="89242" y="135883"/>
                </a:lnTo>
                <a:cubicBezTo>
                  <a:pt x="91367" y="137308"/>
                  <a:pt x="91721" y="139803"/>
                  <a:pt x="90305" y="141941"/>
                </a:cubicBezTo>
                <a:cubicBezTo>
                  <a:pt x="89596" y="143367"/>
                  <a:pt x="88180" y="144079"/>
                  <a:pt x="86763" y="144079"/>
                </a:cubicBezTo>
                <a:cubicBezTo>
                  <a:pt x="86055" y="144079"/>
                  <a:pt x="84992" y="143723"/>
                  <a:pt x="84284" y="143010"/>
                </a:cubicBezTo>
                <a:lnTo>
                  <a:pt x="48516" y="118420"/>
                </a:lnTo>
                <a:cubicBezTo>
                  <a:pt x="46391" y="116995"/>
                  <a:pt x="46037" y="114144"/>
                  <a:pt x="47100" y="112005"/>
                </a:cubicBezTo>
                <a:cubicBezTo>
                  <a:pt x="48516" y="109867"/>
                  <a:pt x="51349" y="109511"/>
                  <a:pt x="53474" y="110936"/>
                </a:cubicBezTo>
                <a:close/>
                <a:moveTo>
                  <a:pt x="70000" y="87109"/>
                </a:moveTo>
                <a:lnTo>
                  <a:pt x="93529" y="102631"/>
                </a:lnTo>
                <a:cubicBezTo>
                  <a:pt x="95734" y="104042"/>
                  <a:pt x="96470" y="106864"/>
                  <a:pt x="94999" y="108981"/>
                </a:cubicBezTo>
                <a:cubicBezTo>
                  <a:pt x="93896" y="110392"/>
                  <a:pt x="92426" y="110745"/>
                  <a:pt x="90955" y="110745"/>
                </a:cubicBezTo>
                <a:cubicBezTo>
                  <a:pt x="90220" y="110745"/>
                  <a:pt x="89117" y="110745"/>
                  <a:pt x="88382" y="110039"/>
                </a:cubicBezTo>
                <a:lnTo>
                  <a:pt x="64486" y="94517"/>
                </a:lnTo>
                <a:cubicBezTo>
                  <a:pt x="62648" y="93106"/>
                  <a:pt x="61912" y="90284"/>
                  <a:pt x="63383" y="88167"/>
                </a:cubicBezTo>
                <a:cubicBezTo>
                  <a:pt x="65221" y="86403"/>
                  <a:pt x="67794" y="85698"/>
                  <a:pt x="70000" y="87109"/>
                </a:cubicBezTo>
                <a:close/>
                <a:moveTo>
                  <a:pt x="103501" y="46963"/>
                </a:moveTo>
                <a:cubicBezTo>
                  <a:pt x="102791" y="46963"/>
                  <a:pt x="102081" y="47324"/>
                  <a:pt x="101726" y="47686"/>
                </a:cubicBezTo>
                <a:lnTo>
                  <a:pt x="92138" y="61776"/>
                </a:lnTo>
                <a:cubicBezTo>
                  <a:pt x="91783" y="62860"/>
                  <a:pt x="91783" y="63221"/>
                  <a:pt x="91783" y="63582"/>
                </a:cubicBezTo>
                <a:cubicBezTo>
                  <a:pt x="92138" y="63944"/>
                  <a:pt x="92138" y="64666"/>
                  <a:pt x="92848" y="65028"/>
                </a:cubicBezTo>
                <a:lnTo>
                  <a:pt x="112734" y="79118"/>
                </a:lnTo>
                <a:cubicBezTo>
                  <a:pt x="113444" y="79479"/>
                  <a:pt x="114154" y="79479"/>
                  <a:pt x="114509" y="79479"/>
                </a:cubicBezTo>
                <a:cubicBezTo>
                  <a:pt x="114864" y="79118"/>
                  <a:pt x="115219" y="79118"/>
                  <a:pt x="115930" y="78395"/>
                </a:cubicBezTo>
                <a:lnTo>
                  <a:pt x="125517" y="64305"/>
                </a:lnTo>
                <a:cubicBezTo>
                  <a:pt x="125872" y="63221"/>
                  <a:pt x="125872" y="62137"/>
                  <a:pt x="124807" y="61053"/>
                </a:cubicBezTo>
                <a:lnTo>
                  <a:pt x="104566" y="47324"/>
                </a:lnTo>
                <a:cubicBezTo>
                  <a:pt x="104211" y="46963"/>
                  <a:pt x="103856" y="46963"/>
                  <a:pt x="103501" y="46963"/>
                </a:cubicBezTo>
                <a:close/>
                <a:moveTo>
                  <a:pt x="109893" y="39737"/>
                </a:moveTo>
                <a:lnTo>
                  <a:pt x="129778" y="53828"/>
                </a:lnTo>
                <a:cubicBezTo>
                  <a:pt x="135105" y="57441"/>
                  <a:pt x="136170" y="64305"/>
                  <a:pt x="132619" y="69363"/>
                </a:cubicBezTo>
                <a:lnTo>
                  <a:pt x="123387" y="83453"/>
                </a:lnTo>
                <a:cubicBezTo>
                  <a:pt x="121611" y="85982"/>
                  <a:pt x="119125" y="87789"/>
                  <a:pt x="116285" y="88511"/>
                </a:cubicBezTo>
                <a:cubicBezTo>
                  <a:pt x="115219" y="88511"/>
                  <a:pt x="114864" y="88511"/>
                  <a:pt x="114154" y="88511"/>
                </a:cubicBezTo>
                <a:cubicBezTo>
                  <a:pt x="111668" y="88511"/>
                  <a:pt x="109893" y="87789"/>
                  <a:pt x="107762" y="86344"/>
                </a:cubicBezTo>
                <a:lnTo>
                  <a:pt x="87877" y="72253"/>
                </a:lnTo>
                <a:cubicBezTo>
                  <a:pt x="85391" y="70808"/>
                  <a:pt x="83616" y="68279"/>
                  <a:pt x="82905" y="65028"/>
                </a:cubicBezTo>
                <a:cubicBezTo>
                  <a:pt x="82550" y="62137"/>
                  <a:pt x="83260" y="59247"/>
                  <a:pt x="85036" y="56718"/>
                </a:cubicBezTo>
                <a:lnTo>
                  <a:pt x="94269" y="42628"/>
                </a:lnTo>
                <a:cubicBezTo>
                  <a:pt x="97819" y="37570"/>
                  <a:pt x="104566" y="36486"/>
                  <a:pt x="109893" y="39737"/>
                </a:cubicBezTo>
                <a:close/>
                <a:moveTo>
                  <a:pt x="97429" y="399"/>
                </a:moveTo>
                <a:cubicBezTo>
                  <a:pt x="103144" y="-681"/>
                  <a:pt x="109264" y="399"/>
                  <a:pt x="114484" y="4000"/>
                </a:cubicBezTo>
                <a:lnTo>
                  <a:pt x="281530" y="118521"/>
                </a:lnTo>
                <a:cubicBezTo>
                  <a:pt x="291970" y="125723"/>
                  <a:pt x="294490" y="139768"/>
                  <a:pt x="287290" y="150212"/>
                </a:cubicBezTo>
                <a:lnTo>
                  <a:pt x="253809" y="199189"/>
                </a:lnTo>
                <a:cubicBezTo>
                  <a:pt x="263169" y="195228"/>
                  <a:pt x="269649" y="194148"/>
                  <a:pt x="274329" y="197389"/>
                </a:cubicBezTo>
                <a:cubicBezTo>
                  <a:pt x="279010" y="200990"/>
                  <a:pt x="280090" y="205311"/>
                  <a:pt x="280090" y="208193"/>
                </a:cubicBezTo>
                <a:cubicBezTo>
                  <a:pt x="280450" y="209273"/>
                  <a:pt x="280090" y="210714"/>
                  <a:pt x="279730" y="211794"/>
                </a:cubicBezTo>
                <a:cubicBezTo>
                  <a:pt x="285130" y="210714"/>
                  <a:pt x="289090" y="210714"/>
                  <a:pt x="292330" y="213595"/>
                </a:cubicBezTo>
                <a:cubicBezTo>
                  <a:pt x="297370" y="217556"/>
                  <a:pt x="298090" y="222238"/>
                  <a:pt x="298090" y="225119"/>
                </a:cubicBezTo>
                <a:cubicBezTo>
                  <a:pt x="297370" y="234122"/>
                  <a:pt x="288010" y="240965"/>
                  <a:pt x="286930" y="241685"/>
                </a:cubicBezTo>
                <a:cubicBezTo>
                  <a:pt x="238688" y="279858"/>
                  <a:pt x="182166" y="290302"/>
                  <a:pt x="135725" y="290302"/>
                </a:cubicBezTo>
                <a:cubicBezTo>
                  <a:pt x="86043" y="290302"/>
                  <a:pt x="47522" y="278418"/>
                  <a:pt x="41762" y="276617"/>
                </a:cubicBezTo>
                <a:lnTo>
                  <a:pt x="4680" y="276617"/>
                </a:lnTo>
                <a:cubicBezTo>
                  <a:pt x="2160" y="276617"/>
                  <a:pt x="0" y="274817"/>
                  <a:pt x="0" y="272296"/>
                </a:cubicBezTo>
                <a:lnTo>
                  <a:pt x="0" y="190906"/>
                </a:lnTo>
                <a:cubicBezTo>
                  <a:pt x="0" y="188385"/>
                  <a:pt x="2160" y="186585"/>
                  <a:pt x="4680" y="186585"/>
                </a:cubicBezTo>
                <a:lnTo>
                  <a:pt x="42482" y="186585"/>
                </a:lnTo>
                <a:cubicBezTo>
                  <a:pt x="110524" y="186585"/>
                  <a:pt x="122404" y="193427"/>
                  <a:pt x="132485" y="199549"/>
                </a:cubicBezTo>
                <a:cubicBezTo>
                  <a:pt x="140765" y="204231"/>
                  <a:pt x="147965" y="208193"/>
                  <a:pt x="189367" y="207473"/>
                </a:cubicBezTo>
                <a:cubicBezTo>
                  <a:pt x="189367" y="207473"/>
                  <a:pt x="198367" y="207113"/>
                  <a:pt x="204847" y="213235"/>
                </a:cubicBezTo>
                <a:cubicBezTo>
                  <a:pt x="208807" y="217916"/>
                  <a:pt x="210967" y="224039"/>
                  <a:pt x="210247" y="232322"/>
                </a:cubicBezTo>
                <a:cubicBezTo>
                  <a:pt x="210247" y="233762"/>
                  <a:pt x="210247" y="235203"/>
                  <a:pt x="209527" y="236643"/>
                </a:cubicBezTo>
                <a:cubicBezTo>
                  <a:pt x="234008" y="230881"/>
                  <a:pt x="250929" y="223318"/>
                  <a:pt x="263169" y="218277"/>
                </a:cubicBezTo>
                <a:cubicBezTo>
                  <a:pt x="264249" y="217916"/>
                  <a:pt x="264969" y="217196"/>
                  <a:pt x="266409" y="216836"/>
                </a:cubicBezTo>
                <a:cubicBezTo>
                  <a:pt x="269289" y="213595"/>
                  <a:pt x="271449" y="210714"/>
                  <a:pt x="271449" y="208553"/>
                </a:cubicBezTo>
                <a:cubicBezTo>
                  <a:pt x="271449" y="208193"/>
                  <a:pt x="271089" y="206752"/>
                  <a:pt x="268569" y="204591"/>
                </a:cubicBezTo>
                <a:cubicBezTo>
                  <a:pt x="266409" y="203511"/>
                  <a:pt x="255249" y="208193"/>
                  <a:pt x="246969" y="211794"/>
                </a:cubicBezTo>
                <a:lnTo>
                  <a:pt x="244088" y="212875"/>
                </a:lnTo>
                <a:lnTo>
                  <a:pt x="240488" y="217916"/>
                </a:lnTo>
                <a:cubicBezTo>
                  <a:pt x="239768" y="219717"/>
                  <a:pt x="238328" y="220077"/>
                  <a:pt x="236888" y="220077"/>
                </a:cubicBezTo>
                <a:cubicBezTo>
                  <a:pt x="235808" y="220077"/>
                  <a:pt x="235088" y="220077"/>
                  <a:pt x="234728" y="219357"/>
                </a:cubicBezTo>
                <a:cubicBezTo>
                  <a:pt x="232208" y="217916"/>
                  <a:pt x="231848" y="215035"/>
                  <a:pt x="233288" y="212875"/>
                </a:cubicBezTo>
                <a:lnTo>
                  <a:pt x="279730" y="145170"/>
                </a:lnTo>
                <a:cubicBezTo>
                  <a:pt x="284050" y="139048"/>
                  <a:pt x="282610" y="130405"/>
                  <a:pt x="276489" y="126083"/>
                </a:cubicBezTo>
                <a:lnTo>
                  <a:pt x="109444" y="11563"/>
                </a:lnTo>
                <a:cubicBezTo>
                  <a:pt x="103324" y="7241"/>
                  <a:pt x="94683" y="8682"/>
                  <a:pt x="90363" y="15164"/>
                </a:cubicBezTo>
                <a:lnTo>
                  <a:pt x="23401" y="112759"/>
                </a:lnTo>
                <a:cubicBezTo>
                  <a:pt x="19081" y="118881"/>
                  <a:pt x="20521" y="127524"/>
                  <a:pt x="27001" y="131846"/>
                </a:cubicBezTo>
                <a:lnTo>
                  <a:pt x="84963" y="171460"/>
                </a:lnTo>
                <a:cubicBezTo>
                  <a:pt x="86763" y="172900"/>
                  <a:pt x="87483" y="175781"/>
                  <a:pt x="86043" y="177942"/>
                </a:cubicBezTo>
                <a:cubicBezTo>
                  <a:pt x="84603" y="180103"/>
                  <a:pt x="81723" y="180463"/>
                  <a:pt x="79563" y="179022"/>
                </a:cubicBezTo>
                <a:lnTo>
                  <a:pt x="21601" y="139048"/>
                </a:lnTo>
                <a:cubicBezTo>
                  <a:pt x="11520" y="132206"/>
                  <a:pt x="8640" y="118161"/>
                  <a:pt x="15840" y="107717"/>
                </a:cubicBezTo>
                <a:lnTo>
                  <a:pt x="82803" y="9762"/>
                </a:lnTo>
                <a:cubicBezTo>
                  <a:pt x="86403" y="4721"/>
                  <a:pt x="91713" y="1479"/>
                  <a:pt x="97429" y="399"/>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19" name="Freeform 749">
            <a:extLst>
              <a:ext uri="{FF2B5EF4-FFF2-40B4-BE49-F238E27FC236}">
                <a16:creationId xmlns:a16="http://schemas.microsoft.com/office/drawing/2014/main" id="{0CA52326-3E64-E047-861D-42A56C9A2C48}"/>
              </a:ext>
            </a:extLst>
          </p:cNvPr>
          <p:cNvSpPr>
            <a:spLocks noChangeArrowheads="1"/>
          </p:cNvSpPr>
          <p:nvPr/>
        </p:nvSpPr>
        <p:spPr bwMode="auto">
          <a:xfrm>
            <a:off x="7935530" y="5845619"/>
            <a:ext cx="391440" cy="391440"/>
          </a:xfrm>
          <a:custGeom>
            <a:avLst/>
            <a:gdLst/>
            <a:ahLst/>
            <a:cxnLst/>
            <a:rect l="0" t="0" r="r" b="b"/>
            <a:pathLst>
              <a:path w="298090" h="298090">
                <a:moveTo>
                  <a:pt x="154805" y="248709"/>
                </a:moveTo>
                <a:lnTo>
                  <a:pt x="117724" y="285474"/>
                </a:lnTo>
                <a:cubicBezTo>
                  <a:pt x="127804" y="287997"/>
                  <a:pt x="138245" y="289079"/>
                  <a:pt x="149045" y="289079"/>
                </a:cubicBezTo>
                <a:cubicBezTo>
                  <a:pt x="162726" y="289079"/>
                  <a:pt x="176406" y="286916"/>
                  <a:pt x="189006" y="283311"/>
                </a:cubicBezTo>
                <a:lnTo>
                  <a:pt x="154805" y="248709"/>
                </a:lnTo>
                <a:close/>
                <a:moveTo>
                  <a:pt x="208807" y="194642"/>
                </a:moveTo>
                <a:lnTo>
                  <a:pt x="160926" y="242221"/>
                </a:lnTo>
                <a:lnTo>
                  <a:pt x="198727" y="280067"/>
                </a:lnTo>
                <a:cubicBezTo>
                  <a:pt x="220328" y="271417"/>
                  <a:pt x="239408" y="258080"/>
                  <a:pt x="254889" y="240418"/>
                </a:cubicBezTo>
                <a:lnTo>
                  <a:pt x="208807" y="194642"/>
                </a:lnTo>
                <a:close/>
                <a:moveTo>
                  <a:pt x="47522" y="141656"/>
                </a:moveTo>
                <a:lnTo>
                  <a:pt x="11881" y="177701"/>
                </a:lnTo>
                <a:cubicBezTo>
                  <a:pt x="22321" y="227442"/>
                  <a:pt x="59402" y="267812"/>
                  <a:pt x="107644" y="282591"/>
                </a:cubicBezTo>
                <a:lnTo>
                  <a:pt x="148325" y="242221"/>
                </a:lnTo>
                <a:lnTo>
                  <a:pt x="97203" y="191398"/>
                </a:lnTo>
                <a:lnTo>
                  <a:pt x="47522" y="141656"/>
                </a:lnTo>
                <a:close/>
                <a:moveTo>
                  <a:pt x="154805" y="140214"/>
                </a:moveTo>
                <a:lnTo>
                  <a:pt x="106924" y="188154"/>
                </a:lnTo>
                <a:lnTo>
                  <a:pt x="154805" y="236093"/>
                </a:lnTo>
                <a:lnTo>
                  <a:pt x="202327" y="188154"/>
                </a:lnTo>
                <a:lnTo>
                  <a:pt x="154805" y="140214"/>
                </a:lnTo>
                <a:close/>
                <a:moveTo>
                  <a:pt x="101884" y="87589"/>
                </a:moveTo>
                <a:lnTo>
                  <a:pt x="54002" y="135528"/>
                </a:lnTo>
                <a:lnTo>
                  <a:pt x="100443" y="181665"/>
                </a:lnTo>
                <a:lnTo>
                  <a:pt x="148325" y="133726"/>
                </a:lnTo>
                <a:lnTo>
                  <a:pt x="101884" y="87589"/>
                </a:lnTo>
                <a:close/>
                <a:moveTo>
                  <a:pt x="57602" y="43254"/>
                </a:moveTo>
                <a:cubicBezTo>
                  <a:pt x="27721" y="68846"/>
                  <a:pt x="9000" y="106693"/>
                  <a:pt x="9000" y="148865"/>
                </a:cubicBezTo>
                <a:cubicBezTo>
                  <a:pt x="9000" y="154992"/>
                  <a:pt x="9360" y="160760"/>
                  <a:pt x="10080" y="166527"/>
                </a:cubicBezTo>
                <a:lnTo>
                  <a:pt x="10703" y="165906"/>
                </a:lnTo>
                <a:lnTo>
                  <a:pt x="95763" y="81101"/>
                </a:lnTo>
                <a:lnTo>
                  <a:pt x="57602" y="43254"/>
                </a:lnTo>
                <a:close/>
                <a:moveTo>
                  <a:pt x="235744" y="40399"/>
                </a:moveTo>
                <a:cubicBezTo>
                  <a:pt x="224641" y="40399"/>
                  <a:pt x="215329" y="49408"/>
                  <a:pt x="215329" y="60939"/>
                </a:cubicBezTo>
                <a:cubicBezTo>
                  <a:pt x="215329" y="72110"/>
                  <a:pt x="224641" y="81119"/>
                  <a:pt x="235744" y="81119"/>
                </a:cubicBezTo>
                <a:cubicBezTo>
                  <a:pt x="246847" y="81119"/>
                  <a:pt x="255801" y="72110"/>
                  <a:pt x="255801" y="60939"/>
                </a:cubicBezTo>
                <a:cubicBezTo>
                  <a:pt x="255801" y="49408"/>
                  <a:pt x="246847" y="40399"/>
                  <a:pt x="235744" y="40399"/>
                </a:cubicBezTo>
                <a:close/>
                <a:moveTo>
                  <a:pt x="235744" y="31750"/>
                </a:moveTo>
                <a:cubicBezTo>
                  <a:pt x="251861" y="31750"/>
                  <a:pt x="264755" y="44723"/>
                  <a:pt x="264755" y="60939"/>
                </a:cubicBezTo>
                <a:cubicBezTo>
                  <a:pt x="264755" y="77155"/>
                  <a:pt x="251861" y="90128"/>
                  <a:pt x="235744" y="90128"/>
                </a:cubicBezTo>
                <a:cubicBezTo>
                  <a:pt x="219627" y="90128"/>
                  <a:pt x="206375" y="77155"/>
                  <a:pt x="206375" y="60939"/>
                </a:cubicBezTo>
                <a:cubicBezTo>
                  <a:pt x="206375" y="44723"/>
                  <a:pt x="219627" y="31750"/>
                  <a:pt x="235744" y="31750"/>
                </a:cubicBezTo>
                <a:close/>
                <a:moveTo>
                  <a:pt x="235565" y="8633"/>
                </a:moveTo>
                <a:cubicBezTo>
                  <a:pt x="206887" y="8633"/>
                  <a:pt x="183587" y="32373"/>
                  <a:pt x="183587" y="61148"/>
                </a:cubicBezTo>
                <a:cubicBezTo>
                  <a:pt x="183587" y="97478"/>
                  <a:pt x="223735" y="141720"/>
                  <a:pt x="235565" y="153590"/>
                </a:cubicBezTo>
                <a:cubicBezTo>
                  <a:pt x="247036" y="141720"/>
                  <a:pt x="287543" y="97478"/>
                  <a:pt x="287543" y="61148"/>
                </a:cubicBezTo>
                <a:cubicBezTo>
                  <a:pt x="287543" y="32373"/>
                  <a:pt x="263884" y="8633"/>
                  <a:pt x="235565" y="8633"/>
                </a:cubicBezTo>
                <a:close/>
                <a:moveTo>
                  <a:pt x="235565" y="0"/>
                </a:moveTo>
                <a:cubicBezTo>
                  <a:pt x="268903" y="0"/>
                  <a:pt x="296505" y="27337"/>
                  <a:pt x="296505" y="61148"/>
                </a:cubicBezTo>
                <a:cubicBezTo>
                  <a:pt x="296505" y="107549"/>
                  <a:pt x="240942" y="161144"/>
                  <a:pt x="238433" y="163661"/>
                </a:cubicBezTo>
                <a:cubicBezTo>
                  <a:pt x="237716" y="164381"/>
                  <a:pt x="236640" y="164741"/>
                  <a:pt x="235565" y="164741"/>
                </a:cubicBezTo>
                <a:cubicBezTo>
                  <a:pt x="234131" y="164741"/>
                  <a:pt x="233414" y="164381"/>
                  <a:pt x="232339" y="163661"/>
                </a:cubicBezTo>
                <a:cubicBezTo>
                  <a:pt x="230188" y="161144"/>
                  <a:pt x="174625" y="107549"/>
                  <a:pt x="174625" y="61148"/>
                </a:cubicBezTo>
                <a:cubicBezTo>
                  <a:pt x="174625" y="27337"/>
                  <a:pt x="201869" y="0"/>
                  <a:pt x="235565" y="0"/>
                </a:cubicBezTo>
                <a:close/>
                <a:moveTo>
                  <a:pt x="149045" y="0"/>
                </a:moveTo>
                <a:cubicBezTo>
                  <a:pt x="159485" y="0"/>
                  <a:pt x="170646" y="1082"/>
                  <a:pt x="181086" y="3244"/>
                </a:cubicBezTo>
                <a:cubicBezTo>
                  <a:pt x="183606" y="3965"/>
                  <a:pt x="185046" y="6488"/>
                  <a:pt x="184686" y="8651"/>
                </a:cubicBezTo>
                <a:cubicBezTo>
                  <a:pt x="183966" y="11174"/>
                  <a:pt x="181806" y="12616"/>
                  <a:pt x="179286" y="12255"/>
                </a:cubicBezTo>
                <a:cubicBezTo>
                  <a:pt x="169206" y="10093"/>
                  <a:pt x="159125" y="8651"/>
                  <a:pt x="149045" y="8651"/>
                </a:cubicBezTo>
                <a:cubicBezTo>
                  <a:pt x="117364" y="8651"/>
                  <a:pt x="88203" y="19464"/>
                  <a:pt x="64442" y="37487"/>
                </a:cubicBezTo>
                <a:lnTo>
                  <a:pt x="154805" y="127598"/>
                </a:lnTo>
                <a:lnTo>
                  <a:pt x="171726" y="110297"/>
                </a:lnTo>
                <a:cubicBezTo>
                  <a:pt x="173166" y="108855"/>
                  <a:pt x="176046" y="108855"/>
                  <a:pt x="177846" y="110297"/>
                </a:cubicBezTo>
                <a:cubicBezTo>
                  <a:pt x="179646" y="112099"/>
                  <a:pt x="179646" y="114983"/>
                  <a:pt x="177846" y="116785"/>
                </a:cubicBezTo>
                <a:lnTo>
                  <a:pt x="160926" y="133726"/>
                </a:lnTo>
                <a:lnTo>
                  <a:pt x="260649" y="233570"/>
                </a:lnTo>
                <a:cubicBezTo>
                  <a:pt x="278290" y="209780"/>
                  <a:pt x="289090" y="180584"/>
                  <a:pt x="289090" y="148865"/>
                </a:cubicBezTo>
                <a:cubicBezTo>
                  <a:pt x="289090" y="140935"/>
                  <a:pt x="288370" y="132645"/>
                  <a:pt x="286570" y="124715"/>
                </a:cubicBezTo>
                <a:cubicBezTo>
                  <a:pt x="286210" y="122192"/>
                  <a:pt x="288010" y="120029"/>
                  <a:pt x="290530" y="119669"/>
                </a:cubicBezTo>
                <a:cubicBezTo>
                  <a:pt x="293050" y="119308"/>
                  <a:pt x="295210" y="120750"/>
                  <a:pt x="295570" y="123273"/>
                </a:cubicBezTo>
                <a:cubicBezTo>
                  <a:pt x="297010" y="131563"/>
                  <a:pt x="298090" y="140214"/>
                  <a:pt x="298090" y="148865"/>
                </a:cubicBezTo>
                <a:cubicBezTo>
                  <a:pt x="298090" y="231047"/>
                  <a:pt x="231128" y="298090"/>
                  <a:pt x="149045" y="298090"/>
                </a:cubicBezTo>
                <a:cubicBezTo>
                  <a:pt x="66962" y="298090"/>
                  <a:pt x="0" y="231047"/>
                  <a:pt x="0" y="148865"/>
                </a:cubicBezTo>
                <a:cubicBezTo>
                  <a:pt x="0" y="66683"/>
                  <a:pt x="66962" y="0"/>
                  <a:pt x="149045"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20" name="TextBox 19">
            <a:extLst>
              <a:ext uri="{FF2B5EF4-FFF2-40B4-BE49-F238E27FC236}">
                <a16:creationId xmlns:a16="http://schemas.microsoft.com/office/drawing/2014/main" id="{8DBD6DBD-1032-7B47-883C-028EACA45364}"/>
              </a:ext>
            </a:extLst>
          </p:cNvPr>
          <p:cNvSpPr txBox="1"/>
          <p:nvPr/>
        </p:nvSpPr>
        <p:spPr>
          <a:xfrm>
            <a:off x="2316677" y="3390583"/>
            <a:ext cx="1203791" cy="338554"/>
          </a:xfrm>
          <a:prstGeom prst="rect">
            <a:avLst/>
          </a:prstGeom>
          <a:noFill/>
        </p:spPr>
        <p:txBody>
          <a:bodyPr wrap="none" rtlCol="0" anchor="b" anchorCtr="0">
            <a:spAutoFit/>
          </a:bodyPr>
          <a:lstStyle/>
          <a:p>
            <a:pPr algn="r"/>
            <a:r>
              <a:rPr lang="en-US" sz="1600" b="1" dirty="0">
                <a:solidFill>
                  <a:schemeClr val="tx2"/>
                </a:solidFill>
                <a:latin typeface="Segoe UI Light" panose="020B0502040204020203" pitchFamily="34" charset="0"/>
                <a:ea typeface="League Spartan" charset="0"/>
                <a:cs typeface="Poppins" pitchFamily="2" charset="77"/>
              </a:rPr>
              <a:t>YOUR TITLE</a:t>
            </a:r>
          </a:p>
        </p:txBody>
      </p:sp>
      <p:sp>
        <p:nvSpPr>
          <p:cNvPr id="21" name="Subtitle 2">
            <a:extLst>
              <a:ext uri="{FF2B5EF4-FFF2-40B4-BE49-F238E27FC236}">
                <a16:creationId xmlns:a16="http://schemas.microsoft.com/office/drawing/2014/main" id="{DD2083A2-000D-4747-BA60-AC4EEC266CAB}"/>
              </a:ext>
            </a:extLst>
          </p:cNvPr>
          <p:cNvSpPr txBox="1">
            <a:spLocks/>
          </p:cNvSpPr>
          <p:nvPr/>
        </p:nvSpPr>
        <p:spPr>
          <a:xfrm>
            <a:off x="840627" y="3746842"/>
            <a:ext cx="2740064" cy="54858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adipiscing elit.</a:t>
            </a:r>
          </a:p>
        </p:txBody>
      </p:sp>
      <p:sp>
        <p:nvSpPr>
          <p:cNvPr id="22" name="TextBox 21">
            <a:extLst>
              <a:ext uri="{FF2B5EF4-FFF2-40B4-BE49-F238E27FC236}">
                <a16:creationId xmlns:a16="http://schemas.microsoft.com/office/drawing/2014/main" id="{C05EDE22-8C53-414D-967D-D43FD3A6823A}"/>
              </a:ext>
            </a:extLst>
          </p:cNvPr>
          <p:cNvSpPr txBox="1"/>
          <p:nvPr/>
        </p:nvSpPr>
        <p:spPr>
          <a:xfrm>
            <a:off x="2316677" y="4487734"/>
            <a:ext cx="1203791" cy="338554"/>
          </a:xfrm>
          <a:prstGeom prst="rect">
            <a:avLst/>
          </a:prstGeom>
          <a:noFill/>
        </p:spPr>
        <p:txBody>
          <a:bodyPr wrap="none" rtlCol="0" anchor="b" anchorCtr="0">
            <a:spAutoFit/>
          </a:bodyPr>
          <a:lstStyle/>
          <a:p>
            <a:pPr algn="r"/>
            <a:r>
              <a:rPr lang="en-US" sz="1600" b="1" dirty="0">
                <a:solidFill>
                  <a:schemeClr val="tx2"/>
                </a:solidFill>
                <a:latin typeface="Segoe UI Light" panose="020B0502040204020203" pitchFamily="34" charset="0"/>
                <a:ea typeface="League Spartan" charset="0"/>
                <a:cs typeface="Poppins" pitchFamily="2" charset="77"/>
              </a:rPr>
              <a:t>YOUR TITLE</a:t>
            </a:r>
          </a:p>
        </p:txBody>
      </p:sp>
      <p:sp>
        <p:nvSpPr>
          <p:cNvPr id="23" name="Subtitle 2">
            <a:extLst>
              <a:ext uri="{FF2B5EF4-FFF2-40B4-BE49-F238E27FC236}">
                <a16:creationId xmlns:a16="http://schemas.microsoft.com/office/drawing/2014/main" id="{49EEC2F5-F4B3-F64B-8BFA-6D05B4E06FC0}"/>
              </a:ext>
            </a:extLst>
          </p:cNvPr>
          <p:cNvSpPr txBox="1">
            <a:spLocks/>
          </p:cNvSpPr>
          <p:nvPr/>
        </p:nvSpPr>
        <p:spPr>
          <a:xfrm>
            <a:off x="840627" y="4843993"/>
            <a:ext cx="2740064" cy="54858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adipiscing elit.</a:t>
            </a:r>
          </a:p>
        </p:txBody>
      </p:sp>
      <p:sp>
        <p:nvSpPr>
          <p:cNvPr id="24" name="TextBox 23">
            <a:extLst>
              <a:ext uri="{FF2B5EF4-FFF2-40B4-BE49-F238E27FC236}">
                <a16:creationId xmlns:a16="http://schemas.microsoft.com/office/drawing/2014/main" id="{5469FEED-11A6-1942-80F9-2520D2CCEEA5}"/>
              </a:ext>
            </a:extLst>
          </p:cNvPr>
          <p:cNvSpPr txBox="1"/>
          <p:nvPr/>
        </p:nvSpPr>
        <p:spPr>
          <a:xfrm>
            <a:off x="2316677" y="5573584"/>
            <a:ext cx="1203791" cy="338554"/>
          </a:xfrm>
          <a:prstGeom prst="rect">
            <a:avLst/>
          </a:prstGeom>
          <a:noFill/>
        </p:spPr>
        <p:txBody>
          <a:bodyPr wrap="none" rtlCol="0" anchor="b" anchorCtr="0">
            <a:spAutoFit/>
          </a:bodyPr>
          <a:lstStyle/>
          <a:p>
            <a:pPr algn="r"/>
            <a:r>
              <a:rPr lang="en-US" sz="1600" b="1" dirty="0">
                <a:solidFill>
                  <a:schemeClr val="tx2"/>
                </a:solidFill>
                <a:latin typeface="Segoe UI Light" panose="020B0502040204020203" pitchFamily="34" charset="0"/>
                <a:ea typeface="League Spartan" charset="0"/>
                <a:cs typeface="Poppins" pitchFamily="2" charset="77"/>
              </a:rPr>
              <a:t>YOUR TITLE</a:t>
            </a:r>
          </a:p>
        </p:txBody>
      </p:sp>
      <p:sp>
        <p:nvSpPr>
          <p:cNvPr id="25" name="Subtitle 2">
            <a:extLst>
              <a:ext uri="{FF2B5EF4-FFF2-40B4-BE49-F238E27FC236}">
                <a16:creationId xmlns:a16="http://schemas.microsoft.com/office/drawing/2014/main" id="{EA58C519-F568-7B47-8410-FB88B8CAF6B4}"/>
              </a:ext>
            </a:extLst>
          </p:cNvPr>
          <p:cNvSpPr txBox="1">
            <a:spLocks/>
          </p:cNvSpPr>
          <p:nvPr/>
        </p:nvSpPr>
        <p:spPr>
          <a:xfrm>
            <a:off x="840627" y="5929843"/>
            <a:ext cx="2740064" cy="54858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adipiscing elit.</a:t>
            </a:r>
          </a:p>
        </p:txBody>
      </p:sp>
      <p:sp>
        <p:nvSpPr>
          <p:cNvPr id="26" name="TextBox 25">
            <a:extLst>
              <a:ext uri="{FF2B5EF4-FFF2-40B4-BE49-F238E27FC236}">
                <a16:creationId xmlns:a16="http://schemas.microsoft.com/office/drawing/2014/main" id="{93E21789-332A-854A-92B0-B68DE66675A5}"/>
              </a:ext>
            </a:extLst>
          </p:cNvPr>
          <p:cNvSpPr txBox="1"/>
          <p:nvPr/>
        </p:nvSpPr>
        <p:spPr>
          <a:xfrm>
            <a:off x="8666584" y="3386490"/>
            <a:ext cx="1203791"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a:t>
            </a:r>
          </a:p>
        </p:txBody>
      </p:sp>
      <p:sp>
        <p:nvSpPr>
          <p:cNvPr id="27" name="Subtitle 2">
            <a:extLst>
              <a:ext uri="{FF2B5EF4-FFF2-40B4-BE49-F238E27FC236}">
                <a16:creationId xmlns:a16="http://schemas.microsoft.com/office/drawing/2014/main" id="{96ECA937-C2D5-8D4B-9A1E-5F8BCBC44F33}"/>
              </a:ext>
            </a:extLst>
          </p:cNvPr>
          <p:cNvSpPr txBox="1">
            <a:spLocks/>
          </p:cNvSpPr>
          <p:nvPr/>
        </p:nvSpPr>
        <p:spPr>
          <a:xfrm>
            <a:off x="8611310" y="3742750"/>
            <a:ext cx="2740064" cy="54858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adipiscing elit.</a:t>
            </a:r>
          </a:p>
        </p:txBody>
      </p:sp>
      <p:sp>
        <p:nvSpPr>
          <p:cNvPr id="28" name="TextBox 27">
            <a:extLst>
              <a:ext uri="{FF2B5EF4-FFF2-40B4-BE49-F238E27FC236}">
                <a16:creationId xmlns:a16="http://schemas.microsoft.com/office/drawing/2014/main" id="{13B5AD99-7D1E-C443-A027-656459905B02}"/>
              </a:ext>
            </a:extLst>
          </p:cNvPr>
          <p:cNvSpPr txBox="1"/>
          <p:nvPr/>
        </p:nvSpPr>
        <p:spPr>
          <a:xfrm>
            <a:off x="8666584" y="4483641"/>
            <a:ext cx="1203791"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a:t>
            </a:r>
          </a:p>
        </p:txBody>
      </p:sp>
      <p:sp>
        <p:nvSpPr>
          <p:cNvPr id="29" name="Subtitle 2">
            <a:extLst>
              <a:ext uri="{FF2B5EF4-FFF2-40B4-BE49-F238E27FC236}">
                <a16:creationId xmlns:a16="http://schemas.microsoft.com/office/drawing/2014/main" id="{4B8D1462-E3EE-4A41-B53C-7AE91AABABE7}"/>
              </a:ext>
            </a:extLst>
          </p:cNvPr>
          <p:cNvSpPr txBox="1">
            <a:spLocks/>
          </p:cNvSpPr>
          <p:nvPr/>
        </p:nvSpPr>
        <p:spPr>
          <a:xfrm>
            <a:off x="8611310" y="4839901"/>
            <a:ext cx="2740064" cy="54858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adipiscing elit.</a:t>
            </a:r>
          </a:p>
        </p:txBody>
      </p:sp>
      <p:sp>
        <p:nvSpPr>
          <p:cNvPr id="30" name="TextBox 29">
            <a:extLst>
              <a:ext uri="{FF2B5EF4-FFF2-40B4-BE49-F238E27FC236}">
                <a16:creationId xmlns:a16="http://schemas.microsoft.com/office/drawing/2014/main" id="{7D04816C-18F7-AC40-9923-7B0355B83F4D}"/>
              </a:ext>
            </a:extLst>
          </p:cNvPr>
          <p:cNvSpPr txBox="1"/>
          <p:nvPr/>
        </p:nvSpPr>
        <p:spPr>
          <a:xfrm>
            <a:off x="8666584" y="5569491"/>
            <a:ext cx="1203791"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a:t>
            </a:r>
          </a:p>
        </p:txBody>
      </p:sp>
      <p:sp>
        <p:nvSpPr>
          <p:cNvPr id="31" name="Subtitle 2">
            <a:extLst>
              <a:ext uri="{FF2B5EF4-FFF2-40B4-BE49-F238E27FC236}">
                <a16:creationId xmlns:a16="http://schemas.microsoft.com/office/drawing/2014/main" id="{83CF3155-573A-8546-A826-DB84A3E55F45}"/>
              </a:ext>
            </a:extLst>
          </p:cNvPr>
          <p:cNvSpPr txBox="1">
            <a:spLocks/>
          </p:cNvSpPr>
          <p:nvPr/>
        </p:nvSpPr>
        <p:spPr>
          <a:xfrm>
            <a:off x="8611310" y="5925751"/>
            <a:ext cx="2740064" cy="54858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adipiscing elit.</a:t>
            </a:r>
          </a:p>
        </p:txBody>
      </p:sp>
      <p:grpSp>
        <p:nvGrpSpPr>
          <p:cNvPr id="32" name="Group 31">
            <a:extLst>
              <a:ext uri="{FF2B5EF4-FFF2-40B4-BE49-F238E27FC236}">
                <a16:creationId xmlns:a16="http://schemas.microsoft.com/office/drawing/2014/main" id="{FD73018F-77F7-6747-ACB0-EB56B41C1216}"/>
              </a:ext>
            </a:extLst>
          </p:cNvPr>
          <p:cNvGrpSpPr>
            <a:grpSpLocks noChangeAspect="1"/>
          </p:cNvGrpSpPr>
          <p:nvPr/>
        </p:nvGrpSpPr>
        <p:grpSpPr>
          <a:xfrm>
            <a:off x="5226235" y="1402350"/>
            <a:ext cx="1764958" cy="5120640"/>
            <a:chOff x="4235450" y="509588"/>
            <a:chExt cx="2106613" cy="6111875"/>
          </a:xfrm>
        </p:grpSpPr>
        <p:sp>
          <p:nvSpPr>
            <p:cNvPr id="33" name="Freeform 1">
              <a:extLst>
                <a:ext uri="{FF2B5EF4-FFF2-40B4-BE49-F238E27FC236}">
                  <a16:creationId xmlns:a16="http://schemas.microsoft.com/office/drawing/2014/main" id="{A022C550-485B-A24D-BDF7-CDA34DC5A7E9}"/>
                </a:ext>
              </a:extLst>
            </p:cNvPr>
            <p:cNvSpPr>
              <a:spLocks noChangeArrowheads="1"/>
            </p:cNvSpPr>
            <p:nvPr/>
          </p:nvSpPr>
          <p:spPr bwMode="auto">
            <a:xfrm>
              <a:off x="4543425" y="6321425"/>
              <a:ext cx="385763" cy="300038"/>
            </a:xfrm>
            <a:custGeom>
              <a:avLst/>
              <a:gdLst>
                <a:gd name="T0" fmla="*/ 533 w 1073"/>
                <a:gd name="T1" fmla="*/ 185 h 835"/>
                <a:gd name="T2" fmla="*/ 533 w 1073"/>
                <a:gd name="T3" fmla="*/ 185 h 835"/>
                <a:gd name="T4" fmla="*/ 85 w 1073"/>
                <a:gd name="T5" fmla="*/ 698 h 835"/>
                <a:gd name="T6" fmla="*/ 85 w 1073"/>
                <a:gd name="T7" fmla="*/ 698 h 835"/>
                <a:gd name="T8" fmla="*/ 961 w 1073"/>
                <a:gd name="T9" fmla="*/ 711 h 835"/>
                <a:gd name="T10" fmla="*/ 961 w 1073"/>
                <a:gd name="T11" fmla="*/ 711 h 835"/>
                <a:gd name="T12" fmla="*/ 1001 w 1073"/>
                <a:gd name="T13" fmla="*/ 441 h 835"/>
                <a:gd name="T14" fmla="*/ 1001 w 1073"/>
                <a:gd name="T15" fmla="*/ 441 h 835"/>
                <a:gd name="T16" fmla="*/ 916 w 1073"/>
                <a:gd name="T17" fmla="*/ 107 h 835"/>
                <a:gd name="T18" fmla="*/ 916 w 1073"/>
                <a:gd name="T19" fmla="*/ 107 h 835"/>
                <a:gd name="T20" fmla="*/ 533 w 1073"/>
                <a:gd name="T21" fmla="*/ 185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3" h="835">
                  <a:moveTo>
                    <a:pt x="533" y="185"/>
                  </a:moveTo>
                  <a:lnTo>
                    <a:pt x="533" y="185"/>
                  </a:lnTo>
                  <a:cubicBezTo>
                    <a:pt x="533" y="185"/>
                    <a:pt x="0" y="561"/>
                    <a:pt x="85" y="698"/>
                  </a:cubicBezTo>
                  <a:lnTo>
                    <a:pt x="85" y="698"/>
                  </a:lnTo>
                  <a:cubicBezTo>
                    <a:pt x="169" y="834"/>
                    <a:pt x="961" y="711"/>
                    <a:pt x="961" y="711"/>
                  </a:cubicBezTo>
                  <a:lnTo>
                    <a:pt x="961" y="711"/>
                  </a:lnTo>
                  <a:cubicBezTo>
                    <a:pt x="961" y="711"/>
                    <a:pt x="1072" y="691"/>
                    <a:pt x="1001" y="441"/>
                  </a:cubicBezTo>
                  <a:lnTo>
                    <a:pt x="1001" y="441"/>
                  </a:lnTo>
                  <a:cubicBezTo>
                    <a:pt x="929" y="192"/>
                    <a:pt x="913" y="143"/>
                    <a:pt x="916" y="107"/>
                  </a:cubicBezTo>
                  <a:lnTo>
                    <a:pt x="916" y="107"/>
                  </a:lnTo>
                  <a:cubicBezTo>
                    <a:pt x="919" y="71"/>
                    <a:pt x="575" y="0"/>
                    <a:pt x="533" y="185"/>
                  </a:cubicBezTo>
                </a:path>
              </a:pathLst>
            </a:custGeom>
            <a:solidFill>
              <a:srgbClr val="1A100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34" name="Freeform 2">
              <a:extLst>
                <a:ext uri="{FF2B5EF4-FFF2-40B4-BE49-F238E27FC236}">
                  <a16:creationId xmlns:a16="http://schemas.microsoft.com/office/drawing/2014/main" id="{09B0B975-3E90-B241-91FB-22E410DC2C74}"/>
                </a:ext>
              </a:extLst>
            </p:cNvPr>
            <p:cNvSpPr>
              <a:spLocks noChangeArrowheads="1"/>
            </p:cNvSpPr>
            <p:nvPr/>
          </p:nvSpPr>
          <p:spPr bwMode="auto">
            <a:xfrm>
              <a:off x="5284788" y="6354763"/>
              <a:ext cx="538162" cy="220662"/>
            </a:xfrm>
            <a:custGeom>
              <a:avLst/>
              <a:gdLst>
                <a:gd name="T0" fmla="*/ 44 w 1497"/>
                <a:gd name="T1" fmla="*/ 57 h 614"/>
                <a:gd name="T2" fmla="*/ 44 w 1497"/>
                <a:gd name="T3" fmla="*/ 57 h 614"/>
                <a:gd name="T4" fmla="*/ 32 w 1497"/>
                <a:gd name="T5" fmla="*/ 572 h 614"/>
                <a:gd name="T6" fmla="*/ 32 w 1497"/>
                <a:gd name="T7" fmla="*/ 572 h 614"/>
                <a:gd name="T8" fmla="*/ 1430 w 1497"/>
                <a:gd name="T9" fmla="*/ 613 h 614"/>
                <a:gd name="T10" fmla="*/ 1430 w 1497"/>
                <a:gd name="T11" fmla="*/ 613 h 614"/>
                <a:gd name="T12" fmla="*/ 1337 w 1497"/>
                <a:gd name="T13" fmla="*/ 440 h 614"/>
                <a:gd name="T14" fmla="*/ 1337 w 1497"/>
                <a:gd name="T15" fmla="*/ 440 h 614"/>
                <a:gd name="T16" fmla="*/ 590 w 1497"/>
                <a:gd name="T17" fmla="*/ 198 h 614"/>
                <a:gd name="T18" fmla="*/ 590 w 1497"/>
                <a:gd name="T19" fmla="*/ 198 h 614"/>
                <a:gd name="T20" fmla="*/ 517 w 1497"/>
                <a:gd name="T21" fmla="*/ 41 h 614"/>
                <a:gd name="T22" fmla="*/ 517 w 1497"/>
                <a:gd name="T23" fmla="*/ 41 h 614"/>
                <a:gd name="T24" fmla="*/ 44 w 1497"/>
                <a:gd name="T25" fmla="*/ 57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7" h="614">
                  <a:moveTo>
                    <a:pt x="44" y="57"/>
                  </a:moveTo>
                  <a:lnTo>
                    <a:pt x="44" y="57"/>
                  </a:lnTo>
                  <a:cubicBezTo>
                    <a:pt x="44" y="57"/>
                    <a:pt x="0" y="551"/>
                    <a:pt x="32" y="572"/>
                  </a:cubicBezTo>
                  <a:lnTo>
                    <a:pt x="32" y="572"/>
                  </a:lnTo>
                  <a:cubicBezTo>
                    <a:pt x="65" y="592"/>
                    <a:pt x="1430" y="613"/>
                    <a:pt x="1430" y="613"/>
                  </a:cubicBezTo>
                  <a:lnTo>
                    <a:pt x="1430" y="613"/>
                  </a:lnTo>
                  <a:cubicBezTo>
                    <a:pt x="1430" y="613"/>
                    <a:pt x="1496" y="500"/>
                    <a:pt x="1337" y="440"/>
                  </a:cubicBezTo>
                  <a:lnTo>
                    <a:pt x="1337" y="440"/>
                  </a:lnTo>
                  <a:cubicBezTo>
                    <a:pt x="1179" y="380"/>
                    <a:pt x="590" y="198"/>
                    <a:pt x="590" y="198"/>
                  </a:cubicBezTo>
                  <a:lnTo>
                    <a:pt x="590" y="198"/>
                  </a:lnTo>
                  <a:cubicBezTo>
                    <a:pt x="590" y="198"/>
                    <a:pt x="526" y="83"/>
                    <a:pt x="517" y="41"/>
                  </a:cubicBezTo>
                  <a:lnTo>
                    <a:pt x="517" y="41"/>
                  </a:lnTo>
                  <a:cubicBezTo>
                    <a:pt x="507" y="0"/>
                    <a:pt x="44" y="57"/>
                    <a:pt x="44" y="57"/>
                  </a:cubicBezTo>
                </a:path>
              </a:pathLst>
            </a:custGeom>
            <a:solidFill>
              <a:srgbClr val="1A100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35" name="Freeform 3">
              <a:extLst>
                <a:ext uri="{FF2B5EF4-FFF2-40B4-BE49-F238E27FC236}">
                  <a16:creationId xmlns:a16="http://schemas.microsoft.com/office/drawing/2014/main" id="{5B6AC3F8-6DFB-CD4B-A078-D5F33BF0825F}"/>
                </a:ext>
              </a:extLst>
            </p:cNvPr>
            <p:cNvSpPr>
              <a:spLocks noChangeArrowheads="1"/>
            </p:cNvSpPr>
            <p:nvPr/>
          </p:nvSpPr>
          <p:spPr bwMode="auto">
            <a:xfrm>
              <a:off x="4627563" y="3802063"/>
              <a:ext cx="944562" cy="2584450"/>
            </a:xfrm>
            <a:custGeom>
              <a:avLst/>
              <a:gdLst>
                <a:gd name="T0" fmla="*/ 1339 w 2623"/>
                <a:gd name="T1" fmla="*/ 0 h 7180"/>
                <a:gd name="T2" fmla="*/ 1284 w 2623"/>
                <a:gd name="T3" fmla="*/ 0 h 7180"/>
                <a:gd name="T4" fmla="*/ 0 w 2623"/>
                <a:gd name="T5" fmla="*/ 0 h 7180"/>
                <a:gd name="T6" fmla="*/ 36 w 2623"/>
                <a:gd name="T7" fmla="*/ 2406 h 7180"/>
                <a:gd name="T8" fmla="*/ 253 w 2623"/>
                <a:gd name="T9" fmla="*/ 7179 h 7180"/>
                <a:gd name="T10" fmla="*/ 769 w 2623"/>
                <a:gd name="T11" fmla="*/ 7179 h 7180"/>
                <a:gd name="T12" fmla="*/ 1027 w 2623"/>
                <a:gd name="T13" fmla="*/ 4146 h 7180"/>
                <a:gd name="T14" fmla="*/ 1027 w 2623"/>
                <a:gd name="T15" fmla="*/ 4146 h 7180"/>
                <a:gd name="T16" fmla="*/ 1311 w 2623"/>
                <a:gd name="T17" fmla="*/ 1033 h 7180"/>
                <a:gd name="T18" fmla="*/ 1311 w 2623"/>
                <a:gd name="T19" fmla="*/ 1033 h 7180"/>
                <a:gd name="T20" fmla="*/ 1595 w 2623"/>
                <a:gd name="T21" fmla="*/ 4146 h 7180"/>
                <a:gd name="T22" fmla="*/ 1853 w 2623"/>
                <a:gd name="T23" fmla="*/ 7179 h 7180"/>
                <a:gd name="T24" fmla="*/ 2369 w 2623"/>
                <a:gd name="T25" fmla="*/ 7179 h 7180"/>
                <a:gd name="T26" fmla="*/ 2585 w 2623"/>
                <a:gd name="T27" fmla="*/ 2406 h 7180"/>
                <a:gd name="T28" fmla="*/ 2622 w 2623"/>
                <a:gd name="T29" fmla="*/ 0 h 7180"/>
                <a:gd name="T30" fmla="*/ 1339 w 2623"/>
                <a:gd name="T31" fmla="*/ 0 h 7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23" h="7180">
                  <a:moveTo>
                    <a:pt x="1339" y="0"/>
                  </a:moveTo>
                  <a:lnTo>
                    <a:pt x="1284" y="0"/>
                  </a:lnTo>
                  <a:lnTo>
                    <a:pt x="0" y="0"/>
                  </a:lnTo>
                  <a:lnTo>
                    <a:pt x="36" y="2406"/>
                  </a:lnTo>
                  <a:lnTo>
                    <a:pt x="253" y="7179"/>
                  </a:lnTo>
                  <a:lnTo>
                    <a:pt x="769" y="7179"/>
                  </a:lnTo>
                  <a:lnTo>
                    <a:pt x="1027" y="4146"/>
                  </a:lnTo>
                  <a:lnTo>
                    <a:pt x="1027" y="4146"/>
                  </a:lnTo>
                  <a:cubicBezTo>
                    <a:pt x="1027" y="4146"/>
                    <a:pt x="1219" y="1322"/>
                    <a:pt x="1311" y="1033"/>
                  </a:cubicBezTo>
                  <a:lnTo>
                    <a:pt x="1311" y="1033"/>
                  </a:lnTo>
                  <a:cubicBezTo>
                    <a:pt x="1404" y="1322"/>
                    <a:pt x="1595" y="4146"/>
                    <a:pt x="1595" y="4146"/>
                  </a:cubicBezTo>
                  <a:lnTo>
                    <a:pt x="1853" y="7179"/>
                  </a:lnTo>
                  <a:lnTo>
                    <a:pt x="2369" y="7179"/>
                  </a:lnTo>
                  <a:lnTo>
                    <a:pt x="2585" y="2406"/>
                  </a:lnTo>
                  <a:lnTo>
                    <a:pt x="2622" y="0"/>
                  </a:lnTo>
                  <a:lnTo>
                    <a:pt x="1339" y="0"/>
                  </a:lnTo>
                </a:path>
              </a:pathLst>
            </a:custGeom>
            <a:solidFill>
              <a:srgbClr val="12222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36" name="Freeform 4">
              <a:extLst>
                <a:ext uri="{FF2B5EF4-FFF2-40B4-BE49-F238E27FC236}">
                  <a16:creationId xmlns:a16="http://schemas.microsoft.com/office/drawing/2014/main" id="{FFCB7E4B-F18F-3140-9BF5-4557F72C418E}"/>
                </a:ext>
              </a:extLst>
            </p:cNvPr>
            <p:cNvSpPr>
              <a:spLocks noChangeArrowheads="1"/>
            </p:cNvSpPr>
            <p:nvPr/>
          </p:nvSpPr>
          <p:spPr bwMode="auto">
            <a:xfrm>
              <a:off x="4629150" y="3927475"/>
              <a:ext cx="188913" cy="149225"/>
            </a:xfrm>
            <a:custGeom>
              <a:avLst/>
              <a:gdLst>
                <a:gd name="T0" fmla="*/ 0 w 525"/>
                <a:gd name="T1" fmla="*/ 170 h 416"/>
                <a:gd name="T2" fmla="*/ 43 w 525"/>
                <a:gd name="T3" fmla="*/ 281 h 416"/>
                <a:gd name="T4" fmla="*/ 43 w 525"/>
                <a:gd name="T5" fmla="*/ 281 h 416"/>
                <a:gd name="T6" fmla="*/ 43 w 525"/>
                <a:gd name="T7" fmla="*/ 415 h 416"/>
                <a:gd name="T8" fmla="*/ 524 w 525"/>
                <a:gd name="T9" fmla="*/ 153 h 416"/>
                <a:gd name="T10" fmla="*/ 524 w 525"/>
                <a:gd name="T11" fmla="*/ 153 h 416"/>
                <a:gd name="T12" fmla="*/ 430 w 525"/>
                <a:gd name="T13" fmla="*/ 76 h 416"/>
                <a:gd name="T14" fmla="*/ 430 w 525"/>
                <a:gd name="T15" fmla="*/ 76 h 416"/>
                <a:gd name="T16" fmla="*/ 342 w 525"/>
                <a:gd name="T17" fmla="*/ 0 h 416"/>
                <a:gd name="T18" fmla="*/ 0 w 525"/>
                <a:gd name="T19" fmla="*/ 17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5" h="416">
                  <a:moveTo>
                    <a:pt x="0" y="170"/>
                  </a:moveTo>
                  <a:lnTo>
                    <a:pt x="43" y="281"/>
                  </a:lnTo>
                  <a:lnTo>
                    <a:pt x="43" y="281"/>
                  </a:lnTo>
                  <a:cubicBezTo>
                    <a:pt x="43" y="281"/>
                    <a:pt x="26" y="392"/>
                    <a:pt x="43" y="415"/>
                  </a:cubicBezTo>
                  <a:lnTo>
                    <a:pt x="524" y="153"/>
                  </a:lnTo>
                  <a:lnTo>
                    <a:pt x="524" y="153"/>
                  </a:lnTo>
                  <a:cubicBezTo>
                    <a:pt x="524" y="153"/>
                    <a:pt x="481" y="92"/>
                    <a:pt x="430" y="76"/>
                  </a:cubicBezTo>
                  <a:lnTo>
                    <a:pt x="430" y="76"/>
                  </a:lnTo>
                  <a:cubicBezTo>
                    <a:pt x="377" y="59"/>
                    <a:pt x="342" y="0"/>
                    <a:pt x="342" y="0"/>
                  </a:cubicBezTo>
                  <a:lnTo>
                    <a:pt x="0" y="170"/>
                  </a:lnTo>
                </a:path>
              </a:pathLst>
            </a:custGeom>
            <a:solidFill>
              <a:srgbClr val="DDBB9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37" name="Freeform 5">
              <a:extLst>
                <a:ext uri="{FF2B5EF4-FFF2-40B4-BE49-F238E27FC236}">
                  <a16:creationId xmlns:a16="http://schemas.microsoft.com/office/drawing/2014/main" id="{0453AC2F-F306-044C-B857-7D24C641F937}"/>
                </a:ext>
              </a:extLst>
            </p:cNvPr>
            <p:cNvSpPr>
              <a:spLocks noChangeArrowheads="1"/>
            </p:cNvSpPr>
            <p:nvPr/>
          </p:nvSpPr>
          <p:spPr bwMode="auto">
            <a:xfrm>
              <a:off x="4887913" y="1916113"/>
              <a:ext cx="434975" cy="1827212"/>
            </a:xfrm>
            <a:custGeom>
              <a:avLst/>
              <a:gdLst>
                <a:gd name="T0" fmla="*/ 565 w 1207"/>
                <a:gd name="T1" fmla="*/ 121 h 5076"/>
                <a:gd name="T2" fmla="*/ 512 w 1207"/>
                <a:gd name="T3" fmla="*/ 121 h 5076"/>
                <a:gd name="T4" fmla="*/ 102 w 1207"/>
                <a:gd name="T5" fmla="*/ 0 h 5076"/>
                <a:gd name="T6" fmla="*/ 0 w 1207"/>
                <a:gd name="T7" fmla="*/ 78 h 5076"/>
                <a:gd name="T8" fmla="*/ 25 w 1207"/>
                <a:gd name="T9" fmla="*/ 5075 h 5076"/>
                <a:gd name="T10" fmla="*/ 1091 w 1207"/>
                <a:gd name="T11" fmla="*/ 5075 h 5076"/>
                <a:gd name="T12" fmla="*/ 1206 w 1207"/>
                <a:gd name="T13" fmla="*/ 233 h 5076"/>
                <a:gd name="T14" fmla="*/ 956 w 1207"/>
                <a:gd name="T15" fmla="*/ 0 h 5076"/>
                <a:gd name="T16" fmla="*/ 918 w 1207"/>
                <a:gd name="T17" fmla="*/ 0 h 5076"/>
                <a:gd name="T18" fmla="*/ 565 w 1207"/>
                <a:gd name="T19" fmla="*/ 121 h 5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7" h="5076">
                  <a:moveTo>
                    <a:pt x="565" y="121"/>
                  </a:moveTo>
                  <a:lnTo>
                    <a:pt x="512" y="121"/>
                  </a:lnTo>
                  <a:lnTo>
                    <a:pt x="102" y="0"/>
                  </a:lnTo>
                  <a:lnTo>
                    <a:pt x="0" y="78"/>
                  </a:lnTo>
                  <a:lnTo>
                    <a:pt x="25" y="5075"/>
                  </a:lnTo>
                  <a:lnTo>
                    <a:pt x="1091" y="5075"/>
                  </a:lnTo>
                  <a:lnTo>
                    <a:pt x="1206" y="233"/>
                  </a:lnTo>
                  <a:lnTo>
                    <a:pt x="956" y="0"/>
                  </a:lnTo>
                  <a:lnTo>
                    <a:pt x="918" y="0"/>
                  </a:lnTo>
                  <a:lnTo>
                    <a:pt x="565" y="121"/>
                  </a:lnTo>
                </a:path>
              </a:pathLst>
            </a:custGeom>
            <a:solidFill>
              <a:srgbClr val="F8FBF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38" name="Freeform 6">
              <a:extLst>
                <a:ext uri="{FF2B5EF4-FFF2-40B4-BE49-F238E27FC236}">
                  <a16:creationId xmlns:a16="http://schemas.microsoft.com/office/drawing/2014/main" id="{326E9B09-3D63-3547-8B46-43B73A783A1A}"/>
                </a:ext>
              </a:extLst>
            </p:cNvPr>
            <p:cNvSpPr>
              <a:spLocks noChangeArrowheads="1"/>
            </p:cNvSpPr>
            <p:nvPr/>
          </p:nvSpPr>
          <p:spPr bwMode="auto">
            <a:xfrm>
              <a:off x="4989513" y="2065338"/>
              <a:ext cx="174625" cy="1139825"/>
            </a:xfrm>
            <a:custGeom>
              <a:avLst/>
              <a:gdLst>
                <a:gd name="T0" fmla="*/ 484 w 485"/>
                <a:gd name="T1" fmla="*/ 2766 h 3165"/>
                <a:gd name="T2" fmla="*/ 342 w 485"/>
                <a:gd name="T3" fmla="*/ 51 h 3165"/>
                <a:gd name="T4" fmla="*/ 243 w 485"/>
                <a:gd name="T5" fmla="*/ 1 h 3165"/>
                <a:gd name="T6" fmla="*/ 243 w 485"/>
                <a:gd name="T7" fmla="*/ 0 h 3165"/>
                <a:gd name="T8" fmla="*/ 242 w 485"/>
                <a:gd name="T9" fmla="*/ 0 h 3165"/>
                <a:gd name="T10" fmla="*/ 242 w 485"/>
                <a:gd name="T11" fmla="*/ 0 h 3165"/>
                <a:gd name="T12" fmla="*/ 242 w 485"/>
                <a:gd name="T13" fmla="*/ 1 h 3165"/>
                <a:gd name="T14" fmla="*/ 143 w 485"/>
                <a:gd name="T15" fmla="*/ 51 h 3165"/>
                <a:gd name="T16" fmla="*/ 0 w 485"/>
                <a:gd name="T17" fmla="*/ 2766 h 3165"/>
                <a:gd name="T18" fmla="*/ 242 w 485"/>
                <a:gd name="T19" fmla="*/ 3164 h 3165"/>
                <a:gd name="T20" fmla="*/ 484 w 485"/>
                <a:gd name="T21" fmla="*/ 2766 h 3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5" h="3165">
                  <a:moveTo>
                    <a:pt x="484" y="2766"/>
                  </a:moveTo>
                  <a:lnTo>
                    <a:pt x="342" y="51"/>
                  </a:lnTo>
                  <a:lnTo>
                    <a:pt x="243" y="1"/>
                  </a:lnTo>
                  <a:lnTo>
                    <a:pt x="243" y="0"/>
                  </a:lnTo>
                  <a:lnTo>
                    <a:pt x="242" y="0"/>
                  </a:lnTo>
                  <a:lnTo>
                    <a:pt x="242" y="0"/>
                  </a:lnTo>
                  <a:lnTo>
                    <a:pt x="242" y="1"/>
                  </a:lnTo>
                  <a:lnTo>
                    <a:pt x="143" y="51"/>
                  </a:lnTo>
                  <a:lnTo>
                    <a:pt x="0" y="2766"/>
                  </a:lnTo>
                  <a:lnTo>
                    <a:pt x="242" y="3164"/>
                  </a:lnTo>
                  <a:lnTo>
                    <a:pt x="484" y="2766"/>
                  </a:lnTo>
                </a:path>
              </a:pathLst>
            </a:custGeom>
            <a:solidFill>
              <a:srgbClr val="F0922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39" name="Freeform 7">
              <a:extLst>
                <a:ext uri="{FF2B5EF4-FFF2-40B4-BE49-F238E27FC236}">
                  <a16:creationId xmlns:a16="http://schemas.microsoft.com/office/drawing/2014/main" id="{8D34FB6E-1C6E-AF46-AF7A-64780E9BECF9}"/>
                </a:ext>
              </a:extLst>
            </p:cNvPr>
            <p:cNvSpPr>
              <a:spLocks noChangeArrowheads="1"/>
            </p:cNvSpPr>
            <p:nvPr/>
          </p:nvSpPr>
          <p:spPr bwMode="auto">
            <a:xfrm>
              <a:off x="4967288" y="1717675"/>
              <a:ext cx="222250" cy="254000"/>
            </a:xfrm>
            <a:custGeom>
              <a:avLst/>
              <a:gdLst>
                <a:gd name="T0" fmla="*/ 617 w 618"/>
                <a:gd name="T1" fmla="*/ 705 h 706"/>
                <a:gd name="T2" fmla="*/ 0 w 618"/>
                <a:gd name="T3" fmla="*/ 705 h 706"/>
                <a:gd name="T4" fmla="*/ 0 w 618"/>
                <a:gd name="T5" fmla="*/ 0 h 706"/>
                <a:gd name="T6" fmla="*/ 617 w 618"/>
                <a:gd name="T7" fmla="*/ 0 h 706"/>
                <a:gd name="T8" fmla="*/ 617 w 618"/>
                <a:gd name="T9" fmla="*/ 705 h 706"/>
              </a:gdLst>
              <a:ahLst/>
              <a:cxnLst>
                <a:cxn ang="0">
                  <a:pos x="T0" y="T1"/>
                </a:cxn>
                <a:cxn ang="0">
                  <a:pos x="T2" y="T3"/>
                </a:cxn>
                <a:cxn ang="0">
                  <a:pos x="T4" y="T5"/>
                </a:cxn>
                <a:cxn ang="0">
                  <a:pos x="T6" y="T7"/>
                </a:cxn>
                <a:cxn ang="0">
                  <a:pos x="T8" y="T9"/>
                </a:cxn>
              </a:cxnLst>
              <a:rect l="0" t="0" r="r" b="b"/>
              <a:pathLst>
                <a:path w="618" h="706">
                  <a:moveTo>
                    <a:pt x="617" y="705"/>
                  </a:moveTo>
                  <a:lnTo>
                    <a:pt x="0" y="705"/>
                  </a:lnTo>
                  <a:lnTo>
                    <a:pt x="0" y="0"/>
                  </a:lnTo>
                  <a:lnTo>
                    <a:pt x="617" y="0"/>
                  </a:lnTo>
                  <a:lnTo>
                    <a:pt x="617" y="705"/>
                  </a:lnTo>
                </a:path>
              </a:pathLst>
            </a:custGeom>
            <a:solidFill>
              <a:srgbClr val="DDBB9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40" name="Freeform 8">
              <a:extLst>
                <a:ext uri="{FF2B5EF4-FFF2-40B4-BE49-F238E27FC236}">
                  <a16:creationId xmlns:a16="http://schemas.microsoft.com/office/drawing/2014/main" id="{B1A88BCC-FB42-DA42-9481-31EF9C4EA71B}"/>
                </a:ext>
              </a:extLst>
            </p:cNvPr>
            <p:cNvSpPr>
              <a:spLocks noChangeArrowheads="1"/>
            </p:cNvSpPr>
            <p:nvPr/>
          </p:nvSpPr>
          <p:spPr bwMode="auto">
            <a:xfrm>
              <a:off x="4800600" y="3740150"/>
              <a:ext cx="579438" cy="123825"/>
            </a:xfrm>
            <a:custGeom>
              <a:avLst/>
              <a:gdLst>
                <a:gd name="T0" fmla="*/ 1610 w 1611"/>
                <a:gd name="T1" fmla="*/ 343 h 344"/>
                <a:gd name="T2" fmla="*/ 0 w 1611"/>
                <a:gd name="T3" fmla="*/ 343 h 344"/>
                <a:gd name="T4" fmla="*/ 0 w 1611"/>
                <a:gd name="T5" fmla="*/ 0 h 344"/>
                <a:gd name="T6" fmla="*/ 1610 w 1611"/>
                <a:gd name="T7" fmla="*/ 0 h 344"/>
                <a:gd name="T8" fmla="*/ 1610 w 1611"/>
                <a:gd name="T9" fmla="*/ 343 h 344"/>
              </a:gdLst>
              <a:ahLst/>
              <a:cxnLst>
                <a:cxn ang="0">
                  <a:pos x="T0" y="T1"/>
                </a:cxn>
                <a:cxn ang="0">
                  <a:pos x="T2" y="T3"/>
                </a:cxn>
                <a:cxn ang="0">
                  <a:pos x="T4" y="T5"/>
                </a:cxn>
                <a:cxn ang="0">
                  <a:pos x="T6" y="T7"/>
                </a:cxn>
                <a:cxn ang="0">
                  <a:pos x="T8" y="T9"/>
                </a:cxn>
              </a:cxnLst>
              <a:rect l="0" t="0" r="r" b="b"/>
              <a:pathLst>
                <a:path w="1611" h="344">
                  <a:moveTo>
                    <a:pt x="1610" y="343"/>
                  </a:moveTo>
                  <a:lnTo>
                    <a:pt x="0" y="343"/>
                  </a:lnTo>
                  <a:lnTo>
                    <a:pt x="0" y="0"/>
                  </a:lnTo>
                  <a:lnTo>
                    <a:pt x="1610" y="0"/>
                  </a:lnTo>
                  <a:lnTo>
                    <a:pt x="1610" y="343"/>
                  </a:lnTo>
                </a:path>
              </a:pathLst>
            </a:custGeom>
            <a:solidFill>
              <a:srgbClr val="65321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41" name="Freeform 9">
              <a:extLst>
                <a:ext uri="{FF2B5EF4-FFF2-40B4-BE49-F238E27FC236}">
                  <a16:creationId xmlns:a16="http://schemas.microsoft.com/office/drawing/2014/main" id="{29210532-B7EC-1A4F-BE89-9FBBE98CE251}"/>
                </a:ext>
              </a:extLst>
            </p:cNvPr>
            <p:cNvSpPr>
              <a:spLocks noChangeArrowheads="1"/>
            </p:cNvSpPr>
            <p:nvPr/>
          </p:nvSpPr>
          <p:spPr bwMode="auto">
            <a:xfrm>
              <a:off x="4978400" y="3725863"/>
              <a:ext cx="223838" cy="155575"/>
            </a:xfrm>
            <a:custGeom>
              <a:avLst/>
              <a:gdLst>
                <a:gd name="T0" fmla="*/ 622 w 623"/>
                <a:gd name="T1" fmla="*/ 317 h 430"/>
                <a:gd name="T2" fmla="*/ 622 w 623"/>
                <a:gd name="T3" fmla="*/ 317 h 430"/>
                <a:gd name="T4" fmla="*/ 510 w 623"/>
                <a:gd name="T5" fmla="*/ 429 h 430"/>
                <a:gd name="T6" fmla="*/ 112 w 623"/>
                <a:gd name="T7" fmla="*/ 429 h 430"/>
                <a:gd name="T8" fmla="*/ 112 w 623"/>
                <a:gd name="T9" fmla="*/ 429 h 430"/>
                <a:gd name="T10" fmla="*/ 0 w 623"/>
                <a:gd name="T11" fmla="*/ 317 h 430"/>
                <a:gd name="T12" fmla="*/ 0 w 623"/>
                <a:gd name="T13" fmla="*/ 112 h 430"/>
                <a:gd name="T14" fmla="*/ 0 w 623"/>
                <a:gd name="T15" fmla="*/ 112 h 430"/>
                <a:gd name="T16" fmla="*/ 112 w 623"/>
                <a:gd name="T17" fmla="*/ 0 h 430"/>
                <a:gd name="T18" fmla="*/ 510 w 623"/>
                <a:gd name="T19" fmla="*/ 0 h 430"/>
                <a:gd name="T20" fmla="*/ 510 w 623"/>
                <a:gd name="T21" fmla="*/ 0 h 430"/>
                <a:gd name="T22" fmla="*/ 622 w 623"/>
                <a:gd name="T23" fmla="*/ 112 h 430"/>
                <a:gd name="T24" fmla="*/ 622 w 623"/>
                <a:gd name="T25" fmla="*/ 317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3" h="430">
                  <a:moveTo>
                    <a:pt x="622" y="317"/>
                  </a:moveTo>
                  <a:lnTo>
                    <a:pt x="622" y="317"/>
                  </a:lnTo>
                  <a:cubicBezTo>
                    <a:pt x="622" y="379"/>
                    <a:pt x="572" y="429"/>
                    <a:pt x="510" y="429"/>
                  </a:cubicBezTo>
                  <a:lnTo>
                    <a:pt x="112" y="429"/>
                  </a:lnTo>
                  <a:lnTo>
                    <a:pt x="112" y="429"/>
                  </a:lnTo>
                  <a:cubicBezTo>
                    <a:pt x="50" y="429"/>
                    <a:pt x="0" y="379"/>
                    <a:pt x="0" y="317"/>
                  </a:cubicBezTo>
                  <a:lnTo>
                    <a:pt x="0" y="112"/>
                  </a:lnTo>
                  <a:lnTo>
                    <a:pt x="0" y="112"/>
                  </a:lnTo>
                  <a:cubicBezTo>
                    <a:pt x="0" y="50"/>
                    <a:pt x="50" y="0"/>
                    <a:pt x="112" y="0"/>
                  </a:cubicBezTo>
                  <a:lnTo>
                    <a:pt x="510" y="0"/>
                  </a:lnTo>
                  <a:lnTo>
                    <a:pt x="510" y="0"/>
                  </a:lnTo>
                  <a:cubicBezTo>
                    <a:pt x="572" y="0"/>
                    <a:pt x="622" y="50"/>
                    <a:pt x="622" y="112"/>
                  </a:cubicBezTo>
                  <a:lnTo>
                    <a:pt x="622" y="317"/>
                  </a:lnTo>
                </a:path>
              </a:pathLst>
            </a:custGeom>
            <a:solidFill>
              <a:srgbClr val="E2BD2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42" name="Freeform 10">
              <a:extLst>
                <a:ext uri="{FF2B5EF4-FFF2-40B4-BE49-F238E27FC236}">
                  <a16:creationId xmlns:a16="http://schemas.microsoft.com/office/drawing/2014/main" id="{D1486E4D-DFCB-1E43-82E8-4F51F748A007}"/>
                </a:ext>
              </a:extLst>
            </p:cNvPr>
            <p:cNvSpPr>
              <a:spLocks noChangeArrowheads="1"/>
            </p:cNvSpPr>
            <p:nvPr/>
          </p:nvSpPr>
          <p:spPr bwMode="auto">
            <a:xfrm>
              <a:off x="5005388" y="3741738"/>
              <a:ext cx="169862" cy="122237"/>
            </a:xfrm>
            <a:custGeom>
              <a:avLst/>
              <a:gdLst>
                <a:gd name="T0" fmla="*/ 470 w 471"/>
                <a:gd name="T1" fmla="*/ 225 h 338"/>
                <a:gd name="T2" fmla="*/ 470 w 471"/>
                <a:gd name="T3" fmla="*/ 225 h 338"/>
                <a:gd name="T4" fmla="*/ 358 w 471"/>
                <a:gd name="T5" fmla="*/ 337 h 338"/>
                <a:gd name="T6" fmla="*/ 112 w 471"/>
                <a:gd name="T7" fmla="*/ 337 h 338"/>
                <a:gd name="T8" fmla="*/ 112 w 471"/>
                <a:gd name="T9" fmla="*/ 337 h 338"/>
                <a:gd name="T10" fmla="*/ 0 w 471"/>
                <a:gd name="T11" fmla="*/ 225 h 338"/>
                <a:gd name="T12" fmla="*/ 0 w 471"/>
                <a:gd name="T13" fmla="*/ 112 h 338"/>
                <a:gd name="T14" fmla="*/ 0 w 471"/>
                <a:gd name="T15" fmla="*/ 112 h 338"/>
                <a:gd name="T16" fmla="*/ 112 w 471"/>
                <a:gd name="T17" fmla="*/ 0 h 338"/>
                <a:gd name="T18" fmla="*/ 358 w 471"/>
                <a:gd name="T19" fmla="*/ 0 h 338"/>
                <a:gd name="T20" fmla="*/ 358 w 471"/>
                <a:gd name="T21" fmla="*/ 0 h 338"/>
                <a:gd name="T22" fmla="*/ 470 w 471"/>
                <a:gd name="T23" fmla="*/ 112 h 338"/>
                <a:gd name="T24" fmla="*/ 470 w 471"/>
                <a:gd name="T25" fmla="*/ 22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1" h="338">
                  <a:moveTo>
                    <a:pt x="470" y="225"/>
                  </a:moveTo>
                  <a:lnTo>
                    <a:pt x="470" y="225"/>
                  </a:lnTo>
                  <a:cubicBezTo>
                    <a:pt x="470" y="287"/>
                    <a:pt x="419" y="337"/>
                    <a:pt x="358" y="337"/>
                  </a:cubicBezTo>
                  <a:lnTo>
                    <a:pt x="112" y="337"/>
                  </a:lnTo>
                  <a:lnTo>
                    <a:pt x="112" y="337"/>
                  </a:lnTo>
                  <a:cubicBezTo>
                    <a:pt x="50" y="337"/>
                    <a:pt x="0" y="287"/>
                    <a:pt x="0" y="225"/>
                  </a:cubicBezTo>
                  <a:lnTo>
                    <a:pt x="0" y="112"/>
                  </a:lnTo>
                  <a:lnTo>
                    <a:pt x="0" y="112"/>
                  </a:lnTo>
                  <a:cubicBezTo>
                    <a:pt x="0" y="50"/>
                    <a:pt x="50" y="0"/>
                    <a:pt x="112" y="0"/>
                  </a:cubicBezTo>
                  <a:lnTo>
                    <a:pt x="358" y="0"/>
                  </a:lnTo>
                  <a:lnTo>
                    <a:pt x="358" y="0"/>
                  </a:lnTo>
                  <a:cubicBezTo>
                    <a:pt x="419" y="0"/>
                    <a:pt x="470" y="50"/>
                    <a:pt x="470" y="112"/>
                  </a:cubicBezTo>
                  <a:lnTo>
                    <a:pt x="470" y="225"/>
                  </a:lnTo>
                </a:path>
              </a:pathLst>
            </a:custGeom>
            <a:solidFill>
              <a:srgbClr val="F7D56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43" name="Freeform 11">
              <a:extLst>
                <a:ext uri="{FF2B5EF4-FFF2-40B4-BE49-F238E27FC236}">
                  <a16:creationId xmlns:a16="http://schemas.microsoft.com/office/drawing/2014/main" id="{21C904EC-2185-BD42-8B32-AFFF5CA5C4AC}"/>
                </a:ext>
              </a:extLst>
            </p:cNvPr>
            <p:cNvSpPr>
              <a:spLocks noChangeArrowheads="1"/>
            </p:cNvSpPr>
            <p:nvPr/>
          </p:nvSpPr>
          <p:spPr bwMode="auto">
            <a:xfrm>
              <a:off x="5176838" y="4594225"/>
              <a:ext cx="1165225" cy="652463"/>
            </a:xfrm>
            <a:custGeom>
              <a:avLst/>
              <a:gdLst>
                <a:gd name="T0" fmla="*/ 1616 w 3235"/>
                <a:gd name="T1" fmla="*/ 604 h 1814"/>
                <a:gd name="T2" fmla="*/ 1616 w 3235"/>
                <a:gd name="T3" fmla="*/ 604 h 1814"/>
                <a:gd name="T4" fmla="*/ 0 w 3235"/>
                <a:gd name="T5" fmla="*/ 0 h 1814"/>
                <a:gd name="T6" fmla="*/ 0 w 3235"/>
                <a:gd name="T7" fmla="*/ 1615 h 1814"/>
                <a:gd name="T8" fmla="*/ 0 w 3235"/>
                <a:gd name="T9" fmla="*/ 1615 h 1814"/>
                <a:gd name="T10" fmla="*/ 196 w 3235"/>
                <a:gd name="T11" fmla="*/ 1813 h 1814"/>
                <a:gd name="T12" fmla="*/ 3036 w 3235"/>
                <a:gd name="T13" fmla="*/ 1813 h 1814"/>
                <a:gd name="T14" fmla="*/ 3036 w 3235"/>
                <a:gd name="T15" fmla="*/ 1813 h 1814"/>
                <a:gd name="T16" fmla="*/ 3234 w 3235"/>
                <a:gd name="T17" fmla="*/ 1615 h 1814"/>
                <a:gd name="T18" fmla="*/ 3234 w 3235"/>
                <a:gd name="T19" fmla="*/ 44 h 1814"/>
                <a:gd name="T20" fmla="*/ 3234 w 3235"/>
                <a:gd name="T21" fmla="*/ 44 h 1814"/>
                <a:gd name="T22" fmla="*/ 1616 w 3235"/>
                <a:gd name="T23" fmla="*/ 604 h 1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35" h="1814">
                  <a:moveTo>
                    <a:pt x="1616" y="604"/>
                  </a:moveTo>
                  <a:lnTo>
                    <a:pt x="1616" y="604"/>
                  </a:lnTo>
                  <a:cubicBezTo>
                    <a:pt x="891" y="604"/>
                    <a:pt x="268" y="354"/>
                    <a:pt x="0" y="0"/>
                  </a:cubicBezTo>
                  <a:lnTo>
                    <a:pt x="0" y="1615"/>
                  </a:lnTo>
                  <a:lnTo>
                    <a:pt x="0" y="1615"/>
                  </a:lnTo>
                  <a:cubicBezTo>
                    <a:pt x="0" y="1724"/>
                    <a:pt x="89" y="1813"/>
                    <a:pt x="196" y="1813"/>
                  </a:cubicBezTo>
                  <a:lnTo>
                    <a:pt x="3036" y="1813"/>
                  </a:lnTo>
                  <a:lnTo>
                    <a:pt x="3036" y="1813"/>
                  </a:lnTo>
                  <a:cubicBezTo>
                    <a:pt x="3145" y="1813"/>
                    <a:pt x="3234" y="1724"/>
                    <a:pt x="3234" y="1615"/>
                  </a:cubicBezTo>
                  <a:lnTo>
                    <a:pt x="3234" y="44"/>
                  </a:lnTo>
                  <a:lnTo>
                    <a:pt x="3234" y="44"/>
                  </a:lnTo>
                  <a:cubicBezTo>
                    <a:pt x="2964" y="397"/>
                    <a:pt x="2342" y="604"/>
                    <a:pt x="1616" y="604"/>
                  </a:cubicBezTo>
                </a:path>
              </a:pathLst>
            </a:custGeom>
            <a:solidFill>
              <a:srgbClr val="AE6C2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44" name="Freeform 12">
              <a:extLst>
                <a:ext uri="{FF2B5EF4-FFF2-40B4-BE49-F238E27FC236}">
                  <a16:creationId xmlns:a16="http://schemas.microsoft.com/office/drawing/2014/main" id="{A5C4619B-C56A-7942-AB09-85B8E416DD34}"/>
                </a:ext>
              </a:extLst>
            </p:cNvPr>
            <p:cNvSpPr>
              <a:spLocks noChangeArrowheads="1"/>
            </p:cNvSpPr>
            <p:nvPr/>
          </p:nvSpPr>
          <p:spPr bwMode="auto">
            <a:xfrm>
              <a:off x="5176838" y="4716463"/>
              <a:ext cx="1165225" cy="254000"/>
            </a:xfrm>
            <a:custGeom>
              <a:avLst/>
              <a:gdLst>
                <a:gd name="T0" fmla="*/ 1616 w 3235"/>
                <a:gd name="T1" fmla="*/ 602 h 707"/>
                <a:gd name="T2" fmla="*/ 1616 w 3235"/>
                <a:gd name="T3" fmla="*/ 602 h 707"/>
                <a:gd name="T4" fmla="*/ 0 w 3235"/>
                <a:gd name="T5" fmla="*/ 0 h 707"/>
                <a:gd name="T6" fmla="*/ 0 w 3235"/>
                <a:gd name="T7" fmla="*/ 103 h 707"/>
                <a:gd name="T8" fmla="*/ 0 w 3235"/>
                <a:gd name="T9" fmla="*/ 103 h 707"/>
                <a:gd name="T10" fmla="*/ 1616 w 3235"/>
                <a:gd name="T11" fmla="*/ 706 h 707"/>
                <a:gd name="T12" fmla="*/ 1616 w 3235"/>
                <a:gd name="T13" fmla="*/ 706 h 707"/>
                <a:gd name="T14" fmla="*/ 3234 w 3235"/>
                <a:gd name="T15" fmla="*/ 103 h 707"/>
                <a:gd name="T16" fmla="*/ 3234 w 3235"/>
                <a:gd name="T17" fmla="*/ 0 h 707"/>
                <a:gd name="T18" fmla="*/ 3234 w 3235"/>
                <a:gd name="T19" fmla="*/ 0 h 707"/>
                <a:gd name="T20" fmla="*/ 1616 w 3235"/>
                <a:gd name="T21" fmla="*/ 602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35" h="707">
                  <a:moveTo>
                    <a:pt x="1616" y="602"/>
                  </a:moveTo>
                  <a:lnTo>
                    <a:pt x="1616" y="602"/>
                  </a:lnTo>
                  <a:cubicBezTo>
                    <a:pt x="891" y="602"/>
                    <a:pt x="268" y="354"/>
                    <a:pt x="0" y="0"/>
                  </a:cubicBezTo>
                  <a:lnTo>
                    <a:pt x="0" y="103"/>
                  </a:lnTo>
                  <a:lnTo>
                    <a:pt x="0" y="103"/>
                  </a:lnTo>
                  <a:cubicBezTo>
                    <a:pt x="268" y="457"/>
                    <a:pt x="891" y="706"/>
                    <a:pt x="1616" y="706"/>
                  </a:cubicBezTo>
                  <a:lnTo>
                    <a:pt x="1616" y="706"/>
                  </a:lnTo>
                  <a:cubicBezTo>
                    <a:pt x="2342" y="706"/>
                    <a:pt x="2964" y="457"/>
                    <a:pt x="3234" y="103"/>
                  </a:cubicBezTo>
                  <a:lnTo>
                    <a:pt x="3234" y="0"/>
                  </a:lnTo>
                  <a:lnTo>
                    <a:pt x="3234" y="0"/>
                  </a:lnTo>
                  <a:cubicBezTo>
                    <a:pt x="2964" y="354"/>
                    <a:pt x="2342" y="602"/>
                    <a:pt x="1616" y="602"/>
                  </a:cubicBezTo>
                </a:path>
              </a:pathLst>
            </a:custGeom>
            <a:solidFill>
              <a:srgbClr val="D9986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45" name="Freeform 13">
              <a:extLst>
                <a:ext uri="{FF2B5EF4-FFF2-40B4-BE49-F238E27FC236}">
                  <a16:creationId xmlns:a16="http://schemas.microsoft.com/office/drawing/2014/main" id="{A8B02375-26EE-F241-BC9E-A8478A770F4E}"/>
                </a:ext>
              </a:extLst>
            </p:cNvPr>
            <p:cNvSpPr>
              <a:spLocks noChangeArrowheads="1"/>
            </p:cNvSpPr>
            <p:nvPr/>
          </p:nvSpPr>
          <p:spPr bwMode="auto">
            <a:xfrm>
              <a:off x="5176838" y="4459288"/>
              <a:ext cx="1165225" cy="463550"/>
            </a:xfrm>
            <a:custGeom>
              <a:avLst/>
              <a:gdLst>
                <a:gd name="T0" fmla="*/ 3036 w 3235"/>
                <a:gd name="T1" fmla="*/ 0 h 1286"/>
                <a:gd name="T2" fmla="*/ 196 w 3235"/>
                <a:gd name="T3" fmla="*/ 0 h 1286"/>
                <a:gd name="T4" fmla="*/ 196 w 3235"/>
                <a:gd name="T5" fmla="*/ 0 h 1286"/>
                <a:gd name="T6" fmla="*/ 0 w 3235"/>
                <a:gd name="T7" fmla="*/ 198 h 1286"/>
                <a:gd name="T8" fmla="*/ 0 w 3235"/>
                <a:gd name="T9" fmla="*/ 683 h 1286"/>
                <a:gd name="T10" fmla="*/ 0 w 3235"/>
                <a:gd name="T11" fmla="*/ 683 h 1286"/>
                <a:gd name="T12" fmla="*/ 1616 w 3235"/>
                <a:gd name="T13" fmla="*/ 1285 h 1286"/>
                <a:gd name="T14" fmla="*/ 1616 w 3235"/>
                <a:gd name="T15" fmla="*/ 1285 h 1286"/>
                <a:gd name="T16" fmla="*/ 3234 w 3235"/>
                <a:gd name="T17" fmla="*/ 683 h 1286"/>
                <a:gd name="T18" fmla="*/ 3234 w 3235"/>
                <a:gd name="T19" fmla="*/ 198 h 1286"/>
                <a:gd name="T20" fmla="*/ 3234 w 3235"/>
                <a:gd name="T21" fmla="*/ 198 h 1286"/>
                <a:gd name="T22" fmla="*/ 3036 w 3235"/>
                <a:gd name="T23" fmla="*/ 0 h 1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35" h="1286">
                  <a:moveTo>
                    <a:pt x="3036" y="0"/>
                  </a:moveTo>
                  <a:lnTo>
                    <a:pt x="196" y="0"/>
                  </a:lnTo>
                  <a:lnTo>
                    <a:pt x="196" y="0"/>
                  </a:lnTo>
                  <a:cubicBezTo>
                    <a:pt x="89" y="0"/>
                    <a:pt x="0" y="89"/>
                    <a:pt x="0" y="198"/>
                  </a:cubicBezTo>
                  <a:lnTo>
                    <a:pt x="0" y="683"/>
                  </a:lnTo>
                  <a:lnTo>
                    <a:pt x="0" y="683"/>
                  </a:lnTo>
                  <a:cubicBezTo>
                    <a:pt x="268" y="1037"/>
                    <a:pt x="891" y="1285"/>
                    <a:pt x="1616" y="1285"/>
                  </a:cubicBezTo>
                  <a:lnTo>
                    <a:pt x="1616" y="1285"/>
                  </a:lnTo>
                  <a:cubicBezTo>
                    <a:pt x="2342" y="1285"/>
                    <a:pt x="2964" y="1037"/>
                    <a:pt x="3234" y="683"/>
                  </a:cubicBezTo>
                  <a:lnTo>
                    <a:pt x="3234" y="198"/>
                  </a:lnTo>
                  <a:lnTo>
                    <a:pt x="3234" y="198"/>
                  </a:lnTo>
                  <a:cubicBezTo>
                    <a:pt x="3234" y="89"/>
                    <a:pt x="3145" y="0"/>
                    <a:pt x="3036" y="0"/>
                  </a:cubicBezTo>
                </a:path>
              </a:pathLst>
            </a:custGeom>
            <a:solidFill>
              <a:srgbClr val="D9986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46" name="Freeform 14">
              <a:extLst>
                <a:ext uri="{FF2B5EF4-FFF2-40B4-BE49-F238E27FC236}">
                  <a16:creationId xmlns:a16="http://schemas.microsoft.com/office/drawing/2014/main" id="{C7A093FF-727E-C84D-B13D-1B81DDCAB92D}"/>
                </a:ext>
              </a:extLst>
            </p:cNvPr>
            <p:cNvSpPr>
              <a:spLocks noChangeArrowheads="1"/>
            </p:cNvSpPr>
            <p:nvPr/>
          </p:nvSpPr>
          <p:spPr bwMode="auto">
            <a:xfrm>
              <a:off x="5676900" y="4459288"/>
              <a:ext cx="163513" cy="447675"/>
            </a:xfrm>
            <a:custGeom>
              <a:avLst/>
              <a:gdLst>
                <a:gd name="T0" fmla="*/ 455 w 456"/>
                <a:gd name="T1" fmla="*/ 1243 h 1244"/>
                <a:gd name="T2" fmla="*/ 0 w 456"/>
                <a:gd name="T3" fmla="*/ 1243 h 1244"/>
                <a:gd name="T4" fmla="*/ 0 w 456"/>
                <a:gd name="T5" fmla="*/ 0 h 1244"/>
                <a:gd name="T6" fmla="*/ 455 w 456"/>
                <a:gd name="T7" fmla="*/ 0 h 1244"/>
                <a:gd name="T8" fmla="*/ 455 w 456"/>
                <a:gd name="T9" fmla="*/ 1243 h 1244"/>
              </a:gdLst>
              <a:ahLst/>
              <a:cxnLst>
                <a:cxn ang="0">
                  <a:pos x="T0" y="T1"/>
                </a:cxn>
                <a:cxn ang="0">
                  <a:pos x="T2" y="T3"/>
                </a:cxn>
                <a:cxn ang="0">
                  <a:pos x="T4" y="T5"/>
                </a:cxn>
                <a:cxn ang="0">
                  <a:pos x="T6" y="T7"/>
                </a:cxn>
                <a:cxn ang="0">
                  <a:pos x="T8" y="T9"/>
                </a:cxn>
              </a:cxnLst>
              <a:rect l="0" t="0" r="r" b="b"/>
              <a:pathLst>
                <a:path w="456" h="1244">
                  <a:moveTo>
                    <a:pt x="455" y="1243"/>
                  </a:moveTo>
                  <a:lnTo>
                    <a:pt x="0" y="1243"/>
                  </a:lnTo>
                  <a:lnTo>
                    <a:pt x="0" y="0"/>
                  </a:lnTo>
                  <a:lnTo>
                    <a:pt x="455" y="0"/>
                  </a:lnTo>
                  <a:lnTo>
                    <a:pt x="455" y="1243"/>
                  </a:lnTo>
                </a:path>
              </a:pathLst>
            </a:custGeom>
            <a:solidFill>
              <a:srgbClr val="AE6C2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47" name="Freeform 15">
              <a:extLst>
                <a:ext uri="{FF2B5EF4-FFF2-40B4-BE49-F238E27FC236}">
                  <a16:creationId xmlns:a16="http://schemas.microsoft.com/office/drawing/2014/main" id="{AAC4ACF3-A173-AB4A-A686-AB780B0C517C}"/>
                </a:ext>
              </a:extLst>
            </p:cNvPr>
            <p:cNvSpPr>
              <a:spLocks noChangeArrowheads="1"/>
            </p:cNvSpPr>
            <p:nvPr/>
          </p:nvSpPr>
          <p:spPr bwMode="auto">
            <a:xfrm>
              <a:off x="5672138" y="4905375"/>
              <a:ext cx="173037" cy="106363"/>
            </a:xfrm>
            <a:custGeom>
              <a:avLst/>
              <a:gdLst>
                <a:gd name="T0" fmla="*/ 0 w 479"/>
                <a:gd name="T1" fmla="*/ 0 h 295"/>
                <a:gd name="T2" fmla="*/ 0 w 479"/>
                <a:gd name="T3" fmla="*/ 0 h 295"/>
                <a:gd name="T4" fmla="*/ 239 w 479"/>
                <a:gd name="T5" fmla="*/ 294 h 295"/>
                <a:gd name="T6" fmla="*/ 239 w 479"/>
                <a:gd name="T7" fmla="*/ 294 h 295"/>
                <a:gd name="T8" fmla="*/ 478 w 479"/>
                <a:gd name="T9" fmla="*/ 0 h 295"/>
                <a:gd name="T10" fmla="*/ 0 w 479"/>
                <a:gd name="T11" fmla="*/ 0 h 295"/>
              </a:gdLst>
              <a:ahLst/>
              <a:cxnLst>
                <a:cxn ang="0">
                  <a:pos x="T0" y="T1"/>
                </a:cxn>
                <a:cxn ang="0">
                  <a:pos x="T2" y="T3"/>
                </a:cxn>
                <a:cxn ang="0">
                  <a:pos x="T4" y="T5"/>
                </a:cxn>
                <a:cxn ang="0">
                  <a:pos x="T6" y="T7"/>
                </a:cxn>
                <a:cxn ang="0">
                  <a:pos x="T8" y="T9"/>
                </a:cxn>
                <a:cxn ang="0">
                  <a:pos x="T10" y="T11"/>
                </a:cxn>
              </a:cxnLst>
              <a:rect l="0" t="0" r="r" b="b"/>
              <a:pathLst>
                <a:path w="479" h="295">
                  <a:moveTo>
                    <a:pt x="0" y="0"/>
                  </a:moveTo>
                  <a:lnTo>
                    <a:pt x="0" y="0"/>
                  </a:lnTo>
                  <a:cubicBezTo>
                    <a:pt x="0" y="162"/>
                    <a:pt x="107" y="294"/>
                    <a:pt x="239" y="294"/>
                  </a:cubicBezTo>
                  <a:lnTo>
                    <a:pt x="239" y="294"/>
                  </a:lnTo>
                  <a:cubicBezTo>
                    <a:pt x="371" y="294"/>
                    <a:pt x="478" y="162"/>
                    <a:pt x="478" y="0"/>
                  </a:cubicBezTo>
                  <a:lnTo>
                    <a:pt x="0" y="0"/>
                  </a:lnTo>
                </a:path>
              </a:pathLst>
            </a:custGeom>
            <a:solidFill>
              <a:srgbClr val="E5B12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48" name="Freeform 16">
              <a:extLst>
                <a:ext uri="{FF2B5EF4-FFF2-40B4-BE49-F238E27FC236}">
                  <a16:creationId xmlns:a16="http://schemas.microsoft.com/office/drawing/2014/main" id="{C80D5E98-9267-314E-93DD-93293C494463}"/>
                </a:ext>
              </a:extLst>
            </p:cNvPr>
            <p:cNvSpPr>
              <a:spLocks noChangeArrowheads="1"/>
            </p:cNvSpPr>
            <p:nvPr/>
          </p:nvSpPr>
          <p:spPr bwMode="auto">
            <a:xfrm>
              <a:off x="5691188" y="4918075"/>
              <a:ext cx="131762" cy="80963"/>
            </a:xfrm>
            <a:custGeom>
              <a:avLst/>
              <a:gdLst>
                <a:gd name="T0" fmla="*/ 0 w 367"/>
                <a:gd name="T1" fmla="*/ 0 h 226"/>
                <a:gd name="T2" fmla="*/ 0 w 367"/>
                <a:gd name="T3" fmla="*/ 0 h 226"/>
                <a:gd name="T4" fmla="*/ 183 w 367"/>
                <a:gd name="T5" fmla="*/ 225 h 226"/>
                <a:gd name="T6" fmla="*/ 183 w 367"/>
                <a:gd name="T7" fmla="*/ 225 h 226"/>
                <a:gd name="T8" fmla="*/ 366 w 367"/>
                <a:gd name="T9" fmla="*/ 0 h 226"/>
                <a:gd name="T10" fmla="*/ 0 w 367"/>
                <a:gd name="T11" fmla="*/ 0 h 226"/>
              </a:gdLst>
              <a:ahLst/>
              <a:cxnLst>
                <a:cxn ang="0">
                  <a:pos x="T0" y="T1"/>
                </a:cxn>
                <a:cxn ang="0">
                  <a:pos x="T2" y="T3"/>
                </a:cxn>
                <a:cxn ang="0">
                  <a:pos x="T4" y="T5"/>
                </a:cxn>
                <a:cxn ang="0">
                  <a:pos x="T6" y="T7"/>
                </a:cxn>
                <a:cxn ang="0">
                  <a:pos x="T8" y="T9"/>
                </a:cxn>
                <a:cxn ang="0">
                  <a:pos x="T10" y="T11"/>
                </a:cxn>
              </a:cxnLst>
              <a:rect l="0" t="0" r="r" b="b"/>
              <a:pathLst>
                <a:path w="367" h="226">
                  <a:moveTo>
                    <a:pt x="0" y="0"/>
                  </a:moveTo>
                  <a:lnTo>
                    <a:pt x="0" y="0"/>
                  </a:lnTo>
                  <a:cubicBezTo>
                    <a:pt x="0" y="124"/>
                    <a:pt x="82" y="225"/>
                    <a:pt x="183" y="225"/>
                  </a:cubicBezTo>
                  <a:lnTo>
                    <a:pt x="183" y="225"/>
                  </a:lnTo>
                  <a:cubicBezTo>
                    <a:pt x="285" y="225"/>
                    <a:pt x="366" y="124"/>
                    <a:pt x="366" y="0"/>
                  </a:cubicBezTo>
                  <a:lnTo>
                    <a:pt x="0" y="0"/>
                  </a:lnTo>
                </a:path>
              </a:pathLst>
            </a:custGeom>
            <a:solidFill>
              <a:srgbClr val="C2912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49" name="Freeform 17">
              <a:extLst>
                <a:ext uri="{FF2B5EF4-FFF2-40B4-BE49-F238E27FC236}">
                  <a16:creationId xmlns:a16="http://schemas.microsoft.com/office/drawing/2014/main" id="{7CD4877A-AA57-1848-AB5F-AFBD397AE84A}"/>
                </a:ext>
              </a:extLst>
            </p:cNvPr>
            <p:cNvSpPr>
              <a:spLocks noChangeArrowheads="1"/>
            </p:cNvSpPr>
            <p:nvPr/>
          </p:nvSpPr>
          <p:spPr bwMode="auto">
            <a:xfrm>
              <a:off x="5581650" y="4433888"/>
              <a:ext cx="73025" cy="23812"/>
            </a:xfrm>
            <a:custGeom>
              <a:avLst/>
              <a:gdLst>
                <a:gd name="T0" fmla="*/ 200 w 201"/>
                <a:gd name="T1" fmla="*/ 33 h 68"/>
                <a:gd name="T2" fmla="*/ 200 w 201"/>
                <a:gd name="T3" fmla="*/ 33 h 68"/>
                <a:gd name="T4" fmla="*/ 166 w 201"/>
                <a:gd name="T5" fmla="*/ 67 h 68"/>
                <a:gd name="T6" fmla="*/ 34 w 201"/>
                <a:gd name="T7" fmla="*/ 67 h 68"/>
                <a:gd name="T8" fmla="*/ 34 w 201"/>
                <a:gd name="T9" fmla="*/ 67 h 68"/>
                <a:gd name="T10" fmla="*/ 0 w 201"/>
                <a:gd name="T11" fmla="*/ 33 h 68"/>
                <a:gd name="T12" fmla="*/ 0 w 201"/>
                <a:gd name="T13" fmla="*/ 33 h 68"/>
                <a:gd name="T14" fmla="*/ 34 w 201"/>
                <a:gd name="T15" fmla="*/ 0 h 68"/>
                <a:gd name="T16" fmla="*/ 166 w 201"/>
                <a:gd name="T17" fmla="*/ 0 h 68"/>
                <a:gd name="T18" fmla="*/ 166 w 201"/>
                <a:gd name="T19" fmla="*/ 0 h 68"/>
                <a:gd name="T20" fmla="*/ 200 w 201"/>
                <a:gd name="T21" fmla="*/ 3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 h="68">
                  <a:moveTo>
                    <a:pt x="200" y="33"/>
                  </a:moveTo>
                  <a:lnTo>
                    <a:pt x="200" y="33"/>
                  </a:lnTo>
                  <a:cubicBezTo>
                    <a:pt x="200" y="52"/>
                    <a:pt x="185" y="67"/>
                    <a:pt x="166" y="67"/>
                  </a:cubicBezTo>
                  <a:lnTo>
                    <a:pt x="34" y="67"/>
                  </a:lnTo>
                  <a:lnTo>
                    <a:pt x="34" y="67"/>
                  </a:lnTo>
                  <a:cubicBezTo>
                    <a:pt x="15" y="67"/>
                    <a:pt x="0" y="52"/>
                    <a:pt x="0" y="33"/>
                  </a:cubicBezTo>
                  <a:lnTo>
                    <a:pt x="0" y="33"/>
                  </a:lnTo>
                  <a:cubicBezTo>
                    <a:pt x="0" y="14"/>
                    <a:pt x="15" y="0"/>
                    <a:pt x="34" y="0"/>
                  </a:cubicBezTo>
                  <a:lnTo>
                    <a:pt x="166" y="0"/>
                  </a:lnTo>
                  <a:lnTo>
                    <a:pt x="166" y="0"/>
                  </a:lnTo>
                  <a:cubicBezTo>
                    <a:pt x="185" y="0"/>
                    <a:pt x="200" y="14"/>
                    <a:pt x="200" y="33"/>
                  </a:cubicBezTo>
                </a:path>
              </a:pathLst>
            </a:custGeom>
            <a:solidFill>
              <a:srgbClr val="E5B12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50" name="Freeform 18">
              <a:extLst>
                <a:ext uri="{FF2B5EF4-FFF2-40B4-BE49-F238E27FC236}">
                  <a16:creationId xmlns:a16="http://schemas.microsoft.com/office/drawing/2014/main" id="{0A4A42C1-80D7-2945-AA56-D04F3810B545}"/>
                </a:ext>
              </a:extLst>
            </p:cNvPr>
            <p:cNvSpPr>
              <a:spLocks noChangeArrowheads="1"/>
            </p:cNvSpPr>
            <p:nvPr/>
          </p:nvSpPr>
          <p:spPr bwMode="auto">
            <a:xfrm>
              <a:off x="5862638" y="4433888"/>
              <a:ext cx="73025" cy="23812"/>
            </a:xfrm>
            <a:custGeom>
              <a:avLst/>
              <a:gdLst>
                <a:gd name="T0" fmla="*/ 202 w 203"/>
                <a:gd name="T1" fmla="*/ 33 h 68"/>
                <a:gd name="T2" fmla="*/ 202 w 203"/>
                <a:gd name="T3" fmla="*/ 33 h 68"/>
                <a:gd name="T4" fmla="*/ 168 w 203"/>
                <a:gd name="T5" fmla="*/ 67 h 68"/>
                <a:gd name="T6" fmla="*/ 34 w 203"/>
                <a:gd name="T7" fmla="*/ 67 h 68"/>
                <a:gd name="T8" fmla="*/ 34 w 203"/>
                <a:gd name="T9" fmla="*/ 67 h 68"/>
                <a:gd name="T10" fmla="*/ 0 w 203"/>
                <a:gd name="T11" fmla="*/ 33 h 68"/>
                <a:gd name="T12" fmla="*/ 0 w 203"/>
                <a:gd name="T13" fmla="*/ 33 h 68"/>
                <a:gd name="T14" fmla="*/ 34 w 203"/>
                <a:gd name="T15" fmla="*/ 0 h 68"/>
                <a:gd name="T16" fmla="*/ 168 w 203"/>
                <a:gd name="T17" fmla="*/ 0 h 68"/>
                <a:gd name="T18" fmla="*/ 168 w 203"/>
                <a:gd name="T19" fmla="*/ 0 h 68"/>
                <a:gd name="T20" fmla="*/ 202 w 203"/>
                <a:gd name="T21" fmla="*/ 3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68">
                  <a:moveTo>
                    <a:pt x="202" y="33"/>
                  </a:moveTo>
                  <a:lnTo>
                    <a:pt x="202" y="33"/>
                  </a:lnTo>
                  <a:cubicBezTo>
                    <a:pt x="202" y="52"/>
                    <a:pt x="186" y="67"/>
                    <a:pt x="168" y="67"/>
                  </a:cubicBezTo>
                  <a:lnTo>
                    <a:pt x="34" y="67"/>
                  </a:lnTo>
                  <a:lnTo>
                    <a:pt x="34" y="67"/>
                  </a:lnTo>
                  <a:cubicBezTo>
                    <a:pt x="15" y="67"/>
                    <a:pt x="0" y="52"/>
                    <a:pt x="0" y="33"/>
                  </a:cubicBezTo>
                  <a:lnTo>
                    <a:pt x="0" y="33"/>
                  </a:lnTo>
                  <a:cubicBezTo>
                    <a:pt x="0" y="14"/>
                    <a:pt x="15" y="0"/>
                    <a:pt x="34" y="0"/>
                  </a:cubicBezTo>
                  <a:lnTo>
                    <a:pt x="168" y="0"/>
                  </a:lnTo>
                  <a:lnTo>
                    <a:pt x="168" y="0"/>
                  </a:lnTo>
                  <a:cubicBezTo>
                    <a:pt x="186" y="0"/>
                    <a:pt x="202" y="14"/>
                    <a:pt x="202" y="33"/>
                  </a:cubicBezTo>
                </a:path>
              </a:pathLst>
            </a:custGeom>
            <a:solidFill>
              <a:srgbClr val="E5B12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51" name="Freeform 19">
              <a:extLst>
                <a:ext uri="{FF2B5EF4-FFF2-40B4-BE49-F238E27FC236}">
                  <a16:creationId xmlns:a16="http://schemas.microsoft.com/office/drawing/2014/main" id="{F6EAAE49-B15C-6D49-9C59-BAD78D7A1F25}"/>
                </a:ext>
              </a:extLst>
            </p:cNvPr>
            <p:cNvSpPr>
              <a:spLocks noChangeArrowheads="1"/>
            </p:cNvSpPr>
            <p:nvPr/>
          </p:nvSpPr>
          <p:spPr bwMode="auto">
            <a:xfrm>
              <a:off x="5605463" y="4387850"/>
              <a:ext cx="25400" cy="55563"/>
            </a:xfrm>
            <a:custGeom>
              <a:avLst/>
              <a:gdLst>
                <a:gd name="T0" fmla="*/ 70 w 71"/>
                <a:gd name="T1" fmla="*/ 0 h 153"/>
                <a:gd name="T2" fmla="*/ 0 w 71"/>
                <a:gd name="T3" fmla="*/ 0 h 153"/>
                <a:gd name="T4" fmla="*/ 0 w 71"/>
                <a:gd name="T5" fmla="*/ 152 h 153"/>
                <a:gd name="T6" fmla="*/ 70 w 71"/>
                <a:gd name="T7" fmla="*/ 152 h 153"/>
                <a:gd name="T8" fmla="*/ 70 w 71"/>
                <a:gd name="T9" fmla="*/ 0 h 153"/>
              </a:gdLst>
              <a:ahLst/>
              <a:cxnLst>
                <a:cxn ang="0">
                  <a:pos x="T0" y="T1"/>
                </a:cxn>
                <a:cxn ang="0">
                  <a:pos x="T2" y="T3"/>
                </a:cxn>
                <a:cxn ang="0">
                  <a:pos x="T4" y="T5"/>
                </a:cxn>
                <a:cxn ang="0">
                  <a:pos x="T6" y="T7"/>
                </a:cxn>
                <a:cxn ang="0">
                  <a:pos x="T8" y="T9"/>
                </a:cxn>
              </a:cxnLst>
              <a:rect l="0" t="0" r="r" b="b"/>
              <a:pathLst>
                <a:path w="71" h="153">
                  <a:moveTo>
                    <a:pt x="70" y="0"/>
                  </a:moveTo>
                  <a:lnTo>
                    <a:pt x="0" y="0"/>
                  </a:lnTo>
                  <a:lnTo>
                    <a:pt x="0" y="152"/>
                  </a:lnTo>
                  <a:lnTo>
                    <a:pt x="70" y="152"/>
                  </a:lnTo>
                  <a:lnTo>
                    <a:pt x="70" y="0"/>
                  </a:lnTo>
                </a:path>
              </a:pathLst>
            </a:custGeom>
            <a:solidFill>
              <a:srgbClr val="E5B12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52" name="Freeform 20">
              <a:extLst>
                <a:ext uri="{FF2B5EF4-FFF2-40B4-BE49-F238E27FC236}">
                  <a16:creationId xmlns:a16="http://schemas.microsoft.com/office/drawing/2014/main" id="{FBCCE0B9-2114-BF4E-A494-C66A572358C4}"/>
                </a:ext>
              </a:extLst>
            </p:cNvPr>
            <p:cNvSpPr>
              <a:spLocks noChangeArrowheads="1"/>
            </p:cNvSpPr>
            <p:nvPr/>
          </p:nvSpPr>
          <p:spPr bwMode="auto">
            <a:xfrm>
              <a:off x="5884863" y="4387850"/>
              <a:ext cx="25400" cy="55563"/>
            </a:xfrm>
            <a:custGeom>
              <a:avLst/>
              <a:gdLst>
                <a:gd name="T0" fmla="*/ 70 w 71"/>
                <a:gd name="T1" fmla="*/ 0 h 153"/>
                <a:gd name="T2" fmla="*/ 0 w 71"/>
                <a:gd name="T3" fmla="*/ 0 h 153"/>
                <a:gd name="T4" fmla="*/ 0 w 71"/>
                <a:gd name="T5" fmla="*/ 152 h 153"/>
                <a:gd name="T6" fmla="*/ 70 w 71"/>
                <a:gd name="T7" fmla="*/ 152 h 153"/>
                <a:gd name="T8" fmla="*/ 70 w 71"/>
                <a:gd name="T9" fmla="*/ 0 h 153"/>
              </a:gdLst>
              <a:ahLst/>
              <a:cxnLst>
                <a:cxn ang="0">
                  <a:pos x="T0" y="T1"/>
                </a:cxn>
                <a:cxn ang="0">
                  <a:pos x="T2" y="T3"/>
                </a:cxn>
                <a:cxn ang="0">
                  <a:pos x="T4" y="T5"/>
                </a:cxn>
                <a:cxn ang="0">
                  <a:pos x="T6" y="T7"/>
                </a:cxn>
                <a:cxn ang="0">
                  <a:pos x="T8" y="T9"/>
                </a:cxn>
              </a:cxnLst>
              <a:rect l="0" t="0" r="r" b="b"/>
              <a:pathLst>
                <a:path w="71" h="153">
                  <a:moveTo>
                    <a:pt x="70" y="0"/>
                  </a:moveTo>
                  <a:lnTo>
                    <a:pt x="0" y="0"/>
                  </a:lnTo>
                  <a:lnTo>
                    <a:pt x="0" y="152"/>
                  </a:lnTo>
                  <a:lnTo>
                    <a:pt x="70" y="152"/>
                  </a:lnTo>
                  <a:lnTo>
                    <a:pt x="70" y="0"/>
                  </a:lnTo>
                </a:path>
              </a:pathLst>
            </a:custGeom>
            <a:solidFill>
              <a:srgbClr val="E5B12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53" name="Freeform 21">
              <a:extLst>
                <a:ext uri="{FF2B5EF4-FFF2-40B4-BE49-F238E27FC236}">
                  <a16:creationId xmlns:a16="http://schemas.microsoft.com/office/drawing/2014/main" id="{244468EE-5C7B-7045-968A-11FFFBD20D4A}"/>
                </a:ext>
              </a:extLst>
            </p:cNvPr>
            <p:cNvSpPr>
              <a:spLocks noChangeArrowheads="1"/>
            </p:cNvSpPr>
            <p:nvPr/>
          </p:nvSpPr>
          <p:spPr bwMode="auto">
            <a:xfrm>
              <a:off x="5594350" y="4308475"/>
              <a:ext cx="330200" cy="79375"/>
            </a:xfrm>
            <a:custGeom>
              <a:avLst/>
              <a:gdLst>
                <a:gd name="T0" fmla="*/ 0 w 917"/>
                <a:gd name="T1" fmla="*/ 220 h 221"/>
                <a:gd name="T2" fmla="*/ 0 w 917"/>
                <a:gd name="T3" fmla="*/ 220 h 221"/>
                <a:gd name="T4" fmla="*/ 453 w 917"/>
                <a:gd name="T5" fmla="*/ 0 h 221"/>
                <a:gd name="T6" fmla="*/ 453 w 917"/>
                <a:gd name="T7" fmla="*/ 0 h 221"/>
                <a:gd name="T8" fmla="*/ 916 w 917"/>
                <a:gd name="T9" fmla="*/ 220 h 221"/>
                <a:gd name="T10" fmla="*/ 769 w 917"/>
                <a:gd name="T11" fmla="*/ 220 h 221"/>
                <a:gd name="T12" fmla="*/ 769 w 917"/>
                <a:gd name="T13" fmla="*/ 220 h 221"/>
                <a:gd name="T14" fmla="*/ 457 w 917"/>
                <a:gd name="T15" fmla="*/ 88 h 221"/>
                <a:gd name="T16" fmla="*/ 457 w 917"/>
                <a:gd name="T17" fmla="*/ 88 h 221"/>
                <a:gd name="T18" fmla="*/ 146 w 917"/>
                <a:gd name="T19" fmla="*/ 220 h 221"/>
                <a:gd name="T20" fmla="*/ 0 w 917"/>
                <a:gd name="T21" fmla="*/ 22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7" h="221">
                  <a:moveTo>
                    <a:pt x="0" y="220"/>
                  </a:moveTo>
                  <a:lnTo>
                    <a:pt x="0" y="220"/>
                  </a:lnTo>
                  <a:cubicBezTo>
                    <a:pt x="0" y="220"/>
                    <a:pt x="42" y="0"/>
                    <a:pt x="453" y="0"/>
                  </a:cubicBezTo>
                  <a:lnTo>
                    <a:pt x="453" y="0"/>
                  </a:lnTo>
                  <a:cubicBezTo>
                    <a:pt x="866" y="0"/>
                    <a:pt x="916" y="220"/>
                    <a:pt x="916" y="220"/>
                  </a:cubicBezTo>
                  <a:lnTo>
                    <a:pt x="769" y="220"/>
                  </a:lnTo>
                  <a:lnTo>
                    <a:pt x="769" y="220"/>
                  </a:lnTo>
                  <a:cubicBezTo>
                    <a:pt x="769" y="220"/>
                    <a:pt x="748" y="88"/>
                    <a:pt x="457" y="88"/>
                  </a:cubicBezTo>
                  <a:lnTo>
                    <a:pt x="457" y="88"/>
                  </a:lnTo>
                  <a:cubicBezTo>
                    <a:pt x="167" y="88"/>
                    <a:pt x="146" y="220"/>
                    <a:pt x="146" y="220"/>
                  </a:cubicBezTo>
                  <a:lnTo>
                    <a:pt x="0" y="220"/>
                  </a:lnTo>
                </a:path>
              </a:pathLst>
            </a:custGeom>
            <a:solidFill>
              <a:srgbClr val="AE6C2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54" name="Freeform 22">
              <a:extLst>
                <a:ext uri="{FF2B5EF4-FFF2-40B4-BE49-F238E27FC236}">
                  <a16:creationId xmlns:a16="http://schemas.microsoft.com/office/drawing/2014/main" id="{DA2B8F59-F403-BD42-AFBA-F5E5044BE1D9}"/>
                </a:ext>
              </a:extLst>
            </p:cNvPr>
            <p:cNvSpPr>
              <a:spLocks noChangeArrowheads="1"/>
            </p:cNvSpPr>
            <p:nvPr/>
          </p:nvSpPr>
          <p:spPr bwMode="auto">
            <a:xfrm>
              <a:off x="5700713" y="4459288"/>
              <a:ext cx="1587" cy="447675"/>
            </a:xfrm>
            <a:custGeom>
              <a:avLst/>
              <a:gdLst>
                <a:gd name="T0" fmla="*/ 0 w 1"/>
                <a:gd name="T1" fmla="*/ 0 h 1244"/>
                <a:gd name="T2" fmla="*/ 0 w 1"/>
                <a:gd name="T3" fmla="*/ 1243 h 1244"/>
                <a:gd name="T4" fmla="*/ 0 w 1"/>
                <a:gd name="T5" fmla="*/ 0 h 1244"/>
              </a:gdLst>
              <a:ahLst/>
              <a:cxnLst>
                <a:cxn ang="0">
                  <a:pos x="T0" y="T1"/>
                </a:cxn>
                <a:cxn ang="0">
                  <a:pos x="T2" y="T3"/>
                </a:cxn>
                <a:cxn ang="0">
                  <a:pos x="T4" y="T5"/>
                </a:cxn>
              </a:cxnLst>
              <a:rect l="0" t="0" r="r" b="b"/>
              <a:pathLst>
                <a:path w="1" h="1244">
                  <a:moveTo>
                    <a:pt x="0" y="0"/>
                  </a:moveTo>
                  <a:lnTo>
                    <a:pt x="0" y="1243"/>
                  </a:lnTo>
                  <a:lnTo>
                    <a:pt x="0" y="0"/>
                  </a:lnTo>
                </a:path>
              </a:pathLst>
            </a:custGeom>
            <a:solidFill>
              <a:srgbClr val="EC624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55" name="Freeform 23">
              <a:extLst>
                <a:ext uri="{FF2B5EF4-FFF2-40B4-BE49-F238E27FC236}">
                  <a16:creationId xmlns:a16="http://schemas.microsoft.com/office/drawing/2014/main" id="{8866E9C5-B012-744C-81F0-EF1E962ED1FE}"/>
                </a:ext>
              </a:extLst>
            </p:cNvPr>
            <p:cNvSpPr>
              <a:spLocks noChangeArrowheads="1"/>
            </p:cNvSpPr>
            <p:nvPr/>
          </p:nvSpPr>
          <p:spPr bwMode="auto">
            <a:xfrm>
              <a:off x="5694363" y="4459288"/>
              <a:ext cx="12700" cy="447675"/>
            </a:xfrm>
            <a:custGeom>
              <a:avLst/>
              <a:gdLst>
                <a:gd name="T0" fmla="*/ 33 w 34"/>
                <a:gd name="T1" fmla="*/ 1243 h 1244"/>
                <a:gd name="T2" fmla="*/ 0 w 34"/>
                <a:gd name="T3" fmla="*/ 1243 h 1244"/>
                <a:gd name="T4" fmla="*/ 0 w 34"/>
                <a:gd name="T5" fmla="*/ 0 h 1244"/>
                <a:gd name="T6" fmla="*/ 33 w 34"/>
                <a:gd name="T7" fmla="*/ 0 h 1244"/>
                <a:gd name="T8" fmla="*/ 33 w 34"/>
                <a:gd name="T9" fmla="*/ 1243 h 1244"/>
              </a:gdLst>
              <a:ahLst/>
              <a:cxnLst>
                <a:cxn ang="0">
                  <a:pos x="T0" y="T1"/>
                </a:cxn>
                <a:cxn ang="0">
                  <a:pos x="T2" y="T3"/>
                </a:cxn>
                <a:cxn ang="0">
                  <a:pos x="T4" y="T5"/>
                </a:cxn>
                <a:cxn ang="0">
                  <a:pos x="T6" y="T7"/>
                </a:cxn>
                <a:cxn ang="0">
                  <a:pos x="T8" y="T9"/>
                </a:cxn>
              </a:cxnLst>
              <a:rect l="0" t="0" r="r" b="b"/>
              <a:pathLst>
                <a:path w="34" h="1244">
                  <a:moveTo>
                    <a:pt x="33" y="1243"/>
                  </a:moveTo>
                  <a:lnTo>
                    <a:pt x="0" y="1243"/>
                  </a:lnTo>
                  <a:lnTo>
                    <a:pt x="0" y="0"/>
                  </a:lnTo>
                  <a:lnTo>
                    <a:pt x="33" y="0"/>
                  </a:lnTo>
                  <a:lnTo>
                    <a:pt x="33" y="1243"/>
                  </a:lnTo>
                </a:path>
              </a:pathLst>
            </a:custGeom>
            <a:solidFill>
              <a:srgbClr val="D9986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56" name="Freeform 24">
              <a:extLst>
                <a:ext uri="{FF2B5EF4-FFF2-40B4-BE49-F238E27FC236}">
                  <a16:creationId xmlns:a16="http://schemas.microsoft.com/office/drawing/2014/main" id="{F18F8FCE-7774-0643-BACA-7C46DD29342E}"/>
                </a:ext>
              </a:extLst>
            </p:cNvPr>
            <p:cNvSpPr>
              <a:spLocks noChangeArrowheads="1"/>
            </p:cNvSpPr>
            <p:nvPr/>
          </p:nvSpPr>
          <p:spPr bwMode="auto">
            <a:xfrm>
              <a:off x="5815013" y="4459288"/>
              <a:ext cx="1587" cy="447675"/>
            </a:xfrm>
            <a:custGeom>
              <a:avLst/>
              <a:gdLst>
                <a:gd name="T0" fmla="*/ 0 w 1"/>
                <a:gd name="T1" fmla="*/ 0 h 1244"/>
                <a:gd name="T2" fmla="*/ 0 w 1"/>
                <a:gd name="T3" fmla="*/ 1243 h 1244"/>
                <a:gd name="T4" fmla="*/ 0 w 1"/>
                <a:gd name="T5" fmla="*/ 0 h 1244"/>
              </a:gdLst>
              <a:ahLst/>
              <a:cxnLst>
                <a:cxn ang="0">
                  <a:pos x="T0" y="T1"/>
                </a:cxn>
                <a:cxn ang="0">
                  <a:pos x="T2" y="T3"/>
                </a:cxn>
                <a:cxn ang="0">
                  <a:pos x="T4" y="T5"/>
                </a:cxn>
              </a:cxnLst>
              <a:rect l="0" t="0" r="r" b="b"/>
              <a:pathLst>
                <a:path w="1" h="1244">
                  <a:moveTo>
                    <a:pt x="0" y="0"/>
                  </a:moveTo>
                  <a:lnTo>
                    <a:pt x="0" y="1243"/>
                  </a:lnTo>
                  <a:lnTo>
                    <a:pt x="0" y="0"/>
                  </a:lnTo>
                </a:path>
              </a:pathLst>
            </a:custGeom>
            <a:solidFill>
              <a:srgbClr val="EC624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57" name="Freeform 25">
              <a:extLst>
                <a:ext uri="{FF2B5EF4-FFF2-40B4-BE49-F238E27FC236}">
                  <a16:creationId xmlns:a16="http://schemas.microsoft.com/office/drawing/2014/main" id="{E819DC97-D555-E040-B9A2-ECC310D2F5BB}"/>
                </a:ext>
              </a:extLst>
            </p:cNvPr>
            <p:cNvSpPr>
              <a:spLocks noChangeArrowheads="1"/>
            </p:cNvSpPr>
            <p:nvPr/>
          </p:nvSpPr>
          <p:spPr bwMode="auto">
            <a:xfrm>
              <a:off x="5808663" y="4459288"/>
              <a:ext cx="12700" cy="447675"/>
            </a:xfrm>
            <a:custGeom>
              <a:avLst/>
              <a:gdLst>
                <a:gd name="T0" fmla="*/ 33 w 34"/>
                <a:gd name="T1" fmla="*/ 1243 h 1244"/>
                <a:gd name="T2" fmla="*/ 0 w 34"/>
                <a:gd name="T3" fmla="*/ 1243 h 1244"/>
                <a:gd name="T4" fmla="*/ 0 w 34"/>
                <a:gd name="T5" fmla="*/ 0 h 1244"/>
                <a:gd name="T6" fmla="*/ 33 w 34"/>
                <a:gd name="T7" fmla="*/ 0 h 1244"/>
                <a:gd name="T8" fmla="*/ 33 w 34"/>
                <a:gd name="T9" fmla="*/ 1243 h 1244"/>
              </a:gdLst>
              <a:ahLst/>
              <a:cxnLst>
                <a:cxn ang="0">
                  <a:pos x="T0" y="T1"/>
                </a:cxn>
                <a:cxn ang="0">
                  <a:pos x="T2" y="T3"/>
                </a:cxn>
                <a:cxn ang="0">
                  <a:pos x="T4" y="T5"/>
                </a:cxn>
                <a:cxn ang="0">
                  <a:pos x="T6" y="T7"/>
                </a:cxn>
                <a:cxn ang="0">
                  <a:pos x="T8" y="T9"/>
                </a:cxn>
              </a:cxnLst>
              <a:rect l="0" t="0" r="r" b="b"/>
              <a:pathLst>
                <a:path w="34" h="1244">
                  <a:moveTo>
                    <a:pt x="33" y="1243"/>
                  </a:moveTo>
                  <a:lnTo>
                    <a:pt x="0" y="1243"/>
                  </a:lnTo>
                  <a:lnTo>
                    <a:pt x="0" y="0"/>
                  </a:lnTo>
                  <a:lnTo>
                    <a:pt x="33" y="0"/>
                  </a:lnTo>
                  <a:lnTo>
                    <a:pt x="33" y="1243"/>
                  </a:lnTo>
                </a:path>
              </a:pathLst>
            </a:custGeom>
            <a:solidFill>
              <a:srgbClr val="D9986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58" name="Freeform 26">
              <a:extLst>
                <a:ext uri="{FF2B5EF4-FFF2-40B4-BE49-F238E27FC236}">
                  <a16:creationId xmlns:a16="http://schemas.microsoft.com/office/drawing/2014/main" id="{59573FB4-0813-3D41-BFAA-D79AE31BC76D}"/>
                </a:ext>
              </a:extLst>
            </p:cNvPr>
            <p:cNvSpPr>
              <a:spLocks noChangeArrowheads="1"/>
            </p:cNvSpPr>
            <p:nvPr/>
          </p:nvSpPr>
          <p:spPr bwMode="auto">
            <a:xfrm>
              <a:off x="5443538" y="1108075"/>
              <a:ext cx="127000" cy="244475"/>
            </a:xfrm>
            <a:custGeom>
              <a:avLst/>
              <a:gdLst>
                <a:gd name="T0" fmla="*/ 24 w 353"/>
                <a:gd name="T1" fmla="*/ 315 h 678"/>
                <a:gd name="T2" fmla="*/ 24 w 353"/>
                <a:gd name="T3" fmla="*/ 315 h 678"/>
                <a:gd name="T4" fmla="*/ 131 w 353"/>
                <a:gd name="T5" fmla="*/ 664 h 678"/>
                <a:gd name="T6" fmla="*/ 131 w 353"/>
                <a:gd name="T7" fmla="*/ 664 h 678"/>
                <a:gd name="T8" fmla="*/ 327 w 353"/>
                <a:gd name="T9" fmla="*/ 362 h 678"/>
                <a:gd name="T10" fmla="*/ 327 w 353"/>
                <a:gd name="T11" fmla="*/ 362 h 678"/>
                <a:gd name="T12" fmla="*/ 221 w 353"/>
                <a:gd name="T13" fmla="*/ 13 h 678"/>
                <a:gd name="T14" fmla="*/ 221 w 353"/>
                <a:gd name="T15" fmla="*/ 13 h 678"/>
                <a:gd name="T16" fmla="*/ 24 w 353"/>
                <a:gd name="T17" fmla="*/ 315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678">
                  <a:moveTo>
                    <a:pt x="24" y="315"/>
                  </a:moveTo>
                  <a:lnTo>
                    <a:pt x="24" y="315"/>
                  </a:lnTo>
                  <a:cubicBezTo>
                    <a:pt x="0" y="494"/>
                    <a:pt x="47" y="651"/>
                    <a:pt x="131" y="664"/>
                  </a:cubicBezTo>
                  <a:lnTo>
                    <a:pt x="131" y="664"/>
                  </a:lnTo>
                  <a:cubicBezTo>
                    <a:pt x="215" y="677"/>
                    <a:pt x="302" y="542"/>
                    <a:pt x="327" y="362"/>
                  </a:cubicBezTo>
                  <a:lnTo>
                    <a:pt x="327" y="362"/>
                  </a:lnTo>
                  <a:cubicBezTo>
                    <a:pt x="352" y="182"/>
                    <a:pt x="304" y="26"/>
                    <a:pt x="221" y="13"/>
                  </a:cubicBezTo>
                  <a:lnTo>
                    <a:pt x="221" y="13"/>
                  </a:lnTo>
                  <a:cubicBezTo>
                    <a:pt x="137" y="0"/>
                    <a:pt x="50" y="135"/>
                    <a:pt x="24" y="315"/>
                  </a:cubicBezTo>
                </a:path>
              </a:pathLst>
            </a:custGeom>
            <a:solidFill>
              <a:srgbClr val="EFD4B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59" name="Freeform 27">
              <a:extLst>
                <a:ext uri="{FF2B5EF4-FFF2-40B4-BE49-F238E27FC236}">
                  <a16:creationId xmlns:a16="http://schemas.microsoft.com/office/drawing/2014/main" id="{257B5D18-D17E-D940-AA84-E3AF70A166F6}"/>
                </a:ext>
              </a:extLst>
            </p:cNvPr>
            <p:cNvSpPr>
              <a:spLocks noChangeArrowheads="1"/>
            </p:cNvSpPr>
            <p:nvPr/>
          </p:nvSpPr>
          <p:spPr bwMode="auto">
            <a:xfrm>
              <a:off x="4598988" y="1101725"/>
              <a:ext cx="112712" cy="236538"/>
            </a:xfrm>
            <a:custGeom>
              <a:avLst/>
              <a:gdLst>
                <a:gd name="T0" fmla="*/ 294 w 311"/>
                <a:gd name="T1" fmla="*/ 315 h 659"/>
                <a:gd name="T2" fmla="*/ 294 w 311"/>
                <a:gd name="T3" fmla="*/ 315 h 659"/>
                <a:gd name="T4" fmla="*/ 184 w 311"/>
                <a:gd name="T5" fmla="*/ 651 h 659"/>
                <a:gd name="T6" fmla="*/ 184 w 311"/>
                <a:gd name="T7" fmla="*/ 651 h 659"/>
                <a:gd name="T8" fmla="*/ 16 w 311"/>
                <a:gd name="T9" fmla="*/ 344 h 659"/>
                <a:gd name="T10" fmla="*/ 16 w 311"/>
                <a:gd name="T11" fmla="*/ 344 h 659"/>
                <a:gd name="T12" fmla="*/ 126 w 311"/>
                <a:gd name="T13" fmla="*/ 8 h 659"/>
                <a:gd name="T14" fmla="*/ 126 w 311"/>
                <a:gd name="T15" fmla="*/ 8 h 659"/>
                <a:gd name="T16" fmla="*/ 294 w 311"/>
                <a:gd name="T17" fmla="*/ 315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659">
                  <a:moveTo>
                    <a:pt x="294" y="315"/>
                  </a:moveTo>
                  <a:lnTo>
                    <a:pt x="294" y="315"/>
                  </a:lnTo>
                  <a:cubicBezTo>
                    <a:pt x="310" y="492"/>
                    <a:pt x="261" y="643"/>
                    <a:pt x="184" y="651"/>
                  </a:cubicBezTo>
                  <a:lnTo>
                    <a:pt x="184" y="651"/>
                  </a:lnTo>
                  <a:cubicBezTo>
                    <a:pt x="108" y="658"/>
                    <a:pt x="32" y="521"/>
                    <a:pt x="16" y="344"/>
                  </a:cubicBezTo>
                  <a:lnTo>
                    <a:pt x="16" y="344"/>
                  </a:lnTo>
                  <a:cubicBezTo>
                    <a:pt x="0" y="166"/>
                    <a:pt x="49" y="16"/>
                    <a:pt x="126" y="8"/>
                  </a:cubicBezTo>
                  <a:lnTo>
                    <a:pt x="126" y="8"/>
                  </a:lnTo>
                  <a:cubicBezTo>
                    <a:pt x="202" y="0"/>
                    <a:pt x="277" y="138"/>
                    <a:pt x="294" y="315"/>
                  </a:cubicBezTo>
                </a:path>
              </a:pathLst>
            </a:custGeom>
            <a:solidFill>
              <a:srgbClr val="DDBB9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60" name="Freeform 28">
              <a:extLst>
                <a:ext uri="{FF2B5EF4-FFF2-40B4-BE49-F238E27FC236}">
                  <a16:creationId xmlns:a16="http://schemas.microsoft.com/office/drawing/2014/main" id="{9E09EEB4-1D8C-024F-A407-CCB5A6E5652A}"/>
                </a:ext>
              </a:extLst>
            </p:cNvPr>
            <p:cNvSpPr>
              <a:spLocks noChangeArrowheads="1"/>
            </p:cNvSpPr>
            <p:nvPr/>
          </p:nvSpPr>
          <p:spPr bwMode="auto">
            <a:xfrm>
              <a:off x="4672013" y="723900"/>
              <a:ext cx="415925" cy="1023938"/>
            </a:xfrm>
            <a:custGeom>
              <a:avLst/>
              <a:gdLst>
                <a:gd name="T0" fmla="*/ 1126 w 1154"/>
                <a:gd name="T1" fmla="*/ 29 h 2843"/>
                <a:gd name="T2" fmla="*/ 1126 w 1154"/>
                <a:gd name="T3" fmla="*/ 29 h 2843"/>
                <a:gd name="T4" fmla="*/ 0 w 1154"/>
                <a:gd name="T5" fmla="*/ 1281 h 2843"/>
                <a:gd name="T6" fmla="*/ 0 w 1154"/>
                <a:gd name="T7" fmla="*/ 1281 h 2843"/>
                <a:gd name="T8" fmla="*/ 1126 w 1154"/>
                <a:gd name="T9" fmla="*/ 2841 h 2843"/>
                <a:gd name="T10" fmla="*/ 1126 w 1154"/>
                <a:gd name="T11" fmla="*/ 2841 h 2843"/>
                <a:gd name="T12" fmla="*/ 1152 w 1154"/>
                <a:gd name="T13" fmla="*/ 2842 h 2843"/>
                <a:gd name="T14" fmla="*/ 1153 w 1154"/>
                <a:gd name="T15" fmla="*/ 2842 h 2843"/>
                <a:gd name="T16" fmla="*/ 1153 w 1154"/>
                <a:gd name="T17" fmla="*/ 29 h 2843"/>
                <a:gd name="T18" fmla="*/ 1153 w 1154"/>
                <a:gd name="T19" fmla="*/ 29 h 2843"/>
                <a:gd name="T20" fmla="*/ 1126 w 1154"/>
                <a:gd name="T21" fmla="*/ 29 h 2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4" h="2843">
                  <a:moveTo>
                    <a:pt x="1126" y="29"/>
                  </a:moveTo>
                  <a:lnTo>
                    <a:pt x="1126" y="29"/>
                  </a:lnTo>
                  <a:cubicBezTo>
                    <a:pt x="113" y="0"/>
                    <a:pt x="0" y="444"/>
                    <a:pt x="0" y="1281"/>
                  </a:cubicBezTo>
                  <a:lnTo>
                    <a:pt x="0" y="1281"/>
                  </a:lnTo>
                  <a:cubicBezTo>
                    <a:pt x="0" y="2131"/>
                    <a:pt x="502" y="2822"/>
                    <a:pt x="1126" y="2841"/>
                  </a:cubicBezTo>
                  <a:lnTo>
                    <a:pt x="1126" y="2841"/>
                  </a:lnTo>
                  <a:cubicBezTo>
                    <a:pt x="1135" y="2841"/>
                    <a:pt x="1144" y="2842"/>
                    <a:pt x="1152" y="2842"/>
                  </a:cubicBezTo>
                  <a:lnTo>
                    <a:pt x="1153" y="2842"/>
                  </a:lnTo>
                  <a:lnTo>
                    <a:pt x="1153" y="29"/>
                  </a:lnTo>
                  <a:lnTo>
                    <a:pt x="1153" y="29"/>
                  </a:lnTo>
                  <a:cubicBezTo>
                    <a:pt x="1144" y="29"/>
                    <a:pt x="1135" y="29"/>
                    <a:pt x="1126" y="29"/>
                  </a:cubicBezTo>
                </a:path>
              </a:pathLst>
            </a:custGeom>
            <a:solidFill>
              <a:srgbClr val="DDBB9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61" name="Freeform 29">
              <a:extLst>
                <a:ext uri="{FF2B5EF4-FFF2-40B4-BE49-F238E27FC236}">
                  <a16:creationId xmlns:a16="http://schemas.microsoft.com/office/drawing/2014/main" id="{E4920980-8DF6-8341-84CB-09BF3CD7B0DB}"/>
                </a:ext>
              </a:extLst>
            </p:cNvPr>
            <p:cNvSpPr>
              <a:spLocks noChangeArrowheads="1"/>
            </p:cNvSpPr>
            <p:nvPr/>
          </p:nvSpPr>
          <p:spPr bwMode="auto">
            <a:xfrm>
              <a:off x="5086350" y="733425"/>
              <a:ext cx="414338" cy="1012825"/>
            </a:xfrm>
            <a:custGeom>
              <a:avLst/>
              <a:gdLst>
                <a:gd name="T0" fmla="*/ 1151 w 1152"/>
                <a:gd name="T1" fmla="*/ 1253 h 2815"/>
                <a:gd name="T2" fmla="*/ 1151 w 1152"/>
                <a:gd name="T3" fmla="*/ 1253 h 2815"/>
                <a:gd name="T4" fmla="*/ 25 w 1152"/>
                <a:gd name="T5" fmla="*/ 0 h 2815"/>
                <a:gd name="T6" fmla="*/ 25 w 1152"/>
                <a:gd name="T7" fmla="*/ 0 h 2815"/>
                <a:gd name="T8" fmla="*/ 0 w 1152"/>
                <a:gd name="T9" fmla="*/ 1 h 2815"/>
                <a:gd name="T10" fmla="*/ 0 w 1152"/>
                <a:gd name="T11" fmla="*/ 2814 h 2815"/>
                <a:gd name="T12" fmla="*/ 0 w 1152"/>
                <a:gd name="T13" fmla="*/ 2814 h 2815"/>
                <a:gd name="T14" fmla="*/ 1151 w 1152"/>
                <a:gd name="T15" fmla="*/ 1253 h 28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2" h="2815">
                  <a:moveTo>
                    <a:pt x="1151" y="1253"/>
                  </a:moveTo>
                  <a:lnTo>
                    <a:pt x="1151" y="1253"/>
                  </a:lnTo>
                  <a:cubicBezTo>
                    <a:pt x="1151" y="392"/>
                    <a:pt x="661" y="0"/>
                    <a:pt x="25" y="0"/>
                  </a:cubicBezTo>
                  <a:lnTo>
                    <a:pt x="25" y="0"/>
                  </a:lnTo>
                  <a:cubicBezTo>
                    <a:pt x="16" y="0"/>
                    <a:pt x="8" y="0"/>
                    <a:pt x="0" y="1"/>
                  </a:cubicBezTo>
                  <a:lnTo>
                    <a:pt x="0" y="2814"/>
                  </a:lnTo>
                  <a:lnTo>
                    <a:pt x="0" y="2814"/>
                  </a:lnTo>
                  <a:cubicBezTo>
                    <a:pt x="635" y="2814"/>
                    <a:pt x="1151" y="2115"/>
                    <a:pt x="1151" y="1253"/>
                  </a:cubicBezTo>
                </a:path>
              </a:pathLst>
            </a:custGeom>
            <a:solidFill>
              <a:srgbClr val="EFD4B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62" name="Freeform 30">
              <a:extLst>
                <a:ext uri="{FF2B5EF4-FFF2-40B4-BE49-F238E27FC236}">
                  <a16:creationId xmlns:a16="http://schemas.microsoft.com/office/drawing/2014/main" id="{C95A11B3-A767-5746-B79B-BDC4095C9F0B}"/>
                </a:ext>
              </a:extLst>
            </p:cNvPr>
            <p:cNvSpPr>
              <a:spLocks noChangeArrowheads="1"/>
            </p:cNvSpPr>
            <p:nvPr/>
          </p:nvSpPr>
          <p:spPr bwMode="auto">
            <a:xfrm>
              <a:off x="4627563" y="509588"/>
              <a:ext cx="889000" cy="741362"/>
            </a:xfrm>
            <a:custGeom>
              <a:avLst/>
              <a:gdLst>
                <a:gd name="T0" fmla="*/ 116 w 2468"/>
                <a:gd name="T1" fmla="*/ 1975 h 2061"/>
                <a:gd name="T2" fmla="*/ 116 w 2468"/>
                <a:gd name="T3" fmla="*/ 1975 h 2061"/>
                <a:gd name="T4" fmla="*/ 88 w 2468"/>
                <a:gd name="T5" fmla="*/ 984 h 2061"/>
                <a:gd name="T6" fmla="*/ 88 w 2468"/>
                <a:gd name="T7" fmla="*/ 984 h 2061"/>
                <a:gd name="T8" fmla="*/ 223 w 2468"/>
                <a:gd name="T9" fmla="*/ 918 h 2061"/>
                <a:gd name="T10" fmla="*/ 223 w 2468"/>
                <a:gd name="T11" fmla="*/ 918 h 2061"/>
                <a:gd name="T12" fmla="*/ 150 w 2468"/>
                <a:gd name="T13" fmla="*/ 658 h 2061"/>
                <a:gd name="T14" fmla="*/ 150 w 2468"/>
                <a:gd name="T15" fmla="*/ 658 h 2061"/>
                <a:gd name="T16" fmla="*/ 1461 w 2468"/>
                <a:gd name="T17" fmla="*/ 128 h 2061"/>
                <a:gd name="T18" fmla="*/ 1461 w 2468"/>
                <a:gd name="T19" fmla="*/ 128 h 2061"/>
                <a:gd name="T20" fmla="*/ 2467 w 2468"/>
                <a:gd name="T21" fmla="*/ 1193 h 2061"/>
                <a:gd name="T22" fmla="*/ 2467 w 2468"/>
                <a:gd name="T23" fmla="*/ 1193 h 2061"/>
                <a:gd name="T24" fmla="*/ 2412 w 2468"/>
                <a:gd name="T25" fmla="*/ 2060 h 2061"/>
                <a:gd name="T26" fmla="*/ 2361 w 2468"/>
                <a:gd name="T27" fmla="*/ 2053 h 2061"/>
                <a:gd name="T28" fmla="*/ 2258 w 2468"/>
                <a:gd name="T29" fmla="*/ 1162 h 2061"/>
                <a:gd name="T30" fmla="*/ 2258 w 2468"/>
                <a:gd name="T31" fmla="*/ 1162 h 2061"/>
                <a:gd name="T32" fmla="*/ 1786 w 2468"/>
                <a:gd name="T33" fmla="*/ 1255 h 2061"/>
                <a:gd name="T34" fmla="*/ 1786 w 2468"/>
                <a:gd name="T35" fmla="*/ 1255 h 2061"/>
                <a:gd name="T36" fmla="*/ 344 w 2468"/>
                <a:gd name="T37" fmla="*/ 933 h 2061"/>
                <a:gd name="T38" fmla="*/ 344 w 2468"/>
                <a:gd name="T39" fmla="*/ 933 h 2061"/>
                <a:gd name="T40" fmla="*/ 238 w 2468"/>
                <a:gd name="T41" fmla="*/ 1130 h 2061"/>
                <a:gd name="T42" fmla="*/ 238 w 2468"/>
                <a:gd name="T43" fmla="*/ 1130 h 2061"/>
                <a:gd name="T44" fmla="*/ 172 w 2468"/>
                <a:gd name="T45" fmla="*/ 2033 h 2061"/>
                <a:gd name="T46" fmla="*/ 116 w 2468"/>
                <a:gd name="T47" fmla="*/ 1975 h 2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68" h="2061">
                  <a:moveTo>
                    <a:pt x="116" y="1975"/>
                  </a:moveTo>
                  <a:lnTo>
                    <a:pt x="116" y="1975"/>
                  </a:lnTo>
                  <a:cubicBezTo>
                    <a:pt x="116" y="1975"/>
                    <a:pt x="0" y="1081"/>
                    <a:pt x="88" y="984"/>
                  </a:cubicBezTo>
                  <a:lnTo>
                    <a:pt x="88" y="984"/>
                  </a:lnTo>
                  <a:cubicBezTo>
                    <a:pt x="176" y="887"/>
                    <a:pt x="223" y="918"/>
                    <a:pt x="223" y="918"/>
                  </a:cubicBezTo>
                  <a:lnTo>
                    <a:pt x="223" y="918"/>
                  </a:lnTo>
                  <a:cubicBezTo>
                    <a:pt x="223" y="918"/>
                    <a:pt x="113" y="739"/>
                    <a:pt x="150" y="658"/>
                  </a:cubicBezTo>
                  <a:lnTo>
                    <a:pt x="150" y="658"/>
                  </a:lnTo>
                  <a:cubicBezTo>
                    <a:pt x="186" y="577"/>
                    <a:pt x="505" y="0"/>
                    <a:pt x="1461" y="128"/>
                  </a:cubicBezTo>
                  <a:lnTo>
                    <a:pt x="1461" y="128"/>
                  </a:lnTo>
                  <a:cubicBezTo>
                    <a:pt x="2415" y="255"/>
                    <a:pt x="2467" y="1193"/>
                    <a:pt x="2467" y="1193"/>
                  </a:cubicBezTo>
                  <a:lnTo>
                    <a:pt x="2467" y="1193"/>
                  </a:lnTo>
                  <a:cubicBezTo>
                    <a:pt x="2467" y="1193"/>
                    <a:pt x="2441" y="1925"/>
                    <a:pt x="2412" y="2060"/>
                  </a:cubicBezTo>
                  <a:lnTo>
                    <a:pt x="2361" y="2053"/>
                  </a:lnTo>
                  <a:lnTo>
                    <a:pt x="2258" y="1162"/>
                  </a:lnTo>
                  <a:lnTo>
                    <a:pt x="2258" y="1162"/>
                  </a:lnTo>
                  <a:cubicBezTo>
                    <a:pt x="2258" y="1162"/>
                    <a:pt x="2141" y="1382"/>
                    <a:pt x="1786" y="1255"/>
                  </a:cubicBezTo>
                  <a:lnTo>
                    <a:pt x="1786" y="1255"/>
                  </a:lnTo>
                  <a:cubicBezTo>
                    <a:pt x="1431" y="1127"/>
                    <a:pt x="999" y="523"/>
                    <a:pt x="344" y="933"/>
                  </a:cubicBezTo>
                  <a:lnTo>
                    <a:pt x="344" y="933"/>
                  </a:lnTo>
                  <a:cubicBezTo>
                    <a:pt x="344" y="933"/>
                    <a:pt x="242" y="1069"/>
                    <a:pt x="238" y="1130"/>
                  </a:cubicBezTo>
                  <a:lnTo>
                    <a:pt x="238" y="1130"/>
                  </a:lnTo>
                  <a:cubicBezTo>
                    <a:pt x="234" y="1193"/>
                    <a:pt x="128" y="1859"/>
                    <a:pt x="172" y="2033"/>
                  </a:cubicBezTo>
                  <a:lnTo>
                    <a:pt x="116" y="1975"/>
                  </a:lnTo>
                </a:path>
              </a:pathLst>
            </a:custGeom>
            <a:solidFill>
              <a:srgbClr val="40291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63" name="Freeform 31">
              <a:extLst>
                <a:ext uri="{FF2B5EF4-FFF2-40B4-BE49-F238E27FC236}">
                  <a16:creationId xmlns:a16="http://schemas.microsoft.com/office/drawing/2014/main" id="{8C2F65FF-C9CB-E94D-8B8C-EDB4EEB04746}"/>
                </a:ext>
              </a:extLst>
            </p:cNvPr>
            <p:cNvSpPr>
              <a:spLocks noChangeArrowheads="1"/>
            </p:cNvSpPr>
            <p:nvPr/>
          </p:nvSpPr>
          <p:spPr bwMode="auto">
            <a:xfrm>
              <a:off x="4735513" y="1012825"/>
              <a:ext cx="274637" cy="66675"/>
            </a:xfrm>
            <a:custGeom>
              <a:avLst/>
              <a:gdLst>
                <a:gd name="T0" fmla="*/ 53 w 763"/>
                <a:gd name="T1" fmla="*/ 183 h 184"/>
                <a:gd name="T2" fmla="*/ 53 w 763"/>
                <a:gd name="T3" fmla="*/ 183 h 184"/>
                <a:gd name="T4" fmla="*/ 12 w 763"/>
                <a:gd name="T5" fmla="*/ 156 h 184"/>
                <a:gd name="T6" fmla="*/ 12 w 763"/>
                <a:gd name="T7" fmla="*/ 156 h 184"/>
                <a:gd name="T8" fmla="*/ 33 w 763"/>
                <a:gd name="T9" fmla="*/ 91 h 184"/>
                <a:gd name="T10" fmla="*/ 33 w 763"/>
                <a:gd name="T11" fmla="*/ 91 h 184"/>
                <a:gd name="T12" fmla="*/ 231 w 763"/>
                <a:gd name="T13" fmla="*/ 30 h 184"/>
                <a:gd name="T14" fmla="*/ 231 w 763"/>
                <a:gd name="T15" fmla="*/ 30 h 184"/>
                <a:gd name="T16" fmla="*/ 724 w 763"/>
                <a:gd name="T17" fmla="*/ 64 h 184"/>
                <a:gd name="T18" fmla="*/ 724 w 763"/>
                <a:gd name="T19" fmla="*/ 64 h 184"/>
                <a:gd name="T20" fmla="*/ 755 w 763"/>
                <a:gd name="T21" fmla="*/ 123 h 184"/>
                <a:gd name="T22" fmla="*/ 755 w 763"/>
                <a:gd name="T23" fmla="*/ 123 h 184"/>
                <a:gd name="T24" fmla="*/ 697 w 763"/>
                <a:gd name="T25" fmla="*/ 156 h 184"/>
                <a:gd name="T26" fmla="*/ 697 w 763"/>
                <a:gd name="T27" fmla="*/ 156 h 184"/>
                <a:gd name="T28" fmla="*/ 73 w 763"/>
                <a:gd name="T29" fmla="*/ 179 h 184"/>
                <a:gd name="T30" fmla="*/ 73 w 763"/>
                <a:gd name="T31" fmla="*/ 179 h 184"/>
                <a:gd name="T32" fmla="*/ 53 w 763"/>
                <a:gd name="T33" fmla="*/ 18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3" h="184">
                  <a:moveTo>
                    <a:pt x="53" y="183"/>
                  </a:moveTo>
                  <a:lnTo>
                    <a:pt x="53" y="183"/>
                  </a:lnTo>
                  <a:cubicBezTo>
                    <a:pt x="36" y="183"/>
                    <a:pt x="20" y="173"/>
                    <a:pt x="12" y="156"/>
                  </a:cubicBezTo>
                  <a:lnTo>
                    <a:pt x="12" y="156"/>
                  </a:lnTo>
                  <a:cubicBezTo>
                    <a:pt x="0" y="132"/>
                    <a:pt x="10" y="103"/>
                    <a:pt x="33" y="91"/>
                  </a:cubicBezTo>
                  <a:lnTo>
                    <a:pt x="33" y="91"/>
                  </a:lnTo>
                  <a:cubicBezTo>
                    <a:pt x="36" y="90"/>
                    <a:pt x="109" y="52"/>
                    <a:pt x="231" y="30"/>
                  </a:cubicBezTo>
                  <a:lnTo>
                    <a:pt x="231" y="30"/>
                  </a:lnTo>
                  <a:cubicBezTo>
                    <a:pt x="342" y="10"/>
                    <a:pt x="518" y="0"/>
                    <a:pt x="724" y="64"/>
                  </a:cubicBezTo>
                  <a:lnTo>
                    <a:pt x="724" y="64"/>
                  </a:lnTo>
                  <a:cubicBezTo>
                    <a:pt x="747" y="71"/>
                    <a:pt x="762" y="98"/>
                    <a:pt x="755" y="123"/>
                  </a:cubicBezTo>
                  <a:lnTo>
                    <a:pt x="755" y="123"/>
                  </a:lnTo>
                  <a:cubicBezTo>
                    <a:pt x="747" y="150"/>
                    <a:pt x="722" y="164"/>
                    <a:pt x="697" y="156"/>
                  </a:cubicBezTo>
                  <a:lnTo>
                    <a:pt x="697" y="156"/>
                  </a:lnTo>
                  <a:cubicBezTo>
                    <a:pt x="337" y="45"/>
                    <a:pt x="76" y="177"/>
                    <a:pt x="73" y="179"/>
                  </a:cubicBezTo>
                  <a:lnTo>
                    <a:pt x="73" y="179"/>
                  </a:lnTo>
                  <a:cubicBezTo>
                    <a:pt x="67" y="182"/>
                    <a:pt x="60" y="183"/>
                    <a:pt x="53" y="183"/>
                  </a:cubicBezTo>
                </a:path>
              </a:pathLst>
            </a:custGeom>
            <a:solidFill>
              <a:srgbClr val="40291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64" name="Freeform 32">
              <a:extLst>
                <a:ext uri="{FF2B5EF4-FFF2-40B4-BE49-F238E27FC236}">
                  <a16:creationId xmlns:a16="http://schemas.microsoft.com/office/drawing/2014/main" id="{55255926-9C95-2B41-BABA-D5280ECC4DE0}"/>
                </a:ext>
              </a:extLst>
            </p:cNvPr>
            <p:cNvSpPr>
              <a:spLocks noChangeArrowheads="1"/>
            </p:cNvSpPr>
            <p:nvPr/>
          </p:nvSpPr>
          <p:spPr bwMode="auto">
            <a:xfrm>
              <a:off x="5129213" y="1012825"/>
              <a:ext cx="274637" cy="66675"/>
            </a:xfrm>
            <a:custGeom>
              <a:avLst/>
              <a:gdLst>
                <a:gd name="T0" fmla="*/ 708 w 761"/>
                <a:gd name="T1" fmla="*/ 183 h 184"/>
                <a:gd name="T2" fmla="*/ 708 w 761"/>
                <a:gd name="T3" fmla="*/ 183 h 184"/>
                <a:gd name="T4" fmla="*/ 687 w 761"/>
                <a:gd name="T5" fmla="*/ 179 h 184"/>
                <a:gd name="T6" fmla="*/ 687 w 761"/>
                <a:gd name="T7" fmla="*/ 179 h 184"/>
                <a:gd name="T8" fmla="*/ 510 w 761"/>
                <a:gd name="T9" fmla="*/ 125 h 184"/>
                <a:gd name="T10" fmla="*/ 510 w 761"/>
                <a:gd name="T11" fmla="*/ 125 h 184"/>
                <a:gd name="T12" fmla="*/ 64 w 761"/>
                <a:gd name="T13" fmla="*/ 156 h 184"/>
                <a:gd name="T14" fmla="*/ 64 w 761"/>
                <a:gd name="T15" fmla="*/ 156 h 184"/>
                <a:gd name="T16" fmla="*/ 7 w 761"/>
                <a:gd name="T17" fmla="*/ 123 h 184"/>
                <a:gd name="T18" fmla="*/ 7 w 761"/>
                <a:gd name="T19" fmla="*/ 123 h 184"/>
                <a:gd name="T20" fmla="*/ 38 w 761"/>
                <a:gd name="T21" fmla="*/ 64 h 184"/>
                <a:gd name="T22" fmla="*/ 38 w 761"/>
                <a:gd name="T23" fmla="*/ 64 h 184"/>
                <a:gd name="T24" fmla="*/ 530 w 761"/>
                <a:gd name="T25" fmla="*/ 30 h 184"/>
                <a:gd name="T26" fmla="*/ 530 w 761"/>
                <a:gd name="T27" fmla="*/ 30 h 184"/>
                <a:gd name="T28" fmla="*/ 728 w 761"/>
                <a:gd name="T29" fmla="*/ 91 h 184"/>
                <a:gd name="T30" fmla="*/ 728 w 761"/>
                <a:gd name="T31" fmla="*/ 91 h 184"/>
                <a:gd name="T32" fmla="*/ 749 w 761"/>
                <a:gd name="T33" fmla="*/ 156 h 184"/>
                <a:gd name="T34" fmla="*/ 749 w 761"/>
                <a:gd name="T35" fmla="*/ 156 h 184"/>
                <a:gd name="T36" fmla="*/ 708 w 761"/>
                <a:gd name="T37" fmla="*/ 18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1" h="184">
                  <a:moveTo>
                    <a:pt x="708" y="183"/>
                  </a:moveTo>
                  <a:lnTo>
                    <a:pt x="708" y="183"/>
                  </a:lnTo>
                  <a:cubicBezTo>
                    <a:pt x="701" y="183"/>
                    <a:pt x="694" y="182"/>
                    <a:pt x="687" y="179"/>
                  </a:cubicBezTo>
                  <a:lnTo>
                    <a:pt x="687" y="179"/>
                  </a:lnTo>
                  <a:cubicBezTo>
                    <a:pt x="686" y="178"/>
                    <a:pt x="620" y="145"/>
                    <a:pt x="510" y="125"/>
                  </a:cubicBezTo>
                  <a:lnTo>
                    <a:pt x="510" y="125"/>
                  </a:lnTo>
                  <a:cubicBezTo>
                    <a:pt x="409" y="108"/>
                    <a:pt x="251" y="99"/>
                    <a:pt x="64" y="156"/>
                  </a:cubicBezTo>
                  <a:lnTo>
                    <a:pt x="64" y="156"/>
                  </a:lnTo>
                  <a:cubicBezTo>
                    <a:pt x="40" y="164"/>
                    <a:pt x="14" y="150"/>
                    <a:pt x="7" y="123"/>
                  </a:cubicBezTo>
                  <a:lnTo>
                    <a:pt x="7" y="123"/>
                  </a:lnTo>
                  <a:cubicBezTo>
                    <a:pt x="0" y="98"/>
                    <a:pt x="14" y="71"/>
                    <a:pt x="38" y="64"/>
                  </a:cubicBezTo>
                  <a:lnTo>
                    <a:pt x="38" y="64"/>
                  </a:lnTo>
                  <a:cubicBezTo>
                    <a:pt x="244" y="0"/>
                    <a:pt x="418" y="10"/>
                    <a:pt x="530" y="30"/>
                  </a:cubicBezTo>
                  <a:lnTo>
                    <a:pt x="530" y="30"/>
                  </a:lnTo>
                  <a:cubicBezTo>
                    <a:pt x="651" y="52"/>
                    <a:pt x="725" y="90"/>
                    <a:pt x="728" y="91"/>
                  </a:cubicBezTo>
                  <a:lnTo>
                    <a:pt x="728" y="91"/>
                  </a:lnTo>
                  <a:cubicBezTo>
                    <a:pt x="751" y="103"/>
                    <a:pt x="760" y="132"/>
                    <a:pt x="749" y="156"/>
                  </a:cubicBezTo>
                  <a:lnTo>
                    <a:pt x="749" y="156"/>
                  </a:lnTo>
                  <a:cubicBezTo>
                    <a:pt x="741" y="173"/>
                    <a:pt x="724" y="183"/>
                    <a:pt x="708" y="183"/>
                  </a:cubicBezTo>
                </a:path>
              </a:pathLst>
            </a:custGeom>
            <a:solidFill>
              <a:srgbClr val="40291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65" name="Freeform 33">
              <a:extLst>
                <a:ext uri="{FF2B5EF4-FFF2-40B4-BE49-F238E27FC236}">
                  <a16:creationId xmlns:a16="http://schemas.microsoft.com/office/drawing/2014/main" id="{9BF91D6E-2856-1B46-BEA1-AEAC7D3CE2FE}"/>
                </a:ext>
              </a:extLst>
            </p:cNvPr>
            <p:cNvSpPr>
              <a:spLocks noChangeArrowheads="1"/>
            </p:cNvSpPr>
            <p:nvPr/>
          </p:nvSpPr>
          <p:spPr bwMode="auto">
            <a:xfrm>
              <a:off x="4660900" y="1220788"/>
              <a:ext cx="841375" cy="550862"/>
            </a:xfrm>
            <a:custGeom>
              <a:avLst/>
              <a:gdLst>
                <a:gd name="T0" fmla="*/ 2287 w 2336"/>
                <a:gd name="T1" fmla="*/ 24 h 1528"/>
                <a:gd name="T2" fmla="*/ 2287 w 2336"/>
                <a:gd name="T3" fmla="*/ 24 h 1528"/>
                <a:gd name="T4" fmla="*/ 1708 w 2336"/>
                <a:gd name="T5" fmla="*/ 757 h 1528"/>
                <a:gd name="T6" fmla="*/ 1708 w 2336"/>
                <a:gd name="T7" fmla="*/ 757 h 1528"/>
                <a:gd name="T8" fmla="*/ 1489 w 2336"/>
                <a:gd name="T9" fmla="*/ 577 h 1528"/>
                <a:gd name="T10" fmla="*/ 1489 w 2336"/>
                <a:gd name="T11" fmla="*/ 577 h 1528"/>
                <a:gd name="T12" fmla="*/ 1273 w 2336"/>
                <a:gd name="T13" fmla="*/ 539 h 1528"/>
                <a:gd name="T14" fmla="*/ 1273 w 2336"/>
                <a:gd name="T15" fmla="*/ 539 h 1528"/>
                <a:gd name="T16" fmla="*/ 1216 w 2336"/>
                <a:gd name="T17" fmla="*/ 537 h 1528"/>
                <a:gd name="T18" fmla="*/ 1146 w 2336"/>
                <a:gd name="T19" fmla="*/ 537 h 1528"/>
                <a:gd name="T20" fmla="*/ 1146 w 2336"/>
                <a:gd name="T21" fmla="*/ 537 h 1528"/>
                <a:gd name="T22" fmla="*/ 1089 w 2336"/>
                <a:gd name="T23" fmla="*/ 539 h 1528"/>
                <a:gd name="T24" fmla="*/ 1089 w 2336"/>
                <a:gd name="T25" fmla="*/ 539 h 1528"/>
                <a:gd name="T26" fmla="*/ 878 w 2336"/>
                <a:gd name="T27" fmla="*/ 576 h 1528"/>
                <a:gd name="T28" fmla="*/ 878 w 2336"/>
                <a:gd name="T29" fmla="*/ 576 h 1528"/>
                <a:gd name="T30" fmla="*/ 654 w 2336"/>
                <a:gd name="T31" fmla="*/ 756 h 1528"/>
                <a:gd name="T32" fmla="*/ 654 w 2336"/>
                <a:gd name="T33" fmla="*/ 756 h 1528"/>
                <a:gd name="T34" fmla="*/ 74 w 2336"/>
                <a:gd name="T35" fmla="*/ 24 h 1528"/>
                <a:gd name="T36" fmla="*/ 26 w 2336"/>
                <a:gd name="T37" fmla="*/ 0 h 1528"/>
                <a:gd name="T38" fmla="*/ 26 w 2336"/>
                <a:gd name="T39" fmla="*/ 0 h 1528"/>
                <a:gd name="T40" fmla="*/ 1062 w 2336"/>
                <a:gd name="T41" fmla="*/ 1412 h 1528"/>
                <a:gd name="T42" fmla="*/ 1157 w 2336"/>
                <a:gd name="T43" fmla="*/ 1462 h 1528"/>
                <a:gd name="T44" fmla="*/ 1157 w 2336"/>
                <a:gd name="T45" fmla="*/ 1462 h 1528"/>
                <a:gd name="T46" fmla="*/ 1157 w 2336"/>
                <a:gd name="T47" fmla="*/ 1462 h 1528"/>
                <a:gd name="T48" fmla="*/ 1157 w 2336"/>
                <a:gd name="T49" fmla="*/ 1462 h 1528"/>
                <a:gd name="T50" fmla="*/ 1154 w 2336"/>
                <a:gd name="T51" fmla="*/ 1525 h 1528"/>
                <a:gd name="T52" fmla="*/ 1154 w 2336"/>
                <a:gd name="T53" fmla="*/ 1525 h 1528"/>
                <a:gd name="T54" fmla="*/ 1184 w 2336"/>
                <a:gd name="T55" fmla="*/ 1463 h 1528"/>
                <a:gd name="T56" fmla="*/ 1184 w 2336"/>
                <a:gd name="T57" fmla="*/ 1463 h 1528"/>
                <a:gd name="T58" fmla="*/ 2335 w 2336"/>
                <a:gd name="T59" fmla="*/ 0 h 1528"/>
                <a:gd name="T60" fmla="*/ 2287 w 2336"/>
                <a:gd name="T61" fmla="*/ 24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36" h="1528">
                  <a:moveTo>
                    <a:pt x="2287" y="24"/>
                  </a:moveTo>
                  <a:lnTo>
                    <a:pt x="2287" y="24"/>
                  </a:lnTo>
                  <a:cubicBezTo>
                    <a:pt x="2129" y="580"/>
                    <a:pt x="1840" y="721"/>
                    <a:pt x="1708" y="757"/>
                  </a:cubicBezTo>
                  <a:lnTo>
                    <a:pt x="1708" y="757"/>
                  </a:lnTo>
                  <a:cubicBezTo>
                    <a:pt x="1698" y="726"/>
                    <a:pt x="1658" y="620"/>
                    <a:pt x="1489" y="577"/>
                  </a:cubicBezTo>
                  <a:lnTo>
                    <a:pt x="1489" y="577"/>
                  </a:lnTo>
                  <a:cubicBezTo>
                    <a:pt x="1418" y="556"/>
                    <a:pt x="1336" y="539"/>
                    <a:pt x="1273" y="539"/>
                  </a:cubicBezTo>
                  <a:lnTo>
                    <a:pt x="1273" y="539"/>
                  </a:lnTo>
                  <a:cubicBezTo>
                    <a:pt x="1255" y="539"/>
                    <a:pt x="1236" y="537"/>
                    <a:pt x="1216" y="537"/>
                  </a:cubicBezTo>
                  <a:lnTo>
                    <a:pt x="1146" y="537"/>
                  </a:lnTo>
                  <a:lnTo>
                    <a:pt x="1146" y="537"/>
                  </a:lnTo>
                  <a:cubicBezTo>
                    <a:pt x="1126" y="537"/>
                    <a:pt x="1108" y="539"/>
                    <a:pt x="1089" y="539"/>
                  </a:cubicBezTo>
                  <a:lnTo>
                    <a:pt x="1089" y="539"/>
                  </a:lnTo>
                  <a:cubicBezTo>
                    <a:pt x="1028" y="539"/>
                    <a:pt x="948" y="556"/>
                    <a:pt x="878" y="576"/>
                  </a:cubicBezTo>
                  <a:lnTo>
                    <a:pt x="878" y="576"/>
                  </a:lnTo>
                  <a:cubicBezTo>
                    <a:pt x="705" y="618"/>
                    <a:pt x="663" y="725"/>
                    <a:pt x="654" y="756"/>
                  </a:cubicBezTo>
                  <a:lnTo>
                    <a:pt x="654" y="756"/>
                  </a:lnTo>
                  <a:cubicBezTo>
                    <a:pt x="521" y="720"/>
                    <a:pt x="233" y="579"/>
                    <a:pt x="74" y="24"/>
                  </a:cubicBezTo>
                  <a:lnTo>
                    <a:pt x="26" y="0"/>
                  </a:lnTo>
                  <a:lnTo>
                    <a:pt x="26" y="0"/>
                  </a:lnTo>
                  <a:cubicBezTo>
                    <a:pt x="26" y="0"/>
                    <a:pt x="0" y="1399"/>
                    <a:pt x="1062" y="1412"/>
                  </a:cubicBezTo>
                  <a:lnTo>
                    <a:pt x="1157" y="1462"/>
                  </a:lnTo>
                  <a:lnTo>
                    <a:pt x="1157" y="1462"/>
                  </a:lnTo>
                  <a:cubicBezTo>
                    <a:pt x="1157" y="1462"/>
                    <a:pt x="1155" y="1462"/>
                    <a:pt x="1157" y="1462"/>
                  </a:cubicBezTo>
                  <a:lnTo>
                    <a:pt x="1157" y="1462"/>
                  </a:lnTo>
                  <a:cubicBezTo>
                    <a:pt x="1157" y="1462"/>
                    <a:pt x="1128" y="1326"/>
                    <a:pt x="1154" y="1525"/>
                  </a:cubicBezTo>
                  <a:lnTo>
                    <a:pt x="1154" y="1525"/>
                  </a:lnTo>
                  <a:cubicBezTo>
                    <a:pt x="1154" y="1527"/>
                    <a:pt x="1184" y="1463"/>
                    <a:pt x="1184" y="1463"/>
                  </a:cubicBezTo>
                  <a:lnTo>
                    <a:pt x="1184" y="1463"/>
                  </a:lnTo>
                  <a:cubicBezTo>
                    <a:pt x="2244" y="1450"/>
                    <a:pt x="2335" y="0"/>
                    <a:pt x="2335" y="0"/>
                  </a:cubicBezTo>
                  <a:lnTo>
                    <a:pt x="2287" y="24"/>
                  </a:lnTo>
                </a:path>
              </a:pathLst>
            </a:custGeom>
            <a:solidFill>
              <a:srgbClr val="40291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66" name="Freeform 34">
              <a:extLst>
                <a:ext uri="{FF2B5EF4-FFF2-40B4-BE49-F238E27FC236}">
                  <a16:creationId xmlns:a16="http://schemas.microsoft.com/office/drawing/2014/main" id="{1B78670D-A323-6A4D-8774-0F1796CD6CEE}"/>
                </a:ext>
              </a:extLst>
            </p:cNvPr>
            <p:cNvSpPr>
              <a:spLocks noChangeArrowheads="1"/>
            </p:cNvSpPr>
            <p:nvPr/>
          </p:nvSpPr>
          <p:spPr bwMode="auto">
            <a:xfrm>
              <a:off x="4986338" y="1336675"/>
              <a:ext cx="90487" cy="66675"/>
            </a:xfrm>
            <a:custGeom>
              <a:avLst/>
              <a:gdLst>
                <a:gd name="T0" fmla="*/ 251 w 252"/>
                <a:gd name="T1" fmla="*/ 92 h 184"/>
                <a:gd name="T2" fmla="*/ 251 w 252"/>
                <a:gd name="T3" fmla="*/ 92 h 184"/>
                <a:gd name="T4" fmla="*/ 125 w 252"/>
                <a:gd name="T5" fmla="*/ 183 h 184"/>
                <a:gd name="T6" fmla="*/ 125 w 252"/>
                <a:gd name="T7" fmla="*/ 183 h 184"/>
                <a:gd name="T8" fmla="*/ 0 w 252"/>
                <a:gd name="T9" fmla="*/ 92 h 184"/>
                <a:gd name="T10" fmla="*/ 0 w 252"/>
                <a:gd name="T11" fmla="*/ 92 h 184"/>
                <a:gd name="T12" fmla="*/ 125 w 252"/>
                <a:gd name="T13" fmla="*/ 0 h 184"/>
                <a:gd name="T14" fmla="*/ 125 w 252"/>
                <a:gd name="T15" fmla="*/ 0 h 184"/>
                <a:gd name="T16" fmla="*/ 251 w 252"/>
                <a:gd name="T17" fmla="*/ 9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2" h="184">
                  <a:moveTo>
                    <a:pt x="251" y="92"/>
                  </a:moveTo>
                  <a:lnTo>
                    <a:pt x="251" y="92"/>
                  </a:lnTo>
                  <a:cubicBezTo>
                    <a:pt x="251" y="142"/>
                    <a:pt x="195" y="183"/>
                    <a:pt x="125" y="183"/>
                  </a:cubicBezTo>
                  <a:lnTo>
                    <a:pt x="125" y="183"/>
                  </a:lnTo>
                  <a:cubicBezTo>
                    <a:pt x="56" y="183"/>
                    <a:pt x="0" y="142"/>
                    <a:pt x="0" y="92"/>
                  </a:cubicBezTo>
                  <a:lnTo>
                    <a:pt x="0" y="92"/>
                  </a:lnTo>
                  <a:cubicBezTo>
                    <a:pt x="0" y="41"/>
                    <a:pt x="56" y="0"/>
                    <a:pt x="125" y="0"/>
                  </a:cubicBezTo>
                  <a:lnTo>
                    <a:pt x="125" y="0"/>
                  </a:lnTo>
                  <a:cubicBezTo>
                    <a:pt x="195" y="0"/>
                    <a:pt x="251" y="41"/>
                    <a:pt x="251" y="92"/>
                  </a:cubicBezTo>
                </a:path>
              </a:pathLst>
            </a:custGeom>
            <a:solidFill>
              <a:srgbClr val="DDBB9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67" name="Freeform 35">
              <a:extLst>
                <a:ext uri="{FF2B5EF4-FFF2-40B4-BE49-F238E27FC236}">
                  <a16:creationId xmlns:a16="http://schemas.microsoft.com/office/drawing/2014/main" id="{E6C91CB1-0096-2F48-91BE-0C9F2317EC92}"/>
                </a:ext>
              </a:extLst>
            </p:cNvPr>
            <p:cNvSpPr>
              <a:spLocks noChangeArrowheads="1"/>
            </p:cNvSpPr>
            <p:nvPr/>
          </p:nvSpPr>
          <p:spPr bwMode="auto">
            <a:xfrm>
              <a:off x="5102225" y="1336675"/>
              <a:ext cx="90488" cy="66675"/>
            </a:xfrm>
            <a:custGeom>
              <a:avLst/>
              <a:gdLst>
                <a:gd name="T0" fmla="*/ 251 w 252"/>
                <a:gd name="T1" fmla="*/ 92 h 184"/>
                <a:gd name="T2" fmla="*/ 251 w 252"/>
                <a:gd name="T3" fmla="*/ 92 h 184"/>
                <a:gd name="T4" fmla="*/ 126 w 252"/>
                <a:gd name="T5" fmla="*/ 183 h 184"/>
                <a:gd name="T6" fmla="*/ 126 w 252"/>
                <a:gd name="T7" fmla="*/ 183 h 184"/>
                <a:gd name="T8" fmla="*/ 0 w 252"/>
                <a:gd name="T9" fmla="*/ 92 h 184"/>
                <a:gd name="T10" fmla="*/ 0 w 252"/>
                <a:gd name="T11" fmla="*/ 92 h 184"/>
                <a:gd name="T12" fmla="*/ 126 w 252"/>
                <a:gd name="T13" fmla="*/ 0 h 184"/>
                <a:gd name="T14" fmla="*/ 126 w 252"/>
                <a:gd name="T15" fmla="*/ 0 h 184"/>
                <a:gd name="T16" fmla="*/ 251 w 252"/>
                <a:gd name="T17" fmla="*/ 9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2" h="184">
                  <a:moveTo>
                    <a:pt x="251" y="92"/>
                  </a:moveTo>
                  <a:lnTo>
                    <a:pt x="251" y="92"/>
                  </a:lnTo>
                  <a:cubicBezTo>
                    <a:pt x="251" y="142"/>
                    <a:pt x="195" y="183"/>
                    <a:pt x="126" y="183"/>
                  </a:cubicBezTo>
                  <a:lnTo>
                    <a:pt x="126" y="183"/>
                  </a:lnTo>
                  <a:cubicBezTo>
                    <a:pt x="57" y="183"/>
                    <a:pt x="0" y="142"/>
                    <a:pt x="0" y="92"/>
                  </a:cubicBezTo>
                  <a:lnTo>
                    <a:pt x="0" y="92"/>
                  </a:lnTo>
                  <a:cubicBezTo>
                    <a:pt x="0" y="41"/>
                    <a:pt x="57" y="0"/>
                    <a:pt x="126" y="0"/>
                  </a:cubicBezTo>
                  <a:lnTo>
                    <a:pt x="126" y="0"/>
                  </a:lnTo>
                  <a:cubicBezTo>
                    <a:pt x="195" y="0"/>
                    <a:pt x="251" y="41"/>
                    <a:pt x="251" y="92"/>
                  </a:cubicBezTo>
                </a:path>
              </a:pathLst>
            </a:custGeom>
            <a:solidFill>
              <a:srgbClr val="EFD4B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68" name="Freeform 36">
              <a:extLst>
                <a:ext uri="{FF2B5EF4-FFF2-40B4-BE49-F238E27FC236}">
                  <a16:creationId xmlns:a16="http://schemas.microsoft.com/office/drawing/2014/main" id="{E2A97267-0B91-454F-8E60-B72D959171E4}"/>
                </a:ext>
              </a:extLst>
            </p:cNvPr>
            <p:cNvSpPr>
              <a:spLocks noChangeArrowheads="1"/>
            </p:cNvSpPr>
            <p:nvPr/>
          </p:nvSpPr>
          <p:spPr bwMode="auto">
            <a:xfrm>
              <a:off x="5043488" y="1354138"/>
              <a:ext cx="44450" cy="66675"/>
            </a:xfrm>
            <a:custGeom>
              <a:avLst/>
              <a:gdLst>
                <a:gd name="T0" fmla="*/ 0 w 123"/>
                <a:gd name="T1" fmla="*/ 92 h 185"/>
                <a:gd name="T2" fmla="*/ 0 w 123"/>
                <a:gd name="T3" fmla="*/ 92 h 185"/>
                <a:gd name="T4" fmla="*/ 122 w 123"/>
                <a:gd name="T5" fmla="*/ 184 h 185"/>
                <a:gd name="T6" fmla="*/ 122 w 123"/>
                <a:gd name="T7" fmla="*/ 0 h 185"/>
                <a:gd name="T8" fmla="*/ 122 w 123"/>
                <a:gd name="T9" fmla="*/ 0 h 185"/>
                <a:gd name="T10" fmla="*/ 0 w 123"/>
                <a:gd name="T11" fmla="*/ 92 h 185"/>
              </a:gdLst>
              <a:ahLst/>
              <a:cxnLst>
                <a:cxn ang="0">
                  <a:pos x="T0" y="T1"/>
                </a:cxn>
                <a:cxn ang="0">
                  <a:pos x="T2" y="T3"/>
                </a:cxn>
                <a:cxn ang="0">
                  <a:pos x="T4" y="T5"/>
                </a:cxn>
                <a:cxn ang="0">
                  <a:pos x="T6" y="T7"/>
                </a:cxn>
                <a:cxn ang="0">
                  <a:pos x="T8" y="T9"/>
                </a:cxn>
                <a:cxn ang="0">
                  <a:pos x="T10" y="T11"/>
                </a:cxn>
              </a:cxnLst>
              <a:rect l="0" t="0" r="r" b="b"/>
              <a:pathLst>
                <a:path w="123" h="185">
                  <a:moveTo>
                    <a:pt x="0" y="92"/>
                  </a:moveTo>
                  <a:lnTo>
                    <a:pt x="0" y="92"/>
                  </a:lnTo>
                  <a:cubicBezTo>
                    <a:pt x="0" y="142"/>
                    <a:pt x="54" y="182"/>
                    <a:pt x="122" y="184"/>
                  </a:cubicBezTo>
                  <a:lnTo>
                    <a:pt x="122" y="0"/>
                  </a:lnTo>
                  <a:lnTo>
                    <a:pt x="122" y="0"/>
                  </a:lnTo>
                  <a:cubicBezTo>
                    <a:pt x="54" y="2"/>
                    <a:pt x="0" y="43"/>
                    <a:pt x="0" y="92"/>
                  </a:cubicBezTo>
                </a:path>
              </a:pathLst>
            </a:custGeom>
            <a:solidFill>
              <a:srgbClr val="DDBB9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69" name="Freeform 37">
              <a:extLst>
                <a:ext uri="{FF2B5EF4-FFF2-40B4-BE49-F238E27FC236}">
                  <a16:creationId xmlns:a16="http://schemas.microsoft.com/office/drawing/2014/main" id="{203F724D-38A3-D14D-99CD-B97F58D4EC26}"/>
                </a:ext>
              </a:extLst>
            </p:cNvPr>
            <p:cNvSpPr>
              <a:spLocks noChangeArrowheads="1"/>
            </p:cNvSpPr>
            <p:nvPr/>
          </p:nvSpPr>
          <p:spPr bwMode="auto">
            <a:xfrm>
              <a:off x="5086350" y="1354138"/>
              <a:ext cx="46038" cy="66675"/>
            </a:xfrm>
            <a:custGeom>
              <a:avLst/>
              <a:gdLst>
                <a:gd name="T0" fmla="*/ 3 w 129"/>
                <a:gd name="T1" fmla="*/ 0 h 185"/>
                <a:gd name="T2" fmla="*/ 3 w 129"/>
                <a:gd name="T3" fmla="*/ 0 h 185"/>
                <a:gd name="T4" fmla="*/ 0 w 129"/>
                <a:gd name="T5" fmla="*/ 0 h 185"/>
                <a:gd name="T6" fmla="*/ 0 w 129"/>
                <a:gd name="T7" fmla="*/ 184 h 185"/>
                <a:gd name="T8" fmla="*/ 0 w 129"/>
                <a:gd name="T9" fmla="*/ 184 h 185"/>
                <a:gd name="T10" fmla="*/ 3 w 129"/>
                <a:gd name="T11" fmla="*/ 184 h 185"/>
                <a:gd name="T12" fmla="*/ 3 w 129"/>
                <a:gd name="T13" fmla="*/ 184 h 185"/>
                <a:gd name="T14" fmla="*/ 128 w 129"/>
                <a:gd name="T15" fmla="*/ 92 h 185"/>
                <a:gd name="T16" fmla="*/ 128 w 129"/>
                <a:gd name="T17" fmla="*/ 92 h 185"/>
                <a:gd name="T18" fmla="*/ 3 w 129"/>
                <a:gd name="T1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185">
                  <a:moveTo>
                    <a:pt x="3" y="0"/>
                  </a:moveTo>
                  <a:lnTo>
                    <a:pt x="3" y="0"/>
                  </a:lnTo>
                  <a:cubicBezTo>
                    <a:pt x="2" y="0"/>
                    <a:pt x="1" y="0"/>
                    <a:pt x="0" y="0"/>
                  </a:cubicBezTo>
                  <a:lnTo>
                    <a:pt x="0" y="184"/>
                  </a:lnTo>
                  <a:lnTo>
                    <a:pt x="0" y="184"/>
                  </a:lnTo>
                  <a:cubicBezTo>
                    <a:pt x="1" y="184"/>
                    <a:pt x="2" y="184"/>
                    <a:pt x="3" y="184"/>
                  </a:cubicBezTo>
                  <a:lnTo>
                    <a:pt x="3" y="184"/>
                  </a:lnTo>
                  <a:cubicBezTo>
                    <a:pt x="72" y="184"/>
                    <a:pt x="128" y="142"/>
                    <a:pt x="128" y="92"/>
                  </a:cubicBezTo>
                  <a:lnTo>
                    <a:pt x="128" y="92"/>
                  </a:lnTo>
                  <a:cubicBezTo>
                    <a:pt x="128" y="41"/>
                    <a:pt x="72" y="0"/>
                    <a:pt x="3" y="0"/>
                  </a:cubicBezTo>
                </a:path>
              </a:pathLst>
            </a:custGeom>
            <a:solidFill>
              <a:srgbClr val="EFD4B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70" name="Freeform 38">
              <a:extLst>
                <a:ext uri="{FF2B5EF4-FFF2-40B4-BE49-F238E27FC236}">
                  <a16:creationId xmlns:a16="http://schemas.microsoft.com/office/drawing/2014/main" id="{D9940567-8A86-FB4A-8037-B996EBB0426B}"/>
                </a:ext>
              </a:extLst>
            </p:cNvPr>
            <p:cNvSpPr>
              <a:spLocks noChangeArrowheads="1"/>
            </p:cNvSpPr>
            <p:nvPr/>
          </p:nvSpPr>
          <p:spPr bwMode="auto">
            <a:xfrm>
              <a:off x="4797425" y="1127125"/>
              <a:ext cx="169863" cy="77788"/>
            </a:xfrm>
            <a:custGeom>
              <a:avLst/>
              <a:gdLst>
                <a:gd name="T0" fmla="*/ 473 w 474"/>
                <a:gd name="T1" fmla="*/ 107 h 215"/>
                <a:gd name="T2" fmla="*/ 473 w 474"/>
                <a:gd name="T3" fmla="*/ 107 h 215"/>
                <a:gd name="T4" fmla="*/ 237 w 474"/>
                <a:gd name="T5" fmla="*/ 214 h 215"/>
                <a:gd name="T6" fmla="*/ 237 w 474"/>
                <a:gd name="T7" fmla="*/ 214 h 215"/>
                <a:gd name="T8" fmla="*/ 0 w 474"/>
                <a:gd name="T9" fmla="*/ 107 h 215"/>
                <a:gd name="T10" fmla="*/ 0 w 474"/>
                <a:gd name="T11" fmla="*/ 107 h 215"/>
                <a:gd name="T12" fmla="*/ 237 w 474"/>
                <a:gd name="T13" fmla="*/ 0 h 215"/>
                <a:gd name="T14" fmla="*/ 237 w 474"/>
                <a:gd name="T15" fmla="*/ 0 h 215"/>
                <a:gd name="T16" fmla="*/ 473 w 474"/>
                <a:gd name="T17" fmla="*/ 10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215">
                  <a:moveTo>
                    <a:pt x="473" y="107"/>
                  </a:moveTo>
                  <a:lnTo>
                    <a:pt x="473" y="107"/>
                  </a:lnTo>
                  <a:cubicBezTo>
                    <a:pt x="473" y="107"/>
                    <a:pt x="367" y="214"/>
                    <a:pt x="237" y="214"/>
                  </a:cubicBezTo>
                  <a:lnTo>
                    <a:pt x="237" y="214"/>
                  </a:lnTo>
                  <a:cubicBezTo>
                    <a:pt x="106" y="214"/>
                    <a:pt x="0" y="107"/>
                    <a:pt x="0" y="107"/>
                  </a:cubicBezTo>
                  <a:lnTo>
                    <a:pt x="0" y="107"/>
                  </a:lnTo>
                  <a:cubicBezTo>
                    <a:pt x="0" y="107"/>
                    <a:pt x="106" y="0"/>
                    <a:pt x="237" y="0"/>
                  </a:cubicBezTo>
                  <a:lnTo>
                    <a:pt x="237" y="0"/>
                  </a:lnTo>
                  <a:cubicBezTo>
                    <a:pt x="367" y="0"/>
                    <a:pt x="473" y="107"/>
                    <a:pt x="473" y="107"/>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71" name="Freeform 39">
              <a:extLst>
                <a:ext uri="{FF2B5EF4-FFF2-40B4-BE49-F238E27FC236}">
                  <a16:creationId xmlns:a16="http://schemas.microsoft.com/office/drawing/2014/main" id="{57CB44B5-A4D9-B547-903B-491A74D417A2}"/>
                </a:ext>
              </a:extLst>
            </p:cNvPr>
            <p:cNvSpPr>
              <a:spLocks noChangeArrowheads="1"/>
            </p:cNvSpPr>
            <p:nvPr/>
          </p:nvSpPr>
          <p:spPr bwMode="auto">
            <a:xfrm>
              <a:off x="4845050" y="1130300"/>
              <a:ext cx="69850" cy="74613"/>
            </a:xfrm>
            <a:custGeom>
              <a:avLst/>
              <a:gdLst>
                <a:gd name="T0" fmla="*/ 194 w 195"/>
                <a:gd name="T1" fmla="*/ 102 h 206"/>
                <a:gd name="T2" fmla="*/ 194 w 195"/>
                <a:gd name="T3" fmla="*/ 102 h 206"/>
                <a:gd name="T4" fmla="*/ 97 w 195"/>
                <a:gd name="T5" fmla="*/ 205 h 206"/>
                <a:gd name="T6" fmla="*/ 97 w 195"/>
                <a:gd name="T7" fmla="*/ 205 h 206"/>
                <a:gd name="T8" fmla="*/ 0 w 195"/>
                <a:gd name="T9" fmla="*/ 102 h 206"/>
                <a:gd name="T10" fmla="*/ 0 w 195"/>
                <a:gd name="T11" fmla="*/ 102 h 206"/>
                <a:gd name="T12" fmla="*/ 97 w 195"/>
                <a:gd name="T13" fmla="*/ 0 h 206"/>
                <a:gd name="T14" fmla="*/ 97 w 195"/>
                <a:gd name="T15" fmla="*/ 0 h 206"/>
                <a:gd name="T16" fmla="*/ 194 w 195"/>
                <a:gd name="T17" fmla="*/ 10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206">
                  <a:moveTo>
                    <a:pt x="194" y="102"/>
                  </a:moveTo>
                  <a:lnTo>
                    <a:pt x="194" y="102"/>
                  </a:lnTo>
                  <a:cubicBezTo>
                    <a:pt x="194" y="159"/>
                    <a:pt x="151" y="205"/>
                    <a:pt x="97" y="205"/>
                  </a:cubicBezTo>
                  <a:lnTo>
                    <a:pt x="97" y="205"/>
                  </a:lnTo>
                  <a:cubicBezTo>
                    <a:pt x="44" y="205"/>
                    <a:pt x="0" y="159"/>
                    <a:pt x="0" y="102"/>
                  </a:cubicBezTo>
                  <a:lnTo>
                    <a:pt x="0" y="102"/>
                  </a:lnTo>
                  <a:cubicBezTo>
                    <a:pt x="0" y="46"/>
                    <a:pt x="44" y="0"/>
                    <a:pt x="97" y="0"/>
                  </a:cubicBezTo>
                  <a:lnTo>
                    <a:pt x="97" y="0"/>
                  </a:lnTo>
                  <a:cubicBezTo>
                    <a:pt x="151" y="0"/>
                    <a:pt x="194" y="46"/>
                    <a:pt x="194" y="102"/>
                  </a:cubicBezTo>
                </a:path>
              </a:pathLst>
            </a:custGeom>
            <a:solidFill>
              <a:srgbClr val="1D151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72" name="Freeform 40">
              <a:extLst>
                <a:ext uri="{FF2B5EF4-FFF2-40B4-BE49-F238E27FC236}">
                  <a16:creationId xmlns:a16="http://schemas.microsoft.com/office/drawing/2014/main" id="{7A09BE54-4338-864E-B9C6-F55E2E97B508}"/>
                </a:ext>
              </a:extLst>
            </p:cNvPr>
            <p:cNvSpPr>
              <a:spLocks noChangeArrowheads="1"/>
            </p:cNvSpPr>
            <p:nvPr/>
          </p:nvSpPr>
          <p:spPr bwMode="auto">
            <a:xfrm>
              <a:off x="4875213" y="1144588"/>
              <a:ext cx="23812" cy="25400"/>
            </a:xfrm>
            <a:custGeom>
              <a:avLst/>
              <a:gdLst>
                <a:gd name="T0" fmla="*/ 66 w 67"/>
                <a:gd name="T1" fmla="*/ 35 h 70"/>
                <a:gd name="T2" fmla="*/ 66 w 67"/>
                <a:gd name="T3" fmla="*/ 35 h 70"/>
                <a:gd name="T4" fmla="*/ 33 w 67"/>
                <a:gd name="T5" fmla="*/ 69 h 70"/>
                <a:gd name="T6" fmla="*/ 33 w 67"/>
                <a:gd name="T7" fmla="*/ 69 h 70"/>
                <a:gd name="T8" fmla="*/ 0 w 67"/>
                <a:gd name="T9" fmla="*/ 35 h 70"/>
                <a:gd name="T10" fmla="*/ 0 w 67"/>
                <a:gd name="T11" fmla="*/ 35 h 70"/>
                <a:gd name="T12" fmla="*/ 33 w 67"/>
                <a:gd name="T13" fmla="*/ 0 h 70"/>
                <a:gd name="T14" fmla="*/ 33 w 67"/>
                <a:gd name="T15" fmla="*/ 0 h 70"/>
                <a:gd name="T16" fmla="*/ 66 w 67"/>
                <a:gd name="T17" fmla="*/ 3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70">
                  <a:moveTo>
                    <a:pt x="66" y="35"/>
                  </a:moveTo>
                  <a:lnTo>
                    <a:pt x="66" y="35"/>
                  </a:lnTo>
                  <a:cubicBezTo>
                    <a:pt x="66" y="54"/>
                    <a:pt x="51" y="69"/>
                    <a:pt x="33" y="69"/>
                  </a:cubicBezTo>
                  <a:lnTo>
                    <a:pt x="33" y="69"/>
                  </a:lnTo>
                  <a:cubicBezTo>
                    <a:pt x="15" y="69"/>
                    <a:pt x="0" y="54"/>
                    <a:pt x="0" y="35"/>
                  </a:cubicBezTo>
                  <a:lnTo>
                    <a:pt x="0" y="35"/>
                  </a:lnTo>
                  <a:cubicBezTo>
                    <a:pt x="0" y="16"/>
                    <a:pt x="15" y="0"/>
                    <a:pt x="33" y="0"/>
                  </a:cubicBezTo>
                  <a:lnTo>
                    <a:pt x="33" y="0"/>
                  </a:lnTo>
                  <a:cubicBezTo>
                    <a:pt x="51" y="0"/>
                    <a:pt x="66" y="16"/>
                    <a:pt x="66" y="35"/>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73" name="Freeform 41">
              <a:extLst>
                <a:ext uri="{FF2B5EF4-FFF2-40B4-BE49-F238E27FC236}">
                  <a16:creationId xmlns:a16="http://schemas.microsoft.com/office/drawing/2014/main" id="{6EB6F0EF-CB29-F149-860C-2ACFF7632DBC}"/>
                </a:ext>
              </a:extLst>
            </p:cNvPr>
            <p:cNvSpPr>
              <a:spLocks noChangeArrowheads="1"/>
            </p:cNvSpPr>
            <p:nvPr/>
          </p:nvSpPr>
          <p:spPr bwMode="auto">
            <a:xfrm>
              <a:off x="5207000" y="1127125"/>
              <a:ext cx="169863" cy="77788"/>
            </a:xfrm>
            <a:custGeom>
              <a:avLst/>
              <a:gdLst>
                <a:gd name="T0" fmla="*/ 472 w 473"/>
                <a:gd name="T1" fmla="*/ 107 h 215"/>
                <a:gd name="T2" fmla="*/ 472 w 473"/>
                <a:gd name="T3" fmla="*/ 107 h 215"/>
                <a:gd name="T4" fmla="*/ 236 w 473"/>
                <a:gd name="T5" fmla="*/ 214 h 215"/>
                <a:gd name="T6" fmla="*/ 236 w 473"/>
                <a:gd name="T7" fmla="*/ 214 h 215"/>
                <a:gd name="T8" fmla="*/ 0 w 473"/>
                <a:gd name="T9" fmla="*/ 107 h 215"/>
                <a:gd name="T10" fmla="*/ 0 w 473"/>
                <a:gd name="T11" fmla="*/ 107 h 215"/>
                <a:gd name="T12" fmla="*/ 236 w 473"/>
                <a:gd name="T13" fmla="*/ 0 h 215"/>
                <a:gd name="T14" fmla="*/ 236 w 473"/>
                <a:gd name="T15" fmla="*/ 0 h 215"/>
                <a:gd name="T16" fmla="*/ 472 w 473"/>
                <a:gd name="T17" fmla="*/ 10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3" h="215">
                  <a:moveTo>
                    <a:pt x="472" y="107"/>
                  </a:moveTo>
                  <a:lnTo>
                    <a:pt x="472" y="107"/>
                  </a:lnTo>
                  <a:cubicBezTo>
                    <a:pt x="472" y="107"/>
                    <a:pt x="366" y="214"/>
                    <a:pt x="236" y="214"/>
                  </a:cubicBezTo>
                  <a:lnTo>
                    <a:pt x="236" y="214"/>
                  </a:lnTo>
                  <a:cubicBezTo>
                    <a:pt x="105" y="214"/>
                    <a:pt x="0" y="107"/>
                    <a:pt x="0" y="107"/>
                  </a:cubicBezTo>
                  <a:lnTo>
                    <a:pt x="0" y="107"/>
                  </a:lnTo>
                  <a:cubicBezTo>
                    <a:pt x="0" y="107"/>
                    <a:pt x="105" y="0"/>
                    <a:pt x="236" y="0"/>
                  </a:cubicBezTo>
                  <a:lnTo>
                    <a:pt x="236" y="0"/>
                  </a:lnTo>
                  <a:cubicBezTo>
                    <a:pt x="366" y="0"/>
                    <a:pt x="472" y="107"/>
                    <a:pt x="472" y="107"/>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74" name="Freeform 42">
              <a:extLst>
                <a:ext uri="{FF2B5EF4-FFF2-40B4-BE49-F238E27FC236}">
                  <a16:creationId xmlns:a16="http://schemas.microsoft.com/office/drawing/2014/main" id="{CE10A655-6592-254D-BAE7-6E24F585C734}"/>
                </a:ext>
              </a:extLst>
            </p:cNvPr>
            <p:cNvSpPr>
              <a:spLocks noChangeArrowheads="1"/>
            </p:cNvSpPr>
            <p:nvPr/>
          </p:nvSpPr>
          <p:spPr bwMode="auto">
            <a:xfrm>
              <a:off x="5257800" y="1130300"/>
              <a:ext cx="69850" cy="74613"/>
            </a:xfrm>
            <a:custGeom>
              <a:avLst/>
              <a:gdLst>
                <a:gd name="T0" fmla="*/ 193 w 194"/>
                <a:gd name="T1" fmla="*/ 102 h 206"/>
                <a:gd name="T2" fmla="*/ 193 w 194"/>
                <a:gd name="T3" fmla="*/ 102 h 206"/>
                <a:gd name="T4" fmla="*/ 96 w 194"/>
                <a:gd name="T5" fmla="*/ 205 h 206"/>
                <a:gd name="T6" fmla="*/ 96 w 194"/>
                <a:gd name="T7" fmla="*/ 205 h 206"/>
                <a:gd name="T8" fmla="*/ 0 w 194"/>
                <a:gd name="T9" fmla="*/ 102 h 206"/>
                <a:gd name="T10" fmla="*/ 0 w 194"/>
                <a:gd name="T11" fmla="*/ 102 h 206"/>
                <a:gd name="T12" fmla="*/ 96 w 194"/>
                <a:gd name="T13" fmla="*/ 0 h 206"/>
                <a:gd name="T14" fmla="*/ 96 w 194"/>
                <a:gd name="T15" fmla="*/ 0 h 206"/>
                <a:gd name="T16" fmla="*/ 193 w 194"/>
                <a:gd name="T17" fmla="*/ 10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206">
                  <a:moveTo>
                    <a:pt x="193" y="102"/>
                  </a:moveTo>
                  <a:lnTo>
                    <a:pt x="193" y="102"/>
                  </a:lnTo>
                  <a:cubicBezTo>
                    <a:pt x="193" y="159"/>
                    <a:pt x="150" y="205"/>
                    <a:pt x="96" y="205"/>
                  </a:cubicBezTo>
                  <a:lnTo>
                    <a:pt x="96" y="205"/>
                  </a:lnTo>
                  <a:cubicBezTo>
                    <a:pt x="43" y="205"/>
                    <a:pt x="0" y="159"/>
                    <a:pt x="0" y="102"/>
                  </a:cubicBezTo>
                  <a:lnTo>
                    <a:pt x="0" y="102"/>
                  </a:lnTo>
                  <a:cubicBezTo>
                    <a:pt x="0" y="46"/>
                    <a:pt x="43" y="0"/>
                    <a:pt x="96" y="0"/>
                  </a:cubicBezTo>
                  <a:lnTo>
                    <a:pt x="96" y="0"/>
                  </a:lnTo>
                  <a:cubicBezTo>
                    <a:pt x="150" y="0"/>
                    <a:pt x="193" y="46"/>
                    <a:pt x="193" y="102"/>
                  </a:cubicBezTo>
                </a:path>
              </a:pathLst>
            </a:custGeom>
            <a:solidFill>
              <a:srgbClr val="1D151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75" name="Freeform 43">
              <a:extLst>
                <a:ext uri="{FF2B5EF4-FFF2-40B4-BE49-F238E27FC236}">
                  <a16:creationId xmlns:a16="http://schemas.microsoft.com/office/drawing/2014/main" id="{2AB17085-26E3-E648-ADC6-43B43070435B}"/>
                </a:ext>
              </a:extLst>
            </p:cNvPr>
            <p:cNvSpPr>
              <a:spLocks noChangeArrowheads="1"/>
            </p:cNvSpPr>
            <p:nvPr/>
          </p:nvSpPr>
          <p:spPr bwMode="auto">
            <a:xfrm>
              <a:off x="5289550" y="1144588"/>
              <a:ext cx="23813" cy="25400"/>
            </a:xfrm>
            <a:custGeom>
              <a:avLst/>
              <a:gdLst>
                <a:gd name="T0" fmla="*/ 65 w 66"/>
                <a:gd name="T1" fmla="*/ 35 h 70"/>
                <a:gd name="T2" fmla="*/ 65 w 66"/>
                <a:gd name="T3" fmla="*/ 35 h 70"/>
                <a:gd name="T4" fmla="*/ 32 w 66"/>
                <a:gd name="T5" fmla="*/ 69 h 70"/>
                <a:gd name="T6" fmla="*/ 32 w 66"/>
                <a:gd name="T7" fmla="*/ 69 h 70"/>
                <a:gd name="T8" fmla="*/ 0 w 66"/>
                <a:gd name="T9" fmla="*/ 35 h 70"/>
                <a:gd name="T10" fmla="*/ 0 w 66"/>
                <a:gd name="T11" fmla="*/ 35 h 70"/>
                <a:gd name="T12" fmla="*/ 32 w 66"/>
                <a:gd name="T13" fmla="*/ 0 h 70"/>
                <a:gd name="T14" fmla="*/ 32 w 66"/>
                <a:gd name="T15" fmla="*/ 0 h 70"/>
                <a:gd name="T16" fmla="*/ 65 w 66"/>
                <a:gd name="T17" fmla="*/ 3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70">
                  <a:moveTo>
                    <a:pt x="65" y="35"/>
                  </a:moveTo>
                  <a:lnTo>
                    <a:pt x="65" y="35"/>
                  </a:lnTo>
                  <a:cubicBezTo>
                    <a:pt x="65" y="54"/>
                    <a:pt x="50" y="69"/>
                    <a:pt x="32" y="69"/>
                  </a:cubicBezTo>
                  <a:lnTo>
                    <a:pt x="32" y="69"/>
                  </a:lnTo>
                  <a:cubicBezTo>
                    <a:pt x="14" y="69"/>
                    <a:pt x="0" y="54"/>
                    <a:pt x="0" y="35"/>
                  </a:cubicBezTo>
                  <a:lnTo>
                    <a:pt x="0" y="35"/>
                  </a:lnTo>
                  <a:cubicBezTo>
                    <a:pt x="0" y="16"/>
                    <a:pt x="14" y="0"/>
                    <a:pt x="32" y="0"/>
                  </a:cubicBezTo>
                  <a:lnTo>
                    <a:pt x="32" y="0"/>
                  </a:lnTo>
                  <a:cubicBezTo>
                    <a:pt x="50" y="0"/>
                    <a:pt x="65" y="16"/>
                    <a:pt x="65" y="35"/>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76" name="Freeform 44">
              <a:extLst>
                <a:ext uri="{FF2B5EF4-FFF2-40B4-BE49-F238E27FC236}">
                  <a16:creationId xmlns:a16="http://schemas.microsoft.com/office/drawing/2014/main" id="{890BF146-117E-1740-B917-44E1E6D8F63E}"/>
                </a:ext>
              </a:extLst>
            </p:cNvPr>
            <p:cNvSpPr>
              <a:spLocks noChangeArrowheads="1"/>
            </p:cNvSpPr>
            <p:nvPr/>
          </p:nvSpPr>
          <p:spPr bwMode="auto">
            <a:xfrm>
              <a:off x="4979988" y="1519238"/>
              <a:ext cx="217487" cy="100012"/>
            </a:xfrm>
            <a:custGeom>
              <a:avLst/>
              <a:gdLst>
                <a:gd name="T0" fmla="*/ 0 w 602"/>
                <a:gd name="T1" fmla="*/ 0 h 276"/>
                <a:gd name="T2" fmla="*/ 0 w 602"/>
                <a:gd name="T3" fmla="*/ 0 h 276"/>
                <a:gd name="T4" fmla="*/ 10 w 602"/>
                <a:gd name="T5" fmla="*/ 34 h 276"/>
                <a:gd name="T6" fmla="*/ 10 w 602"/>
                <a:gd name="T7" fmla="*/ 34 h 276"/>
                <a:gd name="T8" fmla="*/ 142 w 602"/>
                <a:gd name="T9" fmla="*/ 218 h 276"/>
                <a:gd name="T10" fmla="*/ 142 w 602"/>
                <a:gd name="T11" fmla="*/ 218 h 276"/>
                <a:gd name="T12" fmla="*/ 300 w 602"/>
                <a:gd name="T13" fmla="*/ 275 h 276"/>
                <a:gd name="T14" fmla="*/ 300 w 602"/>
                <a:gd name="T15" fmla="*/ 275 h 276"/>
                <a:gd name="T16" fmla="*/ 459 w 602"/>
                <a:gd name="T17" fmla="*/ 218 h 276"/>
                <a:gd name="T18" fmla="*/ 459 w 602"/>
                <a:gd name="T19" fmla="*/ 218 h 276"/>
                <a:gd name="T20" fmla="*/ 591 w 602"/>
                <a:gd name="T21" fmla="*/ 34 h 276"/>
                <a:gd name="T22" fmla="*/ 591 w 602"/>
                <a:gd name="T23" fmla="*/ 34 h 276"/>
                <a:gd name="T24" fmla="*/ 601 w 602"/>
                <a:gd name="T25" fmla="*/ 0 h 276"/>
                <a:gd name="T26" fmla="*/ 0 w 602"/>
                <a:gd name="T27"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2" h="276">
                  <a:moveTo>
                    <a:pt x="0" y="0"/>
                  </a:moveTo>
                  <a:lnTo>
                    <a:pt x="0" y="0"/>
                  </a:lnTo>
                  <a:cubicBezTo>
                    <a:pt x="0" y="0"/>
                    <a:pt x="3" y="14"/>
                    <a:pt x="10" y="34"/>
                  </a:cubicBezTo>
                  <a:lnTo>
                    <a:pt x="10" y="34"/>
                  </a:lnTo>
                  <a:cubicBezTo>
                    <a:pt x="27" y="80"/>
                    <a:pt x="66" y="162"/>
                    <a:pt x="142" y="218"/>
                  </a:cubicBezTo>
                  <a:lnTo>
                    <a:pt x="142" y="218"/>
                  </a:lnTo>
                  <a:cubicBezTo>
                    <a:pt x="183" y="248"/>
                    <a:pt x="235" y="270"/>
                    <a:pt x="300" y="275"/>
                  </a:cubicBezTo>
                  <a:lnTo>
                    <a:pt x="300" y="275"/>
                  </a:lnTo>
                  <a:cubicBezTo>
                    <a:pt x="366" y="270"/>
                    <a:pt x="418" y="248"/>
                    <a:pt x="459" y="218"/>
                  </a:cubicBezTo>
                  <a:lnTo>
                    <a:pt x="459" y="218"/>
                  </a:lnTo>
                  <a:cubicBezTo>
                    <a:pt x="535" y="162"/>
                    <a:pt x="574" y="80"/>
                    <a:pt x="591" y="34"/>
                  </a:cubicBezTo>
                  <a:lnTo>
                    <a:pt x="591" y="34"/>
                  </a:lnTo>
                  <a:cubicBezTo>
                    <a:pt x="598" y="14"/>
                    <a:pt x="601" y="0"/>
                    <a:pt x="601" y="0"/>
                  </a:cubicBezTo>
                  <a:lnTo>
                    <a:pt x="0" y="0"/>
                  </a:lnTo>
                </a:path>
              </a:pathLst>
            </a:custGeom>
            <a:solidFill>
              <a:srgbClr val="E87B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77" name="Freeform 45">
              <a:extLst>
                <a:ext uri="{FF2B5EF4-FFF2-40B4-BE49-F238E27FC236}">
                  <a16:creationId xmlns:a16="http://schemas.microsoft.com/office/drawing/2014/main" id="{12E30CBA-C538-4448-B1D5-E962003AD5B7}"/>
                </a:ext>
              </a:extLst>
            </p:cNvPr>
            <p:cNvSpPr>
              <a:spLocks noChangeArrowheads="1"/>
            </p:cNvSpPr>
            <p:nvPr/>
          </p:nvSpPr>
          <p:spPr bwMode="auto">
            <a:xfrm>
              <a:off x="4970463" y="1512888"/>
              <a:ext cx="233362" cy="115887"/>
            </a:xfrm>
            <a:custGeom>
              <a:avLst/>
              <a:gdLst>
                <a:gd name="T0" fmla="*/ 56 w 650"/>
                <a:gd name="T1" fmla="*/ 48 h 322"/>
                <a:gd name="T2" fmla="*/ 56 w 650"/>
                <a:gd name="T3" fmla="*/ 48 h 322"/>
                <a:gd name="T4" fmla="*/ 56 w 650"/>
                <a:gd name="T5" fmla="*/ 48 h 322"/>
                <a:gd name="T6" fmla="*/ 56 w 650"/>
                <a:gd name="T7" fmla="*/ 48 h 322"/>
                <a:gd name="T8" fmla="*/ 180 w 650"/>
                <a:gd name="T9" fmla="*/ 219 h 322"/>
                <a:gd name="T10" fmla="*/ 180 w 650"/>
                <a:gd name="T11" fmla="*/ 219 h 322"/>
                <a:gd name="T12" fmla="*/ 324 w 650"/>
                <a:gd name="T13" fmla="*/ 272 h 322"/>
                <a:gd name="T14" fmla="*/ 324 w 650"/>
                <a:gd name="T15" fmla="*/ 272 h 322"/>
                <a:gd name="T16" fmla="*/ 470 w 650"/>
                <a:gd name="T17" fmla="*/ 219 h 322"/>
                <a:gd name="T18" fmla="*/ 470 w 650"/>
                <a:gd name="T19" fmla="*/ 219 h 322"/>
                <a:gd name="T20" fmla="*/ 594 w 650"/>
                <a:gd name="T21" fmla="*/ 48 h 322"/>
                <a:gd name="T22" fmla="*/ 594 w 650"/>
                <a:gd name="T23" fmla="*/ 48 h 322"/>
                <a:gd name="T24" fmla="*/ 594 w 650"/>
                <a:gd name="T25" fmla="*/ 48 h 322"/>
                <a:gd name="T26" fmla="*/ 56 w 650"/>
                <a:gd name="T27" fmla="*/ 48 h 322"/>
                <a:gd name="T28" fmla="*/ 324 w 650"/>
                <a:gd name="T29" fmla="*/ 321 h 322"/>
                <a:gd name="T30" fmla="*/ 324 w 650"/>
                <a:gd name="T31" fmla="*/ 321 h 322"/>
                <a:gd name="T32" fmla="*/ 323 w 650"/>
                <a:gd name="T33" fmla="*/ 321 h 322"/>
                <a:gd name="T34" fmla="*/ 323 w 650"/>
                <a:gd name="T35" fmla="*/ 321 h 322"/>
                <a:gd name="T36" fmla="*/ 153 w 650"/>
                <a:gd name="T37" fmla="*/ 259 h 322"/>
                <a:gd name="T38" fmla="*/ 153 w 650"/>
                <a:gd name="T39" fmla="*/ 259 h 322"/>
                <a:gd name="T40" fmla="*/ 13 w 650"/>
                <a:gd name="T41" fmla="*/ 64 h 322"/>
                <a:gd name="T42" fmla="*/ 13 w 650"/>
                <a:gd name="T43" fmla="*/ 64 h 322"/>
                <a:gd name="T44" fmla="*/ 1 w 650"/>
                <a:gd name="T45" fmla="*/ 28 h 322"/>
                <a:gd name="T46" fmla="*/ 1 w 650"/>
                <a:gd name="T47" fmla="*/ 28 h 322"/>
                <a:gd name="T48" fmla="*/ 6 w 650"/>
                <a:gd name="T49" fmla="*/ 8 h 322"/>
                <a:gd name="T50" fmla="*/ 6 w 650"/>
                <a:gd name="T51" fmla="*/ 8 h 322"/>
                <a:gd name="T52" fmla="*/ 24 w 650"/>
                <a:gd name="T53" fmla="*/ 0 h 322"/>
                <a:gd name="T54" fmla="*/ 625 w 650"/>
                <a:gd name="T55" fmla="*/ 0 h 322"/>
                <a:gd name="T56" fmla="*/ 625 w 650"/>
                <a:gd name="T57" fmla="*/ 0 h 322"/>
                <a:gd name="T58" fmla="*/ 644 w 650"/>
                <a:gd name="T59" fmla="*/ 8 h 322"/>
                <a:gd name="T60" fmla="*/ 644 w 650"/>
                <a:gd name="T61" fmla="*/ 8 h 322"/>
                <a:gd name="T62" fmla="*/ 648 w 650"/>
                <a:gd name="T63" fmla="*/ 28 h 322"/>
                <a:gd name="T64" fmla="*/ 648 w 650"/>
                <a:gd name="T65" fmla="*/ 28 h 322"/>
                <a:gd name="T66" fmla="*/ 636 w 650"/>
                <a:gd name="T67" fmla="*/ 65 h 322"/>
                <a:gd name="T68" fmla="*/ 636 w 650"/>
                <a:gd name="T69" fmla="*/ 65 h 322"/>
                <a:gd name="T70" fmla="*/ 496 w 650"/>
                <a:gd name="T71" fmla="*/ 259 h 322"/>
                <a:gd name="T72" fmla="*/ 496 w 650"/>
                <a:gd name="T73" fmla="*/ 259 h 322"/>
                <a:gd name="T74" fmla="*/ 326 w 650"/>
                <a:gd name="T75" fmla="*/ 321 h 322"/>
                <a:gd name="T76" fmla="*/ 326 w 650"/>
                <a:gd name="T77" fmla="*/ 321 h 322"/>
                <a:gd name="T78" fmla="*/ 324 w 650"/>
                <a:gd name="T79" fmla="*/ 32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50" h="322">
                  <a:moveTo>
                    <a:pt x="56" y="48"/>
                  </a:moveTo>
                  <a:lnTo>
                    <a:pt x="56" y="48"/>
                  </a:lnTo>
                  <a:lnTo>
                    <a:pt x="56" y="48"/>
                  </a:lnTo>
                  <a:lnTo>
                    <a:pt x="56" y="48"/>
                  </a:lnTo>
                  <a:cubicBezTo>
                    <a:pt x="71" y="89"/>
                    <a:pt x="107" y="167"/>
                    <a:pt x="180" y="219"/>
                  </a:cubicBezTo>
                  <a:lnTo>
                    <a:pt x="180" y="219"/>
                  </a:lnTo>
                  <a:cubicBezTo>
                    <a:pt x="221" y="250"/>
                    <a:pt x="271" y="267"/>
                    <a:pt x="324" y="272"/>
                  </a:cubicBezTo>
                  <a:lnTo>
                    <a:pt x="324" y="272"/>
                  </a:lnTo>
                  <a:cubicBezTo>
                    <a:pt x="379" y="267"/>
                    <a:pt x="428" y="250"/>
                    <a:pt x="470" y="219"/>
                  </a:cubicBezTo>
                  <a:lnTo>
                    <a:pt x="470" y="219"/>
                  </a:lnTo>
                  <a:cubicBezTo>
                    <a:pt x="542" y="167"/>
                    <a:pt x="578" y="89"/>
                    <a:pt x="594" y="48"/>
                  </a:cubicBezTo>
                  <a:lnTo>
                    <a:pt x="594" y="48"/>
                  </a:lnTo>
                  <a:lnTo>
                    <a:pt x="594" y="48"/>
                  </a:lnTo>
                  <a:lnTo>
                    <a:pt x="56" y="48"/>
                  </a:lnTo>
                  <a:close/>
                  <a:moveTo>
                    <a:pt x="324" y="321"/>
                  </a:moveTo>
                  <a:lnTo>
                    <a:pt x="324" y="321"/>
                  </a:lnTo>
                  <a:lnTo>
                    <a:pt x="323" y="321"/>
                  </a:lnTo>
                  <a:lnTo>
                    <a:pt x="323" y="321"/>
                  </a:lnTo>
                  <a:cubicBezTo>
                    <a:pt x="259" y="315"/>
                    <a:pt x="202" y="295"/>
                    <a:pt x="153" y="259"/>
                  </a:cubicBezTo>
                  <a:lnTo>
                    <a:pt x="153" y="259"/>
                  </a:lnTo>
                  <a:cubicBezTo>
                    <a:pt x="71" y="199"/>
                    <a:pt x="30" y="111"/>
                    <a:pt x="13" y="64"/>
                  </a:cubicBezTo>
                  <a:lnTo>
                    <a:pt x="13" y="64"/>
                  </a:lnTo>
                  <a:cubicBezTo>
                    <a:pt x="5" y="42"/>
                    <a:pt x="1" y="28"/>
                    <a:pt x="1" y="28"/>
                  </a:cubicBezTo>
                  <a:lnTo>
                    <a:pt x="1" y="28"/>
                  </a:lnTo>
                  <a:cubicBezTo>
                    <a:pt x="0" y="20"/>
                    <a:pt x="1" y="14"/>
                    <a:pt x="6" y="8"/>
                  </a:cubicBezTo>
                  <a:lnTo>
                    <a:pt x="6" y="8"/>
                  </a:lnTo>
                  <a:cubicBezTo>
                    <a:pt x="10" y="2"/>
                    <a:pt x="17" y="0"/>
                    <a:pt x="24" y="0"/>
                  </a:cubicBezTo>
                  <a:lnTo>
                    <a:pt x="625" y="0"/>
                  </a:lnTo>
                  <a:lnTo>
                    <a:pt x="625" y="0"/>
                  </a:lnTo>
                  <a:cubicBezTo>
                    <a:pt x="632" y="0"/>
                    <a:pt x="639" y="2"/>
                    <a:pt x="644" y="8"/>
                  </a:cubicBezTo>
                  <a:lnTo>
                    <a:pt x="644" y="8"/>
                  </a:lnTo>
                  <a:cubicBezTo>
                    <a:pt x="648" y="14"/>
                    <a:pt x="649" y="21"/>
                    <a:pt x="648" y="28"/>
                  </a:cubicBezTo>
                  <a:lnTo>
                    <a:pt x="648" y="28"/>
                  </a:lnTo>
                  <a:cubicBezTo>
                    <a:pt x="648" y="29"/>
                    <a:pt x="644" y="43"/>
                    <a:pt x="636" y="65"/>
                  </a:cubicBezTo>
                  <a:lnTo>
                    <a:pt x="636" y="65"/>
                  </a:lnTo>
                  <a:cubicBezTo>
                    <a:pt x="619" y="112"/>
                    <a:pt x="578" y="199"/>
                    <a:pt x="496" y="259"/>
                  </a:cubicBezTo>
                  <a:lnTo>
                    <a:pt x="496" y="259"/>
                  </a:lnTo>
                  <a:cubicBezTo>
                    <a:pt x="447" y="295"/>
                    <a:pt x="390" y="315"/>
                    <a:pt x="326" y="321"/>
                  </a:cubicBezTo>
                  <a:lnTo>
                    <a:pt x="326" y="321"/>
                  </a:lnTo>
                  <a:cubicBezTo>
                    <a:pt x="326" y="321"/>
                    <a:pt x="325" y="321"/>
                    <a:pt x="324" y="321"/>
                  </a:cubicBezTo>
                  <a:close/>
                </a:path>
              </a:pathLst>
            </a:custGeom>
            <a:solidFill>
              <a:srgbClr val="EFD4B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78" name="Freeform 46">
              <a:extLst>
                <a:ext uri="{FF2B5EF4-FFF2-40B4-BE49-F238E27FC236}">
                  <a16:creationId xmlns:a16="http://schemas.microsoft.com/office/drawing/2014/main" id="{A3405EC7-CB69-304C-9BF4-C298AC3134F2}"/>
                </a:ext>
              </a:extLst>
            </p:cNvPr>
            <p:cNvSpPr>
              <a:spLocks noChangeArrowheads="1"/>
            </p:cNvSpPr>
            <p:nvPr/>
          </p:nvSpPr>
          <p:spPr bwMode="auto">
            <a:xfrm>
              <a:off x="5030788" y="1598613"/>
              <a:ext cx="114300" cy="20637"/>
            </a:xfrm>
            <a:custGeom>
              <a:avLst/>
              <a:gdLst>
                <a:gd name="T0" fmla="*/ 317 w 318"/>
                <a:gd name="T1" fmla="*/ 0 h 58"/>
                <a:gd name="T2" fmla="*/ 0 w 318"/>
                <a:gd name="T3" fmla="*/ 0 h 58"/>
                <a:gd name="T4" fmla="*/ 0 w 318"/>
                <a:gd name="T5" fmla="*/ 0 h 58"/>
                <a:gd name="T6" fmla="*/ 158 w 318"/>
                <a:gd name="T7" fmla="*/ 57 h 58"/>
                <a:gd name="T8" fmla="*/ 158 w 318"/>
                <a:gd name="T9" fmla="*/ 57 h 58"/>
                <a:gd name="T10" fmla="*/ 317 w 318"/>
                <a:gd name="T11" fmla="*/ 0 h 58"/>
              </a:gdLst>
              <a:ahLst/>
              <a:cxnLst>
                <a:cxn ang="0">
                  <a:pos x="T0" y="T1"/>
                </a:cxn>
                <a:cxn ang="0">
                  <a:pos x="T2" y="T3"/>
                </a:cxn>
                <a:cxn ang="0">
                  <a:pos x="T4" y="T5"/>
                </a:cxn>
                <a:cxn ang="0">
                  <a:pos x="T6" y="T7"/>
                </a:cxn>
                <a:cxn ang="0">
                  <a:pos x="T8" y="T9"/>
                </a:cxn>
                <a:cxn ang="0">
                  <a:pos x="T10" y="T11"/>
                </a:cxn>
              </a:cxnLst>
              <a:rect l="0" t="0" r="r" b="b"/>
              <a:pathLst>
                <a:path w="318" h="58">
                  <a:moveTo>
                    <a:pt x="317" y="0"/>
                  </a:moveTo>
                  <a:lnTo>
                    <a:pt x="0" y="0"/>
                  </a:lnTo>
                  <a:lnTo>
                    <a:pt x="0" y="0"/>
                  </a:lnTo>
                  <a:cubicBezTo>
                    <a:pt x="41" y="30"/>
                    <a:pt x="93" y="53"/>
                    <a:pt x="158" y="57"/>
                  </a:cubicBezTo>
                  <a:lnTo>
                    <a:pt x="158" y="57"/>
                  </a:lnTo>
                  <a:cubicBezTo>
                    <a:pt x="224" y="53"/>
                    <a:pt x="276" y="30"/>
                    <a:pt x="317"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79" name="Freeform 47">
              <a:extLst>
                <a:ext uri="{FF2B5EF4-FFF2-40B4-BE49-F238E27FC236}">
                  <a16:creationId xmlns:a16="http://schemas.microsoft.com/office/drawing/2014/main" id="{CF00EE85-5586-6343-A814-52A97185187F}"/>
                </a:ext>
              </a:extLst>
            </p:cNvPr>
            <p:cNvSpPr>
              <a:spLocks noChangeArrowheads="1"/>
            </p:cNvSpPr>
            <p:nvPr/>
          </p:nvSpPr>
          <p:spPr bwMode="auto">
            <a:xfrm>
              <a:off x="4979988" y="1520825"/>
              <a:ext cx="217487" cy="20638"/>
            </a:xfrm>
            <a:custGeom>
              <a:avLst/>
              <a:gdLst>
                <a:gd name="T0" fmla="*/ 0 w 602"/>
                <a:gd name="T1" fmla="*/ 0 h 56"/>
                <a:gd name="T2" fmla="*/ 0 w 602"/>
                <a:gd name="T3" fmla="*/ 0 h 56"/>
                <a:gd name="T4" fmla="*/ 10 w 602"/>
                <a:gd name="T5" fmla="*/ 33 h 56"/>
                <a:gd name="T6" fmla="*/ 10 w 602"/>
                <a:gd name="T7" fmla="*/ 33 h 56"/>
                <a:gd name="T8" fmla="*/ 18 w 602"/>
                <a:gd name="T9" fmla="*/ 55 h 56"/>
                <a:gd name="T10" fmla="*/ 582 w 602"/>
                <a:gd name="T11" fmla="*/ 55 h 56"/>
                <a:gd name="T12" fmla="*/ 582 w 602"/>
                <a:gd name="T13" fmla="*/ 55 h 56"/>
                <a:gd name="T14" fmla="*/ 591 w 602"/>
                <a:gd name="T15" fmla="*/ 33 h 56"/>
                <a:gd name="T16" fmla="*/ 591 w 602"/>
                <a:gd name="T17" fmla="*/ 33 h 56"/>
                <a:gd name="T18" fmla="*/ 601 w 602"/>
                <a:gd name="T19" fmla="*/ 0 h 56"/>
                <a:gd name="T20" fmla="*/ 0 w 602"/>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2" h="56">
                  <a:moveTo>
                    <a:pt x="0" y="0"/>
                  </a:moveTo>
                  <a:lnTo>
                    <a:pt x="0" y="0"/>
                  </a:lnTo>
                  <a:cubicBezTo>
                    <a:pt x="0" y="0"/>
                    <a:pt x="3" y="13"/>
                    <a:pt x="10" y="33"/>
                  </a:cubicBezTo>
                  <a:lnTo>
                    <a:pt x="10" y="33"/>
                  </a:lnTo>
                  <a:cubicBezTo>
                    <a:pt x="13" y="40"/>
                    <a:pt x="15" y="47"/>
                    <a:pt x="18" y="55"/>
                  </a:cubicBezTo>
                  <a:lnTo>
                    <a:pt x="582" y="55"/>
                  </a:lnTo>
                  <a:lnTo>
                    <a:pt x="582" y="55"/>
                  </a:lnTo>
                  <a:cubicBezTo>
                    <a:pt x="586" y="47"/>
                    <a:pt x="588" y="40"/>
                    <a:pt x="591" y="33"/>
                  </a:cubicBezTo>
                  <a:lnTo>
                    <a:pt x="591" y="33"/>
                  </a:lnTo>
                  <a:cubicBezTo>
                    <a:pt x="598" y="13"/>
                    <a:pt x="601" y="0"/>
                    <a:pt x="601" y="0"/>
                  </a:cubicBezTo>
                  <a:lnTo>
                    <a:pt x="0"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80" name="Freeform 48">
              <a:extLst>
                <a:ext uri="{FF2B5EF4-FFF2-40B4-BE49-F238E27FC236}">
                  <a16:creationId xmlns:a16="http://schemas.microsoft.com/office/drawing/2014/main" id="{73C759C5-144E-A14F-8C64-5DBC3220CC2E}"/>
                </a:ext>
              </a:extLst>
            </p:cNvPr>
            <p:cNvSpPr>
              <a:spLocks noChangeArrowheads="1"/>
            </p:cNvSpPr>
            <p:nvPr/>
          </p:nvSpPr>
          <p:spPr bwMode="auto">
            <a:xfrm>
              <a:off x="4986338" y="1539875"/>
              <a:ext cx="203200" cy="58738"/>
            </a:xfrm>
            <a:custGeom>
              <a:avLst/>
              <a:gdLst>
                <a:gd name="T0" fmla="*/ 0 w 565"/>
                <a:gd name="T1" fmla="*/ 0 h 163"/>
                <a:gd name="T2" fmla="*/ 0 w 565"/>
                <a:gd name="T3" fmla="*/ 0 h 163"/>
                <a:gd name="T4" fmla="*/ 124 w 565"/>
                <a:gd name="T5" fmla="*/ 162 h 163"/>
                <a:gd name="T6" fmla="*/ 441 w 565"/>
                <a:gd name="T7" fmla="*/ 162 h 163"/>
                <a:gd name="T8" fmla="*/ 441 w 565"/>
                <a:gd name="T9" fmla="*/ 162 h 163"/>
                <a:gd name="T10" fmla="*/ 564 w 565"/>
                <a:gd name="T11" fmla="*/ 0 h 163"/>
                <a:gd name="T12" fmla="*/ 0 w 565"/>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565" h="163">
                  <a:moveTo>
                    <a:pt x="0" y="0"/>
                  </a:moveTo>
                  <a:lnTo>
                    <a:pt x="0" y="0"/>
                  </a:lnTo>
                  <a:cubicBezTo>
                    <a:pt x="20" y="46"/>
                    <a:pt x="58" y="114"/>
                    <a:pt x="124" y="162"/>
                  </a:cubicBezTo>
                  <a:lnTo>
                    <a:pt x="441" y="162"/>
                  </a:lnTo>
                  <a:lnTo>
                    <a:pt x="441" y="162"/>
                  </a:lnTo>
                  <a:cubicBezTo>
                    <a:pt x="507" y="114"/>
                    <a:pt x="544" y="46"/>
                    <a:pt x="564" y="0"/>
                  </a:cubicBezTo>
                  <a:lnTo>
                    <a:pt x="0" y="0"/>
                  </a:lnTo>
                </a:path>
              </a:pathLst>
            </a:custGeom>
            <a:solidFill>
              <a:srgbClr val="E87B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81" name="Freeform 49">
              <a:extLst>
                <a:ext uri="{FF2B5EF4-FFF2-40B4-BE49-F238E27FC236}">
                  <a16:creationId xmlns:a16="http://schemas.microsoft.com/office/drawing/2014/main" id="{4B3AD34A-FF82-A243-B695-1FBB26BC5610}"/>
                </a:ext>
              </a:extLst>
            </p:cNvPr>
            <p:cNvSpPr>
              <a:spLocks noChangeArrowheads="1"/>
            </p:cNvSpPr>
            <p:nvPr/>
          </p:nvSpPr>
          <p:spPr bwMode="auto">
            <a:xfrm>
              <a:off x="5232400" y="1952625"/>
              <a:ext cx="655638" cy="2265363"/>
            </a:xfrm>
            <a:custGeom>
              <a:avLst/>
              <a:gdLst>
                <a:gd name="T0" fmla="*/ 211 w 1820"/>
                <a:gd name="T1" fmla="*/ 417 h 6293"/>
                <a:gd name="T2" fmla="*/ 281 w 1820"/>
                <a:gd name="T3" fmla="*/ 0 h 6293"/>
                <a:gd name="T4" fmla="*/ 1256 w 1820"/>
                <a:gd name="T5" fmla="*/ 321 h 6293"/>
                <a:gd name="T6" fmla="*/ 1256 w 1820"/>
                <a:gd name="T7" fmla="*/ 321 h 6293"/>
                <a:gd name="T8" fmla="*/ 1752 w 1820"/>
                <a:gd name="T9" fmla="*/ 986 h 6293"/>
                <a:gd name="T10" fmla="*/ 1752 w 1820"/>
                <a:gd name="T11" fmla="*/ 986 h 6293"/>
                <a:gd name="T12" fmla="*/ 1790 w 1820"/>
                <a:gd name="T13" fmla="*/ 4594 h 6293"/>
                <a:gd name="T14" fmla="*/ 1745 w 1820"/>
                <a:gd name="T15" fmla="*/ 6292 h 6293"/>
                <a:gd name="T16" fmla="*/ 1238 w 1820"/>
                <a:gd name="T17" fmla="*/ 6292 h 6293"/>
                <a:gd name="T18" fmla="*/ 1137 w 1820"/>
                <a:gd name="T19" fmla="*/ 4099 h 6293"/>
                <a:gd name="T20" fmla="*/ 1038 w 1820"/>
                <a:gd name="T21" fmla="*/ 2849 h 6293"/>
                <a:gd name="T22" fmla="*/ 968 w 1820"/>
                <a:gd name="T23" fmla="*/ 5253 h 6293"/>
                <a:gd name="T24" fmla="*/ 0 w 1820"/>
                <a:gd name="T25" fmla="*/ 5505 h 6293"/>
                <a:gd name="T26" fmla="*/ 0 w 1820"/>
                <a:gd name="T27" fmla="*/ 1937 h 6293"/>
                <a:gd name="T28" fmla="*/ 0 w 1820"/>
                <a:gd name="T29" fmla="*/ 1937 h 6293"/>
                <a:gd name="T30" fmla="*/ 211 w 1820"/>
                <a:gd name="T31" fmla="*/ 417 h 6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20" h="6293">
                  <a:moveTo>
                    <a:pt x="211" y="417"/>
                  </a:moveTo>
                  <a:lnTo>
                    <a:pt x="281" y="0"/>
                  </a:lnTo>
                  <a:lnTo>
                    <a:pt x="1256" y="321"/>
                  </a:lnTo>
                  <a:lnTo>
                    <a:pt x="1256" y="321"/>
                  </a:lnTo>
                  <a:cubicBezTo>
                    <a:pt x="1256" y="321"/>
                    <a:pt x="1684" y="480"/>
                    <a:pt x="1752" y="986"/>
                  </a:cubicBezTo>
                  <a:lnTo>
                    <a:pt x="1752" y="986"/>
                  </a:lnTo>
                  <a:cubicBezTo>
                    <a:pt x="1819" y="1493"/>
                    <a:pt x="1790" y="4594"/>
                    <a:pt x="1790" y="4594"/>
                  </a:cubicBezTo>
                  <a:lnTo>
                    <a:pt x="1745" y="6292"/>
                  </a:lnTo>
                  <a:lnTo>
                    <a:pt x="1238" y="6292"/>
                  </a:lnTo>
                  <a:lnTo>
                    <a:pt x="1137" y="4099"/>
                  </a:lnTo>
                  <a:lnTo>
                    <a:pt x="1038" y="2849"/>
                  </a:lnTo>
                  <a:lnTo>
                    <a:pt x="968" y="5253"/>
                  </a:lnTo>
                  <a:lnTo>
                    <a:pt x="0" y="5505"/>
                  </a:lnTo>
                  <a:lnTo>
                    <a:pt x="0" y="1937"/>
                  </a:lnTo>
                  <a:lnTo>
                    <a:pt x="0" y="1937"/>
                  </a:lnTo>
                  <a:cubicBezTo>
                    <a:pt x="0" y="1937"/>
                    <a:pt x="40" y="484"/>
                    <a:pt x="211" y="417"/>
                  </a:cubicBezTo>
                </a:path>
              </a:pathLst>
            </a:custGeom>
            <a:solidFill>
              <a:srgbClr val="153D4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82" name="Freeform 50">
              <a:extLst>
                <a:ext uri="{FF2B5EF4-FFF2-40B4-BE49-F238E27FC236}">
                  <a16:creationId xmlns:a16="http://schemas.microsoft.com/office/drawing/2014/main" id="{84E25E50-8538-2045-8802-D5315FB05171}"/>
                </a:ext>
              </a:extLst>
            </p:cNvPr>
            <p:cNvSpPr>
              <a:spLocks noChangeArrowheads="1"/>
            </p:cNvSpPr>
            <p:nvPr/>
          </p:nvSpPr>
          <p:spPr bwMode="auto">
            <a:xfrm>
              <a:off x="5232400" y="1916113"/>
              <a:ext cx="203200" cy="1354137"/>
            </a:xfrm>
            <a:custGeom>
              <a:avLst/>
              <a:gdLst>
                <a:gd name="T0" fmla="*/ 0 w 564"/>
                <a:gd name="T1" fmla="*/ 0 h 3761"/>
                <a:gd name="T2" fmla="*/ 563 w 564"/>
                <a:gd name="T3" fmla="*/ 202 h 3761"/>
                <a:gd name="T4" fmla="*/ 281 w 564"/>
                <a:gd name="T5" fmla="*/ 1193 h 3761"/>
                <a:gd name="T6" fmla="*/ 89 w 564"/>
                <a:gd name="T7" fmla="*/ 1317 h 3761"/>
                <a:gd name="T8" fmla="*/ 281 w 564"/>
                <a:gd name="T9" fmla="*/ 1508 h 3761"/>
                <a:gd name="T10" fmla="*/ 0 w 564"/>
                <a:gd name="T11" fmla="*/ 3760 h 3761"/>
                <a:gd name="T12" fmla="*/ 0 w 564"/>
                <a:gd name="T13" fmla="*/ 0 h 3761"/>
              </a:gdLst>
              <a:ahLst/>
              <a:cxnLst>
                <a:cxn ang="0">
                  <a:pos x="T0" y="T1"/>
                </a:cxn>
                <a:cxn ang="0">
                  <a:pos x="T2" y="T3"/>
                </a:cxn>
                <a:cxn ang="0">
                  <a:pos x="T4" y="T5"/>
                </a:cxn>
                <a:cxn ang="0">
                  <a:pos x="T6" y="T7"/>
                </a:cxn>
                <a:cxn ang="0">
                  <a:pos x="T8" y="T9"/>
                </a:cxn>
                <a:cxn ang="0">
                  <a:pos x="T10" y="T11"/>
                </a:cxn>
                <a:cxn ang="0">
                  <a:pos x="T12" y="T13"/>
                </a:cxn>
              </a:cxnLst>
              <a:rect l="0" t="0" r="r" b="b"/>
              <a:pathLst>
                <a:path w="564" h="3761">
                  <a:moveTo>
                    <a:pt x="0" y="0"/>
                  </a:moveTo>
                  <a:lnTo>
                    <a:pt x="563" y="202"/>
                  </a:lnTo>
                  <a:lnTo>
                    <a:pt x="281" y="1193"/>
                  </a:lnTo>
                  <a:lnTo>
                    <a:pt x="89" y="1317"/>
                  </a:lnTo>
                  <a:lnTo>
                    <a:pt x="281" y="1508"/>
                  </a:lnTo>
                  <a:lnTo>
                    <a:pt x="0" y="3760"/>
                  </a:lnTo>
                  <a:lnTo>
                    <a:pt x="0" y="0"/>
                  </a:lnTo>
                </a:path>
              </a:pathLst>
            </a:custGeom>
            <a:solidFill>
              <a:srgbClr val="23526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83" name="Freeform 51">
              <a:extLst>
                <a:ext uri="{FF2B5EF4-FFF2-40B4-BE49-F238E27FC236}">
                  <a16:creationId xmlns:a16="http://schemas.microsoft.com/office/drawing/2014/main" id="{3B7BBC5B-E88B-A749-B73C-1CB4D9ED378A}"/>
                </a:ext>
              </a:extLst>
            </p:cNvPr>
            <p:cNvSpPr>
              <a:spLocks noChangeArrowheads="1"/>
            </p:cNvSpPr>
            <p:nvPr/>
          </p:nvSpPr>
          <p:spPr bwMode="auto">
            <a:xfrm>
              <a:off x="4568825" y="2173288"/>
              <a:ext cx="357188" cy="1760537"/>
            </a:xfrm>
            <a:custGeom>
              <a:avLst/>
              <a:gdLst>
                <a:gd name="T0" fmla="*/ 0 w 991"/>
                <a:gd name="T1" fmla="*/ 1411 h 4890"/>
                <a:gd name="T2" fmla="*/ 0 w 991"/>
                <a:gd name="T3" fmla="*/ 3640 h 4890"/>
                <a:gd name="T4" fmla="*/ 157 w 991"/>
                <a:gd name="T5" fmla="*/ 4478 h 4890"/>
                <a:gd name="T6" fmla="*/ 990 w 991"/>
                <a:gd name="T7" fmla="*/ 4889 h 4890"/>
                <a:gd name="T8" fmla="*/ 990 w 991"/>
                <a:gd name="T9" fmla="*/ 1163 h 4890"/>
                <a:gd name="T10" fmla="*/ 853 w 991"/>
                <a:gd name="T11" fmla="*/ 0 h 4890"/>
                <a:gd name="T12" fmla="*/ 853 w 991"/>
                <a:gd name="T13" fmla="*/ 0 h 4890"/>
                <a:gd name="T14" fmla="*/ 0 w 991"/>
                <a:gd name="T15" fmla="*/ 1411 h 48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1" h="4890">
                  <a:moveTo>
                    <a:pt x="0" y="1411"/>
                  </a:moveTo>
                  <a:lnTo>
                    <a:pt x="0" y="3640"/>
                  </a:lnTo>
                  <a:lnTo>
                    <a:pt x="157" y="4478"/>
                  </a:lnTo>
                  <a:lnTo>
                    <a:pt x="990" y="4889"/>
                  </a:lnTo>
                  <a:lnTo>
                    <a:pt x="990" y="1163"/>
                  </a:lnTo>
                  <a:lnTo>
                    <a:pt x="853" y="0"/>
                  </a:lnTo>
                  <a:lnTo>
                    <a:pt x="853" y="0"/>
                  </a:lnTo>
                  <a:cubicBezTo>
                    <a:pt x="853" y="0"/>
                    <a:pt x="22" y="820"/>
                    <a:pt x="0" y="1411"/>
                  </a:cubicBezTo>
                </a:path>
              </a:pathLst>
            </a:custGeom>
            <a:solidFill>
              <a:srgbClr val="153D4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84" name="Freeform 52">
              <a:extLst>
                <a:ext uri="{FF2B5EF4-FFF2-40B4-BE49-F238E27FC236}">
                  <a16:creationId xmlns:a16="http://schemas.microsoft.com/office/drawing/2014/main" id="{6B43A1C8-1D77-9B49-8BD4-8165FD1DBDBE}"/>
                </a:ext>
              </a:extLst>
            </p:cNvPr>
            <p:cNvSpPr>
              <a:spLocks noChangeArrowheads="1"/>
            </p:cNvSpPr>
            <p:nvPr/>
          </p:nvSpPr>
          <p:spPr bwMode="auto">
            <a:xfrm>
              <a:off x="5016500" y="1958975"/>
              <a:ext cx="123825" cy="123825"/>
            </a:xfrm>
            <a:custGeom>
              <a:avLst/>
              <a:gdLst>
                <a:gd name="T0" fmla="*/ 172 w 346"/>
                <a:gd name="T1" fmla="*/ 1 h 346"/>
                <a:gd name="T2" fmla="*/ 172 w 346"/>
                <a:gd name="T3" fmla="*/ 0 h 346"/>
                <a:gd name="T4" fmla="*/ 172 w 346"/>
                <a:gd name="T5" fmla="*/ 0 h 346"/>
                <a:gd name="T6" fmla="*/ 172 w 346"/>
                <a:gd name="T7" fmla="*/ 0 h 346"/>
                <a:gd name="T8" fmla="*/ 172 w 346"/>
                <a:gd name="T9" fmla="*/ 1 h 346"/>
                <a:gd name="T10" fmla="*/ 0 w 346"/>
                <a:gd name="T11" fmla="*/ 102 h 346"/>
                <a:gd name="T12" fmla="*/ 9 w 346"/>
                <a:gd name="T13" fmla="*/ 252 h 346"/>
                <a:gd name="T14" fmla="*/ 70 w 346"/>
                <a:gd name="T15" fmla="*/ 345 h 346"/>
                <a:gd name="T16" fmla="*/ 172 w 346"/>
                <a:gd name="T17" fmla="*/ 345 h 346"/>
                <a:gd name="T18" fmla="*/ 172 w 346"/>
                <a:gd name="T19" fmla="*/ 345 h 346"/>
                <a:gd name="T20" fmla="*/ 275 w 346"/>
                <a:gd name="T21" fmla="*/ 345 h 346"/>
                <a:gd name="T22" fmla="*/ 335 w 346"/>
                <a:gd name="T23" fmla="*/ 252 h 346"/>
                <a:gd name="T24" fmla="*/ 345 w 346"/>
                <a:gd name="T25" fmla="*/ 102 h 346"/>
                <a:gd name="T26" fmla="*/ 172 w 346"/>
                <a:gd name="T27" fmla="*/ 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6" h="346">
                  <a:moveTo>
                    <a:pt x="172" y="1"/>
                  </a:moveTo>
                  <a:lnTo>
                    <a:pt x="172" y="0"/>
                  </a:lnTo>
                  <a:lnTo>
                    <a:pt x="172" y="0"/>
                  </a:lnTo>
                  <a:lnTo>
                    <a:pt x="172" y="0"/>
                  </a:lnTo>
                  <a:lnTo>
                    <a:pt x="172" y="1"/>
                  </a:lnTo>
                  <a:lnTo>
                    <a:pt x="0" y="102"/>
                  </a:lnTo>
                  <a:lnTo>
                    <a:pt x="9" y="252"/>
                  </a:lnTo>
                  <a:lnTo>
                    <a:pt x="70" y="345"/>
                  </a:lnTo>
                  <a:lnTo>
                    <a:pt x="172" y="345"/>
                  </a:lnTo>
                  <a:lnTo>
                    <a:pt x="172" y="345"/>
                  </a:lnTo>
                  <a:lnTo>
                    <a:pt x="275" y="345"/>
                  </a:lnTo>
                  <a:lnTo>
                    <a:pt x="335" y="252"/>
                  </a:lnTo>
                  <a:lnTo>
                    <a:pt x="345" y="102"/>
                  </a:lnTo>
                  <a:lnTo>
                    <a:pt x="172" y="1"/>
                  </a:lnTo>
                </a:path>
              </a:pathLst>
            </a:custGeom>
            <a:solidFill>
              <a:srgbClr val="B9702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85" name="Freeform 53">
              <a:extLst>
                <a:ext uri="{FF2B5EF4-FFF2-40B4-BE49-F238E27FC236}">
                  <a16:creationId xmlns:a16="http://schemas.microsoft.com/office/drawing/2014/main" id="{87202395-E778-5741-9DD9-8A17CA94A776}"/>
                </a:ext>
              </a:extLst>
            </p:cNvPr>
            <p:cNvSpPr>
              <a:spLocks noChangeArrowheads="1"/>
            </p:cNvSpPr>
            <p:nvPr/>
          </p:nvSpPr>
          <p:spPr bwMode="auto">
            <a:xfrm>
              <a:off x="4924425" y="1846263"/>
              <a:ext cx="153988" cy="211137"/>
            </a:xfrm>
            <a:custGeom>
              <a:avLst/>
              <a:gdLst>
                <a:gd name="T0" fmla="*/ 0 w 428"/>
                <a:gd name="T1" fmla="*/ 191 h 586"/>
                <a:gd name="T2" fmla="*/ 119 w 428"/>
                <a:gd name="T3" fmla="*/ 0 h 586"/>
                <a:gd name="T4" fmla="*/ 427 w 428"/>
                <a:gd name="T5" fmla="*/ 312 h 586"/>
                <a:gd name="T6" fmla="*/ 251 w 428"/>
                <a:gd name="T7" fmla="*/ 585 h 586"/>
                <a:gd name="T8" fmla="*/ 0 w 428"/>
                <a:gd name="T9" fmla="*/ 191 h 586"/>
              </a:gdLst>
              <a:ahLst/>
              <a:cxnLst>
                <a:cxn ang="0">
                  <a:pos x="T0" y="T1"/>
                </a:cxn>
                <a:cxn ang="0">
                  <a:pos x="T2" y="T3"/>
                </a:cxn>
                <a:cxn ang="0">
                  <a:pos x="T4" y="T5"/>
                </a:cxn>
                <a:cxn ang="0">
                  <a:pos x="T6" y="T7"/>
                </a:cxn>
                <a:cxn ang="0">
                  <a:pos x="T8" y="T9"/>
                </a:cxn>
              </a:cxnLst>
              <a:rect l="0" t="0" r="r" b="b"/>
              <a:pathLst>
                <a:path w="428" h="586">
                  <a:moveTo>
                    <a:pt x="0" y="191"/>
                  </a:moveTo>
                  <a:lnTo>
                    <a:pt x="119" y="0"/>
                  </a:lnTo>
                  <a:lnTo>
                    <a:pt x="427" y="312"/>
                  </a:lnTo>
                  <a:lnTo>
                    <a:pt x="251" y="585"/>
                  </a:lnTo>
                  <a:lnTo>
                    <a:pt x="0" y="191"/>
                  </a:lnTo>
                </a:path>
              </a:pathLst>
            </a:custGeom>
            <a:solidFill>
              <a:srgbClr val="B2D0D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86" name="Freeform 54">
              <a:extLst>
                <a:ext uri="{FF2B5EF4-FFF2-40B4-BE49-F238E27FC236}">
                  <a16:creationId xmlns:a16="http://schemas.microsoft.com/office/drawing/2014/main" id="{D586AD9D-6A56-0844-B4DD-42C9D50F06BB}"/>
                </a:ext>
              </a:extLst>
            </p:cNvPr>
            <p:cNvSpPr>
              <a:spLocks noChangeArrowheads="1"/>
            </p:cNvSpPr>
            <p:nvPr/>
          </p:nvSpPr>
          <p:spPr bwMode="auto">
            <a:xfrm>
              <a:off x="5078413" y="1846263"/>
              <a:ext cx="153987" cy="211137"/>
            </a:xfrm>
            <a:custGeom>
              <a:avLst/>
              <a:gdLst>
                <a:gd name="T0" fmla="*/ 427 w 428"/>
                <a:gd name="T1" fmla="*/ 191 h 586"/>
                <a:gd name="T2" fmla="*/ 309 w 428"/>
                <a:gd name="T3" fmla="*/ 0 h 586"/>
                <a:gd name="T4" fmla="*/ 0 w 428"/>
                <a:gd name="T5" fmla="*/ 312 h 586"/>
                <a:gd name="T6" fmla="*/ 177 w 428"/>
                <a:gd name="T7" fmla="*/ 585 h 586"/>
                <a:gd name="T8" fmla="*/ 427 w 428"/>
                <a:gd name="T9" fmla="*/ 191 h 586"/>
              </a:gdLst>
              <a:ahLst/>
              <a:cxnLst>
                <a:cxn ang="0">
                  <a:pos x="T0" y="T1"/>
                </a:cxn>
                <a:cxn ang="0">
                  <a:pos x="T2" y="T3"/>
                </a:cxn>
                <a:cxn ang="0">
                  <a:pos x="T4" y="T5"/>
                </a:cxn>
                <a:cxn ang="0">
                  <a:pos x="T6" y="T7"/>
                </a:cxn>
                <a:cxn ang="0">
                  <a:pos x="T8" y="T9"/>
                </a:cxn>
              </a:cxnLst>
              <a:rect l="0" t="0" r="r" b="b"/>
              <a:pathLst>
                <a:path w="428" h="586">
                  <a:moveTo>
                    <a:pt x="427" y="191"/>
                  </a:moveTo>
                  <a:lnTo>
                    <a:pt x="309" y="0"/>
                  </a:lnTo>
                  <a:lnTo>
                    <a:pt x="0" y="312"/>
                  </a:lnTo>
                  <a:lnTo>
                    <a:pt x="177" y="585"/>
                  </a:lnTo>
                  <a:lnTo>
                    <a:pt x="427" y="191"/>
                  </a:lnTo>
                </a:path>
              </a:pathLst>
            </a:custGeom>
            <a:solidFill>
              <a:srgbClr val="B2D0D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87" name="Freeform 55">
              <a:extLst>
                <a:ext uri="{FF2B5EF4-FFF2-40B4-BE49-F238E27FC236}">
                  <a16:creationId xmlns:a16="http://schemas.microsoft.com/office/drawing/2014/main" id="{F3032F43-5E09-1B45-9DC9-44143A607FA8}"/>
                </a:ext>
              </a:extLst>
            </p:cNvPr>
            <p:cNvSpPr>
              <a:spLocks noChangeArrowheads="1"/>
            </p:cNvSpPr>
            <p:nvPr/>
          </p:nvSpPr>
          <p:spPr bwMode="auto">
            <a:xfrm>
              <a:off x="4679950" y="1252538"/>
              <a:ext cx="407988" cy="574675"/>
            </a:xfrm>
            <a:custGeom>
              <a:avLst/>
              <a:gdLst>
                <a:gd name="T0" fmla="*/ 603 w 1133"/>
                <a:gd name="T1" fmla="*/ 939 h 1598"/>
                <a:gd name="T2" fmla="*/ 366 w 1133"/>
                <a:gd name="T3" fmla="*/ 799 h 1598"/>
                <a:gd name="T4" fmla="*/ 34 w 1133"/>
                <a:gd name="T5" fmla="*/ 35 h 1598"/>
                <a:gd name="T6" fmla="*/ 0 w 1133"/>
                <a:gd name="T7" fmla="*/ 0 h 1598"/>
                <a:gd name="T8" fmla="*/ 0 w 1133"/>
                <a:gd name="T9" fmla="*/ 0 h 1598"/>
                <a:gd name="T10" fmla="*/ 82 w 1133"/>
                <a:gd name="T11" fmla="*/ 785 h 1598"/>
                <a:gd name="T12" fmla="*/ 82 w 1133"/>
                <a:gd name="T13" fmla="*/ 785 h 1598"/>
                <a:gd name="T14" fmla="*/ 1132 w 1133"/>
                <a:gd name="T15" fmla="*/ 1597 h 1598"/>
                <a:gd name="T16" fmla="*/ 1132 w 1133"/>
                <a:gd name="T17" fmla="*/ 1282 h 1598"/>
                <a:gd name="T18" fmla="*/ 603 w 1133"/>
                <a:gd name="T19" fmla="*/ 939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3" h="1598">
                  <a:moveTo>
                    <a:pt x="603" y="939"/>
                  </a:moveTo>
                  <a:lnTo>
                    <a:pt x="366" y="799"/>
                  </a:lnTo>
                  <a:lnTo>
                    <a:pt x="34" y="35"/>
                  </a:lnTo>
                  <a:lnTo>
                    <a:pt x="0" y="0"/>
                  </a:lnTo>
                  <a:lnTo>
                    <a:pt x="0" y="0"/>
                  </a:lnTo>
                  <a:cubicBezTo>
                    <a:pt x="0" y="28"/>
                    <a:pt x="82" y="785"/>
                    <a:pt x="82" y="785"/>
                  </a:cubicBezTo>
                  <a:lnTo>
                    <a:pt x="82" y="785"/>
                  </a:lnTo>
                  <a:cubicBezTo>
                    <a:pt x="82" y="785"/>
                    <a:pt x="332" y="1296"/>
                    <a:pt x="1132" y="1597"/>
                  </a:cubicBezTo>
                  <a:lnTo>
                    <a:pt x="1132" y="1282"/>
                  </a:lnTo>
                  <a:lnTo>
                    <a:pt x="603" y="939"/>
                  </a:lnTo>
                </a:path>
              </a:pathLst>
            </a:custGeom>
            <a:solidFill>
              <a:srgbClr val="40291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88" name="Freeform 56">
              <a:extLst>
                <a:ext uri="{FF2B5EF4-FFF2-40B4-BE49-F238E27FC236}">
                  <a16:creationId xmlns:a16="http://schemas.microsoft.com/office/drawing/2014/main" id="{BC2A7BBB-737E-2C49-B60C-15378CA398B0}"/>
                </a:ext>
              </a:extLst>
            </p:cNvPr>
            <p:cNvSpPr>
              <a:spLocks noChangeArrowheads="1"/>
            </p:cNvSpPr>
            <p:nvPr/>
          </p:nvSpPr>
          <p:spPr bwMode="auto">
            <a:xfrm>
              <a:off x="5087938" y="1252538"/>
              <a:ext cx="406400" cy="574675"/>
            </a:xfrm>
            <a:custGeom>
              <a:avLst/>
              <a:gdLst>
                <a:gd name="T0" fmla="*/ 527 w 1131"/>
                <a:gd name="T1" fmla="*/ 939 h 1598"/>
                <a:gd name="T2" fmla="*/ 764 w 1131"/>
                <a:gd name="T3" fmla="*/ 799 h 1598"/>
                <a:gd name="T4" fmla="*/ 1096 w 1131"/>
                <a:gd name="T5" fmla="*/ 35 h 1598"/>
                <a:gd name="T6" fmla="*/ 1130 w 1131"/>
                <a:gd name="T7" fmla="*/ 0 h 1598"/>
                <a:gd name="T8" fmla="*/ 1130 w 1131"/>
                <a:gd name="T9" fmla="*/ 0 h 1598"/>
                <a:gd name="T10" fmla="*/ 1049 w 1131"/>
                <a:gd name="T11" fmla="*/ 785 h 1598"/>
                <a:gd name="T12" fmla="*/ 1049 w 1131"/>
                <a:gd name="T13" fmla="*/ 785 h 1598"/>
                <a:gd name="T14" fmla="*/ 0 w 1131"/>
                <a:gd name="T15" fmla="*/ 1597 h 1598"/>
                <a:gd name="T16" fmla="*/ 0 w 1131"/>
                <a:gd name="T17" fmla="*/ 1282 h 1598"/>
                <a:gd name="T18" fmla="*/ 527 w 1131"/>
                <a:gd name="T19" fmla="*/ 939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1" h="1598">
                  <a:moveTo>
                    <a:pt x="527" y="939"/>
                  </a:moveTo>
                  <a:lnTo>
                    <a:pt x="764" y="799"/>
                  </a:lnTo>
                  <a:lnTo>
                    <a:pt x="1096" y="35"/>
                  </a:lnTo>
                  <a:lnTo>
                    <a:pt x="1130" y="0"/>
                  </a:lnTo>
                  <a:lnTo>
                    <a:pt x="1130" y="0"/>
                  </a:lnTo>
                  <a:cubicBezTo>
                    <a:pt x="1130" y="28"/>
                    <a:pt x="1049" y="785"/>
                    <a:pt x="1049" y="785"/>
                  </a:cubicBezTo>
                  <a:lnTo>
                    <a:pt x="1049" y="785"/>
                  </a:lnTo>
                  <a:cubicBezTo>
                    <a:pt x="1049" y="785"/>
                    <a:pt x="798" y="1296"/>
                    <a:pt x="0" y="1597"/>
                  </a:cubicBezTo>
                  <a:lnTo>
                    <a:pt x="0" y="1282"/>
                  </a:lnTo>
                  <a:lnTo>
                    <a:pt x="527" y="939"/>
                  </a:lnTo>
                </a:path>
              </a:pathLst>
            </a:custGeom>
            <a:solidFill>
              <a:srgbClr val="40291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89" name="Freeform 57">
              <a:extLst>
                <a:ext uri="{FF2B5EF4-FFF2-40B4-BE49-F238E27FC236}">
                  <a16:creationId xmlns:a16="http://schemas.microsoft.com/office/drawing/2014/main" id="{77906333-3D55-E846-AEC1-F0345AACF602}"/>
                </a:ext>
              </a:extLst>
            </p:cNvPr>
            <p:cNvSpPr>
              <a:spLocks noChangeArrowheads="1"/>
            </p:cNvSpPr>
            <p:nvPr/>
          </p:nvSpPr>
          <p:spPr bwMode="auto">
            <a:xfrm>
              <a:off x="5600700" y="4217988"/>
              <a:ext cx="247650" cy="212725"/>
            </a:xfrm>
            <a:custGeom>
              <a:avLst/>
              <a:gdLst>
                <a:gd name="T0" fmla="*/ 303 w 689"/>
                <a:gd name="T1" fmla="*/ 0 h 590"/>
                <a:gd name="T2" fmla="*/ 303 w 689"/>
                <a:gd name="T3" fmla="*/ 0 h 590"/>
                <a:gd name="T4" fmla="*/ 245 w 689"/>
                <a:gd name="T5" fmla="*/ 121 h 590"/>
                <a:gd name="T6" fmla="*/ 245 w 689"/>
                <a:gd name="T7" fmla="*/ 121 h 590"/>
                <a:gd name="T8" fmla="*/ 9 w 689"/>
                <a:gd name="T9" fmla="*/ 339 h 590"/>
                <a:gd name="T10" fmla="*/ 9 w 689"/>
                <a:gd name="T11" fmla="*/ 339 h 590"/>
                <a:gd name="T12" fmla="*/ 106 w 689"/>
                <a:gd name="T13" fmla="*/ 353 h 590"/>
                <a:gd name="T14" fmla="*/ 106 w 689"/>
                <a:gd name="T15" fmla="*/ 353 h 590"/>
                <a:gd name="T16" fmla="*/ 237 w 689"/>
                <a:gd name="T17" fmla="*/ 275 h 590"/>
                <a:gd name="T18" fmla="*/ 237 w 689"/>
                <a:gd name="T19" fmla="*/ 275 h 590"/>
                <a:gd name="T20" fmla="*/ 257 w 689"/>
                <a:gd name="T21" fmla="*/ 431 h 590"/>
                <a:gd name="T22" fmla="*/ 257 w 689"/>
                <a:gd name="T23" fmla="*/ 431 h 590"/>
                <a:gd name="T24" fmla="*/ 295 w 689"/>
                <a:gd name="T25" fmla="*/ 573 h 590"/>
                <a:gd name="T26" fmla="*/ 295 w 689"/>
                <a:gd name="T27" fmla="*/ 573 h 590"/>
                <a:gd name="T28" fmla="*/ 376 w 689"/>
                <a:gd name="T29" fmla="*/ 585 h 590"/>
                <a:gd name="T30" fmla="*/ 376 w 689"/>
                <a:gd name="T31" fmla="*/ 585 h 590"/>
                <a:gd name="T32" fmla="*/ 441 w 689"/>
                <a:gd name="T33" fmla="*/ 577 h 590"/>
                <a:gd name="T34" fmla="*/ 441 w 689"/>
                <a:gd name="T35" fmla="*/ 577 h 590"/>
                <a:gd name="T36" fmla="*/ 522 w 689"/>
                <a:gd name="T37" fmla="*/ 566 h 590"/>
                <a:gd name="T38" fmla="*/ 522 w 689"/>
                <a:gd name="T39" fmla="*/ 566 h 590"/>
                <a:gd name="T40" fmla="*/ 598 w 689"/>
                <a:gd name="T41" fmla="*/ 533 h 590"/>
                <a:gd name="T42" fmla="*/ 598 w 689"/>
                <a:gd name="T43" fmla="*/ 533 h 590"/>
                <a:gd name="T44" fmla="*/ 666 w 689"/>
                <a:gd name="T45" fmla="*/ 495 h 590"/>
                <a:gd name="T46" fmla="*/ 666 w 689"/>
                <a:gd name="T47" fmla="*/ 495 h 590"/>
                <a:gd name="T48" fmla="*/ 688 w 689"/>
                <a:gd name="T49" fmla="*/ 330 h 590"/>
                <a:gd name="T50" fmla="*/ 688 w 689"/>
                <a:gd name="T51" fmla="*/ 330 h 590"/>
                <a:gd name="T52" fmla="*/ 662 w 689"/>
                <a:gd name="T53" fmla="*/ 76 h 590"/>
                <a:gd name="T54" fmla="*/ 662 w 689"/>
                <a:gd name="T55" fmla="*/ 76 h 590"/>
                <a:gd name="T56" fmla="*/ 647 w 689"/>
                <a:gd name="T57" fmla="*/ 0 h 590"/>
                <a:gd name="T58" fmla="*/ 303 w 689"/>
                <a:gd name="T59" fmla="*/ 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89" h="590">
                  <a:moveTo>
                    <a:pt x="303" y="0"/>
                  </a:moveTo>
                  <a:lnTo>
                    <a:pt x="303" y="0"/>
                  </a:lnTo>
                  <a:cubicBezTo>
                    <a:pt x="303" y="0"/>
                    <a:pt x="290" y="83"/>
                    <a:pt x="245" y="121"/>
                  </a:cubicBezTo>
                  <a:lnTo>
                    <a:pt x="245" y="121"/>
                  </a:lnTo>
                  <a:cubicBezTo>
                    <a:pt x="201" y="159"/>
                    <a:pt x="0" y="308"/>
                    <a:pt x="9" y="339"/>
                  </a:cubicBezTo>
                  <a:lnTo>
                    <a:pt x="9" y="339"/>
                  </a:lnTo>
                  <a:cubicBezTo>
                    <a:pt x="19" y="369"/>
                    <a:pt x="61" y="382"/>
                    <a:pt x="106" y="353"/>
                  </a:cubicBezTo>
                  <a:lnTo>
                    <a:pt x="106" y="353"/>
                  </a:lnTo>
                  <a:cubicBezTo>
                    <a:pt x="151" y="325"/>
                    <a:pt x="223" y="278"/>
                    <a:pt x="237" y="275"/>
                  </a:cubicBezTo>
                  <a:lnTo>
                    <a:pt x="237" y="275"/>
                  </a:lnTo>
                  <a:cubicBezTo>
                    <a:pt x="251" y="273"/>
                    <a:pt x="257" y="396"/>
                    <a:pt x="257" y="431"/>
                  </a:cubicBezTo>
                  <a:lnTo>
                    <a:pt x="257" y="431"/>
                  </a:lnTo>
                  <a:cubicBezTo>
                    <a:pt x="257" y="467"/>
                    <a:pt x="271" y="564"/>
                    <a:pt x="295" y="573"/>
                  </a:cubicBezTo>
                  <a:lnTo>
                    <a:pt x="295" y="573"/>
                  </a:lnTo>
                  <a:cubicBezTo>
                    <a:pt x="319" y="583"/>
                    <a:pt x="363" y="589"/>
                    <a:pt x="376" y="585"/>
                  </a:cubicBezTo>
                  <a:lnTo>
                    <a:pt x="376" y="585"/>
                  </a:lnTo>
                  <a:cubicBezTo>
                    <a:pt x="387" y="580"/>
                    <a:pt x="418" y="587"/>
                    <a:pt x="441" y="577"/>
                  </a:cubicBezTo>
                  <a:lnTo>
                    <a:pt x="441" y="577"/>
                  </a:lnTo>
                  <a:cubicBezTo>
                    <a:pt x="466" y="568"/>
                    <a:pt x="494" y="578"/>
                    <a:pt x="522" y="566"/>
                  </a:cubicBezTo>
                  <a:lnTo>
                    <a:pt x="522" y="566"/>
                  </a:lnTo>
                  <a:cubicBezTo>
                    <a:pt x="551" y="555"/>
                    <a:pt x="577" y="542"/>
                    <a:pt x="598" y="533"/>
                  </a:cubicBezTo>
                  <a:lnTo>
                    <a:pt x="598" y="533"/>
                  </a:lnTo>
                  <a:cubicBezTo>
                    <a:pt x="619" y="523"/>
                    <a:pt x="662" y="521"/>
                    <a:pt x="666" y="495"/>
                  </a:cubicBezTo>
                  <a:lnTo>
                    <a:pt x="666" y="495"/>
                  </a:lnTo>
                  <a:cubicBezTo>
                    <a:pt x="671" y="469"/>
                    <a:pt x="688" y="417"/>
                    <a:pt x="688" y="330"/>
                  </a:cubicBezTo>
                  <a:lnTo>
                    <a:pt x="688" y="330"/>
                  </a:lnTo>
                  <a:cubicBezTo>
                    <a:pt x="688" y="242"/>
                    <a:pt x="671" y="145"/>
                    <a:pt x="662" y="76"/>
                  </a:cubicBezTo>
                  <a:lnTo>
                    <a:pt x="662" y="76"/>
                  </a:lnTo>
                  <a:cubicBezTo>
                    <a:pt x="652" y="8"/>
                    <a:pt x="647" y="0"/>
                    <a:pt x="647" y="0"/>
                  </a:cubicBezTo>
                  <a:lnTo>
                    <a:pt x="303" y="0"/>
                  </a:lnTo>
                </a:path>
              </a:pathLst>
            </a:custGeom>
            <a:solidFill>
              <a:srgbClr val="DDBB9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90" name="Freeform 58">
              <a:extLst>
                <a:ext uri="{FF2B5EF4-FFF2-40B4-BE49-F238E27FC236}">
                  <a16:creationId xmlns:a16="http://schemas.microsoft.com/office/drawing/2014/main" id="{988C99B3-3655-CE49-A6D6-9DF6DBB0D30C}"/>
                </a:ext>
              </a:extLst>
            </p:cNvPr>
            <p:cNvSpPr>
              <a:spLocks noChangeArrowheads="1"/>
            </p:cNvSpPr>
            <p:nvPr/>
          </p:nvSpPr>
          <p:spPr bwMode="auto">
            <a:xfrm>
              <a:off x="4564063" y="3217863"/>
              <a:ext cx="187325" cy="630237"/>
            </a:xfrm>
            <a:custGeom>
              <a:avLst/>
              <a:gdLst>
                <a:gd name="T0" fmla="*/ 0 w 519"/>
                <a:gd name="T1" fmla="*/ 97 h 1750"/>
                <a:gd name="T2" fmla="*/ 10 w 519"/>
                <a:gd name="T3" fmla="*/ 32 h 1750"/>
                <a:gd name="T4" fmla="*/ 10 w 519"/>
                <a:gd name="T5" fmla="*/ 0 h 1750"/>
                <a:gd name="T6" fmla="*/ 518 w 519"/>
                <a:gd name="T7" fmla="*/ 1749 h 1750"/>
                <a:gd name="T8" fmla="*/ 488 w 519"/>
                <a:gd name="T9" fmla="*/ 1734 h 1750"/>
                <a:gd name="T10" fmla="*/ 0 w 519"/>
                <a:gd name="T11" fmla="*/ 97 h 1750"/>
              </a:gdLst>
              <a:ahLst/>
              <a:cxnLst>
                <a:cxn ang="0">
                  <a:pos x="T0" y="T1"/>
                </a:cxn>
                <a:cxn ang="0">
                  <a:pos x="T2" y="T3"/>
                </a:cxn>
                <a:cxn ang="0">
                  <a:pos x="T4" y="T5"/>
                </a:cxn>
                <a:cxn ang="0">
                  <a:pos x="T6" y="T7"/>
                </a:cxn>
                <a:cxn ang="0">
                  <a:pos x="T8" y="T9"/>
                </a:cxn>
                <a:cxn ang="0">
                  <a:pos x="T10" y="T11"/>
                </a:cxn>
              </a:cxnLst>
              <a:rect l="0" t="0" r="r" b="b"/>
              <a:pathLst>
                <a:path w="519" h="1750">
                  <a:moveTo>
                    <a:pt x="0" y="97"/>
                  </a:moveTo>
                  <a:lnTo>
                    <a:pt x="10" y="32"/>
                  </a:lnTo>
                  <a:lnTo>
                    <a:pt x="10" y="0"/>
                  </a:lnTo>
                  <a:lnTo>
                    <a:pt x="518" y="1749"/>
                  </a:lnTo>
                  <a:lnTo>
                    <a:pt x="488" y="1734"/>
                  </a:lnTo>
                  <a:lnTo>
                    <a:pt x="0" y="97"/>
                  </a:lnTo>
                </a:path>
              </a:pathLst>
            </a:custGeom>
            <a:solidFill>
              <a:srgbClr val="0F323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91" name="Freeform 59">
              <a:extLst>
                <a:ext uri="{FF2B5EF4-FFF2-40B4-BE49-F238E27FC236}">
                  <a16:creationId xmlns:a16="http://schemas.microsoft.com/office/drawing/2014/main" id="{EBCD2735-80FF-0742-B0D4-7F8DD710292D}"/>
                </a:ext>
              </a:extLst>
            </p:cNvPr>
            <p:cNvSpPr>
              <a:spLocks noChangeArrowheads="1"/>
            </p:cNvSpPr>
            <p:nvPr/>
          </p:nvSpPr>
          <p:spPr bwMode="auto">
            <a:xfrm>
              <a:off x="4567238" y="2678113"/>
              <a:ext cx="77787" cy="207962"/>
            </a:xfrm>
            <a:custGeom>
              <a:avLst/>
              <a:gdLst>
                <a:gd name="T0" fmla="*/ 154 w 218"/>
                <a:gd name="T1" fmla="*/ 31 h 578"/>
                <a:gd name="T2" fmla="*/ 217 w 218"/>
                <a:gd name="T3" fmla="*/ 0 h 578"/>
                <a:gd name="T4" fmla="*/ 3 w 218"/>
                <a:gd name="T5" fmla="*/ 577 h 578"/>
                <a:gd name="T6" fmla="*/ 0 w 218"/>
                <a:gd name="T7" fmla="*/ 528 h 578"/>
                <a:gd name="T8" fmla="*/ 154 w 218"/>
                <a:gd name="T9" fmla="*/ 31 h 578"/>
              </a:gdLst>
              <a:ahLst/>
              <a:cxnLst>
                <a:cxn ang="0">
                  <a:pos x="T0" y="T1"/>
                </a:cxn>
                <a:cxn ang="0">
                  <a:pos x="T2" y="T3"/>
                </a:cxn>
                <a:cxn ang="0">
                  <a:pos x="T4" y="T5"/>
                </a:cxn>
                <a:cxn ang="0">
                  <a:pos x="T6" y="T7"/>
                </a:cxn>
                <a:cxn ang="0">
                  <a:pos x="T8" y="T9"/>
                </a:cxn>
              </a:cxnLst>
              <a:rect l="0" t="0" r="r" b="b"/>
              <a:pathLst>
                <a:path w="218" h="578">
                  <a:moveTo>
                    <a:pt x="154" y="31"/>
                  </a:moveTo>
                  <a:lnTo>
                    <a:pt x="217" y="0"/>
                  </a:lnTo>
                  <a:lnTo>
                    <a:pt x="3" y="577"/>
                  </a:lnTo>
                  <a:lnTo>
                    <a:pt x="0" y="528"/>
                  </a:lnTo>
                  <a:lnTo>
                    <a:pt x="154" y="31"/>
                  </a:lnTo>
                </a:path>
              </a:pathLst>
            </a:custGeom>
            <a:solidFill>
              <a:srgbClr val="0F323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92" name="Freeform 60">
              <a:extLst>
                <a:ext uri="{FF2B5EF4-FFF2-40B4-BE49-F238E27FC236}">
                  <a16:creationId xmlns:a16="http://schemas.microsoft.com/office/drawing/2014/main" id="{4954BE97-719D-DB45-A8CB-22EAE1DF6FAF}"/>
                </a:ext>
              </a:extLst>
            </p:cNvPr>
            <p:cNvSpPr>
              <a:spLocks noChangeArrowheads="1"/>
            </p:cNvSpPr>
            <p:nvPr/>
          </p:nvSpPr>
          <p:spPr bwMode="auto">
            <a:xfrm>
              <a:off x="4235450" y="1958975"/>
              <a:ext cx="665163" cy="2055813"/>
            </a:xfrm>
            <a:custGeom>
              <a:avLst/>
              <a:gdLst>
                <a:gd name="T0" fmla="*/ 1138 w 1848"/>
                <a:gd name="T1" fmla="*/ 1995 h 5711"/>
                <a:gd name="T2" fmla="*/ 1138 w 1848"/>
                <a:gd name="T3" fmla="*/ 1995 h 5711"/>
                <a:gd name="T4" fmla="*/ 777 w 1848"/>
                <a:gd name="T5" fmla="*/ 3076 h 5711"/>
                <a:gd name="T6" fmla="*/ 777 w 1848"/>
                <a:gd name="T7" fmla="*/ 3076 h 5711"/>
                <a:gd name="T8" fmla="*/ 1486 w 1848"/>
                <a:gd name="T9" fmla="*/ 5485 h 5711"/>
                <a:gd name="T10" fmla="*/ 1036 w 1848"/>
                <a:gd name="T11" fmla="*/ 5710 h 5711"/>
                <a:gd name="T12" fmla="*/ 1036 w 1848"/>
                <a:gd name="T13" fmla="*/ 5710 h 5711"/>
                <a:gd name="T14" fmla="*/ 0 w 1848"/>
                <a:gd name="T15" fmla="*/ 3470 h 5711"/>
                <a:gd name="T16" fmla="*/ 0 w 1848"/>
                <a:gd name="T17" fmla="*/ 3470 h 5711"/>
                <a:gd name="T18" fmla="*/ 349 w 1848"/>
                <a:gd name="T19" fmla="*/ 791 h 5711"/>
                <a:gd name="T20" fmla="*/ 349 w 1848"/>
                <a:gd name="T21" fmla="*/ 791 h 5711"/>
                <a:gd name="T22" fmla="*/ 1576 w 1848"/>
                <a:gd name="T23" fmla="*/ 0 h 5711"/>
                <a:gd name="T24" fmla="*/ 1847 w 1848"/>
                <a:gd name="T25" fmla="*/ 802 h 5711"/>
                <a:gd name="T26" fmla="*/ 1847 w 1848"/>
                <a:gd name="T27" fmla="*/ 1444 h 5711"/>
                <a:gd name="T28" fmla="*/ 1138 w 1848"/>
                <a:gd name="T29" fmla="*/ 1995 h 5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48" h="5711">
                  <a:moveTo>
                    <a:pt x="1138" y="1995"/>
                  </a:moveTo>
                  <a:lnTo>
                    <a:pt x="1138" y="1995"/>
                  </a:lnTo>
                  <a:cubicBezTo>
                    <a:pt x="1138" y="1995"/>
                    <a:pt x="720" y="2986"/>
                    <a:pt x="777" y="3076"/>
                  </a:cubicBezTo>
                  <a:lnTo>
                    <a:pt x="777" y="3076"/>
                  </a:lnTo>
                  <a:cubicBezTo>
                    <a:pt x="833" y="3166"/>
                    <a:pt x="1486" y="5485"/>
                    <a:pt x="1486" y="5485"/>
                  </a:cubicBezTo>
                  <a:lnTo>
                    <a:pt x="1036" y="5710"/>
                  </a:lnTo>
                  <a:lnTo>
                    <a:pt x="1036" y="5710"/>
                  </a:lnTo>
                  <a:cubicBezTo>
                    <a:pt x="1036" y="5710"/>
                    <a:pt x="0" y="3538"/>
                    <a:pt x="0" y="3470"/>
                  </a:cubicBezTo>
                  <a:lnTo>
                    <a:pt x="0" y="3470"/>
                  </a:lnTo>
                  <a:cubicBezTo>
                    <a:pt x="0" y="3403"/>
                    <a:pt x="315" y="892"/>
                    <a:pt x="349" y="791"/>
                  </a:cubicBezTo>
                  <a:lnTo>
                    <a:pt x="349" y="791"/>
                  </a:lnTo>
                  <a:cubicBezTo>
                    <a:pt x="383" y="689"/>
                    <a:pt x="314" y="471"/>
                    <a:pt x="1576" y="0"/>
                  </a:cubicBezTo>
                  <a:lnTo>
                    <a:pt x="1847" y="802"/>
                  </a:lnTo>
                  <a:lnTo>
                    <a:pt x="1847" y="1444"/>
                  </a:lnTo>
                  <a:lnTo>
                    <a:pt x="1138" y="1995"/>
                  </a:lnTo>
                </a:path>
              </a:pathLst>
            </a:custGeom>
            <a:solidFill>
              <a:srgbClr val="153D4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sp>
          <p:nvSpPr>
            <p:cNvPr id="93" name="Freeform 61">
              <a:extLst>
                <a:ext uri="{FF2B5EF4-FFF2-40B4-BE49-F238E27FC236}">
                  <a16:creationId xmlns:a16="http://schemas.microsoft.com/office/drawing/2014/main" id="{088E23CA-A113-E14F-8CE4-E3F7D89A7633}"/>
                </a:ext>
              </a:extLst>
            </p:cNvPr>
            <p:cNvSpPr>
              <a:spLocks noChangeArrowheads="1"/>
            </p:cNvSpPr>
            <p:nvPr/>
          </p:nvSpPr>
          <p:spPr bwMode="auto">
            <a:xfrm>
              <a:off x="4721225" y="1916113"/>
              <a:ext cx="203200" cy="1354137"/>
            </a:xfrm>
            <a:custGeom>
              <a:avLst/>
              <a:gdLst>
                <a:gd name="T0" fmla="*/ 563 w 564"/>
                <a:gd name="T1" fmla="*/ 0 h 3761"/>
                <a:gd name="T2" fmla="*/ 0 w 564"/>
                <a:gd name="T3" fmla="*/ 202 h 3761"/>
                <a:gd name="T4" fmla="*/ 282 w 564"/>
                <a:gd name="T5" fmla="*/ 1193 h 3761"/>
                <a:gd name="T6" fmla="*/ 473 w 564"/>
                <a:gd name="T7" fmla="*/ 1317 h 3761"/>
                <a:gd name="T8" fmla="*/ 282 w 564"/>
                <a:gd name="T9" fmla="*/ 1508 h 3761"/>
                <a:gd name="T10" fmla="*/ 563 w 564"/>
                <a:gd name="T11" fmla="*/ 3760 h 3761"/>
                <a:gd name="T12" fmla="*/ 563 w 564"/>
                <a:gd name="T13" fmla="*/ 0 h 3761"/>
              </a:gdLst>
              <a:ahLst/>
              <a:cxnLst>
                <a:cxn ang="0">
                  <a:pos x="T0" y="T1"/>
                </a:cxn>
                <a:cxn ang="0">
                  <a:pos x="T2" y="T3"/>
                </a:cxn>
                <a:cxn ang="0">
                  <a:pos x="T4" y="T5"/>
                </a:cxn>
                <a:cxn ang="0">
                  <a:pos x="T6" y="T7"/>
                </a:cxn>
                <a:cxn ang="0">
                  <a:pos x="T8" y="T9"/>
                </a:cxn>
                <a:cxn ang="0">
                  <a:pos x="T10" y="T11"/>
                </a:cxn>
                <a:cxn ang="0">
                  <a:pos x="T12" y="T13"/>
                </a:cxn>
              </a:cxnLst>
              <a:rect l="0" t="0" r="r" b="b"/>
              <a:pathLst>
                <a:path w="564" h="3761">
                  <a:moveTo>
                    <a:pt x="563" y="0"/>
                  </a:moveTo>
                  <a:lnTo>
                    <a:pt x="0" y="202"/>
                  </a:lnTo>
                  <a:lnTo>
                    <a:pt x="282" y="1193"/>
                  </a:lnTo>
                  <a:lnTo>
                    <a:pt x="473" y="1317"/>
                  </a:lnTo>
                  <a:lnTo>
                    <a:pt x="282" y="1508"/>
                  </a:lnTo>
                  <a:lnTo>
                    <a:pt x="563" y="3760"/>
                  </a:lnTo>
                  <a:lnTo>
                    <a:pt x="563" y="0"/>
                  </a:lnTo>
                </a:path>
              </a:pathLst>
            </a:custGeom>
            <a:solidFill>
              <a:srgbClr val="23526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900" dirty="0">
                <a:latin typeface="Lato Light" panose="020F0502020204030203" pitchFamily="34" charset="0"/>
              </a:endParaRPr>
            </a:p>
          </p:txBody>
        </p:sp>
      </p:grpSp>
      <p:sp>
        <p:nvSpPr>
          <p:cNvPr id="94" name="Titel 1">
            <a:extLst>
              <a:ext uri="{FF2B5EF4-FFF2-40B4-BE49-F238E27FC236}">
                <a16:creationId xmlns:a16="http://schemas.microsoft.com/office/drawing/2014/main" id="{5CF4DB2B-7291-4313-921D-3E2991BBD2CB}"/>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2-option comparison</a:t>
            </a:r>
          </a:p>
        </p:txBody>
      </p:sp>
    </p:spTree>
    <p:custDataLst>
      <p:tags r:id="rId1"/>
    </p:custDataLst>
    <p:extLst>
      <p:ext uri="{BB962C8B-B14F-4D97-AF65-F5344CB8AC3E}">
        <p14:creationId xmlns:p14="http://schemas.microsoft.com/office/powerpoint/2010/main" val="3041108585"/>
      </p:ext>
    </p:extLst>
  </p:cSld>
  <p:clrMapOvr>
    <a:masterClrMapping/>
  </p:clrMapOvr>
  <mc:AlternateContent xmlns:mc="http://schemas.openxmlformats.org/markup-compatibility/2006" xmlns:p14="http://schemas.microsoft.com/office/powerpoint/2010/main">
    <mc:Choice Requires="p14">
      <p:transition spd="med">
        <p14:pan/>
      </p:transition>
    </mc:Choice>
    <mc:Fallback xmlns:a14="http://schemas.microsoft.com/office/drawing/2010/main"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0" name="Hexagon 19">
            <a:extLst>
              <a:ext uri="{FF2B5EF4-FFF2-40B4-BE49-F238E27FC236}">
                <a16:creationId xmlns:a16="http://schemas.microsoft.com/office/drawing/2014/main" id="{4F43D971-C212-A341-A73B-83DC85104B56}"/>
              </a:ext>
            </a:extLst>
          </p:cNvPr>
          <p:cNvSpPr/>
          <p:nvPr/>
        </p:nvSpPr>
        <p:spPr>
          <a:xfrm>
            <a:off x="6227134" y="2977897"/>
            <a:ext cx="1691640" cy="1547330"/>
          </a:xfrm>
          <a:prstGeom prst="hexagon">
            <a:avLst>
              <a:gd name="adj" fmla="val 22506"/>
              <a:gd name="vf" fmla="val 115470"/>
            </a:avLst>
          </a:prstGeom>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useBgFill="1">
        <p:nvSpPr>
          <p:cNvPr id="5" name="Hexagon 4">
            <a:extLst>
              <a:ext uri="{FF2B5EF4-FFF2-40B4-BE49-F238E27FC236}">
                <a16:creationId xmlns:a16="http://schemas.microsoft.com/office/drawing/2014/main" id="{26C5807B-EFB3-4043-9EB4-B8FE38187CAD}"/>
              </a:ext>
            </a:extLst>
          </p:cNvPr>
          <p:cNvSpPr/>
          <p:nvPr/>
        </p:nvSpPr>
        <p:spPr>
          <a:xfrm>
            <a:off x="4277676" y="2977897"/>
            <a:ext cx="1691640" cy="1547330"/>
          </a:xfrm>
          <a:prstGeom prst="hexagon">
            <a:avLst>
              <a:gd name="adj" fmla="val 22506"/>
              <a:gd name="vf" fmla="val 115470"/>
            </a:avLst>
          </a:prstGeom>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8" name="TextBox 7">
            <a:extLst>
              <a:ext uri="{FF2B5EF4-FFF2-40B4-BE49-F238E27FC236}">
                <a16:creationId xmlns:a16="http://schemas.microsoft.com/office/drawing/2014/main" id="{B2BAC407-200D-5E4B-8AE9-142B9CAE4A9E}"/>
              </a:ext>
            </a:extLst>
          </p:cNvPr>
          <p:cNvSpPr txBox="1"/>
          <p:nvPr/>
        </p:nvSpPr>
        <p:spPr>
          <a:xfrm>
            <a:off x="4595431" y="3466008"/>
            <a:ext cx="1091966" cy="553998"/>
          </a:xfrm>
          <a:prstGeom prst="rect">
            <a:avLst/>
          </a:prstGeom>
          <a:noFill/>
        </p:spPr>
        <p:txBody>
          <a:bodyPr wrap="none" rtlCol="0" anchor="b">
            <a:spAutoFit/>
          </a:bodyPr>
          <a:lstStyle/>
          <a:p>
            <a:pPr algn="ctr"/>
            <a:r>
              <a:rPr lang="en-US" sz="3000" b="1" dirty="0">
                <a:solidFill>
                  <a:schemeClr val="accent1">
                    <a:lumMod val="75000"/>
                  </a:schemeClr>
                </a:solidFill>
                <a:latin typeface="Segoe UI Light" panose="020B0502040204020203" pitchFamily="34" charset="0"/>
                <a:cs typeface="Poppins" pitchFamily="2" charset="77"/>
              </a:rPr>
              <a:t>PROS</a:t>
            </a:r>
          </a:p>
        </p:txBody>
      </p:sp>
      <p:sp>
        <p:nvSpPr>
          <p:cNvPr id="9" name="TextBox 8">
            <a:extLst>
              <a:ext uri="{FF2B5EF4-FFF2-40B4-BE49-F238E27FC236}">
                <a16:creationId xmlns:a16="http://schemas.microsoft.com/office/drawing/2014/main" id="{9CCB9F5B-F639-554C-A883-6C9529DCBCDF}"/>
              </a:ext>
            </a:extLst>
          </p:cNvPr>
          <p:cNvSpPr txBox="1"/>
          <p:nvPr/>
        </p:nvSpPr>
        <p:spPr>
          <a:xfrm>
            <a:off x="6466089" y="3466008"/>
            <a:ext cx="1213730" cy="553998"/>
          </a:xfrm>
          <a:prstGeom prst="rect">
            <a:avLst/>
          </a:prstGeom>
          <a:noFill/>
        </p:spPr>
        <p:txBody>
          <a:bodyPr wrap="none" rtlCol="0" anchor="b">
            <a:spAutoFit/>
          </a:bodyPr>
          <a:lstStyle/>
          <a:p>
            <a:pPr algn="ctr"/>
            <a:r>
              <a:rPr lang="en-US" sz="3000" b="1" dirty="0">
                <a:solidFill>
                  <a:schemeClr val="accent3">
                    <a:lumMod val="75000"/>
                  </a:schemeClr>
                </a:solidFill>
                <a:latin typeface="Segoe UI Light" panose="020B0502040204020203" pitchFamily="34" charset="0"/>
                <a:cs typeface="Poppins" pitchFamily="2" charset="77"/>
              </a:rPr>
              <a:t>CONS</a:t>
            </a:r>
          </a:p>
        </p:txBody>
      </p:sp>
      <p:sp>
        <p:nvSpPr>
          <p:cNvPr id="10" name="Oval 9">
            <a:extLst>
              <a:ext uri="{FF2B5EF4-FFF2-40B4-BE49-F238E27FC236}">
                <a16:creationId xmlns:a16="http://schemas.microsoft.com/office/drawing/2014/main" id="{530D04A6-4BEA-AF42-94EA-37839197B4CE}"/>
              </a:ext>
            </a:extLst>
          </p:cNvPr>
          <p:cNvSpPr/>
          <p:nvPr/>
        </p:nvSpPr>
        <p:spPr>
          <a:xfrm>
            <a:off x="8646125" y="1582379"/>
            <a:ext cx="595622" cy="59562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1" name="Oval 10">
            <a:extLst>
              <a:ext uri="{FF2B5EF4-FFF2-40B4-BE49-F238E27FC236}">
                <a16:creationId xmlns:a16="http://schemas.microsoft.com/office/drawing/2014/main" id="{670549D5-7715-B243-8D3F-DE8D8F2F77A2}"/>
              </a:ext>
            </a:extLst>
          </p:cNvPr>
          <p:cNvSpPr/>
          <p:nvPr/>
        </p:nvSpPr>
        <p:spPr>
          <a:xfrm>
            <a:off x="8646125" y="2518065"/>
            <a:ext cx="595622" cy="59562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2" name="Oval 11">
            <a:extLst>
              <a:ext uri="{FF2B5EF4-FFF2-40B4-BE49-F238E27FC236}">
                <a16:creationId xmlns:a16="http://schemas.microsoft.com/office/drawing/2014/main" id="{F54C2167-62A1-9D4C-BCC4-AF99AFC9FD9C}"/>
              </a:ext>
            </a:extLst>
          </p:cNvPr>
          <p:cNvSpPr/>
          <p:nvPr/>
        </p:nvSpPr>
        <p:spPr>
          <a:xfrm>
            <a:off x="8646125" y="3453752"/>
            <a:ext cx="595622" cy="59562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3" name="Oval 12">
            <a:extLst>
              <a:ext uri="{FF2B5EF4-FFF2-40B4-BE49-F238E27FC236}">
                <a16:creationId xmlns:a16="http://schemas.microsoft.com/office/drawing/2014/main" id="{A8E560BC-C88C-1145-9373-2D733DB7A05F}"/>
              </a:ext>
            </a:extLst>
          </p:cNvPr>
          <p:cNvSpPr/>
          <p:nvPr/>
        </p:nvSpPr>
        <p:spPr>
          <a:xfrm>
            <a:off x="8646125" y="4389438"/>
            <a:ext cx="595622" cy="59562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4" name="Oval 13">
            <a:extLst>
              <a:ext uri="{FF2B5EF4-FFF2-40B4-BE49-F238E27FC236}">
                <a16:creationId xmlns:a16="http://schemas.microsoft.com/office/drawing/2014/main" id="{E4FFE7CF-3895-1740-9D20-B58D7A4BD6A1}"/>
              </a:ext>
            </a:extLst>
          </p:cNvPr>
          <p:cNvSpPr/>
          <p:nvPr/>
        </p:nvSpPr>
        <p:spPr>
          <a:xfrm>
            <a:off x="8646125" y="5325125"/>
            <a:ext cx="595622" cy="59562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5" name="Oval 14">
            <a:extLst>
              <a:ext uri="{FF2B5EF4-FFF2-40B4-BE49-F238E27FC236}">
                <a16:creationId xmlns:a16="http://schemas.microsoft.com/office/drawing/2014/main" id="{ADB9E5FD-5361-464D-824C-5091BF173A6A}"/>
              </a:ext>
            </a:extLst>
          </p:cNvPr>
          <p:cNvSpPr/>
          <p:nvPr/>
        </p:nvSpPr>
        <p:spPr>
          <a:xfrm>
            <a:off x="2966876" y="1582379"/>
            <a:ext cx="595622" cy="5956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6" name="Oval 15">
            <a:extLst>
              <a:ext uri="{FF2B5EF4-FFF2-40B4-BE49-F238E27FC236}">
                <a16:creationId xmlns:a16="http://schemas.microsoft.com/office/drawing/2014/main" id="{420577A0-7DE4-854E-B7F2-ACF42C7CFA98}"/>
              </a:ext>
            </a:extLst>
          </p:cNvPr>
          <p:cNvSpPr/>
          <p:nvPr/>
        </p:nvSpPr>
        <p:spPr>
          <a:xfrm>
            <a:off x="2966876" y="2518065"/>
            <a:ext cx="595622" cy="5956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7" name="Oval 16">
            <a:extLst>
              <a:ext uri="{FF2B5EF4-FFF2-40B4-BE49-F238E27FC236}">
                <a16:creationId xmlns:a16="http://schemas.microsoft.com/office/drawing/2014/main" id="{A6D7BCAC-80D4-704C-85DD-51EAACD60E5D}"/>
              </a:ext>
            </a:extLst>
          </p:cNvPr>
          <p:cNvSpPr/>
          <p:nvPr/>
        </p:nvSpPr>
        <p:spPr>
          <a:xfrm>
            <a:off x="2966876" y="3453752"/>
            <a:ext cx="595622" cy="5956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8" name="Oval 17">
            <a:extLst>
              <a:ext uri="{FF2B5EF4-FFF2-40B4-BE49-F238E27FC236}">
                <a16:creationId xmlns:a16="http://schemas.microsoft.com/office/drawing/2014/main" id="{59796081-B8E4-C742-A290-F51A3CBDAF83}"/>
              </a:ext>
            </a:extLst>
          </p:cNvPr>
          <p:cNvSpPr/>
          <p:nvPr/>
        </p:nvSpPr>
        <p:spPr>
          <a:xfrm>
            <a:off x="2966876" y="4389438"/>
            <a:ext cx="595622" cy="5956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9" name="Oval 18">
            <a:extLst>
              <a:ext uri="{FF2B5EF4-FFF2-40B4-BE49-F238E27FC236}">
                <a16:creationId xmlns:a16="http://schemas.microsoft.com/office/drawing/2014/main" id="{95FE6573-2B38-694F-9FE9-C2985132DFDB}"/>
              </a:ext>
            </a:extLst>
          </p:cNvPr>
          <p:cNvSpPr/>
          <p:nvPr/>
        </p:nvSpPr>
        <p:spPr>
          <a:xfrm>
            <a:off x="2966876" y="5325125"/>
            <a:ext cx="595622" cy="5956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cxnSp>
        <p:nvCxnSpPr>
          <p:cNvPr id="22" name="Elbow Connector 21">
            <a:extLst>
              <a:ext uri="{FF2B5EF4-FFF2-40B4-BE49-F238E27FC236}">
                <a16:creationId xmlns:a16="http://schemas.microsoft.com/office/drawing/2014/main" id="{9F242110-5B77-FA4A-BFEC-CEB673E1F258}"/>
              </a:ext>
            </a:extLst>
          </p:cNvPr>
          <p:cNvCxnSpPr>
            <a:cxnSpLocks/>
            <a:stCxn id="15" idx="6"/>
            <a:endCxn id="5" idx="3"/>
          </p:cNvCxnSpPr>
          <p:nvPr/>
        </p:nvCxnSpPr>
        <p:spPr>
          <a:xfrm>
            <a:off x="3562498" y="1880190"/>
            <a:ext cx="715178" cy="1871373"/>
          </a:xfrm>
          <a:prstGeom prst="bentConnector3">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Elbow Connector 23">
            <a:extLst>
              <a:ext uri="{FF2B5EF4-FFF2-40B4-BE49-F238E27FC236}">
                <a16:creationId xmlns:a16="http://schemas.microsoft.com/office/drawing/2014/main" id="{269A623F-1E01-6E42-8921-F4505AE5C09E}"/>
              </a:ext>
            </a:extLst>
          </p:cNvPr>
          <p:cNvCxnSpPr>
            <a:cxnSpLocks/>
            <a:stCxn id="5" idx="3"/>
            <a:endCxn id="18" idx="6"/>
          </p:cNvCxnSpPr>
          <p:nvPr/>
        </p:nvCxnSpPr>
        <p:spPr>
          <a:xfrm rot="10800000" flipV="1">
            <a:off x="3562498" y="3751562"/>
            <a:ext cx="715178" cy="935687"/>
          </a:xfrm>
          <a:prstGeom prst="bentConnector3">
            <a:avLst>
              <a:gd name="adj1" fmla="val 50000"/>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Elbow Connector 24">
            <a:extLst>
              <a:ext uri="{FF2B5EF4-FFF2-40B4-BE49-F238E27FC236}">
                <a16:creationId xmlns:a16="http://schemas.microsoft.com/office/drawing/2014/main" id="{8DB25DF8-FB27-674C-95AE-E16A1727144B}"/>
              </a:ext>
            </a:extLst>
          </p:cNvPr>
          <p:cNvCxnSpPr>
            <a:cxnSpLocks/>
            <a:stCxn id="5" idx="3"/>
            <a:endCxn id="19" idx="6"/>
          </p:cNvCxnSpPr>
          <p:nvPr/>
        </p:nvCxnSpPr>
        <p:spPr>
          <a:xfrm rot="10800000" flipV="1">
            <a:off x="3562498" y="3751562"/>
            <a:ext cx="715178" cy="1871374"/>
          </a:xfrm>
          <a:prstGeom prst="bentConnector3">
            <a:avLst>
              <a:gd name="adj1" fmla="val 50000"/>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Elbow Connector 29">
            <a:extLst>
              <a:ext uri="{FF2B5EF4-FFF2-40B4-BE49-F238E27FC236}">
                <a16:creationId xmlns:a16="http://schemas.microsoft.com/office/drawing/2014/main" id="{A13A7C6C-6376-2F4F-AD6F-314AE235CDB9}"/>
              </a:ext>
            </a:extLst>
          </p:cNvPr>
          <p:cNvCxnSpPr>
            <a:cxnSpLocks/>
            <a:stCxn id="5" idx="3"/>
            <a:endCxn id="16" idx="6"/>
          </p:cNvCxnSpPr>
          <p:nvPr/>
        </p:nvCxnSpPr>
        <p:spPr>
          <a:xfrm rot="10800000">
            <a:off x="3562498" y="2815876"/>
            <a:ext cx="715178" cy="935686"/>
          </a:xfrm>
          <a:prstGeom prst="bentConnector3">
            <a:avLst>
              <a:gd name="adj1" fmla="val 50000"/>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Elbow Connector 30">
            <a:extLst>
              <a:ext uri="{FF2B5EF4-FFF2-40B4-BE49-F238E27FC236}">
                <a16:creationId xmlns:a16="http://schemas.microsoft.com/office/drawing/2014/main" id="{D994CDDB-5E89-E346-92B8-56C6A3A788BD}"/>
              </a:ext>
            </a:extLst>
          </p:cNvPr>
          <p:cNvCxnSpPr>
            <a:cxnSpLocks/>
            <a:stCxn id="5" idx="3"/>
            <a:endCxn id="17" idx="6"/>
          </p:cNvCxnSpPr>
          <p:nvPr/>
        </p:nvCxnSpPr>
        <p:spPr>
          <a:xfrm rot="10800000" flipV="1">
            <a:off x="3562498" y="3751562"/>
            <a:ext cx="715178" cy="1"/>
          </a:xfrm>
          <a:prstGeom prst="bentConnector3">
            <a:avLst>
              <a:gd name="adj1" fmla="val 50000"/>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Elbow Connector 35">
            <a:extLst>
              <a:ext uri="{FF2B5EF4-FFF2-40B4-BE49-F238E27FC236}">
                <a16:creationId xmlns:a16="http://schemas.microsoft.com/office/drawing/2014/main" id="{BC67DDDE-F245-F342-80E6-43C0B49E30CC}"/>
              </a:ext>
            </a:extLst>
          </p:cNvPr>
          <p:cNvCxnSpPr>
            <a:cxnSpLocks/>
            <a:stCxn id="10" idx="2"/>
            <a:endCxn id="20" idx="0"/>
          </p:cNvCxnSpPr>
          <p:nvPr/>
        </p:nvCxnSpPr>
        <p:spPr>
          <a:xfrm rot="10800000" flipV="1">
            <a:off x="7918774" y="1880189"/>
            <a:ext cx="727351" cy="1871373"/>
          </a:xfrm>
          <a:prstGeom prst="bentConnector3">
            <a:avLst>
              <a:gd name="adj1" fmla="val 50000"/>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Elbow Connector 36">
            <a:extLst>
              <a:ext uri="{FF2B5EF4-FFF2-40B4-BE49-F238E27FC236}">
                <a16:creationId xmlns:a16="http://schemas.microsoft.com/office/drawing/2014/main" id="{D6A679DB-AE3F-7D45-8579-0004930B646D}"/>
              </a:ext>
            </a:extLst>
          </p:cNvPr>
          <p:cNvCxnSpPr>
            <a:cxnSpLocks/>
            <a:stCxn id="20" idx="0"/>
            <a:endCxn id="13" idx="2"/>
          </p:cNvCxnSpPr>
          <p:nvPr/>
        </p:nvCxnSpPr>
        <p:spPr>
          <a:xfrm>
            <a:off x="7918774" y="3751562"/>
            <a:ext cx="727351" cy="935687"/>
          </a:xfrm>
          <a:prstGeom prst="bentConnector3">
            <a:avLst>
              <a:gd name="adj1" fmla="val 50000"/>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4345DDDD-5C93-2A45-B385-66A3FDD98FA5}"/>
              </a:ext>
            </a:extLst>
          </p:cNvPr>
          <p:cNvCxnSpPr>
            <a:cxnSpLocks/>
            <a:stCxn id="20" idx="0"/>
            <a:endCxn id="14" idx="2"/>
          </p:cNvCxnSpPr>
          <p:nvPr/>
        </p:nvCxnSpPr>
        <p:spPr>
          <a:xfrm>
            <a:off x="7918774" y="3751562"/>
            <a:ext cx="727351" cy="1871374"/>
          </a:xfrm>
          <a:prstGeom prst="bentConnector3">
            <a:avLst>
              <a:gd name="adj1" fmla="val 50000"/>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Elbow Connector 38">
            <a:extLst>
              <a:ext uri="{FF2B5EF4-FFF2-40B4-BE49-F238E27FC236}">
                <a16:creationId xmlns:a16="http://schemas.microsoft.com/office/drawing/2014/main" id="{8FD72B32-E697-F245-A60C-F25B6491583C}"/>
              </a:ext>
            </a:extLst>
          </p:cNvPr>
          <p:cNvCxnSpPr>
            <a:cxnSpLocks/>
            <a:stCxn id="20" idx="0"/>
            <a:endCxn id="11" idx="2"/>
          </p:cNvCxnSpPr>
          <p:nvPr/>
        </p:nvCxnSpPr>
        <p:spPr>
          <a:xfrm flipV="1">
            <a:off x="7918774" y="2815876"/>
            <a:ext cx="727351" cy="935686"/>
          </a:xfrm>
          <a:prstGeom prst="bentConnector3">
            <a:avLst>
              <a:gd name="adj1" fmla="val 50000"/>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8" name="Elbow Connector 47">
            <a:extLst>
              <a:ext uri="{FF2B5EF4-FFF2-40B4-BE49-F238E27FC236}">
                <a16:creationId xmlns:a16="http://schemas.microsoft.com/office/drawing/2014/main" id="{09B17FBF-36C3-2F43-9320-956C52958051}"/>
              </a:ext>
            </a:extLst>
          </p:cNvPr>
          <p:cNvCxnSpPr>
            <a:cxnSpLocks/>
            <a:stCxn id="12" idx="2"/>
            <a:endCxn id="20" idx="0"/>
          </p:cNvCxnSpPr>
          <p:nvPr/>
        </p:nvCxnSpPr>
        <p:spPr>
          <a:xfrm rot="10800000">
            <a:off x="7918774" y="3751563"/>
            <a:ext cx="727351" cy="1"/>
          </a:xfrm>
          <a:prstGeom prst="bentConnector3">
            <a:avLst>
              <a:gd name="adj1" fmla="val 50000"/>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1" name="Freeform 755">
            <a:extLst>
              <a:ext uri="{FF2B5EF4-FFF2-40B4-BE49-F238E27FC236}">
                <a16:creationId xmlns:a16="http://schemas.microsoft.com/office/drawing/2014/main" id="{3F7F7459-01A3-7D4C-9778-72677308A5F1}"/>
              </a:ext>
            </a:extLst>
          </p:cNvPr>
          <p:cNvSpPr>
            <a:spLocks noChangeArrowheads="1"/>
          </p:cNvSpPr>
          <p:nvPr/>
        </p:nvSpPr>
        <p:spPr bwMode="auto">
          <a:xfrm>
            <a:off x="3116204" y="1740969"/>
            <a:ext cx="287374" cy="278440"/>
          </a:xfrm>
          <a:custGeom>
            <a:avLst/>
            <a:gdLst/>
            <a:ahLst/>
            <a:cxnLst/>
            <a:rect l="0" t="0" r="r" b="b"/>
            <a:pathLst>
              <a:path w="306026" h="296645">
                <a:moveTo>
                  <a:pt x="157705" y="218334"/>
                </a:moveTo>
                <a:lnTo>
                  <a:pt x="157705" y="256948"/>
                </a:lnTo>
                <a:cubicBezTo>
                  <a:pt x="157705" y="262361"/>
                  <a:pt x="162035" y="267053"/>
                  <a:pt x="167809" y="267053"/>
                </a:cubicBezTo>
                <a:cubicBezTo>
                  <a:pt x="173583" y="267053"/>
                  <a:pt x="178275" y="262361"/>
                  <a:pt x="178275" y="256948"/>
                </a:cubicBezTo>
                <a:lnTo>
                  <a:pt x="178275" y="218334"/>
                </a:lnTo>
                <a:lnTo>
                  <a:pt x="157705" y="218334"/>
                </a:lnTo>
                <a:close/>
                <a:moveTo>
                  <a:pt x="127391" y="218334"/>
                </a:moveTo>
                <a:lnTo>
                  <a:pt x="127391" y="256948"/>
                </a:lnTo>
                <a:cubicBezTo>
                  <a:pt x="127391" y="262361"/>
                  <a:pt x="132082" y="267053"/>
                  <a:pt x="137856" y="267053"/>
                </a:cubicBezTo>
                <a:cubicBezTo>
                  <a:pt x="143630" y="267053"/>
                  <a:pt x="148322" y="262361"/>
                  <a:pt x="148322" y="256948"/>
                </a:cubicBezTo>
                <a:lnTo>
                  <a:pt x="148322" y="218334"/>
                </a:lnTo>
                <a:lnTo>
                  <a:pt x="127391" y="218334"/>
                </a:lnTo>
                <a:close/>
                <a:moveTo>
                  <a:pt x="23097" y="176832"/>
                </a:moveTo>
                <a:lnTo>
                  <a:pt x="23097" y="204620"/>
                </a:lnTo>
                <a:cubicBezTo>
                  <a:pt x="23097" y="206785"/>
                  <a:pt x="25262" y="209312"/>
                  <a:pt x="27788" y="209312"/>
                </a:cubicBezTo>
                <a:lnTo>
                  <a:pt x="278239" y="209312"/>
                </a:lnTo>
                <a:cubicBezTo>
                  <a:pt x="280765" y="209312"/>
                  <a:pt x="282930" y="206785"/>
                  <a:pt x="282930" y="204620"/>
                </a:cubicBezTo>
                <a:lnTo>
                  <a:pt x="282930" y="176832"/>
                </a:lnTo>
                <a:lnTo>
                  <a:pt x="187297" y="176832"/>
                </a:lnTo>
                <a:lnTo>
                  <a:pt x="118730" y="176832"/>
                </a:lnTo>
                <a:lnTo>
                  <a:pt x="23097" y="176832"/>
                </a:lnTo>
                <a:close/>
                <a:moveTo>
                  <a:pt x="14153" y="149369"/>
                </a:moveTo>
                <a:lnTo>
                  <a:pt x="63279" y="149369"/>
                </a:lnTo>
                <a:cubicBezTo>
                  <a:pt x="65770" y="149369"/>
                  <a:pt x="67906" y="151486"/>
                  <a:pt x="67906" y="153955"/>
                </a:cubicBezTo>
                <a:cubicBezTo>
                  <a:pt x="67906" y="156425"/>
                  <a:pt x="65770" y="158541"/>
                  <a:pt x="63279" y="158541"/>
                </a:cubicBezTo>
                <a:lnTo>
                  <a:pt x="14153" y="158541"/>
                </a:lnTo>
                <a:cubicBezTo>
                  <a:pt x="11661" y="158541"/>
                  <a:pt x="9525" y="156425"/>
                  <a:pt x="9525" y="153955"/>
                </a:cubicBezTo>
                <a:cubicBezTo>
                  <a:pt x="9525" y="151486"/>
                  <a:pt x="11661" y="149369"/>
                  <a:pt x="14153" y="149369"/>
                </a:cubicBezTo>
                <a:close/>
                <a:moveTo>
                  <a:pt x="4617" y="130319"/>
                </a:moveTo>
                <a:lnTo>
                  <a:pt x="49004" y="130319"/>
                </a:lnTo>
                <a:cubicBezTo>
                  <a:pt x="51490" y="130319"/>
                  <a:pt x="53620" y="132436"/>
                  <a:pt x="53620" y="134905"/>
                </a:cubicBezTo>
                <a:cubicBezTo>
                  <a:pt x="53620" y="137375"/>
                  <a:pt x="51490" y="139491"/>
                  <a:pt x="49004" y="139491"/>
                </a:cubicBezTo>
                <a:lnTo>
                  <a:pt x="4617" y="139491"/>
                </a:lnTo>
                <a:cubicBezTo>
                  <a:pt x="1776" y="139491"/>
                  <a:pt x="0" y="137375"/>
                  <a:pt x="0" y="134905"/>
                </a:cubicBezTo>
                <a:cubicBezTo>
                  <a:pt x="0" y="132436"/>
                  <a:pt x="1776" y="130319"/>
                  <a:pt x="4617" y="130319"/>
                </a:cubicBezTo>
                <a:close/>
                <a:moveTo>
                  <a:pt x="19037" y="111269"/>
                </a:moveTo>
                <a:lnTo>
                  <a:pt x="55210" y="111269"/>
                </a:lnTo>
                <a:cubicBezTo>
                  <a:pt x="58133" y="111269"/>
                  <a:pt x="59960" y="113386"/>
                  <a:pt x="59960" y="115855"/>
                </a:cubicBezTo>
                <a:cubicBezTo>
                  <a:pt x="59960" y="118325"/>
                  <a:pt x="58133" y="120441"/>
                  <a:pt x="55210" y="120441"/>
                </a:cubicBezTo>
                <a:lnTo>
                  <a:pt x="19037" y="120441"/>
                </a:lnTo>
                <a:cubicBezTo>
                  <a:pt x="16480" y="120441"/>
                  <a:pt x="14287" y="118325"/>
                  <a:pt x="14287" y="115855"/>
                </a:cubicBezTo>
                <a:cubicBezTo>
                  <a:pt x="14287" y="113386"/>
                  <a:pt x="16480" y="111269"/>
                  <a:pt x="19037" y="111269"/>
                </a:cubicBezTo>
                <a:close/>
                <a:moveTo>
                  <a:pt x="118730" y="105377"/>
                </a:moveTo>
                <a:cubicBezTo>
                  <a:pt x="106460" y="105377"/>
                  <a:pt x="96355" y="115121"/>
                  <a:pt x="96355" y="127391"/>
                </a:cubicBezTo>
                <a:lnTo>
                  <a:pt x="96355" y="167449"/>
                </a:lnTo>
                <a:lnTo>
                  <a:pt x="114038" y="167449"/>
                </a:lnTo>
                <a:lnTo>
                  <a:pt x="114038" y="132083"/>
                </a:lnTo>
                <a:cubicBezTo>
                  <a:pt x="114038" y="129556"/>
                  <a:pt x="116204" y="127391"/>
                  <a:pt x="118730" y="127391"/>
                </a:cubicBezTo>
                <a:cubicBezTo>
                  <a:pt x="121256" y="127391"/>
                  <a:pt x="123421" y="129556"/>
                  <a:pt x="123421" y="132083"/>
                </a:cubicBezTo>
                <a:lnTo>
                  <a:pt x="123421" y="167449"/>
                </a:lnTo>
                <a:lnTo>
                  <a:pt x="182605" y="167449"/>
                </a:lnTo>
                <a:lnTo>
                  <a:pt x="182605" y="132083"/>
                </a:lnTo>
                <a:cubicBezTo>
                  <a:pt x="182605" y="129556"/>
                  <a:pt x="184410" y="127391"/>
                  <a:pt x="187297" y="127391"/>
                </a:cubicBezTo>
                <a:cubicBezTo>
                  <a:pt x="189823" y="127391"/>
                  <a:pt x="191627" y="129556"/>
                  <a:pt x="191627" y="132083"/>
                </a:cubicBezTo>
                <a:lnTo>
                  <a:pt x="191627" y="167449"/>
                </a:lnTo>
                <a:lnTo>
                  <a:pt x="209311" y="167449"/>
                </a:lnTo>
                <a:lnTo>
                  <a:pt x="209311" y="127391"/>
                </a:lnTo>
                <a:cubicBezTo>
                  <a:pt x="209311" y="115121"/>
                  <a:pt x="199206" y="105377"/>
                  <a:pt x="187297" y="105377"/>
                </a:cubicBezTo>
                <a:lnTo>
                  <a:pt x="118730" y="105377"/>
                </a:lnTo>
                <a:close/>
                <a:moveTo>
                  <a:pt x="153805" y="42581"/>
                </a:moveTo>
                <a:cubicBezTo>
                  <a:pt x="143249" y="42581"/>
                  <a:pt x="134513" y="50954"/>
                  <a:pt x="134513" y="61874"/>
                </a:cubicBezTo>
                <a:cubicBezTo>
                  <a:pt x="134513" y="72066"/>
                  <a:pt x="143249" y="80803"/>
                  <a:pt x="153805" y="80803"/>
                </a:cubicBezTo>
                <a:cubicBezTo>
                  <a:pt x="163998" y="80803"/>
                  <a:pt x="172734" y="72066"/>
                  <a:pt x="172734" y="61874"/>
                </a:cubicBezTo>
                <a:cubicBezTo>
                  <a:pt x="172734" y="50954"/>
                  <a:pt x="163998" y="42581"/>
                  <a:pt x="153805" y="42581"/>
                </a:cubicBezTo>
                <a:close/>
                <a:moveTo>
                  <a:pt x="153805" y="33481"/>
                </a:moveTo>
                <a:cubicBezTo>
                  <a:pt x="169458" y="33481"/>
                  <a:pt x="182198" y="45857"/>
                  <a:pt x="182198" y="61874"/>
                </a:cubicBezTo>
                <a:cubicBezTo>
                  <a:pt x="182198" y="77527"/>
                  <a:pt x="169458" y="90267"/>
                  <a:pt x="153805" y="90267"/>
                </a:cubicBezTo>
                <a:cubicBezTo>
                  <a:pt x="138153" y="90267"/>
                  <a:pt x="125412" y="77527"/>
                  <a:pt x="125412" y="61874"/>
                </a:cubicBezTo>
                <a:cubicBezTo>
                  <a:pt x="125412" y="45857"/>
                  <a:pt x="138153" y="33481"/>
                  <a:pt x="153805" y="33481"/>
                </a:cubicBezTo>
                <a:close/>
                <a:moveTo>
                  <a:pt x="225595" y="10510"/>
                </a:moveTo>
                <a:cubicBezTo>
                  <a:pt x="221490" y="10014"/>
                  <a:pt x="217250" y="10826"/>
                  <a:pt x="213641" y="12991"/>
                </a:cubicBezTo>
                <a:lnTo>
                  <a:pt x="239624" y="38975"/>
                </a:lnTo>
                <a:cubicBezTo>
                  <a:pt x="243955" y="31757"/>
                  <a:pt x="242872" y="22013"/>
                  <a:pt x="236737" y="15878"/>
                </a:cubicBezTo>
                <a:cubicBezTo>
                  <a:pt x="233670" y="12811"/>
                  <a:pt x="229700" y="11006"/>
                  <a:pt x="225595" y="10510"/>
                </a:cubicBezTo>
                <a:close/>
                <a:moveTo>
                  <a:pt x="259473" y="0"/>
                </a:moveTo>
                <a:cubicBezTo>
                  <a:pt x="277517" y="0"/>
                  <a:pt x="291952" y="14435"/>
                  <a:pt x="291952" y="32479"/>
                </a:cubicBezTo>
                <a:lnTo>
                  <a:pt x="291952" y="147916"/>
                </a:lnTo>
                <a:lnTo>
                  <a:pt x="291952" y="167449"/>
                </a:lnTo>
                <a:lnTo>
                  <a:pt x="301335" y="167449"/>
                </a:lnTo>
                <a:cubicBezTo>
                  <a:pt x="303861" y="167449"/>
                  <a:pt x="306026" y="169614"/>
                  <a:pt x="306026" y="172141"/>
                </a:cubicBezTo>
                <a:cubicBezTo>
                  <a:pt x="306026" y="174667"/>
                  <a:pt x="303861" y="176832"/>
                  <a:pt x="301335" y="176832"/>
                </a:cubicBezTo>
                <a:lnTo>
                  <a:pt x="291952" y="176832"/>
                </a:lnTo>
                <a:lnTo>
                  <a:pt x="291952" y="204620"/>
                </a:lnTo>
                <a:cubicBezTo>
                  <a:pt x="291952" y="210394"/>
                  <a:pt x="287982" y="215447"/>
                  <a:pt x="282930" y="217251"/>
                </a:cubicBezTo>
                <a:lnTo>
                  <a:pt x="282930" y="291954"/>
                </a:lnTo>
                <a:cubicBezTo>
                  <a:pt x="282930" y="294480"/>
                  <a:pt x="280765" y="296645"/>
                  <a:pt x="278239" y="296645"/>
                </a:cubicBezTo>
                <a:cubicBezTo>
                  <a:pt x="275712" y="296645"/>
                  <a:pt x="273547" y="294480"/>
                  <a:pt x="273547" y="291954"/>
                </a:cubicBezTo>
                <a:lnTo>
                  <a:pt x="273547" y="218334"/>
                </a:lnTo>
                <a:lnTo>
                  <a:pt x="209311" y="218334"/>
                </a:lnTo>
                <a:lnTo>
                  <a:pt x="209311" y="262361"/>
                </a:lnTo>
                <a:cubicBezTo>
                  <a:pt x="209311" y="264887"/>
                  <a:pt x="207145" y="267053"/>
                  <a:pt x="204980" y="267053"/>
                </a:cubicBezTo>
                <a:cubicBezTo>
                  <a:pt x="202454" y="267053"/>
                  <a:pt x="200289" y="264887"/>
                  <a:pt x="200289" y="262361"/>
                </a:cubicBezTo>
                <a:lnTo>
                  <a:pt x="200289" y="218334"/>
                </a:lnTo>
                <a:lnTo>
                  <a:pt x="187658" y="218334"/>
                </a:lnTo>
                <a:lnTo>
                  <a:pt x="187658" y="256948"/>
                </a:lnTo>
                <a:cubicBezTo>
                  <a:pt x="187658" y="267775"/>
                  <a:pt x="178636" y="276436"/>
                  <a:pt x="167809" y="276436"/>
                </a:cubicBezTo>
                <a:cubicBezTo>
                  <a:pt x="162035" y="276436"/>
                  <a:pt x="156622" y="273549"/>
                  <a:pt x="153013" y="269218"/>
                </a:cubicBezTo>
                <a:cubicBezTo>
                  <a:pt x="149405" y="273549"/>
                  <a:pt x="143991" y="276436"/>
                  <a:pt x="137856" y="276436"/>
                </a:cubicBezTo>
                <a:cubicBezTo>
                  <a:pt x="127030" y="276436"/>
                  <a:pt x="118008" y="267775"/>
                  <a:pt x="118008" y="256948"/>
                </a:cubicBezTo>
                <a:lnTo>
                  <a:pt x="118008" y="218334"/>
                </a:lnTo>
                <a:lnTo>
                  <a:pt x="104655" y="218334"/>
                </a:lnTo>
                <a:lnTo>
                  <a:pt x="104655" y="262361"/>
                </a:lnTo>
                <a:cubicBezTo>
                  <a:pt x="104655" y="264887"/>
                  <a:pt x="102851" y="267053"/>
                  <a:pt x="99964" y="267053"/>
                </a:cubicBezTo>
                <a:cubicBezTo>
                  <a:pt x="97438" y="267053"/>
                  <a:pt x="95633" y="264887"/>
                  <a:pt x="95633" y="262361"/>
                </a:cubicBezTo>
                <a:lnTo>
                  <a:pt x="95633" y="218334"/>
                </a:lnTo>
                <a:lnTo>
                  <a:pt x="32119" y="218334"/>
                </a:lnTo>
                <a:lnTo>
                  <a:pt x="32119" y="291954"/>
                </a:lnTo>
                <a:cubicBezTo>
                  <a:pt x="32119" y="294480"/>
                  <a:pt x="30314" y="296645"/>
                  <a:pt x="27788" y="296645"/>
                </a:cubicBezTo>
                <a:cubicBezTo>
                  <a:pt x="25262" y="296645"/>
                  <a:pt x="23097" y="294480"/>
                  <a:pt x="23097" y="291954"/>
                </a:cubicBezTo>
                <a:lnTo>
                  <a:pt x="23097" y="217251"/>
                </a:lnTo>
                <a:cubicBezTo>
                  <a:pt x="17683" y="215447"/>
                  <a:pt x="13714" y="210394"/>
                  <a:pt x="13714" y="204620"/>
                </a:cubicBezTo>
                <a:lnTo>
                  <a:pt x="13714" y="176832"/>
                </a:lnTo>
                <a:lnTo>
                  <a:pt x="4692" y="176832"/>
                </a:lnTo>
                <a:cubicBezTo>
                  <a:pt x="1805" y="176832"/>
                  <a:pt x="0" y="174667"/>
                  <a:pt x="0" y="172141"/>
                </a:cubicBezTo>
                <a:cubicBezTo>
                  <a:pt x="0" y="169614"/>
                  <a:pt x="1805" y="167449"/>
                  <a:pt x="4692" y="167449"/>
                </a:cubicBezTo>
                <a:lnTo>
                  <a:pt x="18405" y="167449"/>
                </a:lnTo>
                <a:lnTo>
                  <a:pt x="87333" y="167449"/>
                </a:lnTo>
                <a:lnTo>
                  <a:pt x="87333" y="127391"/>
                </a:lnTo>
                <a:cubicBezTo>
                  <a:pt x="87333" y="110069"/>
                  <a:pt x="101407" y="95994"/>
                  <a:pt x="118730" y="95994"/>
                </a:cubicBezTo>
                <a:lnTo>
                  <a:pt x="187297" y="95994"/>
                </a:lnTo>
                <a:cubicBezTo>
                  <a:pt x="204258" y="95994"/>
                  <a:pt x="218693" y="110069"/>
                  <a:pt x="218693" y="127391"/>
                </a:cubicBezTo>
                <a:lnTo>
                  <a:pt x="218693" y="167449"/>
                </a:lnTo>
                <a:lnTo>
                  <a:pt x="282930" y="167449"/>
                </a:lnTo>
                <a:lnTo>
                  <a:pt x="282930" y="129133"/>
                </a:lnTo>
                <a:lnTo>
                  <a:pt x="282930" y="32479"/>
                </a:lnTo>
                <a:cubicBezTo>
                  <a:pt x="282930" y="19487"/>
                  <a:pt x="272465" y="9022"/>
                  <a:pt x="259473" y="9022"/>
                </a:cubicBezTo>
                <a:cubicBezTo>
                  <a:pt x="254781" y="9022"/>
                  <a:pt x="250451" y="10465"/>
                  <a:pt x="246481" y="12991"/>
                </a:cubicBezTo>
                <a:cubicBezTo>
                  <a:pt x="250270" y="18585"/>
                  <a:pt x="251894" y="25171"/>
                  <a:pt x="251353" y="31577"/>
                </a:cubicBezTo>
                <a:lnTo>
                  <a:pt x="243845" y="47761"/>
                </a:lnTo>
                <a:lnTo>
                  <a:pt x="243233" y="49080"/>
                </a:lnTo>
                <a:cubicBezTo>
                  <a:pt x="242512" y="49801"/>
                  <a:pt x="241429" y="50523"/>
                  <a:pt x="239985" y="50523"/>
                </a:cubicBezTo>
                <a:cubicBezTo>
                  <a:pt x="238903" y="50523"/>
                  <a:pt x="237820" y="49801"/>
                  <a:pt x="236737" y="49080"/>
                </a:cubicBezTo>
                <a:lnTo>
                  <a:pt x="203536" y="15878"/>
                </a:lnTo>
                <a:cubicBezTo>
                  <a:pt x="201732" y="14074"/>
                  <a:pt x="201732" y="11187"/>
                  <a:pt x="203536" y="9383"/>
                </a:cubicBezTo>
                <a:cubicBezTo>
                  <a:pt x="213641" y="-722"/>
                  <a:pt x="228798" y="-1444"/>
                  <a:pt x="239985" y="6495"/>
                </a:cubicBezTo>
                <a:cubicBezTo>
                  <a:pt x="245399" y="2165"/>
                  <a:pt x="252255" y="0"/>
                  <a:pt x="259473"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52" name="Freeform 757">
            <a:extLst>
              <a:ext uri="{FF2B5EF4-FFF2-40B4-BE49-F238E27FC236}">
                <a16:creationId xmlns:a16="http://schemas.microsoft.com/office/drawing/2014/main" id="{DC3E83E6-3AD3-B245-B887-37CB01EF5651}"/>
              </a:ext>
            </a:extLst>
          </p:cNvPr>
          <p:cNvSpPr>
            <a:spLocks noChangeArrowheads="1"/>
          </p:cNvSpPr>
          <p:nvPr/>
        </p:nvSpPr>
        <p:spPr bwMode="auto">
          <a:xfrm>
            <a:off x="8800248" y="1736501"/>
            <a:ext cx="287375" cy="287375"/>
          </a:xfrm>
          <a:custGeom>
            <a:avLst/>
            <a:gdLst/>
            <a:ahLst/>
            <a:cxnLst/>
            <a:rect l="0" t="0" r="r" b="b"/>
            <a:pathLst>
              <a:path w="306027" h="306027">
                <a:moveTo>
                  <a:pt x="123422" y="278239"/>
                </a:moveTo>
                <a:lnTo>
                  <a:pt x="114039" y="296644"/>
                </a:lnTo>
                <a:lnTo>
                  <a:pt x="191989" y="296644"/>
                </a:lnTo>
                <a:lnTo>
                  <a:pt x="182606" y="278239"/>
                </a:lnTo>
                <a:lnTo>
                  <a:pt x="123422" y="278239"/>
                </a:lnTo>
                <a:close/>
                <a:moveTo>
                  <a:pt x="9383" y="245760"/>
                </a:moveTo>
                <a:lnTo>
                  <a:pt x="9383" y="259834"/>
                </a:lnTo>
                <a:cubicBezTo>
                  <a:pt x="9383" y="264887"/>
                  <a:pt x="13352" y="268856"/>
                  <a:pt x="18405" y="268856"/>
                </a:cubicBezTo>
                <a:lnTo>
                  <a:pt x="120535" y="268856"/>
                </a:lnTo>
                <a:lnTo>
                  <a:pt x="185493" y="268856"/>
                </a:lnTo>
                <a:lnTo>
                  <a:pt x="287622" y="268856"/>
                </a:lnTo>
                <a:cubicBezTo>
                  <a:pt x="292675" y="268856"/>
                  <a:pt x="296644" y="264887"/>
                  <a:pt x="296644" y="259834"/>
                </a:cubicBezTo>
                <a:lnTo>
                  <a:pt x="296644" y="245760"/>
                </a:lnTo>
                <a:lnTo>
                  <a:pt x="9383" y="245760"/>
                </a:lnTo>
                <a:close/>
                <a:moveTo>
                  <a:pt x="36457" y="198438"/>
                </a:moveTo>
                <a:lnTo>
                  <a:pt x="109593" y="198438"/>
                </a:lnTo>
                <a:cubicBezTo>
                  <a:pt x="112128" y="198438"/>
                  <a:pt x="113938" y="200555"/>
                  <a:pt x="113938" y="203024"/>
                </a:cubicBezTo>
                <a:cubicBezTo>
                  <a:pt x="113938" y="205494"/>
                  <a:pt x="112128" y="207610"/>
                  <a:pt x="109593" y="207610"/>
                </a:cubicBezTo>
                <a:lnTo>
                  <a:pt x="36457" y="207610"/>
                </a:lnTo>
                <a:cubicBezTo>
                  <a:pt x="33923" y="207610"/>
                  <a:pt x="31750" y="205494"/>
                  <a:pt x="31750" y="203024"/>
                </a:cubicBezTo>
                <a:cubicBezTo>
                  <a:pt x="31750" y="200555"/>
                  <a:pt x="33923" y="198438"/>
                  <a:pt x="36457" y="198438"/>
                </a:cubicBezTo>
                <a:close/>
                <a:moveTo>
                  <a:pt x="82444" y="166688"/>
                </a:moveTo>
                <a:lnTo>
                  <a:pt x="131511" y="166688"/>
                </a:lnTo>
                <a:cubicBezTo>
                  <a:pt x="134018" y="166688"/>
                  <a:pt x="136167" y="168805"/>
                  <a:pt x="136167" y="171274"/>
                </a:cubicBezTo>
                <a:cubicBezTo>
                  <a:pt x="136167" y="173744"/>
                  <a:pt x="134018" y="175860"/>
                  <a:pt x="131511" y="175860"/>
                </a:cubicBezTo>
                <a:lnTo>
                  <a:pt x="82444" y="175860"/>
                </a:lnTo>
                <a:cubicBezTo>
                  <a:pt x="79937" y="175860"/>
                  <a:pt x="77788" y="173744"/>
                  <a:pt x="77788" y="171274"/>
                </a:cubicBezTo>
                <a:cubicBezTo>
                  <a:pt x="77788" y="168805"/>
                  <a:pt x="79937" y="166688"/>
                  <a:pt x="82444" y="166688"/>
                </a:cubicBezTo>
                <a:close/>
                <a:moveTo>
                  <a:pt x="36495" y="166688"/>
                </a:moveTo>
                <a:lnTo>
                  <a:pt x="58391" y="166688"/>
                </a:lnTo>
                <a:cubicBezTo>
                  <a:pt x="60946" y="166688"/>
                  <a:pt x="63135" y="168805"/>
                  <a:pt x="63135" y="171274"/>
                </a:cubicBezTo>
                <a:cubicBezTo>
                  <a:pt x="63135" y="173744"/>
                  <a:pt x="60946" y="175860"/>
                  <a:pt x="58391" y="175860"/>
                </a:cubicBezTo>
                <a:lnTo>
                  <a:pt x="36495" y="175860"/>
                </a:lnTo>
                <a:cubicBezTo>
                  <a:pt x="33940" y="175860"/>
                  <a:pt x="31750" y="173744"/>
                  <a:pt x="31750" y="171274"/>
                </a:cubicBezTo>
                <a:cubicBezTo>
                  <a:pt x="31750" y="168805"/>
                  <a:pt x="33940" y="166688"/>
                  <a:pt x="36495" y="166688"/>
                </a:cubicBezTo>
                <a:close/>
                <a:moveTo>
                  <a:pt x="241124" y="157163"/>
                </a:moveTo>
                <a:cubicBezTo>
                  <a:pt x="243594" y="157163"/>
                  <a:pt x="245710" y="158947"/>
                  <a:pt x="245710" y="161444"/>
                </a:cubicBezTo>
                <a:lnTo>
                  <a:pt x="245710" y="215669"/>
                </a:lnTo>
                <a:cubicBezTo>
                  <a:pt x="245710" y="218166"/>
                  <a:pt x="243594" y="220306"/>
                  <a:pt x="241124" y="220306"/>
                </a:cubicBezTo>
                <a:cubicBezTo>
                  <a:pt x="238655" y="220306"/>
                  <a:pt x="236538" y="218166"/>
                  <a:pt x="236538" y="215669"/>
                </a:cubicBezTo>
                <a:lnTo>
                  <a:pt x="236538" y="161444"/>
                </a:lnTo>
                <a:cubicBezTo>
                  <a:pt x="236538" y="158947"/>
                  <a:pt x="238655" y="157163"/>
                  <a:pt x="241124" y="157163"/>
                </a:cubicBezTo>
                <a:close/>
                <a:moveTo>
                  <a:pt x="106347" y="133350"/>
                </a:moveTo>
                <a:lnTo>
                  <a:pt x="133001" y="133350"/>
                </a:lnTo>
                <a:cubicBezTo>
                  <a:pt x="135557" y="133350"/>
                  <a:pt x="137748" y="135467"/>
                  <a:pt x="137748" y="137936"/>
                </a:cubicBezTo>
                <a:cubicBezTo>
                  <a:pt x="137748" y="140406"/>
                  <a:pt x="135557" y="142522"/>
                  <a:pt x="133001" y="142522"/>
                </a:cubicBezTo>
                <a:lnTo>
                  <a:pt x="106347" y="142522"/>
                </a:lnTo>
                <a:cubicBezTo>
                  <a:pt x="103791" y="142522"/>
                  <a:pt x="101600" y="140406"/>
                  <a:pt x="101600" y="137936"/>
                </a:cubicBezTo>
                <a:cubicBezTo>
                  <a:pt x="101600" y="135467"/>
                  <a:pt x="103791" y="133350"/>
                  <a:pt x="106347" y="133350"/>
                </a:cubicBezTo>
                <a:close/>
                <a:moveTo>
                  <a:pt x="36397" y="133350"/>
                </a:moveTo>
                <a:lnTo>
                  <a:pt x="80721" y="133350"/>
                </a:lnTo>
                <a:cubicBezTo>
                  <a:pt x="83223" y="133350"/>
                  <a:pt x="85368" y="135467"/>
                  <a:pt x="85368" y="137936"/>
                </a:cubicBezTo>
                <a:cubicBezTo>
                  <a:pt x="85368" y="140406"/>
                  <a:pt x="83223" y="142522"/>
                  <a:pt x="80721" y="142522"/>
                </a:cubicBezTo>
                <a:lnTo>
                  <a:pt x="36397" y="142522"/>
                </a:lnTo>
                <a:cubicBezTo>
                  <a:pt x="33895" y="142522"/>
                  <a:pt x="31750" y="140406"/>
                  <a:pt x="31750" y="137936"/>
                </a:cubicBezTo>
                <a:cubicBezTo>
                  <a:pt x="31750" y="135467"/>
                  <a:pt x="33895" y="133350"/>
                  <a:pt x="36397" y="133350"/>
                </a:cubicBezTo>
                <a:close/>
                <a:moveTo>
                  <a:pt x="36457" y="101600"/>
                </a:moveTo>
                <a:lnTo>
                  <a:pt x="109593" y="101600"/>
                </a:lnTo>
                <a:cubicBezTo>
                  <a:pt x="112128" y="101600"/>
                  <a:pt x="113938" y="103717"/>
                  <a:pt x="113938" y="106186"/>
                </a:cubicBezTo>
                <a:cubicBezTo>
                  <a:pt x="113938" y="108656"/>
                  <a:pt x="112128" y="110772"/>
                  <a:pt x="109593" y="110772"/>
                </a:cubicBezTo>
                <a:lnTo>
                  <a:pt x="36457" y="110772"/>
                </a:lnTo>
                <a:cubicBezTo>
                  <a:pt x="33923" y="110772"/>
                  <a:pt x="31750" y="108656"/>
                  <a:pt x="31750" y="106186"/>
                </a:cubicBezTo>
                <a:cubicBezTo>
                  <a:pt x="31750" y="103717"/>
                  <a:pt x="33923" y="101600"/>
                  <a:pt x="36457" y="101600"/>
                </a:cubicBezTo>
                <a:close/>
                <a:moveTo>
                  <a:pt x="138218" y="85168"/>
                </a:moveTo>
                <a:cubicBezTo>
                  <a:pt x="134609" y="88777"/>
                  <a:pt x="134609" y="94190"/>
                  <a:pt x="138218" y="97438"/>
                </a:cubicBezTo>
                <a:lnTo>
                  <a:pt x="202455" y="162396"/>
                </a:lnTo>
                <a:cubicBezTo>
                  <a:pt x="207868" y="167449"/>
                  <a:pt x="210755" y="174306"/>
                  <a:pt x="210755" y="181884"/>
                </a:cubicBezTo>
                <a:lnTo>
                  <a:pt x="210755" y="236377"/>
                </a:lnTo>
                <a:lnTo>
                  <a:pt x="269578" y="236377"/>
                </a:lnTo>
                <a:lnTo>
                  <a:pt x="269578" y="165644"/>
                </a:lnTo>
                <a:cubicBezTo>
                  <a:pt x="269578" y="163118"/>
                  <a:pt x="271744" y="160953"/>
                  <a:pt x="274270" y="160953"/>
                </a:cubicBezTo>
                <a:cubicBezTo>
                  <a:pt x="276796" y="160953"/>
                  <a:pt x="278961" y="163118"/>
                  <a:pt x="278961" y="165644"/>
                </a:cubicBezTo>
                <a:lnTo>
                  <a:pt x="278961" y="236377"/>
                </a:lnTo>
                <a:lnTo>
                  <a:pt x="296644" y="236377"/>
                </a:lnTo>
                <a:lnTo>
                  <a:pt x="296644" y="160953"/>
                </a:lnTo>
                <a:cubicBezTo>
                  <a:pt x="296644" y="148683"/>
                  <a:pt x="286901" y="138578"/>
                  <a:pt x="274270" y="138578"/>
                </a:cubicBezTo>
                <a:lnTo>
                  <a:pt x="245038" y="138578"/>
                </a:lnTo>
                <a:lnTo>
                  <a:pt x="245038" y="143991"/>
                </a:lnTo>
                <a:cubicBezTo>
                  <a:pt x="245038" y="146879"/>
                  <a:pt x="242873" y="148683"/>
                  <a:pt x="240347" y="148683"/>
                </a:cubicBezTo>
                <a:cubicBezTo>
                  <a:pt x="237821" y="148683"/>
                  <a:pt x="235656" y="146879"/>
                  <a:pt x="235656" y="143991"/>
                </a:cubicBezTo>
                <a:lnTo>
                  <a:pt x="235656" y="138578"/>
                </a:lnTo>
                <a:lnTo>
                  <a:pt x="217612" y="138578"/>
                </a:lnTo>
                <a:cubicBezTo>
                  <a:pt x="208950" y="138578"/>
                  <a:pt x="201011" y="135330"/>
                  <a:pt x="194876" y="129195"/>
                </a:cubicBezTo>
                <a:lnTo>
                  <a:pt x="150488" y="85168"/>
                </a:lnTo>
                <a:cubicBezTo>
                  <a:pt x="147240" y="81559"/>
                  <a:pt x="141826" y="81559"/>
                  <a:pt x="138218" y="85168"/>
                </a:cubicBezTo>
                <a:close/>
                <a:moveTo>
                  <a:pt x="241118" y="71377"/>
                </a:moveTo>
                <a:cubicBezTo>
                  <a:pt x="230562" y="71377"/>
                  <a:pt x="222190" y="79750"/>
                  <a:pt x="222190" y="90306"/>
                </a:cubicBezTo>
                <a:cubicBezTo>
                  <a:pt x="222190" y="100862"/>
                  <a:pt x="230562" y="109599"/>
                  <a:pt x="241118" y="109599"/>
                </a:cubicBezTo>
                <a:cubicBezTo>
                  <a:pt x="251675" y="109599"/>
                  <a:pt x="260047" y="100862"/>
                  <a:pt x="260047" y="90306"/>
                </a:cubicBezTo>
                <a:cubicBezTo>
                  <a:pt x="260047" y="79750"/>
                  <a:pt x="251675" y="71377"/>
                  <a:pt x="241118" y="71377"/>
                </a:cubicBezTo>
                <a:close/>
                <a:moveTo>
                  <a:pt x="36386" y="68263"/>
                </a:moveTo>
                <a:lnTo>
                  <a:pt x="75971" y="68263"/>
                </a:lnTo>
                <a:cubicBezTo>
                  <a:pt x="78824" y="68263"/>
                  <a:pt x="80607" y="70380"/>
                  <a:pt x="80607" y="72849"/>
                </a:cubicBezTo>
                <a:cubicBezTo>
                  <a:pt x="80607" y="75319"/>
                  <a:pt x="78824" y="77435"/>
                  <a:pt x="75971" y="77435"/>
                </a:cubicBezTo>
                <a:lnTo>
                  <a:pt x="36386" y="77435"/>
                </a:lnTo>
                <a:cubicBezTo>
                  <a:pt x="33890" y="77435"/>
                  <a:pt x="31750" y="75319"/>
                  <a:pt x="31750" y="72849"/>
                </a:cubicBezTo>
                <a:cubicBezTo>
                  <a:pt x="31750" y="70380"/>
                  <a:pt x="33890" y="68263"/>
                  <a:pt x="36386" y="68263"/>
                </a:cubicBezTo>
                <a:close/>
                <a:moveTo>
                  <a:pt x="241118" y="61913"/>
                </a:moveTo>
                <a:cubicBezTo>
                  <a:pt x="256771" y="61913"/>
                  <a:pt x="269511" y="74653"/>
                  <a:pt x="269511" y="90306"/>
                </a:cubicBezTo>
                <a:cubicBezTo>
                  <a:pt x="269511" y="105959"/>
                  <a:pt x="256771" y="118699"/>
                  <a:pt x="241118" y="118699"/>
                </a:cubicBezTo>
                <a:cubicBezTo>
                  <a:pt x="225466" y="118699"/>
                  <a:pt x="212725" y="105959"/>
                  <a:pt x="212725" y="90306"/>
                </a:cubicBezTo>
                <a:cubicBezTo>
                  <a:pt x="212725" y="74653"/>
                  <a:pt x="225466" y="61913"/>
                  <a:pt x="241118" y="61913"/>
                </a:cubicBezTo>
                <a:close/>
                <a:moveTo>
                  <a:pt x="18405" y="0"/>
                </a:moveTo>
                <a:lnTo>
                  <a:pt x="287622" y="0"/>
                </a:lnTo>
                <a:cubicBezTo>
                  <a:pt x="297727" y="0"/>
                  <a:pt x="306027" y="8300"/>
                  <a:pt x="306027" y="18405"/>
                </a:cubicBezTo>
                <a:lnTo>
                  <a:pt x="306027" y="112956"/>
                </a:lnTo>
                <a:cubicBezTo>
                  <a:pt x="306027" y="115121"/>
                  <a:pt x="303862" y="117286"/>
                  <a:pt x="301336" y="117286"/>
                </a:cubicBezTo>
                <a:cubicBezTo>
                  <a:pt x="298810" y="117286"/>
                  <a:pt x="296644" y="115121"/>
                  <a:pt x="296644" y="112956"/>
                </a:cubicBezTo>
                <a:lnTo>
                  <a:pt x="296644" y="18405"/>
                </a:lnTo>
                <a:cubicBezTo>
                  <a:pt x="296644" y="13353"/>
                  <a:pt x="292675" y="9383"/>
                  <a:pt x="287622" y="9383"/>
                </a:cubicBezTo>
                <a:lnTo>
                  <a:pt x="18405" y="9383"/>
                </a:lnTo>
                <a:cubicBezTo>
                  <a:pt x="13352" y="9383"/>
                  <a:pt x="9383" y="13353"/>
                  <a:pt x="9383" y="18405"/>
                </a:cubicBezTo>
                <a:lnTo>
                  <a:pt x="9383" y="236377"/>
                </a:lnTo>
                <a:lnTo>
                  <a:pt x="201372" y="236377"/>
                </a:lnTo>
                <a:lnTo>
                  <a:pt x="201372" y="181884"/>
                </a:lnTo>
                <a:cubicBezTo>
                  <a:pt x="201372" y="176832"/>
                  <a:pt x="199567" y="172501"/>
                  <a:pt x="195959" y="168892"/>
                </a:cubicBezTo>
                <a:lnTo>
                  <a:pt x="131361" y="103934"/>
                </a:lnTo>
                <a:cubicBezTo>
                  <a:pt x="124504" y="97077"/>
                  <a:pt x="124504" y="85529"/>
                  <a:pt x="131361" y="78672"/>
                </a:cubicBezTo>
                <a:cubicBezTo>
                  <a:pt x="138579" y="71454"/>
                  <a:pt x="150127" y="71454"/>
                  <a:pt x="157344" y="78672"/>
                </a:cubicBezTo>
                <a:lnTo>
                  <a:pt x="201372" y="122339"/>
                </a:lnTo>
                <a:cubicBezTo>
                  <a:pt x="205702" y="127030"/>
                  <a:pt x="211477" y="129195"/>
                  <a:pt x="217612" y="129195"/>
                </a:cubicBezTo>
                <a:lnTo>
                  <a:pt x="274270" y="129195"/>
                </a:lnTo>
                <a:cubicBezTo>
                  <a:pt x="291592" y="129195"/>
                  <a:pt x="306027" y="143631"/>
                  <a:pt x="306027" y="160953"/>
                </a:cubicBezTo>
                <a:lnTo>
                  <a:pt x="306027" y="259834"/>
                </a:lnTo>
                <a:cubicBezTo>
                  <a:pt x="306027" y="269939"/>
                  <a:pt x="297727" y="278239"/>
                  <a:pt x="287622" y="278239"/>
                </a:cubicBezTo>
                <a:lnTo>
                  <a:pt x="193072" y="278239"/>
                </a:lnTo>
                <a:lnTo>
                  <a:pt x="202094" y="296644"/>
                </a:lnTo>
                <a:lnTo>
                  <a:pt x="226634" y="296644"/>
                </a:lnTo>
                <a:cubicBezTo>
                  <a:pt x="229160" y="296644"/>
                  <a:pt x="230964" y="298810"/>
                  <a:pt x="230964" y="301336"/>
                </a:cubicBezTo>
                <a:cubicBezTo>
                  <a:pt x="230964" y="303862"/>
                  <a:pt x="229160" y="306027"/>
                  <a:pt x="226634" y="306027"/>
                </a:cubicBezTo>
                <a:lnTo>
                  <a:pt x="199567" y="306027"/>
                </a:lnTo>
                <a:lnTo>
                  <a:pt x="106460" y="306027"/>
                </a:lnTo>
                <a:lnTo>
                  <a:pt x="79755" y="306027"/>
                </a:lnTo>
                <a:cubicBezTo>
                  <a:pt x="77229" y="306027"/>
                  <a:pt x="75064" y="303862"/>
                  <a:pt x="75064" y="301336"/>
                </a:cubicBezTo>
                <a:cubicBezTo>
                  <a:pt x="75064" y="298810"/>
                  <a:pt x="77229" y="296644"/>
                  <a:pt x="79755" y="296644"/>
                </a:cubicBezTo>
                <a:lnTo>
                  <a:pt x="103934" y="296644"/>
                </a:lnTo>
                <a:lnTo>
                  <a:pt x="112956" y="278239"/>
                </a:lnTo>
                <a:lnTo>
                  <a:pt x="18405" y="278239"/>
                </a:lnTo>
                <a:cubicBezTo>
                  <a:pt x="8300" y="278239"/>
                  <a:pt x="0" y="269939"/>
                  <a:pt x="0" y="259834"/>
                </a:cubicBezTo>
                <a:lnTo>
                  <a:pt x="0" y="241069"/>
                </a:lnTo>
                <a:lnTo>
                  <a:pt x="0" y="18405"/>
                </a:lnTo>
                <a:cubicBezTo>
                  <a:pt x="0" y="8300"/>
                  <a:pt x="8300" y="0"/>
                  <a:pt x="18405"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53" name="Freeform 755">
            <a:extLst>
              <a:ext uri="{FF2B5EF4-FFF2-40B4-BE49-F238E27FC236}">
                <a16:creationId xmlns:a16="http://schemas.microsoft.com/office/drawing/2014/main" id="{E38EBFFD-70CC-0149-BD53-589C34B97DAE}"/>
              </a:ext>
            </a:extLst>
          </p:cNvPr>
          <p:cNvSpPr>
            <a:spLocks noChangeArrowheads="1"/>
          </p:cNvSpPr>
          <p:nvPr/>
        </p:nvSpPr>
        <p:spPr bwMode="auto">
          <a:xfrm>
            <a:off x="3116204" y="2676655"/>
            <a:ext cx="287374" cy="278440"/>
          </a:xfrm>
          <a:custGeom>
            <a:avLst/>
            <a:gdLst/>
            <a:ahLst/>
            <a:cxnLst/>
            <a:rect l="0" t="0" r="r" b="b"/>
            <a:pathLst>
              <a:path w="306026" h="296645">
                <a:moveTo>
                  <a:pt x="157705" y="218334"/>
                </a:moveTo>
                <a:lnTo>
                  <a:pt x="157705" y="256948"/>
                </a:lnTo>
                <a:cubicBezTo>
                  <a:pt x="157705" y="262361"/>
                  <a:pt x="162035" y="267053"/>
                  <a:pt x="167809" y="267053"/>
                </a:cubicBezTo>
                <a:cubicBezTo>
                  <a:pt x="173583" y="267053"/>
                  <a:pt x="178275" y="262361"/>
                  <a:pt x="178275" y="256948"/>
                </a:cubicBezTo>
                <a:lnTo>
                  <a:pt x="178275" y="218334"/>
                </a:lnTo>
                <a:lnTo>
                  <a:pt x="157705" y="218334"/>
                </a:lnTo>
                <a:close/>
                <a:moveTo>
                  <a:pt x="127391" y="218334"/>
                </a:moveTo>
                <a:lnTo>
                  <a:pt x="127391" y="256948"/>
                </a:lnTo>
                <a:cubicBezTo>
                  <a:pt x="127391" y="262361"/>
                  <a:pt x="132082" y="267053"/>
                  <a:pt x="137856" y="267053"/>
                </a:cubicBezTo>
                <a:cubicBezTo>
                  <a:pt x="143630" y="267053"/>
                  <a:pt x="148322" y="262361"/>
                  <a:pt x="148322" y="256948"/>
                </a:cubicBezTo>
                <a:lnTo>
                  <a:pt x="148322" y="218334"/>
                </a:lnTo>
                <a:lnTo>
                  <a:pt x="127391" y="218334"/>
                </a:lnTo>
                <a:close/>
                <a:moveTo>
                  <a:pt x="23097" y="176832"/>
                </a:moveTo>
                <a:lnTo>
                  <a:pt x="23097" y="204620"/>
                </a:lnTo>
                <a:cubicBezTo>
                  <a:pt x="23097" y="206785"/>
                  <a:pt x="25262" y="209312"/>
                  <a:pt x="27788" y="209312"/>
                </a:cubicBezTo>
                <a:lnTo>
                  <a:pt x="278239" y="209312"/>
                </a:lnTo>
                <a:cubicBezTo>
                  <a:pt x="280765" y="209312"/>
                  <a:pt x="282930" y="206785"/>
                  <a:pt x="282930" y="204620"/>
                </a:cubicBezTo>
                <a:lnTo>
                  <a:pt x="282930" y="176832"/>
                </a:lnTo>
                <a:lnTo>
                  <a:pt x="187297" y="176832"/>
                </a:lnTo>
                <a:lnTo>
                  <a:pt x="118730" y="176832"/>
                </a:lnTo>
                <a:lnTo>
                  <a:pt x="23097" y="176832"/>
                </a:lnTo>
                <a:close/>
                <a:moveTo>
                  <a:pt x="14153" y="149369"/>
                </a:moveTo>
                <a:lnTo>
                  <a:pt x="63279" y="149369"/>
                </a:lnTo>
                <a:cubicBezTo>
                  <a:pt x="65770" y="149369"/>
                  <a:pt x="67906" y="151486"/>
                  <a:pt x="67906" y="153955"/>
                </a:cubicBezTo>
                <a:cubicBezTo>
                  <a:pt x="67906" y="156425"/>
                  <a:pt x="65770" y="158541"/>
                  <a:pt x="63279" y="158541"/>
                </a:cubicBezTo>
                <a:lnTo>
                  <a:pt x="14153" y="158541"/>
                </a:lnTo>
                <a:cubicBezTo>
                  <a:pt x="11661" y="158541"/>
                  <a:pt x="9525" y="156425"/>
                  <a:pt x="9525" y="153955"/>
                </a:cubicBezTo>
                <a:cubicBezTo>
                  <a:pt x="9525" y="151486"/>
                  <a:pt x="11661" y="149369"/>
                  <a:pt x="14153" y="149369"/>
                </a:cubicBezTo>
                <a:close/>
                <a:moveTo>
                  <a:pt x="4617" y="130319"/>
                </a:moveTo>
                <a:lnTo>
                  <a:pt x="49004" y="130319"/>
                </a:lnTo>
                <a:cubicBezTo>
                  <a:pt x="51490" y="130319"/>
                  <a:pt x="53620" y="132436"/>
                  <a:pt x="53620" y="134905"/>
                </a:cubicBezTo>
                <a:cubicBezTo>
                  <a:pt x="53620" y="137375"/>
                  <a:pt x="51490" y="139491"/>
                  <a:pt x="49004" y="139491"/>
                </a:cubicBezTo>
                <a:lnTo>
                  <a:pt x="4617" y="139491"/>
                </a:lnTo>
                <a:cubicBezTo>
                  <a:pt x="1776" y="139491"/>
                  <a:pt x="0" y="137375"/>
                  <a:pt x="0" y="134905"/>
                </a:cubicBezTo>
                <a:cubicBezTo>
                  <a:pt x="0" y="132436"/>
                  <a:pt x="1776" y="130319"/>
                  <a:pt x="4617" y="130319"/>
                </a:cubicBezTo>
                <a:close/>
                <a:moveTo>
                  <a:pt x="19037" y="111269"/>
                </a:moveTo>
                <a:lnTo>
                  <a:pt x="55210" y="111269"/>
                </a:lnTo>
                <a:cubicBezTo>
                  <a:pt x="58133" y="111269"/>
                  <a:pt x="59960" y="113386"/>
                  <a:pt x="59960" y="115855"/>
                </a:cubicBezTo>
                <a:cubicBezTo>
                  <a:pt x="59960" y="118325"/>
                  <a:pt x="58133" y="120441"/>
                  <a:pt x="55210" y="120441"/>
                </a:cubicBezTo>
                <a:lnTo>
                  <a:pt x="19037" y="120441"/>
                </a:lnTo>
                <a:cubicBezTo>
                  <a:pt x="16480" y="120441"/>
                  <a:pt x="14287" y="118325"/>
                  <a:pt x="14287" y="115855"/>
                </a:cubicBezTo>
                <a:cubicBezTo>
                  <a:pt x="14287" y="113386"/>
                  <a:pt x="16480" y="111269"/>
                  <a:pt x="19037" y="111269"/>
                </a:cubicBezTo>
                <a:close/>
                <a:moveTo>
                  <a:pt x="118730" y="105377"/>
                </a:moveTo>
                <a:cubicBezTo>
                  <a:pt x="106460" y="105377"/>
                  <a:pt x="96355" y="115121"/>
                  <a:pt x="96355" y="127391"/>
                </a:cubicBezTo>
                <a:lnTo>
                  <a:pt x="96355" y="167449"/>
                </a:lnTo>
                <a:lnTo>
                  <a:pt x="114038" y="167449"/>
                </a:lnTo>
                <a:lnTo>
                  <a:pt x="114038" y="132083"/>
                </a:lnTo>
                <a:cubicBezTo>
                  <a:pt x="114038" y="129556"/>
                  <a:pt x="116204" y="127391"/>
                  <a:pt x="118730" y="127391"/>
                </a:cubicBezTo>
                <a:cubicBezTo>
                  <a:pt x="121256" y="127391"/>
                  <a:pt x="123421" y="129556"/>
                  <a:pt x="123421" y="132083"/>
                </a:cubicBezTo>
                <a:lnTo>
                  <a:pt x="123421" y="167449"/>
                </a:lnTo>
                <a:lnTo>
                  <a:pt x="182605" y="167449"/>
                </a:lnTo>
                <a:lnTo>
                  <a:pt x="182605" y="132083"/>
                </a:lnTo>
                <a:cubicBezTo>
                  <a:pt x="182605" y="129556"/>
                  <a:pt x="184410" y="127391"/>
                  <a:pt x="187297" y="127391"/>
                </a:cubicBezTo>
                <a:cubicBezTo>
                  <a:pt x="189823" y="127391"/>
                  <a:pt x="191627" y="129556"/>
                  <a:pt x="191627" y="132083"/>
                </a:cubicBezTo>
                <a:lnTo>
                  <a:pt x="191627" y="167449"/>
                </a:lnTo>
                <a:lnTo>
                  <a:pt x="209311" y="167449"/>
                </a:lnTo>
                <a:lnTo>
                  <a:pt x="209311" y="127391"/>
                </a:lnTo>
                <a:cubicBezTo>
                  <a:pt x="209311" y="115121"/>
                  <a:pt x="199206" y="105377"/>
                  <a:pt x="187297" y="105377"/>
                </a:cubicBezTo>
                <a:lnTo>
                  <a:pt x="118730" y="105377"/>
                </a:lnTo>
                <a:close/>
                <a:moveTo>
                  <a:pt x="153805" y="42581"/>
                </a:moveTo>
                <a:cubicBezTo>
                  <a:pt x="143249" y="42581"/>
                  <a:pt x="134513" y="50954"/>
                  <a:pt x="134513" y="61874"/>
                </a:cubicBezTo>
                <a:cubicBezTo>
                  <a:pt x="134513" y="72066"/>
                  <a:pt x="143249" y="80803"/>
                  <a:pt x="153805" y="80803"/>
                </a:cubicBezTo>
                <a:cubicBezTo>
                  <a:pt x="163998" y="80803"/>
                  <a:pt x="172734" y="72066"/>
                  <a:pt x="172734" y="61874"/>
                </a:cubicBezTo>
                <a:cubicBezTo>
                  <a:pt x="172734" y="50954"/>
                  <a:pt x="163998" y="42581"/>
                  <a:pt x="153805" y="42581"/>
                </a:cubicBezTo>
                <a:close/>
                <a:moveTo>
                  <a:pt x="153805" y="33481"/>
                </a:moveTo>
                <a:cubicBezTo>
                  <a:pt x="169458" y="33481"/>
                  <a:pt x="182198" y="45857"/>
                  <a:pt x="182198" y="61874"/>
                </a:cubicBezTo>
                <a:cubicBezTo>
                  <a:pt x="182198" y="77527"/>
                  <a:pt x="169458" y="90267"/>
                  <a:pt x="153805" y="90267"/>
                </a:cubicBezTo>
                <a:cubicBezTo>
                  <a:pt x="138153" y="90267"/>
                  <a:pt x="125412" y="77527"/>
                  <a:pt x="125412" y="61874"/>
                </a:cubicBezTo>
                <a:cubicBezTo>
                  <a:pt x="125412" y="45857"/>
                  <a:pt x="138153" y="33481"/>
                  <a:pt x="153805" y="33481"/>
                </a:cubicBezTo>
                <a:close/>
                <a:moveTo>
                  <a:pt x="225595" y="10510"/>
                </a:moveTo>
                <a:cubicBezTo>
                  <a:pt x="221490" y="10014"/>
                  <a:pt x="217250" y="10826"/>
                  <a:pt x="213641" y="12991"/>
                </a:cubicBezTo>
                <a:lnTo>
                  <a:pt x="239624" y="38975"/>
                </a:lnTo>
                <a:cubicBezTo>
                  <a:pt x="243955" y="31757"/>
                  <a:pt x="242872" y="22013"/>
                  <a:pt x="236737" y="15878"/>
                </a:cubicBezTo>
                <a:cubicBezTo>
                  <a:pt x="233670" y="12811"/>
                  <a:pt x="229700" y="11006"/>
                  <a:pt x="225595" y="10510"/>
                </a:cubicBezTo>
                <a:close/>
                <a:moveTo>
                  <a:pt x="259473" y="0"/>
                </a:moveTo>
                <a:cubicBezTo>
                  <a:pt x="277517" y="0"/>
                  <a:pt x="291952" y="14435"/>
                  <a:pt x="291952" y="32479"/>
                </a:cubicBezTo>
                <a:lnTo>
                  <a:pt x="291952" y="147916"/>
                </a:lnTo>
                <a:lnTo>
                  <a:pt x="291952" y="167449"/>
                </a:lnTo>
                <a:lnTo>
                  <a:pt x="301335" y="167449"/>
                </a:lnTo>
                <a:cubicBezTo>
                  <a:pt x="303861" y="167449"/>
                  <a:pt x="306026" y="169614"/>
                  <a:pt x="306026" y="172141"/>
                </a:cubicBezTo>
                <a:cubicBezTo>
                  <a:pt x="306026" y="174667"/>
                  <a:pt x="303861" y="176832"/>
                  <a:pt x="301335" y="176832"/>
                </a:cubicBezTo>
                <a:lnTo>
                  <a:pt x="291952" y="176832"/>
                </a:lnTo>
                <a:lnTo>
                  <a:pt x="291952" y="204620"/>
                </a:lnTo>
                <a:cubicBezTo>
                  <a:pt x="291952" y="210394"/>
                  <a:pt x="287982" y="215447"/>
                  <a:pt x="282930" y="217251"/>
                </a:cubicBezTo>
                <a:lnTo>
                  <a:pt x="282930" y="291954"/>
                </a:lnTo>
                <a:cubicBezTo>
                  <a:pt x="282930" y="294480"/>
                  <a:pt x="280765" y="296645"/>
                  <a:pt x="278239" y="296645"/>
                </a:cubicBezTo>
                <a:cubicBezTo>
                  <a:pt x="275712" y="296645"/>
                  <a:pt x="273547" y="294480"/>
                  <a:pt x="273547" y="291954"/>
                </a:cubicBezTo>
                <a:lnTo>
                  <a:pt x="273547" y="218334"/>
                </a:lnTo>
                <a:lnTo>
                  <a:pt x="209311" y="218334"/>
                </a:lnTo>
                <a:lnTo>
                  <a:pt x="209311" y="262361"/>
                </a:lnTo>
                <a:cubicBezTo>
                  <a:pt x="209311" y="264887"/>
                  <a:pt x="207145" y="267053"/>
                  <a:pt x="204980" y="267053"/>
                </a:cubicBezTo>
                <a:cubicBezTo>
                  <a:pt x="202454" y="267053"/>
                  <a:pt x="200289" y="264887"/>
                  <a:pt x="200289" y="262361"/>
                </a:cubicBezTo>
                <a:lnTo>
                  <a:pt x="200289" y="218334"/>
                </a:lnTo>
                <a:lnTo>
                  <a:pt x="187658" y="218334"/>
                </a:lnTo>
                <a:lnTo>
                  <a:pt x="187658" y="256948"/>
                </a:lnTo>
                <a:cubicBezTo>
                  <a:pt x="187658" y="267775"/>
                  <a:pt x="178636" y="276436"/>
                  <a:pt x="167809" y="276436"/>
                </a:cubicBezTo>
                <a:cubicBezTo>
                  <a:pt x="162035" y="276436"/>
                  <a:pt x="156622" y="273549"/>
                  <a:pt x="153013" y="269218"/>
                </a:cubicBezTo>
                <a:cubicBezTo>
                  <a:pt x="149405" y="273549"/>
                  <a:pt x="143991" y="276436"/>
                  <a:pt x="137856" y="276436"/>
                </a:cubicBezTo>
                <a:cubicBezTo>
                  <a:pt x="127030" y="276436"/>
                  <a:pt x="118008" y="267775"/>
                  <a:pt x="118008" y="256948"/>
                </a:cubicBezTo>
                <a:lnTo>
                  <a:pt x="118008" y="218334"/>
                </a:lnTo>
                <a:lnTo>
                  <a:pt x="104655" y="218334"/>
                </a:lnTo>
                <a:lnTo>
                  <a:pt x="104655" y="262361"/>
                </a:lnTo>
                <a:cubicBezTo>
                  <a:pt x="104655" y="264887"/>
                  <a:pt x="102851" y="267053"/>
                  <a:pt x="99964" y="267053"/>
                </a:cubicBezTo>
                <a:cubicBezTo>
                  <a:pt x="97438" y="267053"/>
                  <a:pt x="95633" y="264887"/>
                  <a:pt x="95633" y="262361"/>
                </a:cubicBezTo>
                <a:lnTo>
                  <a:pt x="95633" y="218334"/>
                </a:lnTo>
                <a:lnTo>
                  <a:pt x="32119" y="218334"/>
                </a:lnTo>
                <a:lnTo>
                  <a:pt x="32119" y="291954"/>
                </a:lnTo>
                <a:cubicBezTo>
                  <a:pt x="32119" y="294480"/>
                  <a:pt x="30314" y="296645"/>
                  <a:pt x="27788" y="296645"/>
                </a:cubicBezTo>
                <a:cubicBezTo>
                  <a:pt x="25262" y="296645"/>
                  <a:pt x="23097" y="294480"/>
                  <a:pt x="23097" y="291954"/>
                </a:cubicBezTo>
                <a:lnTo>
                  <a:pt x="23097" y="217251"/>
                </a:lnTo>
                <a:cubicBezTo>
                  <a:pt x="17683" y="215447"/>
                  <a:pt x="13714" y="210394"/>
                  <a:pt x="13714" y="204620"/>
                </a:cubicBezTo>
                <a:lnTo>
                  <a:pt x="13714" y="176832"/>
                </a:lnTo>
                <a:lnTo>
                  <a:pt x="4692" y="176832"/>
                </a:lnTo>
                <a:cubicBezTo>
                  <a:pt x="1805" y="176832"/>
                  <a:pt x="0" y="174667"/>
                  <a:pt x="0" y="172141"/>
                </a:cubicBezTo>
                <a:cubicBezTo>
                  <a:pt x="0" y="169614"/>
                  <a:pt x="1805" y="167449"/>
                  <a:pt x="4692" y="167449"/>
                </a:cubicBezTo>
                <a:lnTo>
                  <a:pt x="18405" y="167449"/>
                </a:lnTo>
                <a:lnTo>
                  <a:pt x="87333" y="167449"/>
                </a:lnTo>
                <a:lnTo>
                  <a:pt x="87333" y="127391"/>
                </a:lnTo>
                <a:cubicBezTo>
                  <a:pt x="87333" y="110069"/>
                  <a:pt x="101407" y="95994"/>
                  <a:pt x="118730" y="95994"/>
                </a:cubicBezTo>
                <a:lnTo>
                  <a:pt x="187297" y="95994"/>
                </a:lnTo>
                <a:cubicBezTo>
                  <a:pt x="204258" y="95994"/>
                  <a:pt x="218693" y="110069"/>
                  <a:pt x="218693" y="127391"/>
                </a:cubicBezTo>
                <a:lnTo>
                  <a:pt x="218693" y="167449"/>
                </a:lnTo>
                <a:lnTo>
                  <a:pt x="282930" y="167449"/>
                </a:lnTo>
                <a:lnTo>
                  <a:pt x="282930" y="129133"/>
                </a:lnTo>
                <a:lnTo>
                  <a:pt x="282930" y="32479"/>
                </a:lnTo>
                <a:cubicBezTo>
                  <a:pt x="282930" y="19487"/>
                  <a:pt x="272465" y="9022"/>
                  <a:pt x="259473" y="9022"/>
                </a:cubicBezTo>
                <a:cubicBezTo>
                  <a:pt x="254781" y="9022"/>
                  <a:pt x="250451" y="10465"/>
                  <a:pt x="246481" y="12991"/>
                </a:cubicBezTo>
                <a:cubicBezTo>
                  <a:pt x="250270" y="18585"/>
                  <a:pt x="251894" y="25171"/>
                  <a:pt x="251353" y="31577"/>
                </a:cubicBezTo>
                <a:lnTo>
                  <a:pt x="243845" y="47761"/>
                </a:lnTo>
                <a:lnTo>
                  <a:pt x="243233" y="49080"/>
                </a:lnTo>
                <a:cubicBezTo>
                  <a:pt x="242512" y="49801"/>
                  <a:pt x="241429" y="50523"/>
                  <a:pt x="239985" y="50523"/>
                </a:cubicBezTo>
                <a:cubicBezTo>
                  <a:pt x="238903" y="50523"/>
                  <a:pt x="237820" y="49801"/>
                  <a:pt x="236737" y="49080"/>
                </a:cubicBezTo>
                <a:lnTo>
                  <a:pt x="203536" y="15878"/>
                </a:lnTo>
                <a:cubicBezTo>
                  <a:pt x="201732" y="14074"/>
                  <a:pt x="201732" y="11187"/>
                  <a:pt x="203536" y="9383"/>
                </a:cubicBezTo>
                <a:cubicBezTo>
                  <a:pt x="213641" y="-722"/>
                  <a:pt x="228798" y="-1444"/>
                  <a:pt x="239985" y="6495"/>
                </a:cubicBezTo>
                <a:cubicBezTo>
                  <a:pt x="245399" y="2165"/>
                  <a:pt x="252255" y="0"/>
                  <a:pt x="259473"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54" name="Freeform 755">
            <a:extLst>
              <a:ext uri="{FF2B5EF4-FFF2-40B4-BE49-F238E27FC236}">
                <a16:creationId xmlns:a16="http://schemas.microsoft.com/office/drawing/2014/main" id="{FED33AA4-11B2-3844-B317-E09551D09F87}"/>
              </a:ext>
            </a:extLst>
          </p:cNvPr>
          <p:cNvSpPr>
            <a:spLocks noChangeArrowheads="1"/>
          </p:cNvSpPr>
          <p:nvPr/>
        </p:nvSpPr>
        <p:spPr bwMode="auto">
          <a:xfrm>
            <a:off x="3116204" y="3612342"/>
            <a:ext cx="287374" cy="278440"/>
          </a:xfrm>
          <a:custGeom>
            <a:avLst/>
            <a:gdLst/>
            <a:ahLst/>
            <a:cxnLst/>
            <a:rect l="0" t="0" r="r" b="b"/>
            <a:pathLst>
              <a:path w="306026" h="296645">
                <a:moveTo>
                  <a:pt x="157705" y="218334"/>
                </a:moveTo>
                <a:lnTo>
                  <a:pt x="157705" y="256948"/>
                </a:lnTo>
                <a:cubicBezTo>
                  <a:pt x="157705" y="262361"/>
                  <a:pt x="162035" y="267053"/>
                  <a:pt x="167809" y="267053"/>
                </a:cubicBezTo>
                <a:cubicBezTo>
                  <a:pt x="173583" y="267053"/>
                  <a:pt x="178275" y="262361"/>
                  <a:pt x="178275" y="256948"/>
                </a:cubicBezTo>
                <a:lnTo>
                  <a:pt x="178275" y="218334"/>
                </a:lnTo>
                <a:lnTo>
                  <a:pt x="157705" y="218334"/>
                </a:lnTo>
                <a:close/>
                <a:moveTo>
                  <a:pt x="127391" y="218334"/>
                </a:moveTo>
                <a:lnTo>
                  <a:pt x="127391" y="256948"/>
                </a:lnTo>
                <a:cubicBezTo>
                  <a:pt x="127391" y="262361"/>
                  <a:pt x="132082" y="267053"/>
                  <a:pt x="137856" y="267053"/>
                </a:cubicBezTo>
                <a:cubicBezTo>
                  <a:pt x="143630" y="267053"/>
                  <a:pt x="148322" y="262361"/>
                  <a:pt x="148322" y="256948"/>
                </a:cubicBezTo>
                <a:lnTo>
                  <a:pt x="148322" y="218334"/>
                </a:lnTo>
                <a:lnTo>
                  <a:pt x="127391" y="218334"/>
                </a:lnTo>
                <a:close/>
                <a:moveTo>
                  <a:pt x="23097" y="176832"/>
                </a:moveTo>
                <a:lnTo>
                  <a:pt x="23097" y="204620"/>
                </a:lnTo>
                <a:cubicBezTo>
                  <a:pt x="23097" y="206785"/>
                  <a:pt x="25262" y="209312"/>
                  <a:pt x="27788" y="209312"/>
                </a:cubicBezTo>
                <a:lnTo>
                  <a:pt x="278239" y="209312"/>
                </a:lnTo>
                <a:cubicBezTo>
                  <a:pt x="280765" y="209312"/>
                  <a:pt x="282930" y="206785"/>
                  <a:pt x="282930" y="204620"/>
                </a:cubicBezTo>
                <a:lnTo>
                  <a:pt x="282930" y="176832"/>
                </a:lnTo>
                <a:lnTo>
                  <a:pt x="187297" y="176832"/>
                </a:lnTo>
                <a:lnTo>
                  <a:pt x="118730" y="176832"/>
                </a:lnTo>
                <a:lnTo>
                  <a:pt x="23097" y="176832"/>
                </a:lnTo>
                <a:close/>
                <a:moveTo>
                  <a:pt x="14153" y="149369"/>
                </a:moveTo>
                <a:lnTo>
                  <a:pt x="63279" y="149369"/>
                </a:lnTo>
                <a:cubicBezTo>
                  <a:pt x="65770" y="149369"/>
                  <a:pt x="67906" y="151486"/>
                  <a:pt x="67906" y="153955"/>
                </a:cubicBezTo>
                <a:cubicBezTo>
                  <a:pt x="67906" y="156425"/>
                  <a:pt x="65770" y="158541"/>
                  <a:pt x="63279" y="158541"/>
                </a:cubicBezTo>
                <a:lnTo>
                  <a:pt x="14153" y="158541"/>
                </a:lnTo>
                <a:cubicBezTo>
                  <a:pt x="11661" y="158541"/>
                  <a:pt x="9525" y="156425"/>
                  <a:pt x="9525" y="153955"/>
                </a:cubicBezTo>
                <a:cubicBezTo>
                  <a:pt x="9525" y="151486"/>
                  <a:pt x="11661" y="149369"/>
                  <a:pt x="14153" y="149369"/>
                </a:cubicBezTo>
                <a:close/>
                <a:moveTo>
                  <a:pt x="4617" y="130319"/>
                </a:moveTo>
                <a:lnTo>
                  <a:pt x="49004" y="130319"/>
                </a:lnTo>
                <a:cubicBezTo>
                  <a:pt x="51490" y="130319"/>
                  <a:pt x="53620" y="132436"/>
                  <a:pt x="53620" y="134905"/>
                </a:cubicBezTo>
                <a:cubicBezTo>
                  <a:pt x="53620" y="137375"/>
                  <a:pt x="51490" y="139491"/>
                  <a:pt x="49004" y="139491"/>
                </a:cubicBezTo>
                <a:lnTo>
                  <a:pt x="4617" y="139491"/>
                </a:lnTo>
                <a:cubicBezTo>
                  <a:pt x="1776" y="139491"/>
                  <a:pt x="0" y="137375"/>
                  <a:pt x="0" y="134905"/>
                </a:cubicBezTo>
                <a:cubicBezTo>
                  <a:pt x="0" y="132436"/>
                  <a:pt x="1776" y="130319"/>
                  <a:pt x="4617" y="130319"/>
                </a:cubicBezTo>
                <a:close/>
                <a:moveTo>
                  <a:pt x="19037" y="111269"/>
                </a:moveTo>
                <a:lnTo>
                  <a:pt x="55210" y="111269"/>
                </a:lnTo>
                <a:cubicBezTo>
                  <a:pt x="58133" y="111269"/>
                  <a:pt x="59960" y="113386"/>
                  <a:pt x="59960" y="115855"/>
                </a:cubicBezTo>
                <a:cubicBezTo>
                  <a:pt x="59960" y="118325"/>
                  <a:pt x="58133" y="120441"/>
                  <a:pt x="55210" y="120441"/>
                </a:cubicBezTo>
                <a:lnTo>
                  <a:pt x="19037" y="120441"/>
                </a:lnTo>
                <a:cubicBezTo>
                  <a:pt x="16480" y="120441"/>
                  <a:pt x="14287" y="118325"/>
                  <a:pt x="14287" y="115855"/>
                </a:cubicBezTo>
                <a:cubicBezTo>
                  <a:pt x="14287" y="113386"/>
                  <a:pt x="16480" y="111269"/>
                  <a:pt x="19037" y="111269"/>
                </a:cubicBezTo>
                <a:close/>
                <a:moveTo>
                  <a:pt x="118730" y="105377"/>
                </a:moveTo>
                <a:cubicBezTo>
                  <a:pt x="106460" y="105377"/>
                  <a:pt x="96355" y="115121"/>
                  <a:pt x="96355" y="127391"/>
                </a:cubicBezTo>
                <a:lnTo>
                  <a:pt x="96355" y="167449"/>
                </a:lnTo>
                <a:lnTo>
                  <a:pt x="114038" y="167449"/>
                </a:lnTo>
                <a:lnTo>
                  <a:pt x="114038" y="132083"/>
                </a:lnTo>
                <a:cubicBezTo>
                  <a:pt x="114038" y="129556"/>
                  <a:pt x="116204" y="127391"/>
                  <a:pt x="118730" y="127391"/>
                </a:cubicBezTo>
                <a:cubicBezTo>
                  <a:pt x="121256" y="127391"/>
                  <a:pt x="123421" y="129556"/>
                  <a:pt x="123421" y="132083"/>
                </a:cubicBezTo>
                <a:lnTo>
                  <a:pt x="123421" y="167449"/>
                </a:lnTo>
                <a:lnTo>
                  <a:pt x="182605" y="167449"/>
                </a:lnTo>
                <a:lnTo>
                  <a:pt x="182605" y="132083"/>
                </a:lnTo>
                <a:cubicBezTo>
                  <a:pt x="182605" y="129556"/>
                  <a:pt x="184410" y="127391"/>
                  <a:pt x="187297" y="127391"/>
                </a:cubicBezTo>
                <a:cubicBezTo>
                  <a:pt x="189823" y="127391"/>
                  <a:pt x="191627" y="129556"/>
                  <a:pt x="191627" y="132083"/>
                </a:cubicBezTo>
                <a:lnTo>
                  <a:pt x="191627" y="167449"/>
                </a:lnTo>
                <a:lnTo>
                  <a:pt x="209311" y="167449"/>
                </a:lnTo>
                <a:lnTo>
                  <a:pt x="209311" y="127391"/>
                </a:lnTo>
                <a:cubicBezTo>
                  <a:pt x="209311" y="115121"/>
                  <a:pt x="199206" y="105377"/>
                  <a:pt x="187297" y="105377"/>
                </a:cubicBezTo>
                <a:lnTo>
                  <a:pt x="118730" y="105377"/>
                </a:lnTo>
                <a:close/>
                <a:moveTo>
                  <a:pt x="153805" y="42581"/>
                </a:moveTo>
                <a:cubicBezTo>
                  <a:pt x="143249" y="42581"/>
                  <a:pt x="134513" y="50954"/>
                  <a:pt x="134513" y="61874"/>
                </a:cubicBezTo>
                <a:cubicBezTo>
                  <a:pt x="134513" y="72066"/>
                  <a:pt x="143249" y="80803"/>
                  <a:pt x="153805" y="80803"/>
                </a:cubicBezTo>
                <a:cubicBezTo>
                  <a:pt x="163998" y="80803"/>
                  <a:pt x="172734" y="72066"/>
                  <a:pt x="172734" y="61874"/>
                </a:cubicBezTo>
                <a:cubicBezTo>
                  <a:pt x="172734" y="50954"/>
                  <a:pt x="163998" y="42581"/>
                  <a:pt x="153805" y="42581"/>
                </a:cubicBezTo>
                <a:close/>
                <a:moveTo>
                  <a:pt x="153805" y="33481"/>
                </a:moveTo>
                <a:cubicBezTo>
                  <a:pt x="169458" y="33481"/>
                  <a:pt x="182198" y="45857"/>
                  <a:pt x="182198" y="61874"/>
                </a:cubicBezTo>
                <a:cubicBezTo>
                  <a:pt x="182198" y="77527"/>
                  <a:pt x="169458" y="90267"/>
                  <a:pt x="153805" y="90267"/>
                </a:cubicBezTo>
                <a:cubicBezTo>
                  <a:pt x="138153" y="90267"/>
                  <a:pt x="125412" y="77527"/>
                  <a:pt x="125412" y="61874"/>
                </a:cubicBezTo>
                <a:cubicBezTo>
                  <a:pt x="125412" y="45857"/>
                  <a:pt x="138153" y="33481"/>
                  <a:pt x="153805" y="33481"/>
                </a:cubicBezTo>
                <a:close/>
                <a:moveTo>
                  <a:pt x="225595" y="10510"/>
                </a:moveTo>
                <a:cubicBezTo>
                  <a:pt x="221490" y="10014"/>
                  <a:pt x="217250" y="10826"/>
                  <a:pt x="213641" y="12991"/>
                </a:cubicBezTo>
                <a:lnTo>
                  <a:pt x="239624" y="38975"/>
                </a:lnTo>
                <a:cubicBezTo>
                  <a:pt x="243955" y="31757"/>
                  <a:pt x="242872" y="22013"/>
                  <a:pt x="236737" y="15878"/>
                </a:cubicBezTo>
                <a:cubicBezTo>
                  <a:pt x="233670" y="12811"/>
                  <a:pt x="229700" y="11006"/>
                  <a:pt x="225595" y="10510"/>
                </a:cubicBezTo>
                <a:close/>
                <a:moveTo>
                  <a:pt x="259473" y="0"/>
                </a:moveTo>
                <a:cubicBezTo>
                  <a:pt x="277517" y="0"/>
                  <a:pt x="291952" y="14435"/>
                  <a:pt x="291952" y="32479"/>
                </a:cubicBezTo>
                <a:lnTo>
                  <a:pt x="291952" y="147916"/>
                </a:lnTo>
                <a:lnTo>
                  <a:pt x="291952" y="167449"/>
                </a:lnTo>
                <a:lnTo>
                  <a:pt x="301335" y="167449"/>
                </a:lnTo>
                <a:cubicBezTo>
                  <a:pt x="303861" y="167449"/>
                  <a:pt x="306026" y="169614"/>
                  <a:pt x="306026" y="172141"/>
                </a:cubicBezTo>
                <a:cubicBezTo>
                  <a:pt x="306026" y="174667"/>
                  <a:pt x="303861" y="176832"/>
                  <a:pt x="301335" y="176832"/>
                </a:cubicBezTo>
                <a:lnTo>
                  <a:pt x="291952" y="176832"/>
                </a:lnTo>
                <a:lnTo>
                  <a:pt x="291952" y="204620"/>
                </a:lnTo>
                <a:cubicBezTo>
                  <a:pt x="291952" y="210394"/>
                  <a:pt x="287982" y="215447"/>
                  <a:pt x="282930" y="217251"/>
                </a:cubicBezTo>
                <a:lnTo>
                  <a:pt x="282930" y="291954"/>
                </a:lnTo>
                <a:cubicBezTo>
                  <a:pt x="282930" y="294480"/>
                  <a:pt x="280765" y="296645"/>
                  <a:pt x="278239" y="296645"/>
                </a:cubicBezTo>
                <a:cubicBezTo>
                  <a:pt x="275712" y="296645"/>
                  <a:pt x="273547" y="294480"/>
                  <a:pt x="273547" y="291954"/>
                </a:cubicBezTo>
                <a:lnTo>
                  <a:pt x="273547" y="218334"/>
                </a:lnTo>
                <a:lnTo>
                  <a:pt x="209311" y="218334"/>
                </a:lnTo>
                <a:lnTo>
                  <a:pt x="209311" y="262361"/>
                </a:lnTo>
                <a:cubicBezTo>
                  <a:pt x="209311" y="264887"/>
                  <a:pt x="207145" y="267053"/>
                  <a:pt x="204980" y="267053"/>
                </a:cubicBezTo>
                <a:cubicBezTo>
                  <a:pt x="202454" y="267053"/>
                  <a:pt x="200289" y="264887"/>
                  <a:pt x="200289" y="262361"/>
                </a:cubicBezTo>
                <a:lnTo>
                  <a:pt x="200289" y="218334"/>
                </a:lnTo>
                <a:lnTo>
                  <a:pt x="187658" y="218334"/>
                </a:lnTo>
                <a:lnTo>
                  <a:pt x="187658" y="256948"/>
                </a:lnTo>
                <a:cubicBezTo>
                  <a:pt x="187658" y="267775"/>
                  <a:pt x="178636" y="276436"/>
                  <a:pt x="167809" y="276436"/>
                </a:cubicBezTo>
                <a:cubicBezTo>
                  <a:pt x="162035" y="276436"/>
                  <a:pt x="156622" y="273549"/>
                  <a:pt x="153013" y="269218"/>
                </a:cubicBezTo>
                <a:cubicBezTo>
                  <a:pt x="149405" y="273549"/>
                  <a:pt x="143991" y="276436"/>
                  <a:pt x="137856" y="276436"/>
                </a:cubicBezTo>
                <a:cubicBezTo>
                  <a:pt x="127030" y="276436"/>
                  <a:pt x="118008" y="267775"/>
                  <a:pt x="118008" y="256948"/>
                </a:cubicBezTo>
                <a:lnTo>
                  <a:pt x="118008" y="218334"/>
                </a:lnTo>
                <a:lnTo>
                  <a:pt x="104655" y="218334"/>
                </a:lnTo>
                <a:lnTo>
                  <a:pt x="104655" y="262361"/>
                </a:lnTo>
                <a:cubicBezTo>
                  <a:pt x="104655" y="264887"/>
                  <a:pt x="102851" y="267053"/>
                  <a:pt x="99964" y="267053"/>
                </a:cubicBezTo>
                <a:cubicBezTo>
                  <a:pt x="97438" y="267053"/>
                  <a:pt x="95633" y="264887"/>
                  <a:pt x="95633" y="262361"/>
                </a:cubicBezTo>
                <a:lnTo>
                  <a:pt x="95633" y="218334"/>
                </a:lnTo>
                <a:lnTo>
                  <a:pt x="32119" y="218334"/>
                </a:lnTo>
                <a:lnTo>
                  <a:pt x="32119" y="291954"/>
                </a:lnTo>
                <a:cubicBezTo>
                  <a:pt x="32119" y="294480"/>
                  <a:pt x="30314" y="296645"/>
                  <a:pt x="27788" y="296645"/>
                </a:cubicBezTo>
                <a:cubicBezTo>
                  <a:pt x="25262" y="296645"/>
                  <a:pt x="23097" y="294480"/>
                  <a:pt x="23097" y="291954"/>
                </a:cubicBezTo>
                <a:lnTo>
                  <a:pt x="23097" y="217251"/>
                </a:lnTo>
                <a:cubicBezTo>
                  <a:pt x="17683" y="215447"/>
                  <a:pt x="13714" y="210394"/>
                  <a:pt x="13714" y="204620"/>
                </a:cubicBezTo>
                <a:lnTo>
                  <a:pt x="13714" y="176832"/>
                </a:lnTo>
                <a:lnTo>
                  <a:pt x="4692" y="176832"/>
                </a:lnTo>
                <a:cubicBezTo>
                  <a:pt x="1805" y="176832"/>
                  <a:pt x="0" y="174667"/>
                  <a:pt x="0" y="172141"/>
                </a:cubicBezTo>
                <a:cubicBezTo>
                  <a:pt x="0" y="169614"/>
                  <a:pt x="1805" y="167449"/>
                  <a:pt x="4692" y="167449"/>
                </a:cubicBezTo>
                <a:lnTo>
                  <a:pt x="18405" y="167449"/>
                </a:lnTo>
                <a:lnTo>
                  <a:pt x="87333" y="167449"/>
                </a:lnTo>
                <a:lnTo>
                  <a:pt x="87333" y="127391"/>
                </a:lnTo>
                <a:cubicBezTo>
                  <a:pt x="87333" y="110069"/>
                  <a:pt x="101407" y="95994"/>
                  <a:pt x="118730" y="95994"/>
                </a:cubicBezTo>
                <a:lnTo>
                  <a:pt x="187297" y="95994"/>
                </a:lnTo>
                <a:cubicBezTo>
                  <a:pt x="204258" y="95994"/>
                  <a:pt x="218693" y="110069"/>
                  <a:pt x="218693" y="127391"/>
                </a:cubicBezTo>
                <a:lnTo>
                  <a:pt x="218693" y="167449"/>
                </a:lnTo>
                <a:lnTo>
                  <a:pt x="282930" y="167449"/>
                </a:lnTo>
                <a:lnTo>
                  <a:pt x="282930" y="129133"/>
                </a:lnTo>
                <a:lnTo>
                  <a:pt x="282930" y="32479"/>
                </a:lnTo>
                <a:cubicBezTo>
                  <a:pt x="282930" y="19487"/>
                  <a:pt x="272465" y="9022"/>
                  <a:pt x="259473" y="9022"/>
                </a:cubicBezTo>
                <a:cubicBezTo>
                  <a:pt x="254781" y="9022"/>
                  <a:pt x="250451" y="10465"/>
                  <a:pt x="246481" y="12991"/>
                </a:cubicBezTo>
                <a:cubicBezTo>
                  <a:pt x="250270" y="18585"/>
                  <a:pt x="251894" y="25171"/>
                  <a:pt x="251353" y="31577"/>
                </a:cubicBezTo>
                <a:lnTo>
                  <a:pt x="243845" y="47761"/>
                </a:lnTo>
                <a:lnTo>
                  <a:pt x="243233" y="49080"/>
                </a:lnTo>
                <a:cubicBezTo>
                  <a:pt x="242512" y="49801"/>
                  <a:pt x="241429" y="50523"/>
                  <a:pt x="239985" y="50523"/>
                </a:cubicBezTo>
                <a:cubicBezTo>
                  <a:pt x="238903" y="50523"/>
                  <a:pt x="237820" y="49801"/>
                  <a:pt x="236737" y="49080"/>
                </a:cubicBezTo>
                <a:lnTo>
                  <a:pt x="203536" y="15878"/>
                </a:lnTo>
                <a:cubicBezTo>
                  <a:pt x="201732" y="14074"/>
                  <a:pt x="201732" y="11187"/>
                  <a:pt x="203536" y="9383"/>
                </a:cubicBezTo>
                <a:cubicBezTo>
                  <a:pt x="213641" y="-722"/>
                  <a:pt x="228798" y="-1444"/>
                  <a:pt x="239985" y="6495"/>
                </a:cubicBezTo>
                <a:cubicBezTo>
                  <a:pt x="245399" y="2165"/>
                  <a:pt x="252255" y="0"/>
                  <a:pt x="259473"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55" name="Freeform 755">
            <a:extLst>
              <a:ext uri="{FF2B5EF4-FFF2-40B4-BE49-F238E27FC236}">
                <a16:creationId xmlns:a16="http://schemas.microsoft.com/office/drawing/2014/main" id="{75F4483C-4786-3B48-9639-0D8511EFA2AD}"/>
              </a:ext>
            </a:extLst>
          </p:cNvPr>
          <p:cNvSpPr>
            <a:spLocks noChangeArrowheads="1"/>
          </p:cNvSpPr>
          <p:nvPr/>
        </p:nvSpPr>
        <p:spPr bwMode="auto">
          <a:xfrm>
            <a:off x="3116204" y="4548028"/>
            <a:ext cx="287374" cy="278440"/>
          </a:xfrm>
          <a:custGeom>
            <a:avLst/>
            <a:gdLst/>
            <a:ahLst/>
            <a:cxnLst/>
            <a:rect l="0" t="0" r="r" b="b"/>
            <a:pathLst>
              <a:path w="306026" h="296645">
                <a:moveTo>
                  <a:pt x="157705" y="218334"/>
                </a:moveTo>
                <a:lnTo>
                  <a:pt x="157705" y="256948"/>
                </a:lnTo>
                <a:cubicBezTo>
                  <a:pt x="157705" y="262361"/>
                  <a:pt x="162035" y="267053"/>
                  <a:pt x="167809" y="267053"/>
                </a:cubicBezTo>
                <a:cubicBezTo>
                  <a:pt x="173583" y="267053"/>
                  <a:pt x="178275" y="262361"/>
                  <a:pt x="178275" y="256948"/>
                </a:cubicBezTo>
                <a:lnTo>
                  <a:pt x="178275" y="218334"/>
                </a:lnTo>
                <a:lnTo>
                  <a:pt x="157705" y="218334"/>
                </a:lnTo>
                <a:close/>
                <a:moveTo>
                  <a:pt x="127391" y="218334"/>
                </a:moveTo>
                <a:lnTo>
                  <a:pt x="127391" y="256948"/>
                </a:lnTo>
                <a:cubicBezTo>
                  <a:pt x="127391" y="262361"/>
                  <a:pt x="132082" y="267053"/>
                  <a:pt x="137856" y="267053"/>
                </a:cubicBezTo>
                <a:cubicBezTo>
                  <a:pt x="143630" y="267053"/>
                  <a:pt x="148322" y="262361"/>
                  <a:pt x="148322" y="256948"/>
                </a:cubicBezTo>
                <a:lnTo>
                  <a:pt x="148322" y="218334"/>
                </a:lnTo>
                <a:lnTo>
                  <a:pt x="127391" y="218334"/>
                </a:lnTo>
                <a:close/>
                <a:moveTo>
                  <a:pt x="23097" y="176832"/>
                </a:moveTo>
                <a:lnTo>
                  <a:pt x="23097" y="204620"/>
                </a:lnTo>
                <a:cubicBezTo>
                  <a:pt x="23097" y="206785"/>
                  <a:pt x="25262" y="209312"/>
                  <a:pt x="27788" y="209312"/>
                </a:cubicBezTo>
                <a:lnTo>
                  <a:pt x="278239" y="209312"/>
                </a:lnTo>
                <a:cubicBezTo>
                  <a:pt x="280765" y="209312"/>
                  <a:pt x="282930" y="206785"/>
                  <a:pt x="282930" y="204620"/>
                </a:cubicBezTo>
                <a:lnTo>
                  <a:pt x="282930" y="176832"/>
                </a:lnTo>
                <a:lnTo>
                  <a:pt x="187297" y="176832"/>
                </a:lnTo>
                <a:lnTo>
                  <a:pt x="118730" y="176832"/>
                </a:lnTo>
                <a:lnTo>
                  <a:pt x="23097" y="176832"/>
                </a:lnTo>
                <a:close/>
                <a:moveTo>
                  <a:pt x="14153" y="149369"/>
                </a:moveTo>
                <a:lnTo>
                  <a:pt x="63279" y="149369"/>
                </a:lnTo>
                <a:cubicBezTo>
                  <a:pt x="65770" y="149369"/>
                  <a:pt x="67906" y="151486"/>
                  <a:pt x="67906" y="153955"/>
                </a:cubicBezTo>
                <a:cubicBezTo>
                  <a:pt x="67906" y="156425"/>
                  <a:pt x="65770" y="158541"/>
                  <a:pt x="63279" y="158541"/>
                </a:cubicBezTo>
                <a:lnTo>
                  <a:pt x="14153" y="158541"/>
                </a:lnTo>
                <a:cubicBezTo>
                  <a:pt x="11661" y="158541"/>
                  <a:pt x="9525" y="156425"/>
                  <a:pt x="9525" y="153955"/>
                </a:cubicBezTo>
                <a:cubicBezTo>
                  <a:pt x="9525" y="151486"/>
                  <a:pt x="11661" y="149369"/>
                  <a:pt x="14153" y="149369"/>
                </a:cubicBezTo>
                <a:close/>
                <a:moveTo>
                  <a:pt x="4617" y="130319"/>
                </a:moveTo>
                <a:lnTo>
                  <a:pt x="49004" y="130319"/>
                </a:lnTo>
                <a:cubicBezTo>
                  <a:pt x="51490" y="130319"/>
                  <a:pt x="53620" y="132436"/>
                  <a:pt x="53620" y="134905"/>
                </a:cubicBezTo>
                <a:cubicBezTo>
                  <a:pt x="53620" y="137375"/>
                  <a:pt x="51490" y="139491"/>
                  <a:pt x="49004" y="139491"/>
                </a:cubicBezTo>
                <a:lnTo>
                  <a:pt x="4617" y="139491"/>
                </a:lnTo>
                <a:cubicBezTo>
                  <a:pt x="1776" y="139491"/>
                  <a:pt x="0" y="137375"/>
                  <a:pt x="0" y="134905"/>
                </a:cubicBezTo>
                <a:cubicBezTo>
                  <a:pt x="0" y="132436"/>
                  <a:pt x="1776" y="130319"/>
                  <a:pt x="4617" y="130319"/>
                </a:cubicBezTo>
                <a:close/>
                <a:moveTo>
                  <a:pt x="19037" y="111269"/>
                </a:moveTo>
                <a:lnTo>
                  <a:pt x="55210" y="111269"/>
                </a:lnTo>
                <a:cubicBezTo>
                  <a:pt x="58133" y="111269"/>
                  <a:pt x="59960" y="113386"/>
                  <a:pt x="59960" y="115855"/>
                </a:cubicBezTo>
                <a:cubicBezTo>
                  <a:pt x="59960" y="118325"/>
                  <a:pt x="58133" y="120441"/>
                  <a:pt x="55210" y="120441"/>
                </a:cubicBezTo>
                <a:lnTo>
                  <a:pt x="19037" y="120441"/>
                </a:lnTo>
                <a:cubicBezTo>
                  <a:pt x="16480" y="120441"/>
                  <a:pt x="14287" y="118325"/>
                  <a:pt x="14287" y="115855"/>
                </a:cubicBezTo>
                <a:cubicBezTo>
                  <a:pt x="14287" y="113386"/>
                  <a:pt x="16480" y="111269"/>
                  <a:pt x="19037" y="111269"/>
                </a:cubicBezTo>
                <a:close/>
                <a:moveTo>
                  <a:pt x="118730" y="105377"/>
                </a:moveTo>
                <a:cubicBezTo>
                  <a:pt x="106460" y="105377"/>
                  <a:pt x="96355" y="115121"/>
                  <a:pt x="96355" y="127391"/>
                </a:cubicBezTo>
                <a:lnTo>
                  <a:pt x="96355" y="167449"/>
                </a:lnTo>
                <a:lnTo>
                  <a:pt x="114038" y="167449"/>
                </a:lnTo>
                <a:lnTo>
                  <a:pt x="114038" y="132083"/>
                </a:lnTo>
                <a:cubicBezTo>
                  <a:pt x="114038" y="129556"/>
                  <a:pt x="116204" y="127391"/>
                  <a:pt x="118730" y="127391"/>
                </a:cubicBezTo>
                <a:cubicBezTo>
                  <a:pt x="121256" y="127391"/>
                  <a:pt x="123421" y="129556"/>
                  <a:pt x="123421" y="132083"/>
                </a:cubicBezTo>
                <a:lnTo>
                  <a:pt x="123421" y="167449"/>
                </a:lnTo>
                <a:lnTo>
                  <a:pt x="182605" y="167449"/>
                </a:lnTo>
                <a:lnTo>
                  <a:pt x="182605" y="132083"/>
                </a:lnTo>
                <a:cubicBezTo>
                  <a:pt x="182605" y="129556"/>
                  <a:pt x="184410" y="127391"/>
                  <a:pt x="187297" y="127391"/>
                </a:cubicBezTo>
                <a:cubicBezTo>
                  <a:pt x="189823" y="127391"/>
                  <a:pt x="191627" y="129556"/>
                  <a:pt x="191627" y="132083"/>
                </a:cubicBezTo>
                <a:lnTo>
                  <a:pt x="191627" y="167449"/>
                </a:lnTo>
                <a:lnTo>
                  <a:pt x="209311" y="167449"/>
                </a:lnTo>
                <a:lnTo>
                  <a:pt x="209311" y="127391"/>
                </a:lnTo>
                <a:cubicBezTo>
                  <a:pt x="209311" y="115121"/>
                  <a:pt x="199206" y="105377"/>
                  <a:pt x="187297" y="105377"/>
                </a:cubicBezTo>
                <a:lnTo>
                  <a:pt x="118730" y="105377"/>
                </a:lnTo>
                <a:close/>
                <a:moveTo>
                  <a:pt x="153805" y="42581"/>
                </a:moveTo>
                <a:cubicBezTo>
                  <a:pt x="143249" y="42581"/>
                  <a:pt x="134513" y="50954"/>
                  <a:pt x="134513" y="61874"/>
                </a:cubicBezTo>
                <a:cubicBezTo>
                  <a:pt x="134513" y="72066"/>
                  <a:pt x="143249" y="80803"/>
                  <a:pt x="153805" y="80803"/>
                </a:cubicBezTo>
                <a:cubicBezTo>
                  <a:pt x="163998" y="80803"/>
                  <a:pt x="172734" y="72066"/>
                  <a:pt x="172734" y="61874"/>
                </a:cubicBezTo>
                <a:cubicBezTo>
                  <a:pt x="172734" y="50954"/>
                  <a:pt x="163998" y="42581"/>
                  <a:pt x="153805" y="42581"/>
                </a:cubicBezTo>
                <a:close/>
                <a:moveTo>
                  <a:pt x="153805" y="33481"/>
                </a:moveTo>
                <a:cubicBezTo>
                  <a:pt x="169458" y="33481"/>
                  <a:pt x="182198" y="45857"/>
                  <a:pt x="182198" y="61874"/>
                </a:cubicBezTo>
                <a:cubicBezTo>
                  <a:pt x="182198" y="77527"/>
                  <a:pt x="169458" y="90267"/>
                  <a:pt x="153805" y="90267"/>
                </a:cubicBezTo>
                <a:cubicBezTo>
                  <a:pt x="138153" y="90267"/>
                  <a:pt x="125412" y="77527"/>
                  <a:pt x="125412" y="61874"/>
                </a:cubicBezTo>
                <a:cubicBezTo>
                  <a:pt x="125412" y="45857"/>
                  <a:pt x="138153" y="33481"/>
                  <a:pt x="153805" y="33481"/>
                </a:cubicBezTo>
                <a:close/>
                <a:moveTo>
                  <a:pt x="225595" y="10510"/>
                </a:moveTo>
                <a:cubicBezTo>
                  <a:pt x="221490" y="10014"/>
                  <a:pt x="217250" y="10826"/>
                  <a:pt x="213641" y="12991"/>
                </a:cubicBezTo>
                <a:lnTo>
                  <a:pt x="239624" y="38975"/>
                </a:lnTo>
                <a:cubicBezTo>
                  <a:pt x="243955" y="31757"/>
                  <a:pt x="242872" y="22013"/>
                  <a:pt x="236737" y="15878"/>
                </a:cubicBezTo>
                <a:cubicBezTo>
                  <a:pt x="233670" y="12811"/>
                  <a:pt x="229700" y="11006"/>
                  <a:pt x="225595" y="10510"/>
                </a:cubicBezTo>
                <a:close/>
                <a:moveTo>
                  <a:pt x="259473" y="0"/>
                </a:moveTo>
                <a:cubicBezTo>
                  <a:pt x="277517" y="0"/>
                  <a:pt x="291952" y="14435"/>
                  <a:pt x="291952" y="32479"/>
                </a:cubicBezTo>
                <a:lnTo>
                  <a:pt x="291952" y="147916"/>
                </a:lnTo>
                <a:lnTo>
                  <a:pt x="291952" y="167449"/>
                </a:lnTo>
                <a:lnTo>
                  <a:pt x="301335" y="167449"/>
                </a:lnTo>
                <a:cubicBezTo>
                  <a:pt x="303861" y="167449"/>
                  <a:pt x="306026" y="169614"/>
                  <a:pt x="306026" y="172141"/>
                </a:cubicBezTo>
                <a:cubicBezTo>
                  <a:pt x="306026" y="174667"/>
                  <a:pt x="303861" y="176832"/>
                  <a:pt x="301335" y="176832"/>
                </a:cubicBezTo>
                <a:lnTo>
                  <a:pt x="291952" y="176832"/>
                </a:lnTo>
                <a:lnTo>
                  <a:pt x="291952" y="204620"/>
                </a:lnTo>
                <a:cubicBezTo>
                  <a:pt x="291952" y="210394"/>
                  <a:pt x="287982" y="215447"/>
                  <a:pt x="282930" y="217251"/>
                </a:cubicBezTo>
                <a:lnTo>
                  <a:pt x="282930" y="291954"/>
                </a:lnTo>
                <a:cubicBezTo>
                  <a:pt x="282930" y="294480"/>
                  <a:pt x="280765" y="296645"/>
                  <a:pt x="278239" y="296645"/>
                </a:cubicBezTo>
                <a:cubicBezTo>
                  <a:pt x="275712" y="296645"/>
                  <a:pt x="273547" y="294480"/>
                  <a:pt x="273547" y="291954"/>
                </a:cubicBezTo>
                <a:lnTo>
                  <a:pt x="273547" y="218334"/>
                </a:lnTo>
                <a:lnTo>
                  <a:pt x="209311" y="218334"/>
                </a:lnTo>
                <a:lnTo>
                  <a:pt x="209311" y="262361"/>
                </a:lnTo>
                <a:cubicBezTo>
                  <a:pt x="209311" y="264887"/>
                  <a:pt x="207145" y="267053"/>
                  <a:pt x="204980" y="267053"/>
                </a:cubicBezTo>
                <a:cubicBezTo>
                  <a:pt x="202454" y="267053"/>
                  <a:pt x="200289" y="264887"/>
                  <a:pt x="200289" y="262361"/>
                </a:cubicBezTo>
                <a:lnTo>
                  <a:pt x="200289" y="218334"/>
                </a:lnTo>
                <a:lnTo>
                  <a:pt x="187658" y="218334"/>
                </a:lnTo>
                <a:lnTo>
                  <a:pt x="187658" y="256948"/>
                </a:lnTo>
                <a:cubicBezTo>
                  <a:pt x="187658" y="267775"/>
                  <a:pt x="178636" y="276436"/>
                  <a:pt x="167809" y="276436"/>
                </a:cubicBezTo>
                <a:cubicBezTo>
                  <a:pt x="162035" y="276436"/>
                  <a:pt x="156622" y="273549"/>
                  <a:pt x="153013" y="269218"/>
                </a:cubicBezTo>
                <a:cubicBezTo>
                  <a:pt x="149405" y="273549"/>
                  <a:pt x="143991" y="276436"/>
                  <a:pt x="137856" y="276436"/>
                </a:cubicBezTo>
                <a:cubicBezTo>
                  <a:pt x="127030" y="276436"/>
                  <a:pt x="118008" y="267775"/>
                  <a:pt x="118008" y="256948"/>
                </a:cubicBezTo>
                <a:lnTo>
                  <a:pt x="118008" y="218334"/>
                </a:lnTo>
                <a:lnTo>
                  <a:pt x="104655" y="218334"/>
                </a:lnTo>
                <a:lnTo>
                  <a:pt x="104655" y="262361"/>
                </a:lnTo>
                <a:cubicBezTo>
                  <a:pt x="104655" y="264887"/>
                  <a:pt x="102851" y="267053"/>
                  <a:pt x="99964" y="267053"/>
                </a:cubicBezTo>
                <a:cubicBezTo>
                  <a:pt x="97438" y="267053"/>
                  <a:pt x="95633" y="264887"/>
                  <a:pt x="95633" y="262361"/>
                </a:cubicBezTo>
                <a:lnTo>
                  <a:pt x="95633" y="218334"/>
                </a:lnTo>
                <a:lnTo>
                  <a:pt x="32119" y="218334"/>
                </a:lnTo>
                <a:lnTo>
                  <a:pt x="32119" y="291954"/>
                </a:lnTo>
                <a:cubicBezTo>
                  <a:pt x="32119" y="294480"/>
                  <a:pt x="30314" y="296645"/>
                  <a:pt x="27788" y="296645"/>
                </a:cubicBezTo>
                <a:cubicBezTo>
                  <a:pt x="25262" y="296645"/>
                  <a:pt x="23097" y="294480"/>
                  <a:pt x="23097" y="291954"/>
                </a:cubicBezTo>
                <a:lnTo>
                  <a:pt x="23097" y="217251"/>
                </a:lnTo>
                <a:cubicBezTo>
                  <a:pt x="17683" y="215447"/>
                  <a:pt x="13714" y="210394"/>
                  <a:pt x="13714" y="204620"/>
                </a:cubicBezTo>
                <a:lnTo>
                  <a:pt x="13714" y="176832"/>
                </a:lnTo>
                <a:lnTo>
                  <a:pt x="4692" y="176832"/>
                </a:lnTo>
                <a:cubicBezTo>
                  <a:pt x="1805" y="176832"/>
                  <a:pt x="0" y="174667"/>
                  <a:pt x="0" y="172141"/>
                </a:cubicBezTo>
                <a:cubicBezTo>
                  <a:pt x="0" y="169614"/>
                  <a:pt x="1805" y="167449"/>
                  <a:pt x="4692" y="167449"/>
                </a:cubicBezTo>
                <a:lnTo>
                  <a:pt x="18405" y="167449"/>
                </a:lnTo>
                <a:lnTo>
                  <a:pt x="87333" y="167449"/>
                </a:lnTo>
                <a:lnTo>
                  <a:pt x="87333" y="127391"/>
                </a:lnTo>
                <a:cubicBezTo>
                  <a:pt x="87333" y="110069"/>
                  <a:pt x="101407" y="95994"/>
                  <a:pt x="118730" y="95994"/>
                </a:cubicBezTo>
                <a:lnTo>
                  <a:pt x="187297" y="95994"/>
                </a:lnTo>
                <a:cubicBezTo>
                  <a:pt x="204258" y="95994"/>
                  <a:pt x="218693" y="110069"/>
                  <a:pt x="218693" y="127391"/>
                </a:cubicBezTo>
                <a:lnTo>
                  <a:pt x="218693" y="167449"/>
                </a:lnTo>
                <a:lnTo>
                  <a:pt x="282930" y="167449"/>
                </a:lnTo>
                <a:lnTo>
                  <a:pt x="282930" y="129133"/>
                </a:lnTo>
                <a:lnTo>
                  <a:pt x="282930" y="32479"/>
                </a:lnTo>
                <a:cubicBezTo>
                  <a:pt x="282930" y="19487"/>
                  <a:pt x="272465" y="9022"/>
                  <a:pt x="259473" y="9022"/>
                </a:cubicBezTo>
                <a:cubicBezTo>
                  <a:pt x="254781" y="9022"/>
                  <a:pt x="250451" y="10465"/>
                  <a:pt x="246481" y="12991"/>
                </a:cubicBezTo>
                <a:cubicBezTo>
                  <a:pt x="250270" y="18585"/>
                  <a:pt x="251894" y="25171"/>
                  <a:pt x="251353" y="31577"/>
                </a:cubicBezTo>
                <a:lnTo>
                  <a:pt x="243845" y="47761"/>
                </a:lnTo>
                <a:lnTo>
                  <a:pt x="243233" y="49080"/>
                </a:lnTo>
                <a:cubicBezTo>
                  <a:pt x="242512" y="49801"/>
                  <a:pt x="241429" y="50523"/>
                  <a:pt x="239985" y="50523"/>
                </a:cubicBezTo>
                <a:cubicBezTo>
                  <a:pt x="238903" y="50523"/>
                  <a:pt x="237820" y="49801"/>
                  <a:pt x="236737" y="49080"/>
                </a:cubicBezTo>
                <a:lnTo>
                  <a:pt x="203536" y="15878"/>
                </a:lnTo>
                <a:cubicBezTo>
                  <a:pt x="201732" y="14074"/>
                  <a:pt x="201732" y="11187"/>
                  <a:pt x="203536" y="9383"/>
                </a:cubicBezTo>
                <a:cubicBezTo>
                  <a:pt x="213641" y="-722"/>
                  <a:pt x="228798" y="-1444"/>
                  <a:pt x="239985" y="6495"/>
                </a:cubicBezTo>
                <a:cubicBezTo>
                  <a:pt x="245399" y="2165"/>
                  <a:pt x="252255" y="0"/>
                  <a:pt x="259473"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56" name="Freeform 755">
            <a:extLst>
              <a:ext uri="{FF2B5EF4-FFF2-40B4-BE49-F238E27FC236}">
                <a16:creationId xmlns:a16="http://schemas.microsoft.com/office/drawing/2014/main" id="{045F83B3-79EA-114B-AB34-6AC25D136A5E}"/>
              </a:ext>
            </a:extLst>
          </p:cNvPr>
          <p:cNvSpPr>
            <a:spLocks noChangeArrowheads="1"/>
          </p:cNvSpPr>
          <p:nvPr/>
        </p:nvSpPr>
        <p:spPr bwMode="auto">
          <a:xfrm>
            <a:off x="3116204" y="5483715"/>
            <a:ext cx="287374" cy="278440"/>
          </a:xfrm>
          <a:custGeom>
            <a:avLst/>
            <a:gdLst/>
            <a:ahLst/>
            <a:cxnLst/>
            <a:rect l="0" t="0" r="r" b="b"/>
            <a:pathLst>
              <a:path w="306026" h="296645">
                <a:moveTo>
                  <a:pt x="157705" y="218334"/>
                </a:moveTo>
                <a:lnTo>
                  <a:pt x="157705" y="256948"/>
                </a:lnTo>
                <a:cubicBezTo>
                  <a:pt x="157705" y="262361"/>
                  <a:pt x="162035" y="267053"/>
                  <a:pt x="167809" y="267053"/>
                </a:cubicBezTo>
                <a:cubicBezTo>
                  <a:pt x="173583" y="267053"/>
                  <a:pt x="178275" y="262361"/>
                  <a:pt x="178275" y="256948"/>
                </a:cubicBezTo>
                <a:lnTo>
                  <a:pt x="178275" y="218334"/>
                </a:lnTo>
                <a:lnTo>
                  <a:pt x="157705" y="218334"/>
                </a:lnTo>
                <a:close/>
                <a:moveTo>
                  <a:pt x="127391" y="218334"/>
                </a:moveTo>
                <a:lnTo>
                  <a:pt x="127391" y="256948"/>
                </a:lnTo>
                <a:cubicBezTo>
                  <a:pt x="127391" y="262361"/>
                  <a:pt x="132082" y="267053"/>
                  <a:pt x="137856" y="267053"/>
                </a:cubicBezTo>
                <a:cubicBezTo>
                  <a:pt x="143630" y="267053"/>
                  <a:pt x="148322" y="262361"/>
                  <a:pt x="148322" y="256948"/>
                </a:cubicBezTo>
                <a:lnTo>
                  <a:pt x="148322" y="218334"/>
                </a:lnTo>
                <a:lnTo>
                  <a:pt x="127391" y="218334"/>
                </a:lnTo>
                <a:close/>
                <a:moveTo>
                  <a:pt x="23097" y="176832"/>
                </a:moveTo>
                <a:lnTo>
                  <a:pt x="23097" y="204620"/>
                </a:lnTo>
                <a:cubicBezTo>
                  <a:pt x="23097" y="206785"/>
                  <a:pt x="25262" y="209312"/>
                  <a:pt x="27788" y="209312"/>
                </a:cubicBezTo>
                <a:lnTo>
                  <a:pt x="278239" y="209312"/>
                </a:lnTo>
                <a:cubicBezTo>
                  <a:pt x="280765" y="209312"/>
                  <a:pt x="282930" y="206785"/>
                  <a:pt x="282930" y="204620"/>
                </a:cubicBezTo>
                <a:lnTo>
                  <a:pt x="282930" y="176832"/>
                </a:lnTo>
                <a:lnTo>
                  <a:pt x="187297" y="176832"/>
                </a:lnTo>
                <a:lnTo>
                  <a:pt x="118730" y="176832"/>
                </a:lnTo>
                <a:lnTo>
                  <a:pt x="23097" y="176832"/>
                </a:lnTo>
                <a:close/>
                <a:moveTo>
                  <a:pt x="14153" y="149369"/>
                </a:moveTo>
                <a:lnTo>
                  <a:pt x="63279" y="149369"/>
                </a:lnTo>
                <a:cubicBezTo>
                  <a:pt x="65770" y="149369"/>
                  <a:pt x="67906" y="151486"/>
                  <a:pt x="67906" y="153955"/>
                </a:cubicBezTo>
                <a:cubicBezTo>
                  <a:pt x="67906" y="156425"/>
                  <a:pt x="65770" y="158541"/>
                  <a:pt x="63279" y="158541"/>
                </a:cubicBezTo>
                <a:lnTo>
                  <a:pt x="14153" y="158541"/>
                </a:lnTo>
                <a:cubicBezTo>
                  <a:pt x="11661" y="158541"/>
                  <a:pt x="9525" y="156425"/>
                  <a:pt x="9525" y="153955"/>
                </a:cubicBezTo>
                <a:cubicBezTo>
                  <a:pt x="9525" y="151486"/>
                  <a:pt x="11661" y="149369"/>
                  <a:pt x="14153" y="149369"/>
                </a:cubicBezTo>
                <a:close/>
                <a:moveTo>
                  <a:pt x="4617" y="130319"/>
                </a:moveTo>
                <a:lnTo>
                  <a:pt x="49004" y="130319"/>
                </a:lnTo>
                <a:cubicBezTo>
                  <a:pt x="51490" y="130319"/>
                  <a:pt x="53620" y="132436"/>
                  <a:pt x="53620" y="134905"/>
                </a:cubicBezTo>
                <a:cubicBezTo>
                  <a:pt x="53620" y="137375"/>
                  <a:pt x="51490" y="139491"/>
                  <a:pt x="49004" y="139491"/>
                </a:cubicBezTo>
                <a:lnTo>
                  <a:pt x="4617" y="139491"/>
                </a:lnTo>
                <a:cubicBezTo>
                  <a:pt x="1776" y="139491"/>
                  <a:pt x="0" y="137375"/>
                  <a:pt x="0" y="134905"/>
                </a:cubicBezTo>
                <a:cubicBezTo>
                  <a:pt x="0" y="132436"/>
                  <a:pt x="1776" y="130319"/>
                  <a:pt x="4617" y="130319"/>
                </a:cubicBezTo>
                <a:close/>
                <a:moveTo>
                  <a:pt x="19037" y="111269"/>
                </a:moveTo>
                <a:lnTo>
                  <a:pt x="55210" y="111269"/>
                </a:lnTo>
                <a:cubicBezTo>
                  <a:pt x="58133" y="111269"/>
                  <a:pt x="59960" y="113386"/>
                  <a:pt x="59960" y="115855"/>
                </a:cubicBezTo>
                <a:cubicBezTo>
                  <a:pt x="59960" y="118325"/>
                  <a:pt x="58133" y="120441"/>
                  <a:pt x="55210" y="120441"/>
                </a:cubicBezTo>
                <a:lnTo>
                  <a:pt x="19037" y="120441"/>
                </a:lnTo>
                <a:cubicBezTo>
                  <a:pt x="16480" y="120441"/>
                  <a:pt x="14287" y="118325"/>
                  <a:pt x="14287" y="115855"/>
                </a:cubicBezTo>
                <a:cubicBezTo>
                  <a:pt x="14287" y="113386"/>
                  <a:pt x="16480" y="111269"/>
                  <a:pt x="19037" y="111269"/>
                </a:cubicBezTo>
                <a:close/>
                <a:moveTo>
                  <a:pt x="118730" y="105377"/>
                </a:moveTo>
                <a:cubicBezTo>
                  <a:pt x="106460" y="105377"/>
                  <a:pt x="96355" y="115121"/>
                  <a:pt x="96355" y="127391"/>
                </a:cubicBezTo>
                <a:lnTo>
                  <a:pt x="96355" y="167449"/>
                </a:lnTo>
                <a:lnTo>
                  <a:pt x="114038" y="167449"/>
                </a:lnTo>
                <a:lnTo>
                  <a:pt x="114038" y="132083"/>
                </a:lnTo>
                <a:cubicBezTo>
                  <a:pt x="114038" y="129556"/>
                  <a:pt x="116204" y="127391"/>
                  <a:pt x="118730" y="127391"/>
                </a:cubicBezTo>
                <a:cubicBezTo>
                  <a:pt x="121256" y="127391"/>
                  <a:pt x="123421" y="129556"/>
                  <a:pt x="123421" y="132083"/>
                </a:cubicBezTo>
                <a:lnTo>
                  <a:pt x="123421" y="167449"/>
                </a:lnTo>
                <a:lnTo>
                  <a:pt x="182605" y="167449"/>
                </a:lnTo>
                <a:lnTo>
                  <a:pt x="182605" y="132083"/>
                </a:lnTo>
                <a:cubicBezTo>
                  <a:pt x="182605" y="129556"/>
                  <a:pt x="184410" y="127391"/>
                  <a:pt x="187297" y="127391"/>
                </a:cubicBezTo>
                <a:cubicBezTo>
                  <a:pt x="189823" y="127391"/>
                  <a:pt x="191627" y="129556"/>
                  <a:pt x="191627" y="132083"/>
                </a:cubicBezTo>
                <a:lnTo>
                  <a:pt x="191627" y="167449"/>
                </a:lnTo>
                <a:lnTo>
                  <a:pt x="209311" y="167449"/>
                </a:lnTo>
                <a:lnTo>
                  <a:pt x="209311" y="127391"/>
                </a:lnTo>
                <a:cubicBezTo>
                  <a:pt x="209311" y="115121"/>
                  <a:pt x="199206" y="105377"/>
                  <a:pt x="187297" y="105377"/>
                </a:cubicBezTo>
                <a:lnTo>
                  <a:pt x="118730" y="105377"/>
                </a:lnTo>
                <a:close/>
                <a:moveTo>
                  <a:pt x="153805" y="42581"/>
                </a:moveTo>
                <a:cubicBezTo>
                  <a:pt x="143249" y="42581"/>
                  <a:pt x="134513" y="50954"/>
                  <a:pt x="134513" y="61874"/>
                </a:cubicBezTo>
                <a:cubicBezTo>
                  <a:pt x="134513" y="72066"/>
                  <a:pt x="143249" y="80803"/>
                  <a:pt x="153805" y="80803"/>
                </a:cubicBezTo>
                <a:cubicBezTo>
                  <a:pt x="163998" y="80803"/>
                  <a:pt x="172734" y="72066"/>
                  <a:pt x="172734" y="61874"/>
                </a:cubicBezTo>
                <a:cubicBezTo>
                  <a:pt x="172734" y="50954"/>
                  <a:pt x="163998" y="42581"/>
                  <a:pt x="153805" y="42581"/>
                </a:cubicBezTo>
                <a:close/>
                <a:moveTo>
                  <a:pt x="153805" y="33481"/>
                </a:moveTo>
                <a:cubicBezTo>
                  <a:pt x="169458" y="33481"/>
                  <a:pt x="182198" y="45857"/>
                  <a:pt x="182198" y="61874"/>
                </a:cubicBezTo>
                <a:cubicBezTo>
                  <a:pt x="182198" y="77527"/>
                  <a:pt x="169458" y="90267"/>
                  <a:pt x="153805" y="90267"/>
                </a:cubicBezTo>
                <a:cubicBezTo>
                  <a:pt x="138153" y="90267"/>
                  <a:pt x="125412" y="77527"/>
                  <a:pt x="125412" y="61874"/>
                </a:cubicBezTo>
                <a:cubicBezTo>
                  <a:pt x="125412" y="45857"/>
                  <a:pt x="138153" y="33481"/>
                  <a:pt x="153805" y="33481"/>
                </a:cubicBezTo>
                <a:close/>
                <a:moveTo>
                  <a:pt x="225595" y="10510"/>
                </a:moveTo>
                <a:cubicBezTo>
                  <a:pt x="221490" y="10014"/>
                  <a:pt x="217250" y="10826"/>
                  <a:pt x="213641" y="12991"/>
                </a:cubicBezTo>
                <a:lnTo>
                  <a:pt x="239624" y="38975"/>
                </a:lnTo>
                <a:cubicBezTo>
                  <a:pt x="243955" y="31757"/>
                  <a:pt x="242872" y="22013"/>
                  <a:pt x="236737" y="15878"/>
                </a:cubicBezTo>
                <a:cubicBezTo>
                  <a:pt x="233670" y="12811"/>
                  <a:pt x="229700" y="11006"/>
                  <a:pt x="225595" y="10510"/>
                </a:cubicBezTo>
                <a:close/>
                <a:moveTo>
                  <a:pt x="259473" y="0"/>
                </a:moveTo>
                <a:cubicBezTo>
                  <a:pt x="277517" y="0"/>
                  <a:pt x="291952" y="14435"/>
                  <a:pt x="291952" y="32479"/>
                </a:cubicBezTo>
                <a:lnTo>
                  <a:pt x="291952" y="147916"/>
                </a:lnTo>
                <a:lnTo>
                  <a:pt x="291952" y="167449"/>
                </a:lnTo>
                <a:lnTo>
                  <a:pt x="301335" y="167449"/>
                </a:lnTo>
                <a:cubicBezTo>
                  <a:pt x="303861" y="167449"/>
                  <a:pt x="306026" y="169614"/>
                  <a:pt x="306026" y="172141"/>
                </a:cubicBezTo>
                <a:cubicBezTo>
                  <a:pt x="306026" y="174667"/>
                  <a:pt x="303861" y="176832"/>
                  <a:pt x="301335" y="176832"/>
                </a:cubicBezTo>
                <a:lnTo>
                  <a:pt x="291952" y="176832"/>
                </a:lnTo>
                <a:lnTo>
                  <a:pt x="291952" y="204620"/>
                </a:lnTo>
                <a:cubicBezTo>
                  <a:pt x="291952" y="210394"/>
                  <a:pt x="287982" y="215447"/>
                  <a:pt x="282930" y="217251"/>
                </a:cubicBezTo>
                <a:lnTo>
                  <a:pt x="282930" y="291954"/>
                </a:lnTo>
                <a:cubicBezTo>
                  <a:pt x="282930" y="294480"/>
                  <a:pt x="280765" y="296645"/>
                  <a:pt x="278239" y="296645"/>
                </a:cubicBezTo>
                <a:cubicBezTo>
                  <a:pt x="275712" y="296645"/>
                  <a:pt x="273547" y="294480"/>
                  <a:pt x="273547" y="291954"/>
                </a:cubicBezTo>
                <a:lnTo>
                  <a:pt x="273547" y="218334"/>
                </a:lnTo>
                <a:lnTo>
                  <a:pt x="209311" y="218334"/>
                </a:lnTo>
                <a:lnTo>
                  <a:pt x="209311" y="262361"/>
                </a:lnTo>
                <a:cubicBezTo>
                  <a:pt x="209311" y="264887"/>
                  <a:pt x="207145" y="267053"/>
                  <a:pt x="204980" y="267053"/>
                </a:cubicBezTo>
                <a:cubicBezTo>
                  <a:pt x="202454" y="267053"/>
                  <a:pt x="200289" y="264887"/>
                  <a:pt x="200289" y="262361"/>
                </a:cubicBezTo>
                <a:lnTo>
                  <a:pt x="200289" y="218334"/>
                </a:lnTo>
                <a:lnTo>
                  <a:pt x="187658" y="218334"/>
                </a:lnTo>
                <a:lnTo>
                  <a:pt x="187658" y="256948"/>
                </a:lnTo>
                <a:cubicBezTo>
                  <a:pt x="187658" y="267775"/>
                  <a:pt x="178636" y="276436"/>
                  <a:pt x="167809" y="276436"/>
                </a:cubicBezTo>
                <a:cubicBezTo>
                  <a:pt x="162035" y="276436"/>
                  <a:pt x="156622" y="273549"/>
                  <a:pt x="153013" y="269218"/>
                </a:cubicBezTo>
                <a:cubicBezTo>
                  <a:pt x="149405" y="273549"/>
                  <a:pt x="143991" y="276436"/>
                  <a:pt x="137856" y="276436"/>
                </a:cubicBezTo>
                <a:cubicBezTo>
                  <a:pt x="127030" y="276436"/>
                  <a:pt x="118008" y="267775"/>
                  <a:pt x="118008" y="256948"/>
                </a:cubicBezTo>
                <a:lnTo>
                  <a:pt x="118008" y="218334"/>
                </a:lnTo>
                <a:lnTo>
                  <a:pt x="104655" y="218334"/>
                </a:lnTo>
                <a:lnTo>
                  <a:pt x="104655" y="262361"/>
                </a:lnTo>
                <a:cubicBezTo>
                  <a:pt x="104655" y="264887"/>
                  <a:pt x="102851" y="267053"/>
                  <a:pt x="99964" y="267053"/>
                </a:cubicBezTo>
                <a:cubicBezTo>
                  <a:pt x="97438" y="267053"/>
                  <a:pt x="95633" y="264887"/>
                  <a:pt x="95633" y="262361"/>
                </a:cubicBezTo>
                <a:lnTo>
                  <a:pt x="95633" y="218334"/>
                </a:lnTo>
                <a:lnTo>
                  <a:pt x="32119" y="218334"/>
                </a:lnTo>
                <a:lnTo>
                  <a:pt x="32119" y="291954"/>
                </a:lnTo>
                <a:cubicBezTo>
                  <a:pt x="32119" y="294480"/>
                  <a:pt x="30314" y="296645"/>
                  <a:pt x="27788" y="296645"/>
                </a:cubicBezTo>
                <a:cubicBezTo>
                  <a:pt x="25262" y="296645"/>
                  <a:pt x="23097" y="294480"/>
                  <a:pt x="23097" y="291954"/>
                </a:cubicBezTo>
                <a:lnTo>
                  <a:pt x="23097" y="217251"/>
                </a:lnTo>
                <a:cubicBezTo>
                  <a:pt x="17683" y="215447"/>
                  <a:pt x="13714" y="210394"/>
                  <a:pt x="13714" y="204620"/>
                </a:cubicBezTo>
                <a:lnTo>
                  <a:pt x="13714" y="176832"/>
                </a:lnTo>
                <a:lnTo>
                  <a:pt x="4692" y="176832"/>
                </a:lnTo>
                <a:cubicBezTo>
                  <a:pt x="1805" y="176832"/>
                  <a:pt x="0" y="174667"/>
                  <a:pt x="0" y="172141"/>
                </a:cubicBezTo>
                <a:cubicBezTo>
                  <a:pt x="0" y="169614"/>
                  <a:pt x="1805" y="167449"/>
                  <a:pt x="4692" y="167449"/>
                </a:cubicBezTo>
                <a:lnTo>
                  <a:pt x="18405" y="167449"/>
                </a:lnTo>
                <a:lnTo>
                  <a:pt x="87333" y="167449"/>
                </a:lnTo>
                <a:lnTo>
                  <a:pt x="87333" y="127391"/>
                </a:lnTo>
                <a:cubicBezTo>
                  <a:pt x="87333" y="110069"/>
                  <a:pt x="101407" y="95994"/>
                  <a:pt x="118730" y="95994"/>
                </a:cubicBezTo>
                <a:lnTo>
                  <a:pt x="187297" y="95994"/>
                </a:lnTo>
                <a:cubicBezTo>
                  <a:pt x="204258" y="95994"/>
                  <a:pt x="218693" y="110069"/>
                  <a:pt x="218693" y="127391"/>
                </a:cubicBezTo>
                <a:lnTo>
                  <a:pt x="218693" y="167449"/>
                </a:lnTo>
                <a:lnTo>
                  <a:pt x="282930" y="167449"/>
                </a:lnTo>
                <a:lnTo>
                  <a:pt x="282930" y="129133"/>
                </a:lnTo>
                <a:lnTo>
                  <a:pt x="282930" y="32479"/>
                </a:lnTo>
                <a:cubicBezTo>
                  <a:pt x="282930" y="19487"/>
                  <a:pt x="272465" y="9022"/>
                  <a:pt x="259473" y="9022"/>
                </a:cubicBezTo>
                <a:cubicBezTo>
                  <a:pt x="254781" y="9022"/>
                  <a:pt x="250451" y="10465"/>
                  <a:pt x="246481" y="12991"/>
                </a:cubicBezTo>
                <a:cubicBezTo>
                  <a:pt x="250270" y="18585"/>
                  <a:pt x="251894" y="25171"/>
                  <a:pt x="251353" y="31577"/>
                </a:cubicBezTo>
                <a:lnTo>
                  <a:pt x="243845" y="47761"/>
                </a:lnTo>
                <a:lnTo>
                  <a:pt x="243233" y="49080"/>
                </a:lnTo>
                <a:cubicBezTo>
                  <a:pt x="242512" y="49801"/>
                  <a:pt x="241429" y="50523"/>
                  <a:pt x="239985" y="50523"/>
                </a:cubicBezTo>
                <a:cubicBezTo>
                  <a:pt x="238903" y="50523"/>
                  <a:pt x="237820" y="49801"/>
                  <a:pt x="236737" y="49080"/>
                </a:cubicBezTo>
                <a:lnTo>
                  <a:pt x="203536" y="15878"/>
                </a:lnTo>
                <a:cubicBezTo>
                  <a:pt x="201732" y="14074"/>
                  <a:pt x="201732" y="11187"/>
                  <a:pt x="203536" y="9383"/>
                </a:cubicBezTo>
                <a:cubicBezTo>
                  <a:pt x="213641" y="-722"/>
                  <a:pt x="228798" y="-1444"/>
                  <a:pt x="239985" y="6495"/>
                </a:cubicBezTo>
                <a:cubicBezTo>
                  <a:pt x="245399" y="2165"/>
                  <a:pt x="252255" y="0"/>
                  <a:pt x="259473"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57" name="Freeform 757">
            <a:extLst>
              <a:ext uri="{FF2B5EF4-FFF2-40B4-BE49-F238E27FC236}">
                <a16:creationId xmlns:a16="http://schemas.microsoft.com/office/drawing/2014/main" id="{3D59CBFA-0569-1E45-9492-4C86B924FC7B}"/>
              </a:ext>
            </a:extLst>
          </p:cNvPr>
          <p:cNvSpPr>
            <a:spLocks noChangeArrowheads="1"/>
          </p:cNvSpPr>
          <p:nvPr/>
        </p:nvSpPr>
        <p:spPr bwMode="auto">
          <a:xfrm>
            <a:off x="8800248" y="2672187"/>
            <a:ext cx="287375" cy="287375"/>
          </a:xfrm>
          <a:custGeom>
            <a:avLst/>
            <a:gdLst/>
            <a:ahLst/>
            <a:cxnLst/>
            <a:rect l="0" t="0" r="r" b="b"/>
            <a:pathLst>
              <a:path w="306027" h="306027">
                <a:moveTo>
                  <a:pt x="123422" y="278239"/>
                </a:moveTo>
                <a:lnTo>
                  <a:pt x="114039" y="296644"/>
                </a:lnTo>
                <a:lnTo>
                  <a:pt x="191989" y="296644"/>
                </a:lnTo>
                <a:lnTo>
                  <a:pt x="182606" y="278239"/>
                </a:lnTo>
                <a:lnTo>
                  <a:pt x="123422" y="278239"/>
                </a:lnTo>
                <a:close/>
                <a:moveTo>
                  <a:pt x="9383" y="245760"/>
                </a:moveTo>
                <a:lnTo>
                  <a:pt x="9383" y="259834"/>
                </a:lnTo>
                <a:cubicBezTo>
                  <a:pt x="9383" y="264887"/>
                  <a:pt x="13352" y="268856"/>
                  <a:pt x="18405" y="268856"/>
                </a:cubicBezTo>
                <a:lnTo>
                  <a:pt x="120535" y="268856"/>
                </a:lnTo>
                <a:lnTo>
                  <a:pt x="185493" y="268856"/>
                </a:lnTo>
                <a:lnTo>
                  <a:pt x="287622" y="268856"/>
                </a:lnTo>
                <a:cubicBezTo>
                  <a:pt x="292675" y="268856"/>
                  <a:pt x="296644" y="264887"/>
                  <a:pt x="296644" y="259834"/>
                </a:cubicBezTo>
                <a:lnTo>
                  <a:pt x="296644" y="245760"/>
                </a:lnTo>
                <a:lnTo>
                  <a:pt x="9383" y="245760"/>
                </a:lnTo>
                <a:close/>
                <a:moveTo>
                  <a:pt x="36457" y="198438"/>
                </a:moveTo>
                <a:lnTo>
                  <a:pt x="109593" y="198438"/>
                </a:lnTo>
                <a:cubicBezTo>
                  <a:pt x="112128" y="198438"/>
                  <a:pt x="113938" y="200555"/>
                  <a:pt x="113938" y="203024"/>
                </a:cubicBezTo>
                <a:cubicBezTo>
                  <a:pt x="113938" y="205494"/>
                  <a:pt x="112128" y="207610"/>
                  <a:pt x="109593" y="207610"/>
                </a:cubicBezTo>
                <a:lnTo>
                  <a:pt x="36457" y="207610"/>
                </a:lnTo>
                <a:cubicBezTo>
                  <a:pt x="33923" y="207610"/>
                  <a:pt x="31750" y="205494"/>
                  <a:pt x="31750" y="203024"/>
                </a:cubicBezTo>
                <a:cubicBezTo>
                  <a:pt x="31750" y="200555"/>
                  <a:pt x="33923" y="198438"/>
                  <a:pt x="36457" y="198438"/>
                </a:cubicBezTo>
                <a:close/>
                <a:moveTo>
                  <a:pt x="82444" y="166688"/>
                </a:moveTo>
                <a:lnTo>
                  <a:pt x="131511" y="166688"/>
                </a:lnTo>
                <a:cubicBezTo>
                  <a:pt x="134018" y="166688"/>
                  <a:pt x="136167" y="168805"/>
                  <a:pt x="136167" y="171274"/>
                </a:cubicBezTo>
                <a:cubicBezTo>
                  <a:pt x="136167" y="173744"/>
                  <a:pt x="134018" y="175860"/>
                  <a:pt x="131511" y="175860"/>
                </a:cubicBezTo>
                <a:lnTo>
                  <a:pt x="82444" y="175860"/>
                </a:lnTo>
                <a:cubicBezTo>
                  <a:pt x="79937" y="175860"/>
                  <a:pt x="77788" y="173744"/>
                  <a:pt x="77788" y="171274"/>
                </a:cubicBezTo>
                <a:cubicBezTo>
                  <a:pt x="77788" y="168805"/>
                  <a:pt x="79937" y="166688"/>
                  <a:pt x="82444" y="166688"/>
                </a:cubicBezTo>
                <a:close/>
                <a:moveTo>
                  <a:pt x="36495" y="166688"/>
                </a:moveTo>
                <a:lnTo>
                  <a:pt x="58391" y="166688"/>
                </a:lnTo>
                <a:cubicBezTo>
                  <a:pt x="60946" y="166688"/>
                  <a:pt x="63135" y="168805"/>
                  <a:pt x="63135" y="171274"/>
                </a:cubicBezTo>
                <a:cubicBezTo>
                  <a:pt x="63135" y="173744"/>
                  <a:pt x="60946" y="175860"/>
                  <a:pt x="58391" y="175860"/>
                </a:cubicBezTo>
                <a:lnTo>
                  <a:pt x="36495" y="175860"/>
                </a:lnTo>
                <a:cubicBezTo>
                  <a:pt x="33940" y="175860"/>
                  <a:pt x="31750" y="173744"/>
                  <a:pt x="31750" y="171274"/>
                </a:cubicBezTo>
                <a:cubicBezTo>
                  <a:pt x="31750" y="168805"/>
                  <a:pt x="33940" y="166688"/>
                  <a:pt x="36495" y="166688"/>
                </a:cubicBezTo>
                <a:close/>
                <a:moveTo>
                  <a:pt x="241124" y="157163"/>
                </a:moveTo>
                <a:cubicBezTo>
                  <a:pt x="243594" y="157163"/>
                  <a:pt x="245710" y="158947"/>
                  <a:pt x="245710" y="161444"/>
                </a:cubicBezTo>
                <a:lnTo>
                  <a:pt x="245710" y="215669"/>
                </a:lnTo>
                <a:cubicBezTo>
                  <a:pt x="245710" y="218166"/>
                  <a:pt x="243594" y="220306"/>
                  <a:pt x="241124" y="220306"/>
                </a:cubicBezTo>
                <a:cubicBezTo>
                  <a:pt x="238655" y="220306"/>
                  <a:pt x="236538" y="218166"/>
                  <a:pt x="236538" y="215669"/>
                </a:cubicBezTo>
                <a:lnTo>
                  <a:pt x="236538" y="161444"/>
                </a:lnTo>
                <a:cubicBezTo>
                  <a:pt x="236538" y="158947"/>
                  <a:pt x="238655" y="157163"/>
                  <a:pt x="241124" y="157163"/>
                </a:cubicBezTo>
                <a:close/>
                <a:moveTo>
                  <a:pt x="106347" y="133350"/>
                </a:moveTo>
                <a:lnTo>
                  <a:pt x="133001" y="133350"/>
                </a:lnTo>
                <a:cubicBezTo>
                  <a:pt x="135557" y="133350"/>
                  <a:pt x="137748" y="135467"/>
                  <a:pt x="137748" y="137936"/>
                </a:cubicBezTo>
                <a:cubicBezTo>
                  <a:pt x="137748" y="140406"/>
                  <a:pt x="135557" y="142522"/>
                  <a:pt x="133001" y="142522"/>
                </a:cubicBezTo>
                <a:lnTo>
                  <a:pt x="106347" y="142522"/>
                </a:lnTo>
                <a:cubicBezTo>
                  <a:pt x="103791" y="142522"/>
                  <a:pt x="101600" y="140406"/>
                  <a:pt x="101600" y="137936"/>
                </a:cubicBezTo>
                <a:cubicBezTo>
                  <a:pt x="101600" y="135467"/>
                  <a:pt x="103791" y="133350"/>
                  <a:pt x="106347" y="133350"/>
                </a:cubicBezTo>
                <a:close/>
                <a:moveTo>
                  <a:pt x="36397" y="133350"/>
                </a:moveTo>
                <a:lnTo>
                  <a:pt x="80721" y="133350"/>
                </a:lnTo>
                <a:cubicBezTo>
                  <a:pt x="83223" y="133350"/>
                  <a:pt x="85368" y="135467"/>
                  <a:pt x="85368" y="137936"/>
                </a:cubicBezTo>
                <a:cubicBezTo>
                  <a:pt x="85368" y="140406"/>
                  <a:pt x="83223" y="142522"/>
                  <a:pt x="80721" y="142522"/>
                </a:cubicBezTo>
                <a:lnTo>
                  <a:pt x="36397" y="142522"/>
                </a:lnTo>
                <a:cubicBezTo>
                  <a:pt x="33895" y="142522"/>
                  <a:pt x="31750" y="140406"/>
                  <a:pt x="31750" y="137936"/>
                </a:cubicBezTo>
                <a:cubicBezTo>
                  <a:pt x="31750" y="135467"/>
                  <a:pt x="33895" y="133350"/>
                  <a:pt x="36397" y="133350"/>
                </a:cubicBezTo>
                <a:close/>
                <a:moveTo>
                  <a:pt x="36457" y="101600"/>
                </a:moveTo>
                <a:lnTo>
                  <a:pt x="109593" y="101600"/>
                </a:lnTo>
                <a:cubicBezTo>
                  <a:pt x="112128" y="101600"/>
                  <a:pt x="113938" y="103717"/>
                  <a:pt x="113938" y="106186"/>
                </a:cubicBezTo>
                <a:cubicBezTo>
                  <a:pt x="113938" y="108656"/>
                  <a:pt x="112128" y="110772"/>
                  <a:pt x="109593" y="110772"/>
                </a:cubicBezTo>
                <a:lnTo>
                  <a:pt x="36457" y="110772"/>
                </a:lnTo>
                <a:cubicBezTo>
                  <a:pt x="33923" y="110772"/>
                  <a:pt x="31750" y="108656"/>
                  <a:pt x="31750" y="106186"/>
                </a:cubicBezTo>
                <a:cubicBezTo>
                  <a:pt x="31750" y="103717"/>
                  <a:pt x="33923" y="101600"/>
                  <a:pt x="36457" y="101600"/>
                </a:cubicBezTo>
                <a:close/>
                <a:moveTo>
                  <a:pt x="138218" y="85168"/>
                </a:moveTo>
                <a:cubicBezTo>
                  <a:pt x="134609" y="88777"/>
                  <a:pt x="134609" y="94190"/>
                  <a:pt x="138218" y="97438"/>
                </a:cubicBezTo>
                <a:lnTo>
                  <a:pt x="202455" y="162396"/>
                </a:lnTo>
                <a:cubicBezTo>
                  <a:pt x="207868" y="167449"/>
                  <a:pt x="210755" y="174306"/>
                  <a:pt x="210755" y="181884"/>
                </a:cubicBezTo>
                <a:lnTo>
                  <a:pt x="210755" y="236377"/>
                </a:lnTo>
                <a:lnTo>
                  <a:pt x="269578" y="236377"/>
                </a:lnTo>
                <a:lnTo>
                  <a:pt x="269578" y="165644"/>
                </a:lnTo>
                <a:cubicBezTo>
                  <a:pt x="269578" y="163118"/>
                  <a:pt x="271744" y="160953"/>
                  <a:pt x="274270" y="160953"/>
                </a:cubicBezTo>
                <a:cubicBezTo>
                  <a:pt x="276796" y="160953"/>
                  <a:pt x="278961" y="163118"/>
                  <a:pt x="278961" y="165644"/>
                </a:cubicBezTo>
                <a:lnTo>
                  <a:pt x="278961" y="236377"/>
                </a:lnTo>
                <a:lnTo>
                  <a:pt x="296644" y="236377"/>
                </a:lnTo>
                <a:lnTo>
                  <a:pt x="296644" y="160953"/>
                </a:lnTo>
                <a:cubicBezTo>
                  <a:pt x="296644" y="148683"/>
                  <a:pt x="286901" y="138578"/>
                  <a:pt x="274270" y="138578"/>
                </a:cubicBezTo>
                <a:lnTo>
                  <a:pt x="245038" y="138578"/>
                </a:lnTo>
                <a:lnTo>
                  <a:pt x="245038" y="143991"/>
                </a:lnTo>
                <a:cubicBezTo>
                  <a:pt x="245038" y="146879"/>
                  <a:pt x="242873" y="148683"/>
                  <a:pt x="240347" y="148683"/>
                </a:cubicBezTo>
                <a:cubicBezTo>
                  <a:pt x="237821" y="148683"/>
                  <a:pt x="235656" y="146879"/>
                  <a:pt x="235656" y="143991"/>
                </a:cubicBezTo>
                <a:lnTo>
                  <a:pt x="235656" y="138578"/>
                </a:lnTo>
                <a:lnTo>
                  <a:pt x="217612" y="138578"/>
                </a:lnTo>
                <a:cubicBezTo>
                  <a:pt x="208950" y="138578"/>
                  <a:pt x="201011" y="135330"/>
                  <a:pt x="194876" y="129195"/>
                </a:cubicBezTo>
                <a:lnTo>
                  <a:pt x="150488" y="85168"/>
                </a:lnTo>
                <a:cubicBezTo>
                  <a:pt x="147240" y="81559"/>
                  <a:pt x="141826" y="81559"/>
                  <a:pt x="138218" y="85168"/>
                </a:cubicBezTo>
                <a:close/>
                <a:moveTo>
                  <a:pt x="241118" y="71377"/>
                </a:moveTo>
                <a:cubicBezTo>
                  <a:pt x="230562" y="71377"/>
                  <a:pt x="222190" y="79750"/>
                  <a:pt x="222190" y="90306"/>
                </a:cubicBezTo>
                <a:cubicBezTo>
                  <a:pt x="222190" y="100862"/>
                  <a:pt x="230562" y="109599"/>
                  <a:pt x="241118" y="109599"/>
                </a:cubicBezTo>
                <a:cubicBezTo>
                  <a:pt x="251675" y="109599"/>
                  <a:pt x="260047" y="100862"/>
                  <a:pt x="260047" y="90306"/>
                </a:cubicBezTo>
                <a:cubicBezTo>
                  <a:pt x="260047" y="79750"/>
                  <a:pt x="251675" y="71377"/>
                  <a:pt x="241118" y="71377"/>
                </a:cubicBezTo>
                <a:close/>
                <a:moveTo>
                  <a:pt x="36386" y="68263"/>
                </a:moveTo>
                <a:lnTo>
                  <a:pt x="75971" y="68263"/>
                </a:lnTo>
                <a:cubicBezTo>
                  <a:pt x="78824" y="68263"/>
                  <a:pt x="80607" y="70380"/>
                  <a:pt x="80607" y="72849"/>
                </a:cubicBezTo>
                <a:cubicBezTo>
                  <a:pt x="80607" y="75319"/>
                  <a:pt x="78824" y="77435"/>
                  <a:pt x="75971" y="77435"/>
                </a:cubicBezTo>
                <a:lnTo>
                  <a:pt x="36386" y="77435"/>
                </a:lnTo>
                <a:cubicBezTo>
                  <a:pt x="33890" y="77435"/>
                  <a:pt x="31750" y="75319"/>
                  <a:pt x="31750" y="72849"/>
                </a:cubicBezTo>
                <a:cubicBezTo>
                  <a:pt x="31750" y="70380"/>
                  <a:pt x="33890" y="68263"/>
                  <a:pt x="36386" y="68263"/>
                </a:cubicBezTo>
                <a:close/>
                <a:moveTo>
                  <a:pt x="241118" y="61913"/>
                </a:moveTo>
                <a:cubicBezTo>
                  <a:pt x="256771" y="61913"/>
                  <a:pt x="269511" y="74653"/>
                  <a:pt x="269511" y="90306"/>
                </a:cubicBezTo>
                <a:cubicBezTo>
                  <a:pt x="269511" y="105959"/>
                  <a:pt x="256771" y="118699"/>
                  <a:pt x="241118" y="118699"/>
                </a:cubicBezTo>
                <a:cubicBezTo>
                  <a:pt x="225466" y="118699"/>
                  <a:pt x="212725" y="105959"/>
                  <a:pt x="212725" y="90306"/>
                </a:cubicBezTo>
                <a:cubicBezTo>
                  <a:pt x="212725" y="74653"/>
                  <a:pt x="225466" y="61913"/>
                  <a:pt x="241118" y="61913"/>
                </a:cubicBezTo>
                <a:close/>
                <a:moveTo>
                  <a:pt x="18405" y="0"/>
                </a:moveTo>
                <a:lnTo>
                  <a:pt x="287622" y="0"/>
                </a:lnTo>
                <a:cubicBezTo>
                  <a:pt x="297727" y="0"/>
                  <a:pt x="306027" y="8300"/>
                  <a:pt x="306027" y="18405"/>
                </a:cubicBezTo>
                <a:lnTo>
                  <a:pt x="306027" y="112956"/>
                </a:lnTo>
                <a:cubicBezTo>
                  <a:pt x="306027" y="115121"/>
                  <a:pt x="303862" y="117286"/>
                  <a:pt x="301336" y="117286"/>
                </a:cubicBezTo>
                <a:cubicBezTo>
                  <a:pt x="298810" y="117286"/>
                  <a:pt x="296644" y="115121"/>
                  <a:pt x="296644" y="112956"/>
                </a:cubicBezTo>
                <a:lnTo>
                  <a:pt x="296644" y="18405"/>
                </a:lnTo>
                <a:cubicBezTo>
                  <a:pt x="296644" y="13353"/>
                  <a:pt x="292675" y="9383"/>
                  <a:pt x="287622" y="9383"/>
                </a:cubicBezTo>
                <a:lnTo>
                  <a:pt x="18405" y="9383"/>
                </a:lnTo>
                <a:cubicBezTo>
                  <a:pt x="13352" y="9383"/>
                  <a:pt x="9383" y="13353"/>
                  <a:pt x="9383" y="18405"/>
                </a:cubicBezTo>
                <a:lnTo>
                  <a:pt x="9383" y="236377"/>
                </a:lnTo>
                <a:lnTo>
                  <a:pt x="201372" y="236377"/>
                </a:lnTo>
                <a:lnTo>
                  <a:pt x="201372" y="181884"/>
                </a:lnTo>
                <a:cubicBezTo>
                  <a:pt x="201372" y="176832"/>
                  <a:pt x="199567" y="172501"/>
                  <a:pt x="195959" y="168892"/>
                </a:cubicBezTo>
                <a:lnTo>
                  <a:pt x="131361" y="103934"/>
                </a:lnTo>
                <a:cubicBezTo>
                  <a:pt x="124504" y="97077"/>
                  <a:pt x="124504" y="85529"/>
                  <a:pt x="131361" y="78672"/>
                </a:cubicBezTo>
                <a:cubicBezTo>
                  <a:pt x="138579" y="71454"/>
                  <a:pt x="150127" y="71454"/>
                  <a:pt x="157344" y="78672"/>
                </a:cubicBezTo>
                <a:lnTo>
                  <a:pt x="201372" y="122339"/>
                </a:lnTo>
                <a:cubicBezTo>
                  <a:pt x="205702" y="127030"/>
                  <a:pt x="211477" y="129195"/>
                  <a:pt x="217612" y="129195"/>
                </a:cubicBezTo>
                <a:lnTo>
                  <a:pt x="274270" y="129195"/>
                </a:lnTo>
                <a:cubicBezTo>
                  <a:pt x="291592" y="129195"/>
                  <a:pt x="306027" y="143631"/>
                  <a:pt x="306027" y="160953"/>
                </a:cubicBezTo>
                <a:lnTo>
                  <a:pt x="306027" y="259834"/>
                </a:lnTo>
                <a:cubicBezTo>
                  <a:pt x="306027" y="269939"/>
                  <a:pt x="297727" y="278239"/>
                  <a:pt x="287622" y="278239"/>
                </a:cubicBezTo>
                <a:lnTo>
                  <a:pt x="193072" y="278239"/>
                </a:lnTo>
                <a:lnTo>
                  <a:pt x="202094" y="296644"/>
                </a:lnTo>
                <a:lnTo>
                  <a:pt x="226634" y="296644"/>
                </a:lnTo>
                <a:cubicBezTo>
                  <a:pt x="229160" y="296644"/>
                  <a:pt x="230964" y="298810"/>
                  <a:pt x="230964" y="301336"/>
                </a:cubicBezTo>
                <a:cubicBezTo>
                  <a:pt x="230964" y="303862"/>
                  <a:pt x="229160" y="306027"/>
                  <a:pt x="226634" y="306027"/>
                </a:cubicBezTo>
                <a:lnTo>
                  <a:pt x="199567" y="306027"/>
                </a:lnTo>
                <a:lnTo>
                  <a:pt x="106460" y="306027"/>
                </a:lnTo>
                <a:lnTo>
                  <a:pt x="79755" y="306027"/>
                </a:lnTo>
                <a:cubicBezTo>
                  <a:pt x="77229" y="306027"/>
                  <a:pt x="75064" y="303862"/>
                  <a:pt x="75064" y="301336"/>
                </a:cubicBezTo>
                <a:cubicBezTo>
                  <a:pt x="75064" y="298810"/>
                  <a:pt x="77229" y="296644"/>
                  <a:pt x="79755" y="296644"/>
                </a:cubicBezTo>
                <a:lnTo>
                  <a:pt x="103934" y="296644"/>
                </a:lnTo>
                <a:lnTo>
                  <a:pt x="112956" y="278239"/>
                </a:lnTo>
                <a:lnTo>
                  <a:pt x="18405" y="278239"/>
                </a:lnTo>
                <a:cubicBezTo>
                  <a:pt x="8300" y="278239"/>
                  <a:pt x="0" y="269939"/>
                  <a:pt x="0" y="259834"/>
                </a:cubicBezTo>
                <a:lnTo>
                  <a:pt x="0" y="241069"/>
                </a:lnTo>
                <a:lnTo>
                  <a:pt x="0" y="18405"/>
                </a:lnTo>
                <a:cubicBezTo>
                  <a:pt x="0" y="8300"/>
                  <a:pt x="8300" y="0"/>
                  <a:pt x="18405"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58" name="Freeform 757">
            <a:extLst>
              <a:ext uri="{FF2B5EF4-FFF2-40B4-BE49-F238E27FC236}">
                <a16:creationId xmlns:a16="http://schemas.microsoft.com/office/drawing/2014/main" id="{022F7300-3067-874D-97CD-48CC2EE15D3C}"/>
              </a:ext>
            </a:extLst>
          </p:cNvPr>
          <p:cNvSpPr>
            <a:spLocks noChangeArrowheads="1"/>
          </p:cNvSpPr>
          <p:nvPr/>
        </p:nvSpPr>
        <p:spPr bwMode="auto">
          <a:xfrm>
            <a:off x="8800248" y="3607874"/>
            <a:ext cx="287375" cy="287375"/>
          </a:xfrm>
          <a:custGeom>
            <a:avLst/>
            <a:gdLst/>
            <a:ahLst/>
            <a:cxnLst/>
            <a:rect l="0" t="0" r="r" b="b"/>
            <a:pathLst>
              <a:path w="306027" h="306027">
                <a:moveTo>
                  <a:pt x="123422" y="278239"/>
                </a:moveTo>
                <a:lnTo>
                  <a:pt x="114039" y="296644"/>
                </a:lnTo>
                <a:lnTo>
                  <a:pt x="191989" y="296644"/>
                </a:lnTo>
                <a:lnTo>
                  <a:pt x="182606" y="278239"/>
                </a:lnTo>
                <a:lnTo>
                  <a:pt x="123422" y="278239"/>
                </a:lnTo>
                <a:close/>
                <a:moveTo>
                  <a:pt x="9383" y="245760"/>
                </a:moveTo>
                <a:lnTo>
                  <a:pt x="9383" y="259834"/>
                </a:lnTo>
                <a:cubicBezTo>
                  <a:pt x="9383" y="264887"/>
                  <a:pt x="13352" y="268856"/>
                  <a:pt x="18405" y="268856"/>
                </a:cubicBezTo>
                <a:lnTo>
                  <a:pt x="120535" y="268856"/>
                </a:lnTo>
                <a:lnTo>
                  <a:pt x="185493" y="268856"/>
                </a:lnTo>
                <a:lnTo>
                  <a:pt x="287622" y="268856"/>
                </a:lnTo>
                <a:cubicBezTo>
                  <a:pt x="292675" y="268856"/>
                  <a:pt x="296644" y="264887"/>
                  <a:pt x="296644" y="259834"/>
                </a:cubicBezTo>
                <a:lnTo>
                  <a:pt x="296644" y="245760"/>
                </a:lnTo>
                <a:lnTo>
                  <a:pt x="9383" y="245760"/>
                </a:lnTo>
                <a:close/>
                <a:moveTo>
                  <a:pt x="36457" y="198438"/>
                </a:moveTo>
                <a:lnTo>
                  <a:pt x="109593" y="198438"/>
                </a:lnTo>
                <a:cubicBezTo>
                  <a:pt x="112128" y="198438"/>
                  <a:pt x="113938" y="200555"/>
                  <a:pt x="113938" y="203024"/>
                </a:cubicBezTo>
                <a:cubicBezTo>
                  <a:pt x="113938" y="205494"/>
                  <a:pt x="112128" y="207610"/>
                  <a:pt x="109593" y="207610"/>
                </a:cubicBezTo>
                <a:lnTo>
                  <a:pt x="36457" y="207610"/>
                </a:lnTo>
                <a:cubicBezTo>
                  <a:pt x="33923" y="207610"/>
                  <a:pt x="31750" y="205494"/>
                  <a:pt x="31750" y="203024"/>
                </a:cubicBezTo>
                <a:cubicBezTo>
                  <a:pt x="31750" y="200555"/>
                  <a:pt x="33923" y="198438"/>
                  <a:pt x="36457" y="198438"/>
                </a:cubicBezTo>
                <a:close/>
                <a:moveTo>
                  <a:pt x="82444" y="166688"/>
                </a:moveTo>
                <a:lnTo>
                  <a:pt x="131511" y="166688"/>
                </a:lnTo>
                <a:cubicBezTo>
                  <a:pt x="134018" y="166688"/>
                  <a:pt x="136167" y="168805"/>
                  <a:pt x="136167" y="171274"/>
                </a:cubicBezTo>
                <a:cubicBezTo>
                  <a:pt x="136167" y="173744"/>
                  <a:pt x="134018" y="175860"/>
                  <a:pt x="131511" y="175860"/>
                </a:cubicBezTo>
                <a:lnTo>
                  <a:pt x="82444" y="175860"/>
                </a:lnTo>
                <a:cubicBezTo>
                  <a:pt x="79937" y="175860"/>
                  <a:pt x="77788" y="173744"/>
                  <a:pt x="77788" y="171274"/>
                </a:cubicBezTo>
                <a:cubicBezTo>
                  <a:pt x="77788" y="168805"/>
                  <a:pt x="79937" y="166688"/>
                  <a:pt x="82444" y="166688"/>
                </a:cubicBezTo>
                <a:close/>
                <a:moveTo>
                  <a:pt x="36495" y="166688"/>
                </a:moveTo>
                <a:lnTo>
                  <a:pt x="58391" y="166688"/>
                </a:lnTo>
                <a:cubicBezTo>
                  <a:pt x="60946" y="166688"/>
                  <a:pt x="63135" y="168805"/>
                  <a:pt x="63135" y="171274"/>
                </a:cubicBezTo>
                <a:cubicBezTo>
                  <a:pt x="63135" y="173744"/>
                  <a:pt x="60946" y="175860"/>
                  <a:pt x="58391" y="175860"/>
                </a:cubicBezTo>
                <a:lnTo>
                  <a:pt x="36495" y="175860"/>
                </a:lnTo>
                <a:cubicBezTo>
                  <a:pt x="33940" y="175860"/>
                  <a:pt x="31750" y="173744"/>
                  <a:pt x="31750" y="171274"/>
                </a:cubicBezTo>
                <a:cubicBezTo>
                  <a:pt x="31750" y="168805"/>
                  <a:pt x="33940" y="166688"/>
                  <a:pt x="36495" y="166688"/>
                </a:cubicBezTo>
                <a:close/>
                <a:moveTo>
                  <a:pt x="241124" y="157163"/>
                </a:moveTo>
                <a:cubicBezTo>
                  <a:pt x="243594" y="157163"/>
                  <a:pt x="245710" y="158947"/>
                  <a:pt x="245710" y="161444"/>
                </a:cubicBezTo>
                <a:lnTo>
                  <a:pt x="245710" y="215669"/>
                </a:lnTo>
                <a:cubicBezTo>
                  <a:pt x="245710" y="218166"/>
                  <a:pt x="243594" y="220306"/>
                  <a:pt x="241124" y="220306"/>
                </a:cubicBezTo>
                <a:cubicBezTo>
                  <a:pt x="238655" y="220306"/>
                  <a:pt x="236538" y="218166"/>
                  <a:pt x="236538" y="215669"/>
                </a:cubicBezTo>
                <a:lnTo>
                  <a:pt x="236538" y="161444"/>
                </a:lnTo>
                <a:cubicBezTo>
                  <a:pt x="236538" y="158947"/>
                  <a:pt x="238655" y="157163"/>
                  <a:pt x="241124" y="157163"/>
                </a:cubicBezTo>
                <a:close/>
                <a:moveTo>
                  <a:pt x="106347" y="133350"/>
                </a:moveTo>
                <a:lnTo>
                  <a:pt x="133001" y="133350"/>
                </a:lnTo>
                <a:cubicBezTo>
                  <a:pt x="135557" y="133350"/>
                  <a:pt x="137748" y="135467"/>
                  <a:pt x="137748" y="137936"/>
                </a:cubicBezTo>
                <a:cubicBezTo>
                  <a:pt x="137748" y="140406"/>
                  <a:pt x="135557" y="142522"/>
                  <a:pt x="133001" y="142522"/>
                </a:cubicBezTo>
                <a:lnTo>
                  <a:pt x="106347" y="142522"/>
                </a:lnTo>
                <a:cubicBezTo>
                  <a:pt x="103791" y="142522"/>
                  <a:pt x="101600" y="140406"/>
                  <a:pt x="101600" y="137936"/>
                </a:cubicBezTo>
                <a:cubicBezTo>
                  <a:pt x="101600" y="135467"/>
                  <a:pt x="103791" y="133350"/>
                  <a:pt x="106347" y="133350"/>
                </a:cubicBezTo>
                <a:close/>
                <a:moveTo>
                  <a:pt x="36397" y="133350"/>
                </a:moveTo>
                <a:lnTo>
                  <a:pt x="80721" y="133350"/>
                </a:lnTo>
                <a:cubicBezTo>
                  <a:pt x="83223" y="133350"/>
                  <a:pt x="85368" y="135467"/>
                  <a:pt x="85368" y="137936"/>
                </a:cubicBezTo>
                <a:cubicBezTo>
                  <a:pt x="85368" y="140406"/>
                  <a:pt x="83223" y="142522"/>
                  <a:pt x="80721" y="142522"/>
                </a:cubicBezTo>
                <a:lnTo>
                  <a:pt x="36397" y="142522"/>
                </a:lnTo>
                <a:cubicBezTo>
                  <a:pt x="33895" y="142522"/>
                  <a:pt x="31750" y="140406"/>
                  <a:pt x="31750" y="137936"/>
                </a:cubicBezTo>
                <a:cubicBezTo>
                  <a:pt x="31750" y="135467"/>
                  <a:pt x="33895" y="133350"/>
                  <a:pt x="36397" y="133350"/>
                </a:cubicBezTo>
                <a:close/>
                <a:moveTo>
                  <a:pt x="36457" y="101600"/>
                </a:moveTo>
                <a:lnTo>
                  <a:pt x="109593" y="101600"/>
                </a:lnTo>
                <a:cubicBezTo>
                  <a:pt x="112128" y="101600"/>
                  <a:pt x="113938" y="103717"/>
                  <a:pt x="113938" y="106186"/>
                </a:cubicBezTo>
                <a:cubicBezTo>
                  <a:pt x="113938" y="108656"/>
                  <a:pt x="112128" y="110772"/>
                  <a:pt x="109593" y="110772"/>
                </a:cubicBezTo>
                <a:lnTo>
                  <a:pt x="36457" y="110772"/>
                </a:lnTo>
                <a:cubicBezTo>
                  <a:pt x="33923" y="110772"/>
                  <a:pt x="31750" y="108656"/>
                  <a:pt x="31750" y="106186"/>
                </a:cubicBezTo>
                <a:cubicBezTo>
                  <a:pt x="31750" y="103717"/>
                  <a:pt x="33923" y="101600"/>
                  <a:pt x="36457" y="101600"/>
                </a:cubicBezTo>
                <a:close/>
                <a:moveTo>
                  <a:pt x="138218" y="85168"/>
                </a:moveTo>
                <a:cubicBezTo>
                  <a:pt x="134609" y="88777"/>
                  <a:pt x="134609" y="94190"/>
                  <a:pt x="138218" y="97438"/>
                </a:cubicBezTo>
                <a:lnTo>
                  <a:pt x="202455" y="162396"/>
                </a:lnTo>
                <a:cubicBezTo>
                  <a:pt x="207868" y="167449"/>
                  <a:pt x="210755" y="174306"/>
                  <a:pt x="210755" y="181884"/>
                </a:cubicBezTo>
                <a:lnTo>
                  <a:pt x="210755" y="236377"/>
                </a:lnTo>
                <a:lnTo>
                  <a:pt x="269578" y="236377"/>
                </a:lnTo>
                <a:lnTo>
                  <a:pt x="269578" y="165644"/>
                </a:lnTo>
                <a:cubicBezTo>
                  <a:pt x="269578" y="163118"/>
                  <a:pt x="271744" y="160953"/>
                  <a:pt x="274270" y="160953"/>
                </a:cubicBezTo>
                <a:cubicBezTo>
                  <a:pt x="276796" y="160953"/>
                  <a:pt x="278961" y="163118"/>
                  <a:pt x="278961" y="165644"/>
                </a:cubicBezTo>
                <a:lnTo>
                  <a:pt x="278961" y="236377"/>
                </a:lnTo>
                <a:lnTo>
                  <a:pt x="296644" y="236377"/>
                </a:lnTo>
                <a:lnTo>
                  <a:pt x="296644" y="160953"/>
                </a:lnTo>
                <a:cubicBezTo>
                  <a:pt x="296644" y="148683"/>
                  <a:pt x="286901" y="138578"/>
                  <a:pt x="274270" y="138578"/>
                </a:cubicBezTo>
                <a:lnTo>
                  <a:pt x="245038" y="138578"/>
                </a:lnTo>
                <a:lnTo>
                  <a:pt x="245038" y="143991"/>
                </a:lnTo>
                <a:cubicBezTo>
                  <a:pt x="245038" y="146879"/>
                  <a:pt x="242873" y="148683"/>
                  <a:pt x="240347" y="148683"/>
                </a:cubicBezTo>
                <a:cubicBezTo>
                  <a:pt x="237821" y="148683"/>
                  <a:pt x="235656" y="146879"/>
                  <a:pt x="235656" y="143991"/>
                </a:cubicBezTo>
                <a:lnTo>
                  <a:pt x="235656" y="138578"/>
                </a:lnTo>
                <a:lnTo>
                  <a:pt x="217612" y="138578"/>
                </a:lnTo>
                <a:cubicBezTo>
                  <a:pt x="208950" y="138578"/>
                  <a:pt x="201011" y="135330"/>
                  <a:pt x="194876" y="129195"/>
                </a:cubicBezTo>
                <a:lnTo>
                  <a:pt x="150488" y="85168"/>
                </a:lnTo>
                <a:cubicBezTo>
                  <a:pt x="147240" y="81559"/>
                  <a:pt x="141826" y="81559"/>
                  <a:pt x="138218" y="85168"/>
                </a:cubicBezTo>
                <a:close/>
                <a:moveTo>
                  <a:pt x="241118" y="71377"/>
                </a:moveTo>
                <a:cubicBezTo>
                  <a:pt x="230562" y="71377"/>
                  <a:pt x="222190" y="79750"/>
                  <a:pt x="222190" y="90306"/>
                </a:cubicBezTo>
                <a:cubicBezTo>
                  <a:pt x="222190" y="100862"/>
                  <a:pt x="230562" y="109599"/>
                  <a:pt x="241118" y="109599"/>
                </a:cubicBezTo>
                <a:cubicBezTo>
                  <a:pt x="251675" y="109599"/>
                  <a:pt x="260047" y="100862"/>
                  <a:pt x="260047" y="90306"/>
                </a:cubicBezTo>
                <a:cubicBezTo>
                  <a:pt x="260047" y="79750"/>
                  <a:pt x="251675" y="71377"/>
                  <a:pt x="241118" y="71377"/>
                </a:cubicBezTo>
                <a:close/>
                <a:moveTo>
                  <a:pt x="36386" y="68263"/>
                </a:moveTo>
                <a:lnTo>
                  <a:pt x="75971" y="68263"/>
                </a:lnTo>
                <a:cubicBezTo>
                  <a:pt x="78824" y="68263"/>
                  <a:pt x="80607" y="70380"/>
                  <a:pt x="80607" y="72849"/>
                </a:cubicBezTo>
                <a:cubicBezTo>
                  <a:pt x="80607" y="75319"/>
                  <a:pt x="78824" y="77435"/>
                  <a:pt x="75971" y="77435"/>
                </a:cubicBezTo>
                <a:lnTo>
                  <a:pt x="36386" y="77435"/>
                </a:lnTo>
                <a:cubicBezTo>
                  <a:pt x="33890" y="77435"/>
                  <a:pt x="31750" y="75319"/>
                  <a:pt x="31750" y="72849"/>
                </a:cubicBezTo>
                <a:cubicBezTo>
                  <a:pt x="31750" y="70380"/>
                  <a:pt x="33890" y="68263"/>
                  <a:pt x="36386" y="68263"/>
                </a:cubicBezTo>
                <a:close/>
                <a:moveTo>
                  <a:pt x="241118" y="61913"/>
                </a:moveTo>
                <a:cubicBezTo>
                  <a:pt x="256771" y="61913"/>
                  <a:pt x="269511" y="74653"/>
                  <a:pt x="269511" y="90306"/>
                </a:cubicBezTo>
                <a:cubicBezTo>
                  <a:pt x="269511" y="105959"/>
                  <a:pt x="256771" y="118699"/>
                  <a:pt x="241118" y="118699"/>
                </a:cubicBezTo>
                <a:cubicBezTo>
                  <a:pt x="225466" y="118699"/>
                  <a:pt x="212725" y="105959"/>
                  <a:pt x="212725" y="90306"/>
                </a:cubicBezTo>
                <a:cubicBezTo>
                  <a:pt x="212725" y="74653"/>
                  <a:pt x="225466" y="61913"/>
                  <a:pt x="241118" y="61913"/>
                </a:cubicBezTo>
                <a:close/>
                <a:moveTo>
                  <a:pt x="18405" y="0"/>
                </a:moveTo>
                <a:lnTo>
                  <a:pt x="287622" y="0"/>
                </a:lnTo>
                <a:cubicBezTo>
                  <a:pt x="297727" y="0"/>
                  <a:pt x="306027" y="8300"/>
                  <a:pt x="306027" y="18405"/>
                </a:cubicBezTo>
                <a:lnTo>
                  <a:pt x="306027" y="112956"/>
                </a:lnTo>
                <a:cubicBezTo>
                  <a:pt x="306027" y="115121"/>
                  <a:pt x="303862" y="117286"/>
                  <a:pt x="301336" y="117286"/>
                </a:cubicBezTo>
                <a:cubicBezTo>
                  <a:pt x="298810" y="117286"/>
                  <a:pt x="296644" y="115121"/>
                  <a:pt x="296644" y="112956"/>
                </a:cubicBezTo>
                <a:lnTo>
                  <a:pt x="296644" y="18405"/>
                </a:lnTo>
                <a:cubicBezTo>
                  <a:pt x="296644" y="13353"/>
                  <a:pt x="292675" y="9383"/>
                  <a:pt x="287622" y="9383"/>
                </a:cubicBezTo>
                <a:lnTo>
                  <a:pt x="18405" y="9383"/>
                </a:lnTo>
                <a:cubicBezTo>
                  <a:pt x="13352" y="9383"/>
                  <a:pt x="9383" y="13353"/>
                  <a:pt x="9383" y="18405"/>
                </a:cubicBezTo>
                <a:lnTo>
                  <a:pt x="9383" y="236377"/>
                </a:lnTo>
                <a:lnTo>
                  <a:pt x="201372" y="236377"/>
                </a:lnTo>
                <a:lnTo>
                  <a:pt x="201372" y="181884"/>
                </a:lnTo>
                <a:cubicBezTo>
                  <a:pt x="201372" y="176832"/>
                  <a:pt x="199567" y="172501"/>
                  <a:pt x="195959" y="168892"/>
                </a:cubicBezTo>
                <a:lnTo>
                  <a:pt x="131361" y="103934"/>
                </a:lnTo>
                <a:cubicBezTo>
                  <a:pt x="124504" y="97077"/>
                  <a:pt x="124504" y="85529"/>
                  <a:pt x="131361" y="78672"/>
                </a:cubicBezTo>
                <a:cubicBezTo>
                  <a:pt x="138579" y="71454"/>
                  <a:pt x="150127" y="71454"/>
                  <a:pt x="157344" y="78672"/>
                </a:cubicBezTo>
                <a:lnTo>
                  <a:pt x="201372" y="122339"/>
                </a:lnTo>
                <a:cubicBezTo>
                  <a:pt x="205702" y="127030"/>
                  <a:pt x="211477" y="129195"/>
                  <a:pt x="217612" y="129195"/>
                </a:cubicBezTo>
                <a:lnTo>
                  <a:pt x="274270" y="129195"/>
                </a:lnTo>
                <a:cubicBezTo>
                  <a:pt x="291592" y="129195"/>
                  <a:pt x="306027" y="143631"/>
                  <a:pt x="306027" y="160953"/>
                </a:cubicBezTo>
                <a:lnTo>
                  <a:pt x="306027" y="259834"/>
                </a:lnTo>
                <a:cubicBezTo>
                  <a:pt x="306027" y="269939"/>
                  <a:pt x="297727" y="278239"/>
                  <a:pt x="287622" y="278239"/>
                </a:cubicBezTo>
                <a:lnTo>
                  <a:pt x="193072" y="278239"/>
                </a:lnTo>
                <a:lnTo>
                  <a:pt x="202094" y="296644"/>
                </a:lnTo>
                <a:lnTo>
                  <a:pt x="226634" y="296644"/>
                </a:lnTo>
                <a:cubicBezTo>
                  <a:pt x="229160" y="296644"/>
                  <a:pt x="230964" y="298810"/>
                  <a:pt x="230964" y="301336"/>
                </a:cubicBezTo>
                <a:cubicBezTo>
                  <a:pt x="230964" y="303862"/>
                  <a:pt x="229160" y="306027"/>
                  <a:pt x="226634" y="306027"/>
                </a:cubicBezTo>
                <a:lnTo>
                  <a:pt x="199567" y="306027"/>
                </a:lnTo>
                <a:lnTo>
                  <a:pt x="106460" y="306027"/>
                </a:lnTo>
                <a:lnTo>
                  <a:pt x="79755" y="306027"/>
                </a:lnTo>
                <a:cubicBezTo>
                  <a:pt x="77229" y="306027"/>
                  <a:pt x="75064" y="303862"/>
                  <a:pt x="75064" y="301336"/>
                </a:cubicBezTo>
                <a:cubicBezTo>
                  <a:pt x="75064" y="298810"/>
                  <a:pt x="77229" y="296644"/>
                  <a:pt x="79755" y="296644"/>
                </a:cubicBezTo>
                <a:lnTo>
                  <a:pt x="103934" y="296644"/>
                </a:lnTo>
                <a:lnTo>
                  <a:pt x="112956" y="278239"/>
                </a:lnTo>
                <a:lnTo>
                  <a:pt x="18405" y="278239"/>
                </a:lnTo>
                <a:cubicBezTo>
                  <a:pt x="8300" y="278239"/>
                  <a:pt x="0" y="269939"/>
                  <a:pt x="0" y="259834"/>
                </a:cubicBezTo>
                <a:lnTo>
                  <a:pt x="0" y="241069"/>
                </a:lnTo>
                <a:lnTo>
                  <a:pt x="0" y="18405"/>
                </a:lnTo>
                <a:cubicBezTo>
                  <a:pt x="0" y="8300"/>
                  <a:pt x="8300" y="0"/>
                  <a:pt x="18405"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59" name="Freeform 757">
            <a:extLst>
              <a:ext uri="{FF2B5EF4-FFF2-40B4-BE49-F238E27FC236}">
                <a16:creationId xmlns:a16="http://schemas.microsoft.com/office/drawing/2014/main" id="{E650C2E2-4C36-904F-B6EA-BE9F619FCA07}"/>
              </a:ext>
            </a:extLst>
          </p:cNvPr>
          <p:cNvSpPr>
            <a:spLocks noChangeArrowheads="1"/>
          </p:cNvSpPr>
          <p:nvPr/>
        </p:nvSpPr>
        <p:spPr bwMode="auto">
          <a:xfrm>
            <a:off x="8800248" y="4543560"/>
            <a:ext cx="287375" cy="287375"/>
          </a:xfrm>
          <a:custGeom>
            <a:avLst/>
            <a:gdLst/>
            <a:ahLst/>
            <a:cxnLst/>
            <a:rect l="0" t="0" r="r" b="b"/>
            <a:pathLst>
              <a:path w="306027" h="306027">
                <a:moveTo>
                  <a:pt x="123422" y="278239"/>
                </a:moveTo>
                <a:lnTo>
                  <a:pt x="114039" y="296644"/>
                </a:lnTo>
                <a:lnTo>
                  <a:pt x="191989" y="296644"/>
                </a:lnTo>
                <a:lnTo>
                  <a:pt x="182606" y="278239"/>
                </a:lnTo>
                <a:lnTo>
                  <a:pt x="123422" y="278239"/>
                </a:lnTo>
                <a:close/>
                <a:moveTo>
                  <a:pt x="9383" y="245760"/>
                </a:moveTo>
                <a:lnTo>
                  <a:pt x="9383" y="259834"/>
                </a:lnTo>
                <a:cubicBezTo>
                  <a:pt x="9383" y="264887"/>
                  <a:pt x="13352" y="268856"/>
                  <a:pt x="18405" y="268856"/>
                </a:cubicBezTo>
                <a:lnTo>
                  <a:pt x="120535" y="268856"/>
                </a:lnTo>
                <a:lnTo>
                  <a:pt x="185493" y="268856"/>
                </a:lnTo>
                <a:lnTo>
                  <a:pt x="287622" y="268856"/>
                </a:lnTo>
                <a:cubicBezTo>
                  <a:pt x="292675" y="268856"/>
                  <a:pt x="296644" y="264887"/>
                  <a:pt x="296644" y="259834"/>
                </a:cubicBezTo>
                <a:lnTo>
                  <a:pt x="296644" y="245760"/>
                </a:lnTo>
                <a:lnTo>
                  <a:pt x="9383" y="245760"/>
                </a:lnTo>
                <a:close/>
                <a:moveTo>
                  <a:pt x="36457" y="198438"/>
                </a:moveTo>
                <a:lnTo>
                  <a:pt x="109593" y="198438"/>
                </a:lnTo>
                <a:cubicBezTo>
                  <a:pt x="112128" y="198438"/>
                  <a:pt x="113938" y="200555"/>
                  <a:pt x="113938" y="203024"/>
                </a:cubicBezTo>
                <a:cubicBezTo>
                  <a:pt x="113938" y="205494"/>
                  <a:pt x="112128" y="207610"/>
                  <a:pt x="109593" y="207610"/>
                </a:cubicBezTo>
                <a:lnTo>
                  <a:pt x="36457" y="207610"/>
                </a:lnTo>
                <a:cubicBezTo>
                  <a:pt x="33923" y="207610"/>
                  <a:pt x="31750" y="205494"/>
                  <a:pt x="31750" y="203024"/>
                </a:cubicBezTo>
                <a:cubicBezTo>
                  <a:pt x="31750" y="200555"/>
                  <a:pt x="33923" y="198438"/>
                  <a:pt x="36457" y="198438"/>
                </a:cubicBezTo>
                <a:close/>
                <a:moveTo>
                  <a:pt x="82444" y="166688"/>
                </a:moveTo>
                <a:lnTo>
                  <a:pt x="131511" y="166688"/>
                </a:lnTo>
                <a:cubicBezTo>
                  <a:pt x="134018" y="166688"/>
                  <a:pt x="136167" y="168805"/>
                  <a:pt x="136167" y="171274"/>
                </a:cubicBezTo>
                <a:cubicBezTo>
                  <a:pt x="136167" y="173744"/>
                  <a:pt x="134018" y="175860"/>
                  <a:pt x="131511" y="175860"/>
                </a:cubicBezTo>
                <a:lnTo>
                  <a:pt x="82444" y="175860"/>
                </a:lnTo>
                <a:cubicBezTo>
                  <a:pt x="79937" y="175860"/>
                  <a:pt x="77788" y="173744"/>
                  <a:pt x="77788" y="171274"/>
                </a:cubicBezTo>
                <a:cubicBezTo>
                  <a:pt x="77788" y="168805"/>
                  <a:pt x="79937" y="166688"/>
                  <a:pt x="82444" y="166688"/>
                </a:cubicBezTo>
                <a:close/>
                <a:moveTo>
                  <a:pt x="36495" y="166688"/>
                </a:moveTo>
                <a:lnTo>
                  <a:pt x="58391" y="166688"/>
                </a:lnTo>
                <a:cubicBezTo>
                  <a:pt x="60946" y="166688"/>
                  <a:pt x="63135" y="168805"/>
                  <a:pt x="63135" y="171274"/>
                </a:cubicBezTo>
                <a:cubicBezTo>
                  <a:pt x="63135" y="173744"/>
                  <a:pt x="60946" y="175860"/>
                  <a:pt x="58391" y="175860"/>
                </a:cubicBezTo>
                <a:lnTo>
                  <a:pt x="36495" y="175860"/>
                </a:lnTo>
                <a:cubicBezTo>
                  <a:pt x="33940" y="175860"/>
                  <a:pt x="31750" y="173744"/>
                  <a:pt x="31750" y="171274"/>
                </a:cubicBezTo>
                <a:cubicBezTo>
                  <a:pt x="31750" y="168805"/>
                  <a:pt x="33940" y="166688"/>
                  <a:pt x="36495" y="166688"/>
                </a:cubicBezTo>
                <a:close/>
                <a:moveTo>
                  <a:pt x="241124" y="157163"/>
                </a:moveTo>
                <a:cubicBezTo>
                  <a:pt x="243594" y="157163"/>
                  <a:pt x="245710" y="158947"/>
                  <a:pt x="245710" y="161444"/>
                </a:cubicBezTo>
                <a:lnTo>
                  <a:pt x="245710" y="215669"/>
                </a:lnTo>
                <a:cubicBezTo>
                  <a:pt x="245710" y="218166"/>
                  <a:pt x="243594" y="220306"/>
                  <a:pt x="241124" y="220306"/>
                </a:cubicBezTo>
                <a:cubicBezTo>
                  <a:pt x="238655" y="220306"/>
                  <a:pt x="236538" y="218166"/>
                  <a:pt x="236538" y="215669"/>
                </a:cubicBezTo>
                <a:lnTo>
                  <a:pt x="236538" y="161444"/>
                </a:lnTo>
                <a:cubicBezTo>
                  <a:pt x="236538" y="158947"/>
                  <a:pt x="238655" y="157163"/>
                  <a:pt x="241124" y="157163"/>
                </a:cubicBezTo>
                <a:close/>
                <a:moveTo>
                  <a:pt x="106347" y="133350"/>
                </a:moveTo>
                <a:lnTo>
                  <a:pt x="133001" y="133350"/>
                </a:lnTo>
                <a:cubicBezTo>
                  <a:pt x="135557" y="133350"/>
                  <a:pt x="137748" y="135467"/>
                  <a:pt x="137748" y="137936"/>
                </a:cubicBezTo>
                <a:cubicBezTo>
                  <a:pt x="137748" y="140406"/>
                  <a:pt x="135557" y="142522"/>
                  <a:pt x="133001" y="142522"/>
                </a:cubicBezTo>
                <a:lnTo>
                  <a:pt x="106347" y="142522"/>
                </a:lnTo>
                <a:cubicBezTo>
                  <a:pt x="103791" y="142522"/>
                  <a:pt x="101600" y="140406"/>
                  <a:pt x="101600" y="137936"/>
                </a:cubicBezTo>
                <a:cubicBezTo>
                  <a:pt x="101600" y="135467"/>
                  <a:pt x="103791" y="133350"/>
                  <a:pt x="106347" y="133350"/>
                </a:cubicBezTo>
                <a:close/>
                <a:moveTo>
                  <a:pt x="36397" y="133350"/>
                </a:moveTo>
                <a:lnTo>
                  <a:pt x="80721" y="133350"/>
                </a:lnTo>
                <a:cubicBezTo>
                  <a:pt x="83223" y="133350"/>
                  <a:pt x="85368" y="135467"/>
                  <a:pt x="85368" y="137936"/>
                </a:cubicBezTo>
                <a:cubicBezTo>
                  <a:pt x="85368" y="140406"/>
                  <a:pt x="83223" y="142522"/>
                  <a:pt x="80721" y="142522"/>
                </a:cubicBezTo>
                <a:lnTo>
                  <a:pt x="36397" y="142522"/>
                </a:lnTo>
                <a:cubicBezTo>
                  <a:pt x="33895" y="142522"/>
                  <a:pt x="31750" y="140406"/>
                  <a:pt x="31750" y="137936"/>
                </a:cubicBezTo>
                <a:cubicBezTo>
                  <a:pt x="31750" y="135467"/>
                  <a:pt x="33895" y="133350"/>
                  <a:pt x="36397" y="133350"/>
                </a:cubicBezTo>
                <a:close/>
                <a:moveTo>
                  <a:pt x="36457" y="101600"/>
                </a:moveTo>
                <a:lnTo>
                  <a:pt x="109593" y="101600"/>
                </a:lnTo>
                <a:cubicBezTo>
                  <a:pt x="112128" y="101600"/>
                  <a:pt x="113938" y="103717"/>
                  <a:pt x="113938" y="106186"/>
                </a:cubicBezTo>
                <a:cubicBezTo>
                  <a:pt x="113938" y="108656"/>
                  <a:pt x="112128" y="110772"/>
                  <a:pt x="109593" y="110772"/>
                </a:cubicBezTo>
                <a:lnTo>
                  <a:pt x="36457" y="110772"/>
                </a:lnTo>
                <a:cubicBezTo>
                  <a:pt x="33923" y="110772"/>
                  <a:pt x="31750" y="108656"/>
                  <a:pt x="31750" y="106186"/>
                </a:cubicBezTo>
                <a:cubicBezTo>
                  <a:pt x="31750" y="103717"/>
                  <a:pt x="33923" y="101600"/>
                  <a:pt x="36457" y="101600"/>
                </a:cubicBezTo>
                <a:close/>
                <a:moveTo>
                  <a:pt x="138218" y="85168"/>
                </a:moveTo>
                <a:cubicBezTo>
                  <a:pt x="134609" y="88777"/>
                  <a:pt x="134609" y="94190"/>
                  <a:pt x="138218" y="97438"/>
                </a:cubicBezTo>
                <a:lnTo>
                  <a:pt x="202455" y="162396"/>
                </a:lnTo>
                <a:cubicBezTo>
                  <a:pt x="207868" y="167449"/>
                  <a:pt x="210755" y="174306"/>
                  <a:pt x="210755" y="181884"/>
                </a:cubicBezTo>
                <a:lnTo>
                  <a:pt x="210755" y="236377"/>
                </a:lnTo>
                <a:lnTo>
                  <a:pt x="269578" y="236377"/>
                </a:lnTo>
                <a:lnTo>
                  <a:pt x="269578" y="165644"/>
                </a:lnTo>
                <a:cubicBezTo>
                  <a:pt x="269578" y="163118"/>
                  <a:pt x="271744" y="160953"/>
                  <a:pt x="274270" y="160953"/>
                </a:cubicBezTo>
                <a:cubicBezTo>
                  <a:pt x="276796" y="160953"/>
                  <a:pt x="278961" y="163118"/>
                  <a:pt x="278961" y="165644"/>
                </a:cubicBezTo>
                <a:lnTo>
                  <a:pt x="278961" y="236377"/>
                </a:lnTo>
                <a:lnTo>
                  <a:pt x="296644" y="236377"/>
                </a:lnTo>
                <a:lnTo>
                  <a:pt x="296644" y="160953"/>
                </a:lnTo>
                <a:cubicBezTo>
                  <a:pt x="296644" y="148683"/>
                  <a:pt x="286901" y="138578"/>
                  <a:pt x="274270" y="138578"/>
                </a:cubicBezTo>
                <a:lnTo>
                  <a:pt x="245038" y="138578"/>
                </a:lnTo>
                <a:lnTo>
                  <a:pt x="245038" y="143991"/>
                </a:lnTo>
                <a:cubicBezTo>
                  <a:pt x="245038" y="146879"/>
                  <a:pt x="242873" y="148683"/>
                  <a:pt x="240347" y="148683"/>
                </a:cubicBezTo>
                <a:cubicBezTo>
                  <a:pt x="237821" y="148683"/>
                  <a:pt x="235656" y="146879"/>
                  <a:pt x="235656" y="143991"/>
                </a:cubicBezTo>
                <a:lnTo>
                  <a:pt x="235656" y="138578"/>
                </a:lnTo>
                <a:lnTo>
                  <a:pt x="217612" y="138578"/>
                </a:lnTo>
                <a:cubicBezTo>
                  <a:pt x="208950" y="138578"/>
                  <a:pt x="201011" y="135330"/>
                  <a:pt x="194876" y="129195"/>
                </a:cubicBezTo>
                <a:lnTo>
                  <a:pt x="150488" y="85168"/>
                </a:lnTo>
                <a:cubicBezTo>
                  <a:pt x="147240" y="81559"/>
                  <a:pt x="141826" y="81559"/>
                  <a:pt x="138218" y="85168"/>
                </a:cubicBezTo>
                <a:close/>
                <a:moveTo>
                  <a:pt x="241118" y="71377"/>
                </a:moveTo>
                <a:cubicBezTo>
                  <a:pt x="230562" y="71377"/>
                  <a:pt x="222190" y="79750"/>
                  <a:pt x="222190" y="90306"/>
                </a:cubicBezTo>
                <a:cubicBezTo>
                  <a:pt x="222190" y="100862"/>
                  <a:pt x="230562" y="109599"/>
                  <a:pt x="241118" y="109599"/>
                </a:cubicBezTo>
                <a:cubicBezTo>
                  <a:pt x="251675" y="109599"/>
                  <a:pt x="260047" y="100862"/>
                  <a:pt x="260047" y="90306"/>
                </a:cubicBezTo>
                <a:cubicBezTo>
                  <a:pt x="260047" y="79750"/>
                  <a:pt x="251675" y="71377"/>
                  <a:pt x="241118" y="71377"/>
                </a:cubicBezTo>
                <a:close/>
                <a:moveTo>
                  <a:pt x="36386" y="68263"/>
                </a:moveTo>
                <a:lnTo>
                  <a:pt x="75971" y="68263"/>
                </a:lnTo>
                <a:cubicBezTo>
                  <a:pt x="78824" y="68263"/>
                  <a:pt x="80607" y="70380"/>
                  <a:pt x="80607" y="72849"/>
                </a:cubicBezTo>
                <a:cubicBezTo>
                  <a:pt x="80607" y="75319"/>
                  <a:pt x="78824" y="77435"/>
                  <a:pt x="75971" y="77435"/>
                </a:cubicBezTo>
                <a:lnTo>
                  <a:pt x="36386" y="77435"/>
                </a:lnTo>
                <a:cubicBezTo>
                  <a:pt x="33890" y="77435"/>
                  <a:pt x="31750" y="75319"/>
                  <a:pt x="31750" y="72849"/>
                </a:cubicBezTo>
                <a:cubicBezTo>
                  <a:pt x="31750" y="70380"/>
                  <a:pt x="33890" y="68263"/>
                  <a:pt x="36386" y="68263"/>
                </a:cubicBezTo>
                <a:close/>
                <a:moveTo>
                  <a:pt x="241118" y="61913"/>
                </a:moveTo>
                <a:cubicBezTo>
                  <a:pt x="256771" y="61913"/>
                  <a:pt x="269511" y="74653"/>
                  <a:pt x="269511" y="90306"/>
                </a:cubicBezTo>
                <a:cubicBezTo>
                  <a:pt x="269511" y="105959"/>
                  <a:pt x="256771" y="118699"/>
                  <a:pt x="241118" y="118699"/>
                </a:cubicBezTo>
                <a:cubicBezTo>
                  <a:pt x="225466" y="118699"/>
                  <a:pt x="212725" y="105959"/>
                  <a:pt x="212725" y="90306"/>
                </a:cubicBezTo>
                <a:cubicBezTo>
                  <a:pt x="212725" y="74653"/>
                  <a:pt x="225466" y="61913"/>
                  <a:pt x="241118" y="61913"/>
                </a:cubicBezTo>
                <a:close/>
                <a:moveTo>
                  <a:pt x="18405" y="0"/>
                </a:moveTo>
                <a:lnTo>
                  <a:pt x="287622" y="0"/>
                </a:lnTo>
                <a:cubicBezTo>
                  <a:pt x="297727" y="0"/>
                  <a:pt x="306027" y="8300"/>
                  <a:pt x="306027" y="18405"/>
                </a:cubicBezTo>
                <a:lnTo>
                  <a:pt x="306027" y="112956"/>
                </a:lnTo>
                <a:cubicBezTo>
                  <a:pt x="306027" y="115121"/>
                  <a:pt x="303862" y="117286"/>
                  <a:pt x="301336" y="117286"/>
                </a:cubicBezTo>
                <a:cubicBezTo>
                  <a:pt x="298810" y="117286"/>
                  <a:pt x="296644" y="115121"/>
                  <a:pt x="296644" y="112956"/>
                </a:cubicBezTo>
                <a:lnTo>
                  <a:pt x="296644" y="18405"/>
                </a:lnTo>
                <a:cubicBezTo>
                  <a:pt x="296644" y="13353"/>
                  <a:pt x="292675" y="9383"/>
                  <a:pt x="287622" y="9383"/>
                </a:cubicBezTo>
                <a:lnTo>
                  <a:pt x="18405" y="9383"/>
                </a:lnTo>
                <a:cubicBezTo>
                  <a:pt x="13352" y="9383"/>
                  <a:pt x="9383" y="13353"/>
                  <a:pt x="9383" y="18405"/>
                </a:cubicBezTo>
                <a:lnTo>
                  <a:pt x="9383" y="236377"/>
                </a:lnTo>
                <a:lnTo>
                  <a:pt x="201372" y="236377"/>
                </a:lnTo>
                <a:lnTo>
                  <a:pt x="201372" y="181884"/>
                </a:lnTo>
                <a:cubicBezTo>
                  <a:pt x="201372" y="176832"/>
                  <a:pt x="199567" y="172501"/>
                  <a:pt x="195959" y="168892"/>
                </a:cubicBezTo>
                <a:lnTo>
                  <a:pt x="131361" y="103934"/>
                </a:lnTo>
                <a:cubicBezTo>
                  <a:pt x="124504" y="97077"/>
                  <a:pt x="124504" y="85529"/>
                  <a:pt x="131361" y="78672"/>
                </a:cubicBezTo>
                <a:cubicBezTo>
                  <a:pt x="138579" y="71454"/>
                  <a:pt x="150127" y="71454"/>
                  <a:pt x="157344" y="78672"/>
                </a:cubicBezTo>
                <a:lnTo>
                  <a:pt x="201372" y="122339"/>
                </a:lnTo>
                <a:cubicBezTo>
                  <a:pt x="205702" y="127030"/>
                  <a:pt x="211477" y="129195"/>
                  <a:pt x="217612" y="129195"/>
                </a:cubicBezTo>
                <a:lnTo>
                  <a:pt x="274270" y="129195"/>
                </a:lnTo>
                <a:cubicBezTo>
                  <a:pt x="291592" y="129195"/>
                  <a:pt x="306027" y="143631"/>
                  <a:pt x="306027" y="160953"/>
                </a:cubicBezTo>
                <a:lnTo>
                  <a:pt x="306027" y="259834"/>
                </a:lnTo>
                <a:cubicBezTo>
                  <a:pt x="306027" y="269939"/>
                  <a:pt x="297727" y="278239"/>
                  <a:pt x="287622" y="278239"/>
                </a:cubicBezTo>
                <a:lnTo>
                  <a:pt x="193072" y="278239"/>
                </a:lnTo>
                <a:lnTo>
                  <a:pt x="202094" y="296644"/>
                </a:lnTo>
                <a:lnTo>
                  <a:pt x="226634" y="296644"/>
                </a:lnTo>
                <a:cubicBezTo>
                  <a:pt x="229160" y="296644"/>
                  <a:pt x="230964" y="298810"/>
                  <a:pt x="230964" y="301336"/>
                </a:cubicBezTo>
                <a:cubicBezTo>
                  <a:pt x="230964" y="303862"/>
                  <a:pt x="229160" y="306027"/>
                  <a:pt x="226634" y="306027"/>
                </a:cubicBezTo>
                <a:lnTo>
                  <a:pt x="199567" y="306027"/>
                </a:lnTo>
                <a:lnTo>
                  <a:pt x="106460" y="306027"/>
                </a:lnTo>
                <a:lnTo>
                  <a:pt x="79755" y="306027"/>
                </a:lnTo>
                <a:cubicBezTo>
                  <a:pt x="77229" y="306027"/>
                  <a:pt x="75064" y="303862"/>
                  <a:pt x="75064" y="301336"/>
                </a:cubicBezTo>
                <a:cubicBezTo>
                  <a:pt x="75064" y="298810"/>
                  <a:pt x="77229" y="296644"/>
                  <a:pt x="79755" y="296644"/>
                </a:cubicBezTo>
                <a:lnTo>
                  <a:pt x="103934" y="296644"/>
                </a:lnTo>
                <a:lnTo>
                  <a:pt x="112956" y="278239"/>
                </a:lnTo>
                <a:lnTo>
                  <a:pt x="18405" y="278239"/>
                </a:lnTo>
                <a:cubicBezTo>
                  <a:pt x="8300" y="278239"/>
                  <a:pt x="0" y="269939"/>
                  <a:pt x="0" y="259834"/>
                </a:cubicBezTo>
                <a:lnTo>
                  <a:pt x="0" y="241069"/>
                </a:lnTo>
                <a:lnTo>
                  <a:pt x="0" y="18405"/>
                </a:lnTo>
                <a:cubicBezTo>
                  <a:pt x="0" y="8300"/>
                  <a:pt x="8300" y="0"/>
                  <a:pt x="18405"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60" name="Freeform 757">
            <a:extLst>
              <a:ext uri="{FF2B5EF4-FFF2-40B4-BE49-F238E27FC236}">
                <a16:creationId xmlns:a16="http://schemas.microsoft.com/office/drawing/2014/main" id="{E4F0511A-CFFF-CB4A-A2F3-E7A147F65594}"/>
              </a:ext>
            </a:extLst>
          </p:cNvPr>
          <p:cNvSpPr>
            <a:spLocks noChangeArrowheads="1"/>
          </p:cNvSpPr>
          <p:nvPr/>
        </p:nvSpPr>
        <p:spPr bwMode="auto">
          <a:xfrm>
            <a:off x="8800248" y="5479247"/>
            <a:ext cx="287375" cy="287375"/>
          </a:xfrm>
          <a:custGeom>
            <a:avLst/>
            <a:gdLst/>
            <a:ahLst/>
            <a:cxnLst/>
            <a:rect l="0" t="0" r="r" b="b"/>
            <a:pathLst>
              <a:path w="306027" h="306027">
                <a:moveTo>
                  <a:pt x="123422" y="278239"/>
                </a:moveTo>
                <a:lnTo>
                  <a:pt x="114039" y="296644"/>
                </a:lnTo>
                <a:lnTo>
                  <a:pt x="191989" y="296644"/>
                </a:lnTo>
                <a:lnTo>
                  <a:pt x="182606" y="278239"/>
                </a:lnTo>
                <a:lnTo>
                  <a:pt x="123422" y="278239"/>
                </a:lnTo>
                <a:close/>
                <a:moveTo>
                  <a:pt x="9383" y="245760"/>
                </a:moveTo>
                <a:lnTo>
                  <a:pt x="9383" y="259834"/>
                </a:lnTo>
                <a:cubicBezTo>
                  <a:pt x="9383" y="264887"/>
                  <a:pt x="13352" y="268856"/>
                  <a:pt x="18405" y="268856"/>
                </a:cubicBezTo>
                <a:lnTo>
                  <a:pt x="120535" y="268856"/>
                </a:lnTo>
                <a:lnTo>
                  <a:pt x="185493" y="268856"/>
                </a:lnTo>
                <a:lnTo>
                  <a:pt x="287622" y="268856"/>
                </a:lnTo>
                <a:cubicBezTo>
                  <a:pt x="292675" y="268856"/>
                  <a:pt x="296644" y="264887"/>
                  <a:pt x="296644" y="259834"/>
                </a:cubicBezTo>
                <a:lnTo>
                  <a:pt x="296644" y="245760"/>
                </a:lnTo>
                <a:lnTo>
                  <a:pt x="9383" y="245760"/>
                </a:lnTo>
                <a:close/>
                <a:moveTo>
                  <a:pt x="36457" y="198438"/>
                </a:moveTo>
                <a:lnTo>
                  <a:pt x="109593" y="198438"/>
                </a:lnTo>
                <a:cubicBezTo>
                  <a:pt x="112128" y="198438"/>
                  <a:pt x="113938" y="200555"/>
                  <a:pt x="113938" y="203024"/>
                </a:cubicBezTo>
                <a:cubicBezTo>
                  <a:pt x="113938" y="205494"/>
                  <a:pt x="112128" y="207610"/>
                  <a:pt x="109593" y="207610"/>
                </a:cubicBezTo>
                <a:lnTo>
                  <a:pt x="36457" y="207610"/>
                </a:lnTo>
                <a:cubicBezTo>
                  <a:pt x="33923" y="207610"/>
                  <a:pt x="31750" y="205494"/>
                  <a:pt x="31750" y="203024"/>
                </a:cubicBezTo>
                <a:cubicBezTo>
                  <a:pt x="31750" y="200555"/>
                  <a:pt x="33923" y="198438"/>
                  <a:pt x="36457" y="198438"/>
                </a:cubicBezTo>
                <a:close/>
                <a:moveTo>
                  <a:pt x="82444" y="166688"/>
                </a:moveTo>
                <a:lnTo>
                  <a:pt x="131511" y="166688"/>
                </a:lnTo>
                <a:cubicBezTo>
                  <a:pt x="134018" y="166688"/>
                  <a:pt x="136167" y="168805"/>
                  <a:pt x="136167" y="171274"/>
                </a:cubicBezTo>
                <a:cubicBezTo>
                  <a:pt x="136167" y="173744"/>
                  <a:pt x="134018" y="175860"/>
                  <a:pt x="131511" y="175860"/>
                </a:cubicBezTo>
                <a:lnTo>
                  <a:pt x="82444" y="175860"/>
                </a:lnTo>
                <a:cubicBezTo>
                  <a:pt x="79937" y="175860"/>
                  <a:pt x="77788" y="173744"/>
                  <a:pt x="77788" y="171274"/>
                </a:cubicBezTo>
                <a:cubicBezTo>
                  <a:pt x="77788" y="168805"/>
                  <a:pt x="79937" y="166688"/>
                  <a:pt x="82444" y="166688"/>
                </a:cubicBezTo>
                <a:close/>
                <a:moveTo>
                  <a:pt x="36495" y="166688"/>
                </a:moveTo>
                <a:lnTo>
                  <a:pt x="58391" y="166688"/>
                </a:lnTo>
                <a:cubicBezTo>
                  <a:pt x="60946" y="166688"/>
                  <a:pt x="63135" y="168805"/>
                  <a:pt x="63135" y="171274"/>
                </a:cubicBezTo>
                <a:cubicBezTo>
                  <a:pt x="63135" y="173744"/>
                  <a:pt x="60946" y="175860"/>
                  <a:pt x="58391" y="175860"/>
                </a:cubicBezTo>
                <a:lnTo>
                  <a:pt x="36495" y="175860"/>
                </a:lnTo>
                <a:cubicBezTo>
                  <a:pt x="33940" y="175860"/>
                  <a:pt x="31750" y="173744"/>
                  <a:pt x="31750" y="171274"/>
                </a:cubicBezTo>
                <a:cubicBezTo>
                  <a:pt x="31750" y="168805"/>
                  <a:pt x="33940" y="166688"/>
                  <a:pt x="36495" y="166688"/>
                </a:cubicBezTo>
                <a:close/>
                <a:moveTo>
                  <a:pt x="241124" y="157163"/>
                </a:moveTo>
                <a:cubicBezTo>
                  <a:pt x="243594" y="157163"/>
                  <a:pt x="245710" y="158947"/>
                  <a:pt x="245710" y="161444"/>
                </a:cubicBezTo>
                <a:lnTo>
                  <a:pt x="245710" y="215669"/>
                </a:lnTo>
                <a:cubicBezTo>
                  <a:pt x="245710" y="218166"/>
                  <a:pt x="243594" y="220306"/>
                  <a:pt x="241124" y="220306"/>
                </a:cubicBezTo>
                <a:cubicBezTo>
                  <a:pt x="238655" y="220306"/>
                  <a:pt x="236538" y="218166"/>
                  <a:pt x="236538" y="215669"/>
                </a:cubicBezTo>
                <a:lnTo>
                  <a:pt x="236538" y="161444"/>
                </a:lnTo>
                <a:cubicBezTo>
                  <a:pt x="236538" y="158947"/>
                  <a:pt x="238655" y="157163"/>
                  <a:pt x="241124" y="157163"/>
                </a:cubicBezTo>
                <a:close/>
                <a:moveTo>
                  <a:pt x="106347" y="133350"/>
                </a:moveTo>
                <a:lnTo>
                  <a:pt x="133001" y="133350"/>
                </a:lnTo>
                <a:cubicBezTo>
                  <a:pt x="135557" y="133350"/>
                  <a:pt x="137748" y="135467"/>
                  <a:pt x="137748" y="137936"/>
                </a:cubicBezTo>
                <a:cubicBezTo>
                  <a:pt x="137748" y="140406"/>
                  <a:pt x="135557" y="142522"/>
                  <a:pt x="133001" y="142522"/>
                </a:cubicBezTo>
                <a:lnTo>
                  <a:pt x="106347" y="142522"/>
                </a:lnTo>
                <a:cubicBezTo>
                  <a:pt x="103791" y="142522"/>
                  <a:pt x="101600" y="140406"/>
                  <a:pt x="101600" y="137936"/>
                </a:cubicBezTo>
                <a:cubicBezTo>
                  <a:pt x="101600" y="135467"/>
                  <a:pt x="103791" y="133350"/>
                  <a:pt x="106347" y="133350"/>
                </a:cubicBezTo>
                <a:close/>
                <a:moveTo>
                  <a:pt x="36397" y="133350"/>
                </a:moveTo>
                <a:lnTo>
                  <a:pt x="80721" y="133350"/>
                </a:lnTo>
                <a:cubicBezTo>
                  <a:pt x="83223" y="133350"/>
                  <a:pt x="85368" y="135467"/>
                  <a:pt x="85368" y="137936"/>
                </a:cubicBezTo>
                <a:cubicBezTo>
                  <a:pt x="85368" y="140406"/>
                  <a:pt x="83223" y="142522"/>
                  <a:pt x="80721" y="142522"/>
                </a:cubicBezTo>
                <a:lnTo>
                  <a:pt x="36397" y="142522"/>
                </a:lnTo>
                <a:cubicBezTo>
                  <a:pt x="33895" y="142522"/>
                  <a:pt x="31750" y="140406"/>
                  <a:pt x="31750" y="137936"/>
                </a:cubicBezTo>
                <a:cubicBezTo>
                  <a:pt x="31750" y="135467"/>
                  <a:pt x="33895" y="133350"/>
                  <a:pt x="36397" y="133350"/>
                </a:cubicBezTo>
                <a:close/>
                <a:moveTo>
                  <a:pt x="36457" y="101600"/>
                </a:moveTo>
                <a:lnTo>
                  <a:pt x="109593" y="101600"/>
                </a:lnTo>
                <a:cubicBezTo>
                  <a:pt x="112128" y="101600"/>
                  <a:pt x="113938" y="103717"/>
                  <a:pt x="113938" y="106186"/>
                </a:cubicBezTo>
                <a:cubicBezTo>
                  <a:pt x="113938" y="108656"/>
                  <a:pt x="112128" y="110772"/>
                  <a:pt x="109593" y="110772"/>
                </a:cubicBezTo>
                <a:lnTo>
                  <a:pt x="36457" y="110772"/>
                </a:lnTo>
                <a:cubicBezTo>
                  <a:pt x="33923" y="110772"/>
                  <a:pt x="31750" y="108656"/>
                  <a:pt x="31750" y="106186"/>
                </a:cubicBezTo>
                <a:cubicBezTo>
                  <a:pt x="31750" y="103717"/>
                  <a:pt x="33923" y="101600"/>
                  <a:pt x="36457" y="101600"/>
                </a:cubicBezTo>
                <a:close/>
                <a:moveTo>
                  <a:pt x="138218" y="85168"/>
                </a:moveTo>
                <a:cubicBezTo>
                  <a:pt x="134609" y="88777"/>
                  <a:pt x="134609" y="94190"/>
                  <a:pt x="138218" y="97438"/>
                </a:cubicBezTo>
                <a:lnTo>
                  <a:pt x="202455" y="162396"/>
                </a:lnTo>
                <a:cubicBezTo>
                  <a:pt x="207868" y="167449"/>
                  <a:pt x="210755" y="174306"/>
                  <a:pt x="210755" y="181884"/>
                </a:cubicBezTo>
                <a:lnTo>
                  <a:pt x="210755" y="236377"/>
                </a:lnTo>
                <a:lnTo>
                  <a:pt x="269578" y="236377"/>
                </a:lnTo>
                <a:lnTo>
                  <a:pt x="269578" y="165644"/>
                </a:lnTo>
                <a:cubicBezTo>
                  <a:pt x="269578" y="163118"/>
                  <a:pt x="271744" y="160953"/>
                  <a:pt x="274270" y="160953"/>
                </a:cubicBezTo>
                <a:cubicBezTo>
                  <a:pt x="276796" y="160953"/>
                  <a:pt x="278961" y="163118"/>
                  <a:pt x="278961" y="165644"/>
                </a:cubicBezTo>
                <a:lnTo>
                  <a:pt x="278961" y="236377"/>
                </a:lnTo>
                <a:lnTo>
                  <a:pt x="296644" y="236377"/>
                </a:lnTo>
                <a:lnTo>
                  <a:pt x="296644" y="160953"/>
                </a:lnTo>
                <a:cubicBezTo>
                  <a:pt x="296644" y="148683"/>
                  <a:pt x="286901" y="138578"/>
                  <a:pt x="274270" y="138578"/>
                </a:cubicBezTo>
                <a:lnTo>
                  <a:pt x="245038" y="138578"/>
                </a:lnTo>
                <a:lnTo>
                  <a:pt x="245038" y="143991"/>
                </a:lnTo>
                <a:cubicBezTo>
                  <a:pt x="245038" y="146879"/>
                  <a:pt x="242873" y="148683"/>
                  <a:pt x="240347" y="148683"/>
                </a:cubicBezTo>
                <a:cubicBezTo>
                  <a:pt x="237821" y="148683"/>
                  <a:pt x="235656" y="146879"/>
                  <a:pt x="235656" y="143991"/>
                </a:cubicBezTo>
                <a:lnTo>
                  <a:pt x="235656" y="138578"/>
                </a:lnTo>
                <a:lnTo>
                  <a:pt x="217612" y="138578"/>
                </a:lnTo>
                <a:cubicBezTo>
                  <a:pt x="208950" y="138578"/>
                  <a:pt x="201011" y="135330"/>
                  <a:pt x="194876" y="129195"/>
                </a:cubicBezTo>
                <a:lnTo>
                  <a:pt x="150488" y="85168"/>
                </a:lnTo>
                <a:cubicBezTo>
                  <a:pt x="147240" y="81559"/>
                  <a:pt x="141826" y="81559"/>
                  <a:pt x="138218" y="85168"/>
                </a:cubicBezTo>
                <a:close/>
                <a:moveTo>
                  <a:pt x="241118" y="71377"/>
                </a:moveTo>
                <a:cubicBezTo>
                  <a:pt x="230562" y="71377"/>
                  <a:pt x="222190" y="79750"/>
                  <a:pt x="222190" y="90306"/>
                </a:cubicBezTo>
                <a:cubicBezTo>
                  <a:pt x="222190" y="100862"/>
                  <a:pt x="230562" y="109599"/>
                  <a:pt x="241118" y="109599"/>
                </a:cubicBezTo>
                <a:cubicBezTo>
                  <a:pt x="251675" y="109599"/>
                  <a:pt x="260047" y="100862"/>
                  <a:pt x="260047" y="90306"/>
                </a:cubicBezTo>
                <a:cubicBezTo>
                  <a:pt x="260047" y="79750"/>
                  <a:pt x="251675" y="71377"/>
                  <a:pt x="241118" y="71377"/>
                </a:cubicBezTo>
                <a:close/>
                <a:moveTo>
                  <a:pt x="36386" y="68263"/>
                </a:moveTo>
                <a:lnTo>
                  <a:pt x="75971" y="68263"/>
                </a:lnTo>
                <a:cubicBezTo>
                  <a:pt x="78824" y="68263"/>
                  <a:pt x="80607" y="70380"/>
                  <a:pt x="80607" y="72849"/>
                </a:cubicBezTo>
                <a:cubicBezTo>
                  <a:pt x="80607" y="75319"/>
                  <a:pt x="78824" y="77435"/>
                  <a:pt x="75971" y="77435"/>
                </a:cubicBezTo>
                <a:lnTo>
                  <a:pt x="36386" y="77435"/>
                </a:lnTo>
                <a:cubicBezTo>
                  <a:pt x="33890" y="77435"/>
                  <a:pt x="31750" y="75319"/>
                  <a:pt x="31750" y="72849"/>
                </a:cubicBezTo>
                <a:cubicBezTo>
                  <a:pt x="31750" y="70380"/>
                  <a:pt x="33890" y="68263"/>
                  <a:pt x="36386" y="68263"/>
                </a:cubicBezTo>
                <a:close/>
                <a:moveTo>
                  <a:pt x="241118" y="61913"/>
                </a:moveTo>
                <a:cubicBezTo>
                  <a:pt x="256771" y="61913"/>
                  <a:pt x="269511" y="74653"/>
                  <a:pt x="269511" y="90306"/>
                </a:cubicBezTo>
                <a:cubicBezTo>
                  <a:pt x="269511" y="105959"/>
                  <a:pt x="256771" y="118699"/>
                  <a:pt x="241118" y="118699"/>
                </a:cubicBezTo>
                <a:cubicBezTo>
                  <a:pt x="225466" y="118699"/>
                  <a:pt x="212725" y="105959"/>
                  <a:pt x="212725" y="90306"/>
                </a:cubicBezTo>
                <a:cubicBezTo>
                  <a:pt x="212725" y="74653"/>
                  <a:pt x="225466" y="61913"/>
                  <a:pt x="241118" y="61913"/>
                </a:cubicBezTo>
                <a:close/>
                <a:moveTo>
                  <a:pt x="18405" y="0"/>
                </a:moveTo>
                <a:lnTo>
                  <a:pt x="287622" y="0"/>
                </a:lnTo>
                <a:cubicBezTo>
                  <a:pt x="297727" y="0"/>
                  <a:pt x="306027" y="8300"/>
                  <a:pt x="306027" y="18405"/>
                </a:cubicBezTo>
                <a:lnTo>
                  <a:pt x="306027" y="112956"/>
                </a:lnTo>
                <a:cubicBezTo>
                  <a:pt x="306027" y="115121"/>
                  <a:pt x="303862" y="117286"/>
                  <a:pt x="301336" y="117286"/>
                </a:cubicBezTo>
                <a:cubicBezTo>
                  <a:pt x="298810" y="117286"/>
                  <a:pt x="296644" y="115121"/>
                  <a:pt x="296644" y="112956"/>
                </a:cubicBezTo>
                <a:lnTo>
                  <a:pt x="296644" y="18405"/>
                </a:lnTo>
                <a:cubicBezTo>
                  <a:pt x="296644" y="13353"/>
                  <a:pt x="292675" y="9383"/>
                  <a:pt x="287622" y="9383"/>
                </a:cubicBezTo>
                <a:lnTo>
                  <a:pt x="18405" y="9383"/>
                </a:lnTo>
                <a:cubicBezTo>
                  <a:pt x="13352" y="9383"/>
                  <a:pt x="9383" y="13353"/>
                  <a:pt x="9383" y="18405"/>
                </a:cubicBezTo>
                <a:lnTo>
                  <a:pt x="9383" y="236377"/>
                </a:lnTo>
                <a:lnTo>
                  <a:pt x="201372" y="236377"/>
                </a:lnTo>
                <a:lnTo>
                  <a:pt x="201372" y="181884"/>
                </a:lnTo>
                <a:cubicBezTo>
                  <a:pt x="201372" y="176832"/>
                  <a:pt x="199567" y="172501"/>
                  <a:pt x="195959" y="168892"/>
                </a:cubicBezTo>
                <a:lnTo>
                  <a:pt x="131361" y="103934"/>
                </a:lnTo>
                <a:cubicBezTo>
                  <a:pt x="124504" y="97077"/>
                  <a:pt x="124504" y="85529"/>
                  <a:pt x="131361" y="78672"/>
                </a:cubicBezTo>
                <a:cubicBezTo>
                  <a:pt x="138579" y="71454"/>
                  <a:pt x="150127" y="71454"/>
                  <a:pt x="157344" y="78672"/>
                </a:cubicBezTo>
                <a:lnTo>
                  <a:pt x="201372" y="122339"/>
                </a:lnTo>
                <a:cubicBezTo>
                  <a:pt x="205702" y="127030"/>
                  <a:pt x="211477" y="129195"/>
                  <a:pt x="217612" y="129195"/>
                </a:cubicBezTo>
                <a:lnTo>
                  <a:pt x="274270" y="129195"/>
                </a:lnTo>
                <a:cubicBezTo>
                  <a:pt x="291592" y="129195"/>
                  <a:pt x="306027" y="143631"/>
                  <a:pt x="306027" y="160953"/>
                </a:cubicBezTo>
                <a:lnTo>
                  <a:pt x="306027" y="259834"/>
                </a:lnTo>
                <a:cubicBezTo>
                  <a:pt x="306027" y="269939"/>
                  <a:pt x="297727" y="278239"/>
                  <a:pt x="287622" y="278239"/>
                </a:cubicBezTo>
                <a:lnTo>
                  <a:pt x="193072" y="278239"/>
                </a:lnTo>
                <a:lnTo>
                  <a:pt x="202094" y="296644"/>
                </a:lnTo>
                <a:lnTo>
                  <a:pt x="226634" y="296644"/>
                </a:lnTo>
                <a:cubicBezTo>
                  <a:pt x="229160" y="296644"/>
                  <a:pt x="230964" y="298810"/>
                  <a:pt x="230964" y="301336"/>
                </a:cubicBezTo>
                <a:cubicBezTo>
                  <a:pt x="230964" y="303862"/>
                  <a:pt x="229160" y="306027"/>
                  <a:pt x="226634" y="306027"/>
                </a:cubicBezTo>
                <a:lnTo>
                  <a:pt x="199567" y="306027"/>
                </a:lnTo>
                <a:lnTo>
                  <a:pt x="106460" y="306027"/>
                </a:lnTo>
                <a:lnTo>
                  <a:pt x="79755" y="306027"/>
                </a:lnTo>
                <a:cubicBezTo>
                  <a:pt x="77229" y="306027"/>
                  <a:pt x="75064" y="303862"/>
                  <a:pt x="75064" y="301336"/>
                </a:cubicBezTo>
                <a:cubicBezTo>
                  <a:pt x="75064" y="298810"/>
                  <a:pt x="77229" y="296644"/>
                  <a:pt x="79755" y="296644"/>
                </a:cubicBezTo>
                <a:lnTo>
                  <a:pt x="103934" y="296644"/>
                </a:lnTo>
                <a:lnTo>
                  <a:pt x="112956" y="278239"/>
                </a:lnTo>
                <a:lnTo>
                  <a:pt x="18405" y="278239"/>
                </a:lnTo>
                <a:cubicBezTo>
                  <a:pt x="8300" y="278239"/>
                  <a:pt x="0" y="269939"/>
                  <a:pt x="0" y="259834"/>
                </a:cubicBezTo>
                <a:lnTo>
                  <a:pt x="0" y="241069"/>
                </a:lnTo>
                <a:lnTo>
                  <a:pt x="0" y="18405"/>
                </a:lnTo>
                <a:cubicBezTo>
                  <a:pt x="0" y="8300"/>
                  <a:pt x="8300" y="0"/>
                  <a:pt x="18405"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61" name="Subtitle 2">
            <a:extLst>
              <a:ext uri="{FF2B5EF4-FFF2-40B4-BE49-F238E27FC236}">
                <a16:creationId xmlns:a16="http://schemas.microsoft.com/office/drawing/2014/main" id="{3B6125D6-170B-794F-9997-6465B53C2B99}"/>
              </a:ext>
            </a:extLst>
          </p:cNvPr>
          <p:cNvSpPr txBox="1">
            <a:spLocks/>
          </p:cNvSpPr>
          <p:nvPr/>
        </p:nvSpPr>
        <p:spPr>
          <a:xfrm>
            <a:off x="775234" y="1637718"/>
            <a:ext cx="2037519"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t>
            </a:r>
          </a:p>
        </p:txBody>
      </p:sp>
      <p:sp>
        <p:nvSpPr>
          <p:cNvPr id="62" name="Subtitle 2">
            <a:extLst>
              <a:ext uri="{FF2B5EF4-FFF2-40B4-BE49-F238E27FC236}">
                <a16:creationId xmlns:a16="http://schemas.microsoft.com/office/drawing/2014/main" id="{94A8BB5C-24B7-9646-B597-941B4E65E9D6}"/>
              </a:ext>
            </a:extLst>
          </p:cNvPr>
          <p:cNvSpPr txBox="1">
            <a:spLocks/>
          </p:cNvSpPr>
          <p:nvPr/>
        </p:nvSpPr>
        <p:spPr>
          <a:xfrm>
            <a:off x="775234" y="2573404"/>
            <a:ext cx="2037519"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t>
            </a:r>
          </a:p>
        </p:txBody>
      </p:sp>
      <p:sp>
        <p:nvSpPr>
          <p:cNvPr id="63" name="Subtitle 2">
            <a:extLst>
              <a:ext uri="{FF2B5EF4-FFF2-40B4-BE49-F238E27FC236}">
                <a16:creationId xmlns:a16="http://schemas.microsoft.com/office/drawing/2014/main" id="{FB7C213A-B345-6147-95F0-75E4B1952901}"/>
              </a:ext>
            </a:extLst>
          </p:cNvPr>
          <p:cNvSpPr txBox="1">
            <a:spLocks/>
          </p:cNvSpPr>
          <p:nvPr/>
        </p:nvSpPr>
        <p:spPr>
          <a:xfrm>
            <a:off x="775234" y="3523620"/>
            <a:ext cx="2037519"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t>
            </a:r>
          </a:p>
        </p:txBody>
      </p:sp>
      <p:sp>
        <p:nvSpPr>
          <p:cNvPr id="64" name="Subtitle 2">
            <a:extLst>
              <a:ext uri="{FF2B5EF4-FFF2-40B4-BE49-F238E27FC236}">
                <a16:creationId xmlns:a16="http://schemas.microsoft.com/office/drawing/2014/main" id="{EB4EBEE7-F7A2-0A42-BF89-7428F761A808}"/>
              </a:ext>
            </a:extLst>
          </p:cNvPr>
          <p:cNvSpPr txBox="1">
            <a:spLocks/>
          </p:cNvSpPr>
          <p:nvPr/>
        </p:nvSpPr>
        <p:spPr>
          <a:xfrm>
            <a:off x="775234" y="4444777"/>
            <a:ext cx="2037519"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t>
            </a:r>
          </a:p>
        </p:txBody>
      </p:sp>
      <p:sp>
        <p:nvSpPr>
          <p:cNvPr id="65" name="Subtitle 2">
            <a:extLst>
              <a:ext uri="{FF2B5EF4-FFF2-40B4-BE49-F238E27FC236}">
                <a16:creationId xmlns:a16="http://schemas.microsoft.com/office/drawing/2014/main" id="{F1FEDD10-FEC3-D748-8FCD-7CCFACE90ABF}"/>
              </a:ext>
            </a:extLst>
          </p:cNvPr>
          <p:cNvSpPr txBox="1">
            <a:spLocks/>
          </p:cNvSpPr>
          <p:nvPr/>
        </p:nvSpPr>
        <p:spPr>
          <a:xfrm>
            <a:off x="775234" y="5380464"/>
            <a:ext cx="2037519"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t>
            </a:r>
          </a:p>
        </p:txBody>
      </p:sp>
      <p:sp>
        <p:nvSpPr>
          <p:cNvPr id="66" name="Subtitle 2">
            <a:extLst>
              <a:ext uri="{FF2B5EF4-FFF2-40B4-BE49-F238E27FC236}">
                <a16:creationId xmlns:a16="http://schemas.microsoft.com/office/drawing/2014/main" id="{96C8E8FD-553C-3A43-91B4-57AD5892E394}"/>
              </a:ext>
            </a:extLst>
          </p:cNvPr>
          <p:cNvSpPr txBox="1">
            <a:spLocks/>
          </p:cNvSpPr>
          <p:nvPr/>
        </p:nvSpPr>
        <p:spPr>
          <a:xfrm>
            <a:off x="9395322" y="1637718"/>
            <a:ext cx="2037519"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t>
            </a:r>
          </a:p>
        </p:txBody>
      </p:sp>
      <p:sp>
        <p:nvSpPr>
          <p:cNvPr id="67" name="Subtitle 2">
            <a:extLst>
              <a:ext uri="{FF2B5EF4-FFF2-40B4-BE49-F238E27FC236}">
                <a16:creationId xmlns:a16="http://schemas.microsoft.com/office/drawing/2014/main" id="{E0E1EE52-D8E2-D541-AECE-BE1B884776B1}"/>
              </a:ext>
            </a:extLst>
          </p:cNvPr>
          <p:cNvSpPr txBox="1">
            <a:spLocks/>
          </p:cNvSpPr>
          <p:nvPr/>
        </p:nvSpPr>
        <p:spPr>
          <a:xfrm>
            <a:off x="9395322" y="2573404"/>
            <a:ext cx="2037519"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t>
            </a:r>
          </a:p>
        </p:txBody>
      </p:sp>
      <p:sp>
        <p:nvSpPr>
          <p:cNvPr id="68" name="Subtitle 2">
            <a:extLst>
              <a:ext uri="{FF2B5EF4-FFF2-40B4-BE49-F238E27FC236}">
                <a16:creationId xmlns:a16="http://schemas.microsoft.com/office/drawing/2014/main" id="{18C2D4D2-83C7-4B40-960C-6B9D035E8A1F}"/>
              </a:ext>
            </a:extLst>
          </p:cNvPr>
          <p:cNvSpPr txBox="1">
            <a:spLocks/>
          </p:cNvSpPr>
          <p:nvPr/>
        </p:nvSpPr>
        <p:spPr>
          <a:xfrm>
            <a:off x="9395322" y="3523620"/>
            <a:ext cx="2037519"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t>
            </a:r>
          </a:p>
        </p:txBody>
      </p:sp>
      <p:sp>
        <p:nvSpPr>
          <p:cNvPr id="69" name="Subtitle 2">
            <a:extLst>
              <a:ext uri="{FF2B5EF4-FFF2-40B4-BE49-F238E27FC236}">
                <a16:creationId xmlns:a16="http://schemas.microsoft.com/office/drawing/2014/main" id="{F797F113-DC2F-4E40-A6B3-E69265039F11}"/>
              </a:ext>
            </a:extLst>
          </p:cNvPr>
          <p:cNvSpPr txBox="1">
            <a:spLocks/>
          </p:cNvSpPr>
          <p:nvPr/>
        </p:nvSpPr>
        <p:spPr>
          <a:xfrm>
            <a:off x="9395322" y="4444777"/>
            <a:ext cx="2037519"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t>
            </a:r>
          </a:p>
        </p:txBody>
      </p:sp>
      <p:sp>
        <p:nvSpPr>
          <p:cNvPr id="70" name="Subtitle 2">
            <a:extLst>
              <a:ext uri="{FF2B5EF4-FFF2-40B4-BE49-F238E27FC236}">
                <a16:creationId xmlns:a16="http://schemas.microsoft.com/office/drawing/2014/main" id="{8E206635-E8AD-9B45-9496-D7B84EF5BC6C}"/>
              </a:ext>
            </a:extLst>
          </p:cNvPr>
          <p:cNvSpPr txBox="1">
            <a:spLocks/>
          </p:cNvSpPr>
          <p:nvPr/>
        </p:nvSpPr>
        <p:spPr>
          <a:xfrm>
            <a:off x="9395322" y="5380464"/>
            <a:ext cx="2037519"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t>
            </a:r>
          </a:p>
        </p:txBody>
      </p:sp>
      <p:sp>
        <p:nvSpPr>
          <p:cNvPr id="49" name="Titel 1">
            <a:extLst>
              <a:ext uri="{FF2B5EF4-FFF2-40B4-BE49-F238E27FC236}">
                <a16:creationId xmlns:a16="http://schemas.microsoft.com/office/drawing/2014/main" id="{4ACE7A95-62C8-497E-A2AF-EE23A4A80C8C}"/>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Pros &amp; Cons comparison</a:t>
            </a:r>
          </a:p>
        </p:txBody>
      </p:sp>
    </p:spTree>
    <p:custDataLst>
      <p:tags r:id="rId1"/>
    </p:custDataLst>
    <p:extLst>
      <p:ext uri="{BB962C8B-B14F-4D97-AF65-F5344CB8AC3E}">
        <p14:creationId xmlns:p14="http://schemas.microsoft.com/office/powerpoint/2010/main" val="3906033675"/>
      </p:ext>
    </p:extLst>
  </p:cSld>
  <p:clrMapOvr>
    <a:masterClrMapping/>
  </p:clrMapOvr>
  <mc:AlternateContent xmlns:mc="http://schemas.openxmlformats.org/markup-compatibility/2006" xmlns:p14="http://schemas.microsoft.com/office/powerpoint/2010/main">
    <mc:Choice Requires="p14">
      <p:transition spd="med">
        <p14:pan/>
      </p:transition>
    </mc:Choice>
    <mc:Fallback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7070613-1B76-4BD6-AB56-DADDF2B0C1F3}"/>
              </a:ext>
            </a:extLst>
          </p:cNvPr>
          <p:cNvSpPr/>
          <p:nvPr/>
        </p:nvSpPr>
        <p:spPr>
          <a:xfrm>
            <a:off x="6096000" y="0"/>
            <a:ext cx="6096000" cy="6858000"/>
          </a:xfrm>
          <a:prstGeom prst="rect">
            <a:avLst/>
          </a:prstGeom>
          <a:solidFill>
            <a:schemeClr val="bg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
        <p:nvSpPr>
          <p:cNvPr id="9" name="Rechteck 8">
            <a:extLst>
              <a:ext uri="{FF2B5EF4-FFF2-40B4-BE49-F238E27FC236}">
                <a16:creationId xmlns:a16="http://schemas.microsoft.com/office/drawing/2014/main" id="{86513E08-D982-4C5A-AE1C-DB0E364F1302}"/>
              </a:ext>
            </a:extLst>
          </p:cNvPr>
          <p:cNvSpPr/>
          <p:nvPr/>
        </p:nvSpPr>
        <p:spPr>
          <a:xfrm>
            <a:off x="0" y="0"/>
            <a:ext cx="6096000" cy="685800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
        <p:nvSpPr>
          <p:cNvPr id="7" name="Textfeld 6">
            <a:extLst>
              <a:ext uri="{FF2B5EF4-FFF2-40B4-BE49-F238E27FC236}">
                <a16:creationId xmlns:a16="http://schemas.microsoft.com/office/drawing/2014/main" id="{34828E9A-F8D4-4A7B-A8FC-782F17C66448}"/>
              </a:ext>
            </a:extLst>
          </p:cNvPr>
          <p:cNvSpPr txBox="1"/>
          <p:nvPr/>
        </p:nvSpPr>
        <p:spPr>
          <a:xfrm>
            <a:off x="458400" y="318601"/>
            <a:ext cx="4898910" cy="1107996"/>
          </a:xfrm>
          <a:prstGeom prst="rect">
            <a:avLst/>
          </a:prstGeom>
          <a:noFill/>
        </p:spPr>
        <p:txBody>
          <a:bodyPr vert="horz" wrap="none" lIns="0" tIns="0" rIns="0" bIns="0" rtlCol="0">
            <a:noAutofit/>
          </a:bodyPr>
          <a:lstStyle/>
          <a:p>
            <a:pPr algn="l" rtl="0" eaLnBrk="1" fontAlgn="auto" hangingPunct="1">
              <a:lnSpc>
                <a:spcPct val="100000"/>
              </a:lnSpc>
              <a:spcBef>
                <a:spcPts val="0"/>
              </a:spcBef>
              <a:spcAft>
                <a:spcPts val="0"/>
              </a:spcAft>
            </a:pPr>
            <a:r>
              <a:rPr lang="en-US" sz="3000" b="0" i="0" u="none" dirty="0">
                <a:solidFill>
                  <a:schemeClr val="lt1"/>
                </a:solidFill>
                <a:latin typeface="+mj-lt"/>
              </a:rPr>
              <a:t>Process part </a:t>
            </a:r>
            <a:r>
              <a:rPr lang="en-US" sz="3000" dirty="0">
                <a:solidFill>
                  <a:schemeClr val="lt1"/>
                </a:solidFill>
                <a:latin typeface="+mj-lt"/>
              </a:rPr>
              <a:t>o</a:t>
            </a:r>
            <a:r>
              <a:rPr lang="en-US" sz="3000" b="0" i="0" u="none" dirty="0">
                <a:solidFill>
                  <a:schemeClr val="lt1"/>
                </a:solidFill>
                <a:latin typeface="+mj-lt"/>
              </a:rPr>
              <a:t>ne</a:t>
            </a:r>
          </a:p>
        </p:txBody>
      </p:sp>
      <p:sp>
        <p:nvSpPr>
          <p:cNvPr id="10" name="Textfeld 9">
            <a:extLst>
              <a:ext uri="{FF2B5EF4-FFF2-40B4-BE49-F238E27FC236}">
                <a16:creationId xmlns:a16="http://schemas.microsoft.com/office/drawing/2014/main" id="{C5B4F910-523A-4BBF-AA4B-7EC7BF5C527E}"/>
              </a:ext>
            </a:extLst>
          </p:cNvPr>
          <p:cNvSpPr txBox="1"/>
          <p:nvPr/>
        </p:nvSpPr>
        <p:spPr>
          <a:xfrm>
            <a:off x="6834690" y="318601"/>
            <a:ext cx="4898910" cy="1107996"/>
          </a:xfrm>
          <a:prstGeom prst="rect">
            <a:avLst/>
          </a:prstGeom>
          <a:noFill/>
        </p:spPr>
        <p:txBody>
          <a:bodyPr vert="horz" wrap="none" lIns="0" tIns="0" rIns="0" bIns="0" rtlCol="0">
            <a:noAutofit/>
          </a:bodyPr>
          <a:lstStyle/>
          <a:p>
            <a:pPr algn="l" rtl="0" eaLnBrk="1" fontAlgn="auto" hangingPunct="1">
              <a:lnSpc>
                <a:spcPct val="100000"/>
              </a:lnSpc>
              <a:spcBef>
                <a:spcPts val="0"/>
              </a:spcBef>
              <a:spcAft>
                <a:spcPts val="0"/>
              </a:spcAft>
            </a:pPr>
            <a:r>
              <a:rPr lang="en-US" sz="3000" b="0" i="0" u="none" dirty="0">
                <a:latin typeface="+mj-lt"/>
              </a:rPr>
              <a:t>Process part </a:t>
            </a:r>
            <a:r>
              <a:rPr lang="en-US" sz="3000" dirty="0">
                <a:latin typeface="+mj-lt"/>
              </a:rPr>
              <a:t>t</a:t>
            </a:r>
            <a:r>
              <a:rPr lang="en-US" sz="3000" b="0" i="0" u="none" dirty="0">
                <a:latin typeface="+mj-lt"/>
              </a:rPr>
              <a:t>wo</a:t>
            </a:r>
          </a:p>
        </p:txBody>
      </p:sp>
      <p:sp>
        <p:nvSpPr>
          <p:cNvPr id="11" name="Oval 7">
            <a:extLst>
              <a:ext uri="{FF2B5EF4-FFF2-40B4-BE49-F238E27FC236}">
                <a16:creationId xmlns:a16="http://schemas.microsoft.com/office/drawing/2014/main" id="{9E50DBEF-E796-43F5-A9E9-DBEA55C60628}"/>
              </a:ext>
            </a:extLst>
          </p:cNvPr>
          <p:cNvSpPr/>
          <p:nvPr/>
        </p:nvSpPr>
        <p:spPr>
          <a:xfrm>
            <a:off x="5471160" y="2688533"/>
            <a:ext cx="1249680" cy="12496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2" name="Oval 8">
            <a:extLst>
              <a:ext uri="{FF2B5EF4-FFF2-40B4-BE49-F238E27FC236}">
                <a16:creationId xmlns:a16="http://schemas.microsoft.com/office/drawing/2014/main" id="{7EE4520A-3796-4083-A091-DB5F19B09C40}"/>
              </a:ext>
            </a:extLst>
          </p:cNvPr>
          <p:cNvSpPr/>
          <p:nvPr/>
        </p:nvSpPr>
        <p:spPr>
          <a:xfrm>
            <a:off x="5471160" y="3938213"/>
            <a:ext cx="1249680" cy="12496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pic>
        <p:nvPicPr>
          <p:cNvPr id="13" name="Grafik 12" descr="Zielgruppe Silhouette">
            <a:extLst>
              <a:ext uri="{FF2B5EF4-FFF2-40B4-BE49-F238E27FC236}">
                <a16:creationId xmlns:a16="http://schemas.microsoft.com/office/drawing/2014/main" id="{0E1A3768-FE4E-4FC1-8C33-66F07ACB377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8400" y="4198178"/>
            <a:ext cx="540000" cy="540000"/>
          </a:xfrm>
          <a:prstGeom prst="rect">
            <a:avLst/>
          </a:prstGeom>
        </p:spPr>
      </p:pic>
      <p:pic>
        <p:nvPicPr>
          <p:cNvPr id="15" name="Grafik 14" descr="Ziel Silhouette">
            <a:extLst>
              <a:ext uri="{FF2B5EF4-FFF2-40B4-BE49-F238E27FC236}">
                <a16:creationId xmlns:a16="http://schemas.microsoft.com/office/drawing/2014/main" id="{FCA73531-5FF4-47DF-895E-918714AAFA4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8400" y="1897351"/>
            <a:ext cx="540000" cy="540000"/>
          </a:xfrm>
          <a:prstGeom prst="rect">
            <a:avLst/>
          </a:prstGeom>
        </p:spPr>
      </p:pic>
      <p:pic>
        <p:nvPicPr>
          <p:cNvPr id="19" name="Grafik 18" descr="Radiomikrofon Silhouette">
            <a:extLst>
              <a:ext uri="{FF2B5EF4-FFF2-40B4-BE49-F238E27FC236}">
                <a16:creationId xmlns:a16="http://schemas.microsoft.com/office/drawing/2014/main" id="{E4547C5E-48A8-4E93-ABDD-AEB9CDFDB6C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35999" y="2953374"/>
            <a:ext cx="720000" cy="720000"/>
          </a:xfrm>
          <a:prstGeom prst="rect">
            <a:avLst/>
          </a:prstGeom>
        </p:spPr>
      </p:pic>
      <p:sp>
        <p:nvSpPr>
          <p:cNvPr id="20" name="Textfeld">
            <a:extLst>
              <a:ext uri="{FF2B5EF4-FFF2-40B4-BE49-F238E27FC236}">
                <a16:creationId xmlns:a16="http://schemas.microsoft.com/office/drawing/2014/main" id="{3F5657A0-E94D-41BB-B090-A424996B4146}"/>
              </a:ext>
            </a:extLst>
          </p:cNvPr>
          <p:cNvSpPr txBox="1"/>
          <p:nvPr/>
        </p:nvSpPr>
        <p:spPr>
          <a:xfrm>
            <a:off x="1175580" y="4575343"/>
            <a:ext cx="4181730" cy="1154483"/>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sz="1400" dirty="0">
                <a:solidFill>
                  <a:schemeClr val="lt1"/>
                </a:solidFill>
              </a:rPr>
              <a:t>Lorem ipsum dolor sit amet, consectetuer elit. Aenean commodo ligula eget dolor. Aenean massa. Cum sociis natoque penatibus et magnis dis parturient montes, nascetur ridiculus mus. </a:t>
            </a:r>
          </a:p>
        </p:txBody>
      </p:sp>
      <p:sp>
        <p:nvSpPr>
          <p:cNvPr id="21" name="MIO_TEXTBOX_SUBHEADER">
            <a:extLst>
              <a:ext uri="{FF2B5EF4-FFF2-40B4-BE49-F238E27FC236}">
                <a16:creationId xmlns:a16="http://schemas.microsoft.com/office/drawing/2014/main" id="{9214CDB6-BD2F-4821-AA7D-592619529128}"/>
              </a:ext>
            </a:extLst>
          </p:cNvPr>
          <p:cNvSpPr txBox="1"/>
          <p:nvPr/>
        </p:nvSpPr>
        <p:spPr>
          <a:xfrm>
            <a:off x="1175580" y="4198178"/>
            <a:ext cx="4181730" cy="268852"/>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400">
                <a:solidFill>
                  <a:schemeClr val="lt1"/>
                </a:solidFill>
              </a:rPr>
              <a:t>Lorem ipsum</a:t>
            </a:r>
            <a:endParaRPr lang="en-US" sz="1400" dirty="0">
              <a:solidFill>
                <a:schemeClr val="lt1"/>
              </a:solidFill>
            </a:endParaRPr>
          </a:p>
        </p:txBody>
      </p:sp>
      <p:sp>
        <p:nvSpPr>
          <p:cNvPr id="22" name="Textfeld">
            <a:extLst>
              <a:ext uri="{FF2B5EF4-FFF2-40B4-BE49-F238E27FC236}">
                <a16:creationId xmlns:a16="http://schemas.microsoft.com/office/drawing/2014/main" id="{5AEFC4CB-E6FA-4FA0-86CC-3EE9375DF567}"/>
              </a:ext>
            </a:extLst>
          </p:cNvPr>
          <p:cNvSpPr txBox="1"/>
          <p:nvPr/>
        </p:nvSpPr>
        <p:spPr>
          <a:xfrm>
            <a:off x="1175580" y="2274517"/>
            <a:ext cx="4181730" cy="1154483"/>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sz="1400" dirty="0">
                <a:solidFill>
                  <a:schemeClr val="lt1"/>
                </a:solidFill>
              </a:rPr>
              <a:t>Lorem ipsum dolor sit amet, consectetuer elit. Aenean commodo ligula eget dolor. Aenean massa. Cum sociis natoque penatibus et magnis dis parturient montes, nascetur ridiculus mus. </a:t>
            </a:r>
          </a:p>
        </p:txBody>
      </p:sp>
      <p:sp>
        <p:nvSpPr>
          <p:cNvPr id="23" name="MIO_TEXTBOX_SUBHEADER">
            <a:extLst>
              <a:ext uri="{FF2B5EF4-FFF2-40B4-BE49-F238E27FC236}">
                <a16:creationId xmlns:a16="http://schemas.microsoft.com/office/drawing/2014/main" id="{81246DFC-C797-41E9-9785-71575181822C}"/>
              </a:ext>
            </a:extLst>
          </p:cNvPr>
          <p:cNvSpPr txBox="1"/>
          <p:nvPr/>
        </p:nvSpPr>
        <p:spPr>
          <a:xfrm>
            <a:off x="1175580" y="1897351"/>
            <a:ext cx="4181730" cy="268852"/>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400">
                <a:solidFill>
                  <a:schemeClr val="lt1"/>
                </a:solidFill>
              </a:rPr>
              <a:t>Lorem ipsum</a:t>
            </a:r>
            <a:endParaRPr lang="en-US" sz="1400" dirty="0">
              <a:solidFill>
                <a:schemeClr val="lt1"/>
              </a:solidFill>
            </a:endParaRPr>
          </a:p>
        </p:txBody>
      </p:sp>
      <p:sp>
        <p:nvSpPr>
          <p:cNvPr id="26" name="Textfeld">
            <a:extLst>
              <a:ext uri="{FF2B5EF4-FFF2-40B4-BE49-F238E27FC236}">
                <a16:creationId xmlns:a16="http://schemas.microsoft.com/office/drawing/2014/main" id="{8CB51A8F-8FEE-4613-B1DB-954145645065}"/>
              </a:ext>
            </a:extLst>
          </p:cNvPr>
          <p:cNvSpPr txBox="1"/>
          <p:nvPr/>
        </p:nvSpPr>
        <p:spPr>
          <a:xfrm>
            <a:off x="7551868" y="4575343"/>
            <a:ext cx="4181730" cy="1154483"/>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sz="1400" dirty="0"/>
              <a:t>Lorem ipsum dolor sit amet, consectetuer elit. Aenean commodo ligula eget dolor. Aenean massa. Cum sociis natoque penatibus et magnis dis parturient montes, nascetur ridiculus mus. </a:t>
            </a:r>
          </a:p>
        </p:txBody>
      </p:sp>
      <p:sp>
        <p:nvSpPr>
          <p:cNvPr id="27" name="MIO_TEXTBOX_SUBHEADER">
            <a:extLst>
              <a:ext uri="{FF2B5EF4-FFF2-40B4-BE49-F238E27FC236}">
                <a16:creationId xmlns:a16="http://schemas.microsoft.com/office/drawing/2014/main" id="{E5E8AE59-0F67-452F-B177-D103EB5FAC04}"/>
              </a:ext>
            </a:extLst>
          </p:cNvPr>
          <p:cNvSpPr txBox="1"/>
          <p:nvPr/>
        </p:nvSpPr>
        <p:spPr>
          <a:xfrm>
            <a:off x="7551868" y="4198178"/>
            <a:ext cx="4181730" cy="268852"/>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400">
                <a:solidFill>
                  <a:schemeClr val="tx1"/>
                </a:solidFill>
              </a:rPr>
              <a:t>Lorem ipsum</a:t>
            </a:r>
            <a:endParaRPr lang="en-US" sz="1400" dirty="0">
              <a:solidFill>
                <a:schemeClr val="tx1"/>
              </a:solidFill>
            </a:endParaRPr>
          </a:p>
        </p:txBody>
      </p:sp>
      <p:sp>
        <p:nvSpPr>
          <p:cNvPr id="28" name="Textfeld">
            <a:extLst>
              <a:ext uri="{FF2B5EF4-FFF2-40B4-BE49-F238E27FC236}">
                <a16:creationId xmlns:a16="http://schemas.microsoft.com/office/drawing/2014/main" id="{793E6619-FFCB-440B-99C8-C8620F92817A}"/>
              </a:ext>
            </a:extLst>
          </p:cNvPr>
          <p:cNvSpPr txBox="1"/>
          <p:nvPr/>
        </p:nvSpPr>
        <p:spPr>
          <a:xfrm>
            <a:off x="7551868" y="2274517"/>
            <a:ext cx="4181730" cy="1154483"/>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sz="1400" dirty="0"/>
              <a:t>Lorem ipsum dolor sit amet, consectetuer elit. Aenean commodo ligula eget dolor. Aenean massa. Cum sociis natoque penatibus et magnis dis parturient montes, nascetur ridiculus mus. </a:t>
            </a:r>
          </a:p>
        </p:txBody>
      </p:sp>
      <p:sp>
        <p:nvSpPr>
          <p:cNvPr id="29" name="MIO_TEXTBOX_SUBHEADER">
            <a:extLst>
              <a:ext uri="{FF2B5EF4-FFF2-40B4-BE49-F238E27FC236}">
                <a16:creationId xmlns:a16="http://schemas.microsoft.com/office/drawing/2014/main" id="{B297010A-6293-48E2-8C0F-35FA33B73839}"/>
              </a:ext>
            </a:extLst>
          </p:cNvPr>
          <p:cNvSpPr txBox="1"/>
          <p:nvPr/>
        </p:nvSpPr>
        <p:spPr>
          <a:xfrm>
            <a:off x="7551868" y="1897351"/>
            <a:ext cx="4181730" cy="268852"/>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400">
                <a:solidFill>
                  <a:schemeClr val="tx1"/>
                </a:solidFill>
              </a:rPr>
              <a:t>Lorem ipsum</a:t>
            </a:r>
            <a:endParaRPr lang="en-US" sz="1400" dirty="0">
              <a:solidFill>
                <a:schemeClr val="tx1"/>
              </a:solidFill>
            </a:endParaRPr>
          </a:p>
        </p:txBody>
      </p:sp>
      <p:pic>
        <p:nvPicPr>
          <p:cNvPr id="33" name="Grafik 32" descr="Balkendiagramm mit Aufwärtstrend Silhouette">
            <a:extLst>
              <a:ext uri="{FF2B5EF4-FFF2-40B4-BE49-F238E27FC236}">
                <a16:creationId xmlns:a16="http://schemas.microsoft.com/office/drawing/2014/main" id="{8F4050C7-1EE2-462E-BF54-070610EBBDF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36000" y="4203053"/>
            <a:ext cx="720000" cy="720000"/>
          </a:xfrm>
          <a:prstGeom prst="rect">
            <a:avLst/>
          </a:prstGeom>
        </p:spPr>
      </p:pic>
      <p:pic>
        <p:nvPicPr>
          <p:cNvPr id="36" name="Grafik 35" descr="E-Commerce Silhouette">
            <a:extLst>
              <a:ext uri="{FF2B5EF4-FFF2-40B4-BE49-F238E27FC236}">
                <a16:creationId xmlns:a16="http://schemas.microsoft.com/office/drawing/2014/main" id="{E74E60DC-5825-4451-842C-FBE4779F8EF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834691" y="1897351"/>
            <a:ext cx="540000" cy="540000"/>
          </a:xfrm>
          <a:prstGeom prst="rect">
            <a:avLst/>
          </a:prstGeom>
        </p:spPr>
      </p:pic>
      <p:pic>
        <p:nvPicPr>
          <p:cNvPr id="37" name="Grafik 36" descr="Sackkarre Silhouette">
            <a:extLst>
              <a:ext uri="{FF2B5EF4-FFF2-40B4-BE49-F238E27FC236}">
                <a16:creationId xmlns:a16="http://schemas.microsoft.com/office/drawing/2014/main" id="{D42C02D9-D780-43C3-97D1-6FE0EB01B6A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834691" y="4198178"/>
            <a:ext cx="540000" cy="540000"/>
          </a:xfrm>
          <a:prstGeom prst="rect">
            <a:avLst/>
          </a:prstGeom>
        </p:spPr>
      </p:pic>
    </p:spTree>
    <p:custDataLst>
      <p:tags r:id="rId1"/>
    </p:custDataLst>
    <p:extLst>
      <p:ext uri="{BB962C8B-B14F-4D97-AF65-F5344CB8AC3E}">
        <p14:creationId xmlns:p14="http://schemas.microsoft.com/office/powerpoint/2010/main" val="1082913044"/>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Seedlings">
            <a:extLst>
              <a:ext uri="{FF2B5EF4-FFF2-40B4-BE49-F238E27FC236}">
                <a16:creationId xmlns:a16="http://schemas.microsoft.com/office/drawing/2014/main" id="{39A6A960-79B9-494B-93CB-C307E9DBCD4A}"/>
              </a:ext>
            </a:extLst>
          </p:cNvPr>
          <p:cNvPicPr>
            <a:picLocks noGrp="1" noChangeAspect="1"/>
          </p:cNvPicPr>
          <p:nvPr>
            <p:ph type="pic" sz="quarter" idx="13"/>
            <p:custDataLst>
              <p:tags r:id="rId1"/>
            </p:custDataLst>
          </p:nvPr>
        </p:nvPicPr>
        <p:blipFill>
          <a:blip r:embed="rId3" cstate="screen">
            <a:extLst>
              <a:ext uri="{28A0092B-C50C-407E-A947-70E740481C1C}">
                <a14:useLocalDpi xmlns:a14="http://schemas.microsoft.com/office/drawing/2010/main"/>
              </a:ext>
            </a:extLst>
          </a:blip>
          <a:srcRect t="8396" b="8396"/>
          <a:stretch>
            <a:fillRect/>
          </a:stretch>
        </p:blipFill>
        <p:spPr>
          <a:xfrm>
            <a:off x="1" y="96839"/>
            <a:ext cx="12191345" cy="6760799"/>
          </a:xfrm>
          <a:prstGeom prst="rect">
            <a:avLst/>
          </a:prstGeom>
        </p:spPr>
      </p:pic>
      <p:sp>
        <p:nvSpPr>
          <p:cNvPr id="2" name="Title 1">
            <a:extLst>
              <a:ext uri="{FF2B5EF4-FFF2-40B4-BE49-F238E27FC236}">
                <a16:creationId xmlns:a16="http://schemas.microsoft.com/office/drawing/2014/main" id="{A8ED0240-E185-4EB6-8C25-633998D8DF23}"/>
              </a:ext>
            </a:extLst>
          </p:cNvPr>
          <p:cNvSpPr>
            <a:spLocks noGrp="1"/>
          </p:cNvSpPr>
          <p:nvPr>
            <p:ph type="body" sz="quarter" idx="14"/>
          </p:nvPr>
        </p:nvSpPr>
        <p:spPr>
          <a:xfrm>
            <a:off x="0" y="3914775"/>
            <a:ext cx="9020675" cy="738664"/>
          </a:xfrm>
        </p:spPr>
        <p:txBody>
          <a:bodyPr wrap="none" anchor="t">
            <a:normAutofit/>
          </a:bodyPr>
          <a:lstStyle/>
          <a:p>
            <a:pPr>
              <a:spcAft>
                <a:spcPts val="600"/>
              </a:spcAft>
            </a:pPr>
            <a:r>
              <a:rPr lang="de-DE" dirty="0"/>
              <a:t>Process</a:t>
            </a:r>
            <a:endParaRPr lang="en-US" dirty="0"/>
          </a:p>
        </p:txBody>
      </p:sp>
    </p:spTree>
    <p:extLst>
      <p:ext uri="{BB962C8B-B14F-4D97-AF65-F5344CB8AC3E}">
        <p14:creationId xmlns:p14="http://schemas.microsoft.com/office/powerpoint/2010/main" val="3212872004"/>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00">
            <a:extLst>
              <a:ext uri="{FF2B5EF4-FFF2-40B4-BE49-F238E27FC236}">
                <a16:creationId xmlns:a16="http://schemas.microsoft.com/office/drawing/2014/main" id="{2FF853BB-72E6-2E49-BFCB-85CEB6EB60D4}"/>
              </a:ext>
            </a:extLst>
          </p:cNvPr>
          <p:cNvGraphicFramePr/>
          <p:nvPr/>
        </p:nvGraphicFramePr>
        <p:xfrm>
          <a:off x="4981435" y="1922804"/>
          <a:ext cx="2231902" cy="2231901"/>
        </p:xfrm>
        <a:graphic>
          <a:graphicData uri="http://schemas.openxmlformats.org/drawingml/2006/chart">
            <c:chart xmlns:c="http://schemas.openxmlformats.org/drawingml/2006/chart" xmlns:r="http://schemas.openxmlformats.org/officeDocument/2006/relationships" r:id="rId4"/>
          </a:graphicData>
        </a:graphic>
      </p:graphicFrame>
      <p:sp>
        <p:nvSpPr>
          <p:cNvPr id="14" name="Shape 1201">
            <a:extLst>
              <a:ext uri="{FF2B5EF4-FFF2-40B4-BE49-F238E27FC236}">
                <a16:creationId xmlns:a16="http://schemas.microsoft.com/office/drawing/2014/main" id="{789AD3A1-57CC-E444-8E48-B4780E32E70D}"/>
              </a:ext>
            </a:extLst>
          </p:cNvPr>
          <p:cNvSpPr/>
          <p:nvPr/>
        </p:nvSpPr>
        <p:spPr>
          <a:xfrm>
            <a:off x="5265343" y="2206711"/>
            <a:ext cx="1664088" cy="1664087"/>
          </a:xfrm>
          <a:prstGeom prst="ellipse">
            <a:avLst/>
          </a:prstGeom>
          <a:solidFill>
            <a:srgbClr val="FFFFFF"/>
          </a:solidFill>
          <a:ln w="12700" cap="flat">
            <a:noFill/>
            <a:miter lim="400000"/>
          </a:ln>
          <a:effectLst/>
          <a:extLst>
            <a:ext uri="{C572A759-6A51-4108-AA02-DFA0A04FC94B}">
              <ma14:wrappingTextBoxFlag xmlns:ma14="http://schemas.microsoft.com/office/mac/drawingml/2011/main" xmlns:p14="http://schemas.microsoft.com/office/powerpoint/2010/main" xmlns:c="http://schemas.openxmlformats.org/drawingml/2006/chart" xmlns:a16="http://schemas.microsoft.com/office/drawing/2014/main" xmlns="" val="1"/>
            </a:ext>
          </a:extLst>
        </p:spPr>
        <p:txBody>
          <a:bodyPr wrap="square" lIns="0" tIns="0" rIns="0" bIns="0" numCol="1" anchor="ctr">
            <a:noAutofit/>
          </a:bodyPr>
          <a:lstStyle>
            <a:lvl1pPr>
              <a:defRPr sz="8000">
                <a:latin typeface="+mj-lt"/>
                <a:ea typeface="+mj-ea"/>
                <a:cs typeface="+mj-cs"/>
                <a:sym typeface="Helvetica Neue UltraLight"/>
              </a:defRPr>
            </a:lvl1pPr>
          </a:lstStyle>
          <a:p>
            <a:endParaRPr lang="en-US" sz="5625" dirty="0">
              <a:latin typeface="Lato Light" panose="020F0502020204030203" pitchFamily="34" charset="0"/>
            </a:endParaRPr>
          </a:p>
        </p:txBody>
      </p:sp>
      <p:graphicFrame>
        <p:nvGraphicFramePr>
          <p:cNvPr id="11" name="Chart 1203">
            <a:extLst>
              <a:ext uri="{FF2B5EF4-FFF2-40B4-BE49-F238E27FC236}">
                <a16:creationId xmlns:a16="http://schemas.microsoft.com/office/drawing/2014/main" id="{0C457E03-87BD-DE48-8EAE-E0620577702B}"/>
              </a:ext>
            </a:extLst>
          </p:cNvPr>
          <p:cNvGraphicFramePr/>
          <p:nvPr/>
        </p:nvGraphicFramePr>
        <p:xfrm>
          <a:off x="1649085" y="1921328"/>
          <a:ext cx="2234854" cy="2234852"/>
        </p:xfrm>
        <a:graphic>
          <a:graphicData uri="http://schemas.openxmlformats.org/drawingml/2006/chart">
            <c:chart xmlns:c="http://schemas.openxmlformats.org/drawingml/2006/chart" xmlns:r="http://schemas.openxmlformats.org/officeDocument/2006/relationships" r:id="rId5"/>
          </a:graphicData>
        </a:graphic>
      </p:graphicFrame>
      <p:sp>
        <p:nvSpPr>
          <p:cNvPr id="12" name="Shape 1204">
            <a:extLst>
              <a:ext uri="{FF2B5EF4-FFF2-40B4-BE49-F238E27FC236}">
                <a16:creationId xmlns:a16="http://schemas.microsoft.com/office/drawing/2014/main" id="{34C613C4-B1C3-9D47-86B5-47B9614C694D}"/>
              </a:ext>
            </a:extLst>
          </p:cNvPr>
          <p:cNvSpPr/>
          <p:nvPr/>
        </p:nvSpPr>
        <p:spPr>
          <a:xfrm>
            <a:off x="1934467" y="2206711"/>
            <a:ext cx="1664089" cy="1664087"/>
          </a:xfrm>
          <a:prstGeom prst="ellipse">
            <a:avLst/>
          </a:prstGeom>
          <a:solidFill>
            <a:srgbClr val="FFFFFF"/>
          </a:solidFill>
          <a:ln w="12700" cap="flat">
            <a:noFill/>
            <a:miter lim="400000"/>
          </a:ln>
          <a:effectLst/>
          <a:extLst>
            <a:ext uri="{C572A759-6A51-4108-AA02-DFA0A04FC94B}">
              <ma14:wrappingTextBoxFlag xmlns:ma14="http://schemas.microsoft.com/office/mac/drawingml/2011/main" xmlns:p14="http://schemas.microsoft.com/office/powerpoint/2010/main" xmlns:c="http://schemas.openxmlformats.org/drawingml/2006/chart" xmlns:a16="http://schemas.microsoft.com/office/drawing/2014/main" xmlns="" val="1"/>
            </a:ext>
          </a:extLst>
        </p:spPr>
        <p:txBody>
          <a:bodyPr wrap="square" lIns="0" tIns="0" rIns="0" bIns="0" numCol="1" anchor="ctr">
            <a:noAutofit/>
          </a:bodyPr>
          <a:lstStyle>
            <a:lvl1pPr>
              <a:defRPr sz="8000">
                <a:latin typeface="+mj-lt"/>
                <a:ea typeface="+mj-ea"/>
                <a:cs typeface="+mj-cs"/>
                <a:sym typeface="Helvetica Neue UltraLight"/>
              </a:defRPr>
            </a:lvl1pPr>
          </a:lstStyle>
          <a:p>
            <a:endParaRPr lang="en-US" sz="5625" dirty="0">
              <a:latin typeface="Lato Light" panose="020F0502020204030203" pitchFamily="34" charset="0"/>
            </a:endParaRPr>
          </a:p>
        </p:txBody>
      </p:sp>
      <p:graphicFrame>
        <p:nvGraphicFramePr>
          <p:cNvPr id="9" name="Chart 1206">
            <a:extLst>
              <a:ext uri="{FF2B5EF4-FFF2-40B4-BE49-F238E27FC236}">
                <a16:creationId xmlns:a16="http://schemas.microsoft.com/office/drawing/2014/main" id="{77A681DF-DD0F-2E4E-B0B5-5F8FFE765DC2}"/>
              </a:ext>
            </a:extLst>
          </p:cNvPr>
          <p:cNvGraphicFramePr/>
          <p:nvPr/>
        </p:nvGraphicFramePr>
        <p:xfrm>
          <a:off x="8308063" y="1924099"/>
          <a:ext cx="2229309" cy="2229309"/>
        </p:xfrm>
        <a:graphic>
          <a:graphicData uri="http://schemas.openxmlformats.org/drawingml/2006/chart">
            <c:chart xmlns:c="http://schemas.openxmlformats.org/drawingml/2006/chart" xmlns:r="http://schemas.openxmlformats.org/officeDocument/2006/relationships" r:id="rId6"/>
          </a:graphicData>
        </a:graphic>
      </p:graphicFrame>
      <p:sp>
        <p:nvSpPr>
          <p:cNvPr id="10" name="Shape 1207">
            <a:extLst>
              <a:ext uri="{FF2B5EF4-FFF2-40B4-BE49-F238E27FC236}">
                <a16:creationId xmlns:a16="http://schemas.microsoft.com/office/drawing/2014/main" id="{88B59A1E-7AF8-8242-A59A-066D909F2D8A}"/>
              </a:ext>
            </a:extLst>
          </p:cNvPr>
          <p:cNvSpPr/>
          <p:nvPr/>
        </p:nvSpPr>
        <p:spPr>
          <a:xfrm>
            <a:off x="8590673" y="2206709"/>
            <a:ext cx="1664089" cy="1664089"/>
          </a:xfrm>
          <a:prstGeom prst="ellipse">
            <a:avLst/>
          </a:prstGeom>
          <a:solidFill>
            <a:srgbClr val="FFFFFF"/>
          </a:solidFill>
          <a:ln w="12700" cap="flat">
            <a:noFill/>
            <a:miter lim="400000"/>
          </a:ln>
          <a:effectLst/>
          <a:extLst>
            <a:ext uri="{C572A759-6A51-4108-AA02-DFA0A04FC94B}">
              <ma14:wrappingTextBoxFlag xmlns:ma14="http://schemas.microsoft.com/office/mac/drawingml/2011/main" xmlns:p14="http://schemas.microsoft.com/office/powerpoint/2010/main" xmlns:c="http://schemas.openxmlformats.org/drawingml/2006/chart" xmlns:a16="http://schemas.microsoft.com/office/drawing/2014/main" xmlns="" val="1"/>
            </a:ext>
          </a:extLst>
        </p:spPr>
        <p:txBody>
          <a:bodyPr wrap="square" lIns="0" tIns="0" rIns="0" bIns="0" numCol="1" anchor="ctr">
            <a:noAutofit/>
          </a:bodyPr>
          <a:lstStyle>
            <a:lvl1pPr>
              <a:defRPr sz="8000">
                <a:latin typeface="+mj-lt"/>
                <a:ea typeface="+mj-ea"/>
                <a:cs typeface="+mj-cs"/>
                <a:sym typeface="Helvetica Neue UltraLight"/>
              </a:defRPr>
            </a:lvl1pPr>
          </a:lstStyle>
          <a:p>
            <a:endParaRPr lang="en-US" sz="5625" dirty="0">
              <a:latin typeface="Lato Light" panose="020F0502020204030203" pitchFamily="34" charset="0"/>
            </a:endParaRPr>
          </a:p>
        </p:txBody>
      </p:sp>
      <p:sp>
        <p:nvSpPr>
          <p:cNvPr id="16" name="TextBox 15">
            <a:extLst>
              <a:ext uri="{FF2B5EF4-FFF2-40B4-BE49-F238E27FC236}">
                <a16:creationId xmlns:a16="http://schemas.microsoft.com/office/drawing/2014/main" id="{91D7E0AF-5311-FB4F-A17E-D5C033C7CAD1}"/>
              </a:ext>
            </a:extLst>
          </p:cNvPr>
          <p:cNvSpPr txBox="1"/>
          <p:nvPr/>
        </p:nvSpPr>
        <p:spPr>
          <a:xfrm>
            <a:off x="2405675" y="2623255"/>
            <a:ext cx="721672" cy="830997"/>
          </a:xfrm>
          <a:prstGeom prst="rect">
            <a:avLst/>
          </a:prstGeom>
          <a:noFill/>
        </p:spPr>
        <p:txBody>
          <a:bodyPr wrap="none" rtlCol="0" anchor="ctr" anchorCtr="0">
            <a:spAutoFit/>
          </a:bodyPr>
          <a:lstStyle/>
          <a:p>
            <a:pPr algn="ctr"/>
            <a:r>
              <a:rPr lang="en-US" sz="4800" b="1" dirty="0">
                <a:solidFill>
                  <a:schemeClr val="tx2"/>
                </a:solidFill>
                <a:latin typeface="Segoe UI Light" panose="020B0502040204020203" pitchFamily="34" charset="0"/>
                <a:ea typeface="League Spartan" charset="0"/>
                <a:cs typeface="Poppins" pitchFamily="2" charset="77"/>
              </a:rPr>
              <a:t>01</a:t>
            </a:r>
          </a:p>
        </p:txBody>
      </p:sp>
      <p:sp>
        <p:nvSpPr>
          <p:cNvPr id="17" name="TextBox 16">
            <a:extLst>
              <a:ext uri="{FF2B5EF4-FFF2-40B4-BE49-F238E27FC236}">
                <a16:creationId xmlns:a16="http://schemas.microsoft.com/office/drawing/2014/main" id="{5321D5E6-A145-9247-889E-A447A36EE420}"/>
              </a:ext>
            </a:extLst>
          </p:cNvPr>
          <p:cNvSpPr txBox="1"/>
          <p:nvPr/>
        </p:nvSpPr>
        <p:spPr>
          <a:xfrm>
            <a:off x="5686273" y="2623255"/>
            <a:ext cx="819455" cy="830997"/>
          </a:xfrm>
          <a:prstGeom prst="rect">
            <a:avLst/>
          </a:prstGeom>
          <a:noFill/>
        </p:spPr>
        <p:txBody>
          <a:bodyPr wrap="none" rtlCol="0" anchor="ctr" anchorCtr="0">
            <a:spAutoFit/>
          </a:bodyPr>
          <a:lstStyle/>
          <a:p>
            <a:pPr algn="ctr"/>
            <a:r>
              <a:rPr lang="en-US" sz="4800" b="1" dirty="0">
                <a:solidFill>
                  <a:schemeClr val="tx2"/>
                </a:solidFill>
                <a:latin typeface="Segoe UI Light" panose="020B0502040204020203" pitchFamily="34" charset="0"/>
                <a:ea typeface="League Spartan" charset="0"/>
                <a:cs typeface="Poppins" pitchFamily="2" charset="77"/>
              </a:rPr>
              <a:t>02</a:t>
            </a:r>
          </a:p>
        </p:txBody>
      </p:sp>
      <p:sp>
        <p:nvSpPr>
          <p:cNvPr id="18" name="TextBox 17">
            <a:extLst>
              <a:ext uri="{FF2B5EF4-FFF2-40B4-BE49-F238E27FC236}">
                <a16:creationId xmlns:a16="http://schemas.microsoft.com/office/drawing/2014/main" id="{86F5CC81-364B-A546-8911-A3E8824262C3}"/>
              </a:ext>
            </a:extLst>
          </p:cNvPr>
          <p:cNvSpPr txBox="1"/>
          <p:nvPr/>
        </p:nvSpPr>
        <p:spPr>
          <a:xfrm>
            <a:off x="9015763" y="2623255"/>
            <a:ext cx="819455" cy="830997"/>
          </a:xfrm>
          <a:prstGeom prst="rect">
            <a:avLst/>
          </a:prstGeom>
          <a:noFill/>
        </p:spPr>
        <p:txBody>
          <a:bodyPr wrap="none" rtlCol="0" anchor="ctr" anchorCtr="0">
            <a:spAutoFit/>
          </a:bodyPr>
          <a:lstStyle/>
          <a:p>
            <a:pPr algn="ctr"/>
            <a:r>
              <a:rPr lang="en-US" sz="4800" b="1" dirty="0">
                <a:solidFill>
                  <a:schemeClr val="tx2"/>
                </a:solidFill>
                <a:latin typeface="Segoe UI Light" panose="020B0502040204020203" pitchFamily="34" charset="0"/>
                <a:ea typeface="League Spartan" charset="0"/>
                <a:cs typeface="Poppins" pitchFamily="2" charset="77"/>
              </a:rPr>
              <a:t>03</a:t>
            </a:r>
          </a:p>
        </p:txBody>
      </p:sp>
      <p:sp>
        <p:nvSpPr>
          <p:cNvPr id="19" name="Subtitle 2">
            <a:extLst>
              <a:ext uri="{FF2B5EF4-FFF2-40B4-BE49-F238E27FC236}">
                <a16:creationId xmlns:a16="http://schemas.microsoft.com/office/drawing/2014/main" id="{7A8F09CC-9108-DA43-BA34-4076A9AE3E1C}"/>
              </a:ext>
            </a:extLst>
          </p:cNvPr>
          <p:cNvSpPr txBox="1">
            <a:spLocks/>
          </p:cNvSpPr>
          <p:nvPr/>
        </p:nvSpPr>
        <p:spPr>
          <a:xfrm>
            <a:off x="1430973" y="4831247"/>
            <a:ext cx="2673510" cy="140827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 Cum sociis natoque penatibus et magnis dis parturient montes, nascetur ridiculus mus. </a:t>
            </a:r>
          </a:p>
        </p:txBody>
      </p:sp>
      <p:sp>
        <p:nvSpPr>
          <p:cNvPr id="20" name="TextBox 19">
            <a:extLst>
              <a:ext uri="{FF2B5EF4-FFF2-40B4-BE49-F238E27FC236}">
                <a16:creationId xmlns:a16="http://schemas.microsoft.com/office/drawing/2014/main" id="{822D3D93-CE20-D840-BE74-230E3DB50B90}"/>
              </a:ext>
            </a:extLst>
          </p:cNvPr>
          <p:cNvSpPr txBox="1"/>
          <p:nvPr/>
        </p:nvSpPr>
        <p:spPr>
          <a:xfrm>
            <a:off x="2165832" y="4450972"/>
            <a:ext cx="1203791" cy="338554"/>
          </a:xfrm>
          <a:prstGeom prst="rect">
            <a:avLst/>
          </a:prstGeom>
          <a:noFill/>
        </p:spPr>
        <p:txBody>
          <a:bodyPr wrap="none" rtlCol="0" anchor="ctr"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YOUR TITLE</a:t>
            </a:r>
          </a:p>
        </p:txBody>
      </p:sp>
      <p:sp>
        <p:nvSpPr>
          <p:cNvPr id="21" name="Subtitle 2">
            <a:extLst>
              <a:ext uri="{FF2B5EF4-FFF2-40B4-BE49-F238E27FC236}">
                <a16:creationId xmlns:a16="http://schemas.microsoft.com/office/drawing/2014/main" id="{965F1B71-940A-8549-ACD2-96FAF835A338}"/>
              </a:ext>
            </a:extLst>
          </p:cNvPr>
          <p:cNvSpPr txBox="1">
            <a:spLocks/>
          </p:cNvSpPr>
          <p:nvPr/>
        </p:nvSpPr>
        <p:spPr>
          <a:xfrm>
            <a:off x="4759246" y="4831247"/>
            <a:ext cx="2673510" cy="140827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 Cum sociis natoque penatibus et magnis dis parturient montes, nascetur ridiculus mus. </a:t>
            </a:r>
          </a:p>
        </p:txBody>
      </p:sp>
      <p:sp>
        <p:nvSpPr>
          <p:cNvPr id="22" name="TextBox 21">
            <a:extLst>
              <a:ext uri="{FF2B5EF4-FFF2-40B4-BE49-F238E27FC236}">
                <a16:creationId xmlns:a16="http://schemas.microsoft.com/office/drawing/2014/main" id="{9071F4D1-D874-074F-B261-D1A8E3EE9F1E}"/>
              </a:ext>
            </a:extLst>
          </p:cNvPr>
          <p:cNvSpPr txBox="1"/>
          <p:nvPr/>
        </p:nvSpPr>
        <p:spPr>
          <a:xfrm>
            <a:off x="5494105" y="4450972"/>
            <a:ext cx="1203791" cy="338554"/>
          </a:xfrm>
          <a:prstGeom prst="rect">
            <a:avLst/>
          </a:prstGeom>
          <a:noFill/>
        </p:spPr>
        <p:txBody>
          <a:bodyPr wrap="none" rtlCol="0" anchor="ctr"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YOUR TITLE</a:t>
            </a:r>
          </a:p>
        </p:txBody>
      </p:sp>
      <p:sp>
        <p:nvSpPr>
          <p:cNvPr id="23" name="Subtitle 2">
            <a:extLst>
              <a:ext uri="{FF2B5EF4-FFF2-40B4-BE49-F238E27FC236}">
                <a16:creationId xmlns:a16="http://schemas.microsoft.com/office/drawing/2014/main" id="{13CE7D0A-94DD-4A4A-A2F3-D4A292E2A90D}"/>
              </a:ext>
            </a:extLst>
          </p:cNvPr>
          <p:cNvSpPr txBox="1">
            <a:spLocks/>
          </p:cNvSpPr>
          <p:nvPr/>
        </p:nvSpPr>
        <p:spPr>
          <a:xfrm>
            <a:off x="8087518" y="4831247"/>
            <a:ext cx="2673510" cy="140827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 Cum sociis natoque penatibus et magnis dis parturient montes, nascetur ridiculus mus. </a:t>
            </a:r>
          </a:p>
        </p:txBody>
      </p:sp>
      <p:sp>
        <p:nvSpPr>
          <p:cNvPr id="24" name="TextBox 23">
            <a:extLst>
              <a:ext uri="{FF2B5EF4-FFF2-40B4-BE49-F238E27FC236}">
                <a16:creationId xmlns:a16="http://schemas.microsoft.com/office/drawing/2014/main" id="{5CDBEEE1-9B94-6643-A3F8-E1DAFC012E3F}"/>
              </a:ext>
            </a:extLst>
          </p:cNvPr>
          <p:cNvSpPr txBox="1"/>
          <p:nvPr/>
        </p:nvSpPr>
        <p:spPr>
          <a:xfrm>
            <a:off x="8822377" y="4450972"/>
            <a:ext cx="1203791" cy="338554"/>
          </a:xfrm>
          <a:prstGeom prst="rect">
            <a:avLst/>
          </a:prstGeom>
          <a:noFill/>
        </p:spPr>
        <p:txBody>
          <a:bodyPr wrap="none" rtlCol="0" anchor="ctr"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YOUR TITLE</a:t>
            </a:r>
          </a:p>
        </p:txBody>
      </p:sp>
      <p:sp>
        <p:nvSpPr>
          <p:cNvPr id="25" name="Titel 1">
            <a:extLst>
              <a:ext uri="{FF2B5EF4-FFF2-40B4-BE49-F238E27FC236}">
                <a16:creationId xmlns:a16="http://schemas.microsoft.com/office/drawing/2014/main" id="{E39E6691-8DE2-42EA-B425-8D9DBBBF2411}"/>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3 pie chart comparison</a:t>
            </a:r>
          </a:p>
        </p:txBody>
      </p:sp>
    </p:spTree>
    <p:custDataLst>
      <p:tags r:id="rId1"/>
    </p:custDataLst>
    <p:extLst>
      <p:ext uri="{BB962C8B-B14F-4D97-AF65-F5344CB8AC3E}">
        <p14:creationId xmlns:p14="http://schemas.microsoft.com/office/powerpoint/2010/main" val="42711782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017396B3-522A-D24F-9D8D-08FEE61E92EA}"/>
              </a:ext>
            </a:extLst>
          </p:cNvPr>
          <p:cNvSpPr/>
          <p:nvPr/>
        </p:nvSpPr>
        <p:spPr>
          <a:xfrm>
            <a:off x="1552014" y="1325880"/>
            <a:ext cx="2743200" cy="822960"/>
          </a:xfrm>
          <a:prstGeom prst="roundRect">
            <a:avLst>
              <a:gd name="adj" fmla="val 931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5" name="Rounded Rectangle 4">
            <a:extLst>
              <a:ext uri="{FF2B5EF4-FFF2-40B4-BE49-F238E27FC236}">
                <a16:creationId xmlns:a16="http://schemas.microsoft.com/office/drawing/2014/main" id="{11D8D546-E5E8-1940-AA10-5FDC3AFE78AE}"/>
              </a:ext>
            </a:extLst>
          </p:cNvPr>
          <p:cNvSpPr/>
          <p:nvPr/>
        </p:nvSpPr>
        <p:spPr>
          <a:xfrm>
            <a:off x="4399653" y="1325880"/>
            <a:ext cx="2020645" cy="822960"/>
          </a:xfrm>
          <a:prstGeom prst="roundRect">
            <a:avLst>
              <a:gd name="adj" fmla="val 931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6" name="Rounded Rectangle 5">
            <a:extLst>
              <a:ext uri="{FF2B5EF4-FFF2-40B4-BE49-F238E27FC236}">
                <a16:creationId xmlns:a16="http://schemas.microsoft.com/office/drawing/2014/main" id="{8660CCB2-52FA-A74C-9292-8339F0FCE02F}"/>
              </a:ext>
            </a:extLst>
          </p:cNvPr>
          <p:cNvSpPr/>
          <p:nvPr/>
        </p:nvSpPr>
        <p:spPr>
          <a:xfrm>
            <a:off x="6494257" y="1325880"/>
            <a:ext cx="2020645" cy="822960"/>
          </a:xfrm>
          <a:prstGeom prst="roundRect">
            <a:avLst>
              <a:gd name="adj" fmla="val 931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7" name="Rounded Rectangle 6">
            <a:extLst>
              <a:ext uri="{FF2B5EF4-FFF2-40B4-BE49-F238E27FC236}">
                <a16:creationId xmlns:a16="http://schemas.microsoft.com/office/drawing/2014/main" id="{114BF54D-DF59-E546-94EA-502915398C9C}"/>
              </a:ext>
            </a:extLst>
          </p:cNvPr>
          <p:cNvSpPr/>
          <p:nvPr/>
        </p:nvSpPr>
        <p:spPr>
          <a:xfrm>
            <a:off x="8588860" y="1325880"/>
            <a:ext cx="2020645" cy="822960"/>
          </a:xfrm>
          <a:prstGeom prst="roundRect">
            <a:avLst>
              <a:gd name="adj" fmla="val 931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9" name="Rounded Rectangle 8">
            <a:extLst>
              <a:ext uri="{FF2B5EF4-FFF2-40B4-BE49-F238E27FC236}">
                <a16:creationId xmlns:a16="http://schemas.microsoft.com/office/drawing/2014/main" id="{F13C77BB-F4B9-8F46-A755-D91BABA1AD4C}"/>
              </a:ext>
            </a:extLst>
          </p:cNvPr>
          <p:cNvSpPr/>
          <p:nvPr/>
        </p:nvSpPr>
        <p:spPr>
          <a:xfrm>
            <a:off x="1552014" y="2263163"/>
            <a:ext cx="2743200"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0" name="Rounded Rectangle 9">
            <a:extLst>
              <a:ext uri="{FF2B5EF4-FFF2-40B4-BE49-F238E27FC236}">
                <a16:creationId xmlns:a16="http://schemas.microsoft.com/office/drawing/2014/main" id="{B7D7062E-2295-3D42-8017-D441269F2D4D}"/>
              </a:ext>
            </a:extLst>
          </p:cNvPr>
          <p:cNvSpPr/>
          <p:nvPr/>
        </p:nvSpPr>
        <p:spPr>
          <a:xfrm>
            <a:off x="1552014" y="2965503"/>
            <a:ext cx="2743200" cy="630646"/>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1" name="Rounded Rectangle 10">
            <a:extLst>
              <a:ext uri="{FF2B5EF4-FFF2-40B4-BE49-F238E27FC236}">
                <a16:creationId xmlns:a16="http://schemas.microsoft.com/office/drawing/2014/main" id="{912D131E-A7CA-AC4E-ADBD-EA80CC7A2BA0}"/>
              </a:ext>
            </a:extLst>
          </p:cNvPr>
          <p:cNvSpPr/>
          <p:nvPr/>
        </p:nvSpPr>
        <p:spPr>
          <a:xfrm>
            <a:off x="1552014" y="3667843"/>
            <a:ext cx="2743200"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2" name="Rounded Rectangle 11">
            <a:extLst>
              <a:ext uri="{FF2B5EF4-FFF2-40B4-BE49-F238E27FC236}">
                <a16:creationId xmlns:a16="http://schemas.microsoft.com/office/drawing/2014/main" id="{6E602302-1EA4-CB43-8760-E11BF3641098}"/>
              </a:ext>
            </a:extLst>
          </p:cNvPr>
          <p:cNvSpPr/>
          <p:nvPr/>
        </p:nvSpPr>
        <p:spPr>
          <a:xfrm>
            <a:off x="1552014" y="4370183"/>
            <a:ext cx="2743200" cy="630646"/>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3" name="Rounded Rectangle 12">
            <a:extLst>
              <a:ext uri="{FF2B5EF4-FFF2-40B4-BE49-F238E27FC236}">
                <a16:creationId xmlns:a16="http://schemas.microsoft.com/office/drawing/2014/main" id="{30894CB0-FA7B-9146-B2C1-7209FFB55F6A}"/>
              </a:ext>
            </a:extLst>
          </p:cNvPr>
          <p:cNvSpPr/>
          <p:nvPr/>
        </p:nvSpPr>
        <p:spPr>
          <a:xfrm>
            <a:off x="1552014" y="5072523"/>
            <a:ext cx="2743200"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4" name="Rounded Rectangle 13">
            <a:extLst>
              <a:ext uri="{FF2B5EF4-FFF2-40B4-BE49-F238E27FC236}">
                <a16:creationId xmlns:a16="http://schemas.microsoft.com/office/drawing/2014/main" id="{F990AD62-78ED-734A-9911-489258BC2F39}"/>
              </a:ext>
            </a:extLst>
          </p:cNvPr>
          <p:cNvSpPr/>
          <p:nvPr/>
        </p:nvSpPr>
        <p:spPr>
          <a:xfrm>
            <a:off x="1552014" y="5777183"/>
            <a:ext cx="2743200" cy="630646"/>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5" name="Rounded Rectangle 14">
            <a:extLst>
              <a:ext uri="{FF2B5EF4-FFF2-40B4-BE49-F238E27FC236}">
                <a16:creationId xmlns:a16="http://schemas.microsoft.com/office/drawing/2014/main" id="{D21232D6-DE4B-3947-AFD3-2B08F49BEAFF}"/>
              </a:ext>
            </a:extLst>
          </p:cNvPr>
          <p:cNvSpPr/>
          <p:nvPr/>
        </p:nvSpPr>
        <p:spPr>
          <a:xfrm>
            <a:off x="4399653" y="2263163"/>
            <a:ext cx="2020645"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6" name="Rounded Rectangle 15">
            <a:extLst>
              <a:ext uri="{FF2B5EF4-FFF2-40B4-BE49-F238E27FC236}">
                <a16:creationId xmlns:a16="http://schemas.microsoft.com/office/drawing/2014/main" id="{3D00B010-90B9-DD44-A48C-B3F12D6B928A}"/>
              </a:ext>
            </a:extLst>
          </p:cNvPr>
          <p:cNvSpPr/>
          <p:nvPr/>
        </p:nvSpPr>
        <p:spPr>
          <a:xfrm>
            <a:off x="4399653" y="2965503"/>
            <a:ext cx="2020645" cy="630646"/>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7" name="Rounded Rectangle 16">
            <a:extLst>
              <a:ext uri="{FF2B5EF4-FFF2-40B4-BE49-F238E27FC236}">
                <a16:creationId xmlns:a16="http://schemas.microsoft.com/office/drawing/2014/main" id="{971D057F-85D4-B844-9020-81AEC888C7D2}"/>
              </a:ext>
            </a:extLst>
          </p:cNvPr>
          <p:cNvSpPr/>
          <p:nvPr/>
        </p:nvSpPr>
        <p:spPr>
          <a:xfrm>
            <a:off x="4399653" y="3667843"/>
            <a:ext cx="2020645"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8" name="Rounded Rectangle 17">
            <a:extLst>
              <a:ext uri="{FF2B5EF4-FFF2-40B4-BE49-F238E27FC236}">
                <a16:creationId xmlns:a16="http://schemas.microsoft.com/office/drawing/2014/main" id="{6DA00FD0-A3BD-B444-A9B2-AA38D54C33D9}"/>
              </a:ext>
            </a:extLst>
          </p:cNvPr>
          <p:cNvSpPr/>
          <p:nvPr/>
        </p:nvSpPr>
        <p:spPr>
          <a:xfrm>
            <a:off x="4399653" y="4370183"/>
            <a:ext cx="2020645" cy="630646"/>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9" name="Rounded Rectangle 18">
            <a:extLst>
              <a:ext uri="{FF2B5EF4-FFF2-40B4-BE49-F238E27FC236}">
                <a16:creationId xmlns:a16="http://schemas.microsoft.com/office/drawing/2014/main" id="{7419E6FE-117E-604C-9682-40C9BACD0543}"/>
              </a:ext>
            </a:extLst>
          </p:cNvPr>
          <p:cNvSpPr/>
          <p:nvPr/>
        </p:nvSpPr>
        <p:spPr>
          <a:xfrm>
            <a:off x="4399653" y="5072523"/>
            <a:ext cx="2020645"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0" name="Rounded Rectangle 19">
            <a:extLst>
              <a:ext uri="{FF2B5EF4-FFF2-40B4-BE49-F238E27FC236}">
                <a16:creationId xmlns:a16="http://schemas.microsoft.com/office/drawing/2014/main" id="{6AC802F6-F693-DA43-BF5C-72579D919C93}"/>
              </a:ext>
            </a:extLst>
          </p:cNvPr>
          <p:cNvSpPr/>
          <p:nvPr/>
        </p:nvSpPr>
        <p:spPr>
          <a:xfrm>
            <a:off x="4399653" y="5777183"/>
            <a:ext cx="2020645" cy="630646"/>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1" name="Rounded Rectangle 20">
            <a:extLst>
              <a:ext uri="{FF2B5EF4-FFF2-40B4-BE49-F238E27FC236}">
                <a16:creationId xmlns:a16="http://schemas.microsoft.com/office/drawing/2014/main" id="{272D56CC-8A43-D948-A347-20E02A9E0B0B}"/>
              </a:ext>
            </a:extLst>
          </p:cNvPr>
          <p:cNvSpPr/>
          <p:nvPr/>
        </p:nvSpPr>
        <p:spPr>
          <a:xfrm>
            <a:off x="6494257" y="2263163"/>
            <a:ext cx="2020645"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2" name="Rounded Rectangle 21">
            <a:extLst>
              <a:ext uri="{FF2B5EF4-FFF2-40B4-BE49-F238E27FC236}">
                <a16:creationId xmlns:a16="http://schemas.microsoft.com/office/drawing/2014/main" id="{0814596B-8E35-464B-B86E-99B684FE6E96}"/>
              </a:ext>
            </a:extLst>
          </p:cNvPr>
          <p:cNvSpPr/>
          <p:nvPr/>
        </p:nvSpPr>
        <p:spPr>
          <a:xfrm>
            <a:off x="6494257" y="2965503"/>
            <a:ext cx="2020645" cy="630646"/>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3" name="Rounded Rectangle 22">
            <a:extLst>
              <a:ext uri="{FF2B5EF4-FFF2-40B4-BE49-F238E27FC236}">
                <a16:creationId xmlns:a16="http://schemas.microsoft.com/office/drawing/2014/main" id="{07FACC4E-6926-0B4B-A9A1-9EEF668C80CE}"/>
              </a:ext>
            </a:extLst>
          </p:cNvPr>
          <p:cNvSpPr/>
          <p:nvPr/>
        </p:nvSpPr>
        <p:spPr>
          <a:xfrm>
            <a:off x="6494257" y="3667843"/>
            <a:ext cx="2020645"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4" name="Rounded Rectangle 23">
            <a:extLst>
              <a:ext uri="{FF2B5EF4-FFF2-40B4-BE49-F238E27FC236}">
                <a16:creationId xmlns:a16="http://schemas.microsoft.com/office/drawing/2014/main" id="{000CBE38-1409-384E-9E12-CB94CC3E3637}"/>
              </a:ext>
            </a:extLst>
          </p:cNvPr>
          <p:cNvSpPr/>
          <p:nvPr/>
        </p:nvSpPr>
        <p:spPr>
          <a:xfrm>
            <a:off x="6494257" y="4370183"/>
            <a:ext cx="2020645" cy="630646"/>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5" name="Rounded Rectangle 24">
            <a:extLst>
              <a:ext uri="{FF2B5EF4-FFF2-40B4-BE49-F238E27FC236}">
                <a16:creationId xmlns:a16="http://schemas.microsoft.com/office/drawing/2014/main" id="{04E1A905-467D-3448-8BCB-88E26AEFFECD}"/>
              </a:ext>
            </a:extLst>
          </p:cNvPr>
          <p:cNvSpPr/>
          <p:nvPr/>
        </p:nvSpPr>
        <p:spPr>
          <a:xfrm>
            <a:off x="6494257" y="5072523"/>
            <a:ext cx="2020645"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6" name="Rounded Rectangle 25">
            <a:extLst>
              <a:ext uri="{FF2B5EF4-FFF2-40B4-BE49-F238E27FC236}">
                <a16:creationId xmlns:a16="http://schemas.microsoft.com/office/drawing/2014/main" id="{66730554-5EFE-9941-ABFE-9F760E69571E}"/>
              </a:ext>
            </a:extLst>
          </p:cNvPr>
          <p:cNvSpPr/>
          <p:nvPr/>
        </p:nvSpPr>
        <p:spPr>
          <a:xfrm>
            <a:off x="6494257" y="5777183"/>
            <a:ext cx="2020645" cy="630646"/>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7" name="Rounded Rectangle 26">
            <a:extLst>
              <a:ext uri="{FF2B5EF4-FFF2-40B4-BE49-F238E27FC236}">
                <a16:creationId xmlns:a16="http://schemas.microsoft.com/office/drawing/2014/main" id="{3CE16CA3-2E00-EA48-AFAF-E19333D54223}"/>
              </a:ext>
            </a:extLst>
          </p:cNvPr>
          <p:cNvSpPr/>
          <p:nvPr/>
        </p:nvSpPr>
        <p:spPr>
          <a:xfrm>
            <a:off x="8588860" y="2263163"/>
            <a:ext cx="2020645"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8" name="Rounded Rectangle 27">
            <a:extLst>
              <a:ext uri="{FF2B5EF4-FFF2-40B4-BE49-F238E27FC236}">
                <a16:creationId xmlns:a16="http://schemas.microsoft.com/office/drawing/2014/main" id="{56379AB0-D11A-A74C-9BC1-65836CD877AE}"/>
              </a:ext>
            </a:extLst>
          </p:cNvPr>
          <p:cNvSpPr/>
          <p:nvPr/>
        </p:nvSpPr>
        <p:spPr>
          <a:xfrm>
            <a:off x="8588860" y="2965503"/>
            <a:ext cx="2020645" cy="630646"/>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9" name="Rounded Rectangle 28">
            <a:extLst>
              <a:ext uri="{FF2B5EF4-FFF2-40B4-BE49-F238E27FC236}">
                <a16:creationId xmlns:a16="http://schemas.microsoft.com/office/drawing/2014/main" id="{08B74CB5-A269-3441-983D-68A2ACFDC964}"/>
              </a:ext>
            </a:extLst>
          </p:cNvPr>
          <p:cNvSpPr/>
          <p:nvPr/>
        </p:nvSpPr>
        <p:spPr>
          <a:xfrm>
            <a:off x="8588860" y="3667843"/>
            <a:ext cx="2020645"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0" name="Rounded Rectangle 29">
            <a:extLst>
              <a:ext uri="{FF2B5EF4-FFF2-40B4-BE49-F238E27FC236}">
                <a16:creationId xmlns:a16="http://schemas.microsoft.com/office/drawing/2014/main" id="{5F81F303-D1A3-A54E-AC14-ECCCEA9D5F72}"/>
              </a:ext>
            </a:extLst>
          </p:cNvPr>
          <p:cNvSpPr/>
          <p:nvPr/>
        </p:nvSpPr>
        <p:spPr>
          <a:xfrm>
            <a:off x="8588860" y="4370183"/>
            <a:ext cx="2020645" cy="630646"/>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1" name="Rounded Rectangle 30">
            <a:extLst>
              <a:ext uri="{FF2B5EF4-FFF2-40B4-BE49-F238E27FC236}">
                <a16:creationId xmlns:a16="http://schemas.microsoft.com/office/drawing/2014/main" id="{D07A3BB1-170D-C040-AAB9-86D79B9CE6FF}"/>
              </a:ext>
            </a:extLst>
          </p:cNvPr>
          <p:cNvSpPr/>
          <p:nvPr/>
        </p:nvSpPr>
        <p:spPr>
          <a:xfrm>
            <a:off x="8588860" y="5072523"/>
            <a:ext cx="2020645"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2" name="Rounded Rectangle 31">
            <a:extLst>
              <a:ext uri="{FF2B5EF4-FFF2-40B4-BE49-F238E27FC236}">
                <a16:creationId xmlns:a16="http://schemas.microsoft.com/office/drawing/2014/main" id="{005682F9-55EB-7E47-AAC2-5C34E60B4606}"/>
              </a:ext>
            </a:extLst>
          </p:cNvPr>
          <p:cNvSpPr/>
          <p:nvPr/>
        </p:nvSpPr>
        <p:spPr>
          <a:xfrm>
            <a:off x="8588860" y="5777183"/>
            <a:ext cx="2020645" cy="630646"/>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3" name="TextBox 32">
            <a:extLst>
              <a:ext uri="{FF2B5EF4-FFF2-40B4-BE49-F238E27FC236}">
                <a16:creationId xmlns:a16="http://schemas.microsoft.com/office/drawing/2014/main" id="{F2D36B84-0463-2E43-8226-7B1EA3E60E20}"/>
              </a:ext>
            </a:extLst>
          </p:cNvPr>
          <p:cNvSpPr txBox="1"/>
          <p:nvPr/>
        </p:nvSpPr>
        <p:spPr>
          <a:xfrm>
            <a:off x="1927126" y="1568083"/>
            <a:ext cx="1992981" cy="338554"/>
          </a:xfrm>
          <a:prstGeom prst="rect">
            <a:avLst/>
          </a:prstGeom>
          <a:noFill/>
        </p:spPr>
        <p:txBody>
          <a:bodyPr wrap="none" rtlCol="0" anchor="ctr"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PRODUCT FEATURES</a:t>
            </a:r>
          </a:p>
        </p:txBody>
      </p:sp>
      <p:sp>
        <p:nvSpPr>
          <p:cNvPr id="34" name="TextBox 33">
            <a:extLst>
              <a:ext uri="{FF2B5EF4-FFF2-40B4-BE49-F238E27FC236}">
                <a16:creationId xmlns:a16="http://schemas.microsoft.com/office/drawing/2014/main" id="{824A3F85-12DA-A747-96A9-B60003C22F57}"/>
              </a:ext>
            </a:extLst>
          </p:cNvPr>
          <p:cNvSpPr txBox="1"/>
          <p:nvPr/>
        </p:nvSpPr>
        <p:spPr>
          <a:xfrm>
            <a:off x="4755791" y="1568083"/>
            <a:ext cx="1308371" cy="338554"/>
          </a:xfrm>
          <a:prstGeom prst="rect">
            <a:avLst/>
          </a:prstGeom>
          <a:noFill/>
        </p:spPr>
        <p:txBody>
          <a:bodyPr wrap="none" rtlCol="0" anchor="ctr"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PRODUCT 01</a:t>
            </a:r>
          </a:p>
        </p:txBody>
      </p:sp>
      <p:sp>
        <p:nvSpPr>
          <p:cNvPr id="35" name="TextBox 34">
            <a:extLst>
              <a:ext uri="{FF2B5EF4-FFF2-40B4-BE49-F238E27FC236}">
                <a16:creationId xmlns:a16="http://schemas.microsoft.com/office/drawing/2014/main" id="{5435D9C5-CB87-5944-9627-A3AB4D6155EC}"/>
              </a:ext>
            </a:extLst>
          </p:cNvPr>
          <p:cNvSpPr txBox="1"/>
          <p:nvPr/>
        </p:nvSpPr>
        <p:spPr>
          <a:xfrm>
            <a:off x="6834362" y="1568083"/>
            <a:ext cx="1340432" cy="338554"/>
          </a:xfrm>
          <a:prstGeom prst="rect">
            <a:avLst/>
          </a:prstGeom>
          <a:noFill/>
        </p:spPr>
        <p:txBody>
          <a:bodyPr wrap="none" rtlCol="0" anchor="ctr"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PRODUCT 02</a:t>
            </a:r>
          </a:p>
        </p:txBody>
      </p:sp>
      <p:sp>
        <p:nvSpPr>
          <p:cNvPr id="36" name="TextBox 35">
            <a:extLst>
              <a:ext uri="{FF2B5EF4-FFF2-40B4-BE49-F238E27FC236}">
                <a16:creationId xmlns:a16="http://schemas.microsoft.com/office/drawing/2014/main" id="{A7A116F2-A214-0D47-B7A4-069EB6B919ED}"/>
              </a:ext>
            </a:extLst>
          </p:cNvPr>
          <p:cNvSpPr txBox="1"/>
          <p:nvPr/>
        </p:nvSpPr>
        <p:spPr>
          <a:xfrm>
            <a:off x="8928966" y="1568083"/>
            <a:ext cx="1340432" cy="338554"/>
          </a:xfrm>
          <a:prstGeom prst="rect">
            <a:avLst/>
          </a:prstGeom>
          <a:noFill/>
        </p:spPr>
        <p:txBody>
          <a:bodyPr wrap="none" rtlCol="0" anchor="ctr"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PRODUCT 03</a:t>
            </a:r>
          </a:p>
        </p:txBody>
      </p:sp>
      <p:sp>
        <p:nvSpPr>
          <p:cNvPr id="37" name="Subtitle 2">
            <a:extLst>
              <a:ext uri="{FF2B5EF4-FFF2-40B4-BE49-F238E27FC236}">
                <a16:creationId xmlns:a16="http://schemas.microsoft.com/office/drawing/2014/main" id="{4D73E10D-B3B0-A544-909A-3EFE573E8150}"/>
              </a:ext>
            </a:extLst>
          </p:cNvPr>
          <p:cNvSpPr txBox="1">
            <a:spLocks/>
          </p:cNvSpPr>
          <p:nvPr/>
        </p:nvSpPr>
        <p:spPr>
          <a:xfrm>
            <a:off x="1613845" y="2338088"/>
            <a:ext cx="2619539"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lumMod val="50000"/>
                  </a:schemeClr>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enean commodo</a:t>
            </a:r>
          </a:p>
        </p:txBody>
      </p:sp>
      <p:sp>
        <p:nvSpPr>
          <p:cNvPr id="38" name="Subtitle 2">
            <a:extLst>
              <a:ext uri="{FF2B5EF4-FFF2-40B4-BE49-F238E27FC236}">
                <a16:creationId xmlns:a16="http://schemas.microsoft.com/office/drawing/2014/main" id="{E430BB84-DB6E-B04D-A96C-82CF9C7ED89E}"/>
              </a:ext>
            </a:extLst>
          </p:cNvPr>
          <p:cNvSpPr txBox="1">
            <a:spLocks/>
          </p:cNvSpPr>
          <p:nvPr/>
        </p:nvSpPr>
        <p:spPr>
          <a:xfrm>
            <a:off x="1613845" y="3040428"/>
            <a:ext cx="2619539"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lumMod val="50000"/>
                  </a:schemeClr>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enean commodo</a:t>
            </a:r>
          </a:p>
        </p:txBody>
      </p:sp>
      <p:sp>
        <p:nvSpPr>
          <p:cNvPr id="39" name="Subtitle 2">
            <a:extLst>
              <a:ext uri="{FF2B5EF4-FFF2-40B4-BE49-F238E27FC236}">
                <a16:creationId xmlns:a16="http://schemas.microsoft.com/office/drawing/2014/main" id="{0FA51979-7436-9440-83BC-4205EF1E7E5D}"/>
              </a:ext>
            </a:extLst>
          </p:cNvPr>
          <p:cNvSpPr txBox="1">
            <a:spLocks/>
          </p:cNvSpPr>
          <p:nvPr/>
        </p:nvSpPr>
        <p:spPr>
          <a:xfrm>
            <a:off x="1613845" y="3742768"/>
            <a:ext cx="2619539"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lumMod val="50000"/>
                  </a:schemeClr>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enean commodo</a:t>
            </a:r>
          </a:p>
        </p:txBody>
      </p:sp>
      <p:sp>
        <p:nvSpPr>
          <p:cNvPr id="40" name="Subtitle 2">
            <a:extLst>
              <a:ext uri="{FF2B5EF4-FFF2-40B4-BE49-F238E27FC236}">
                <a16:creationId xmlns:a16="http://schemas.microsoft.com/office/drawing/2014/main" id="{BA01B91A-0670-EB4B-93CC-AD185FEB97C8}"/>
              </a:ext>
            </a:extLst>
          </p:cNvPr>
          <p:cNvSpPr txBox="1">
            <a:spLocks/>
          </p:cNvSpPr>
          <p:nvPr/>
        </p:nvSpPr>
        <p:spPr>
          <a:xfrm>
            <a:off x="1613845" y="4445108"/>
            <a:ext cx="2619539"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lumMod val="50000"/>
                  </a:schemeClr>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enean commodo</a:t>
            </a:r>
          </a:p>
        </p:txBody>
      </p:sp>
      <p:sp>
        <p:nvSpPr>
          <p:cNvPr id="41" name="Subtitle 2">
            <a:extLst>
              <a:ext uri="{FF2B5EF4-FFF2-40B4-BE49-F238E27FC236}">
                <a16:creationId xmlns:a16="http://schemas.microsoft.com/office/drawing/2014/main" id="{4088832B-9053-3C44-A61F-68D4E61A8470}"/>
              </a:ext>
            </a:extLst>
          </p:cNvPr>
          <p:cNvSpPr txBox="1">
            <a:spLocks/>
          </p:cNvSpPr>
          <p:nvPr/>
        </p:nvSpPr>
        <p:spPr>
          <a:xfrm>
            <a:off x="1613845" y="5147448"/>
            <a:ext cx="2619539"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lumMod val="50000"/>
                  </a:schemeClr>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enean commodo</a:t>
            </a:r>
          </a:p>
        </p:txBody>
      </p:sp>
      <p:sp>
        <p:nvSpPr>
          <p:cNvPr id="42" name="Subtitle 2">
            <a:extLst>
              <a:ext uri="{FF2B5EF4-FFF2-40B4-BE49-F238E27FC236}">
                <a16:creationId xmlns:a16="http://schemas.microsoft.com/office/drawing/2014/main" id="{9F59ABA9-9289-B44E-8FFB-6DC72BB9E24F}"/>
              </a:ext>
            </a:extLst>
          </p:cNvPr>
          <p:cNvSpPr txBox="1">
            <a:spLocks/>
          </p:cNvSpPr>
          <p:nvPr/>
        </p:nvSpPr>
        <p:spPr>
          <a:xfrm>
            <a:off x="1613845" y="5852108"/>
            <a:ext cx="2619539" cy="484941"/>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lumMod val="50000"/>
                  </a:schemeClr>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enean commodo</a:t>
            </a:r>
          </a:p>
        </p:txBody>
      </p:sp>
      <p:sp>
        <p:nvSpPr>
          <p:cNvPr id="43" name="Freeform 1">
            <a:extLst>
              <a:ext uri="{FF2B5EF4-FFF2-40B4-BE49-F238E27FC236}">
                <a16:creationId xmlns:a16="http://schemas.microsoft.com/office/drawing/2014/main" id="{8DDB3BAA-84FA-1340-A193-3FBA6FF79B39}"/>
              </a:ext>
            </a:extLst>
          </p:cNvPr>
          <p:cNvSpPr>
            <a:spLocks noChangeArrowheads="1"/>
          </p:cNvSpPr>
          <p:nvPr/>
        </p:nvSpPr>
        <p:spPr bwMode="auto">
          <a:xfrm>
            <a:off x="5178380" y="2395683"/>
            <a:ext cx="463191" cy="36285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endParaRPr lang="en-US" sz="900" dirty="0">
              <a:latin typeface="Lato Light" panose="020F0502020204030203" pitchFamily="34" charset="0"/>
            </a:endParaRPr>
          </a:p>
        </p:txBody>
      </p:sp>
      <p:sp>
        <p:nvSpPr>
          <p:cNvPr id="46" name="Freeform 45">
            <a:extLst>
              <a:ext uri="{FF2B5EF4-FFF2-40B4-BE49-F238E27FC236}">
                <a16:creationId xmlns:a16="http://schemas.microsoft.com/office/drawing/2014/main" id="{278691BA-8760-B44A-ABDE-D387C834B112}"/>
              </a:ext>
            </a:extLst>
          </p:cNvPr>
          <p:cNvSpPr>
            <a:spLocks noChangeArrowheads="1"/>
          </p:cNvSpPr>
          <p:nvPr/>
        </p:nvSpPr>
        <p:spPr bwMode="auto">
          <a:xfrm>
            <a:off x="5241844" y="5226067"/>
            <a:ext cx="336263" cy="335882"/>
          </a:xfrm>
          <a:custGeom>
            <a:avLst/>
            <a:gdLst>
              <a:gd name="connsiteX0" fmla="*/ 92404 w 672526"/>
              <a:gd name="connsiteY0" fmla="*/ 0 h 671763"/>
              <a:gd name="connsiteX1" fmla="*/ 157940 w 672526"/>
              <a:gd name="connsiteY1" fmla="*/ 26977 h 671763"/>
              <a:gd name="connsiteX2" fmla="*/ 336263 w 672526"/>
              <a:gd name="connsiteY2" fmla="*/ 205079 h 671763"/>
              <a:gd name="connsiteX3" fmla="*/ 514585 w 672526"/>
              <a:gd name="connsiteY3" fmla="*/ 26977 h 671763"/>
              <a:gd name="connsiteX4" fmla="*/ 645526 w 672526"/>
              <a:gd name="connsiteY4" fmla="*/ 26977 h 671763"/>
              <a:gd name="connsiteX5" fmla="*/ 645526 w 672526"/>
              <a:gd name="connsiteY5" fmla="*/ 157803 h 671763"/>
              <a:gd name="connsiteX6" fmla="*/ 467227 w 672526"/>
              <a:gd name="connsiteY6" fmla="*/ 335882 h 671763"/>
              <a:gd name="connsiteX7" fmla="*/ 645526 w 672526"/>
              <a:gd name="connsiteY7" fmla="*/ 513961 h 671763"/>
              <a:gd name="connsiteX8" fmla="*/ 645526 w 672526"/>
              <a:gd name="connsiteY8" fmla="*/ 644787 h 671763"/>
              <a:gd name="connsiteX9" fmla="*/ 514585 w 672526"/>
              <a:gd name="connsiteY9" fmla="*/ 644787 h 671763"/>
              <a:gd name="connsiteX10" fmla="*/ 336263 w 672526"/>
              <a:gd name="connsiteY10" fmla="*/ 466685 h 671763"/>
              <a:gd name="connsiteX11" fmla="*/ 157940 w 672526"/>
              <a:gd name="connsiteY11" fmla="*/ 644787 h 671763"/>
              <a:gd name="connsiteX12" fmla="*/ 27000 w 672526"/>
              <a:gd name="connsiteY12" fmla="*/ 644787 h 671763"/>
              <a:gd name="connsiteX13" fmla="*/ 27000 w 672526"/>
              <a:gd name="connsiteY13" fmla="*/ 513961 h 671763"/>
              <a:gd name="connsiteX14" fmla="*/ 205299 w 672526"/>
              <a:gd name="connsiteY14" fmla="*/ 335882 h 671763"/>
              <a:gd name="connsiteX15" fmla="*/ 27000 w 672526"/>
              <a:gd name="connsiteY15" fmla="*/ 157803 h 671763"/>
              <a:gd name="connsiteX16" fmla="*/ 27000 w 672526"/>
              <a:gd name="connsiteY16" fmla="*/ 26977 h 671763"/>
              <a:gd name="connsiteX17" fmla="*/ 92404 w 672526"/>
              <a:gd name="connsiteY17" fmla="*/ 0 h 67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2526" h="671763">
                <a:moveTo>
                  <a:pt x="92404" y="0"/>
                </a:moveTo>
                <a:cubicBezTo>
                  <a:pt x="116117" y="0"/>
                  <a:pt x="139852" y="8993"/>
                  <a:pt x="157940" y="26977"/>
                </a:cubicBezTo>
                <a:lnTo>
                  <a:pt x="336263" y="205079"/>
                </a:lnTo>
                <a:lnTo>
                  <a:pt x="514585" y="26977"/>
                </a:lnTo>
                <a:cubicBezTo>
                  <a:pt x="550585" y="-8992"/>
                  <a:pt x="609526" y="-8992"/>
                  <a:pt x="645526" y="26977"/>
                </a:cubicBezTo>
                <a:cubicBezTo>
                  <a:pt x="681526" y="62945"/>
                  <a:pt x="681526" y="121658"/>
                  <a:pt x="645526" y="157803"/>
                </a:cubicBezTo>
                <a:lnTo>
                  <a:pt x="467227" y="335882"/>
                </a:lnTo>
                <a:lnTo>
                  <a:pt x="645526" y="513961"/>
                </a:lnTo>
                <a:cubicBezTo>
                  <a:pt x="681526" y="549930"/>
                  <a:pt x="681526" y="608819"/>
                  <a:pt x="645526" y="644787"/>
                </a:cubicBezTo>
                <a:cubicBezTo>
                  <a:pt x="609526" y="680756"/>
                  <a:pt x="550585" y="680756"/>
                  <a:pt x="514585" y="644787"/>
                </a:cubicBezTo>
                <a:lnTo>
                  <a:pt x="336263" y="466685"/>
                </a:lnTo>
                <a:lnTo>
                  <a:pt x="157940" y="644787"/>
                </a:lnTo>
                <a:cubicBezTo>
                  <a:pt x="121764" y="680756"/>
                  <a:pt x="63000" y="680756"/>
                  <a:pt x="27000" y="644787"/>
                </a:cubicBezTo>
                <a:cubicBezTo>
                  <a:pt x="-9000" y="608819"/>
                  <a:pt x="-9000" y="549930"/>
                  <a:pt x="27000" y="513961"/>
                </a:cubicBezTo>
                <a:lnTo>
                  <a:pt x="205299" y="335882"/>
                </a:lnTo>
                <a:lnTo>
                  <a:pt x="27000" y="157803"/>
                </a:lnTo>
                <a:cubicBezTo>
                  <a:pt x="-9000" y="121658"/>
                  <a:pt x="-9000" y="62945"/>
                  <a:pt x="27000" y="26977"/>
                </a:cubicBezTo>
                <a:cubicBezTo>
                  <a:pt x="45000" y="8993"/>
                  <a:pt x="68691" y="0"/>
                  <a:pt x="92404" y="0"/>
                </a:cubicBezTo>
                <a:close/>
              </a:path>
            </a:pathLst>
          </a:custGeom>
          <a:solidFill>
            <a:srgbClr val="C00000"/>
          </a:solidFill>
          <a:ln>
            <a:noFill/>
          </a:ln>
          <a:effectLst/>
        </p:spPr>
        <p:txBody>
          <a:bodyPr wrap="square" anchor="ctr">
            <a:noAutofit/>
          </a:bodyPr>
          <a:lstStyle/>
          <a:p>
            <a:endParaRPr lang="en-US" sz="900" dirty="0">
              <a:latin typeface="Lato Light" panose="020F0502020204030203" pitchFamily="34" charset="0"/>
            </a:endParaRPr>
          </a:p>
        </p:txBody>
      </p:sp>
      <p:sp>
        <p:nvSpPr>
          <p:cNvPr id="47" name="Freeform 1">
            <a:extLst>
              <a:ext uri="{FF2B5EF4-FFF2-40B4-BE49-F238E27FC236}">
                <a16:creationId xmlns:a16="http://schemas.microsoft.com/office/drawing/2014/main" id="{66AFB5EB-0ABF-4C4F-B184-3D3DACFC88D6}"/>
              </a:ext>
            </a:extLst>
          </p:cNvPr>
          <p:cNvSpPr>
            <a:spLocks noChangeArrowheads="1"/>
          </p:cNvSpPr>
          <p:nvPr/>
        </p:nvSpPr>
        <p:spPr bwMode="auto">
          <a:xfrm>
            <a:off x="5178380" y="3091605"/>
            <a:ext cx="463191" cy="36285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endParaRPr lang="en-US" sz="900" dirty="0">
              <a:latin typeface="Lato Light" panose="020F0502020204030203" pitchFamily="34" charset="0"/>
            </a:endParaRPr>
          </a:p>
        </p:txBody>
      </p:sp>
      <p:sp>
        <p:nvSpPr>
          <p:cNvPr id="48" name="Freeform 1">
            <a:extLst>
              <a:ext uri="{FF2B5EF4-FFF2-40B4-BE49-F238E27FC236}">
                <a16:creationId xmlns:a16="http://schemas.microsoft.com/office/drawing/2014/main" id="{E0238BCD-5617-784E-8673-4DD241BFED66}"/>
              </a:ext>
            </a:extLst>
          </p:cNvPr>
          <p:cNvSpPr>
            <a:spLocks noChangeArrowheads="1"/>
          </p:cNvSpPr>
          <p:nvPr/>
        </p:nvSpPr>
        <p:spPr bwMode="auto">
          <a:xfrm>
            <a:off x="5178380" y="3807902"/>
            <a:ext cx="463191" cy="36285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endParaRPr lang="en-US" sz="900" dirty="0">
              <a:latin typeface="Lato Light" panose="020F0502020204030203" pitchFamily="34" charset="0"/>
            </a:endParaRPr>
          </a:p>
        </p:txBody>
      </p:sp>
      <p:sp>
        <p:nvSpPr>
          <p:cNvPr id="49" name="Freeform 1">
            <a:extLst>
              <a:ext uri="{FF2B5EF4-FFF2-40B4-BE49-F238E27FC236}">
                <a16:creationId xmlns:a16="http://schemas.microsoft.com/office/drawing/2014/main" id="{196EF0A7-68C3-B844-A35F-FF9922859137}"/>
              </a:ext>
            </a:extLst>
          </p:cNvPr>
          <p:cNvSpPr>
            <a:spLocks noChangeArrowheads="1"/>
          </p:cNvSpPr>
          <p:nvPr/>
        </p:nvSpPr>
        <p:spPr bwMode="auto">
          <a:xfrm>
            <a:off x="5178380" y="4510242"/>
            <a:ext cx="463191" cy="36285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endParaRPr lang="en-US" sz="900" dirty="0">
              <a:latin typeface="Lato Light" panose="020F0502020204030203" pitchFamily="34" charset="0"/>
            </a:endParaRPr>
          </a:p>
        </p:txBody>
      </p:sp>
      <p:sp>
        <p:nvSpPr>
          <p:cNvPr id="50" name="Freeform 49">
            <a:extLst>
              <a:ext uri="{FF2B5EF4-FFF2-40B4-BE49-F238E27FC236}">
                <a16:creationId xmlns:a16="http://schemas.microsoft.com/office/drawing/2014/main" id="{731046C5-0152-024A-95B5-4C7C743A1F65}"/>
              </a:ext>
            </a:extLst>
          </p:cNvPr>
          <p:cNvSpPr>
            <a:spLocks noChangeArrowheads="1"/>
          </p:cNvSpPr>
          <p:nvPr/>
        </p:nvSpPr>
        <p:spPr bwMode="auto">
          <a:xfrm>
            <a:off x="5241844" y="5930727"/>
            <a:ext cx="336263" cy="335882"/>
          </a:xfrm>
          <a:custGeom>
            <a:avLst/>
            <a:gdLst>
              <a:gd name="connsiteX0" fmla="*/ 92404 w 672526"/>
              <a:gd name="connsiteY0" fmla="*/ 0 h 671763"/>
              <a:gd name="connsiteX1" fmla="*/ 157940 w 672526"/>
              <a:gd name="connsiteY1" fmla="*/ 26977 h 671763"/>
              <a:gd name="connsiteX2" fmla="*/ 336263 w 672526"/>
              <a:gd name="connsiteY2" fmla="*/ 205079 h 671763"/>
              <a:gd name="connsiteX3" fmla="*/ 514585 w 672526"/>
              <a:gd name="connsiteY3" fmla="*/ 26977 h 671763"/>
              <a:gd name="connsiteX4" fmla="*/ 645526 w 672526"/>
              <a:gd name="connsiteY4" fmla="*/ 26977 h 671763"/>
              <a:gd name="connsiteX5" fmla="*/ 645526 w 672526"/>
              <a:gd name="connsiteY5" fmla="*/ 157803 h 671763"/>
              <a:gd name="connsiteX6" fmla="*/ 467227 w 672526"/>
              <a:gd name="connsiteY6" fmla="*/ 335882 h 671763"/>
              <a:gd name="connsiteX7" fmla="*/ 645526 w 672526"/>
              <a:gd name="connsiteY7" fmla="*/ 513961 h 671763"/>
              <a:gd name="connsiteX8" fmla="*/ 645526 w 672526"/>
              <a:gd name="connsiteY8" fmla="*/ 644787 h 671763"/>
              <a:gd name="connsiteX9" fmla="*/ 514585 w 672526"/>
              <a:gd name="connsiteY9" fmla="*/ 644787 h 671763"/>
              <a:gd name="connsiteX10" fmla="*/ 336263 w 672526"/>
              <a:gd name="connsiteY10" fmla="*/ 466685 h 671763"/>
              <a:gd name="connsiteX11" fmla="*/ 157940 w 672526"/>
              <a:gd name="connsiteY11" fmla="*/ 644787 h 671763"/>
              <a:gd name="connsiteX12" fmla="*/ 27000 w 672526"/>
              <a:gd name="connsiteY12" fmla="*/ 644787 h 671763"/>
              <a:gd name="connsiteX13" fmla="*/ 27000 w 672526"/>
              <a:gd name="connsiteY13" fmla="*/ 513961 h 671763"/>
              <a:gd name="connsiteX14" fmla="*/ 205299 w 672526"/>
              <a:gd name="connsiteY14" fmla="*/ 335882 h 671763"/>
              <a:gd name="connsiteX15" fmla="*/ 27000 w 672526"/>
              <a:gd name="connsiteY15" fmla="*/ 157803 h 671763"/>
              <a:gd name="connsiteX16" fmla="*/ 27000 w 672526"/>
              <a:gd name="connsiteY16" fmla="*/ 26977 h 671763"/>
              <a:gd name="connsiteX17" fmla="*/ 92404 w 672526"/>
              <a:gd name="connsiteY17" fmla="*/ 0 h 67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2526" h="671763">
                <a:moveTo>
                  <a:pt x="92404" y="0"/>
                </a:moveTo>
                <a:cubicBezTo>
                  <a:pt x="116117" y="0"/>
                  <a:pt x="139852" y="8993"/>
                  <a:pt x="157940" y="26977"/>
                </a:cubicBezTo>
                <a:lnTo>
                  <a:pt x="336263" y="205079"/>
                </a:lnTo>
                <a:lnTo>
                  <a:pt x="514585" y="26977"/>
                </a:lnTo>
                <a:cubicBezTo>
                  <a:pt x="550585" y="-8992"/>
                  <a:pt x="609526" y="-8992"/>
                  <a:pt x="645526" y="26977"/>
                </a:cubicBezTo>
                <a:cubicBezTo>
                  <a:pt x="681526" y="62945"/>
                  <a:pt x="681526" y="121658"/>
                  <a:pt x="645526" y="157803"/>
                </a:cubicBezTo>
                <a:lnTo>
                  <a:pt x="467227" y="335882"/>
                </a:lnTo>
                <a:lnTo>
                  <a:pt x="645526" y="513961"/>
                </a:lnTo>
                <a:cubicBezTo>
                  <a:pt x="681526" y="549930"/>
                  <a:pt x="681526" y="608819"/>
                  <a:pt x="645526" y="644787"/>
                </a:cubicBezTo>
                <a:cubicBezTo>
                  <a:pt x="609526" y="680756"/>
                  <a:pt x="550585" y="680756"/>
                  <a:pt x="514585" y="644787"/>
                </a:cubicBezTo>
                <a:lnTo>
                  <a:pt x="336263" y="466685"/>
                </a:lnTo>
                <a:lnTo>
                  <a:pt x="157940" y="644787"/>
                </a:lnTo>
                <a:cubicBezTo>
                  <a:pt x="121764" y="680756"/>
                  <a:pt x="63000" y="680756"/>
                  <a:pt x="27000" y="644787"/>
                </a:cubicBezTo>
                <a:cubicBezTo>
                  <a:pt x="-9000" y="608819"/>
                  <a:pt x="-9000" y="549930"/>
                  <a:pt x="27000" y="513961"/>
                </a:cubicBezTo>
                <a:lnTo>
                  <a:pt x="205299" y="335882"/>
                </a:lnTo>
                <a:lnTo>
                  <a:pt x="27000" y="157803"/>
                </a:lnTo>
                <a:cubicBezTo>
                  <a:pt x="-9000" y="121658"/>
                  <a:pt x="-9000" y="62945"/>
                  <a:pt x="27000" y="26977"/>
                </a:cubicBezTo>
                <a:cubicBezTo>
                  <a:pt x="45000" y="8993"/>
                  <a:pt x="68691" y="0"/>
                  <a:pt x="92404" y="0"/>
                </a:cubicBezTo>
                <a:close/>
              </a:path>
            </a:pathLst>
          </a:custGeom>
          <a:solidFill>
            <a:srgbClr val="C00000"/>
          </a:solidFill>
          <a:ln>
            <a:noFill/>
          </a:ln>
          <a:effectLst/>
        </p:spPr>
        <p:txBody>
          <a:bodyPr wrap="square" anchor="ctr">
            <a:noAutofit/>
          </a:bodyPr>
          <a:lstStyle/>
          <a:p>
            <a:endParaRPr lang="en-US" sz="900" dirty="0">
              <a:latin typeface="Lato Light" panose="020F0502020204030203" pitchFamily="34" charset="0"/>
            </a:endParaRPr>
          </a:p>
        </p:txBody>
      </p:sp>
      <p:sp>
        <p:nvSpPr>
          <p:cNvPr id="51" name="Freeform 1">
            <a:extLst>
              <a:ext uri="{FF2B5EF4-FFF2-40B4-BE49-F238E27FC236}">
                <a16:creationId xmlns:a16="http://schemas.microsoft.com/office/drawing/2014/main" id="{1A931DE4-A6C7-F247-87A6-CE64C0F33A4E}"/>
              </a:ext>
            </a:extLst>
          </p:cNvPr>
          <p:cNvSpPr>
            <a:spLocks noChangeArrowheads="1"/>
          </p:cNvSpPr>
          <p:nvPr/>
        </p:nvSpPr>
        <p:spPr bwMode="auto">
          <a:xfrm>
            <a:off x="7273741" y="2395683"/>
            <a:ext cx="463191" cy="36285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endParaRPr lang="en-US" sz="900" dirty="0">
              <a:latin typeface="Lato Light" panose="020F0502020204030203" pitchFamily="34" charset="0"/>
            </a:endParaRPr>
          </a:p>
        </p:txBody>
      </p:sp>
      <p:sp>
        <p:nvSpPr>
          <p:cNvPr id="54" name="Freeform 1">
            <a:extLst>
              <a:ext uri="{FF2B5EF4-FFF2-40B4-BE49-F238E27FC236}">
                <a16:creationId xmlns:a16="http://schemas.microsoft.com/office/drawing/2014/main" id="{D7BD2A85-4640-064A-B5D3-10914B0D3422}"/>
              </a:ext>
            </a:extLst>
          </p:cNvPr>
          <p:cNvSpPr>
            <a:spLocks noChangeArrowheads="1"/>
          </p:cNvSpPr>
          <p:nvPr/>
        </p:nvSpPr>
        <p:spPr bwMode="auto">
          <a:xfrm>
            <a:off x="7273741" y="3807902"/>
            <a:ext cx="463191" cy="36285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endParaRPr lang="en-US" sz="900" dirty="0">
              <a:latin typeface="Lato Light" panose="020F0502020204030203" pitchFamily="34" charset="0"/>
            </a:endParaRPr>
          </a:p>
        </p:txBody>
      </p:sp>
      <p:sp>
        <p:nvSpPr>
          <p:cNvPr id="56" name="Freeform 55">
            <a:extLst>
              <a:ext uri="{FF2B5EF4-FFF2-40B4-BE49-F238E27FC236}">
                <a16:creationId xmlns:a16="http://schemas.microsoft.com/office/drawing/2014/main" id="{E957022F-11C5-2141-A54C-EB8737F9DE84}"/>
              </a:ext>
            </a:extLst>
          </p:cNvPr>
          <p:cNvSpPr>
            <a:spLocks noChangeArrowheads="1"/>
          </p:cNvSpPr>
          <p:nvPr/>
        </p:nvSpPr>
        <p:spPr bwMode="auto">
          <a:xfrm>
            <a:off x="7337205" y="5930727"/>
            <a:ext cx="336263" cy="335882"/>
          </a:xfrm>
          <a:custGeom>
            <a:avLst/>
            <a:gdLst>
              <a:gd name="connsiteX0" fmla="*/ 92404 w 672526"/>
              <a:gd name="connsiteY0" fmla="*/ 0 h 671763"/>
              <a:gd name="connsiteX1" fmla="*/ 157940 w 672526"/>
              <a:gd name="connsiteY1" fmla="*/ 26977 h 671763"/>
              <a:gd name="connsiteX2" fmla="*/ 336263 w 672526"/>
              <a:gd name="connsiteY2" fmla="*/ 205079 h 671763"/>
              <a:gd name="connsiteX3" fmla="*/ 514585 w 672526"/>
              <a:gd name="connsiteY3" fmla="*/ 26977 h 671763"/>
              <a:gd name="connsiteX4" fmla="*/ 645526 w 672526"/>
              <a:gd name="connsiteY4" fmla="*/ 26977 h 671763"/>
              <a:gd name="connsiteX5" fmla="*/ 645526 w 672526"/>
              <a:gd name="connsiteY5" fmla="*/ 157803 h 671763"/>
              <a:gd name="connsiteX6" fmla="*/ 467227 w 672526"/>
              <a:gd name="connsiteY6" fmla="*/ 335882 h 671763"/>
              <a:gd name="connsiteX7" fmla="*/ 645526 w 672526"/>
              <a:gd name="connsiteY7" fmla="*/ 513961 h 671763"/>
              <a:gd name="connsiteX8" fmla="*/ 645526 w 672526"/>
              <a:gd name="connsiteY8" fmla="*/ 644787 h 671763"/>
              <a:gd name="connsiteX9" fmla="*/ 514585 w 672526"/>
              <a:gd name="connsiteY9" fmla="*/ 644787 h 671763"/>
              <a:gd name="connsiteX10" fmla="*/ 336263 w 672526"/>
              <a:gd name="connsiteY10" fmla="*/ 466685 h 671763"/>
              <a:gd name="connsiteX11" fmla="*/ 157940 w 672526"/>
              <a:gd name="connsiteY11" fmla="*/ 644787 h 671763"/>
              <a:gd name="connsiteX12" fmla="*/ 27000 w 672526"/>
              <a:gd name="connsiteY12" fmla="*/ 644787 h 671763"/>
              <a:gd name="connsiteX13" fmla="*/ 27000 w 672526"/>
              <a:gd name="connsiteY13" fmla="*/ 513961 h 671763"/>
              <a:gd name="connsiteX14" fmla="*/ 205299 w 672526"/>
              <a:gd name="connsiteY14" fmla="*/ 335882 h 671763"/>
              <a:gd name="connsiteX15" fmla="*/ 27000 w 672526"/>
              <a:gd name="connsiteY15" fmla="*/ 157803 h 671763"/>
              <a:gd name="connsiteX16" fmla="*/ 27000 w 672526"/>
              <a:gd name="connsiteY16" fmla="*/ 26977 h 671763"/>
              <a:gd name="connsiteX17" fmla="*/ 92404 w 672526"/>
              <a:gd name="connsiteY17" fmla="*/ 0 h 67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2526" h="671763">
                <a:moveTo>
                  <a:pt x="92404" y="0"/>
                </a:moveTo>
                <a:cubicBezTo>
                  <a:pt x="116117" y="0"/>
                  <a:pt x="139852" y="8993"/>
                  <a:pt x="157940" y="26977"/>
                </a:cubicBezTo>
                <a:lnTo>
                  <a:pt x="336263" y="205079"/>
                </a:lnTo>
                <a:lnTo>
                  <a:pt x="514585" y="26977"/>
                </a:lnTo>
                <a:cubicBezTo>
                  <a:pt x="550585" y="-8992"/>
                  <a:pt x="609526" y="-8992"/>
                  <a:pt x="645526" y="26977"/>
                </a:cubicBezTo>
                <a:cubicBezTo>
                  <a:pt x="681526" y="62945"/>
                  <a:pt x="681526" y="121658"/>
                  <a:pt x="645526" y="157803"/>
                </a:cubicBezTo>
                <a:lnTo>
                  <a:pt x="467227" y="335882"/>
                </a:lnTo>
                <a:lnTo>
                  <a:pt x="645526" y="513961"/>
                </a:lnTo>
                <a:cubicBezTo>
                  <a:pt x="681526" y="549930"/>
                  <a:pt x="681526" y="608819"/>
                  <a:pt x="645526" y="644787"/>
                </a:cubicBezTo>
                <a:cubicBezTo>
                  <a:pt x="609526" y="680756"/>
                  <a:pt x="550585" y="680756"/>
                  <a:pt x="514585" y="644787"/>
                </a:cubicBezTo>
                <a:lnTo>
                  <a:pt x="336263" y="466685"/>
                </a:lnTo>
                <a:lnTo>
                  <a:pt x="157940" y="644787"/>
                </a:lnTo>
                <a:cubicBezTo>
                  <a:pt x="121764" y="680756"/>
                  <a:pt x="63000" y="680756"/>
                  <a:pt x="27000" y="644787"/>
                </a:cubicBezTo>
                <a:cubicBezTo>
                  <a:pt x="-9000" y="608819"/>
                  <a:pt x="-9000" y="549930"/>
                  <a:pt x="27000" y="513961"/>
                </a:cubicBezTo>
                <a:lnTo>
                  <a:pt x="205299" y="335882"/>
                </a:lnTo>
                <a:lnTo>
                  <a:pt x="27000" y="157803"/>
                </a:lnTo>
                <a:cubicBezTo>
                  <a:pt x="-9000" y="121658"/>
                  <a:pt x="-9000" y="62945"/>
                  <a:pt x="27000" y="26977"/>
                </a:cubicBezTo>
                <a:cubicBezTo>
                  <a:pt x="45000" y="8993"/>
                  <a:pt x="68691" y="0"/>
                  <a:pt x="92404" y="0"/>
                </a:cubicBezTo>
                <a:close/>
              </a:path>
            </a:pathLst>
          </a:custGeom>
          <a:solidFill>
            <a:srgbClr val="C00000"/>
          </a:solidFill>
          <a:ln>
            <a:noFill/>
          </a:ln>
          <a:effectLst/>
        </p:spPr>
        <p:txBody>
          <a:bodyPr wrap="square" anchor="ctr">
            <a:noAutofit/>
          </a:bodyPr>
          <a:lstStyle/>
          <a:p>
            <a:endParaRPr lang="en-US" sz="900" dirty="0">
              <a:latin typeface="Lato Light" panose="020F0502020204030203" pitchFamily="34" charset="0"/>
            </a:endParaRPr>
          </a:p>
        </p:txBody>
      </p:sp>
      <p:sp>
        <p:nvSpPr>
          <p:cNvPr id="57" name="Freeform 56">
            <a:extLst>
              <a:ext uri="{FF2B5EF4-FFF2-40B4-BE49-F238E27FC236}">
                <a16:creationId xmlns:a16="http://schemas.microsoft.com/office/drawing/2014/main" id="{AD238199-2ABE-0B44-AAC9-F4258C24C80C}"/>
              </a:ext>
            </a:extLst>
          </p:cNvPr>
          <p:cNvSpPr>
            <a:spLocks noChangeArrowheads="1"/>
          </p:cNvSpPr>
          <p:nvPr/>
        </p:nvSpPr>
        <p:spPr bwMode="auto">
          <a:xfrm>
            <a:off x="7337205" y="4523727"/>
            <a:ext cx="336263" cy="335882"/>
          </a:xfrm>
          <a:custGeom>
            <a:avLst/>
            <a:gdLst>
              <a:gd name="connsiteX0" fmla="*/ 92404 w 672526"/>
              <a:gd name="connsiteY0" fmla="*/ 0 h 671763"/>
              <a:gd name="connsiteX1" fmla="*/ 157940 w 672526"/>
              <a:gd name="connsiteY1" fmla="*/ 26977 h 671763"/>
              <a:gd name="connsiteX2" fmla="*/ 336263 w 672526"/>
              <a:gd name="connsiteY2" fmla="*/ 205079 h 671763"/>
              <a:gd name="connsiteX3" fmla="*/ 514585 w 672526"/>
              <a:gd name="connsiteY3" fmla="*/ 26977 h 671763"/>
              <a:gd name="connsiteX4" fmla="*/ 645526 w 672526"/>
              <a:gd name="connsiteY4" fmla="*/ 26977 h 671763"/>
              <a:gd name="connsiteX5" fmla="*/ 645526 w 672526"/>
              <a:gd name="connsiteY5" fmla="*/ 157803 h 671763"/>
              <a:gd name="connsiteX6" fmla="*/ 467227 w 672526"/>
              <a:gd name="connsiteY6" fmla="*/ 335882 h 671763"/>
              <a:gd name="connsiteX7" fmla="*/ 645526 w 672526"/>
              <a:gd name="connsiteY7" fmla="*/ 513961 h 671763"/>
              <a:gd name="connsiteX8" fmla="*/ 645526 w 672526"/>
              <a:gd name="connsiteY8" fmla="*/ 644787 h 671763"/>
              <a:gd name="connsiteX9" fmla="*/ 514585 w 672526"/>
              <a:gd name="connsiteY9" fmla="*/ 644787 h 671763"/>
              <a:gd name="connsiteX10" fmla="*/ 336263 w 672526"/>
              <a:gd name="connsiteY10" fmla="*/ 466685 h 671763"/>
              <a:gd name="connsiteX11" fmla="*/ 157940 w 672526"/>
              <a:gd name="connsiteY11" fmla="*/ 644787 h 671763"/>
              <a:gd name="connsiteX12" fmla="*/ 27000 w 672526"/>
              <a:gd name="connsiteY12" fmla="*/ 644787 h 671763"/>
              <a:gd name="connsiteX13" fmla="*/ 27000 w 672526"/>
              <a:gd name="connsiteY13" fmla="*/ 513961 h 671763"/>
              <a:gd name="connsiteX14" fmla="*/ 205299 w 672526"/>
              <a:gd name="connsiteY14" fmla="*/ 335882 h 671763"/>
              <a:gd name="connsiteX15" fmla="*/ 27000 w 672526"/>
              <a:gd name="connsiteY15" fmla="*/ 157803 h 671763"/>
              <a:gd name="connsiteX16" fmla="*/ 27000 w 672526"/>
              <a:gd name="connsiteY16" fmla="*/ 26977 h 671763"/>
              <a:gd name="connsiteX17" fmla="*/ 92404 w 672526"/>
              <a:gd name="connsiteY17" fmla="*/ 0 h 67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2526" h="671763">
                <a:moveTo>
                  <a:pt x="92404" y="0"/>
                </a:moveTo>
                <a:cubicBezTo>
                  <a:pt x="116117" y="0"/>
                  <a:pt x="139852" y="8993"/>
                  <a:pt x="157940" y="26977"/>
                </a:cubicBezTo>
                <a:lnTo>
                  <a:pt x="336263" y="205079"/>
                </a:lnTo>
                <a:lnTo>
                  <a:pt x="514585" y="26977"/>
                </a:lnTo>
                <a:cubicBezTo>
                  <a:pt x="550585" y="-8992"/>
                  <a:pt x="609526" y="-8992"/>
                  <a:pt x="645526" y="26977"/>
                </a:cubicBezTo>
                <a:cubicBezTo>
                  <a:pt x="681526" y="62945"/>
                  <a:pt x="681526" y="121658"/>
                  <a:pt x="645526" y="157803"/>
                </a:cubicBezTo>
                <a:lnTo>
                  <a:pt x="467227" y="335882"/>
                </a:lnTo>
                <a:lnTo>
                  <a:pt x="645526" y="513961"/>
                </a:lnTo>
                <a:cubicBezTo>
                  <a:pt x="681526" y="549930"/>
                  <a:pt x="681526" y="608819"/>
                  <a:pt x="645526" y="644787"/>
                </a:cubicBezTo>
                <a:cubicBezTo>
                  <a:pt x="609526" y="680756"/>
                  <a:pt x="550585" y="680756"/>
                  <a:pt x="514585" y="644787"/>
                </a:cubicBezTo>
                <a:lnTo>
                  <a:pt x="336263" y="466685"/>
                </a:lnTo>
                <a:lnTo>
                  <a:pt x="157940" y="644787"/>
                </a:lnTo>
                <a:cubicBezTo>
                  <a:pt x="121764" y="680756"/>
                  <a:pt x="63000" y="680756"/>
                  <a:pt x="27000" y="644787"/>
                </a:cubicBezTo>
                <a:cubicBezTo>
                  <a:pt x="-9000" y="608819"/>
                  <a:pt x="-9000" y="549930"/>
                  <a:pt x="27000" y="513961"/>
                </a:cubicBezTo>
                <a:lnTo>
                  <a:pt x="205299" y="335882"/>
                </a:lnTo>
                <a:lnTo>
                  <a:pt x="27000" y="157803"/>
                </a:lnTo>
                <a:cubicBezTo>
                  <a:pt x="-9000" y="121658"/>
                  <a:pt x="-9000" y="62945"/>
                  <a:pt x="27000" y="26977"/>
                </a:cubicBezTo>
                <a:cubicBezTo>
                  <a:pt x="45000" y="8993"/>
                  <a:pt x="68691" y="0"/>
                  <a:pt x="92404" y="0"/>
                </a:cubicBezTo>
                <a:close/>
              </a:path>
            </a:pathLst>
          </a:custGeom>
          <a:solidFill>
            <a:srgbClr val="C00000"/>
          </a:solidFill>
          <a:ln>
            <a:noFill/>
          </a:ln>
          <a:effectLst/>
        </p:spPr>
        <p:txBody>
          <a:bodyPr wrap="square" anchor="ctr">
            <a:noAutofit/>
          </a:bodyPr>
          <a:lstStyle/>
          <a:p>
            <a:endParaRPr lang="en-US" sz="900" dirty="0">
              <a:latin typeface="Lato Light" panose="020F0502020204030203" pitchFamily="34" charset="0"/>
            </a:endParaRPr>
          </a:p>
        </p:txBody>
      </p:sp>
      <p:sp>
        <p:nvSpPr>
          <p:cNvPr id="58" name="Freeform 57">
            <a:extLst>
              <a:ext uri="{FF2B5EF4-FFF2-40B4-BE49-F238E27FC236}">
                <a16:creationId xmlns:a16="http://schemas.microsoft.com/office/drawing/2014/main" id="{9B44A839-D9FA-8A4D-B5CC-2CF6F55C3666}"/>
              </a:ext>
            </a:extLst>
          </p:cNvPr>
          <p:cNvSpPr>
            <a:spLocks noChangeArrowheads="1"/>
          </p:cNvSpPr>
          <p:nvPr/>
        </p:nvSpPr>
        <p:spPr bwMode="auto">
          <a:xfrm>
            <a:off x="7337205" y="3134574"/>
            <a:ext cx="336263" cy="335882"/>
          </a:xfrm>
          <a:custGeom>
            <a:avLst/>
            <a:gdLst>
              <a:gd name="connsiteX0" fmla="*/ 92404 w 672526"/>
              <a:gd name="connsiteY0" fmla="*/ 0 h 671763"/>
              <a:gd name="connsiteX1" fmla="*/ 157940 w 672526"/>
              <a:gd name="connsiteY1" fmla="*/ 26977 h 671763"/>
              <a:gd name="connsiteX2" fmla="*/ 336263 w 672526"/>
              <a:gd name="connsiteY2" fmla="*/ 205079 h 671763"/>
              <a:gd name="connsiteX3" fmla="*/ 514585 w 672526"/>
              <a:gd name="connsiteY3" fmla="*/ 26977 h 671763"/>
              <a:gd name="connsiteX4" fmla="*/ 645526 w 672526"/>
              <a:gd name="connsiteY4" fmla="*/ 26977 h 671763"/>
              <a:gd name="connsiteX5" fmla="*/ 645526 w 672526"/>
              <a:gd name="connsiteY5" fmla="*/ 157803 h 671763"/>
              <a:gd name="connsiteX6" fmla="*/ 467227 w 672526"/>
              <a:gd name="connsiteY6" fmla="*/ 335882 h 671763"/>
              <a:gd name="connsiteX7" fmla="*/ 645526 w 672526"/>
              <a:gd name="connsiteY7" fmla="*/ 513961 h 671763"/>
              <a:gd name="connsiteX8" fmla="*/ 645526 w 672526"/>
              <a:gd name="connsiteY8" fmla="*/ 644787 h 671763"/>
              <a:gd name="connsiteX9" fmla="*/ 514585 w 672526"/>
              <a:gd name="connsiteY9" fmla="*/ 644787 h 671763"/>
              <a:gd name="connsiteX10" fmla="*/ 336263 w 672526"/>
              <a:gd name="connsiteY10" fmla="*/ 466685 h 671763"/>
              <a:gd name="connsiteX11" fmla="*/ 157940 w 672526"/>
              <a:gd name="connsiteY11" fmla="*/ 644787 h 671763"/>
              <a:gd name="connsiteX12" fmla="*/ 27000 w 672526"/>
              <a:gd name="connsiteY12" fmla="*/ 644787 h 671763"/>
              <a:gd name="connsiteX13" fmla="*/ 27000 w 672526"/>
              <a:gd name="connsiteY13" fmla="*/ 513961 h 671763"/>
              <a:gd name="connsiteX14" fmla="*/ 205299 w 672526"/>
              <a:gd name="connsiteY14" fmla="*/ 335882 h 671763"/>
              <a:gd name="connsiteX15" fmla="*/ 27000 w 672526"/>
              <a:gd name="connsiteY15" fmla="*/ 157803 h 671763"/>
              <a:gd name="connsiteX16" fmla="*/ 27000 w 672526"/>
              <a:gd name="connsiteY16" fmla="*/ 26977 h 671763"/>
              <a:gd name="connsiteX17" fmla="*/ 92404 w 672526"/>
              <a:gd name="connsiteY17" fmla="*/ 0 h 67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2526" h="671763">
                <a:moveTo>
                  <a:pt x="92404" y="0"/>
                </a:moveTo>
                <a:cubicBezTo>
                  <a:pt x="116117" y="0"/>
                  <a:pt x="139852" y="8993"/>
                  <a:pt x="157940" y="26977"/>
                </a:cubicBezTo>
                <a:lnTo>
                  <a:pt x="336263" y="205079"/>
                </a:lnTo>
                <a:lnTo>
                  <a:pt x="514585" y="26977"/>
                </a:lnTo>
                <a:cubicBezTo>
                  <a:pt x="550585" y="-8992"/>
                  <a:pt x="609526" y="-8992"/>
                  <a:pt x="645526" y="26977"/>
                </a:cubicBezTo>
                <a:cubicBezTo>
                  <a:pt x="681526" y="62945"/>
                  <a:pt x="681526" y="121658"/>
                  <a:pt x="645526" y="157803"/>
                </a:cubicBezTo>
                <a:lnTo>
                  <a:pt x="467227" y="335882"/>
                </a:lnTo>
                <a:lnTo>
                  <a:pt x="645526" y="513961"/>
                </a:lnTo>
                <a:cubicBezTo>
                  <a:pt x="681526" y="549930"/>
                  <a:pt x="681526" y="608819"/>
                  <a:pt x="645526" y="644787"/>
                </a:cubicBezTo>
                <a:cubicBezTo>
                  <a:pt x="609526" y="680756"/>
                  <a:pt x="550585" y="680756"/>
                  <a:pt x="514585" y="644787"/>
                </a:cubicBezTo>
                <a:lnTo>
                  <a:pt x="336263" y="466685"/>
                </a:lnTo>
                <a:lnTo>
                  <a:pt x="157940" y="644787"/>
                </a:lnTo>
                <a:cubicBezTo>
                  <a:pt x="121764" y="680756"/>
                  <a:pt x="63000" y="680756"/>
                  <a:pt x="27000" y="644787"/>
                </a:cubicBezTo>
                <a:cubicBezTo>
                  <a:pt x="-9000" y="608819"/>
                  <a:pt x="-9000" y="549930"/>
                  <a:pt x="27000" y="513961"/>
                </a:cubicBezTo>
                <a:lnTo>
                  <a:pt x="205299" y="335882"/>
                </a:lnTo>
                <a:lnTo>
                  <a:pt x="27000" y="157803"/>
                </a:lnTo>
                <a:cubicBezTo>
                  <a:pt x="-9000" y="121658"/>
                  <a:pt x="-9000" y="62945"/>
                  <a:pt x="27000" y="26977"/>
                </a:cubicBezTo>
                <a:cubicBezTo>
                  <a:pt x="45000" y="8993"/>
                  <a:pt x="68691" y="0"/>
                  <a:pt x="92404" y="0"/>
                </a:cubicBezTo>
                <a:close/>
              </a:path>
            </a:pathLst>
          </a:custGeom>
          <a:solidFill>
            <a:srgbClr val="C00000"/>
          </a:solidFill>
          <a:ln>
            <a:noFill/>
          </a:ln>
          <a:effectLst/>
        </p:spPr>
        <p:txBody>
          <a:bodyPr wrap="square" anchor="ctr">
            <a:noAutofit/>
          </a:bodyPr>
          <a:lstStyle/>
          <a:p>
            <a:endParaRPr lang="en-US" sz="900" dirty="0">
              <a:latin typeface="Lato Light" panose="020F0502020204030203" pitchFamily="34" charset="0"/>
            </a:endParaRPr>
          </a:p>
        </p:txBody>
      </p:sp>
      <p:sp>
        <p:nvSpPr>
          <p:cNvPr id="59" name="Freeform 1">
            <a:extLst>
              <a:ext uri="{FF2B5EF4-FFF2-40B4-BE49-F238E27FC236}">
                <a16:creationId xmlns:a16="http://schemas.microsoft.com/office/drawing/2014/main" id="{06DBFABB-ED83-F945-AD70-466A7A0397FE}"/>
              </a:ext>
            </a:extLst>
          </p:cNvPr>
          <p:cNvSpPr>
            <a:spLocks noChangeArrowheads="1"/>
          </p:cNvSpPr>
          <p:nvPr/>
        </p:nvSpPr>
        <p:spPr bwMode="auto">
          <a:xfrm>
            <a:off x="7273741" y="5212582"/>
            <a:ext cx="463191" cy="36285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endParaRPr lang="en-US" sz="900" dirty="0">
              <a:latin typeface="Lato Light" panose="020F0502020204030203" pitchFamily="34" charset="0"/>
            </a:endParaRPr>
          </a:p>
        </p:txBody>
      </p:sp>
      <p:sp>
        <p:nvSpPr>
          <p:cNvPr id="61" name="Freeform 60">
            <a:extLst>
              <a:ext uri="{FF2B5EF4-FFF2-40B4-BE49-F238E27FC236}">
                <a16:creationId xmlns:a16="http://schemas.microsoft.com/office/drawing/2014/main" id="{74F69EA4-9BDB-684B-A8CD-866B69F0BEE2}"/>
              </a:ext>
            </a:extLst>
          </p:cNvPr>
          <p:cNvSpPr>
            <a:spLocks noChangeArrowheads="1"/>
          </p:cNvSpPr>
          <p:nvPr/>
        </p:nvSpPr>
        <p:spPr bwMode="auto">
          <a:xfrm>
            <a:off x="9428924" y="3134574"/>
            <a:ext cx="336263" cy="335882"/>
          </a:xfrm>
          <a:custGeom>
            <a:avLst/>
            <a:gdLst>
              <a:gd name="connsiteX0" fmla="*/ 92404 w 672526"/>
              <a:gd name="connsiteY0" fmla="*/ 0 h 671763"/>
              <a:gd name="connsiteX1" fmla="*/ 157940 w 672526"/>
              <a:gd name="connsiteY1" fmla="*/ 26977 h 671763"/>
              <a:gd name="connsiteX2" fmla="*/ 336263 w 672526"/>
              <a:gd name="connsiteY2" fmla="*/ 205079 h 671763"/>
              <a:gd name="connsiteX3" fmla="*/ 514585 w 672526"/>
              <a:gd name="connsiteY3" fmla="*/ 26977 h 671763"/>
              <a:gd name="connsiteX4" fmla="*/ 645526 w 672526"/>
              <a:gd name="connsiteY4" fmla="*/ 26977 h 671763"/>
              <a:gd name="connsiteX5" fmla="*/ 645526 w 672526"/>
              <a:gd name="connsiteY5" fmla="*/ 157803 h 671763"/>
              <a:gd name="connsiteX6" fmla="*/ 467227 w 672526"/>
              <a:gd name="connsiteY6" fmla="*/ 335882 h 671763"/>
              <a:gd name="connsiteX7" fmla="*/ 645526 w 672526"/>
              <a:gd name="connsiteY7" fmla="*/ 513961 h 671763"/>
              <a:gd name="connsiteX8" fmla="*/ 645526 w 672526"/>
              <a:gd name="connsiteY8" fmla="*/ 644787 h 671763"/>
              <a:gd name="connsiteX9" fmla="*/ 514585 w 672526"/>
              <a:gd name="connsiteY9" fmla="*/ 644787 h 671763"/>
              <a:gd name="connsiteX10" fmla="*/ 336263 w 672526"/>
              <a:gd name="connsiteY10" fmla="*/ 466685 h 671763"/>
              <a:gd name="connsiteX11" fmla="*/ 157940 w 672526"/>
              <a:gd name="connsiteY11" fmla="*/ 644787 h 671763"/>
              <a:gd name="connsiteX12" fmla="*/ 27000 w 672526"/>
              <a:gd name="connsiteY12" fmla="*/ 644787 h 671763"/>
              <a:gd name="connsiteX13" fmla="*/ 27000 w 672526"/>
              <a:gd name="connsiteY13" fmla="*/ 513961 h 671763"/>
              <a:gd name="connsiteX14" fmla="*/ 205299 w 672526"/>
              <a:gd name="connsiteY14" fmla="*/ 335882 h 671763"/>
              <a:gd name="connsiteX15" fmla="*/ 27000 w 672526"/>
              <a:gd name="connsiteY15" fmla="*/ 157803 h 671763"/>
              <a:gd name="connsiteX16" fmla="*/ 27000 w 672526"/>
              <a:gd name="connsiteY16" fmla="*/ 26977 h 671763"/>
              <a:gd name="connsiteX17" fmla="*/ 92404 w 672526"/>
              <a:gd name="connsiteY17" fmla="*/ 0 h 67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2526" h="671763">
                <a:moveTo>
                  <a:pt x="92404" y="0"/>
                </a:moveTo>
                <a:cubicBezTo>
                  <a:pt x="116117" y="0"/>
                  <a:pt x="139852" y="8993"/>
                  <a:pt x="157940" y="26977"/>
                </a:cubicBezTo>
                <a:lnTo>
                  <a:pt x="336263" y="205079"/>
                </a:lnTo>
                <a:lnTo>
                  <a:pt x="514585" y="26977"/>
                </a:lnTo>
                <a:cubicBezTo>
                  <a:pt x="550585" y="-8992"/>
                  <a:pt x="609526" y="-8992"/>
                  <a:pt x="645526" y="26977"/>
                </a:cubicBezTo>
                <a:cubicBezTo>
                  <a:pt x="681526" y="62945"/>
                  <a:pt x="681526" y="121658"/>
                  <a:pt x="645526" y="157803"/>
                </a:cubicBezTo>
                <a:lnTo>
                  <a:pt x="467227" y="335882"/>
                </a:lnTo>
                <a:lnTo>
                  <a:pt x="645526" y="513961"/>
                </a:lnTo>
                <a:cubicBezTo>
                  <a:pt x="681526" y="549930"/>
                  <a:pt x="681526" y="608819"/>
                  <a:pt x="645526" y="644787"/>
                </a:cubicBezTo>
                <a:cubicBezTo>
                  <a:pt x="609526" y="680756"/>
                  <a:pt x="550585" y="680756"/>
                  <a:pt x="514585" y="644787"/>
                </a:cubicBezTo>
                <a:lnTo>
                  <a:pt x="336263" y="466685"/>
                </a:lnTo>
                <a:lnTo>
                  <a:pt x="157940" y="644787"/>
                </a:lnTo>
                <a:cubicBezTo>
                  <a:pt x="121764" y="680756"/>
                  <a:pt x="63000" y="680756"/>
                  <a:pt x="27000" y="644787"/>
                </a:cubicBezTo>
                <a:cubicBezTo>
                  <a:pt x="-9000" y="608819"/>
                  <a:pt x="-9000" y="549930"/>
                  <a:pt x="27000" y="513961"/>
                </a:cubicBezTo>
                <a:lnTo>
                  <a:pt x="205299" y="335882"/>
                </a:lnTo>
                <a:lnTo>
                  <a:pt x="27000" y="157803"/>
                </a:lnTo>
                <a:cubicBezTo>
                  <a:pt x="-9000" y="121658"/>
                  <a:pt x="-9000" y="62945"/>
                  <a:pt x="27000" y="26977"/>
                </a:cubicBezTo>
                <a:cubicBezTo>
                  <a:pt x="45000" y="8993"/>
                  <a:pt x="68691" y="0"/>
                  <a:pt x="92404" y="0"/>
                </a:cubicBezTo>
                <a:close/>
              </a:path>
            </a:pathLst>
          </a:custGeom>
          <a:solidFill>
            <a:srgbClr val="C00000"/>
          </a:solidFill>
          <a:ln>
            <a:noFill/>
          </a:ln>
          <a:effectLst/>
        </p:spPr>
        <p:txBody>
          <a:bodyPr wrap="square" anchor="ctr">
            <a:noAutofit/>
          </a:bodyPr>
          <a:lstStyle/>
          <a:p>
            <a:endParaRPr lang="en-US" sz="900" dirty="0">
              <a:latin typeface="Lato Light" panose="020F0502020204030203" pitchFamily="34" charset="0"/>
            </a:endParaRPr>
          </a:p>
        </p:txBody>
      </p:sp>
      <p:sp>
        <p:nvSpPr>
          <p:cNvPr id="62" name="Freeform 1">
            <a:extLst>
              <a:ext uri="{FF2B5EF4-FFF2-40B4-BE49-F238E27FC236}">
                <a16:creationId xmlns:a16="http://schemas.microsoft.com/office/drawing/2014/main" id="{A89A70DF-9FAB-A344-8329-9CE9A5A6D011}"/>
              </a:ext>
            </a:extLst>
          </p:cNvPr>
          <p:cNvSpPr>
            <a:spLocks noChangeArrowheads="1"/>
          </p:cNvSpPr>
          <p:nvPr/>
        </p:nvSpPr>
        <p:spPr bwMode="auto">
          <a:xfrm>
            <a:off x="9357850" y="3807902"/>
            <a:ext cx="463191" cy="36285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endParaRPr lang="en-US" sz="900" dirty="0">
              <a:latin typeface="Lato Light" panose="020F0502020204030203" pitchFamily="34" charset="0"/>
            </a:endParaRPr>
          </a:p>
        </p:txBody>
      </p:sp>
      <p:sp>
        <p:nvSpPr>
          <p:cNvPr id="63" name="Freeform 1">
            <a:extLst>
              <a:ext uri="{FF2B5EF4-FFF2-40B4-BE49-F238E27FC236}">
                <a16:creationId xmlns:a16="http://schemas.microsoft.com/office/drawing/2014/main" id="{7E950C0D-85AC-0A4C-A0DB-9B225F88CACD}"/>
              </a:ext>
            </a:extLst>
          </p:cNvPr>
          <p:cNvSpPr>
            <a:spLocks noChangeArrowheads="1"/>
          </p:cNvSpPr>
          <p:nvPr/>
        </p:nvSpPr>
        <p:spPr bwMode="auto">
          <a:xfrm>
            <a:off x="9357850" y="4479651"/>
            <a:ext cx="463191" cy="36285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endParaRPr lang="en-US" sz="900" dirty="0">
              <a:latin typeface="Lato Light" panose="020F0502020204030203" pitchFamily="34" charset="0"/>
            </a:endParaRPr>
          </a:p>
        </p:txBody>
      </p:sp>
      <p:sp>
        <p:nvSpPr>
          <p:cNvPr id="64" name="Freeform 1">
            <a:extLst>
              <a:ext uri="{FF2B5EF4-FFF2-40B4-BE49-F238E27FC236}">
                <a16:creationId xmlns:a16="http://schemas.microsoft.com/office/drawing/2014/main" id="{CB16079E-C7D1-2348-8BDD-CD27BD1D1216}"/>
              </a:ext>
            </a:extLst>
          </p:cNvPr>
          <p:cNvSpPr>
            <a:spLocks noChangeArrowheads="1"/>
          </p:cNvSpPr>
          <p:nvPr/>
        </p:nvSpPr>
        <p:spPr bwMode="auto">
          <a:xfrm>
            <a:off x="9357850" y="5212873"/>
            <a:ext cx="463191" cy="36285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endParaRPr lang="en-US" sz="900" dirty="0">
              <a:latin typeface="Lato Light" panose="020F0502020204030203" pitchFamily="34" charset="0"/>
            </a:endParaRPr>
          </a:p>
        </p:txBody>
      </p:sp>
      <p:sp>
        <p:nvSpPr>
          <p:cNvPr id="65" name="Freeform 1">
            <a:extLst>
              <a:ext uri="{FF2B5EF4-FFF2-40B4-BE49-F238E27FC236}">
                <a16:creationId xmlns:a16="http://schemas.microsoft.com/office/drawing/2014/main" id="{B1B21936-DD95-7F41-BC23-1C0A87EB693F}"/>
              </a:ext>
            </a:extLst>
          </p:cNvPr>
          <p:cNvSpPr>
            <a:spLocks noChangeArrowheads="1"/>
          </p:cNvSpPr>
          <p:nvPr/>
        </p:nvSpPr>
        <p:spPr bwMode="auto">
          <a:xfrm>
            <a:off x="9357850" y="5917533"/>
            <a:ext cx="463191" cy="36285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endParaRPr lang="en-US" sz="900" dirty="0">
              <a:latin typeface="Lato Light" panose="020F0502020204030203" pitchFamily="34" charset="0"/>
            </a:endParaRPr>
          </a:p>
        </p:txBody>
      </p:sp>
      <p:sp>
        <p:nvSpPr>
          <p:cNvPr id="66" name="Freeform 1">
            <a:extLst>
              <a:ext uri="{FF2B5EF4-FFF2-40B4-BE49-F238E27FC236}">
                <a16:creationId xmlns:a16="http://schemas.microsoft.com/office/drawing/2014/main" id="{B8D11287-C58F-B240-A923-C1996B2B3A8D}"/>
              </a:ext>
            </a:extLst>
          </p:cNvPr>
          <p:cNvSpPr>
            <a:spLocks noChangeArrowheads="1"/>
          </p:cNvSpPr>
          <p:nvPr/>
        </p:nvSpPr>
        <p:spPr bwMode="auto">
          <a:xfrm>
            <a:off x="9357850" y="2397909"/>
            <a:ext cx="463191" cy="36285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endParaRPr lang="en-US" sz="900" dirty="0">
              <a:latin typeface="Lato Light" panose="020F0502020204030203" pitchFamily="34" charset="0"/>
            </a:endParaRPr>
          </a:p>
        </p:txBody>
      </p:sp>
      <p:sp>
        <p:nvSpPr>
          <p:cNvPr id="60" name="Titel 1">
            <a:extLst>
              <a:ext uri="{FF2B5EF4-FFF2-40B4-BE49-F238E27FC236}">
                <a16:creationId xmlns:a16="http://schemas.microsoft.com/office/drawing/2014/main" id="{3607AE77-863E-45AB-A6AA-BBC7BD3A26EF}"/>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Simple comparison table</a:t>
            </a:r>
          </a:p>
        </p:txBody>
      </p:sp>
    </p:spTree>
    <p:custDataLst>
      <p:tags r:id="rId1"/>
    </p:custDataLst>
    <p:extLst>
      <p:ext uri="{BB962C8B-B14F-4D97-AF65-F5344CB8AC3E}">
        <p14:creationId xmlns:p14="http://schemas.microsoft.com/office/powerpoint/2010/main" val="4250525682"/>
      </p:ext>
    </p:extLst>
  </p:cSld>
  <p:clrMapOvr>
    <a:masterClrMapping/>
  </p:clrMapOvr>
  <mc:AlternateContent xmlns:mc="http://schemas.openxmlformats.org/markup-compatibility/2006" xmlns:p14="http://schemas.microsoft.com/office/powerpoint/2010/main">
    <mc:Choice Requires="p14">
      <p:transition spd="med">
        <p14:pan/>
      </p:transition>
    </mc:Choice>
    <mc:Fallback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Mountain">
            <a:extLst>
              <a:ext uri="{FF2B5EF4-FFF2-40B4-BE49-F238E27FC236}">
                <a16:creationId xmlns:a16="http://schemas.microsoft.com/office/drawing/2014/main" id="{E023D4EF-8E9B-4A0E-9285-110BBBEBAFFC}"/>
              </a:ext>
            </a:extLst>
          </p:cNvPr>
          <p:cNvPicPr>
            <a:picLocks noGrp="1" noChangeAspect="1"/>
          </p:cNvPicPr>
          <p:nvPr>
            <p:ph type="pic" sz="quarter" idx="13"/>
            <p:custDataLst>
              <p:tags r:id="rId1"/>
            </p:custDataLst>
          </p:nvPr>
        </p:nvPicPr>
        <p:blipFill>
          <a:blip r:embed="rId3" cstate="screen">
            <a:extLst>
              <a:ext uri="{28A0092B-C50C-407E-A947-70E740481C1C}">
                <a14:useLocalDpi xmlns:a14="http://schemas.microsoft.com/office/drawing/2010/main"/>
              </a:ext>
            </a:extLst>
          </a:blip>
          <a:srcRect t="8408" b="8408"/>
          <a:stretch>
            <a:fillRect/>
          </a:stretch>
        </p:blipFill>
        <p:spPr>
          <a:xfrm>
            <a:off x="1" y="96839"/>
            <a:ext cx="12191345" cy="6760799"/>
          </a:xfrm>
          <a:prstGeom prst="rect">
            <a:avLst/>
          </a:prstGeom>
        </p:spPr>
      </p:pic>
      <p:sp>
        <p:nvSpPr>
          <p:cNvPr id="4" name="Text Placeholder 3">
            <a:extLst>
              <a:ext uri="{FF2B5EF4-FFF2-40B4-BE49-F238E27FC236}">
                <a16:creationId xmlns:a16="http://schemas.microsoft.com/office/drawing/2014/main" id="{D3B88837-AB62-4151-B988-36B2443F9E8C}"/>
              </a:ext>
            </a:extLst>
          </p:cNvPr>
          <p:cNvSpPr>
            <a:spLocks noGrp="1"/>
          </p:cNvSpPr>
          <p:nvPr>
            <p:ph type="body" sz="quarter" idx="14"/>
          </p:nvPr>
        </p:nvSpPr>
        <p:spPr>
          <a:xfrm>
            <a:off x="0" y="3914775"/>
            <a:ext cx="7969489" cy="738664"/>
          </a:xfrm>
        </p:spPr>
        <p:txBody>
          <a:bodyPr/>
          <a:lstStyle/>
          <a:p>
            <a:r>
              <a:rPr lang="de-DE" dirty="0"/>
              <a:t>World and Country Maps</a:t>
            </a:r>
            <a:endParaRPr lang="en-US" dirty="0"/>
          </a:p>
        </p:txBody>
      </p:sp>
    </p:spTree>
    <p:extLst>
      <p:ext uri="{BB962C8B-B14F-4D97-AF65-F5344CB8AC3E}">
        <p14:creationId xmlns:p14="http://schemas.microsoft.com/office/powerpoint/2010/main" val="1059021742"/>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43AC98-C637-4454-9144-531F94627AE7}"/>
              </a:ext>
            </a:extLst>
          </p:cNvPr>
          <p:cNvSpPr>
            <a:spLocks noGrp="1"/>
          </p:cNvSpPr>
          <p:nvPr>
            <p:ph type="title"/>
          </p:nvPr>
        </p:nvSpPr>
        <p:spPr/>
        <p:txBody>
          <a:bodyPr/>
          <a:lstStyle/>
          <a:p>
            <a:r>
              <a:rPr lang="en-US" sz="3000" dirty="0"/>
              <a:t>World map</a:t>
            </a:r>
          </a:p>
        </p:txBody>
      </p:sp>
      <p:sp>
        <p:nvSpPr>
          <p:cNvPr id="388" name="Shape 4383">
            <a:extLst>
              <a:ext uri="{FF2B5EF4-FFF2-40B4-BE49-F238E27FC236}">
                <a16:creationId xmlns:a16="http://schemas.microsoft.com/office/drawing/2014/main" id="{DADC93A8-D598-4F47-8E7E-5E8EA4C5B014}"/>
              </a:ext>
            </a:extLst>
          </p:cNvPr>
          <p:cNvSpPr/>
          <p:nvPr/>
        </p:nvSpPr>
        <p:spPr>
          <a:xfrm>
            <a:off x="5223867" y="1730200"/>
            <a:ext cx="1507387" cy="1353924"/>
          </a:xfrm>
          <a:custGeom>
            <a:avLst/>
            <a:gdLst/>
            <a:ahLst/>
            <a:cxnLst>
              <a:cxn ang="0">
                <a:pos x="wd2" y="hd2"/>
              </a:cxn>
              <a:cxn ang="5400000">
                <a:pos x="wd2" y="hd2"/>
              </a:cxn>
              <a:cxn ang="10800000">
                <a:pos x="wd2" y="hd2"/>
              </a:cxn>
              <a:cxn ang="16200000">
                <a:pos x="wd2" y="hd2"/>
              </a:cxn>
            </a:cxnLst>
            <a:rect l="0" t="0" r="r" b="b"/>
            <a:pathLst>
              <a:path w="21519" h="21364" extrusionOk="0">
                <a:moveTo>
                  <a:pt x="3010" y="6585"/>
                </a:moveTo>
                <a:cubicBezTo>
                  <a:pt x="2435" y="7097"/>
                  <a:pt x="992" y="7348"/>
                  <a:pt x="363" y="6890"/>
                </a:cubicBezTo>
                <a:cubicBezTo>
                  <a:pt x="444" y="6750"/>
                  <a:pt x="713" y="6786"/>
                  <a:pt x="499" y="6579"/>
                </a:cubicBezTo>
                <a:cubicBezTo>
                  <a:pt x="464" y="6545"/>
                  <a:pt x="118" y="6445"/>
                  <a:pt x="106" y="6460"/>
                </a:cubicBezTo>
                <a:cubicBezTo>
                  <a:pt x="240" y="6289"/>
                  <a:pt x="512" y="6444"/>
                  <a:pt x="654" y="6279"/>
                </a:cubicBezTo>
                <a:cubicBezTo>
                  <a:pt x="796" y="6113"/>
                  <a:pt x="-14" y="6151"/>
                  <a:pt x="0" y="6157"/>
                </a:cubicBezTo>
                <a:cubicBezTo>
                  <a:pt x="226" y="5657"/>
                  <a:pt x="953" y="5687"/>
                  <a:pt x="954" y="6266"/>
                </a:cubicBezTo>
                <a:cubicBezTo>
                  <a:pt x="1102" y="6190"/>
                  <a:pt x="1215" y="6074"/>
                  <a:pt x="1294" y="5918"/>
                </a:cubicBezTo>
                <a:cubicBezTo>
                  <a:pt x="1537" y="5893"/>
                  <a:pt x="2370" y="6107"/>
                  <a:pt x="2491" y="5816"/>
                </a:cubicBezTo>
                <a:cubicBezTo>
                  <a:pt x="2514" y="5759"/>
                  <a:pt x="3682" y="5987"/>
                  <a:pt x="3010" y="6585"/>
                </a:cubicBezTo>
                <a:cubicBezTo>
                  <a:pt x="2843" y="6734"/>
                  <a:pt x="3142" y="6468"/>
                  <a:pt x="3010" y="6585"/>
                </a:cubicBezTo>
                <a:close/>
                <a:moveTo>
                  <a:pt x="11005" y="300"/>
                </a:moveTo>
                <a:cubicBezTo>
                  <a:pt x="11317" y="195"/>
                  <a:pt x="11825" y="280"/>
                  <a:pt x="12088" y="495"/>
                </a:cubicBezTo>
                <a:cubicBezTo>
                  <a:pt x="12051" y="428"/>
                  <a:pt x="12017" y="355"/>
                  <a:pt x="12030" y="274"/>
                </a:cubicBezTo>
                <a:cubicBezTo>
                  <a:pt x="12514" y="182"/>
                  <a:pt x="14125" y="719"/>
                  <a:pt x="14503" y="1064"/>
                </a:cubicBezTo>
                <a:cubicBezTo>
                  <a:pt x="14355" y="1090"/>
                  <a:pt x="13593" y="1487"/>
                  <a:pt x="13494" y="1113"/>
                </a:cubicBezTo>
                <a:cubicBezTo>
                  <a:pt x="13514" y="1074"/>
                  <a:pt x="13535" y="1036"/>
                  <a:pt x="13555" y="997"/>
                </a:cubicBezTo>
                <a:cubicBezTo>
                  <a:pt x="13092" y="666"/>
                  <a:pt x="12573" y="887"/>
                  <a:pt x="12439" y="1482"/>
                </a:cubicBezTo>
                <a:cubicBezTo>
                  <a:pt x="12305" y="1656"/>
                  <a:pt x="11018" y="988"/>
                  <a:pt x="11664" y="897"/>
                </a:cubicBezTo>
                <a:cubicBezTo>
                  <a:pt x="11583" y="891"/>
                  <a:pt x="10294" y="541"/>
                  <a:pt x="11005" y="300"/>
                </a:cubicBezTo>
                <a:cubicBezTo>
                  <a:pt x="11317" y="195"/>
                  <a:pt x="10790" y="373"/>
                  <a:pt x="11005" y="300"/>
                </a:cubicBezTo>
                <a:close/>
                <a:moveTo>
                  <a:pt x="13416" y="415"/>
                </a:moveTo>
                <a:cubicBezTo>
                  <a:pt x="13177" y="380"/>
                  <a:pt x="12943" y="324"/>
                  <a:pt x="12720" y="200"/>
                </a:cubicBezTo>
                <a:cubicBezTo>
                  <a:pt x="13106" y="-111"/>
                  <a:pt x="14518" y="-25"/>
                  <a:pt x="14908" y="222"/>
                </a:cubicBezTo>
                <a:cubicBezTo>
                  <a:pt x="14603" y="635"/>
                  <a:pt x="13826" y="474"/>
                  <a:pt x="13416" y="415"/>
                </a:cubicBezTo>
                <a:cubicBezTo>
                  <a:pt x="13177" y="380"/>
                  <a:pt x="13560" y="435"/>
                  <a:pt x="13416" y="415"/>
                </a:cubicBezTo>
                <a:close/>
                <a:moveTo>
                  <a:pt x="17057" y="21008"/>
                </a:moveTo>
                <a:cubicBezTo>
                  <a:pt x="17044" y="21058"/>
                  <a:pt x="17025" y="21102"/>
                  <a:pt x="16998" y="21143"/>
                </a:cubicBezTo>
                <a:cubicBezTo>
                  <a:pt x="16638" y="21123"/>
                  <a:pt x="16355" y="21046"/>
                  <a:pt x="15994" y="21031"/>
                </a:cubicBezTo>
                <a:cubicBezTo>
                  <a:pt x="15992" y="20975"/>
                  <a:pt x="15985" y="20922"/>
                  <a:pt x="15986" y="20864"/>
                </a:cubicBezTo>
                <a:cubicBezTo>
                  <a:pt x="16167" y="20818"/>
                  <a:pt x="16655" y="20912"/>
                  <a:pt x="16834" y="20976"/>
                </a:cubicBezTo>
                <a:cubicBezTo>
                  <a:pt x="16831" y="20995"/>
                  <a:pt x="16840" y="21021"/>
                  <a:pt x="16837" y="21040"/>
                </a:cubicBezTo>
                <a:cubicBezTo>
                  <a:pt x="16925" y="21067"/>
                  <a:pt x="16976" y="21002"/>
                  <a:pt x="17057" y="21008"/>
                </a:cubicBezTo>
                <a:cubicBezTo>
                  <a:pt x="17069" y="21052"/>
                  <a:pt x="16976" y="21002"/>
                  <a:pt x="17057" y="21008"/>
                </a:cubicBezTo>
                <a:close/>
                <a:moveTo>
                  <a:pt x="15035" y="9329"/>
                </a:moveTo>
                <a:cubicBezTo>
                  <a:pt x="15040" y="9332"/>
                  <a:pt x="15043" y="9336"/>
                  <a:pt x="15046" y="9340"/>
                </a:cubicBezTo>
                <a:cubicBezTo>
                  <a:pt x="15083" y="9411"/>
                  <a:pt x="14747" y="9586"/>
                  <a:pt x="14719" y="9588"/>
                </a:cubicBezTo>
                <a:cubicBezTo>
                  <a:pt x="14509" y="9606"/>
                  <a:pt x="14814" y="9185"/>
                  <a:pt x="15035" y="9329"/>
                </a:cubicBezTo>
                <a:cubicBezTo>
                  <a:pt x="15040" y="9332"/>
                  <a:pt x="15025" y="9323"/>
                  <a:pt x="15035" y="9329"/>
                </a:cubicBezTo>
                <a:close/>
                <a:moveTo>
                  <a:pt x="10464" y="17106"/>
                </a:moveTo>
                <a:lnTo>
                  <a:pt x="10453" y="17083"/>
                </a:lnTo>
                <a:cubicBezTo>
                  <a:pt x="10426" y="17405"/>
                  <a:pt x="10539" y="17595"/>
                  <a:pt x="10345" y="17882"/>
                </a:cubicBezTo>
                <a:cubicBezTo>
                  <a:pt x="9796" y="17382"/>
                  <a:pt x="10473" y="17289"/>
                  <a:pt x="10464" y="17106"/>
                </a:cubicBezTo>
                <a:cubicBezTo>
                  <a:pt x="10464" y="17106"/>
                  <a:pt x="10457" y="16967"/>
                  <a:pt x="10464" y="17106"/>
                </a:cubicBezTo>
                <a:close/>
                <a:moveTo>
                  <a:pt x="10564" y="18237"/>
                </a:moveTo>
                <a:cubicBezTo>
                  <a:pt x="10602" y="18346"/>
                  <a:pt x="10551" y="18790"/>
                  <a:pt x="10530" y="18920"/>
                </a:cubicBezTo>
                <a:cubicBezTo>
                  <a:pt x="10485" y="19203"/>
                  <a:pt x="10300" y="18856"/>
                  <a:pt x="10290" y="19078"/>
                </a:cubicBezTo>
                <a:cubicBezTo>
                  <a:pt x="10271" y="19507"/>
                  <a:pt x="9961" y="18146"/>
                  <a:pt x="9970" y="18150"/>
                </a:cubicBezTo>
                <a:cubicBezTo>
                  <a:pt x="10234" y="18257"/>
                  <a:pt x="10411" y="17796"/>
                  <a:pt x="10564" y="18237"/>
                </a:cubicBezTo>
                <a:cubicBezTo>
                  <a:pt x="10578" y="18276"/>
                  <a:pt x="10539" y="18164"/>
                  <a:pt x="10564" y="18237"/>
                </a:cubicBezTo>
                <a:close/>
                <a:moveTo>
                  <a:pt x="5029" y="10651"/>
                </a:moveTo>
                <a:cubicBezTo>
                  <a:pt x="5077" y="10532"/>
                  <a:pt x="5345" y="10601"/>
                  <a:pt x="5317" y="10393"/>
                </a:cubicBezTo>
                <a:cubicBezTo>
                  <a:pt x="5309" y="10405"/>
                  <a:pt x="5301" y="10411"/>
                  <a:pt x="5295" y="10424"/>
                </a:cubicBezTo>
                <a:cubicBezTo>
                  <a:pt x="5232" y="10439"/>
                  <a:pt x="5176" y="10423"/>
                  <a:pt x="5111" y="10424"/>
                </a:cubicBezTo>
                <a:cubicBezTo>
                  <a:pt x="5102" y="10395"/>
                  <a:pt x="5323" y="9733"/>
                  <a:pt x="5376" y="9698"/>
                </a:cubicBezTo>
                <a:cubicBezTo>
                  <a:pt x="5467" y="9638"/>
                  <a:pt x="5548" y="9315"/>
                  <a:pt x="5670" y="9337"/>
                </a:cubicBezTo>
                <a:cubicBezTo>
                  <a:pt x="5754" y="9352"/>
                  <a:pt x="6274" y="9294"/>
                  <a:pt x="6258" y="9415"/>
                </a:cubicBezTo>
                <a:cubicBezTo>
                  <a:pt x="6253" y="9452"/>
                  <a:pt x="5825" y="9767"/>
                  <a:pt x="5928" y="9811"/>
                </a:cubicBezTo>
                <a:cubicBezTo>
                  <a:pt x="5995" y="9839"/>
                  <a:pt x="6642" y="9635"/>
                  <a:pt x="6636" y="9850"/>
                </a:cubicBezTo>
                <a:cubicBezTo>
                  <a:pt x="6630" y="10107"/>
                  <a:pt x="6142" y="10320"/>
                  <a:pt x="6302" y="10517"/>
                </a:cubicBezTo>
                <a:cubicBezTo>
                  <a:pt x="6401" y="10638"/>
                  <a:pt x="6622" y="10658"/>
                  <a:pt x="6653" y="10846"/>
                </a:cubicBezTo>
                <a:cubicBezTo>
                  <a:pt x="6671" y="10958"/>
                  <a:pt x="6675" y="11181"/>
                  <a:pt x="6785" y="11246"/>
                </a:cubicBezTo>
                <a:cubicBezTo>
                  <a:pt x="7128" y="11447"/>
                  <a:pt x="7055" y="11926"/>
                  <a:pt x="7226" y="12079"/>
                </a:cubicBezTo>
                <a:cubicBezTo>
                  <a:pt x="7345" y="12186"/>
                  <a:pt x="7646" y="11861"/>
                  <a:pt x="7721" y="12232"/>
                </a:cubicBezTo>
                <a:cubicBezTo>
                  <a:pt x="7759" y="12416"/>
                  <a:pt x="7449" y="12755"/>
                  <a:pt x="7292" y="12788"/>
                </a:cubicBezTo>
                <a:cubicBezTo>
                  <a:pt x="7264" y="12782"/>
                  <a:pt x="7615" y="12821"/>
                  <a:pt x="7617" y="12880"/>
                </a:cubicBezTo>
                <a:cubicBezTo>
                  <a:pt x="7622" y="13056"/>
                  <a:pt x="6316" y="13296"/>
                  <a:pt x="6190" y="13215"/>
                </a:cubicBezTo>
                <a:cubicBezTo>
                  <a:pt x="5876" y="13016"/>
                  <a:pt x="5422" y="13624"/>
                  <a:pt x="4985" y="13472"/>
                </a:cubicBezTo>
                <a:cubicBezTo>
                  <a:pt x="5239" y="13140"/>
                  <a:pt x="5940" y="13044"/>
                  <a:pt x="6110" y="12742"/>
                </a:cubicBezTo>
                <a:cubicBezTo>
                  <a:pt x="5925" y="12832"/>
                  <a:pt x="5802" y="12692"/>
                  <a:pt x="5782" y="12693"/>
                </a:cubicBezTo>
                <a:cubicBezTo>
                  <a:pt x="5654" y="12701"/>
                  <a:pt x="5527" y="12674"/>
                  <a:pt x="5405" y="12714"/>
                </a:cubicBezTo>
                <a:cubicBezTo>
                  <a:pt x="5071" y="12824"/>
                  <a:pt x="5664" y="12288"/>
                  <a:pt x="5650" y="12311"/>
                </a:cubicBezTo>
                <a:cubicBezTo>
                  <a:pt x="5754" y="12141"/>
                  <a:pt x="5455" y="11802"/>
                  <a:pt x="5686" y="11851"/>
                </a:cubicBezTo>
                <a:cubicBezTo>
                  <a:pt x="5913" y="11898"/>
                  <a:pt x="6249" y="11772"/>
                  <a:pt x="6176" y="11451"/>
                </a:cubicBezTo>
                <a:cubicBezTo>
                  <a:pt x="5978" y="11400"/>
                  <a:pt x="5859" y="11364"/>
                  <a:pt x="6069" y="11081"/>
                </a:cubicBezTo>
                <a:cubicBezTo>
                  <a:pt x="5935" y="11261"/>
                  <a:pt x="5499" y="11034"/>
                  <a:pt x="5491" y="11228"/>
                </a:cubicBezTo>
                <a:cubicBezTo>
                  <a:pt x="5230" y="11183"/>
                  <a:pt x="5585" y="10919"/>
                  <a:pt x="5602" y="10890"/>
                </a:cubicBezTo>
                <a:cubicBezTo>
                  <a:pt x="5707" y="10710"/>
                  <a:pt x="5363" y="10523"/>
                  <a:pt x="5390" y="10718"/>
                </a:cubicBezTo>
                <a:cubicBezTo>
                  <a:pt x="5581" y="10787"/>
                  <a:pt x="5302" y="10864"/>
                  <a:pt x="5290" y="10905"/>
                </a:cubicBezTo>
                <a:cubicBezTo>
                  <a:pt x="5166" y="10939"/>
                  <a:pt x="5297" y="10688"/>
                  <a:pt x="5272" y="10646"/>
                </a:cubicBezTo>
                <a:cubicBezTo>
                  <a:pt x="5255" y="10619"/>
                  <a:pt x="4940" y="10871"/>
                  <a:pt x="5029" y="10651"/>
                </a:cubicBezTo>
                <a:cubicBezTo>
                  <a:pt x="5047" y="10606"/>
                  <a:pt x="5016" y="10683"/>
                  <a:pt x="5029" y="10651"/>
                </a:cubicBezTo>
                <a:close/>
                <a:moveTo>
                  <a:pt x="19919" y="20951"/>
                </a:moveTo>
                <a:cubicBezTo>
                  <a:pt x="19993" y="20920"/>
                  <a:pt x="20069" y="20888"/>
                  <a:pt x="20137" y="20844"/>
                </a:cubicBezTo>
                <a:cubicBezTo>
                  <a:pt x="20138" y="20843"/>
                  <a:pt x="19724" y="21347"/>
                  <a:pt x="19988" y="21347"/>
                </a:cubicBezTo>
                <a:cubicBezTo>
                  <a:pt x="19707" y="21325"/>
                  <a:pt x="19367" y="21489"/>
                  <a:pt x="19252" y="21103"/>
                </a:cubicBezTo>
                <a:cubicBezTo>
                  <a:pt x="19317" y="21150"/>
                  <a:pt x="19414" y="21101"/>
                  <a:pt x="19487" y="21094"/>
                </a:cubicBezTo>
                <a:cubicBezTo>
                  <a:pt x="19505" y="21064"/>
                  <a:pt x="19515" y="21012"/>
                  <a:pt x="19515" y="20976"/>
                </a:cubicBezTo>
                <a:cubicBezTo>
                  <a:pt x="19659" y="20996"/>
                  <a:pt x="19780" y="21008"/>
                  <a:pt x="19919" y="20951"/>
                </a:cubicBezTo>
                <a:cubicBezTo>
                  <a:pt x="19993" y="20920"/>
                  <a:pt x="19780" y="21008"/>
                  <a:pt x="19919" y="20951"/>
                </a:cubicBezTo>
                <a:close/>
                <a:moveTo>
                  <a:pt x="3448" y="12512"/>
                </a:moveTo>
                <a:lnTo>
                  <a:pt x="3439" y="12467"/>
                </a:lnTo>
                <a:cubicBezTo>
                  <a:pt x="3441" y="12484"/>
                  <a:pt x="3910" y="11973"/>
                  <a:pt x="3927" y="11961"/>
                </a:cubicBezTo>
                <a:cubicBezTo>
                  <a:pt x="3801" y="11949"/>
                  <a:pt x="3649" y="11911"/>
                  <a:pt x="3652" y="11769"/>
                </a:cubicBezTo>
                <a:lnTo>
                  <a:pt x="3653" y="11732"/>
                </a:lnTo>
                <a:cubicBezTo>
                  <a:pt x="3638" y="11187"/>
                  <a:pt x="4036" y="11537"/>
                  <a:pt x="4296" y="11292"/>
                </a:cubicBezTo>
                <a:cubicBezTo>
                  <a:pt x="4019" y="11229"/>
                  <a:pt x="4821" y="10776"/>
                  <a:pt x="5082" y="10841"/>
                </a:cubicBezTo>
                <a:cubicBezTo>
                  <a:pt x="5103" y="10873"/>
                  <a:pt x="5214" y="11022"/>
                  <a:pt x="5230" y="11072"/>
                </a:cubicBezTo>
                <a:cubicBezTo>
                  <a:pt x="5337" y="11212"/>
                  <a:pt x="5329" y="11337"/>
                  <a:pt x="5207" y="11445"/>
                </a:cubicBezTo>
                <a:cubicBezTo>
                  <a:pt x="4948" y="11696"/>
                  <a:pt x="5225" y="11803"/>
                  <a:pt x="5096" y="12165"/>
                </a:cubicBezTo>
                <a:cubicBezTo>
                  <a:pt x="4944" y="12594"/>
                  <a:pt x="3961" y="12830"/>
                  <a:pt x="3623" y="12797"/>
                </a:cubicBezTo>
                <a:lnTo>
                  <a:pt x="3629" y="12759"/>
                </a:lnTo>
                <a:cubicBezTo>
                  <a:pt x="3593" y="12765"/>
                  <a:pt x="3565" y="12764"/>
                  <a:pt x="3528" y="12766"/>
                </a:cubicBezTo>
                <a:cubicBezTo>
                  <a:pt x="3509" y="12734"/>
                  <a:pt x="3505" y="12702"/>
                  <a:pt x="3523" y="12678"/>
                </a:cubicBezTo>
                <a:cubicBezTo>
                  <a:pt x="3435" y="12635"/>
                  <a:pt x="3431" y="12581"/>
                  <a:pt x="3510" y="12516"/>
                </a:cubicBezTo>
                <a:cubicBezTo>
                  <a:pt x="3502" y="12515"/>
                  <a:pt x="3448" y="12512"/>
                  <a:pt x="3448" y="12512"/>
                </a:cubicBezTo>
                <a:cubicBezTo>
                  <a:pt x="3448" y="12512"/>
                  <a:pt x="3448" y="12512"/>
                  <a:pt x="3448" y="12512"/>
                </a:cubicBezTo>
                <a:close/>
                <a:moveTo>
                  <a:pt x="11104" y="9151"/>
                </a:moveTo>
                <a:cubicBezTo>
                  <a:pt x="11102" y="9148"/>
                  <a:pt x="11098" y="9146"/>
                  <a:pt x="11094" y="9143"/>
                </a:cubicBezTo>
                <a:cubicBezTo>
                  <a:pt x="11097" y="9141"/>
                  <a:pt x="11101" y="9138"/>
                  <a:pt x="11105" y="9135"/>
                </a:cubicBezTo>
                <a:cubicBezTo>
                  <a:pt x="11105" y="9140"/>
                  <a:pt x="11105" y="9147"/>
                  <a:pt x="11104" y="9151"/>
                </a:cubicBezTo>
                <a:cubicBezTo>
                  <a:pt x="11102" y="9148"/>
                  <a:pt x="11105" y="9147"/>
                  <a:pt x="11104" y="9151"/>
                </a:cubicBezTo>
                <a:close/>
                <a:moveTo>
                  <a:pt x="21399" y="14198"/>
                </a:moveTo>
                <a:cubicBezTo>
                  <a:pt x="21409" y="14173"/>
                  <a:pt x="21499" y="14149"/>
                  <a:pt x="21520" y="14142"/>
                </a:cubicBezTo>
                <a:lnTo>
                  <a:pt x="21423" y="14087"/>
                </a:lnTo>
                <a:cubicBezTo>
                  <a:pt x="21320" y="14027"/>
                  <a:pt x="21586" y="13723"/>
                  <a:pt x="21296" y="13692"/>
                </a:cubicBezTo>
                <a:cubicBezTo>
                  <a:pt x="21112" y="13672"/>
                  <a:pt x="20805" y="13386"/>
                  <a:pt x="20627" y="13557"/>
                </a:cubicBezTo>
                <a:cubicBezTo>
                  <a:pt x="20375" y="13291"/>
                  <a:pt x="20136" y="13280"/>
                  <a:pt x="19764" y="13317"/>
                </a:cubicBezTo>
                <a:cubicBezTo>
                  <a:pt x="19859" y="13317"/>
                  <a:pt x="19308" y="12896"/>
                  <a:pt x="19323" y="12913"/>
                </a:cubicBezTo>
                <a:cubicBezTo>
                  <a:pt x="19229" y="12913"/>
                  <a:pt x="19162" y="12594"/>
                  <a:pt x="19105" y="12495"/>
                </a:cubicBezTo>
                <a:cubicBezTo>
                  <a:pt x="18878" y="12097"/>
                  <a:pt x="18551" y="12640"/>
                  <a:pt x="18342" y="12454"/>
                </a:cubicBezTo>
                <a:cubicBezTo>
                  <a:pt x="18213" y="12393"/>
                  <a:pt x="18189" y="12168"/>
                  <a:pt x="18086" y="12043"/>
                </a:cubicBezTo>
                <a:cubicBezTo>
                  <a:pt x="18386" y="11994"/>
                  <a:pt x="18733" y="11639"/>
                  <a:pt x="18199" y="11620"/>
                </a:cubicBezTo>
                <a:cubicBezTo>
                  <a:pt x="18172" y="11530"/>
                  <a:pt x="17896" y="11200"/>
                  <a:pt x="17799" y="11143"/>
                </a:cubicBezTo>
                <a:cubicBezTo>
                  <a:pt x="17967" y="10775"/>
                  <a:pt x="17329" y="10571"/>
                  <a:pt x="17149" y="10533"/>
                </a:cubicBezTo>
                <a:cubicBezTo>
                  <a:pt x="16689" y="10533"/>
                  <a:pt x="16796" y="10101"/>
                  <a:pt x="16546" y="9833"/>
                </a:cubicBezTo>
                <a:cubicBezTo>
                  <a:pt x="16590" y="9843"/>
                  <a:pt x="16633" y="9860"/>
                  <a:pt x="16674" y="9878"/>
                </a:cubicBezTo>
                <a:lnTo>
                  <a:pt x="16626" y="9776"/>
                </a:lnTo>
                <a:cubicBezTo>
                  <a:pt x="16769" y="9537"/>
                  <a:pt x="16634" y="9167"/>
                  <a:pt x="16725" y="8824"/>
                </a:cubicBezTo>
                <a:cubicBezTo>
                  <a:pt x="16306" y="8876"/>
                  <a:pt x="15803" y="8638"/>
                  <a:pt x="15397" y="8843"/>
                </a:cubicBezTo>
                <a:cubicBezTo>
                  <a:pt x="14990" y="9046"/>
                  <a:pt x="15218" y="9655"/>
                  <a:pt x="15490" y="9475"/>
                </a:cubicBezTo>
                <a:cubicBezTo>
                  <a:pt x="15446" y="9559"/>
                  <a:pt x="15400" y="9612"/>
                  <a:pt x="15302" y="9624"/>
                </a:cubicBezTo>
                <a:cubicBezTo>
                  <a:pt x="15527" y="10138"/>
                  <a:pt x="15043" y="10023"/>
                  <a:pt x="14840" y="9709"/>
                </a:cubicBezTo>
                <a:lnTo>
                  <a:pt x="14842" y="9700"/>
                </a:lnTo>
                <a:cubicBezTo>
                  <a:pt x="14833" y="9734"/>
                  <a:pt x="14822" y="9767"/>
                  <a:pt x="14810" y="9799"/>
                </a:cubicBezTo>
                <a:cubicBezTo>
                  <a:pt x="14723" y="9791"/>
                  <a:pt x="14635" y="9776"/>
                  <a:pt x="14548" y="9751"/>
                </a:cubicBezTo>
                <a:cubicBezTo>
                  <a:pt x="14418" y="9770"/>
                  <a:pt x="14357" y="9921"/>
                  <a:pt x="14366" y="10048"/>
                </a:cubicBezTo>
                <a:lnTo>
                  <a:pt x="14272" y="10101"/>
                </a:lnTo>
                <a:cubicBezTo>
                  <a:pt x="14229" y="10390"/>
                  <a:pt x="14291" y="10708"/>
                  <a:pt x="14374" y="10979"/>
                </a:cubicBezTo>
                <a:cubicBezTo>
                  <a:pt x="14374" y="10980"/>
                  <a:pt x="14706" y="11039"/>
                  <a:pt x="14271" y="10982"/>
                </a:cubicBezTo>
                <a:cubicBezTo>
                  <a:pt x="14155" y="10964"/>
                  <a:pt x="14030" y="11072"/>
                  <a:pt x="14169" y="11177"/>
                </a:cubicBezTo>
                <a:cubicBezTo>
                  <a:pt x="14151" y="11181"/>
                  <a:pt x="14133" y="11186"/>
                  <a:pt x="14115" y="11190"/>
                </a:cubicBezTo>
                <a:cubicBezTo>
                  <a:pt x="14118" y="11235"/>
                  <a:pt x="14112" y="11279"/>
                  <a:pt x="14095" y="11321"/>
                </a:cubicBezTo>
                <a:cubicBezTo>
                  <a:pt x="14319" y="11407"/>
                  <a:pt x="14597" y="11381"/>
                  <a:pt x="14839" y="11383"/>
                </a:cubicBezTo>
                <a:lnTo>
                  <a:pt x="14792" y="11431"/>
                </a:lnTo>
                <a:cubicBezTo>
                  <a:pt x="14873" y="11397"/>
                  <a:pt x="15020" y="11368"/>
                  <a:pt x="15097" y="11423"/>
                </a:cubicBezTo>
                <a:cubicBezTo>
                  <a:pt x="14771" y="11469"/>
                  <a:pt x="14345" y="11485"/>
                  <a:pt x="14023" y="11419"/>
                </a:cubicBezTo>
                <a:cubicBezTo>
                  <a:pt x="13755" y="11424"/>
                  <a:pt x="13655" y="11208"/>
                  <a:pt x="13442" y="11208"/>
                </a:cubicBezTo>
                <a:cubicBezTo>
                  <a:pt x="13013" y="11208"/>
                  <a:pt x="12497" y="11570"/>
                  <a:pt x="12077" y="11683"/>
                </a:cubicBezTo>
                <a:cubicBezTo>
                  <a:pt x="12021" y="11598"/>
                  <a:pt x="11938" y="11539"/>
                  <a:pt x="11850" y="11498"/>
                </a:cubicBezTo>
                <a:cubicBezTo>
                  <a:pt x="11906" y="11380"/>
                  <a:pt x="11866" y="11334"/>
                  <a:pt x="11769" y="11310"/>
                </a:cubicBezTo>
                <a:lnTo>
                  <a:pt x="11748" y="11359"/>
                </a:lnTo>
                <a:cubicBezTo>
                  <a:pt x="11689" y="11359"/>
                  <a:pt x="11635" y="11383"/>
                  <a:pt x="11585" y="11434"/>
                </a:cubicBezTo>
                <a:cubicBezTo>
                  <a:pt x="11468" y="11434"/>
                  <a:pt x="11068" y="11450"/>
                  <a:pt x="10966" y="11574"/>
                </a:cubicBezTo>
                <a:cubicBezTo>
                  <a:pt x="11003" y="11493"/>
                  <a:pt x="11068" y="11431"/>
                  <a:pt x="11053" y="11329"/>
                </a:cubicBezTo>
                <a:cubicBezTo>
                  <a:pt x="11360" y="11511"/>
                  <a:pt x="11588" y="10834"/>
                  <a:pt x="11473" y="10674"/>
                </a:cubicBezTo>
                <a:cubicBezTo>
                  <a:pt x="11548" y="11455"/>
                  <a:pt x="12215" y="10595"/>
                  <a:pt x="12459" y="10590"/>
                </a:cubicBezTo>
                <a:cubicBezTo>
                  <a:pt x="12794" y="10584"/>
                  <a:pt x="12838" y="10062"/>
                  <a:pt x="12863" y="9783"/>
                </a:cubicBezTo>
                <a:cubicBezTo>
                  <a:pt x="12881" y="9580"/>
                  <a:pt x="13458" y="9031"/>
                  <a:pt x="13427" y="8990"/>
                </a:cubicBezTo>
                <a:cubicBezTo>
                  <a:pt x="13815" y="8727"/>
                  <a:pt x="12477" y="8225"/>
                  <a:pt x="13133" y="7551"/>
                </a:cubicBezTo>
                <a:cubicBezTo>
                  <a:pt x="13342" y="7340"/>
                  <a:pt x="13527" y="7230"/>
                  <a:pt x="13796" y="7110"/>
                </a:cubicBezTo>
                <a:cubicBezTo>
                  <a:pt x="13875" y="7074"/>
                  <a:pt x="14210" y="6821"/>
                  <a:pt x="14230" y="6703"/>
                </a:cubicBezTo>
                <a:cubicBezTo>
                  <a:pt x="14239" y="6653"/>
                  <a:pt x="14134" y="6487"/>
                  <a:pt x="14081" y="6528"/>
                </a:cubicBezTo>
                <a:cubicBezTo>
                  <a:pt x="14339" y="5989"/>
                  <a:pt x="15221" y="5978"/>
                  <a:pt x="15459" y="6484"/>
                </a:cubicBezTo>
                <a:cubicBezTo>
                  <a:pt x="15284" y="6479"/>
                  <a:pt x="14555" y="7035"/>
                  <a:pt x="14534" y="7238"/>
                </a:cubicBezTo>
                <a:cubicBezTo>
                  <a:pt x="14055" y="7196"/>
                  <a:pt x="14378" y="8563"/>
                  <a:pt x="14576" y="8615"/>
                </a:cubicBezTo>
                <a:cubicBezTo>
                  <a:pt x="14918" y="8705"/>
                  <a:pt x="14912" y="8954"/>
                  <a:pt x="15299" y="8832"/>
                </a:cubicBezTo>
                <a:cubicBezTo>
                  <a:pt x="16051" y="8597"/>
                  <a:pt x="16518" y="8623"/>
                  <a:pt x="17126" y="8089"/>
                </a:cubicBezTo>
                <a:cubicBezTo>
                  <a:pt x="17989" y="7332"/>
                  <a:pt x="17131" y="7189"/>
                  <a:pt x="16960" y="6564"/>
                </a:cubicBezTo>
                <a:cubicBezTo>
                  <a:pt x="16891" y="6310"/>
                  <a:pt x="16962" y="6056"/>
                  <a:pt x="16770" y="5802"/>
                </a:cubicBezTo>
                <a:cubicBezTo>
                  <a:pt x="16593" y="5570"/>
                  <a:pt x="16691" y="5715"/>
                  <a:pt x="16751" y="5394"/>
                </a:cubicBezTo>
                <a:cubicBezTo>
                  <a:pt x="16807" y="5092"/>
                  <a:pt x="16443" y="5099"/>
                  <a:pt x="16319" y="4939"/>
                </a:cubicBezTo>
                <a:cubicBezTo>
                  <a:pt x="16366" y="4885"/>
                  <a:pt x="16402" y="4805"/>
                  <a:pt x="16433" y="4739"/>
                </a:cubicBezTo>
                <a:cubicBezTo>
                  <a:pt x="16397" y="4728"/>
                  <a:pt x="16370" y="4705"/>
                  <a:pt x="16352" y="4670"/>
                </a:cubicBezTo>
                <a:cubicBezTo>
                  <a:pt x="16486" y="4552"/>
                  <a:pt x="16818" y="4457"/>
                  <a:pt x="16818" y="4297"/>
                </a:cubicBezTo>
                <a:lnTo>
                  <a:pt x="16777" y="4292"/>
                </a:lnTo>
                <a:lnTo>
                  <a:pt x="16781" y="4239"/>
                </a:lnTo>
                <a:cubicBezTo>
                  <a:pt x="16681" y="4213"/>
                  <a:pt x="16582" y="4186"/>
                  <a:pt x="16483" y="4156"/>
                </a:cubicBezTo>
                <a:cubicBezTo>
                  <a:pt x="16600" y="4125"/>
                  <a:pt x="16712" y="4098"/>
                  <a:pt x="16819" y="4044"/>
                </a:cubicBezTo>
                <a:lnTo>
                  <a:pt x="16812" y="4008"/>
                </a:lnTo>
                <a:cubicBezTo>
                  <a:pt x="16788" y="3879"/>
                  <a:pt x="16102" y="3767"/>
                  <a:pt x="16024" y="3831"/>
                </a:cubicBezTo>
                <a:cubicBezTo>
                  <a:pt x="16035" y="3485"/>
                  <a:pt x="15559" y="3828"/>
                  <a:pt x="15481" y="3933"/>
                </a:cubicBezTo>
                <a:cubicBezTo>
                  <a:pt x="15481" y="3810"/>
                  <a:pt x="15465" y="3728"/>
                  <a:pt x="15353" y="3712"/>
                </a:cubicBezTo>
                <a:cubicBezTo>
                  <a:pt x="15350" y="3712"/>
                  <a:pt x="15455" y="3766"/>
                  <a:pt x="15313" y="3766"/>
                </a:cubicBezTo>
                <a:lnTo>
                  <a:pt x="15313" y="3708"/>
                </a:lnTo>
                <a:cubicBezTo>
                  <a:pt x="14920" y="3686"/>
                  <a:pt x="14462" y="3793"/>
                  <a:pt x="14080" y="3879"/>
                </a:cubicBezTo>
                <a:lnTo>
                  <a:pt x="14055" y="3979"/>
                </a:lnTo>
                <a:cubicBezTo>
                  <a:pt x="14083" y="3996"/>
                  <a:pt x="14112" y="4012"/>
                  <a:pt x="14141" y="4027"/>
                </a:cubicBezTo>
                <a:cubicBezTo>
                  <a:pt x="14126" y="4044"/>
                  <a:pt x="13707" y="4059"/>
                  <a:pt x="13848" y="4178"/>
                </a:cubicBezTo>
                <a:cubicBezTo>
                  <a:pt x="13839" y="4188"/>
                  <a:pt x="13730" y="4250"/>
                  <a:pt x="13705" y="4250"/>
                </a:cubicBezTo>
                <a:cubicBezTo>
                  <a:pt x="13546" y="4221"/>
                  <a:pt x="13373" y="4049"/>
                  <a:pt x="13215" y="4159"/>
                </a:cubicBezTo>
                <a:cubicBezTo>
                  <a:pt x="13149" y="4204"/>
                  <a:pt x="12175" y="4604"/>
                  <a:pt x="12746" y="4666"/>
                </a:cubicBezTo>
                <a:cubicBezTo>
                  <a:pt x="12622" y="4865"/>
                  <a:pt x="12457" y="4653"/>
                  <a:pt x="12460" y="4524"/>
                </a:cubicBezTo>
                <a:cubicBezTo>
                  <a:pt x="12221" y="4504"/>
                  <a:pt x="11580" y="4848"/>
                  <a:pt x="11551" y="5086"/>
                </a:cubicBezTo>
                <a:cubicBezTo>
                  <a:pt x="11780" y="5070"/>
                  <a:pt x="12010" y="5019"/>
                  <a:pt x="12238" y="4987"/>
                </a:cubicBezTo>
                <a:cubicBezTo>
                  <a:pt x="11896" y="5054"/>
                  <a:pt x="11014" y="6216"/>
                  <a:pt x="10964" y="6583"/>
                </a:cubicBezTo>
                <a:cubicBezTo>
                  <a:pt x="10736" y="6624"/>
                  <a:pt x="10558" y="6970"/>
                  <a:pt x="10381" y="6977"/>
                </a:cubicBezTo>
                <a:cubicBezTo>
                  <a:pt x="10180" y="6977"/>
                  <a:pt x="10128" y="6767"/>
                  <a:pt x="10029" y="7058"/>
                </a:cubicBezTo>
                <a:cubicBezTo>
                  <a:pt x="9982" y="7191"/>
                  <a:pt x="9499" y="7414"/>
                  <a:pt x="9402" y="7408"/>
                </a:cubicBezTo>
                <a:cubicBezTo>
                  <a:pt x="9414" y="7463"/>
                  <a:pt x="9398" y="7484"/>
                  <a:pt x="9354" y="7470"/>
                </a:cubicBezTo>
                <a:cubicBezTo>
                  <a:pt x="9353" y="7486"/>
                  <a:pt x="9333" y="7546"/>
                  <a:pt x="9329" y="7554"/>
                </a:cubicBezTo>
                <a:cubicBezTo>
                  <a:pt x="9181" y="7675"/>
                  <a:pt x="8893" y="7604"/>
                  <a:pt x="8949" y="7955"/>
                </a:cubicBezTo>
                <a:cubicBezTo>
                  <a:pt x="8986" y="8192"/>
                  <a:pt x="8876" y="8784"/>
                  <a:pt x="8991" y="8987"/>
                </a:cubicBezTo>
                <a:cubicBezTo>
                  <a:pt x="9205" y="9365"/>
                  <a:pt x="9340" y="9782"/>
                  <a:pt x="9892" y="9648"/>
                </a:cubicBezTo>
                <a:cubicBezTo>
                  <a:pt x="10114" y="9595"/>
                  <a:pt x="10749" y="9192"/>
                  <a:pt x="10777" y="8955"/>
                </a:cubicBezTo>
                <a:cubicBezTo>
                  <a:pt x="10817" y="9053"/>
                  <a:pt x="10800" y="9070"/>
                  <a:pt x="10918" y="9140"/>
                </a:cubicBezTo>
                <a:cubicBezTo>
                  <a:pt x="10889" y="9162"/>
                  <a:pt x="10862" y="9182"/>
                  <a:pt x="10829" y="9197"/>
                </a:cubicBezTo>
                <a:cubicBezTo>
                  <a:pt x="11004" y="9640"/>
                  <a:pt x="11181" y="10022"/>
                  <a:pt x="11497" y="10369"/>
                </a:cubicBezTo>
                <a:cubicBezTo>
                  <a:pt x="11390" y="10425"/>
                  <a:pt x="11363" y="10548"/>
                  <a:pt x="11450" y="10649"/>
                </a:cubicBezTo>
                <a:cubicBezTo>
                  <a:pt x="11391" y="10614"/>
                  <a:pt x="11149" y="10769"/>
                  <a:pt x="11098" y="10800"/>
                </a:cubicBezTo>
                <a:cubicBezTo>
                  <a:pt x="10812" y="10969"/>
                  <a:pt x="11257" y="11023"/>
                  <a:pt x="11209" y="11174"/>
                </a:cubicBezTo>
                <a:cubicBezTo>
                  <a:pt x="11154" y="11353"/>
                  <a:pt x="10994" y="11044"/>
                  <a:pt x="11012" y="11359"/>
                </a:cubicBezTo>
                <a:cubicBezTo>
                  <a:pt x="10937" y="11384"/>
                  <a:pt x="10752" y="11439"/>
                  <a:pt x="10683" y="11373"/>
                </a:cubicBezTo>
                <a:cubicBezTo>
                  <a:pt x="10699" y="11309"/>
                  <a:pt x="10743" y="11117"/>
                  <a:pt x="10714" y="11059"/>
                </a:cubicBezTo>
                <a:cubicBezTo>
                  <a:pt x="10772" y="11086"/>
                  <a:pt x="10965" y="11220"/>
                  <a:pt x="10955" y="11230"/>
                </a:cubicBezTo>
                <a:cubicBezTo>
                  <a:pt x="11264" y="10919"/>
                  <a:pt x="10514" y="10683"/>
                  <a:pt x="10674" y="11018"/>
                </a:cubicBezTo>
                <a:cubicBezTo>
                  <a:pt x="10644" y="11008"/>
                  <a:pt x="10613" y="11003"/>
                  <a:pt x="10583" y="11002"/>
                </a:cubicBezTo>
                <a:cubicBezTo>
                  <a:pt x="10613" y="10960"/>
                  <a:pt x="10785" y="10573"/>
                  <a:pt x="10785" y="10566"/>
                </a:cubicBezTo>
                <a:cubicBezTo>
                  <a:pt x="10800" y="10576"/>
                  <a:pt x="10821" y="10590"/>
                  <a:pt x="10853" y="10592"/>
                </a:cubicBezTo>
                <a:cubicBezTo>
                  <a:pt x="10863" y="10592"/>
                  <a:pt x="10848" y="9927"/>
                  <a:pt x="10934" y="9698"/>
                </a:cubicBezTo>
                <a:cubicBezTo>
                  <a:pt x="10675" y="9764"/>
                  <a:pt x="10420" y="9916"/>
                  <a:pt x="10181" y="10042"/>
                </a:cubicBezTo>
                <a:cubicBezTo>
                  <a:pt x="9963" y="10157"/>
                  <a:pt x="9886" y="10826"/>
                  <a:pt x="10149" y="10909"/>
                </a:cubicBezTo>
                <a:cubicBezTo>
                  <a:pt x="10138" y="10964"/>
                  <a:pt x="10090" y="11008"/>
                  <a:pt x="10090" y="11067"/>
                </a:cubicBezTo>
                <a:cubicBezTo>
                  <a:pt x="10053" y="11050"/>
                  <a:pt x="10016" y="11033"/>
                  <a:pt x="9978" y="11019"/>
                </a:cubicBezTo>
                <a:cubicBezTo>
                  <a:pt x="10028" y="11079"/>
                  <a:pt x="10066" y="11359"/>
                  <a:pt x="10163" y="11359"/>
                </a:cubicBezTo>
                <a:cubicBezTo>
                  <a:pt x="10073" y="11359"/>
                  <a:pt x="10093" y="11378"/>
                  <a:pt x="10048" y="11394"/>
                </a:cubicBezTo>
                <a:cubicBezTo>
                  <a:pt x="10043" y="11379"/>
                  <a:pt x="10156" y="11600"/>
                  <a:pt x="10151" y="11616"/>
                </a:cubicBezTo>
                <a:cubicBezTo>
                  <a:pt x="10064" y="11619"/>
                  <a:pt x="9974" y="11681"/>
                  <a:pt x="10004" y="11789"/>
                </a:cubicBezTo>
                <a:cubicBezTo>
                  <a:pt x="9806" y="11773"/>
                  <a:pt x="8782" y="11721"/>
                  <a:pt x="9003" y="12226"/>
                </a:cubicBezTo>
                <a:cubicBezTo>
                  <a:pt x="8695" y="11907"/>
                  <a:pt x="8967" y="11872"/>
                  <a:pt x="8720" y="12293"/>
                </a:cubicBezTo>
                <a:cubicBezTo>
                  <a:pt x="8561" y="12563"/>
                  <a:pt x="8330" y="12770"/>
                  <a:pt x="8088" y="12915"/>
                </a:cubicBezTo>
                <a:lnTo>
                  <a:pt x="8082" y="12908"/>
                </a:lnTo>
                <a:cubicBezTo>
                  <a:pt x="7634" y="12869"/>
                  <a:pt x="7779" y="13179"/>
                  <a:pt x="7606" y="13396"/>
                </a:cubicBezTo>
                <a:cubicBezTo>
                  <a:pt x="7588" y="13419"/>
                  <a:pt x="7002" y="13803"/>
                  <a:pt x="7051" y="13801"/>
                </a:cubicBezTo>
                <a:cubicBezTo>
                  <a:pt x="6841" y="13801"/>
                  <a:pt x="6602" y="13612"/>
                  <a:pt x="6400" y="13559"/>
                </a:cubicBezTo>
                <a:cubicBezTo>
                  <a:pt x="6489" y="14164"/>
                  <a:pt x="6519" y="13881"/>
                  <a:pt x="6154" y="14145"/>
                </a:cubicBezTo>
                <a:cubicBezTo>
                  <a:pt x="5934" y="14026"/>
                  <a:pt x="5898" y="14077"/>
                  <a:pt x="5673" y="14077"/>
                </a:cubicBezTo>
                <a:cubicBezTo>
                  <a:pt x="5381" y="14162"/>
                  <a:pt x="5116" y="14590"/>
                  <a:pt x="5629" y="14617"/>
                </a:cubicBezTo>
                <a:cubicBezTo>
                  <a:pt x="5897" y="14801"/>
                  <a:pt x="6092" y="14655"/>
                  <a:pt x="6255" y="15020"/>
                </a:cubicBezTo>
                <a:cubicBezTo>
                  <a:pt x="6320" y="15168"/>
                  <a:pt x="6390" y="15262"/>
                  <a:pt x="6508" y="15350"/>
                </a:cubicBezTo>
                <a:cubicBezTo>
                  <a:pt x="6728" y="15390"/>
                  <a:pt x="6465" y="16646"/>
                  <a:pt x="6350" y="16730"/>
                </a:cubicBezTo>
                <a:cubicBezTo>
                  <a:pt x="6365" y="16739"/>
                  <a:pt x="5826" y="16663"/>
                  <a:pt x="5785" y="16667"/>
                </a:cubicBezTo>
                <a:cubicBezTo>
                  <a:pt x="5650" y="16689"/>
                  <a:pt x="5391" y="16822"/>
                  <a:pt x="5281" y="16822"/>
                </a:cubicBezTo>
                <a:cubicBezTo>
                  <a:pt x="5108" y="16822"/>
                  <a:pt x="3913" y="16170"/>
                  <a:pt x="3821" y="16687"/>
                </a:cubicBezTo>
                <a:cubicBezTo>
                  <a:pt x="3737" y="16815"/>
                  <a:pt x="3377" y="16828"/>
                  <a:pt x="3449" y="17021"/>
                </a:cubicBezTo>
                <a:cubicBezTo>
                  <a:pt x="3530" y="17238"/>
                  <a:pt x="3616" y="17337"/>
                  <a:pt x="3535" y="17599"/>
                </a:cubicBezTo>
                <a:cubicBezTo>
                  <a:pt x="3600" y="17542"/>
                  <a:pt x="3710" y="17444"/>
                  <a:pt x="3784" y="17425"/>
                </a:cubicBezTo>
                <a:cubicBezTo>
                  <a:pt x="3784" y="17438"/>
                  <a:pt x="3787" y="17450"/>
                  <a:pt x="3789" y="17462"/>
                </a:cubicBezTo>
                <a:cubicBezTo>
                  <a:pt x="3726" y="17490"/>
                  <a:pt x="3651" y="17551"/>
                  <a:pt x="3593" y="17601"/>
                </a:cubicBezTo>
                <a:cubicBezTo>
                  <a:pt x="3653" y="18066"/>
                  <a:pt x="3066" y="19278"/>
                  <a:pt x="3496" y="19389"/>
                </a:cubicBezTo>
                <a:cubicBezTo>
                  <a:pt x="3578" y="19503"/>
                  <a:pt x="3431" y="20005"/>
                  <a:pt x="3411" y="20118"/>
                </a:cubicBezTo>
                <a:cubicBezTo>
                  <a:pt x="3635" y="20121"/>
                  <a:pt x="3877" y="20136"/>
                  <a:pt x="4087" y="20055"/>
                </a:cubicBezTo>
                <a:cubicBezTo>
                  <a:pt x="4100" y="20019"/>
                  <a:pt x="4106" y="19981"/>
                  <a:pt x="4104" y="19942"/>
                </a:cubicBezTo>
                <a:cubicBezTo>
                  <a:pt x="4297" y="19997"/>
                  <a:pt x="4530" y="20799"/>
                  <a:pt x="4764" y="20513"/>
                </a:cubicBezTo>
                <a:cubicBezTo>
                  <a:pt x="4977" y="20254"/>
                  <a:pt x="5179" y="20132"/>
                  <a:pt x="5537" y="20162"/>
                </a:cubicBezTo>
                <a:cubicBezTo>
                  <a:pt x="5614" y="20159"/>
                  <a:pt x="5904" y="20198"/>
                  <a:pt x="5920" y="20206"/>
                </a:cubicBezTo>
                <a:cubicBezTo>
                  <a:pt x="6029" y="20263"/>
                  <a:pt x="6288" y="19747"/>
                  <a:pt x="6500" y="19720"/>
                </a:cubicBezTo>
                <a:cubicBezTo>
                  <a:pt x="6516" y="19542"/>
                  <a:pt x="6994" y="19064"/>
                  <a:pt x="6943" y="19014"/>
                </a:cubicBezTo>
                <a:cubicBezTo>
                  <a:pt x="6523" y="18603"/>
                  <a:pt x="7185" y="18457"/>
                  <a:pt x="7212" y="18069"/>
                </a:cubicBezTo>
                <a:cubicBezTo>
                  <a:pt x="7226" y="17872"/>
                  <a:pt x="8104" y="17676"/>
                  <a:pt x="8191" y="17252"/>
                </a:cubicBezTo>
                <a:cubicBezTo>
                  <a:pt x="7967" y="16762"/>
                  <a:pt x="8592" y="16828"/>
                  <a:pt x="8806" y="16828"/>
                </a:cubicBezTo>
                <a:cubicBezTo>
                  <a:pt x="9295" y="16828"/>
                  <a:pt x="9285" y="17028"/>
                  <a:pt x="9719" y="16681"/>
                </a:cubicBezTo>
                <a:cubicBezTo>
                  <a:pt x="10053" y="16798"/>
                  <a:pt x="10062" y="16395"/>
                  <a:pt x="10290" y="16395"/>
                </a:cubicBezTo>
                <a:cubicBezTo>
                  <a:pt x="10831" y="16420"/>
                  <a:pt x="10690" y="16988"/>
                  <a:pt x="11024" y="17234"/>
                </a:cubicBezTo>
                <a:cubicBezTo>
                  <a:pt x="11260" y="17408"/>
                  <a:pt x="11458" y="17785"/>
                  <a:pt x="11701" y="17900"/>
                </a:cubicBezTo>
                <a:cubicBezTo>
                  <a:pt x="11758" y="17927"/>
                  <a:pt x="12171" y="18115"/>
                  <a:pt x="12175" y="18125"/>
                </a:cubicBezTo>
                <a:cubicBezTo>
                  <a:pt x="12200" y="18189"/>
                  <a:pt x="12697" y="18605"/>
                  <a:pt x="12766" y="18619"/>
                </a:cubicBezTo>
                <a:cubicBezTo>
                  <a:pt x="12961" y="18658"/>
                  <a:pt x="13173" y="19418"/>
                  <a:pt x="12855" y="19436"/>
                </a:cubicBezTo>
                <a:cubicBezTo>
                  <a:pt x="12711" y="19427"/>
                  <a:pt x="12614" y="19631"/>
                  <a:pt x="12536" y="19631"/>
                </a:cubicBezTo>
                <a:cubicBezTo>
                  <a:pt x="12338" y="19631"/>
                  <a:pt x="11750" y="19355"/>
                  <a:pt x="11649" y="19598"/>
                </a:cubicBezTo>
                <a:cubicBezTo>
                  <a:pt x="11548" y="19838"/>
                  <a:pt x="12500" y="20365"/>
                  <a:pt x="12643" y="20365"/>
                </a:cubicBezTo>
                <a:cubicBezTo>
                  <a:pt x="12872" y="20365"/>
                  <a:pt x="12768" y="19773"/>
                  <a:pt x="12861" y="19652"/>
                </a:cubicBezTo>
                <a:cubicBezTo>
                  <a:pt x="12937" y="19784"/>
                  <a:pt x="13907" y="18987"/>
                  <a:pt x="13268" y="18723"/>
                </a:cubicBezTo>
                <a:cubicBezTo>
                  <a:pt x="13262" y="18582"/>
                  <a:pt x="13314" y="18477"/>
                  <a:pt x="13424" y="18409"/>
                </a:cubicBezTo>
                <a:cubicBezTo>
                  <a:pt x="13567" y="18409"/>
                  <a:pt x="13727" y="18623"/>
                  <a:pt x="13787" y="18743"/>
                </a:cubicBezTo>
                <a:cubicBezTo>
                  <a:pt x="14586" y="18482"/>
                  <a:pt x="13011" y="17868"/>
                  <a:pt x="13024" y="17811"/>
                </a:cubicBezTo>
                <a:cubicBezTo>
                  <a:pt x="13147" y="17540"/>
                  <a:pt x="12981" y="17586"/>
                  <a:pt x="12787" y="17586"/>
                </a:cubicBezTo>
                <a:cubicBezTo>
                  <a:pt x="12361" y="17586"/>
                  <a:pt x="12347" y="17113"/>
                  <a:pt x="12152" y="16852"/>
                </a:cubicBezTo>
                <a:cubicBezTo>
                  <a:pt x="11986" y="16631"/>
                  <a:pt x="11693" y="16567"/>
                  <a:pt x="11625" y="16266"/>
                </a:cubicBezTo>
                <a:cubicBezTo>
                  <a:pt x="11495" y="15947"/>
                  <a:pt x="11716" y="15939"/>
                  <a:pt x="11865" y="15798"/>
                </a:cubicBezTo>
                <a:cubicBezTo>
                  <a:pt x="11841" y="15934"/>
                  <a:pt x="11936" y="16125"/>
                  <a:pt x="12008" y="16225"/>
                </a:cubicBezTo>
                <a:cubicBezTo>
                  <a:pt x="12087" y="16161"/>
                  <a:pt x="12165" y="16158"/>
                  <a:pt x="12238" y="16230"/>
                </a:cubicBezTo>
                <a:cubicBezTo>
                  <a:pt x="12254" y="16203"/>
                  <a:pt x="12301" y="16084"/>
                  <a:pt x="12329" y="16084"/>
                </a:cubicBezTo>
                <a:cubicBezTo>
                  <a:pt x="12326" y="16084"/>
                  <a:pt x="12736" y="16816"/>
                  <a:pt x="12978" y="16874"/>
                </a:cubicBezTo>
                <a:cubicBezTo>
                  <a:pt x="13227" y="16935"/>
                  <a:pt x="13439" y="17177"/>
                  <a:pt x="13668" y="17310"/>
                </a:cubicBezTo>
                <a:lnTo>
                  <a:pt x="13669" y="17307"/>
                </a:lnTo>
                <a:cubicBezTo>
                  <a:pt x="13733" y="17355"/>
                  <a:pt x="13798" y="17401"/>
                  <a:pt x="13864" y="17445"/>
                </a:cubicBezTo>
                <a:cubicBezTo>
                  <a:pt x="13864" y="17445"/>
                  <a:pt x="13885" y="17398"/>
                  <a:pt x="13900" y="17364"/>
                </a:cubicBezTo>
                <a:cubicBezTo>
                  <a:pt x="13996" y="17452"/>
                  <a:pt x="14062" y="17548"/>
                  <a:pt x="14179" y="17579"/>
                </a:cubicBezTo>
                <a:cubicBezTo>
                  <a:pt x="14188" y="18042"/>
                  <a:pt x="14082" y="18142"/>
                  <a:pt x="14348" y="18508"/>
                </a:cubicBezTo>
                <a:cubicBezTo>
                  <a:pt x="14118" y="18572"/>
                  <a:pt x="14350" y="18860"/>
                  <a:pt x="14440" y="18766"/>
                </a:cubicBezTo>
                <a:cubicBezTo>
                  <a:pt x="14548" y="18913"/>
                  <a:pt x="14606" y="19070"/>
                  <a:pt x="14601" y="19267"/>
                </a:cubicBezTo>
                <a:cubicBezTo>
                  <a:pt x="14744" y="19281"/>
                  <a:pt x="14884" y="19339"/>
                  <a:pt x="15005" y="19427"/>
                </a:cubicBezTo>
                <a:cubicBezTo>
                  <a:pt x="14917" y="19488"/>
                  <a:pt x="14849" y="19566"/>
                  <a:pt x="14799" y="19661"/>
                </a:cubicBezTo>
                <a:cubicBezTo>
                  <a:pt x="15088" y="19884"/>
                  <a:pt x="14876" y="20093"/>
                  <a:pt x="15189" y="20301"/>
                </a:cubicBezTo>
                <a:cubicBezTo>
                  <a:pt x="15191" y="20250"/>
                  <a:pt x="15226" y="20114"/>
                  <a:pt x="15288" y="20127"/>
                </a:cubicBezTo>
                <a:cubicBezTo>
                  <a:pt x="15355" y="20187"/>
                  <a:pt x="15355" y="20379"/>
                  <a:pt x="15421" y="20470"/>
                </a:cubicBezTo>
                <a:cubicBezTo>
                  <a:pt x="15434" y="20425"/>
                  <a:pt x="15471" y="20268"/>
                  <a:pt x="15516" y="20268"/>
                </a:cubicBezTo>
                <a:cubicBezTo>
                  <a:pt x="15547" y="20268"/>
                  <a:pt x="15717" y="20454"/>
                  <a:pt x="15743" y="20497"/>
                </a:cubicBezTo>
                <a:cubicBezTo>
                  <a:pt x="15738" y="20305"/>
                  <a:pt x="15706" y="20091"/>
                  <a:pt x="15617" y="19924"/>
                </a:cubicBezTo>
                <a:cubicBezTo>
                  <a:pt x="15719" y="19942"/>
                  <a:pt x="15823" y="19903"/>
                  <a:pt x="15832" y="19775"/>
                </a:cubicBezTo>
                <a:cubicBezTo>
                  <a:pt x="15922" y="19798"/>
                  <a:pt x="16115" y="19795"/>
                  <a:pt x="16041" y="19632"/>
                </a:cubicBezTo>
                <a:cubicBezTo>
                  <a:pt x="16106" y="19623"/>
                  <a:pt x="16168" y="19588"/>
                  <a:pt x="16210" y="19533"/>
                </a:cubicBezTo>
                <a:cubicBezTo>
                  <a:pt x="16138" y="19390"/>
                  <a:pt x="15206" y="18490"/>
                  <a:pt x="15434" y="18346"/>
                </a:cubicBezTo>
                <a:cubicBezTo>
                  <a:pt x="15434" y="18538"/>
                  <a:pt x="16064" y="18478"/>
                  <a:pt x="15848" y="18241"/>
                </a:cubicBezTo>
                <a:cubicBezTo>
                  <a:pt x="16147" y="18267"/>
                  <a:pt x="16258" y="18137"/>
                  <a:pt x="16617" y="18242"/>
                </a:cubicBezTo>
                <a:cubicBezTo>
                  <a:pt x="16734" y="18192"/>
                  <a:pt x="16850" y="18068"/>
                  <a:pt x="16906" y="17901"/>
                </a:cubicBezTo>
                <a:cubicBezTo>
                  <a:pt x="16903" y="17828"/>
                  <a:pt x="16902" y="17625"/>
                  <a:pt x="16866" y="17758"/>
                </a:cubicBezTo>
                <a:cubicBezTo>
                  <a:pt x="16932" y="17767"/>
                  <a:pt x="16992" y="17749"/>
                  <a:pt x="17046" y="17705"/>
                </a:cubicBezTo>
                <a:lnTo>
                  <a:pt x="16983" y="17599"/>
                </a:lnTo>
                <a:cubicBezTo>
                  <a:pt x="17041" y="17536"/>
                  <a:pt x="17165" y="17507"/>
                  <a:pt x="17236" y="17493"/>
                </a:cubicBezTo>
                <a:cubicBezTo>
                  <a:pt x="17318" y="17587"/>
                  <a:pt x="17416" y="17601"/>
                  <a:pt x="17530" y="17550"/>
                </a:cubicBezTo>
                <a:cubicBezTo>
                  <a:pt x="17577" y="17423"/>
                  <a:pt x="17512" y="17280"/>
                  <a:pt x="17384" y="17221"/>
                </a:cubicBezTo>
                <a:cubicBezTo>
                  <a:pt x="17687" y="16967"/>
                  <a:pt x="17565" y="16430"/>
                  <a:pt x="17781" y="16125"/>
                </a:cubicBezTo>
                <a:cubicBezTo>
                  <a:pt x="17837" y="16046"/>
                  <a:pt x="18329" y="15957"/>
                  <a:pt x="17971" y="15701"/>
                </a:cubicBezTo>
                <a:cubicBezTo>
                  <a:pt x="18121" y="15585"/>
                  <a:pt x="18165" y="15400"/>
                  <a:pt x="18293" y="15287"/>
                </a:cubicBezTo>
                <a:cubicBezTo>
                  <a:pt x="18372" y="15279"/>
                  <a:pt x="18564" y="15290"/>
                  <a:pt x="18635" y="15243"/>
                </a:cubicBezTo>
                <a:cubicBezTo>
                  <a:pt x="18639" y="15249"/>
                  <a:pt x="18650" y="15264"/>
                  <a:pt x="18652" y="15266"/>
                </a:cubicBezTo>
                <a:cubicBezTo>
                  <a:pt x="18287" y="15517"/>
                  <a:pt x="19128" y="15507"/>
                  <a:pt x="19226" y="15549"/>
                </a:cubicBezTo>
                <a:cubicBezTo>
                  <a:pt x="19228" y="15542"/>
                  <a:pt x="18587" y="15928"/>
                  <a:pt x="18950" y="15928"/>
                </a:cubicBezTo>
                <a:cubicBezTo>
                  <a:pt x="19011" y="15928"/>
                  <a:pt x="19283" y="15953"/>
                  <a:pt x="19298" y="16033"/>
                </a:cubicBezTo>
                <a:cubicBezTo>
                  <a:pt x="19302" y="16103"/>
                  <a:pt x="19240" y="16207"/>
                  <a:pt x="19205" y="16258"/>
                </a:cubicBezTo>
                <a:cubicBezTo>
                  <a:pt x="19386" y="16473"/>
                  <a:pt x="20060" y="16208"/>
                  <a:pt x="20085" y="16168"/>
                </a:cubicBezTo>
                <a:cubicBezTo>
                  <a:pt x="20101" y="16142"/>
                  <a:pt x="20747" y="15587"/>
                  <a:pt x="20176" y="15813"/>
                </a:cubicBezTo>
                <a:cubicBezTo>
                  <a:pt x="19948" y="15902"/>
                  <a:pt x="19869" y="15644"/>
                  <a:pt x="19761" y="15477"/>
                </a:cubicBezTo>
                <a:cubicBezTo>
                  <a:pt x="19950" y="15446"/>
                  <a:pt x="20140" y="15270"/>
                  <a:pt x="20317" y="15219"/>
                </a:cubicBezTo>
                <a:cubicBezTo>
                  <a:pt x="20455" y="15239"/>
                  <a:pt x="21096" y="15033"/>
                  <a:pt x="20948" y="14830"/>
                </a:cubicBezTo>
                <a:cubicBezTo>
                  <a:pt x="21018" y="14787"/>
                  <a:pt x="21111" y="14689"/>
                  <a:pt x="21196" y="14689"/>
                </a:cubicBezTo>
                <a:cubicBezTo>
                  <a:pt x="21540" y="14453"/>
                  <a:pt x="21283" y="14523"/>
                  <a:pt x="21399" y="14198"/>
                </a:cubicBezTo>
                <a:cubicBezTo>
                  <a:pt x="21401" y="14194"/>
                  <a:pt x="21392" y="14218"/>
                  <a:pt x="21399" y="14198"/>
                </a:cubicBezTo>
                <a:close/>
              </a:path>
            </a:pathLst>
          </a:custGeom>
          <a:solidFill>
            <a:schemeClr val="bg1">
              <a:lumMod val="95000"/>
            </a:schemeClr>
          </a:solidFill>
          <a:ln w="12700" cap="flat">
            <a:noFill/>
            <a:miter lim="400000"/>
          </a:ln>
          <a:effectLst/>
        </p:spPr>
        <p:txBody>
          <a:bodyPr wrap="square" lIns="0" tIns="0" rIns="0" bIns="0" numCol="1" anchor="ctr">
            <a:noAutofit/>
          </a:bodyPr>
          <a:lstStyle/>
          <a:p>
            <a:pPr defTabSz="410780">
              <a:lnSpc>
                <a:spcPct val="110000"/>
              </a:lnSpc>
              <a:spcBef>
                <a:spcPts val="2110"/>
              </a:spcBef>
              <a:defRPr sz="2000">
                <a:solidFill>
                  <a:srgbClr val="4C4C4C"/>
                </a:solidFill>
                <a:latin typeface="Helvetica Neue Light"/>
                <a:ea typeface="Helvetica Neue Light"/>
                <a:cs typeface="Helvetica Neue Light"/>
                <a:sym typeface="Helvetica Neue Light"/>
              </a:defRPr>
            </a:pPr>
            <a:endParaRPr lang="en-US" sz="1407" dirty="0">
              <a:latin typeface="Lato Light" panose="020F0502020204030203" pitchFamily="34" charset="0"/>
              <a:ea typeface="Lato Light" panose="020F0502020204030203" pitchFamily="34" charset="0"/>
              <a:cs typeface="Lato Light" panose="020F0502020204030203" pitchFamily="34" charset="0"/>
            </a:endParaRPr>
          </a:p>
        </p:txBody>
      </p:sp>
      <p:sp>
        <p:nvSpPr>
          <p:cNvPr id="389" name="Shape 4385">
            <a:extLst>
              <a:ext uri="{FF2B5EF4-FFF2-40B4-BE49-F238E27FC236}">
                <a16:creationId xmlns:a16="http://schemas.microsoft.com/office/drawing/2014/main" id="{6A845634-1E6E-4E5E-A987-08BC4993A57D}"/>
              </a:ext>
            </a:extLst>
          </p:cNvPr>
          <p:cNvSpPr/>
          <p:nvPr/>
        </p:nvSpPr>
        <p:spPr>
          <a:xfrm>
            <a:off x="1729105" y="1680746"/>
            <a:ext cx="3851854" cy="2290766"/>
          </a:xfrm>
          <a:custGeom>
            <a:avLst/>
            <a:gdLst/>
            <a:ahLst/>
            <a:cxnLst>
              <a:cxn ang="0">
                <a:pos x="wd2" y="hd2"/>
              </a:cxn>
              <a:cxn ang="5400000">
                <a:pos x="wd2" y="hd2"/>
              </a:cxn>
              <a:cxn ang="10800000">
                <a:pos x="wd2" y="hd2"/>
              </a:cxn>
              <a:cxn ang="16200000">
                <a:pos x="wd2" y="hd2"/>
              </a:cxn>
            </a:cxnLst>
            <a:rect l="0" t="0" r="r" b="b"/>
            <a:pathLst>
              <a:path w="21446" h="21465" extrusionOk="0">
                <a:moveTo>
                  <a:pt x="13469" y="3580"/>
                </a:moveTo>
                <a:cubicBezTo>
                  <a:pt x="13690" y="3383"/>
                  <a:pt x="13241" y="3198"/>
                  <a:pt x="13219" y="3654"/>
                </a:cubicBezTo>
                <a:cubicBezTo>
                  <a:pt x="13301" y="3647"/>
                  <a:pt x="13395" y="3646"/>
                  <a:pt x="13469" y="3580"/>
                </a:cubicBezTo>
                <a:cubicBezTo>
                  <a:pt x="13488" y="3563"/>
                  <a:pt x="13429" y="3616"/>
                  <a:pt x="13469" y="3580"/>
                </a:cubicBezTo>
                <a:close/>
                <a:moveTo>
                  <a:pt x="11812" y="960"/>
                </a:moveTo>
                <a:cubicBezTo>
                  <a:pt x="11873" y="975"/>
                  <a:pt x="12398" y="1247"/>
                  <a:pt x="12369" y="928"/>
                </a:cubicBezTo>
                <a:cubicBezTo>
                  <a:pt x="12352" y="748"/>
                  <a:pt x="11916" y="805"/>
                  <a:pt x="11875" y="809"/>
                </a:cubicBezTo>
                <a:cubicBezTo>
                  <a:pt x="11884" y="836"/>
                  <a:pt x="11971" y="855"/>
                  <a:pt x="11950" y="900"/>
                </a:cubicBezTo>
                <a:cubicBezTo>
                  <a:pt x="11906" y="934"/>
                  <a:pt x="11860" y="954"/>
                  <a:pt x="11812" y="960"/>
                </a:cubicBezTo>
                <a:cubicBezTo>
                  <a:pt x="11855" y="970"/>
                  <a:pt x="11846" y="935"/>
                  <a:pt x="11812" y="960"/>
                </a:cubicBezTo>
                <a:close/>
                <a:moveTo>
                  <a:pt x="11540" y="1517"/>
                </a:moveTo>
                <a:cubicBezTo>
                  <a:pt x="11523" y="1533"/>
                  <a:pt x="11515" y="1556"/>
                  <a:pt x="11513" y="1586"/>
                </a:cubicBezTo>
                <a:cubicBezTo>
                  <a:pt x="11538" y="1636"/>
                  <a:pt x="11761" y="1589"/>
                  <a:pt x="11799" y="1596"/>
                </a:cubicBezTo>
                <a:cubicBezTo>
                  <a:pt x="11765" y="1635"/>
                  <a:pt x="11679" y="1642"/>
                  <a:pt x="11690" y="1736"/>
                </a:cubicBezTo>
                <a:cubicBezTo>
                  <a:pt x="11831" y="1761"/>
                  <a:pt x="11923" y="1736"/>
                  <a:pt x="12042" y="1625"/>
                </a:cubicBezTo>
                <a:cubicBezTo>
                  <a:pt x="12061" y="1607"/>
                  <a:pt x="12223" y="1391"/>
                  <a:pt x="12222" y="1391"/>
                </a:cubicBezTo>
                <a:cubicBezTo>
                  <a:pt x="12126" y="1354"/>
                  <a:pt x="11952" y="1272"/>
                  <a:pt x="11858" y="1369"/>
                </a:cubicBezTo>
                <a:cubicBezTo>
                  <a:pt x="11884" y="1388"/>
                  <a:pt x="11887" y="1414"/>
                  <a:pt x="11867" y="1446"/>
                </a:cubicBezTo>
                <a:cubicBezTo>
                  <a:pt x="11799" y="1500"/>
                  <a:pt x="11752" y="1289"/>
                  <a:pt x="11704" y="1540"/>
                </a:cubicBezTo>
                <a:cubicBezTo>
                  <a:pt x="11678" y="1531"/>
                  <a:pt x="11511" y="1089"/>
                  <a:pt x="11476" y="1479"/>
                </a:cubicBezTo>
                <a:cubicBezTo>
                  <a:pt x="11501" y="1477"/>
                  <a:pt x="11546" y="1464"/>
                  <a:pt x="11540" y="1517"/>
                </a:cubicBezTo>
                <a:cubicBezTo>
                  <a:pt x="11536" y="1546"/>
                  <a:pt x="11546" y="1464"/>
                  <a:pt x="11540" y="1517"/>
                </a:cubicBezTo>
                <a:close/>
                <a:moveTo>
                  <a:pt x="12343" y="1561"/>
                </a:moveTo>
                <a:cubicBezTo>
                  <a:pt x="12265" y="1570"/>
                  <a:pt x="12133" y="1594"/>
                  <a:pt x="12080" y="1710"/>
                </a:cubicBezTo>
                <a:cubicBezTo>
                  <a:pt x="12161" y="1774"/>
                  <a:pt x="12265" y="1833"/>
                  <a:pt x="12355" y="1780"/>
                </a:cubicBezTo>
                <a:cubicBezTo>
                  <a:pt x="12461" y="1718"/>
                  <a:pt x="12469" y="1547"/>
                  <a:pt x="12343" y="1561"/>
                </a:cubicBezTo>
                <a:cubicBezTo>
                  <a:pt x="12307" y="1565"/>
                  <a:pt x="12374" y="1558"/>
                  <a:pt x="12343" y="1561"/>
                </a:cubicBezTo>
                <a:close/>
                <a:moveTo>
                  <a:pt x="12410" y="1343"/>
                </a:moveTo>
                <a:cubicBezTo>
                  <a:pt x="12467" y="1514"/>
                  <a:pt x="12652" y="1308"/>
                  <a:pt x="12689" y="1408"/>
                </a:cubicBezTo>
                <a:cubicBezTo>
                  <a:pt x="12756" y="1588"/>
                  <a:pt x="12564" y="1588"/>
                  <a:pt x="12560" y="1740"/>
                </a:cubicBezTo>
                <a:cubicBezTo>
                  <a:pt x="12559" y="1806"/>
                  <a:pt x="12970" y="1815"/>
                  <a:pt x="12882" y="1823"/>
                </a:cubicBezTo>
                <a:cubicBezTo>
                  <a:pt x="13030" y="1809"/>
                  <a:pt x="13368" y="1722"/>
                  <a:pt x="13506" y="1791"/>
                </a:cubicBezTo>
                <a:cubicBezTo>
                  <a:pt x="13589" y="1831"/>
                  <a:pt x="13984" y="1801"/>
                  <a:pt x="13919" y="1685"/>
                </a:cubicBezTo>
                <a:cubicBezTo>
                  <a:pt x="13920" y="1684"/>
                  <a:pt x="14003" y="1641"/>
                  <a:pt x="13980" y="1596"/>
                </a:cubicBezTo>
                <a:cubicBezTo>
                  <a:pt x="13771" y="1178"/>
                  <a:pt x="13157" y="1950"/>
                  <a:pt x="12958" y="1442"/>
                </a:cubicBezTo>
                <a:cubicBezTo>
                  <a:pt x="12992" y="1431"/>
                  <a:pt x="13058" y="1449"/>
                  <a:pt x="13081" y="1404"/>
                </a:cubicBezTo>
                <a:cubicBezTo>
                  <a:pt x="12885" y="1396"/>
                  <a:pt x="12527" y="1042"/>
                  <a:pt x="12348" y="1306"/>
                </a:cubicBezTo>
                <a:cubicBezTo>
                  <a:pt x="12378" y="1305"/>
                  <a:pt x="12395" y="1296"/>
                  <a:pt x="12410" y="1343"/>
                </a:cubicBezTo>
                <a:cubicBezTo>
                  <a:pt x="12442" y="1437"/>
                  <a:pt x="12395" y="1296"/>
                  <a:pt x="12410" y="1343"/>
                </a:cubicBezTo>
                <a:close/>
                <a:moveTo>
                  <a:pt x="12979" y="817"/>
                </a:moveTo>
                <a:cubicBezTo>
                  <a:pt x="13039" y="880"/>
                  <a:pt x="13140" y="853"/>
                  <a:pt x="13207" y="852"/>
                </a:cubicBezTo>
                <a:cubicBezTo>
                  <a:pt x="13084" y="883"/>
                  <a:pt x="12938" y="1062"/>
                  <a:pt x="13163" y="1076"/>
                </a:cubicBezTo>
                <a:cubicBezTo>
                  <a:pt x="13377" y="1089"/>
                  <a:pt x="13572" y="1002"/>
                  <a:pt x="13782" y="958"/>
                </a:cubicBezTo>
                <a:cubicBezTo>
                  <a:pt x="13737" y="967"/>
                  <a:pt x="13584" y="986"/>
                  <a:pt x="13559" y="1099"/>
                </a:cubicBezTo>
                <a:cubicBezTo>
                  <a:pt x="13580" y="1003"/>
                  <a:pt x="13857" y="1306"/>
                  <a:pt x="13649" y="1256"/>
                </a:cubicBezTo>
                <a:cubicBezTo>
                  <a:pt x="13603" y="1244"/>
                  <a:pt x="13628" y="1137"/>
                  <a:pt x="13533" y="1140"/>
                </a:cubicBezTo>
                <a:cubicBezTo>
                  <a:pt x="13468" y="1141"/>
                  <a:pt x="13398" y="1300"/>
                  <a:pt x="13427" y="1300"/>
                </a:cubicBezTo>
                <a:cubicBezTo>
                  <a:pt x="13372" y="1300"/>
                  <a:pt x="13151" y="1319"/>
                  <a:pt x="13130" y="1438"/>
                </a:cubicBezTo>
                <a:cubicBezTo>
                  <a:pt x="13122" y="1478"/>
                  <a:pt x="13969" y="1488"/>
                  <a:pt x="13968" y="1499"/>
                </a:cubicBezTo>
                <a:cubicBezTo>
                  <a:pt x="13938" y="1648"/>
                  <a:pt x="14311" y="1463"/>
                  <a:pt x="14398" y="1368"/>
                </a:cubicBezTo>
                <a:cubicBezTo>
                  <a:pt x="14357" y="1353"/>
                  <a:pt x="14292" y="1384"/>
                  <a:pt x="14260" y="1341"/>
                </a:cubicBezTo>
                <a:cubicBezTo>
                  <a:pt x="14328" y="1202"/>
                  <a:pt x="14429" y="1318"/>
                  <a:pt x="14487" y="1150"/>
                </a:cubicBezTo>
                <a:cubicBezTo>
                  <a:pt x="14506" y="1095"/>
                  <a:pt x="14889" y="1042"/>
                  <a:pt x="14959" y="976"/>
                </a:cubicBezTo>
                <a:cubicBezTo>
                  <a:pt x="14946" y="967"/>
                  <a:pt x="14932" y="942"/>
                  <a:pt x="14913" y="938"/>
                </a:cubicBezTo>
                <a:cubicBezTo>
                  <a:pt x="15062" y="776"/>
                  <a:pt x="15306" y="784"/>
                  <a:pt x="15473" y="712"/>
                </a:cubicBezTo>
                <a:cubicBezTo>
                  <a:pt x="15689" y="619"/>
                  <a:pt x="15909" y="518"/>
                  <a:pt x="16130" y="463"/>
                </a:cubicBezTo>
                <a:cubicBezTo>
                  <a:pt x="16193" y="447"/>
                  <a:pt x="16764" y="265"/>
                  <a:pt x="16765" y="236"/>
                </a:cubicBezTo>
                <a:cubicBezTo>
                  <a:pt x="16780" y="-66"/>
                  <a:pt x="13963" y="274"/>
                  <a:pt x="13714" y="383"/>
                </a:cubicBezTo>
                <a:cubicBezTo>
                  <a:pt x="13768" y="359"/>
                  <a:pt x="13968" y="567"/>
                  <a:pt x="14046" y="575"/>
                </a:cubicBezTo>
                <a:cubicBezTo>
                  <a:pt x="14043" y="577"/>
                  <a:pt x="14036" y="582"/>
                  <a:pt x="14032" y="585"/>
                </a:cubicBezTo>
                <a:cubicBezTo>
                  <a:pt x="14084" y="583"/>
                  <a:pt x="14144" y="588"/>
                  <a:pt x="14191" y="615"/>
                </a:cubicBezTo>
                <a:cubicBezTo>
                  <a:pt x="14055" y="618"/>
                  <a:pt x="13967" y="761"/>
                  <a:pt x="13851" y="771"/>
                </a:cubicBezTo>
                <a:cubicBezTo>
                  <a:pt x="13991" y="759"/>
                  <a:pt x="13756" y="604"/>
                  <a:pt x="13742" y="599"/>
                </a:cubicBezTo>
                <a:cubicBezTo>
                  <a:pt x="13560" y="535"/>
                  <a:pt x="13514" y="377"/>
                  <a:pt x="13306" y="485"/>
                </a:cubicBezTo>
                <a:cubicBezTo>
                  <a:pt x="13258" y="510"/>
                  <a:pt x="12851" y="682"/>
                  <a:pt x="12979" y="817"/>
                </a:cubicBezTo>
                <a:cubicBezTo>
                  <a:pt x="13039" y="880"/>
                  <a:pt x="12960" y="797"/>
                  <a:pt x="12979" y="817"/>
                </a:cubicBezTo>
                <a:close/>
                <a:moveTo>
                  <a:pt x="9956" y="1618"/>
                </a:moveTo>
                <a:cubicBezTo>
                  <a:pt x="9927" y="1633"/>
                  <a:pt x="9879" y="1633"/>
                  <a:pt x="9868" y="1692"/>
                </a:cubicBezTo>
                <a:cubicBezTo>
                  <a:pt x="10060" y="1776"/>
                  <a:pt x="10254" y="1701"/>
                  <a:pt x="10449" y="1719"/>
                </a:cubicBezTo>
                <a:cubicBezTo>
                  <a:pt x="10414" y="1846"/>
                  <a:pt x="10163" y="1702"/>
                  <a:pt x="10102" y="1839"/>
                </a:cubicBezTo>
                <a:cubicBezTo>
                  <a:pt x="10212" y="2004"/>
                  <a:pt x="11297" y="1629"/>
                  <a:pt x="11264" y="1523"/>
                </a:cubicBezTo>
                <a:cubicBezTo>
                  <a:pt x="11241" y="1448"/>
                  <a:pt x="11154" y="1519"/>
                  <a:pt x="11121" y="1520"/>
                </a:cubicBezTo>
                <a:cubicBezTo>
                  <a:pt x="11011" y="1524"/>
                  <a:pt x="11109" y="1406"/>
                  <a:pt x="11112" y="1336"/>
                </a:cubicBezTo>
                <a:cubicBezTo>
                  <a:pt x="11026" y="1349"/>
                  <a:pt x="10944" y="1421"/>
                  <a:pt x="10859" y="1426"/>
                </a:cubicBezTo>
                <a:cubicBezTo>
                  <a:pt x="10881" y="1445"/>
                  <a:pt x="10896" y="1473"/>
                  <a:pt x="10905" y="1509"/>
                </a:cubicBezTo>
                <a:cubicBezTo>
                  <a:pt x="10875" y="1530"/>
                  <a:pt x="10842" y="1541"/>
                  <a:pt x="10809" y="1541"/>
                </a:cubicBezTo>
                <a:cubicBezTo>
                  <a:pt x="10841" y="1552"/>
                  <a:pt x="10868" y="1578"/>
                  <a:pt x="10889" y="1621"/>
                </a:cubicBezTo>
                <a:cubicBezTo>
                  <a:pt x="10849" y="1635"/>
                  <a:pt x="10644" y="1653"/>
                  <a:pt x="10590" y="1617"/>
                </a:cubicBezTo>
                <a:cubicBezTo>
                  <a:pt x="10607" y="1602"/>
                  <a:pt x="10622" y="1580"/>
                  <a:pt x="10634" y="1552"/>
                </a:cubicBezTo>
                <a:cubicBezTo>
                  <a:pt x="10580" y="1475"/>
                  <a:pt x="10519" y="1438"/>
                  <a:pt x="10450" y="1441"/>
                </a:cubicBezTo>
                <a:cubicBezTo>
                  <a:pt x="10531" y="1424"/>
                  <a:pt x="10345" y="1416"/>
                  <a:pt x="10317" y="1424"/>
                </a:cubicBezTo>
                <a:cubicBezTo>
                  <a:pt x="10190" y="1463"/>
                  <a:pt x="10078" y="1555"/>
                  <a:pt x="9956" y="1618"/>
                </a:cubicBezTo>
                <a:cubicBezTo>
                  <a:pt x="9927" y="1633"/>
                  <a:pt x="9966" y="1613"/>
                  <a:pt x="9956" y="1618"/>
                </a:cubicBezTo>
                <a:close/>
                <a:moveTo>
                  <a:pt x="9929" y="1543"/>
                </a:moveTo>
                <a:cubicBezTo>
                  <a:pt x="9974" y="1525"/>
                  <a:pt x="10014" y="1494"/>
                  <a:pt x="10050" y="1451"/>
                </a:cubicBezTo>
                <a:cubicBezTo>
                  <a:pt x="10045" y="1424"/>
                  <a:pt x="9794" y="1559"/>
                  <a:pt x="9801" y="1595"/>
                </a:cubicBezTo>
                <a:cubicBezTo>
                  <a:pt x="9845" y="1591"/>
                  <a:pt x="9888" y="1574"/>
                  <a:pt x="9929" y="1543"/>
                </a:cubicBezTo>
                <a:cubicBezTo>
                  <a:pt x="9998" y="1504"/>
                  <a:pt x="9860" y="1583"/>
                  <a:pt x="9929" y="1543"/>
                </a:cubicBezTo>
                <a:close/>
                <a:moveTo>
                  <a:pt x="8458" y="2722"/>
                </a:moveTo>
                <a:cubicBezTo>
                  <a:pt x="8713" y="2649"/>
                  <a:pt x="8960" y="2539"/>
                  <a:pt x="9190" y="2343"/>
                </a:cubicBezTo>
                <a:cubicBezTo>
                  <a:pt x="9189" y="2344"/>
                  <a:pt x="9188" y="2345"/>
                  <a:pt x="9187" y="2346"/>
                </a:cubicBezTo>
                <a:cubicBezTo>
                  <a:pt x="9193" y="2361"/>
                  <a:pt x="9203" y="2377"/>
                  <a:pt x="9208" y="2394"/>
                </a:cubicBezTo>
                <a:cubicBezTo>
                  <a:pt x="9114" y="2398"/>
                  <a:pt x="9036" y="2443"/>
                  <a:pt x="8963" y="2542"/>
                </a:cubicBezTo>
                <a:cubicBezTo>
                  <a:pt x="9074" y="2554"/>
                  <a:pt x="9184" y="2585"/>
                  <a:pt x="9297" y="2599"/>
                </a:cubicBezTo>
                <a:cubicBezTo>
                  <a:pt x="9255" y="2594"/>
                  <a:pt x="8938" y="2715"/>
                  <a:pt x="8936" y="2706"/>
                </a:cubicBezTo>
                <a:cubicBezTo>
                  <a:pt x="8936" y="2741"/>
                  <a:pt x="8942" y="2774"/>
                  <a:pt x="8956" y="2805"/>
                </a:cubicBezTo>
                <a:cubicBezTo>
                  <a:pt x="9103" y="2745"/>
                  <a:pt x="9448" y="2691"/>
                  <a:pt x="9582" y="2849"/>
                </a:cubicBezTo>
                <a:cubicBezTo>
                  <a:pt x="9551" y="2913"/>
                  <a:pt x="8856" y="2882"/>
                  <a:pt x="8862" y="2949"/>
                </a:cubicBezTo>
                <a:cubicBezTo>
                  <a:pt x="8874" y="3177"/>
                  <a:pt x="9180" y="3102"/>
                  <a:pt x="9149" y="3199"/>
                </a:cubicBezTo>
                <a:cubicBezTo>
                  <a:pt x="9065" y="3472"/>
                  <a:pt x="9738" y="3231"/>
                  <a:pt x="9834" y="3203"/>
                </a:cubicBezTo>
                <a:cubicBezTo>
                  <a:pt x="9865" y="3194"/>
                  <a:pt x="10026" y="3043"/>
                  <a:pt x="10058" y="3095"/>
                </a:cubicBezTo>
                <a:cubicBezTo>
                  <a:pt x="10131" y="3210"/>
                  <a:pt x="10234" y="3208"/>
                  <a:pt x="10328" y="3224"/>
                </a:cubicBezTo>
                <a:cubicBezTo>
                  <a:pt x="10400" y="3254"/>
                  <a:pt x="10469" y="3241"/>
                  <a:pt x="10535" y="3183"/>
                </a:cubicBezTo>
                <a:cubicBezTo>
                  <a:pt x="10533" y="3091"/>
                  <a:pt x="10553" y="3026"/>
                  <a:pt x="10596" y="2990"/>
                </a:cubicBezTo>
                <a:cubicBezTo>
                  <a:pt x="10666" y="2990"/>
                  <a:pt x="10750" y="3100"/>
                  <a:pt x="10786" y="2926"/>
                </a:cubicBezTo>
                <a:cubicBezTo>
                  <a:pt x="10764" y="2916"/>
                  <a:pt x="10516" y="2683"/>
                  <a:pt x="10523" y="2679"/>
                </a:cubicBezTo>
                <a:cubicBezTo>
                  <a:pt x="10641" y="2630"/>
                  <a:pt x="10784" y="2190"/>
                  <a:pt x="10609" y="2151"/>
                </a:cubicBezTo>
                <a:cubicBezTo>
                  <a:pt x="10498" y="2126"/>
                  <a:pt x="10454" y="2148"/>
                  <a:pt x="10396" y="2332"/>
                </a:cubicBezTo>
                <a:cubicBezTo>
                  <a:pt x="10338" y="2519"/>
                  <a:pt x="10278" y="2435"/>
                  <a:pt x="10222" y="2522"/>
                </a:cubicBezTo>
                <a:cubicBezTo>
                  <a:pt x="10476" y="2095"/>
                  <a:pt x="10069" y="2345"/>
                  <a:pt x="10009" y="2333"/>
                </a:cubicBezTo>
                <a:cubicBezTo>
                  <a:pt x="10021" y="2307"/>
                  <a:pt x="10032" y="2281"/>
                  <a:pt x="10044" y="2255"/>
                </a:cubicBezTo>
                <a:cubicBezTo>
                  <a:pt x="10057" y="2163"/>
                  <a:pt x="9691" y="2285"/>
                  <a:pt x="9691" y="2285"/>
                </a:cubicBezTo>
                <a:cubicBezTo>
                  <a:pt x="9712" y="2219"/>
                  <a:pt x="9831" y="2217"/>
                  <a:pt x="9823" y="2128"/>
                </a:cubicBezTo>
                <a:cubicBezTo>
                  <a:pt x="9715" y="2115"/>
                  <a:pt x="9720" y="1894"/>
                  <a:pt x="9581" y="1939"/>
                </a:cubicBezTo>
                <a:cubicBezTo>
                  <a:pt x="9442" y="1983"/>
                  <a:pt x="9346" y="1886"/>
                  <a:pt x="9211" y="1897"/>
                </a:cubicBezTo>
                <a:cubicBezTo>
                  <a:pt x="9072" y="1909"/>
                  <a:pt x="8936" y="1863"/>
                  <a:pt x="8874" y="2049"/>
                </a:cubicBezTo>
                <a:cubicBezTo>
                  <a:pt x="8829" y="2186"/>
                  <a:pt x="8709" y="2205"/>
                  <a:pt x="8630" y="2247"/>
                </a:cubicBezTo>
                <a:cubicBezTo>
                  <a:pt x="8639" y="2268"/>
                  <a:pt x="8634" y="2283"/>
                  <a:pt x="8637" y="2305"/>
                </a:cubicBezTo>
                <a:cubicBezTo>
                  <a:pt x="8541" y="2315"/>
                  <a:pt x="8399" y="2404"/>
                  <a:pt x="8326" y="2501"/>
                </a:cubicBezTo>
                <a:cubicBezTo>
                  <a:pt x="8414" y="2519"/>
                  <a:pt x="8476" y="2553"/>
                  <a:pt x="8458" y="2722"/>
                </a:cubicBezTo>
                <a:cubicBezTo>
                  <a:pt x="8561" y="2693"/>
                  <a:pt x="8476" y="2553"/>
                  <a:pt x="8458" y="2722"/>
                </a:cubicBezTo>
                <a:close/>
                <a:moveTo>
                  <a:pt x="10788" y="2920"/>
                </a:moveTo>
                <a:cubicBezTo>
                  <a:pt x="10788" y="2922"/>
                  <a:pt x="10787" y="2924"/>
                  <a:pt x="10786" y="2926"/>
                </a:cubicBezTo>
                <a:cubicBezTo>
                  <a:pt x="10787" y="2926"/>
                  <a:pt x="10788" y="2927"/>
                  <a:pt x="10788" y="2927"/>
                </a:cubicBezTo>
                <a:lnTo>
                  <a:pt x="10788" y="2920"/>
                </a:lnTo>
                <a:cubicBezTo>
                  <a:pt x="10788" y="2922"/>
                  <a:pt x="10788" y="2920"/>
                  <a:pt x="10788" y="2920"/>
                </a:cubicBezTo>
                <a:close/>
                <a:moveTo>
                  <a:pt x="14845" y="3703"/>
                </a:moveTo>
                <a:cubicBezTo>
                  <a:pt x="14830" y="3644"/>
                  <a:pt x="14818" y="3583"/>
                  <a:pt x="14809" y="3521"/>
                </a:cubicBezTo>
                <a:cubicBezTo>
                  <a:pt x="14759" y="3396"/>
                  <a:pt x="14636" y="3491"/>
                  <a:pt x="14569" y="3423"/>
                </a:cubicBezTo>
                <a:cubicBezTo>
                  <a:pt x="14417" y="3268"/>
                  <a:pt x="14634" y="3177"/>
                  <a:pt x="14687" y="3172"/>
                </a:cubicBezTo>
                <a:cubicBezTo>
                  <a:pt x="14685" y="3065"/>
                  <a:pt x="14562" y="3082"/>
                  <a:pt x="14562" y="3077"/>
                </a:cubicBezTo>
                <a:cubicBezTo>
                  <a:pt x="14566" y="2987"/>
                  <a:pt x="14661" y="3020"/>
                  <a:pt x="14691" y="3017"/>
                </a:cubicBezTo>
                <a:cubicBezTo>
                  <a:pt x="14715" y="2752"/>
                  <a:pt x="14458" y="2797"/>
                  <a:pt x="14398" y="2674"/>
                </a:cubicBezTo>
                <a:cubicBezTo>
                  <a:pt x="14297" y="2466"/>
                  <a:pt x="14274" y="2638"/>
                  <a:pt x="14138" y="2603"/>
                </a:cubicBezTo>
                <a:cubicBezTo>
                  <a:pt x="14105" y="2594"/>
                  <a:pt x="14091" y="2278"/>
                  <a:pt x="13930" y="2278"/>
                </a:cubicBezTo>
                <a:cubicBezTo>
                  <a:pt x="14160" y="2286"/>
                  <a:pt x="13539" y="1693"/>
                  <a:pt x="13605" y="2213"/>
                </a:cubicBezTo>
                <a:cubicBezTo>
                  <a:pt x="13613" y="2280"/>
                  <a:pt x="13730" y="2294"/>
                  <a:pt x="13757" y="2284"/>
                </a:cubicBezTo>
                <a:cubicBezTo>
                  <a:pt x="13706" y="2303"/>
                  <a:pt x="13443" y="2317"/>
                  <a:pt x="13420" y="2417"/>
                </a:cubicBezTo>
                <a:cubicBezTo>
                  <a:pt x="13454" y="2272"/>
                  <a:pt x="13709" y="1960"/>
                  <a:pt x="13401" y="2025"/>
                </a:cubicBezTo>
                <a:cubicBezTo>
                  <a:pt x="13347" y="2036"/>
                  <a:pt x="12807" y="2150"/>
                  <a:pt x="12973" y="2372"/>
                </a:cubicBezTo>
                <a:cubicBezTo>
                  <a:pt x="12938" y="2360"/>
                  <a:pt x="12807" y="2406"/>
                  <a:pt x="12832" y="2524"/>
                </a:cubicBezTo>
                <a:cubicBezTo>
                  <a:pt x="12710" y="2551"/>
                  <a:pt x="12996" y="2011"/>
                  <a:pt x="13152" y="2009"/>
                </a:cubicBezTo>
                <a:cubicBezTo>
                  <a:pt x="12916" y="2012"/>
                  <a:pt x="12718" y="2051"/>
                  <a:pt x="12507" y="2247"/>
                </a:cubicBezTo>
                <a:cubicBezTo>
                  <a:pt x="12356" y="2388"/>
                  <a:pt x="12233" y="2628"/>
                  <a:pt x="12496" y="2640"/>
                </a:cubicBezTo>
                <a:cubicBezTo>
                  <a:pt x="12501" y="2651"/>
                  <a:pt x="12507" y="2672"/>
                  <a:pt x="12508" y="2684"/>
                </a:cubicBezTo>
                <a:cubicBezTo>
                  <a:pt x="12039" y="2720"/>
                  <a:pt x="12531" y="2917"/>
                  <a:pt x="12735" y="2949"/>
                </a:cubicBezTo>
                <a:cubicBezTo>
                  <a:pt x="12874" y="2971"/>
                  <a:pt x="13393" y="3167"/>
                  <a:pt x="13399" y="2806"/>
                </a:cubicBezTo>
                <a:cubicBezTo>
                  <a:pt x="13466" y="2814"/>
                  <a:pt x="13468" y="2945"/>
                  <a:pt x="13483" y="3002"/>
                </a:cubicBezTo>
                <a:cubicBezTo>
                  <a:pt x="13510" y="2983"/>
                  <a:pt x="13523" y="2978"/>
                  <a:pt x="13552" y="3004"/>
                </a:cubicBezTo>
                <a:cubicBezTo>
                  <a:pt x="13544" y="3015"/>
                  <a:pt x="13540" y="3024"/>
                  <a:pt x="13526" y="3022"/>
                </a:cubicBezTo>
                <a:cubicBezTo>
                  <a:pt x="13583" y="3103"/>
                  <a:pt x="13975" y="3558"/>
                  <a:pt x="13787" y="3676"/>
                </a:cubicBezTo>
                <a:cubicBezTo>
                  <a:pt x="13689" y="3737"/>
                  <a:pt x="13620" y="3857"/>
                  <a:pt x="13513" y="3899"/>
                </a:cubicBezTo>
                <a:cubicBezTo>
                  <a:pt x="13386" y="3949"/>
                  <a:pt x="13559" y="4129"/>
                  <a:pt x="13451" y="4130"/>
                </a:cubicBezTo>
                <a:cubicBezTo>
                  <a:pt x="13251" y="4132"/>
                  <a:pt x="13070" y="4129"/>
                  <a:pt x="12906" y="4244"/>
                </a:cubicBezTo>
                <a:cubicBezTo>
                  <a:pt x="12617" y="4449"/>
                  <a:pt x="13323" y="4431"/>
                  <a:pt x="13292" y="4325"/>
                </a:cubicBezTo>
                <a:cubicBezTo>
                  <a:pt x="13296" y="4354"/>
                  <a:pt x="13301" y="4384"/>
                  <a:pt x="13305" y="4414"/>
                </a:cubicBezTo>
                <a:cubicBezTo>
                  <a:pt x="13334" y="4386"/>
                  <a:pt x="13513" y="4535"/>
                  <a:pt x="13543" y="4612"/>
                </a:cubicBezTo>
                <a:cubicBezTo>
                  <a:pt x="13561" y="4658"/>
                  <a:pt x="13446" y="4615"/>
                  <a:pt x="13484" y="4762"/>
                </a:cubicBezTo>
                <a:cubicBezTo>
                  <a:pt x="13504" y="4844"/>
                  <a:pt x="13682" y="4932"/>
                  <a:pt x="13705" y="4822"/>
                </a:cubicBezTo>
                <a:cubicBezTo>
                  <a:pt x="13671" y="4983"/>
                  <a:pt x="13904" y="5050"/>
                  <a:pt x="13968" y="5073"/>
                </a:cubicBezTo>
                <a:cubicBezTo>
                  <a:pt x="14189" y="5151"/>
                  <a:pt x="13892" y="4680"/>
                  <a:pt x="13879" y="4622"/>
                </a:cubicBezTo>
                <a:cubicBezTo>
                  <a:pt x="14050" y="4744"/>
                  <a:pt x="14339" y="5017"/>
                  <a:pt x="14391" y="4535"/>
                </a:cubicBezTo>
                <a:cubicBezTo>
                  <a:pt x="14398" y="4469"/>
                  <a:pt x="14359" y="4290"/>
                  <a:pt x="14325" y="4275"/>
                </a:cubicBezTo>
                <a:cubicBezTo>
                  <a:pt x="14117" y="4185"/>
                  <a:pt x="14320" y="4031"/>
                  <a:pt x="14265" y="3892"/>
                </a:cubicBezTo>
                <a:cubicBezTo>
                  <a:pt x="14331" y="3906"/>
                  <a:pt x="14429" y="3807"/>
                  <a:pt x="14451" y="3995"/>
                </a:cubicBezTo>
                <a:cubicBezTo>
                  <a:pt x="14473" y="3993"/>
                  <a:pt x="14497" y="3999"/>
                  <a:pt x="14519" y="4006"/>
                </a:cubicBezTo>
                <a:cubicBezTo>
                  <a:pt x="14394" y="4217"/>
                  <a:pt x="14802" y="4398"/>
                  <a:pt x="14726" y="4048"/>
                </a:cubicBezTo>
                <a:cubicBezTo>
                  <a:pt x="14755" y="4180"/>
                  <a:pt x="14950" y="3962"/>
                  <a:pt x="14989" y="3922"/>
                </a:cubicBezTo>
                <a:cubicBezTo>
                  <a:pt x="15173" y="3728"/>
                  <a:pt x="14884" y="3767"/>
                  <a:pt x="14845" y="3703"/>
                </a:cubicBezTo>
                <a:cubicBezTo>
                  <a:pt x="14822" y="3666"/>
                  <a:pt x="14895" y="3785"/>
                  <a:pt x="14845" y="3703"/>
                </a:cubicBezTo>
                <a:close/>
                <a:moveTo>
                  <a:pt x="14709" y="9160"/>
                </a:moveTo>
                <a:cubicBezTo>
                  <a:pt x="14617" y="9033"/>
                  <a:pt x="14757" y="8993"/>
                  <a:pt x="14735" y="8951"/>
                </a:cubicBezTo>
                <a:cubicBezTo>
                  <a:pt x="14705" y="8936"/>
                  <a:pt x="14678" y="8912"/>
                  <a:pt x="14654" y="8877"/>
                </a:cubicBezTo>
                <a:cubicBezTo>
                  <a:pt x="14645" y="8834"/>
                  <a:pt x="14712" y="8712"/>
                  <a:pt x="14720" y="8737"/>
                </a:cubicBezTo>
                <a:cubicBezTo>
                  <a:pt x="14673" y="8602"/>
                  <a:pt x="14427" y="8759"/>
                  <a:pt x="14423" y="8631"/>
                </a:cubicBezTo>
                <a:cubicBezTo>
                  <a:pt x="14420" y="8551"/>
                  <a:pt x="14494" y="8592"/>
                  <a:pt x="14491" y="8520"/>
                </a:cubicBezTo>
                <a:cubicBezTo>
                  <a:pt x="14489" y="8427"/>
                  <a:pt x="14265" y="8564"/>
                  <a:pt x="14263" y="8596"/>
                </a:cubicBezTo>
                <a:cubicBezTo>
                  <a:pt x="14276" y="8366"/>
                  <a:pt x="14607" y="8284"/>
                  <a:pt x="14588" y="8067"/>
                </a:cubicBezTo>
                <a:cubicBezTo>
                  <a:pt x="14565" y="8063"/>
                  <a:pt x="14543" y="8064"/>
                  <a:pt x="14521" y="8070"/>
                </a:cubicBezTo>
                <a:cubicBezTo>
                  <a:pt x="14776" y="7847"/>
                  <a:pt x="14659" y="7551"/>
                  <a:pt x="14538" y="7316"/>
                </a:cubicBezTo>
                <a:cubicBezTo>
                  <a:pt x="14743" y="7252"/>
                  <a:pt x="14251" y="6972"/>
                  <a:pt x="14256" y="6975"/>
                </a:cubicBezTo>
                <a:cubicBezTo>
                  <a:pt x="14276" y="6839"/>
                  <a:pt x="14185" y="6792"/>
                  <a:pt x="14146" y="6708"/>
                </a:cubicBezTo>
                <a:cubicBezTo>
                  <a:pt x="14293" y="6548"/>
                  <a:pt x="14221" y="6508"/>
                  <a:pt x="14189" y="6241"/>
                </a:cubicBezTo>
                <a:cubicBezTo>
                  <a:pt x="14155" y="6035"/>
                  <a:pt x="14161" y="5747"/>
                  <a:pt x="14078" y="5572"/>
                </a:cubicBezTo>
                <a:cubicBezTo>
                  <a:pt x="14009" y="5430"/>
                  <a:pt x="13720" y="5958"/>
                  <a:pt x="13655" y="6014"/>
                </a:cubicBezTo>
                <a:cubicBezTo>
                  <a:pt x="13467" y="6177"/>
                  <a:pt x="13538" y="5901"/>
                  <a:pt x="13365" y="5914"/>
                </a:cubicBezTo>
                <a:cubicBezTo>
                  <a:pt x="13393" y="5777"/>
                  <a:pt x="13582" y="5311"/>
                  <a:pt x="13382" y="5311"/>
                </a:cubicBezTo>
                <a:cubicBezTo>
                  <a:pt x="13337" y="5205"/>
                  <a:pt x="13181" y="4950"/>
                  <a:pt x="13074" y="4950"/>
                </a:cubicBezTo>
                <a:cubicBezTo>
                  <a:pt x="12932" y="4950"/>
                  <a:pt x="12559" y="4824"/>
                  <a:pt x="12498" y="5066"/>
                </a:cubicBezTo>
                <a:cubicBezTo>
                  <a:pt x="12436" y="5312"/>
                  <a:pt x="12366" y="5348"/>
                  <a:pt x="12232" y="5505"/>
                </a:cubicBezTo>
                <a:cubicBezTo>
                  <a:pt x="12278" y="5508"/>
                  <a:pt x="12342" y="5589"/>
                  <a:pt x="12376" y="5589"/>
                </a:cubicBezTo>
                <a:cubicBezTo>
                  <a:pt x="12386" y="5589"/>
                  <a:pt x="12082" y="5973"/>
                  <a:pt x="12079" y="5992"/>
                </a:cubicBezTo>
                <a:cubicBezTo>
                  <a:pt x="12065" y="6088"/>
                  <a:pt x="12148" y="6179"/>
                  <a:pt x="12170" y="6244"/>
                </a:cubicBezTo>
                <a:cubicBezTo>
                  <a:pt x="12230" y="6420"/>
                  <a:pt x="12126" y="6638"/>
                  <a:pt x="12052" y="6744"/>
                </a:cubicBezTo>
                <a:cubicBezTo>
                  <a:pt x="11913" y="6941"/>
                  <a:pt x="11636" y="6905"/>
                  <a:pt x="11529" y="7118"/>
                </a:cubicBezTo>
                <a:cubicBezTo>
                  <a:pt x="11488" y="7201"/>
                  <a:pt x="11474" y="7527"/>
                  <a:pt x="11462" y="7635"/>
                </a:cubicBezTo>
                <a:cubicBezTo>
                  <a:pt x="11441" y="7818"/>
                  <a:pt x="11395" y="7837"/>
                  <a:pt x="11343" y="7990"/>
                </a:cubicBezTo>
                <a:cubicBezTo>
                  <a:pt x="11289" y="7895"/>
                  <a:pt x="11238" y="8061"/>
                  <a:pt x="11184" y="8067"/>
                </a:cubicBezTo>
                <a:cubicBezTo>
                  <a:pt x="11057" y="8067"/>
                  <a:pt x="11066" y="7164"/>
                  <a:pt x="11251" y="7164"/>
                </a:cubicBezTo>
                <a:lnTo>
                  <a:pt x="11266" y="7164"/>
                </a:lnTo>
                <a:lnTo>
                  <a:pt x="11283" y="7016"/>
                </a:lnTo>
                <a:cubicBezTo>
                  <a:pt x="11094" y="6863"/>
                  <a:pt x="10853" y="6979"/>
                  <a:pt x="10681" y="6719"/>
                </a:cubicBezTo>
                <a:cubicBezTo>
                  <a:pt x="10511" y="6465"/>
                  <a:pt x="10435" y="6343"/>
                  <a:pt x="10189" y="6421"/>
                </a:cubicBezTo>
                <a:lnTo>
                  <a:pt x="10260" y="5959"/>
                </a:lnTo>
                <a:lnTo>
                  <a:pt x="10095" y="5959"/>
                </a:lnTo>
                <a:cubicBezTo>
                  <a:pt x="10151" y="5660"/>
                  <a:pt x="10333" y="5500"/>
                  <a:pt x="10477" y="5337"/>
                </a:cubicBezTo>
                <a:cubicBezTo>
                  <a:pt x="10523" y="5292"/>
                  <a:pt x="10894" y="4998"/>
                  <a:pt x="10896" y="4941"/>
                </a:cubicBezTo>
                <a:cubicBezTo>
                  <a:pt x="10959" y="4928"/>
                  <a:pt x="11163" y="4901"/>
                  <a:pt x="11122" y="4713"/>
                </a:cubicBezTo>
                <a:cubicBezTo>
                  <a:pt x="11227" y="4726"/>
                  <a:pt x="11873" y="4466"/>
                  <a:pt x="11831" y="4221"/>
                </a:cubicBezTo>
                <a:cubicBezTo>
                  <a:pt x="11864" y="4202"/>
                  <a:pt x="11899" y="4192"/>
                  <a:pt x="11931" y="4166"/>
                </a:cubicBezTo>
                <a:cubicBezTo>
                  <a:pt x="11885" y="4242"/>
                  <a:pt x="11632" y="4531"/>
                  <a:pt x="11610" y="4604"/>
                </a:cubicBezTo>
                <a:cubicBezTo>
                  <a:pt x="11666" y="4619"/>
                  <a:pt x="11731" y="4582"/>
                  <a:pt x="11790" y="4586"/>
                </a:cubicBezTo>
                <a:cubicBezTo>
                  <a:pt x="11799" y="4643"/>
                  <a:pt x="11765" y="4669"/>
                  <a:pt x="11764" y="4719"/>
                </a:cubicBezTo>
                <a:cubicBezTo>
                  <a:pt x="11882" y="4755"/>
                  <a:pt x="12100" y="4427"/>
                  <a:pt x="12194" y="4524"/>
                </a:cubicBezTo>
                <a:cubicBezTo>
                  <a:pt x="12189" y="4519"/>
                  <a:pt x="12517" y="4797"/>
                  <a:pt x="12468" y="4545"/>
                </a:cubicBezTo>
                <a:cubicBezTo>
                  <a:pt x="12458" y="4494"/>
                  <a:pt x="12362" y="4471"/>
                  <a:pt x="12346" y="4511"/>
                </a:cubicBezTo>
                <a:cubicBezTo>
                  <a:pt x="12443" y="4268"/>
                  <a:pt x="12176" y="4299"/>
                  <a:pt x="12160" y="4129"/>
                </a:cubicBezTo>
                <a:cubicBezTo>
                  <a:pt x="12135" y="4142"/>
                  <a:pt x="12110" y="4155"/>
                  <a:pt x="12086" y="4168"/>
                </a:cubicBezTo>
                <a:cubicBezTo>
                  <a:pt x="12088" y="4122"/>
                  <a:pt x="12095" y="4077"/>
                  <a:pt x="12108" y="4035"/>
                </a:cubicBezTo>
                <a:cubicBezTo>
                  <a:pt x="12091" y="4025"/>
                  <a:pt x="12073" y="4026"/>
                  <a:pt x="12055" y="4033"/>
                </a:cubicBezTo>
                <a:cubicBezTo>
                  <a:pt x="12064" y="4008"/>
                  <a:pt x="12065" y="3982"/>
                  <a:pt x="12058" y="3954"/>
                </a:cubicBezTo>
                <a:cubicBezTo>
                  <a:pt x="12123" y="3937"/>
                  <a:pt x="12112" y="4012"/>
                  <a:pt x="12172" y="4034"/>
                </a:cubicBezTo>
                <a:cubicBezTo>
                  <a:pt x="12209" y="4153"/>
                  <a:pt x="12359" y="4254"/>
                  <a:pt x="12315" y="4049"/>
                </a:cubicBezTo>
                <a:cubicBezTo>
                  <a:pt x="12331" y="4043"/>
                  <a:pt x="12343" y="4028"/>
                  <a:pt x="12350" y="4004"/>
                </a:cubicBezTo>
                <a:cubicBezTo>
                  <a:pt x="12448" y="4054"/>
                  <a:pt x="12868" y="3767"/>
                  <a:pt x="12772" y="3542"/>
                </a:cubicBezTo>
                <a:lnTo>
                  <a:pt x="12798" y="3528"/>
                </a:lnTo>
                <a:cubicBezTo>
                  <a:pt x="12795" y="3501"/>
                  <a:pt x="12790" y="3469"/>
                  <a:pt x="12782" y="3445"/>
                </a:cubicBezTo>
                <a:cubicBezTo>
                  <a:pt x="12837" y="3455"/>
                  <a:pt x="12967" y="3438"/>
                  <a:pt x="12958" y="3307"/>
                </a:cubicBezTo>
                <a:cubicBezTo>
                  <a:pt x="12957" y="3286"/>
                  <a:pt x="12912" y="3085"/>
                  <a:pt x="12912" y="3127"/>
                </a:cubicBezTo>
                <a:cubicBezTo>
                  <a:pt x="12847" y="2986"/>
                  <a:pt x="12622" y="2945"/>
                  <a:pt x="12525" y="3031"/>
                </a:cubicBezTo>
                <a:cubicBezTo>
                  <a:pt x="12489" y="3062"/>
                  <a:pt x="12429" y="3255"/>
                  <a:pt x="12447" y="3255"/>
                </a:cubicBezTo>
                <a:cubicBezTo>
                  <a:pt x="12403" y="3310"/>
                  <a:pt x="12326" y="3392"/>
                  <a:pt x="12276" y="3456"/>
                </a:cubicBezTo>
                <a:cubicBezTo>
                  <a:pt x="12218" y="3448"/>
                  <a:pt x="12089" y="3491"/>
                  <a:pt x="12104" y="3620"/>
                </a:cubicBezTo>
                <a:cubicBezTo>
                  <a:pt x="11972" y="3754"/>
                  <a:pt x="12055" y="3511"/>
                  <a:pt x="12053" y="3550"/>
                </a:cubicBezTo>
                <a:cubicBezTo>
                  <a:pt x="12194" y="3550"/>
                  <a:pt x="12175" y="2901"/>
                  <a:pt x="11880" y="3290"/>
                </a:cubicBezTo>
                <a:cubicBezTo>
                  <a:pt x="11885" y="3266"/>
                  <a:pt x="11886" y="3242"/>
                  <a:pt x="11883" y="3218"/>
                </a:cubicBezTo>
                <a:cubicBezTo>
                  <a:pt x="11937" y="3192"/>
                  <a:pt x="11962" y="3160"/>
                  <a:pt x="11962" y="3116"/>
                </a:cubicBezTo>
                <a:cubicBezTo>
                  <a:pt x="11960" y="3072"/>
                  <a:pt x="11940" y="3025"/>
                  <a:pt x="11890" y="3023"/>
                </a:cubicBezTo>
                <a:cubicBezTo>
                  <a:pt x="11973" y="2946"/>
                  <a:pt x="11928" y="2887"/>
                  <a:pt x="11897" y="2792"/>
                </a:cubicBezTo>
                <a:cubicBezTo>
                  <a:pt x="11923" y="2686"/>
                  <a:pt x="11966" y="2648"/>
                  <a:pt x="11896" y="2538"/>
                </a:cubicBezTo>
                <a:cubicBezTo>
                  <a:pt x="12155" y="2423"/>
                  <a:pt x="12414" y="2194"/>
                  <a:pt x="12683" y="2064"/>
                </a:cubicBezTo>
                <a:cubicBezTo>
                  <a:pt x="12497" y="1923"/>
                  <a:pt x="12275" y="1832"/>
                  <a:pt x="12074" y="1942"/>
                </a:cubicBezTo>
                <a:cubicBezTo>
                  <a:pt x="11870" y="2053"/>
                  <a:pt x="11809" y="2410"/>
                  <a:pt x="11617" y="2516"/>
                </a:cubicBezTo>
                <a:cubicBezTo>
                  <a:pt x="11637" y="2485"/>
                  <a:pt x="11711" y="2388"/>
                  <a:pt x="11713" y="2336"/>
                </a:cubicBezTo>
                <a:cubicBezTo>
                  <a:pt x="11702" y="2340"/>
                  <a:pt x="11686" y="2329"/>
                  <a:pt x="11677" y="2329"/>
                </a:cubicBezTo>
                <a:cubicBezTo>
                  <a:pt x="11686" y="2307"/>
                  <a:pt x="11682" y="2293"/>
                  <a:pt x="11685" y="2269"/>
                </a:cubicBezTo>
                <a:cubicBezTo>
                  <a:pt x="11662" y="2273"/>
                  <a:pt x="11644" y="2265"/>
                  <a:pt x="11630" y="2243"/>
                </a:cubicBezTo>
                <a:cubicBezTo>
                  <a:pt x="11658" y="2212"/>
                  <a:pt x="11851" y="2141"/>
                  <a:pt x="11835" y="2053"/>
                </a:cubicBezTo>
                <a:cubicBezTo>
                  <a:pt x="11814" y="1936"/>
                  <a:pt x="11510" y="2066"/>
                  <a:pt x="11468" y="2073"/>
                </a:cubicBezTo>
                <a:cubicBezTo>
                  <a:pt x="11212" y="2115"/>
                  <a:pt x="11441" y="2211"/>
                  <a:pt x="11298" y="2321"/>
                </a:cubicBezTo>
                <a:cubicBezTo>
                  <a:pt x="11252" y="2357"/>
                  <a:pt x="11067" y="2097"/>
                  <a:pt x="11074" y="2352"/>
                </a:cubicBezTo>
                <a:cubicBezTo>
                  <a:pt x="11077" y="2447"/>
                  <a:pt x="11215" y="2513"/>
                  <a:pt x="11244" y="2664"/>
                </a:cubicBezTo>
                <a:cubicBezTo>
                  <a:pt x="11346" y="2689"/>
                  <a:pt x="11433" y="2586"/>
                  <a:pt x="11533" y="2565"/>
                </a:cubicBezTo>
                <a:cubicBezTo>
                  <a:pt x="11355" y="2678"/>
                  <a:pt x="11253" y="2955"/>
                  <a:pt x="11404" y="3165"/>
                </a:cubicBezTo>
                <a:cubicBezTo>
                  <a:pt x="11351" y="3210"/>
                  <a:pt x="11314" y="3245"/>
                  <a:pt x="11310" y="3351"/>
                </a:cubicBezTo>
                <a:lnTo>
                  <a:pt x="11336" y="3364"/>
                </a:lnTo>
                <a:cubicBezTo>
                  <a:pt x="11179" y="3430"/>
                  <a:pt x="11147" y="3493"/>
                  <a:pt x="11033" y="3630"/>
                </a:cubicBezTo>
                <a:cubicBezTo>
                  <a:pt x="11033" y="3630"/>
                  <a:pt x="11033" y="3630"/>
                  <a:pt x="11033" y="3630"/>
                </a:cubicBezTo>
                <a:cubicBezTo>
                  <a:pt x="11061" y="3545"/>
                  <a:pt x="11117" y="3452"/>
                  <a:pt x="11050" y="3363"/>
                </a:cubicBezTo>
                <a:cubicBezTo>
                  <a:pt x="11125" y="3368"/>
                  <a:pt x="11195" y="3337"/>
                  <a:pt x="11259" y="3272"/>
                </a:cubicBezTo>
                <a:cubicBezTo>
                  <a:pt x="11272" y="3258"/>
                  <a:pt x="11117" y="3018"/>
                  <a:pt x="11091" y="3018"/>
                </a:cubicBezTo>
                <a:cubicBezTo>
                  <a:pt x="11053" y="3018"/>
                  <a:pt x="10830" y="3190"/>
                  <a:pt x="10806" y="3256"/>
                </a:cubicBezTo>
                <a:cubicBezTo>
                  <a:pt x="10845" y="3272"/>
                  <a:pt x="10884" y="3290"/>
                  <a:pt x="10923" y="3309"/>
                </a:cubicBezTo>
                <a:cubicBezTo>
                  <a:pt x="10787" y="3310"/>
                  <a:pt x="10724" y="3477"/>
                  <a:pt x="10581" y="3471"/>
                </a:cubicBezTo>
                <a:cubicBezTo>
                  <a:pt x="10453" y="3498"/>
                  <a:pt x="10173" y="3554"/>
                  <a:pt x="10078" y="3374"/>
                </a:cubicBezTo>
                <a:cubicBezTo>
                  <a:pt x="10185" y="3130"/>
                  <a:pt x="9473" y="3169"/>
                  <a:pt x="9617" y="3516"/>
                </a:cubicBezTo>
                <a:cubicBezTo>
                  <a:pt x="9529" y="3631"/>
                  <a:pt x="9460" y="3480"/>
                  <a:pt x="9368" y="3462"/>
                </a:cubicBezTo>
                <a:cubicBezTo>
                  <a:pt x="9213" y="3481"/>
                  <a:pt x="9060" y="3554"/>
                  <a:pt x="8904" y="3532"/>
                </a:cubicBezTo>
                <a:cubicBezTo>
                  <a:pt x="9137" y="3401"/>
                  <a:pt x="9054" y="3181"/>
                  <a:pt x="8833" y="3214"/>
                </a:cubicBezTo>
                <a:cubicBezTo>
                  <a:pt x="8716" y="3230"/>
                  <a:pt x="8605" y="3153"/>
                  <a:pt x="8498" y="3083"/>
                </a:cubicBezTo>
                <a:cubicBezTo>
                  <a:pt x="8301" y="2955"/>
                  <a:pt x="8276" y="3049"/>
                  <a:pt x="8098" y="3063"/>
                </a:cubicBezTo>
                <a:cubicBezTo>
                  <a:pt x="8243" y="2744"/>
                  <a:pt x="7844" y="3070"/>
                  <a:pt x="7824" y="3072"/>
                </a:cubicBezTo>
                <a:cubicBezTo>
                  <a:pt x="7802" y="3026"/>
                  <a:pt x="7857" y="2925"/>
                  <a:pt x="7822" y="2862"/>
                </a:cubicBezTo>
                <a:cubicBezTo>
                  <a:pt x="7765" y="2758"/>
                  <a:pt x="7615" y="2889"/>
                  <a:pt x="7553" y="2920"/>
                </a:cubicBezTo>
                <a:cubicBezTo>
                  <a:pt x="7482" y="2703"/>
                  <a:pt x="7200" y="3025"/>
                  <a:pt x="7120" y="3025"/>
                </a:cubicBezTo>
                <a:cubicBezTo>
                  <a:pt x="7038" y="3025"/>
                  <a:pt x="6962" y="3004"/>
                  <a:pt x="6879" y="3011"/>
                </a:cubicBezTo>
                <a:cubicBezTo>
                  <a:pt x="6761" y="3020"/>
                  <a:pt x="6643" y="3147"/>
                  <a:pt x="6540" y="3158"/>
                </a:cubicBezTo>
                <a:cubicBezTo>
                  <a:pt x="6435" y="3288"/>
                  <a:pt x="6241" y="2969"/>
                  <a:pt x="6102" y="3002"/>
                </a:cubicBezTo>
                <a:cubicBezTo>
                  <a:pt x="5987" y="2699"/>
                  <a:pt x="5301" y="2658"/>
                  <a:pt x="5108" y="2660"/>
                </a:cubicBezTo>
                <a:lnTo>
                  <a:pt x="5166" y="2595"/>
                </a:lnTo>
                <a:cubicBezTo>
                  <a:pt x="4385" y="2334"/>
                  <a:pt x="3526" y="2801"/>
                  <a:pt x="2781" y="3187"/>
                </a:cubicBezTo>
                <a:cubicBezTo>
                  <a:pt x="2790" y="3245"/>
                  <a:pt x="2794" y="3305"/>
                  <a:pt x="2794" y="3364"/>
                </a:cubicBezTo>
                <a:cubicBezTo>
                  <a:pt x="2821" y="3360"/>
                  <a:pt x="2846" y="3381"/>
                  <a:pt x="2861" y="3411"/>
                </a:cubicBezTo>
                <a:cubicBezTo>
                  <a:pt x="2895" y="3481"/>
                  <a:pt x="2847" y="3560"/>
                  <a:pt x="2808" y="3586"/>
                </a:cubicBezTo>
                <a:cubicBezTo>
                  <a:pt x="2807" y="3616"/>
                  <a:pt x="2818" y="3636"/>
                  <a:pt x="2843" y="3646"/>
                </a:cubicBezTo>
                <a:cubicBezTo>
                  <a:pt x="2669" y="3610"/>
                  <a:pt x="2511" y="3697"/>
                  <a:pt x="2346" y="3775"/>
                </a:cubicBezTo>
                <a:cubicBezTo>
                  <a:pt x="2313" y="3790"/>
                  <a:pt x="1788" y="3962"/>
                  <a:pt x="2020" y="4078"/>
                </a:cubicBezTo>
                <a:cubicBezTo>
                  <a:pt x="1791" y="4457"/>
                  <a:pt x="2405" y="4349"/>
                  <a:pt x="2510" y="4285"/>
                </a:cubicBezTo>
                <a:cubicBezTo>
                  <a:pt x="2433" y="4611"/>
                  <a:pt x="1900" y="4586"/>
                  <a:pt x="1737" y="4688"/>
                </a:cubicBezTo>
                <a:cubicBezTo>
                  <a:pt x="1610" y="4807"/>
                  <a:pt x="1325" y="4847"/>
                  <a:pt x="1294" y="5135"/>
                </a:cubicBezTo>
                <a:cubicBezTo>
                  <a:pt x="1271" y="5347"/>
                  <a:pt x="1078" y="5786"/>
                  <a:pt x="1423" y="5569"/>
                </a:cubicBezTo>
                <a:cubicBezTo>
                  <a:pt x="1382" y="5665"/>
                  <a:pt x="1288" y="5766"/>
                  <a:pt x="1232" y="5830"/>
                </a:cubicBezTo>
                <a:lnTo>
                  <a:pt x="1247" y="5941"/>
                </a:lnTo>
                <a:cubicBezTo>
                  <a:pt x="1305" y="5949"/>
                  <a:pt x="1373" y="5942"/>
                  <a:pt x="1427" y="5909"/>
                </a:cubicBezTo>
                <a:cubicBezTo>
                  <a:pt x="1582" y="5813"/>
                  <a:pt x="1505" y="5986"/>
                  <a:pt x="1616" y="6015"/>
                </a:cubicBezTo>
                <a:cubicBezTo>
                  <a:pt x="1625" y="6015"/>
                  <a:pt x="1632" y="6012"/>
                  <a:pt x="1639" y="6008"/>
                </a:cubicBezTo>
                <a:cubicBezTo>
                  <a:pt x="1268" y="6350"/>
                  <a:pt x="877" y="6521"/>
                  <a:pt x="478" y="6743"/>
                </a:cubicBezTo>
                <a:cubicBezTo>
                  <a:pt x="343" y="6818"/>
                  <a:pt x="175" y="6809"/>
                  <a:pt x="54" y="6949"/>
                </a:cubicBezTo>
                <a:cubicBezTo>
                  <a:pt x="-154" y="7190"/>
                  <a:pt x="297" y="7025"/>
                  <a:pt x="344" y="7001"/>
                </a:cubicBezTo>
                <a:cubicBezTo>
                  <a:pt x="703" y="6820"/>
                  <a:pt x="1068" y="6689"/>
                  <a:pt x="1424" y="6508"/>
                </a:cubicBezTo>
                <a:cubicBezTo>
                  <a:pt x="1621" y="6408"/>
                  <a:pt x="2420" y="6068"/>
                  <a:pt x="2420" y="5738"/>
                </a:cubicBezTo>
                <a:cubicBezTo>
                  <a:pt x="2564" y="5669"/>
                  <a:pt x="2545" y="5757"/>
                  <a:pt x="2664" y="5770"/>
                </a:cubicBezTo>
                <a:cubicBezTo>
                  <a:pt x="2775" y="5884"/>
                  <a:pt x="2982" y="5669"/>
                  <a:pt x="3099" y="5636"/>
                </a:cubicBezTo>
                <a:cubicBezTo>
                  <a:pt x="3270" y="5586"/>
                  <a:pt x="3354" y="5471"/>
                  <a:pt x="3497" y="5332"/>
                </a:cubicBezTo>
                <a:cubicBezTo>
                  <a:pt x="3592" y="5239"/>
                  <a:pt x="3675" y="5420"/>
                  <a:pt x="3762" y="5453"/>
                </a:cubicBezTo>
                <a:cubicBezTo>
                  <a:pt x="3787" y="5623"/>
                  <a:pt x="4109" y="5610"/>
                  <a:pt x="4206" y="5651"/>
                </a:cubicBezTo>
                <a:cubicBezTo>
                  <a:pt x="4425" y="5745"/>
                  <a:pt x="4511" y="6181"/>
                  <a:pt x="4283" y="6388"/>
                </a:cubicBezTo>
                <a:cubicBezTo>
                  <a:pt x="4312" y="6399"/>
                  <a:pt x="4341" y="6409"/>
                  <a:pt x="4370" y="6418"/>
                </a:cubicBezTo>
                <a:cubicBezTo>
                  <a:pt x="4406" y="6521"/>
                  <a:pt x="4318" y="6634"/>
                  <a:pt x="4422" y="6661"/>
                </a:cubicBezTo>
                <a:cubicBezTo>
                  <a:pt x="4430" y="6629"/>
                  <a:pt x="4441" y="6599"/>
                  <a:pt x="4455" y="6573"/>
                </a:cubicBezTo>
                <a:cubicBezTo>
                  <a:pt x="4440" y="6630"/>
                  <a:pt x="4444" y="6678"/>
                  <a:pt x="4466" y="6718"/>
                </a:cubicBezTo>
                <a:cubicBezTo>
                  <a:pt x="4402" y="6900"/>
                  <a:pt x="4481" y="7268"/>
                  <a:pt x="4600" y="6983"/>
                </a:cubicBezTo>
                <a:cubicBezTo>
                  <a:pt x="4616" y="7025"/>
                  <a:pt x="4647" y="7029"/>
                  <a:pt x="4668" y="7000"/>
                </a:cubicBezTo>
                <a:cubicBezTo>
                  <a:pt x="4695" y="7165"/>
                  <a:pt x="4383" y="7512"/>
                  <a:pt x="4572" y="7612"/>
                </a:cubicBezTo>
                <a:cubicBezTo>
                  <a:pt x="4561" y="7639"/>
                  <a:pt x="4537" y="8189"/>
                  <a:pt x="4549" y="8218"/>
                </a:cubicBezTo>
                <a:cubicBezTo>
                  <a:pt x="4218" y="8052"/>
                  <a:pt x="4499" y="8766"/>
                  <a:pt x="4612" y="8908"/>
                </a:cubicBezTo>
                <a:cubicBezTo>
                  <a:pt x="4469" y="9248"/>
                  <a:pt x="4405" y="9703"/>
                  <a:pt x="4249" y="10060"/>
                </a:cubicBezTo>
                <a:cubicBezTo>
                  <a:pt x="4231" y="10103"/>
                  <a:pt x="3863" y="10724"/>
                  <a:pt x="3931" y="10838"/>
                </a:cubicBezTo>
                <a:cubicBezTo>
                  <a:pt x="3904" y="10875"/>
                  <a:pt x="3884" y="11006"/>
                  <a:pt x="3866" y="11057"/>
                </a:cubicBezTo>
                <a:lnTo>
                  <a:pt x="3907" y="11057"/>
                </a:lnTo>
                <a:cubicBezTo>
                  <a:pt x="3683" y="11057"/>
                  <a:pt x="3673" y="12226"/>
                  <a:pt x="3784" y="12411"/>
                </a:cubicBezTo>
                <a:cubicBezTo>
                  <a:pt x="3713" y="12506"/>
                  <a:pt x="3776" y="12866"/>
                  <a:pt x="3821" y="12952"/>
                </a:cubicBezTo>
                <a:cubicBezTo>
                  <a:pt x="3779" y="13102"/>
                  <a:pt x="3952" y="13349"/>
                  <a:pt x="4063" y="13322"/>
                </a:cubicBezTo>
                <a:cubicBezTo>
                  <a:pt x="4060" y="13338"/>
                  <a:pt x="4058" y="13354"/>
                  <a:pt x="4057" y="13370"/>
                </a:cubicBezTo>
                <a:lnTo>
                  <a:pt x="4087" y="13380"/>
                </a:lnTo>
                <a:lnTo>
                  <a:pt x="4093" y="13414"/>
                </a:lnTo>
                <a:cubicBezTo>
                  <a:pt x="4290" y="13490"/>
                  <a:pt x="4102" y="14174"/>
                  <a:pt x="4227" y="14378"/>
                </a:cubicBezTo>
                <a:cubicBezTo>
                  <a:pt x="4190" y="14488"/>
                  <a:pt x="4544" y="15231"/>
                  <a:pt x="4228" y="15052"/>
                </a:cubicBezTo>
                <a:cubicBezTo>
                  <a:pt x="4228" y="15090"/>
                  <a:pt x="4220" y="15124"/>
                  <a:pt x="4204" y="15151"/>
                </a:cubicBezTo>
                <a:cubicBezTo>
                  <a:pt x="4266" y="15264"/>
                  <a:pt x="4305" y="15363"/>
                  <a:pt x="4335" y="15505"/>
                </a:cubicBezTo>
                <a:lnTo>
                  <a:pt x="4346" y="15505"/>
                </a:lnTo>
                <a:cubicBezTo>
                  <a:pt x="4387" y="15457"/>
                  <a:pt x="4394" y="15543"/>
                  <a:pt x="4468" y="15503"/>
                </a:cubicBezTo>
                <a:cubicBezTo>
                  <a:pt x="4571" y="15800"/>
                  <a:pt x="4536" y="15834"/>
                  <a:pt x="4468" y="16154"/>
                </a:cubicBezTo>
                <a:cubicBezTo>
                  <a:pt x="4643" y="16085"/>
                  <a:pt x="4765" y="16495"/>
                  <a:pt x="4806" y="16709"/>
                </a:cubicBezTo>
                <a:cubicBezTo>
                  <a:pt x="5029" y="16623"/>
                  <a:pt x="4935" y="16305"/>
                  <a:pt x="4856" y="16081"/>
                </a:cubicBezTo>
                <a:lnTo>
                  <a:pt x="4819" y="16090"/>
                </a:lnTo>
                <a:cubicBezTo>
                  <a:pt x="4853" y="16027"/>
                  <a:pt x="4845" y="15950"/>
                  <a:pt x="4813" y="15895"/>
                </a:cubicBezTo>
                <a:lnTo>
                  <a:pt x="4799" y="15901"/>
                </a:lnTo>
                <a:cubicBezTo>
                  <a:pt x="4773" y="15687"/>
                  <a:pt x="4711" y="15463"/>
                  <a:pt x="4695" y="15267"/>
                </a:cubicBezTo>
                <a:cubicBezTo>
                  <a:pt x="4682" y="15104"/>
                  <a:pt x="4607" y="15059"/>
                  <a:pt x="4654" y="14857"/>
                </a:cubicBezTo>
                <a:cubicBezTo>
                  <a:pt x="4643" y="14858"/>
                  <a:pt x="4632" y="14860"/>
                  <a:pt x="4621" y="14862"/>
                </a:cubicBezTo>
                <a:cubicBezTo>
                  <a:pt x="4621" y="14691"/>
                  <a:pt x="4335" y="14165"/>
                  <a:pt x="4542" y="14004"/>
                </a:cubicBezTo>
                <a:cubicBezTo>
                  <a:pt x="4568" y="14048"/>
                  <a:pt x="4597" y="14053"/>
                  <a:pt x="4633" y="14051"/>
                </a:cubicBezTo>
                <a:cubicBezTo>
                  <a:pt x="4649" y="14091"/>
                  <a:pt x="4668" y="14112"/>
                  <a:pt x="4694" y="14132"/>
                </a:cubicBezTo>
                <a:cubicBezTo>
                  <a:pt x="4606" y="14386"/>
                  <a:pt x="4732" y="15046"/>
                  <a:pt x="4888" y="15146"/>
                </a:cubicBezTo>
                <a:cubicBezTo>
                  <a:pt x="4868" y="15243"/>
                  <a:pt x="4898" y="15358"/>
                  <a:pt x="4958" y="15388"/>
                </a:cubicBezTo>
                <a:cubicBezTo>
                  <a:pt x="4954" y="15472"/>
                  <a:pt x="4978" y="15520"/>
                  <a:pt x="5030" y="15518"/>
                </a:cubicBezTo>
                <a:cubicBezTo>
                  <a:pt x="5042" y="15595"/>
                  <a:pt x="4993" y="15742"/>
                  <a:pt x="4986" y="15835"/>
                </a:cubicBezTo>
                <a:cubicBezTo>
                  <a:pt x="5221" y="15896"/>
                  <a:pt x="5644" y="17047"/>
                  <a:pt x="5374" y="17327"/>
                </a:cubicBezTo>
                <a:lnTo>
                  <a:pt x="5386" y="17327"/>
                </a:lnTo>
                <a:cubicBezTo>
                  <a:pt x="5363" y="17683"/>
                  <a:pt x="5700" y="18230"/>
                  <a:pt x="5921" y="18189"/>
                </a:cubicBezTo>
                <a:cubicBezTo>
                  <a:pt x="6093" y="18316"/>
                  <a:pt x="6360" y="18812"/>
                  <a:pt x="6568" y="18812"/>
                </a:cubicBezTo>
                <a:cubicBezTo>
                  <a:pt x="6707" y="18812"/>
                  <a:pt x="6794" y="18936"/>
                  <a:pt x="6933" y="18803"/>
                </a:cubicBezTo>
                <a:cubicBezTo>
                  <a:pt x="7112" y="18634"/>
                  <a:pt x="7225" y="18901"/>
                  <a:pt x="7338" y="19138"/>
                </a:cubicBezTo>
                <a:lnTo>
                  <a:pt x="7320" y="19233"/>
                </a:lnTo>
                <a:cubicBezTo>
                  <a:pt x="7452" y="19457"/>
                  <a:pt x="7609" y="19414"/>
                  <a:pt x="7752" y="19578"/>
                </a:cubicBezTo>
                <a:lnTo>
                  <a:pt x="7747" y="19554"/>
                </a:lnTo>
                <a:cubicBezTo>
                  <a:pt x="7831" y="19616"/>
                  <a:pt x="7966" y="19734"/>
                  <a:pt x="8058" y="19655"/>
                </a:cubicBezTo>
                <a:cubicBezTo>
                  <a:pt x="8068" y="19696"/>
                  <a:pt x="8082" y="19732"/>
                  <a:pt x="8102" y="19765"/>
                </a:cubicBezTo>
                <a:cubicBezTo>
                  <a:pt x="8201" y="19848"/>
                  <a:pt x="8249" y="20070"/>
                  <a:pt x="8332" y="20197"/>
                </a:cubicBezTo>
                <a:cubicBezTo>
                  <a:pt x="8328" y="20204"/>
                  <a:pt x="8318" y="20232"/>
                  <a:pt x="8307" y="20232"/>
                </a:cubicBezTo>
                <a:cubicBezTo>
                  <a:pt x="8248" y="20232"/>
                  <a:pt x="8242" y="20374"/>
                  <a:pt x="8290" y="20404"/>
                </a:cubicBezTo>
                <a:cubicBezTo>
                  <a:pt x="8224" y="20558"/>
                  <a:pt x="8335" y="20723"/>
                  <a:pt x="8404" y="20797"/>
                </a:cubicBezTo>
                <a:lnTo>
                  <a:pt x="8421" y="20768"/>
                </a:lnTo>
                <a:lnTo>
                  <a:pt x="8440" y="20786"/>
                </a:lnTo>
                <a:cubicBezTo>
                  <a:pt x="8440" y="20786"/>
                  <a:pt x="8460" y="20734"/>
                  <a:pt x="8463" y="20726"/>
                </a:cubicBezTo>
                <a:cubicBezTo>
                  <a:pt x="8481" y="20791"/>
                  <a:pt x="8506" y="20812"/>
                  <a:pt x="8544" y="20833"/>
                </a:cubicBezTo>
                <a:cubicBezTo>
                  <a:pt x="8631" y="20882"/>
                  <a:pt x="8572" y="21016"/>
                  <a:pt x="8625" y="21113"/>
                </a:cubicBezTo>
                <a:cubicBezTo>
                  <a:pt x="8670" y="21195"/>
                  <a:pt x="8728" y="21169"/>
                  <a:pt x="8774" y="21125"/>
                </a:cubicBezTo>
                <a:cubicBezTo>
                  <a:pt x="8819" y="21180"/>
                  <a:pt x="8955" y="21104"/>
                  <a:pt x="8977" y="21190"/>
                </a:cubicBezTo>
                <a:cubicBezTo>
                  <a:pt x="8994" y="21268"/>
                  <a:pt x="9007" y="21360"/>
                  <a:pt x="9074" y="21327"/>
                </a:cubicBezTo>
                <a:cubicBezTo>
                  <a:pt x="9087" y="21499"/>
                  <a:pt x="9387" y="21534"/>
                  <a:pt x="9242" y="21147"/>
                </a:cubicBezTo>
                <a:cubicBezTo>
                  <a:pt x="9322" y="21112"/>
                  <a:pt x="9334" y="20930"/>
                  <a:pt x="9399" y="20930"/>
                </a:cubicBezTo>
                <a:cubicBezTo>
                  <a:pt x="9476" y="20930"/>
                  <a:pt x="9464" y="21056"/>
                  <a:pt x="9512" y="21099"/>
                </a:cubicBezTo>
                <a:cubicBezTo>
                  <a:pt x="9489" y="21140"/>
                  <a:pt x="9481" y="21184"/>
                  <a:pt x="9489" y="21232"/>
                </a:cubicBezTo>
                <a:cubicBezTo>
                  <a:pt x="9530" y="21294"/>
                  <a:pt x="9567" y="21378"/>
                  <a:pt x="9594" y="21465"/>
                </a:cubicBezTo>
                <a:cubicBezTo>
                  <a:pt x="9613" y="21444"/>
                  <a:pt x="9635" y="21429"/>
                  <a:pt x="9658" y="21420"/>
                </a:cubicBezTo>
                <a:cubicBezTo>
                  <a:pt x="9651" y="21406"/>
                  <a:pt x="9651" y="21393"/>
                  <a:pt x="9656" y="21381"/>
                </a:cubicBezTo>
                <a:lnTo>
                  <a:pt x="9663" y="21393"/>
                </a:lnTo>
                <a:cubicBezTo>
                  <a:pt x="9703" y="21371"/>
                  <a:pt x="9728" y="21327"/>
                  <a:pt x="9733" y="21262"/>
                </a:cubicBezTo>
                <a:lnTo>
                  <a:pt x="9788" y="21239"/>
                </a:lnTo>
                <a:lnTo>
                  <a:pt x="9727" y="21036"/>
                </a:lnTo>
                <a:lnTo>
                  <a:pt x="9751" y="20983"/>
                </a:lnTo>
                <a:cubicBezTo>
                  <a:pt x="9690" y="20841"/>
                  <a:pt x="9591" y="20668"/>
                  <a:pt x="9478" y="20685"/>
                </a:cubicBezTo>
                <a:cubicBezTo>
                  <a:pt x="9386" y="20387"/>
                  <a:pt x="9023" y="21216"/>
                  <a:pt x="8905" y="20641"/>
                </a:cubicBezTo>
                <a:lnTo>
                  <a:pt x="8820" y="20643"/>
                </a:lnTo>
                <a:cubicBezTo>
                  <a:pt x="8820" y="20643"/>
                  <a:pt x="8682" y="20417"/>
                  <a:pt x="8717" y="20417"/>
                </a:cubicBezTo>
                <a:cubicBezTo>
                  <a:pt x="8717" y="20417"/>
                  <a:pt x="8717" y="20417"/>
                  <a:pt x="8717" y="20417"/>
                </a:cubicBezTo>
                <a:cubicBezTo>
                  <a:pt x="8719" y="20417"/>
                  <a:pt x="8885" y="19093"/>
                  <a:pt x="8901" y="18934"/>
                </a:cubicBezTo>
                <a:cubicBezTo>
                  <a:pt x="8865" y="18931"/>
                  <a:pt x="8824" y="18936"/>
                  <a:pt x="8790" y="18958"/>
                </a:cubicBezTo>
                <a:cubicBezTo>
                  <a:pt x="8665" y="18803"/>
                  <a:pt x="8556" y="18836"/>
                  <a:pt x="8451" y="18742"/>
                </a:cubicBezTo>
                <a:cubicBezTo>
                  <a:pt x="8417" y="18712"/>
                  <a:pt x="8071" y="18740"/>
                  <a:pt x="8035" y="18773"/>
                </a:cubicBezTo>
                <a:cubicBezTo>
                  <a:pt x="8032" y="18768"/>
                  <a:pt x="8029" y="18763"/>
                  <a:pt x="8025" y="18757"/>
                </a:cubicBezTo>
                <a:cubicBezTo>
                  <a:pt x="8109" y="18574"/>
                  <a:pt x="8142" y="18312"/>
                  <a:pt x="8200" y="18110"/>
                </a:cubicBezTo>
                <a:cubicBezTo>
                  <a:pt x="8274" y="17968"/>
                  <a:pt x="8508" y="16969"/>
                  <a:pt x="8384" y="16969"/>
                </a:cubicBezTo>
                <a:cubicBezTo>
                  <a:pt x="8284" y="16969"/>
                  <a:pt x="8160" y="16997"/>
                  <a:pt x="8055" y="17030"/>
                </a:cubicBezTo>
                <a:cubicBezTo>
                  <a:pt x="7708" y="17115"/>
                  <a:pt x="7858" y="17667"/>
                  <a:pt x="7599" y="17812"/>
                </a:cubicBezTo>
                <a:cubicBezTo>
                  <a:pt x="7601" y="17840"/>
                  <a:pt x="7595" y="17864"/>
                  <a:pt x="7583" y="17884"/>
                </a:cubicBezTo>
                <a:lnTo>
                  <a:pt x="7589" y="17850"/>
                </a:lnTo>
                <a:cubicBezTo>
                  <a:pt x="7313" y="17803"/>
                  <a:pt x="7206" y="18092"/>
                  <a:pt x="6955" y="17842"/>
                </a:cubicBezTo>
                <a:cubicBezTo>
                  <a:pt x="6928" y="17797"/>
                  <a:pt x="6940" y="17716"/>
                  <a:pt x="6902" y="17678"/>
                </a:cubicBezTo>
                <a:cubicBezTo>
                  <a:pt x="6909" y="17285"/>
                  <a:pt x="6745" y="17009"/>
                  <a:pt x="6787" y="16567"/>
                </a:cubicBezTo>
                <a:cubicBezTo>
                  <a:pt x="6799" y="16444"/>
                  <a:pt x="6795" y="15988"/>
                  <a:pt x="6892" y="15936"/>
                </a:cubicBezTo>
                <a:cubicBezTo>
                  <a:pt x="6964" y="15896"/>
                  <a:pt x="6970" y="15802"/>
                  <a:pt x="6989" y="15695"/>
                </a:cubicBezTo>
                <a:cubicBezTo>
                  <a:pt x="6960" y="15291"/>
                  <a:pt x="7099" y="15132"/>
                  <a:pt x="7297" y="14954"/>
                </a:cubicBezTo>
                <a:cubicBezTo>
                  <a:pt x="7407" y="14847"/>
                  <a:pt x="7530" y="14681"/>
                  <a:pt x="7658" y="14647"/>
                </a:cubicBezTo>
                <a:cubicBezTo>
                  <a:pt x="7726" y="14629"/>
                  <a:pt x="7890" y="14823"/>
                  <a:pt x="7918" y="14651"/>
                </a:cubicBezTo>
                <a:cubicBezTo>
                  <a:pt x="7929" y="14662"/>
                  <a:pt x="7940" y="14672"/>
                  <a:pt x="7951" y="14683"/>
                </a:cubicBezTo>
                <a:cubicBezTo>
                  <a:pt x="7964" y="14784"/>
                  <a:pt x="8062" y="14913"/>
                  <a:pt x="8119" y="14804"/>
                </a:cubicBezTo>
                <a:cubicBezTo>
                  <a:pt x="8158" y="14847"/>
                  <a:pt x="8205" y="14840"/>
                  <a:pt x="8218" y="14755"/>
                </a:cubicBezTo>
                <a:cubicBezTo>
                  <a:pt x="8226" y="14760"/>
                  <a:pt x="8233" y="14769"/>
                  <a:pt x="8237" y="14776"/>
                </a:cubicBezTo>
                <a:cubicBezTo>
                  <a:pt x="8243" y="14815"/>
                  <a:pt x="8236" y="14869"/>
                  <a:pt x="8238" y="14910"/>
                </a:cubicBezTo>
                <a:cubicBezTo>
                  <a:pt x="8321" y="14897"/>
                  <a:pt x="8431" y="14728"/>
                  <a:pt x="8309" y="14652"/>
                </a:cubicBezTo>
                <a:cubicBezTo>
                  <a:pt x="8336" y="14621"/>
                  <a:pt x="8354" y="14568"/>
                  <a:pt x="8341" y="14512"/>
                </a:cubicBezTo>
                <a:cubicBezTo>
                  <a:pt x="8478" y="14435"/>
                  <a:pt x="8881" y="14341"/>
                  <a:pt x="8891" y="14660"/>
                </a:cubicBezTo>
                <a:cubicBezTo>
                  <a:pt x="8953" y="14668"/>
                  <a:pt x="9017" y="14668"/>
                  <a:pt x="9071" y="14607"/>
                </a:cubicBezTo>
                <a:cubicBezTo>
                  <a:pt x="9213" y="14442"/>
                  <a:pt x="9157" y="14782"/>
                  <a:pt x="9269" y="14825"/>
                </a:cubicBezTo>
                <a:cubicBezTo>
                  <a:pt x="9274" y="14919"/>
                  <a:pt x="9158" y="15202"/>
                  <a:pt x="9231" y="15255"/>
                </a:cubicBezTo>
                <a:cubicBezTo>
                  <a:pt x="9194" y="15363"/>
                  <a:pt x="9245" y="15521"/>
                  <a:pt x="9291" y="15598"/>
                </a:cubicBezTo>
                <a:cubicBezTo>
                  <a:pt x="9303" y="15683"/>
                  <a:pt x="9312" y="15745"/>
                  <a:pt x="9294" y="15822"/>
                </a:cubicBezTo>
                <a:cubicBezTo>
                  <a:pt x="9320" y="15840"/>
                  <a:pt x="9347" y="15858"/>
                  <a:pt x="9373" y="15876"/>
                </a:cubicBezTo>
                <a:cubicBezTo>
                  <a:pt x="9376" y="15876"/>
                  <a:pt x="9389" y="16042"/>
                  <a:pt x="9392" y="16062"/>
                </a:cubicBezTo>
                <a:cubicBezTo>
                  <a:pt x="9891" y="16160"/>
                  <a:pt x="9504" y="14453"/>
                  <a:pt x="9669" y="14135"/>
                </a:cubicBezTo>
                <a:cubicBezTo>
                  <a:pt x="9801" y="13882"/>
                  <a:pt x="9965" y="13656"/>
                  <a:pt x="10125" y="13464"/>
                </a:cubicBezTo>
                <a:cubicBezTo>
                  <a:pt x="10212" y="13386"/>
                  <a:pt x="10656" y="13027"/>
                  <a:pt x="10592" y="12952"/>
                </a:cubicBezTo>
                <a:cubicBezTo>
                  <a:pt x="10811" y="12978"/>
                  <a:pt x="10712" y="12540"/>
                  <a:pt x="10767" y="12391"/>
                </a:cubicBezTo>
                <a:cubicBezTo>
                  <a:pt x="10824" y="12240"/>
                  <a:pt x="11053" y="12010"/>
                  <a:pt x="10986" y="11786"/>
                </a:cubicBezTo>
                <a:cubicBezTo>
                  <a:pt x="11080" y="11837"/>
                  <a:pt x="11274" y="11508"/>
                  <a:pt x="11267" y="11344"/>
                </a:cubicBezTo>
                <a:cubicBezTo>
                  <a:pt x="11357" y="11366"/>
                  <a:pt x="11513" y="11281"/>
                  <a:pt x="11556" y="11158"/>
                </a:cubicBezTo>
                <a:lnTo>
                  <a:pt x="11547" y="11137"/>
                </a:lnTo>
                <a:cubicBezTo>
                  <a:pt x="11604" y="11130"/>
                  <a:pt x="11673" y="11149"/>
                  <a:pt x="11708" y="11051"/>
                </a:cubicBezTo>
                <a:cubicBezTo>
                  <a:pt x="11862" y="11256"/>
                  <a:pt x="12051" y="10796"/>
                  <a:pt x="11864" y="10786"/>
                </a:cubicBezTo>
                <a:cubicBezTo>
                  <a:pt x="11862" y="10777"/>
                  <a:pt x="11858" y="10768"/>
                  <a:pt x="11853" y="10760"/>
                </a:cubicBezTo>
                <a:cubicBezTo>
                  <a:pt x="11890" y="10730"/>
                  <a:pt x="11924" y="10692"/>
                  <a:pt x="11955" y="10645"/>
                </a:cubicBezTo>
                <a:lnTo>
                  <a:pt x="11897" y="10613"/>
                </a:lnTo>
                <a:cubicBezTo>
                  <a:pt x="11984" y="10395"/>
                  <a:pt x="12164" y="10420"/>
                  <a:pt x="12245" y="10219"/>
                </a:cubicBezTo>
                <a:cubicBezTo>
                  <a:pt x="12330" y="10329"/>
                  <a:pt x="12661" y="10004"/>
                  <a:pt x="12737" y="9969"/>
                </a:cubicBezTo>
                <a:cubicBezTo>
                  <a:pt x="12664" y="10028"/>
                  <a:pt x="12408" y="10465"/>
                  <a:pt x="12631" y="10503"/>
                </a:cubicBezTo>
                <a:cubicBezTo>
                  <a:pt x="12789" y="10529"/>
                  <a:pt x="13042" y="10150"/>
                  <a:pt x="13212" y="10091"/>
                </a:cubicBezTo>
                <a:cubicBezTo>
                  <a:pt x="13387" y="9998"/>
                  <a:pt x="13656" y="9885"/>
                  <a:pt x="13625" y="9596"/>
                </a:cubicBezTo>
                <a:cubicBezTo>
                  <a:pt x="13619" y="9547"/>
                  <a:pt x="13631" y="9416"/>
                  <a:pt x="13642" y="9372"/>
                </a:cubicBezTo>
                <a:cubicBezTo>
                  <a:pt x="13542" y="9340"/>
                  <a:pt x="13492" y="9469"/>
                  <a:pt x="13428" y="9577"/>
                </a:cubicBezTo>
                <a:cubicBezTo>
                  <a:pt x="13210" y="9948"/>
                  <a:pt x="13126" y="9598"/>
                  <a:pt x="13005" y="9382"/>
                </a:cubicBezTo>
                <a:cubicBezTo>
                  <a:pt x="13043" y="9332"/>
                  <a:pt x="13094" y="9211"/>
                  <a:pt x="13035" y="9143"/>
                </a:cubicBezTo>
                <a:cubicBezTo>
                  <a:pt x="13114" y="9113"/>
                  <a:pt x="13246" y="8984"/>
                  <a:pt x="13198" y="8817"/>
                </a:cubicBezTo>
                <a:cubicBezTo>
                  <a:pt x="13133" y="8591"/>
                  <a:pt x="12921" y="8699"/>
                  <a:pt x="12820" y="8748"/>
                </a:cubicBezTo>
                <a:cubicBezTo>
                  <a:pt x="13042" y="8483"/>
                  <a:pt x="13227" y="8473"/>
                  <a:pt x="13514" y="8498"/>
                </a:cubicBezTo>
                <a:cubicBezTo>
                  <a:pt x="13879" y="8530"/>
                  <a:pt x="14067" y="8267"/>
                  <a:pt x="14414" y="8134"/>
                </a:cubicBezTo>
                <a:cubicBezTo>
                  <a:pt x="14179" y="8347"/>
                  <a:pt x="14080" y="8871"/>
                  <a:pt x="13864" y="9071"/>
                </a:cubicBezTo>
                <a:cubicBezTo>
                  <a:pt x="13717" y="9206"/>
                  <a:pt x="14405" y="9317"/>
                  <a:pt x="14423" y="9210"/>
                </a:cubicBezTo>
                <a:cubicBezTo>
                  <a:pt x="14405" y="9314"/>
                  <a:pt x="14297" y="9379"/>
                  <a:pt x="14243" y="9402"/>
                </a:cubicBezTo>
                <a:cubicBezTo>
                  <a:pt x="14313" y="9418"/>
                  <a:pt x="14553" y="9162"/>
                  <a:pt x="14568" y="9200"/>
                </a:cubicBezTo>
                <a:cubicBezTo>
                  <a:pt x="14597" y="9273"/>
                  <a:pt x="14503" y="9384"/>
                  <a:pt x="14488" y="9436"/>
                </a:cubicBezTo>
                <a:cubicBezTo>
                  <a:pt x="14575" y="9436"/>
                  <a:pt x="14865" y="9376"/>
                  <a:pt x="14709" y="9160"/>
                </a:cubicBezTo>
                <a:cubicBezTo>
                  <a:pt x="14686" y="9129"/>
                  <a:pt x="14726" y="9185"/>
                  <a:pt x="14709" y="9160"/>
                </a:cubicBezTo>
                <a:close/>
                <a:moveTo>
                  <a:pt x="9292" y="15807"/>
                </a:moveTo>
                <a:cubicBezTo>
                  <a:pt x="9294" y="15804"/>
                  <a:pt x="9294" y="15801"/>
                  <a:pt x="9294" y="15797"/>
                </a:cubicBezTo>
                <a:lnTo>
                  <a:pt x="9292" y="15807"/>
                </a:lnTo>
                <a:cubicBezTo>
                  <a:pt x="9292" y="15807"/>
                  <a:pt x="9292" y="15807"/>
                  <a:pt x="9292" y="15807"/>
                </a:cubicBezTo>
                <a:close/>
                <a:moveTo>
                  <a:pt x="10369" y="17468"/>
                </a:moveTo>
                <a:cubicBezTo>
                  <a:pt x="10335" y="17379"/>
                  <a:pt x="10167" y="17362"/>
                  <a:pt x="10156" y="17309"/>
                </a:cubicBezTo>
                <a:cubicBezTo>
                  <a:pt x="10131" y="17189"/>
                  <a:pt x="9829" y="16896"/>
                  <a:pt x="9715" y="16827"/>
                </a:cubicBezTo>
                <a:cubicBezTo>
                  <a:pt x="9533" y="16717"/>
                  <a:pt x="9375" y="16548"/>
                  <a:pt x="9156" y="16596"/>
                </a:cubicBezTo>
                <a:cubicBezTo>
                  <a:pt x="9072" y="16614"/>
                  <a:pt x="8717" y="16808"/>
                  <a:pt x="8728" y="16994"/>
                </a:cubicBezTo>
                <a:cubicBezTo>
                  <a:pt x="8730" y="17027"/>
                  <a:pt x="9190" y="16568"/>
                  <a:pt x="9247" y="16760"/>
                </a:cubicBezTo>
                <a:cubicBezTo>
                  <a:pt x="9236" y="16814"/>
                  <a:pt x="9210" y="16831"/>
                  <a:pt x="9167" y="16810"/>
                </a:cubicBezTo>
                <a:cubicBezTo>
                  <a:pt x="9239" y="16755"/>
                  <a:pt x="9536" y="17035"/>
                  <a:pt x="9629" y="17047"/>
                </a:cubicBezTo>
                <a:cubicBezTo>
                  <a:pt x="9753" y="17062"/>
                  <a:pt x="9684" y="17348"/>
                  <a:pt x="9814" y="17335"/>
                </a:cubicBezTo>
                <a:cubicBezTo>
                  <a:pt x="9981" y="17317"/>
                  <a:pt x="9882" y="17476"/>
                  <a:pt x="9811" y="17585"/>
                </a:cubicBezTo>
                <a:cubicBezTo>
                  <a:pt x="9811" y="17585"/>
                  <a:pt x="9811" y="17585"/>
                  <a:pt x="9811" y="17585"/>
                </a:cubicBezTo>
                <a:cubicBezTo>
                  <a:pt x="9811" y="17585"/>
                  <a:pt x="9811" y="17585"/>
                  <a:pt x="9811" y="17586"/>
                </a:cubicBezTo>
                <a:cubicBezTo>
                  <a:pt x="9831" y="17583"/>
                  <a:pt x="10404" y="17558"/>
                  <a:pt x="10369" y="17468"/>
                </a:cubicBezTo>
                <a:cubicBezTo>
                  <a:pt x="10361" y="17446"/>
                  <a:pt x="10394" y="17532"/>
                  <a:pt x="10369" y="17468"/>
                </a:cubicBezTo>
                <a:close/>
                <a:moveTo>
                  <a:pt x="20788" y="376"/>
                </a:moveTo>
                <a:cubicBezTo>
                  <a:pt x="20661" y="393"/>
                  <a:pt x="20521" y="488"/>
                  <a:pt x="20397" y="482"/>
                </a:cubicBezTo>
                <a:cubicBezTo>
                  <a:pt x="20438" y="401"/>
                  <a:pt x="20552" y="165"/>
                  <a:pt x="20633" y="174"/>
                </a:cubicBezTo>
                <a:cubicBezTo>
                  <a:pt x="20175" y="121"/>
                  <a:pt x="19751" y="-20"/>
                  <a:pt x="19284" y="2"/>
                </a:cubicBezTo>
                <a:cubicBezTo>
                  <a:pt x="19105" y="10"/>
                  <a:pt x="18902" y="130"/>
                  <a:pt x="18728" y="59"/>
                </a:cubicBezTo>
                <a:cubicBezTo>
                  <a:pt x="18578" y="-2"/>
                  <a:pt x="18252" y="-5"/>
                  <a:pt x="18116" y="136"/>
                </a:cubicBezTo>
                <a:cubicBezTo>
                  <a:pt x="18175" y="75"/>
                  <a:pt x="18298" y="279"/>
                  <a:pt x="18361" y="285"/>
                </a:cubicBezTo>
                <a:cubicBezTo>
                  <a:pt x="18166" y="285"/>
                  <a:pt x="17974" y="110"/>
                  <a:pt x="17776" y="149"/>
                </a:cubicBezTo>
                <a:cubicBezTo>
                  <a:pt x="17789" y="245"/>
                  <a:pt x="17791" y="210"/>
                  <a:pt x="17833" y="259"/>
                </a:cubicBezTo>
                <a:cubicBezTo>
                  <a:pt x="17695" y="308"/>
                  <a:pt x="17442" y="191"/>
                  <a:pt x="17296" y="183"/>
                </a:cubicBezTo>
                <a:cubicBezTo>
                  <a:pt x="17097" y="171"/>
                  <a:pt x="16902" y="273"/>
                  <a:pt x="16703" y="270"/>
                </a:cubicBezTo>
                <a:cubicBezTo>
                  <a:pt x="16707" y="477"/>
                  <a:pt x="16045" y="464"/>
                  <a:pt x="15922" y="611"/>
                </a:cubicBezTo>
                <a:cubicBezTo>
                  <a:pt x="15984" y="642"/>
                  <a:pt x="16050" y="632"/>
                  <a:pt x="16114" y="633"/>
                </a:cubicBezTo>
                <a:cubicBezTo>
                  <a:pt x="16093" y="927"/>
                  <a:pt x="15244" y="969"/>
                  <a:pt x="15099" y="1007"/>
                </a:cubicBezTo>
                <a:cubicBezTo>
                  <a:pt x="15125" y="1148"/>
                  <a:pt x="15349" y="1197"/>
                  <a:pt x="15414" y="1212"/>
                </a:cubicBezTo>
                <a:cubicBezTo>
                  <a:pt x="15335" y="1285"/>
                  <a:pt x="15187" y="1268"/>
                  <a:pt x="15096" y="1309"/>
                </a:cubicBezTo>
                <a:cubicBezTo>
                  <a:pt x="15139" y="1389"/>
                  <a:pt x="15278" y="1390"/>
                  <a:pt x="15337" y="1395"/>
                </a:cubicBezTo>
                <a:cubicBezTo>
                  <a:pt x="15292" y="1423"/>
                  <a:pt x="15237" y="1423"/>
                  <a:pt x="15198" y="1474"/>
                </a:cubicBezTo>
                <a:cubicBezTo>
                  <a:pt x="15433" y="1544"/>
                  <a:pt x="15645" y="1461"/>
                  <a:pt x="15880" y="1474"/>
                </a:cubicBezTo>
                <a:cubicBezTo>
                  <a:pt x="15992" y="1480"/>
                  <a:pt x="16131" y="1500"/>
                  <a:pt x="16237" y="1562"/>
                </a:cubicBezTo>
                <a:cubicBezTo>
                  <a:pt x="16344" y="1623"/>
                  <a:pt x="16226" y="1664"/>
                  <a:pt x="16247" y="1717"/>
                </a:cubicBezTo>
                <a:cubicBezTo>
                  <a:pt x="16266" y="1765"/>
                  <a:pt x="16487" y="1880"/>
                  <a:pt x="16313" y="1959"/>
                </a:cubicBezTo>
                <a:cubicBezTo>
                  <a:pt x="16559" y="1847"/>
                  <a:pt x="16204" y="2758"/>
                  <a:pt x="16179" y="2583"/>
                </a:cubicBezTo>
                <a:cubicBezTo>
                  <a:pt x="16203" y="2748"/>
                  <a:pt x="16427" y="2568"/>
                  <a:pt x="16494" y="2630"/>
                </a:cubicBezTo>
                <a:cubicBezTo>
                  <a:pt x="16482" y="2669"/>
                  <a:pt x="16425" y="2638"/>
                  <a:pt x="16428" y="2695"/>
                </a:cubicBezTo>
                <a:cubicBezTo>
                  <a:pt x="16522" y="2661"/>
                  <a:pt x="16598" y="2870"/>
                  <a:pt x="16593" y="2871"/>
                </a:cubicBezTo>
                <a:cubicBezTo>
                  <a:pt x="16581" y="2874"/>
                  <a:pt x="16213" y="2799"/>
                  <a:pt x="16214" y="2802"/>
                </a:cubicBezTo>
                <a:cubicBezTo>
                  <a:pt x="16229" y="2835"/>
                  <a:pt x="16243" y="2868"/>
                  <a:pt x="16257" y="2900"/>
                </a:cubicBezTo>
                <a:cubicBezTo>
                  <a:pt x="16172" y="2904"/>
                  <a:pt x="16137" y="2977"/>
                  <a:pt x="16095" y="3092"/>
                </a:cubicBezTo>
                <a:cubicBezTo>
                  <a:pt x="16186" y="3140"/>
                  <a:pt x="16346" y="3277"/>
                  <a:pt x="16419" y="3092"/>
                </a:cubicBezTo>
                <a:cubicBezTo>
                  <a:pt x="16494" y="2902"/>
                  <a:pt x="16546" y="3028"/>
                  <a:pt x="16502" y="3209"/>
                </a:cubicBezTo>
                <a:cubicBezTo>
                  <a:pt x="16498" y="3224"/>
                  <a:pt x="15861" y="3720"/>
                  <a:pt x="16084" y="3791"/>
                </a:cubicBezTo>
                <a:cubicBezTo>
                  <a:pt x="16081" y="3912"/>
                  <a:pt x="15909" y="3871"/>
                  <a:pt x="15990" y="4074"/>
                </a:cubicBezTo>
                <a:cubicBezTo>
                  <a:pt x="16072" y="4282"/>
                  <a:pt x="15977" y="4328"/>
                  <a:pt x="16012" y="4522"/>
                </a:cubicBezTo>
                <a:cubicBezTo>
                  <a:pt x="16059" y="4791"/>
                  <a:pt x="16218" y="5190"/>
                  <a:pt x="16217" y="5459"/>
                </a:cubicBezTo>
                <a:cubicBezTo>
                  <a:pt x="16477" y="5346"/>
                  <a:pt x="16693" y="5934"/>
                  <a:pt x="16874" y="5492"/>
                </a:cubicBezTo>
                <a:cubicBezTo>
                  <a:pt x="16944" y="5323"/>
                  <a:pt x="17078" y="4978"/>
                  <a:pt x="17178" y="4863"/>
                </a:cubicBezTo>
                <a:cubicBezTo>
                  <a:pt x="17207" y="4830"/>
                  <a:pt x="17468" y="4537"/>
                  <a:pt x="17336" y="4506"/>
                </a:cubicBezTo>
                <a:cubicBezTo>
                  <a:pt x="17352" y="4429"/>
                  <a:pt x="17466" y="4461"/>
                  <a:pt x="17462" y="4414"/>
                </a:cubicBezTo>
                <a:cubicBezTo>
                  <a:pt x="17446" y="4185"/>
                  <a:pt x="17478" y="4318"/>
                  <a:pt x="17603" y="4179"/>
                </a:cubicBezTo>
                <a:cubicBezTo>
                  <a:pt x="17832" y="3924"/>
                  <a:pt x="18176" y="4100"/>
                  <a:pt x="18404" y="3748"/>
                </a:cubicBezTo>
                <a:cubicBezTo>
                  <a:pt x="18623" y="3408"/>
                  <a:pt x="18719" y="3579"/>
                  <a:pt x="18976" y="3474"/>
                </a:cubicBezTo>
                <a:cubicBezTo>
                  <a:pt x="19132" y="3410"/>
                  <a:pt x="19315" y="3416"/>
                  <a:pt x="19459" y="3294"/>
                </a:cubicBezTo>
                <a:cubicBezTo>
                  <a:pt x="19583" y="3189"/>
                  <a:pt x="19779" y="3004"/>
                  <a:pt x="19921" y="2998"/>
                </a:cubicBezTo>
                <a:cubicBezTo>
                  <a:pt x="19863" y="3000"/>
                  <a:pt x="19502" y="2839"/>
                  <a:pt x="19465" y="2948"/>
                </a:cubicBezTo>
                <a:cubicBezTo>
                  <a:pt x="19535" y="2744"/>
                  <a:pt x="19616" y="2666"/>
                  <a:pt x="19736" y="2808"/>
                </a:cubicBezTo>
                <a:cubicBezTo>
                  <a:pt x="19799" y="2882"/>
                  <a:pt x="20006" y="3044"/>
                  <a:pt x="20008" y="2762"/>
                </a:cubicBezTo>
                <a:cubicBezTo>
                  <a:pt x="20009" y="2563"/>
                  <a:pt x="19750" y="2306"/>
                  <a:pt x="19652" y="2240"/>
                </a:cubicBezTo>
                <a:cubicBezTo>
                  <a:pt x="19743" y="2177"/>
                  <a:pt x="20272" y="2315"/>
                  <a:pt x="20290" y="2066"/>
                </a:cubicBezTo>
                <a:cubicBezTo>
                  <a:pt x="20246" y="2069"/>
                  <a:pt x="20204" y="2042"/>
                  <a:pt x="20162" y="2024"/>
                </a:cubicBezTo>
                <a:cubicBezTo>
                  <a:pt x="20196" y="2013"/>
                  <a:pt x="20461" y="2053"/>
                  <a:pt x="20445" y="1920"/>
                </a:cubicBezTo>
                <a:cubicBezTo>
                  <a:pt x="20434" y="1826"/>
                  <a:pt x="20316" y="1823"/>
                  <a:pt x="20426" y="1726"/>
                </a:cubicBezTo>
                <a:cubicBezTo>
                  <a:pt x="20595" y="1578"/>
                  <a:pt x="20285" y="1472"/>
                  <a:pt x="20249" y="1409"/>
                </a:cubicBezTo>
                <a:cubicBezTo>
                  <a:pt x="20284" y="1409"/>
                  <a:pt x="20770" y="1373"/>
                  <a:pt x="20655" y="1204"/>
                </a:cubicBezTo>
                <a:cubicBezTo>
                  <a:pt x="20592" y="1111"/>
                  <a:pt x="20396" y="1087"/>
                  <a:pt x="20327" y="1171"/>
                </a:cubicBezTo>
                <a:cubicBezTo>
                  <a:pt x="20607" y="695"/>
                  <a:pt x="21060" y="526"/>
                  <a:pt x="21446" y="368"/>
                </a:cubicBezTo>
                <a:cubicBezTo>
                  <a:pt x="21259" y="170"/>
                  <a:pt x="20985" y="351"/>
                  <a:pt x="20788" y="376"/>
                </a:cubicBezTo>
                <a:cubicBezTo>
                  <a:pt x="20727" y="384"/>
                  <a:pt x="20985" y="351"/>
                  <a:pt x="20788" y="376"/>
                </a:cubicBezTo>
                <a:close/>
                <a:moveTo>
                  <a:pt x="11250" y="17854"/>
                </a:moveTo>
                <a:cubicBezTo>
                  <a:pt x="11353" y="18121"/>
                  <a:pt x="10932" y="18149"/>
                  <a:pt x="10851" y="18066"/>
                </a:cubicBezTo>
                <a:cubicBezTo>
                  <a:pt x="10834" y="18070"/>
                  <a:pt x="10772" y="18267"/>
                  <a:pt x="10762" y="18295"/>
                </a:cubicBezTo>
                <a:lnTo>
                  <a:pt x="10744" y="18285"/>
                </a:lnTo>
                <a:lnTo>
                  <a:pt x="10730" y="18323"/>
                </a:lnTo>
                <a:cubicBezTo>
                  <a:pt x="10688" y="18281"/>
                  <a:pt x="10661" y="18211"/>
                  <a:pt x="10659" y="18127"/>
                </a:cubicBezTo>
                <a:cubicBezTo>
                  <a:pt x="10636" y="18121"/>
                  <a:pt x="10482" y="18109"/>
                  <a:pt x="10449" y="18132"/>
                </a:cubicBezTo>
                <a:cubicBezTo>
                  <a:pt x="10400" y="18160"/>
                  <a:pt x="10250" y="18170"/>
                  <a:pt x="10272" y="17972"/>
                </a:cubicBezTo>
                <a:cubicBezTo>
                  <a:pt x="10299" y="17723"/>
                  <a:pt x="10501" y="18031"/>
                  <a:pt x="10576" y="17927"/>
                </a:cubicBezTo>
                <a:cubicBezTo>
                  <a:pt x="10576" y="17927"/>
                  <a:pt x="10576" y="17927"/>
                  <a:pt x="10576" y="17927"/>
                </a:cubicBezTo>
                <a:cubicBezTo>
                  <a:pt x="10555" y="17927"/>
                  <a:pt x="10562" y="17743"/>
                  <a:pt x="10562" y="17738"/>
                </a:cubicBezTo>
                <a:lnTo>
                  <a:pt x="10412" y="17627"/>
                </a:lnTo>
                <a:cubicBezTo>
                  <a:pt x="10499" y="17485"/>
                  <a:pt x="10669" y="17484"/>
                  <a:pt x="10776" y="17484"/>
                </a:cubicBezTo>
                <a:cubicBezTo>
                  <a:pt x="10837" y="17484"/>
                  <a:pt x="10950" y="17493"/>
                  <a:pt x="11001" y="17546"/>
                </a:cubicBezTo>
                <a:cubicBezTo>
                  <a:pt x="11036" y="17584"/>
                  <a:pt x="11222" y="17784"/>
                  <a:pt x="11250" y="17854"/>
                </a:cubicBezTo>
                <a:cubicBezTo>
                  <a:pt x="11273" y="17915"/>
                  <a:pt x="11228" y="17798"/>
                  <a:pt x="11250" y="17854"/>
                </a:cubicBezTo>
                <a:close/>
              </a:path>
            </a:pathLst>
          </a:custGeom>
          <a:solidFill>
            <a:schemeClr val="bg1">
              <a:lumMod val="95000"/>
            </a:schemeClr>
          </a:solidFill>
          <a:ln w="12700" cap="flat">
            <a:noFill/>
            <a:miter lim="400000"/>
          </a:ln>
          <a:effectLst/>
        </p:spPr>
        <p:txBody>
          <a:bodyPr wrap="square" lIns="0" tIns="0" rIns="0" bIns="0" numCol="1" anchor="ctr">
            <a:noAutofit/>
          </a:bodyPr>
          <a:lstStyle/>
          <a:p>
            <a:pPr defTabSz="410780">
              <a:lnSpc>
                <a:spcPct val="110000"/>
              </a:lnSpc>
              <a:spcBef>
                <a:spcPts val="2110"/>
              </a:spcBef>
              <a:defRPr sz="2000">
                <a:solidFill>
                  <a:srgbClr val="4C4C4C"/>
                </a:solidFill>
                <a:latin typeface="Helvetica Neue Light"/>
                <a:ea typeface="Helvetica Neue Light"/>
                <a:cs typeface="Helvetica Neue Light"/>
                <a:sym typeface="Helvetica Neue Light"/>
              </a:defRPr>
            </a:pPr>
            <a:endParaRPr lang="en-US" sz="1407" dirty="0">
              <a:latin typeface="Lato Light" panose="020F0502020204030203" pitchFamily="34" charset="0"/>
              <a:ea typeface="Lato Light" panose="020F0502020204030203" pitchFamily="34" charset="0"/>
              <a:cs typeface="Lato Light" panose="020F0502020204030203" pitchFamily="34" charset="0"/>
            </a:endParaRPr>
          </a:p>
        </p:txBody>
      </p:sp>
      <p:sp>
        <p:nvSpPr>
          <p:cNvPr id="390" name="Shape 4386">
            <a:extLst>
              <a:ext uri="{FF2B5EF4-FFF2-40B4-BE49-F238E27FC236}">
                <a16:creationId xmlns:a16="http://schemas.microsoft.com/office/drawing/2014/main" id="{30F5F796-9A63-4ED1-B057-82CF96E68B95}"/>
              </a:ext>
            </a:extLst>
          </p:cNvPr>
          <p:cNvSpPr/>
          <p:nvPr/>
        </p:nvSpPr>
        <p:spPr>
          <a:xfrm>
            <a:off x="3342071" y="3797328"/>
            <a:ext cx="1355423" cy="2208676"/>
          </a:xfrm>
          <a:custGeom>
            <a:avLst/>
            <a:gdLst/>
            <a:ahLst/>
            <a:cxnLst>
              <a:cxn ang="0">
                <a:pos x="wd2" y="hd2"/>
              </a:cxn>
              <a:cxn ang="5400000">
                <a:pos x="wd2" y="hd2"/>
              </a:cxn>
              <a:cxn ang="10800000">
                <a:pos x="wd2" y="hd2"/>
              </a:cxn>
              <a:cxn ang="16200000">
                <a:pos x="wd2" y="hd2"/>
              </a:cxn>
            </a:cxnLst>
            <a:rect l="0" t="0" r="r" b="b"/>
            <a:pathLst>
              <a:path w="21156" h="21346" extrusionOk="0">
                <a:moveTo>
                  <a:pt x="14907" y="13611"/>
                </a:moveTo>
                <a:cubicBezTo>
                  <a:pt x="14908" y="13576"/>
                  <a:pt x="14915" y="13542"/>
                  <a:pt x="14927" y="13508"/>
                </a:cubicBezTo>
                <a:cubicBezTo>
                  <a:pt x="14945" y="13527"/>
                  <a:pt x="14935" y="13561"/>
                  <a:pt x="14907" y="13611"/>
                </a:cubicBezTo>
                <a:cubicBezTo>
                  <a:pt x="14911" y="13596"/>
                  <a:pt x="14935" y="13561"/>
                  <a:pt x="14907" y="13611"/>
                </a:cubicBezTo>
                <a:close/>
                <a:moveTo>
                  <a:pt x="13846" y="3906"/>
                </a:moveTo>
                <a:cubicBezTo>
                  <a:pt x="13745" y="4068"/>
                  <a:pt x="13727" y="4129"/>
                  <a:pt x="13495" y="4231"/>
                </a:cubicBezTo>
                <a:cubicBezTo>
                  <a:pt x="13568" y="4090"/>
                  <a:pt x="13714" y="3995"/>
                  <a:pt x="13864" y="3877"/>
                </a:cubicBezTo>
                <a:lnTo>
                  <a:pt x="13846" y="3906"/>
                </a:lnTo>
                <a:cubicBezTo>
                  <a:pt x="13827" y="3937"/>
                  <a:pt x="13846" y="3906"/>
                  <a:pt x="13846" y="3906"/>
                </a:cubicBezTo>
                <a:close/>
                <a:moveTo>
                  <a:pt x="12475" y="14778"/>
                </a:moveTo>
                <a:cubicBezTo>
                  <a:pt x="12516" y="14778"/>
                  <a:pt x="12564" y="14776"/>
                  <a:pt x="12595" y="14795"/>
                </a:cubicBezTo>
                <a:cubicBezTo>
                  <a:pt x="12555" y="14785"/>
                  <a:pt x="12514" y="14778"/>
                  <a:pt x="12475" y="14778"/>
                </a:cubicBezTo>
                <a:cubicBezTo>
                  <a:pt x="12476" y="14778"/>
                  <a:pt x="12514" y="14778"/>
                  <a:pt x="12475" y="14778"/>
                </a:cubicBezTo>
                <a:close/>
                <a:moveTo>
                  <a:pt x="7113" y="17141"/>
                </a:moveTo>
                <a:cubicBezTo>
                  <a:pt x="7109" y="17139"/>
                  <a:pt x="7101" y="17127"/>
                  <a:pt x="7096" y="17118"/>
                </a:cubicBezTo>
                <a:cubicBezTo>
                  <a:pt x="7113" y="17112"/>
                  <a:pt x="7129" y="17104"/>
                  <a:pt x="7143" y="17096"/>
                </a:cubicBezTo>
                <a:cubicBezTo>
                  <a:pt x="7135" y="17114"/>
                  <a:pt x="7137" y="17132"/>
                  <a:pt x="7149" y="17150"/>
                </a:cubicBezTo>
                <a:lnTo>
                  <a:pt x="7113" y="17141"/>
                </a:lnTo>
                <a:cubicBezTo>
                  <a:pt x="7109" y="17139"/>
                  <a:pt x="7113" y="17141"/>
                  <a:pt x="7113" y="17141"/>
                </a:cubicBezTo>
                <a:close/>
                <a:moveTo>
                  <a:pt x="4271" y="153"/>
                </a:moveTo>
                <a:cubicBezTo>
                  <a:pt x="4271" y="153"/>
                  <a:pt x="4274" y="153"/>
                  <a:pt x="4271" y="153"/>
                </a:cubicBezTo>
                <a:cubicBezTo>
                  <a:pt x="4271" y="153"/>
                  <a:pt x="4271" y="153"/>
                  <a:pt x="4271" y="153"/>
                </a:cubicBezTo>
                <a:close/>
                <a:moveTo>
                  <a:pt x="21083" y="5876"/>
                </a:moveTo>
                <a:cubicBezTo>
                  <a:pt x="20878" y="5351"/>
                  <a:pt x="20177" y="5444"/>
                  <a:pt x="19555" y="5083"/>
                </a:cubicBezTo>
                <a:cubicBezTo>
                  <a:pt x="19066" y="4799"/>
                  <a:pt x="18685" y="4740"/>
                  <a:pt x="18023" y="4717"/>
                </a:cubicBezTo>
                <a:cubicBezTo>
                  <a:pt x="17537" y="4700"/>
                  <a:pt x="17283" y="4482"/>
                  <a:pt x="16812" y="4685"/>
                </a:cubicBezTo>
                <a:cubicBezTo>
                  <a:pt x="16950" y="4215"/>
                  <a:pt x="15462" y="3995"/>
                  <a:pt x="14945" y="4103"/>
                </a:cubicBezTo>
                <a:cubicBezTo>
                  <a:pt x="14955" y="4083"/>
                  <a:pt x="15053" y="3900"/>
                  <a:pt x="15053" y="3900"/>
                </a:cubicBezTo>
                <a:cubicBezTo>
                  <a:pt x="14663" y="3887"/>
                  <a:pt x="14273" y="3873"/>
                  <a:pt x="13883" y="3862"/>
                </a:cubicBezTo>
                <a:cubicBezTo>
                  <a:pt x="14117" y="3655"/>
                  <a:pt x="14501" y="3533"/>
                  <a:pt x="14274" y="3246"/>
                </a:cubicBezTo>
                <a:cubicBezTo>
                  <a:pt x="13791" y="3298"/>
                  <a:pt x="13738" y="2329"/>
                  <a:pt x="13421" y="2513"/>
                </a:cubicBezTo>
                <a:cubicBezTo>
                  <a:pt x="13222" y="2341"/>
                  <a:pt x="12877" y="2206"/>
                  <a:pt x="12575" y="2135"/>
                </a:cubicBezTo>
                <a:cubicBezTo>
                  <a:pt x="12586" y="2119"/>
                  <a:pt x="12595" y="2102"/>
                  <a:pt x="12600" y="2085"/>
                </a:cubicBezTo>
                <a:cubicBezTo>
                  <a:pt x="12472" y="2018"/>
                  <a:pt x="11718" y="1855"/>
                  <a:pt x="11552" y="2009"/>
                </a:cubicBezTo>
                <a:cubicBezTo>
                  <a:pt x="11407" y="1950"/>
                  <a:pt x="11152" y="1951"/>
                  <a:pt x="10982" y="1957"/>
                </a:cubicBezTo>
                <a:lnTo>
                  <a:pt x="10971" y="1915"/>
                </a:lnTo>
                <a:lnTo>
                  <a:pt x="10942" y="1935"/>
                </a:lnTo>
                <a:cubicBezTo>
                  <a:pt x="10847" y="1887"/>
                  <a:pt x="10590" y="1730"/>
                  <a:pt x="10461" y="1730"/>
                </a:cubicBezTo>
                <a:cubicBezTo>
                  <a:pt x="10603" y="1730"/>
                  <a:pt x="10202" y="1408"/>
                  <a:pt x="10132" y="1370"/>
                </a:cubicBezTo>
                <a:cubicBezTo>
                  <a:pt x="10175" y="1376"/>
                  <a:pt x="10205" y="1380"/>
                  <a:pt x="10205" y="1380"/>
                </a:cubicBezTo>
                <a:cubicBezTo>
                  <a:pt x="9946" y="1224"/>
                  <a:pt x="9692" y="1045"/>
                  <a:pt x="9292" y="1115"/>
                </a:cubicBezTo>
                <a:cubicBezTo>
                  <a:pt x="9308" y="1100"/>
                  <a:pt x="9312" y="1069"/>
                  <a:pt x="9318" y="1047"/>
                </a:cubicBezTo>
                <a:cubicBezTo>
                  <a:pt x="9756" y="901"/>
                  <a:pt x="8958" y="655"/>
                  <a:pt x="8719" y="691"/>
                </a:cubicBezTo>
                <a:cubicBezTo>
                  <a:pt x="8697" y="649"/>
                  <a:pt x="8672" y="637"/>
                  <a:pt x="8622" y="605"/>
                </a:cubicBezTo>
                <a:cubicBezTo>
                  <a:pt x="8595" y="615"/>
                  <a:pt x="8857" y="603"/>
                  <a:pt x="8946" y="583"/>
                </a:cubicBezTo>
                <a:lnTo>
                  <a:pt x="8946" y="424"/>
                </a:lnTo>
                <a:cubicBezTo>
                  <a:pt x="8584" y="419"/>
                  <a:pt x="8041" y="370"/>
                  <a:pt x="7753" y="527"/>
                </a:cubicBezTo>
                <a:cubicBezTo>
                  <a:pt x="7325" y="761"/>
                  <a:pt x="7238" y="462"/>
                  <a:pt x="6865" y="462"/>
                </a:cubicBezTo>
                <a:cubicBezTo>
                  <a:pt x="6651" y="462"/>
                  <a:pt x="6162" y="582"/>
                  <a:pt x="6100" y="423"/>
                </a:cubicBezTo>
                <a:cubicBezTo>
                  <a:pt x="6035" y="257"/>
                  <a:pt x="5794" y="173"/>
                  <a:pt x="5530" y="201"/>
                </a:cubicBezTo>
                <a:cubicBezTo>
                  <a:pt x="5798" y="201"/>
                  <a:pt x="4516" y="-254"/>
                  <a:pt x="5126" y="246"/>
                </a:cubicBezTo>
                <a:cubicBezTo>
                  <a:pt x="4964" y="310"/>
                  <a:pt x="4729" y="281"/>
                  <a:pt x="4573" y="365"/>
                </a:cubicBezTo>
                <a:cubicBezTo>
                  <a:pt x="4569" y="357"/>
                  <a:pt x="4565" y="351"/>
                  <a:pt x="4561" y="344"/>
                </a:cubicBezTo>
                <a:cubicBezTo>
                  <a:pt x="4686" y="310"/>
                  <a:pt x="4802" y="265"/>
                  <a:pt x="4906" y="212"/>
                </a:cubicBezTo>
                <a:cubicBezTo>
                  <a:pt x="4915" y="-229"/>
                  <a:pt x="4397" y="153"/>
                  <a:pt x="4270" y="153"/>
                </a:cubicBezTo>
                <a:cubicBezTo>
                  <a:pt x="4167" y="164"/>
                  <a:pt x="3359" y="353"/>
                  <a:pt x="3319" y="417"/>
                </a:cubicBezTo>
                <a:lnTo>
                  <a:pt x="3145" y="383"/>
                </a:lnTo>
                <a:cubicBezTo>
                  <a:pt x="2836" y="502"/>
                  <a:pt x="2710" y="657"/>
                  <a:pt x="2597" y="861"/>
                </a:cubicBezTo>
                <a:lnTo>
                  <a:pt x="2632" y="881"/>
                </a:lnTo>
                <a:lnTo>
                  <a:pt x="2609" y="891"/>
                </a:lnTo>
                <a:cubicBezTo>
                  <a:pt x="2609" y="891"/>
                  <a:pt x="2630" y="919"/>
                  <a:pt x="2631" y="920"/>
                </a:cubicBezTo>
                <a:cubicBezTo>
                  <a:pt x="2441" y="925"/>
                  <a:pt x="2439" y="994"/>
                  <a:pt x="2367" y="1082"/>
                </a:cubicBezTo>
                <a:cubicBezTo>
                  <a:pt x="2327" y="1132"/>
                  <a:pt x="2134" y="1188"/>
                  <a:pt x="2046" y="1216"/>
                </a:cubicBezTo>
                <a:cubicBezTo>
                  <a:pt x="2006" y="1191"/>
                  <a:pt x="1971" y="1160"/>
                  <a:pt x="1938" y="1132"/>
                </a:cubicBezTo>
                <a:lnTo>
                  <a:pt x="1757" y="1278"/>
                </a:lnTo>
                <a:lnTo>
                  <a:pt x="1868" y="1415"/>
                </a:lnTo>
                <a:lnTo>
                  <a:pt x="1840" y="1419"/>
                </a:lnTo>
                <a:lnTo>
                  <a:pt x="1824" y="1473"/>
                </a:lnTo>
                <a:lnTo>
                  <a:pt x="1805" y="1460"/>
                </a:lnTo>
                <a:cubicBezTo>
                  <a:pt x="1758" y="1481"/>
                  <a:pt x="1709" y="1500"/>
                  <a:pt x="1658" y="1517"/>
                </a:cubicBezTo>
                <a:cubicBezTo>
                  <a:pt x="1549" y="1674"/>
                  <a:pt x="1707" y="1979"/>
                  <a:pt x="1798" y="2121"/>
                </a:cubicBezTo>
                <a:lnTo>
                  <a:pt x="1623" y="2198"/>
                </a:lnTo>
                <a:cubicBezTo>
                  <a:pt x="1623" y="2198"/>
                  <a:pt x="1757" y="2274"/>
                  <a:pt x="1768" y="2279"/>
                </a:cubicBezTo>
                <a:cubicBezTo>
                  <a:pt x="1773" y="2424"/>
                  <a:pt x="1650" y="2661"/>
                  <a:pt x="1803" y="2773"/>
                </a:cubicBezTo>
                <a:cubicBezTo>
                  <a:pt x="1723" y="2851"/>
                  <a:pt x="1540" y="2983"/>
                  <a:pt x="1532" y="3078"/>
                </a:cubicBezTo>
                <a:cubicBezTo>
                  <a:pt x="1139" y="3076"/>
                  <a:pt x="1182" y="3360"/>
                  <a:pt x="947" y="3451"/>
                </a:cubicBezTo>
                <a:cubicBezTo>
                  <a:pt x="945" y="3436"/>
                  <a:pt x="951" y="3434"/>
                  <a:pt x="966" y="3447"/>
                </a:cubicBezTo>
                <a:cubicBezTo>
                  <a:pt x="608" y="3513"/>
                  <a:pt x="413" y="3554"/>
                  <a:pt x="434" y="3830"/>
                </a:cubicBezTo>
                <a:cubicBezTo>
                  <a:pt x="410" y="3843"/>
                  <a:pt x="192" y="4024"/>
                  <a:pt x="245" y="4024"/>
                </a:cubicBezTo>
                <a:lnTo>
                  <a:pt x="236" y="4024"/>
                </a:lnTo>
                <a:cubicBezTo>
                  <a:pt x="54" y="4141"/>
                  <a:pt x="48" y="4311"/>
                  <a:pt x="120" y="4482"/>
                </a:cubicBezTo>
                <a:cubicBezTo>
                  <a:pt x="-250" y="4580"/>
                  <a:pt x="355" y="4716"/>
                  <a:pt x="355" y="4730"/>
                </a:cubicBezTo>
                <a:cubicBezTo>
                  <a:pt x="361" y="4790"/>
                  <a:pt x="347" y="4826"/>
                  <a:pt x="446" y="4867"/>
                </a:cubicBezTo>
                <a:cubicBezTo>
                  <a:pt x="418" y="4880"/>
                  <a:pt x="385" y="4889"/>
                  <a:pt x="354" y="4898"/>
                </a:cubicBezTo>
                <a:lnTo>
                  <a:pt x="401" y="5044"/>
                </a:lnTo>
                <a:cubicBezTo>
                  <a:pt x="360" y="5065"/>
                  <a:pt x="295" y="5073"/>
                  <a:pt x="243" y="5074"/>
                </a:cubicBezTo>
                <a:cubicBezTo>
                  <a:pt x="-96" y="5327"/>
                  <a:pt x="100" y="5478"/>
                  <a:pt x="253" y="5724"/>
                </a:cubicBezTo>
                <a:cubicBezTo>
                  <a:pt x="-131" y="5758"/>
                  <a:pt x="906" y="6336"/>
                  <a:pt x="977" y="6405"/>
                </a:cubicBezTo>
                <a:cubicBezTo>
                  <a:pt x="1473" y="6884"/>
                  <a:pt x="1943" y="7410"/>
                  <a:pt x="2366" y="7917"/>
                </a:cubicBezTo>
                <a:cubicBezTo>
                  <a:pt x="2792" y="8429"/>
                  <a:pt x="2834" y="8747"/>
                  <a:pt x="3754" y="9047"/>
                </a:cubicBezTo>
                <a:cubicBezTo>
                  <a:pt x="4138" y="9172"/>
                  <a:pt x="4518" y="9326"/>
                  <a:pt x="4908" y="9441"/>
                </a:cubicBezTo>
                <a:cubicBezTo>
                  <a:pt x="5168" y="9517"/>
                  <a:pt x="5201" y="9759"/>
                  <a:pt x="5520" y="9800"/>
                </a:cubicBezTo>
                <a:cubicBezTo>
                  <a:pt x="5673" y="10251"/>
                  <a:pt x="5783" y="10655"/>
                  <a:pt x="5791" y="11117"/>
                </a:cubicBezTo>
                <a:cubicBezTo>
                  <a:pt x="5711" y="11122"/>
                  <a:pt x="5913" y="12338"/>
                  <a:pt x="5907" y="12464"/>
                </a:cubicBezTo>
                <a:cubicBezTo>
                  <a:pt x="5882" y="13059"/>
                  <a:pt x="5883" y="13548"/>
                  <a:pt x="6193" y="14121"/>
                </a:cubicBezTo>
                <a:lnTo>
                  <a:pt x="6225" y="14132"/>
                </a:lnTo>
                <a:cubicBezTo>
                  <a:pt x="6430" y="14543"/>
                  <a:pt x="6291" y="15161"/>
                  <a:pt x="6165" y="15567"/>
                </a:cubicBezTo>
                <a:lnTo>
                  <a:pt x="5959" y="15469"/>
                </a:lnTo>
                <a:cubicBezTo>
                  <a:pt x="6052" y="15704"/>
                  <a:pt x="6153" y="16040"/>
                  <a:pt x="6421" y="16224"/>
                </a:cubicBezTo>
                <a:cubicBezTo>
                  <a:pt x="6507" y="16420"/>
                  <a:pt x="6366" y="16837"/>
                  <a:pt x="6657" y="17019"/>
                </a:cubicBezTo>
                <a:lnTo>
                  <a:pt x="6608" y="17029"/>
                </a:lnTo>
                <a:cubicBezTo>
                  <a:pt x="6637" y="17135"/>
                  <a:pt x="6673" y="17242"/>
                  <a:pt x="6698" y="17348"/>
                </a:cubicBezTo>
                <a:cubicBezTo>
                  <a:pt x="6724" y="17460"/>
                  <a:pt x="6961" y="17753"/>
                  <a:pt x="7204" y="17552"/>
                </a:cubicBezTo>
                <a:cubicBezTo>
                  <a:pt x="7368" y="17415"/>
                  <a:pt x="7130" y="17379"/>
                  <a:pt x="7104" y="17271"/>
                </a:cubicBezTo>
                <a:cubicBezTo>
                  <a:pt x="7153" y="17247"/>
                  <a:pt x="7205" y="17224"/>
                  <a:pt x="7258" y="17204"/>
                </a:cubicBezTo>
                <a:cubicBezTo>
                  <a:pt x="7266" y="17207"/>
                  <a:pt x="7274" y="17209"/>
                  <a:pt x="7283" y="17212"/>
                </a:cubicBezTo>
                <a:cubicBezTo>
                  <a:pt x="7428" y="17330"/>
                  <a:pt x="7359" y="17669"/>
                  <a:pt x="7457" y="17825"/>
                </a:cubicBezTo>
                <a:cubicBezTo>
                  <a:pt x="7064" y="17733"/>
                  <a:pt x="6781" y="17992"/>
                  <a:pt x="7244" y="18037"/>
                </a:cubicBezTo>
                <a:cubicBezTo>
                  <a:pt x="7249" y="18089"/>
                  <a:pt x="7372" y="18164"/>
                  <a:pt x="7414" y="18219"/>
                </a:cubicBezTo>
                <a:cubicBezTo>
                  <a:pt x="7100" y="18171"/>
                  <a:pt x="6990" y="18391"/>
                  <a:pt x="6948" y="18541"/>
                </a:cubicBezTo>
                <a:cubicBezTo>
                  <a:pt x="6858" y="18867"/>
                  <a:pt x="7590" y="18545"/>
                  <a:pt x="7695" y="18694"/>
                </a:cubicBezTo>
                <a:cubicBezTo>
                  <a:pt x="7722" y="18862"/>
                  <a:pt x="7638" y="18904"/>
                  <a:pt x="7476" y="18960"/>
                </a:cubicBezTo>
                <a:cubicBezTo>
                  <a:pt x="7193" y="19058"/>
                  <a:pt x="7547" y="19380"/>
                  <a:pt x="7676" y="19483"/>
                </a:cubicBezTo>
                <a:cubicBezTo>
                  <a:pt x="7806" y="19585"/>
                  <a:pt x="8719" y="19925"/>
                  <a:pt x="8709" y="20034"/>
                </a:cubicBezTo>
                <a:cubicBezTo>
                  <a:pt x="8675" y="20055"/>
                  <a:pt x="8539" y="20057"/>
                  <a:pt x="8495" y="20060"/>
                </a:cubicBezTo>
                <a:cubicBezTo>
                  <a:pt x="8668" y="20215"/>
                  <a:pt x="8970" y="20245"/>
                  <a:pt x="9155" y="20402"/>
                </a:cubicBezTo>
                <a:cubicBezTo>
                  <a:pt x="9472" y="20673"/>
                  <a:pt x="9686" y="20866"/>
                  <a:pt x="10256" y="20922"/>
                </a:cubicBezTo>
                <a:cubicBezTo>
                  <a:pt x="10224" y="21093"/>
                  <a:pt x="10989" y="21099"/>
                  <a:pt x="11173" y="21106"/>
                </a:cubicBezTo>
                <a:cubicBezTo>
                  <a:pt x="11320" y="21272"/>
                  <a:pt x="11860" y="21266"/>
                  <a:pt x="12121" y="21346"/>
                </a:cubicBezTo>
                <a:cubicBezTo>
                  <a:pt x="12171" y="21325"/>
                  <a:pt x="12226" y="21311"/>
                  <a:pt x="12286" y="21303"/>
                </a:cubicBezTo>
                <a:cubicBezTo>
                  <a:pt x="12279" y="21275"/>
                  <a:pt x="12265" y="21249"/>
                  <a:pt x="12243" y="21224"/>
                </a:cubicBezTo>
                <a:cubicBezTo>
                  <a:pt x="12367" y="21226"/>
                  <a:pt x="12609" y="21245"/>
                  <a:pt x="12688" y="21175"/>
                </a:cubicBezTo>
                <a:cubicBezTo>
                  <a:pt x="13408" y="21075"/>
                  <a:pt x="12856" y="20944"/>
                  <a:pt x="12432" y="20879"/>
                </a:cubicBezTo>
                <a:cubicBezTo>
                  <a:pt x="12038" y="20820"/>
                  <a:pt x="11669" y="20556"/>
                  <a:pt x="11367" y="20396"/>
                </a:cubicBezTo>
                <a:lnTo>
                  <a:pt x="11371" y="20394"/>
                </a:lnTo>
                <a:cubicBezTo>
                  <a:pt x="11287" y="20307"/>
                  <a:pt x="11160" y="20275"/>
                  <a:pt x="11013" y="20336"/>
                </a:cubicBezTo>
                <a:cubicBezTo>
                  <a:pt x="10986" y="20329"/>
                  <a:pt x="10938" y="20310"/>
                  <a:pt x="10929" y="20303"/>
                </a:cubicBezTo>
                <a:cubicBezTo>
                  <a:pt x="10926" y="20288"/>
                  <a:pt x="10923" y="20273"/>
                  <a:pt x="10922" y="20258"/>
                </a:cubicBezTo>
                <a:lnTo>
                  <a:pt x="11154" y="20296"/>
                </a:lnTo>
                <a:lnTo>
                  <a:pt x="11240" y="20191"/>
                </a:lnTo>
                <a:cubicBezTo>
                  <a:pt x="10960" y="20056"/>
                  <a:pt x="10729" y="19885"/>
                  <a:pt x="10600" y="19679"/>
                </a:cubicBezTo>
                <a:cubicBezTo>
                  <a:pt x="11043" y="19491"/>
                  <a:pt x="10850" y="19267"/>
                  <a:pt x="11190" y="19008"/>
                </a:cubicBezTo>
                <a:cubicBezTo>
                  <a:pt x="11610" y="18689"/>
                  <a:pt x="10881" y="18589"/>
                  <a:pt x="10564" y="18488"/>
                </a:cubicBezTo>
                <a:cubicBezTo>
                  <a:pt x="9933" y="18287"/>
                  <a:pt x="10482" y="18110"/>
                  <a:pt x="10762" y="17956"/>
                </a:cubicBezTo>
                <a:cubicBezTo>
                  <a:pt x="11082" y="17780"/>
                  <a:pt x="10532" y="17572"/>
                  <a:pt x="10925" y="17461"/>
                </a:cubicBezTo>
                <a:cubicBezTo>
                  <a:pt x="11053" y="17363"/>
                  <a:pt x="11542" y="17241"/>
                  <a:pt x="11132" y="17081"/>
                </a:cubicBezTo>
                <a:cubicBezTo>
                  <a:pt x="10719" y="16920"/>
                  <a:pt x="10542" y="17195"/>
                  <a:pt x="10370" y="16756"/>
                </a:cubicBezTo>
                <a:cubicBezTo>
                  <a:pt x="10280" y="16736"/>
                  <a:pt x="10698" y="16839"/>
                  <a:pt x="10701" y="16840"/>
                </a:cubicBezTo>
                <a:cubicBezTo>
                  <a:pt x="10852" y="16881"/>
                  <a:pt x="11044" y="16917"/>
                  <a:pt x="11208" y="16879"/>
                </a:cubicBezTo>
                <a:cubicBezTo>
                  <a:pt x="11677" y="16774"/>
                  <a:pt x="11296" y="16620"/>
                  <a:pt x="11327" y="16476"/>
                </a:cubicBezTo>
                <a:lnTo>
                  <a:pt x="11391" y="16465"/>
                </a:lnTo>
                <a:cubicBezTo>
                  <a:pt x="11399" y="16341"/>
                  <a:pt x="11312" y="16265"/>
                  <a:pt x="11208" y="16169"/>
                </a:cubicBezTo>
                <a:cubicBezTo>
                  <a:pt x="11664" y="16259"/>
                  <a:pt x="12455" y="16159"/>
                  <a:pt x="12835" y="15994"/>
                </a:cubicBezTo>
                <a:cubicBezTo>
                  <a:pt x="13028" y="15910"/>
                  <a:pt x="13154" y="15698"/>
                  <a:pt x="13228" y="15565"/>
                </a:cubicBezTo>
                <a:cubicBezTo>
                  <a:pt x="13402" y="15253"/>
                  <a:pt x="12911" y="15333"/>
                  <a:pt x="12834" y="15144"/>
                </a:cubicBezTo>
                <a:cubicBezTo>
                  <a:pt x="12802" y="15022"/>
                  <a:pt x="12963" y="14987"/>
                  <a:pt x="12778" y="14873"/>
                </a:cubicBezTo>
                <a:cubicBezTo>
                  <a:pt x="13254" y="14989"/>
                  <a:pt x="14069" y="14954"/>
                  <a:pt x="14075" y="14543"/>
                </a:cubicBezTo>
                <a:cubicBezTo>
                  <a:pt x="14715" y="14565"/>
                  <a:pt x="14622" y="13934"/>
                  <a:pt x="14861" y="13689"/>
                </a:cubicBezTo>
                <a:cubicBezTo>
                  <a:pt x="14826" y="13753"/>
                  <a:pt x="14779" y="13815"/>
                  <a:pt x="14699" y="13862"/>
                </a:cubicBezTo>
                <a:lnTo>
                  <a:pt x="14810" y="13932"/>
                </a:lnTo>
                <a:lnTo>
                  <a:pt x="14823" y="13925"/>
                </a:lnTo>
                <a:lnTo>
                  <a:pt x="14866" y="13945"/>
                </a:lnTo>
                <a:cubicBezTo>
                  <a:pt x="15391" y="13663"/>
                  <a:pt x="15253" y="13268"/>
                  <a:pt x="15713" y="12979"/>
                </a:cubicBezTo>
                <a:cubicBezTo>
                  <a:pt x="16218" y="12660"/>
                  <a:pt x="15525" y="12151"/>
                  <a:pt x="15954" y="11777"/>
                </a:cubicBezTo>
                <a:cubicBezTo>
                  <a:pt x="16313" y="11463"/>
                  <a:pt x="17360" y="11121"/>
                  <a:pt x="17972" y="11165"/>
                </a:cubicBezTo>
                <a:cubicBezTo>
                  <a:pt x="18474" y="11201"/>
                  <a:pt x="18489" y="10927"/>
                  <a:pt x="18940" y="10851"/>
                </a:cubicBezTo>
                <a:cubicBezTo>
                  <a:pt x="18679" y="10613"/>
                  <a:pt x="19041" y="10505"/>
                  <a:pt x="19136" y="10300"/>
                </a:cubicBezTo>
                <a:cubicBezTo>
                  <a:pt x="19263" y="10026"/>
                  <a:pt x="19440" y="9737"/>
                  <a:pt x="19532" y="9473"/>
                </a:cubicBezTo>
                <a:cubicBezTo>
                  <a:pt x="19677" y="9053"/>
                  <a:pt x="19187" y="8394"/>
                  <a:pt x="19505" y="8013"/>
                </a:cubicBezTo>
                <a:cubicBezTo>
                  <a:pt x="20005" y="8053"/>
                  <a:pt x="20030" y="7526"/>
                  <a:pt x="20245" y="7340"/>
                </a:cubicBezTo>
                <a:cubicBezTo>
                  <a:pt x="20849" y="6817"/>
                  <a:pt x="21350" y="6573"/>
                  <a:pt x="21083" y="5876"/>
                </a:cubicBezTo>
                <a:cubicBezTo>
                  <a:pt x="21071" y="5847"/>
                  <a:pt x="21253" y="6319"/>
                  <a:pt x="21083" y="5876"/>
                </a:cubicBezTo>
                <a:close/>
              </a:path>
            </a:pathLst>
          </a:custGeom>
          <a:solidFill>
            <a:schemeClr val="bg1">
              <a:lumMod val="95000"/>
            </a:schemeClr>
          </a:solidFill>
          <a:ln w="12700" cap="flat">
            <a:noFill/>
            <a:miter lim="400000"/>
          </a:ln>
          <a:effectLst/>
        </p:spPr>
        <p:txBody>
          <a:bodyPr wrap="square" lIns="0" tIns="0" rIns="0" bIns="0" numCol="1" anchor="ctr">
            <a:noAutofit/>
          </a:bodyPr>
          <a:lstStyle/>
          <a:p>
            <a:pPr defTabSz="410780">
              <a:lnSpc>
                <a:spcPct val="110000"/>
              </a:lnSpc>
              <a:spcBef>
                <a:spcPts val="2110"/>
              </a:spcBef>
              <a:defRPr sz="2000">
                <a:solidFill>
                  <a:srgbClr val="4C4C4C"/>
                </a:solidFill>
                <a:latin typeface="Helvetica Neue Light"/>
                <a:ea typeface="Helvetica Neue Light"/>
                <a:cs typeface="Helvetica Neue Light"/>
                <a:sym typeface="Helvetica Neue Light"/>
              </a:defRPr>
            </a:pPr>
            <a:endParaRPr lang="en-US" sz="1407" dirty="0">
              <a:latin typeface="Lato Light" panose="020F0502020204030203" pitchFamily="34" charset="0"/>
              <a:ea typeface="Lato Light" panose="020F0502020204030203" pitchFamily="34" charset="0"/>
              <a:cs typeface="Lato Light" panose="020F0502020204030203" pitchFamily="34" charset="0"/>
            </a:endParaRPr>
          </a:p>
        </p:txBody>
      </p:sp>
      <p:sp>
        <p:nvSpPr>
          <p:cNvPr id="391" name="Shape 4387">
            <a:extLst>
              <a:ext uri="{FF2B5EF4-FFF2-40B4-BE49-F238E27FC236}">
                <a16:creationId xmlns:a16="http://schemas.microsoft.com/office/drawing/2014/main" id="{83CB4C80-40FC-45FE-A061-5F6148BB6279}"/>
              </a:ext>
            </a:extLst>
          </p:cNvPr>
          <p:cNvSpPr/>
          <p:nvPr/>
        </p:nvSpPr>
        <p:spPr>
          <a:xfrm>
            <a:off x="5178159" y="2996193"/>
            <a:ext cx="1987010" cy="2344184"/>
          </a:xfrm>
          <a:custGeom>
            <a:avLst/>
            <a:gdLst/>
            <a:ahLst/>
            <a:cxnLst>
              <a:cxn ang="0">
                <a:pos x="wd2" y="hd2"/>
              </a:cxn>
              <a:cxn ang="5400000">
                <a:pos x="wd2" y="hd2"/>
              </a:cxn>
              <a:cxn ang="10800000">
                <a:pos x="wd2" y="hd2"/>
              </a:cxn>
              <a:cxn ang="16200000">
                <a:pos x="wd2" y="hd2"/>
              </a:cxn>
            </a:cxnLst>
            <a:rect l="0" t="0" r="r" b="b"/>
            <a:pathLst>
              <a:path w="21494" h="21436" extrusionOk="0">
                <a:moveTo>
                  <a:pt x="21150" y="15574"/>
                </a:moveTo>
                <a:cubicBezTo>
                  <a:pt x="21261" y="15717"/>
                  <a:pt x="21093" y="15952"/>
                  <a:pt x="20924" y="15784"/>
                </a:cubicBezTo>
                <a:cubicBezTo>
                  <a:pt x="20982" y="16021"/>
                  <a:pt x="20891" y="16384"/>
                  <a:pt x="20777" y="16596"/>
                </a:cubicBezTo>
                <a:cubicBezTo>
                  <a:pt x="20505" y="17107"/>
                  <a:pt x="20399" y="17680"/>
                  <a:pt x="20142" y="18190"/>
                </a:cubicBezTo>
                <a:cubicBezTo>
                  <a:pt x="20021" y="18451"/>
                  <a:pt x="19581" y="18883"/>
                  <a:pt x="19210" y="18697"/>
                </a:cubicBezTo>
                <a:cubicBezTo>
                  <a:pt x="19055" y="18620"/>
                  <a:pt x="18983" y="18564"/>
                  <a:pt x="18916" y="18429"/>
                </a:cubicBezTo>
                <a:cubicBezTo>
                  <a:pt x="18874" y="18346"/>
                  <a:pt x="18895" y="18082"/>
                  <a:pt x="18885" y="18073"/>
                </a:cubicBezTo>
                <a:cubicBezTo>
                  <a:pt x="18630" y="17743"/>
                  <a:pt x="18882" y="17612"/>
                  <a:pt x="18985" y="17344"/>
                </a:cubicBezTo>
                <a:cubicBezTo>
                  <a:pt x="19114" y="17002"/>
                  <a:pt x="19115" y="16913"/>
                  <a:pt x="19087" y="16545"/>
                </a:cubicBezTo>
                <a:cubicBezTo>
                  <a:pt x="19035" y="16414"/>
                  <a:pt x="19148" y="15981"/>
                  <a:pt x="19273" y="15913"/>
                </a:cubicBezTo>
                <a:cubicBezTo>
                  <a:pt x="19479" y="15800"/>
                  <a:pt x="19740" y="15772"/>
                  <a:pt x="19957" y="15653"/>
                </a:cubicBezTo>
                <a:cubicBezTo>
                  <a:pt x="20082" y="15574"/>
                  <a:pt x="20117" y="15501"/>
                  <a:pt x="20239" y="15479"/>
                </a:cubicBezTo>
                <a:cubicBezTo>
                  <a:pt x="20387" y="15448"/>
                  <a:pt x="20295" y="14983"/>
                  <a:pt x="20473" y="15143"/>
                </a:cubicBezTo>
                <a:cubicBezTo>
                  <a:pt x="20533" y="15027"/>
                  <a:pt x="20661" y="14865"/>
                  <a:pt x="20739" y="14731"/>
                </a:cubicBezTo>
                <a:cubicBezTo>
                  <a:pt x="20722" y="14552"/>
                  <a:pt x="20909" y="14739"/>
                  <a:pt x="20929" y="14819"/>
                </a:cubicBezTo>
                <a:cubicBezTo>
                  <a:pt x="20973" y="14985"/>
                  <a:pt x="21061" y="15461"/>
                  <a:pt x="21150" y="15574"/>
                </a:cubicBezTo>
                <a:cubicBezTo>
                  <a:pt x="21173" y="15603"/>
                  <a:pt x="21138" y="15559"/>
                  <a:pt x="21150" y="15574"/>
                </a:cubicBezTo>
                <a:close/>
                <a:moveTo>
                  <a:pt x="21449" y="7942"/>
                </a:moveTo>
                <a:cubicBezTo>
                  <a:pt x="21344" y="7731"/>
                  <a:pt x="21600" y="7533"/>
                  <a:pt x="21152" y="7539"/>
                </a:cubicBezTo>
                <a:cubicBezTo>
                  <a:pt x="21008" y="7541"/>
                  <a:pt x="20754" y="7739"/>
                  <a:pt x="20526" y="7739"/>
                </a:cubicBezTo>
                <a:cubicBezTo>
                  <a:pt x="20244" y="7739"/>
                  <a:pt x="20016" y="7865"/>
                  <a:pt x="19729" y="7865"/>
                </a:cubicBezTo>
                <a:cubicBezTo>
                  <a:pt x="19565" y="7865"/>
                  <a:pt x="19469" y="8014"/>
                  <a:pt x="19302" y="7993"/>
                </a:cubicBezTo>
                <a:cubicBezTo>
                  <a:pt x="19093" y="7930"/>
                  <a:pt x="19070" y="7669"/>
                  <a:pt x="18908" y="7605"/>
                </a:cubicBezTo>
                <a:cubicBezTo>
                  <a:pt x="19001" y="7551"/>
                  <a:pt x="19025" y="7458"/>
                  <a:pt x="18981" y="7374"/>
                </a:cubicBezTo>
                <a:cubicBezTo>
                  <a:pt x="19062" y="7284"/>
                  <a:pt x="18938" y="7312"/>
                  <a:pt x="18896" y="7232"/>
                </a:cubicBezTo>
                <a:cubicBezTo>
                  <a:pt x="18780" y="7074"/>
                  <a:pt x="18298" y="6560"/>
                  <a:pt x="18034" y="6598"/>
                </a:cubicBezTo>
                <a:cubicBezTo>
                  <a:pt x="17984" y="6467"/>
                  <a:pt x="17855" y="6463"/>
                  <a:pt x="17803" y="6343"/>
                </a:cubicBezTo>
                <a:cubicBezTo>
                  <a:pt x="17753" y="6232"/>
                  <a:pt x="17703" y="5708"/>
                  <a:pt x="17456" y="5708"/>
                </a:cubicBezTo>
                <a:lnTo>
                  <a:pt x="17456" y="5708"/>
                </a:lnTo>
                <a:cubicBezTo>
                  <a:pt x="17148" y="5708"/>
                  <a:pt x="17061" y="5095"/>
                  <a:pt x="17029" y="4927"/>
                </a:cubicBezTo>
                <a:lnTo>
                  <a:pt x="17085" y="4930"/>
                </a:lnTo>
                <a:cubicBezTo>
                  <a:pt x="16985" y="4575"/>
                  <a:pt x="16629" y="4445"/>
                  <a:pt x="16480" y="4141"/>
                </a:cubicBezTo>
                <a:lnTo>
                  <a:pt x="16435" y="4152"/>
                </a:lnTo>
                <a:cubicBezTo>
                  <a:pt x="16428" y="4118"/>
                  <a:pt x="16411" y="4085"/>
                  <a:pt x="16410" y="4050"/>
                </a:cubicBezTo>
                <a:cubicBezTo>
                  <a:pt x="16418" y="4049"/>
                  <a:pt x="16577" y="4040"/>
                  <a:pt x="16577" y="4040"/>
                </a:cubicBezTo>
                <a:cubicBezTo>
                  <a:pt x="16561" y="4019"/>
                  <a:pt x="16373" y="3888"/>
                  <a:pt x="16373" y="3877"/>
                </a:cubicBezTo>
                <a:cubicBezTo>
                  <a:pt x="16140" y="3556"/>
                  <a:pt x="15927" y="3229"/>
                  <a:pt x="15764" y="2884"/>
                </a:cubicBezTo>
                <a:cubicBezTo>
                  <a:pt x="15810" y="2908"/>
                  <a:pt x="15860" y="2921"/>
                  <a:pt x="15913" y="2924"/>
                </a:cubicBezTo>
                <a:cubicBezTo>
                  <a:pt x="16212" y="2508"/>
                  <a:pt x="16034" y="2139"/>
                  <a:pt x="15828" y="1728"/>
                </a:cubicBezTo>
                <a:cubicBezTo>
                  <a:pt x="15663" y="1776"/>
                  <a:pt x="15487" y="1765"/>
                  <a:pt x="15320" y="1792"/>
                </a:cubicBezTo>
                <a:cubicBezTo>
                  <a:pt x="15262" y="1792"/>
                  <a:pt x="15004" y="1673"/>
                  <a:pt x="14939" y="1652"/>
                </a:cubicBezTo>
                <a:cubicBezTo>
                  <a:pt x="14877" y="1646"/>
                  <a:pt x="14703" y="1675"/>
                  <a:pt x="14673" y="1666"/>
                </a:cubicBezTo>
                <a:cubicBezTo>
                  <a:pt x="14649" y="1666"/>
                  <a:pt x="14604" y="1640"/>
                  <a:pt x="14583" y="1631"/>
                </a:cubicBezTo>
                <a:cubicBezTo>
                  <a:pt x="14579" y="1638"/>
                  <a:pt x="14541" y="1746"/>
                  <a:pt x="14548" y="1746"/>
                </a:cubicBezTo>
                <a:cubicBezTo>
                  <a:pt x="14314" y="1775"/>
                  <a:pt x="14213" y="1915"/>
                  <a:pt x="13949" y="1776"/>
                </a:cubicBezTo>
                <a:cubicBezTo>
                  <a:pt x="13737" y="1662"/>
                  <a:pt x="13370" y="1599"/>
                  <a:pt x="13126" y="1666"/>
                </a:cubicBezTo>
                <a:cubicBezTo>
                  <a:pt x="13114" y="1631"/>
                  <a:pt x="12362" y="1325"/>
                  <a:pt x="12311" y="1315"/>
                </a:cubicBezTo>
                <a:cubicBezTo>
                  <a:pt x="12058" y="1263"/>
                  <a:pt x="11585" y="1295"/>
                  <a:pt x="11468" y="1561"/>
                </a:cubicBezTo>
                <a:cubicBezTo>
                  <a:pt x="11405" y="1704"/>
                  <a:pt x="11546" y="1817"/>
                  <a:pt x="11493" y="1940"/>
                </a:cubicBezTo>
                <a:cubicBezTo>
                  <a:pt x="11411" y="2129"/>
                  <a:pt x="10260" y="1753"/>
                  <a:pt x="10229" y="1583"/>
                </a:cubicBezTo>
                <a:cubicBezTo>
                  <a:pt x="10181" y="1321"/>
                  <a:pt x="9285" y="1213"/>
                  <a:pt x="9029" y="1193"/>
                </a:cubicBezTo>
                <a:cubicBezTo>
                  <a:pt x="9018" y="1125"/>
                  <a:pt x="8978" y="1083"/>
                  <a:pt x="8892" y="1075"/>
                </a:cubicBezTo>
                <a:lnTo>
                  <a:pt x="8892" y="1071"/>
                </a:lnTo>
                <a:cubicBezTo>
                  <a:pt x="8848" y="1075"/>
                  <a:pt x="8690" y="1054"/>
                  <a:pt x="8710" y="986"/>
                </a:cubicBezTo>
                <a:cubicBezTo>
                  <a:pt x="8710" y="964"/>
                  <a:pt x="8994" y="767"/>
                  <a:pt x="9016" y="679"/>
                </a:cubicBezTo>
                <a:cubicBezTo>
                  <a:pt x="9056" y="517"/>
                  <a:pt x="8891" y="519"/>
                  <a:pt x="8901" y="450"/>
                </a:cubicBezTo>
                <a:cubicBezTo>
                  <a:pt x="8820" y="389"/>
                  <a:pt x="9205" y="-90"/>
                  <a:pt x="8780" y="124"/>
                </a:cubicBezTo>
                <a:cubicBezTo>
                  <a:pt x="8738" y="-14"/>
                  <a:pt x="7966" y="-25"/>
                  <a:pt x="7786" y="33"/>
                </a:cubicBezTo>
                <a:cubicBezTo>
                  <a:pt x="7755" y="33"/>
                  <a:pt x="7236" y="45"/>
                  <a:pt x="7284" y="112"/>
                </a:cubicBezTo>
                <a:cubicBezTo>
                  <a:pt x="6980" y="-39"/>
                  <a:pt x="6476" y="127"/>
                  <a:pt x="6182" y="191"/>
                </a:cubicBezTo>
                <a:cubicBezTo>
                  <a:pt x="5782" y="191"/>
                  <a:pt x="5357" y="466"/>
                  <a:pt x="4985" y="577"/>
                </a:cubicBezTo>
                <a:cubicBezTo>
                  <a:pt x="4968" y="561"/>
                  <a:pt x="4957" y="544"/>
                  <a:pt x="4950" y="523"/>
                </a:cubicBezTo>
                <a:lnTo>
                  <a:pt x="4918" y="529"/>
                </a:lnTo>
                <a:lnTo>
                  <a:pt x="4905" y="496"/>
                </a:lnTo>
                <a:cubicBezTo>
                  <a:pt x="4737" y="581"/>
                  <a:pt x="4445" y="574"/>
                  <a:pt x="4277" y="480"/>
                </a:cubicBezTo>
                <a:cubicBezTo>
                  <a:pt x="4282" y="423"/>
                  <a:pt x="4286" y="367"/>
                  <a:pt x="4279" y="311"/>
                </a:cubicBezTo>
                <a:cubicBezTo>
                  <a:pt x="3839" y="327"/>
                  <a:pt x="3931" y="706"/>
                  <a:pt x="3692" y="913"/>
                </a:cubicBezTo>
                <a:cubicBezTo>
                  <a:pt x="3463" y="1112"/>
                  <a:pt x="3139" y="1114"/>
                  <a:pt x="2935" y="1363"/>
                </a:cubicBezTo>
                <a:cubicBezTo>
                  <a:pt x="2899" y="1537"/>
                  <a:pt x="2704" y="1647"/>
                  <a:pt x="2717" y="1829"/>
                </a:cubicBezTo>
                <a:cubicBezTo>
                  <a:pt x="2734" y="2071"/>
                  <a:pt x="2718" y="2224"/>
                  <a:pt x="2488" y="2389"/>
                </a:cubicBezTo>
                <a:cubicBezTo>
                  <a:pt x="2217" y="2584"/>
                  <a:pt x="1913" y="2731"/>
                  <a:pt x="1546" y="2719"/>
                </a:cubicBezTo>
                <a:cubicBezTo>
                  <a:pt x="1507" y="2976"/>
                  <a:pt x="1199" y="3017"/>
                  <a:pt x="1132" y="3212"/>
                </a:cubicBezTo>
                <a:cubicBezTo>
                  <a:pt x="1025" y="3521"/>
                  <a:pt x="918" y="3677"/>
                  <a:pt x="641" y="3906"/>
                </a:cubicBezTo>
                <a:lnTo>
                  <a:pt x="670" y="3942"/>
                </a:lnTo>
                <a:cubicBezTo>
                  <a:pt x="508" y="4166"/>
                  <a:pt x="173" y="4557"/>
                  <a:pt x="339" y="4803"/>
                </a:cubicBezTo>
                <a:lnTo>
                  <a:pt x="391" y="4803"/>
                </a:lnTo>
                <a:cubicBezTo>
                  <a:pt x="467" y="4803"/>
                  <a:pt x="416" y="5040"/>
                  <a:pt x="558" y="5026"/>
                </a:cubicBezTo>
                <a:cubicBezTo>
                  <a:pt x="575" y="5060"/>
                  <a:pt x="612" y="5269"/>
                  <a:pt x="543" y="5269"/>
                </a:cubicBezTo>
                <a:lnTo>
                  <a:pt x="456" y="5299"/>
                </a:lnTo>
                <a:cubicBezTo>
                  <a:pt x="764" y="5604"/>
                  <a:pt x="582" y="5896"/>
                  <a:pt x="452" y="6228"/>
                </a:cubicBezTo>
                <a:cubicBezTo>
                  <a:pt x="401" y="6220"/>
                  <a:pt x="345" y="6229"/>
                  <a:pt x="297" y="6251"/>
                </a:cubicBezTo>
                <a:cubicBezTo>
                  <a:pt x="430" y="6424"/>
                  <a:pt x="154" y="6618"/>
                  <a:pt x="0" y="6730"/>
                </a:cubicBezTo>
                <a:cubicBezTo>
                  <a:pt x="249" y="6752"/>
                  <a:pt x="299" y="6978"/>
                  <a:pt x="276" y="7155"/>
                </a:cubicBezTo>
                <a:lnTo>
                  <a:pt x="307" y="7155"/>
                </a:lnTo>
                <a:cubicBezTo>
                  <a:pt x="294" y="7155"/>
                  <a:pt x="281" y="7155"/>
                  <a:pt x="268" y="7155"/>
                </a:cubicBezTo>
                <a:cubicBezTo>
                  <a:pt x="265" y="7167"/>
                  <a:pt x="258" y="7174"/>
                  <a:pt x="247" y="7177"/>
                </a:cubicBezTo>
                <a:cubicBezTo>
                  <a:pt x="206" y="7341"/>
                  <a:pt x="390" y="7647"/>
                  <a:pt x="654" y="7597"/>
                </a:cubicBezTo>
                <a:cubicBezTo>
                  <a:pt x="662" y="7714"/>
                  <a:pt x="780" y="7762"/>
                  <a:pt x="802" y="7878"/>
                </a:cubicBezTo>
                <a:cubicBezTo>
                  <a:pt x="873" y="7889"/>
                  <a:pt x="913" y="7864"/>
                  <a:pt x="946" y="7814"/>
                </a:cubicBezTo>
                <a:cubicBezTo>
                  <a:pt x="1016" y="8004"/>
                  <a:pt x="1264" y="8051"/>
                  <a:pt x="1309" y="8201"/>
                </a:cubicBezTo>
                <a:cubicBezTo>
                  <a:pt x="1426" y="8354"/>
                  <a:pt x="1416" y="8441"/>
                  <a:pt x="1473" y="8622"/>
                </a:cubicBezTo>
                <a:lnTo>
                  <a:pt x="1520" y="8622"/>
                </a:lnTo>
                <a:cubicBezTo>
                  <a:pt x="1569" y="8710"/>
                  <a:pt x="1975" y="9160"/>
                  <a:pt x="2133" y="9105"/>
                </a:cubicBezTo>
                <a:cubicBezTo>
                  <a:pt x="2414" y="9356"/>
                  <a:pt x="2674" y="9574"/>
                  <a:pt x="3086" y="9750"/>
                </a:cubicBezTo>
                <a:cubicBezTo>
                  <a:pt x="3082" y="9812"/>
                  <a:pt x="3079" y="9875"/>
                  <a:pt x="3077" y="9937"/>
                </a:cubicBezTo>
                <a:cubicBezTo>
                  <a:pt x="3152" y="9898"/>
                  <a:pt x="3229" y="9859"/>
                  <a:pt x="3307" y="9824"/>
                </a:cubicBezTo>
                <a:lnTo>
                  <a:pt x="3321" y="9829"/>
                </a:lnTo>
                <a:lnTo>
                  <a:pt x="3322" y="9817"/>
                </a:lnTo>
                <a:cubicBezTo>
                  <a:pt x="3580" y="9701"/>
                  <a:pt x="3830" y="9612"/>
                  <a:pt x="4125" y="9621"/>
                </a:cubicBezTo>
                <a:cubicBezTo>
                  <a:pt x="4261" y="9626"/>
                  <a:pt x="4581" y="9721"/>
                  <a:pt x="4686" y="9617"/>
                </a:cubicBezTo>
                <a:cubicBezTo>
                  <a:pt x="4748" y="9641"/>
                  <a:pt x="4808" y="9667"/>
                  <a:pt x="4866" y="9695"/>
                </a:cubicBezTo>
                <a:cubicBezTo>
                  <a:pt x="5080" y="9574"/>
                  <a:pt x="5871" y="9431"/>
                  <a:pt x="5918" y="9296"/>
                </a:cubicBezTo>
                <a:cubicBezTo>
                  <a:pt x="5972" y="9317"/>
                  <a:pt x="5995" y="9339"/>
                  <a:pt x="6016" y="9264"/>
                </a:cubicBezTo>
                <a:cubicBezTo>
                  <a:pt x="6022" y="9261"/>
                  <a:pt x="6045" y="9250"/>
                  <a:pt x="6080" y="9241"/>
                </a:cubicBezTo>
                <a:cubicBezTo>
                  <a:pt x="6162" y="9312"/>
                  <a:pt x="6375" y="9249"/>
                  <a:pt x="6476" y="9223"/>
                </a:cubicBezTo>
                <a:lnTo>
                  <a:pt x="6476" y="9214"/>
                </a:lnTo>
                <a:cubicBezTo>
                  <a:pt x="7144" y="9195"/>
                  <a:pt x="6984" y="9378"/>
                  <a:pt x="7304" y="9739"/>
                </a:cubicBezTo>
                <a:cubicBezTo>
                  <a:pt x="7475" y="9932"/>
                  <a:pt x="7980" y="9814"/>
                  <a:pt x="8200" y="9773"/>
                </a:cubicBezTo>
                <a:cubicBezTo>
                  <a:pt x="8223" y="9858"/>
                  <a:pt x="8315" y="9945"/>
                  <a:pt x="8426" y="9941"/>
                </a:cubicBezTo>
                <a:cubicBezTo>
                  <a:pt x="8418" y="9986"/>
                  <a:pt x="8482" y="10342"/>
                  <a:pt x="8493" y="10381"/>
                </a:cubicBezTo>
                <a:lnTo>
                  <a:pt x="8473" y="10381"/>
                </a:lnTo>
                <a:cubicBezTo>
                  <a:pt x="8451" y="10590"/>
                  <a:pt x="8231" y="10752"/>
                  <a:pt x="8455" y="10846"/>
                </a:cubicBezTo>
                <a:cubicBezTo>
                  <a:pt x="8424" y="11002"/>
                  <a:pt x="8415" y="11164"/>
                  <a:pt x="8205" y="11187"/>
                </a:cubicBezTo>
                <a:cubicBezTo>
                  <a:pt x="8322" y="11607"/>
                  <a:pt x="8608" y="11836"/>
                  <a:pt x="8916" y="12161"/>
                </a:cubicBezTo>
                <a:cubicBezTo>
                  <a:pt x="8896" y="12195"/>
                  <a:pt x="8883" y="12228"/>
                  <a:pt x="8856" y="12259"/>
                </a:cubicBezTo>
                <a:cubicBezTo>
                  <a:pt x="9007" y="12382"/>
                  <a:pt x="9103" y="12537"/>
                  <a:pt x="9233" y="12666"/>
                </a:cubicBezTo>
                <a:lnTo>
                  <a:pt x="9303" y="12614"/>
                </a:lnTo>
                <a:cubicBezTo>
                  <a:pt x="9334" y="12654"/>
                  <a:pt x="9303" y="12657"/>
                  <a:pt x="9301" y="12701"/>
                </a:cubicBezTo>
                <a:lnTo>
                  <a:pt x="9265" y="12704"/>
                </a:lnTo>
                <a:cubicBezTo>
                  <a:pt x="9269" y="12865"/>
                  <a:pt x="9736" y="13608"/>
                  <a:pt x="9628" y="13713"/>
                </a:cubicBezTo>
                <a:cubicBezTo>
                  <a:pt x="9399" y="13830"/>
                  <a:pt x="9559" y="14066"/>
                  <a:pt x="9672" y="14224"/>
                </a:cubicBezTo>
                <a:cubicBezTo>
                  <a:pt x="9958" y="14623"/>
                  <a:pt x="9535" y="14683"/>
                  <a:pt x="9477" y="14929"/>
                </a:cubicBezTo>
                <a:cubicBezTo>
                  <a:pt x="9422" y="15139"/>
                  <a:pt x="9270" y="15661"/>
                  <a:pt x="9117" y="15801"/>
                </a:cubicBezTo>
                <a:cubicBezTo>
                  <a:pt x="9132" y="15821"/>
                  <a:pt x="9142" y="15843"/>
                  <a:pt x="9148" y="15865"/>
                </a:cubicBezTo>
                <a:lnTo>
                  <a:pt x="9127" y="15871"/>
                </a:lnTo>
                <a:cubicBezTo>
                  <a:pt x="9147" y="15972"/>
                  <a:pt x="9127" y="16088"/>
                  <a:pt x="9127" y="16190"/>
                </a:cubicBezTo>
                <a:lnTo>
                  <a:pt x="9117" y="16197"/>
                </a:lnTo>
                <a:cubicBezTo>
                  <a:pt x="9045" y="16880"/>
                  <a:pt x="10051" y="17437"/>
                  <a:pt x="9956" y="18137"/>
                </a:cubicBezTo>
                <a:cubicBezTo>
                  <a:pt x="9907" y="18501"/>
                  <a:pt x="10103" y="19517"/>
                  <a:pt x="10608" y="19648"/>
                </a:cubicBezTo>
                <a:cubicBezTo>
                  <a:pt x="10711" y="19738"/>
                  <a:pt x="11215" y="20660"/>
                  <a:pt x="11120" y="20764"/>
                </a:cubicBezTo>
                <a:cubicBezTo>
                  <a:pt x="10785" y="20848"/>
                  <a:pt x="11116" y="20987"/>
                  <a:pt x="11144" y="21115"/>
                </a:cubicBezTo>
                <a:cubicBezTo>
                  <a:pt x="10968" y="21510"/>
                  <a:pt x="11967" y="21476"/>
                  <a:pt x="12221" y="21354"/>
                </a:cubicBezTo>
                <a:cubicBezTo>
                  <a:pt x="12519" y="21209"/>
                  <a:pt x="12813" y="21294"/>
                  <a:pt x="13150" y="21319"/>
                </a:cubicBezTo>
                <a:cubicBezTo>
                  <a:pt x="13150" y="21319"/>
                  <a:pt x="13164" y="21264"/>
                  <a:pt x="13165" y="21262"/>
                </a:cubicBezTo>
                <a:cubicBezTo>
                  <a:pt x="13768" y="21285"/>
                  <a:pt x="14233" y="20805"/>
                  <a:pt x="14641" y="20497"/>
                </a:cubicBezTo>
                <a:cubicBezTo>
                  <a:pt x="14854" y="20335"/>
                  <a:pt x="14941" y="20135"/>
                  <a:pt x="15093" y="19938"/>
                </a:cubicBezTo>
                <a:cubicBezTo>
                  <a:pt x="15177" y="19827"/>
                  <a:pt x="15387" y="19750"/>
                  <a:pt x="15454" y="19635"/>
                </a:cubicBezTo>
                <a:cubicBezTo>
                  <a:pt x="15552" y="19463"/>
                  <a:pt x="15640" y="19307"/>
                  <a:pt x="15688" y="19094"/>
                </a:cubicBezTo>
                <a:lnTo>
                  <a:pt x="15697" y="19094"/>
                </a:lnTo>
                <a:cubicBezTo>
                  <a:pt x="15716" y="18996"/>
                  <a:pt x="15724" y="18898"/>
                  <a:pt x="15722" y="18799"/>
                </a:cubicBezTo>
                <a:lnTo>
                  <a:pt x="15659" y="18795"/>
                </a:lnTo>
                <a:cubicBezTo>
                  <a:pt x="15712" y="18611"/>
                  <a:pt x="15867" y="18624"/>
                  <a:pt x="16053" y="18537"/>
                </a:cubicBezTo>
                <a:cubicBezTo>
                  <a:pt x="16371" y="18385"/>
                  <a:pt x="16454" y="18365"/>
                  <a:pt x="16521" y="18076"/>
                </a:cubicBezTo>
                <a:cubicBezTo>
                  <a:pt x="16544" y="17824"/>
                  <a:pt x="16568" y="17645"/>
                  <a:pt x="16480" y="17400"/>
                </a:cubicBezTo>
                <a:cubicBezTo>
                  <a:pt x="16325" y="16977"/>
                  <a:pt x="16456" y="16954"/>
                  <a:pt x="16829" y="16691"/>
                </a:cubicBezTo>
                <a:cubicBezTo>
                  <a:pt x="17122" y="16484"/>
                  <a:pt x="17222" y="16348"/>
                  <a:pt x="17594" y="16182"/>
                </a:cubicBezTo>
                <a:cubicBezTo>
                  <a:pt x="17872" y="16057"/>
                  <a:pt x="18450" y="15634"/>
                  <a:pt x="18274" y="15310"/>
                </a:cubicBezTo>
                <a:cubicBezTo>
                  <a:pt x="18221" y="15211"/>
                  <a:pt x="18282" y="14088"/>
                  <a:pt x="18165" y="14103"/>
                </a:cubicBezTo>
                <a:cubicBezTo>
                  <a:pt x="18141" y="14052"/>
                  <a:pt x="18023" y="13987"/>
                  <a:pt x="17958" y="13987"/>
                </a:cubicBezTo>
                <a:cubicBezTo>
                  <a:pt x="17817" y="13835"/>
                  <a:pt x="17931" y="13505"/>
                  <a:pt x="17832" y="13353"/>
                </a:cubicBezTo>
                <a:cubicBezTo>
                  <a:pt x="17796" y="13301"/>
                  <a:pt x="17878" y="13216"/>
                  <a:pt x="17887" y="13166"/>
                </a:cubicBezTo>
                <a:cubicBezTo>
                  <a:pt x="17915" y="13016"/>
                  <a:pt x="17749" y="13031"/>
                  <a:pt x="17690" y="12936"/>
                </a:cubicBezTo>
                <a:cubicBezTo>
                  <a:pt x="17639" y="12798"/>
                  <a:pt x="17991" y="12016"/>
                  <a:pt x="18132" y="11894"/>
                </a:cubicBezTo>
                <a:cubicBezTo>
                  <a:pt x="18256" y="11861"/>
                  <a:pt x="18334" y="11800"/>
                  <a:pt x="18421" y="11719"/>
                </a:cubicBezTo>
                <a:lnTo>
                  <a:pt x="18439" y="11748"/>
                </a:lnTo>
                <a:cubicBezTo>
                  <a:pt x="18933" y="11102"/>
                  <a:pt x="19669" y="10727"/>
                  <a:pt x="20222" y="10146"/>
                </a:cubicBezTo>
                <a:cubicBezTo>
                  <a:pt x="20487" y="9868"/>
                  <a:pt x="20746" y="9587"/>
                  <a:pt x="20861" y="9234"/>
                </a:cubicBezTo>
                <a:cubicBezTo>
                  <a:pt x="20916" y="9067"/>
                  <a:pt x="21026" y="8908"/>
                  <a:pt x="21115" y="8753"/>
                </a:cubicBezTo>
                <a:cubicBezTo>
                  <a:pt x="21241" y="8534"/>
                  <a:pt x="21257" y="8322"/>
                  <a:pt x="21357" y="8120"/>
                </a:cubicBezTo>
                <a:cubicBezTo>
                  <a:pt x="21369" y="8126"/>
                  <a:pt x="21377" y="8136"/>
                  <a:pt x="21381" y="8150"/>
                </a:cubicBezTo>
                <a:cubicBezTo>
                  <a:pt x="21416" y="8150"/>
                  <a:pt x="21450" y="8149"/>
                  <a:pt x="21485" y="8146"/>
                </a:cubicBezTo>
                <a:cubicBezTo>
                  <a:pt x="21506" y="8073"/>
                  <a:pt x="21488" y="8022"/>
                  <a:pt x="21449" y="7942"/>
                </a:cubicBezTo>
                <a:cubicBezTo>
                  <a:pt x="21441" y="7926"/>
                  <a:pt x="21477" y="7998"/>
                  <a:pt x="21449" y="7942"/>
                </a:cubicBezTo>
                <a:close/>
              </a:path>
            </a:pathLst>
          </a:custGeom>
          <a:solidFill>
            <a:schemeClr val="bg1">
              <a:lumMod val="95000"/>
            </a:schemeClr>
          </a:solidFill>
          <a:ln w="12700" cap="flat">
            <a:noFill/>
            <a:miter lim="400000"/>
          </a:ln>
          <a:effectLst/>
        </p:spPr>
        <p:txBody>
          <a:bodyPr wrap="square" lIns="0" tIns="0" rIns="0" bIns="0" numCol="1" anchor="ctr">
            <a:noAutofit/>
          </a:bodyPr>
          <a:lstStyle/>
          <a:p>
            <a:pPr defTabSz="410780">
              <a:lnSpc>
                <a:spcPct val="110000"/>
              </a:lnSpc>
              <a:spcBef>
                <a:spcPts val="2110"/>
              </a:spcBef>
              <a:defRPr sz="2000">
                <a:solidFill>
                  <a:srgbClr val="4C4C4C"/>
                </a:solidFill>
                <a:latin typeface="Helvetica Neue Light"/>
                <a:ea typeface="Helvetica Neue Light"/>
                <a:cs typeface="Helvetica Neue Light"/>
                <a:sym typeface="Helvetica Neue Light"/>
              </a:defRPr>
            </a:pPr>
            <a:endParaRPr lang="en-US" sz="1407" dirty="0">
              <a:latin typeface="Lato Light" panose="020F0502020204030203" pitchFamily="34" charset="0"/>
              <a:ea typeface="Lato Light" panose="020F0502020204030203" pitchFamily="34" charset="0"/>
              <a:cs typeface="Lato Light" panose="020F0502020204030203" pitchFamily="34" charset="0"/>
            </a:endParaRPr>
          </a:p>
        </p:txBody>
      </p:sp>
      <p:sp>
        <p:nvSpPr>
          <p:cNvPr id="392" name="Shape 4388">
            <a:extLst>
              <a:ext uri="{FF2B5EF4-FFF2-40B4-BE49-F238E27FC236}">
                <a16:creationId xmlns:a16="http://schemas.microsoft.com/office/drawing/2014/main" id="{C258A07F-034B-4725-A48F-6075E6830D6C}"/>
              </a:ext>
            </a:extLst>
          </p:cNvPr>
          <p:cNvSpPr/>
          <p:nvPr/>
        </p:nvSpPr>
        <p:spPr>
          <a:xfrm>
            <a:off x="6348961" y="1730200"/>
            <a:ext cx="3537892" cy="2793273"/>
          </a:xfrm>
          <a:custGeom>
            <a:avLst/>
            <a:gdLst/>
            <a:ahLst/>
            <a:cxnLst>
              <a:cxn ang="0">
                <a:pos x="wd2" y="hd2"/>
              </a:cxn>
              <a:cxn ang="5400000">
                <a:pos x="wd2" y="hd2"/>
              </a:cxn>
              <a:cxn ang="10800000">
                <a:pos x="wd2" y="hd2"/>
              </a:cxn>
              <a:cxn ang="16200000">
                <a:pos x="wd2" y="hd2"/>
              </a:cxn>
            </a:cxnLst>
            <a:rect l="0" t="0" r="r" b="b"/>
            <a:pathLst>
              <a:path w="21591" h="21535" extrusionOk="0">
                <a:moveTo>
                  <a:pt x="16904" y="15081"/>
                </a:moveTo>
                <a:cubicBezTo>
                  <a:pt x="16878" y="15144"/>
                  <a:pt x="16987" y="15511"/>
                  <a:pt x="17048" y="15519"/>
                </a:cubicBezTo>
                <a:cubicBezTo>
                  <a:pt x="17083" y="15524"/>
                  <a:pt x="17047" y="15382"/>
                  <a:pt x="17101" y="15439"/>
                </a:cubicBezTo>
                <a:cubicBezTo>
                  <a:pt x="17151" y="15490"/>
                  <a:pt x="17019" y="15711"/>
                  <a:pt x="17203" y="15682"/>
                </a:cubicBezTo>
                <a:cubicBezTo>
                  <a:pt x="17259" y="15674"/>
                  <a:pt x="17432" y="15703"/>
                  <a:pt x="17464" y="15758"/>
                </a:cubicBezTo>
                <a:cubicBezTo>
                  <a:pt x="17452" y="15727"/>
                  <a:pt x="17442" y="15696"/>
                  <a:pt x="17435" y="15663"/>
                </a:cubicBezTo>
                <a:cubicBezTo>
                  <a:pt x="17516" y="15683"/>
                  <a:pt x="17654" y="15992"/>
                  <a:pt x="17725" y="15946"/>
                </a:cubicBezTo>
                <a:cubicBezTo>
                  <a:pt x="17786" y="15905"/>
                  <a:pt x="17633" y="15755"/>
                  <a:pt x="17633" y="15702"/>
                </a:cubicBezTo>
                <a:cubicBezTo>
                  <a:pt x="17660" y="15714"/>
                  <a:pt x="17766" y="15737"/>
                  <a:pt x="17745" y="15652"/>
                </a:cubicBezTo>
                <a:cubicBezTo>
                  <a:pt x="17729" y="15587"/>
                  <a:pt x="17567" y="15597"/>
                  <a:pt x="17540" y="15580"/>
                </a:cubicBezTo>
                <a:cubicBezTo>
                  <a:pt x="17349" y="15455"/>
                  <a:pt x="17283" y="15635"/>
                  <a:pt x="17202" y="15310"/>
                </a:cubicBezTo>
                <a:cubicBezTo>
                  <a:pt x="17153" y="15112"/>
                  <a:pt x="17295" y="15098"/>
                  <a:pt x="17324" y="14930"/>
                </a:cubicBezTo>
                <a:cubicBezTo>
                  <a:pt x="17333" y="14883"/>
                  <a:pt x="17282" y="14574"/>
                  <a:pt x="17261" y="14508"/>
                </a:cubicBezTo>
                <a:cubicBezTo>
                  <a:pt x="17172" y="14517"/>
                  <a:pt x="16955" y="14428"/>
                  <a:pt x="16945" y="14587"/>
                </a:cubicBezTo>
                <a:cubicBezTo>
                  <a:pt x="16940" y="14669"/>
                  <a:pt x="17033" y="15040"/>
                  <a:pt x="16988" y="15085"/>
                </a:cubicBezTo>
                <a:cubicBezTo>
                  <a:pt x="16958" y="15115"/>
                  <a:pt x="16927" y="15024"/>
                  <a:pt x="16904" y="15081"/>
                </a:cubicBezTo>
                <a:close/>
                <a:moveTo>
                  <a:pt x="16904" y="15081"/>
                </a:moveTo>
                <a:cubicBezTo>
                  <a:pt x="16926" y="15025"/>
                  <a:pt x="16888" y="15121"/>
                  <a:pt x="16904" y="15081"/>
                </a:cubicBezTo>
                <a:cubicBezTo>
                  <a:pt x="16904" y="15081"/>
                  <a:pt x="16904" y="15081"/>
                  <a:pt x="16904" y="15081"/>
                </a:cubicBezTo>
                <a:close/>
                <a:moveTo>
                  <a:pt x="17709" y="16709"/>
                </a:moveTo>
                <a:cubicBezTo>
                  <a:pt x="17708" y="16802"/>
                  <a:pt x="17805" y="16839"/>
                  <a:pt x="17834" y="16746"/>
                </a:cubicBezTo>
                <a:cubicBezTo>
                  <a:pt x="17843" y="16718"/>
                  <a:pt x="17726" y="16544"/>
                  <a:pt x="17722" y="16461"/>
                </a:cubicBezTo>
                <a:cubicBezTo>
                  <a:pt x="17724" y="16510"/>
                  <a:pt x="17344" y="16224"/>
                  <a:pt x="17341" y="16255"/>
                </a:cubicBezTo>
                <a:cubicBezTo>
                  <a:pt x="17337" y="16305"/>
                  <a:pt x="17337" y="16436"/>
                  <a:pt x="17350" y="16498"/>
                </a:cubicBezTo>
                <a:cubicBezTo>
                  <a:pt x="17373" y="16614"/>
                  <a:pt x="17515" y="16528"/>
                  <a:pt x="17520" y="16668"/>
                </a:cubicBezTo>
                <a:cubicBezTo>
                  <a:pt x="17522" y="16697"/>
                  <a:pt x="17426" y="16700"/>
                  <a:pt x="17444" y="16766"/>
                </a:cubicBezTo>
                <a:cubicBezTo>
                  <a:pt x="17455" y="16807"/>
                  <a:pt x="17578" y="16963"/>
                  <a:pt x="17612" y="16917"/>
                </a:cubicBezTo>
                <a:cubicBezTo>
                  <a:pt x="17662" y="16850"/>
                  <a:pt x="17544" y="16759"/>
                  <a:pt x="17614" y="16682"/>
                </a:cubicBezTo>
                <a:cubicBezTo>
                  <a:pt x="17616" y="16704"/>
                  <a:pt x="17611" y="16808"/>
                  <a:pt x="17633" y="16819"/>
                </a:cubicBezTo>
                <a:cubicBezTo>
                  <a:pt x="17628" y="16817"/>
                  <a:pt x="17623" y="16814"/>
                  <a:pt x="17634" y="16819"/>
                </a:cubicBezTo>
                <a:cubicBezTo>
                  <a:pt x="17645" y="16824"/>
                  <a:pt x="17640" y="16822"/>
                  <a:pt x="17634" y="16819"/>
                </a:cubicBezTo>
                <a:cubicBezTo>
                  <a:pt x="17657" y="16828"/>
                  <a:pt x="17680" y="16724"/>
                  <a:pt x="17709" y="16709"/>
                </a:cubicBezTo>
                <a:close/>
                <a:moveTo>
                  <a:pt x="17710" y="15961"/>
                </a:moveTo>
                <a:cubicBezTo>
                  <a:pt x="17692" y="16058"/>
                  <a:pt x="17961" y="16228"/>
                  <a:pt x="17733" y="16237"/>
                </a:cubicBezTo>
                <a:cubicBezTo>
                  <a:pt x="17725" y="16290"/>
                  <a:pt x="17863" y="16620"/>
                  <a:pt x="17917" y="16605"/>
                </a:cubicBezTo>
                <a:cubicBezTo>
                  <a:pt x="17920" y="16528"/>
                  <a:pt x="17845" y="16422"/>
                  <a:pt x="17860" y="16351"/>
                </a:cubicBezTo>
                <a:cubicBezTo>
                  <a:pt x="17876" y="16273"/>
                  <a:pt x="17948" y="16350"/>
                  <a:pt x="17980" y="16311"/>
                </a:cubicBezTo>
                <a:cubicBezTo>
                  <a:pt x="17973" y="16319"/>
                  <a:pt x="17965" y="16329"/>
                  <a:pt x="17980" y="16310"/>
                </a:cubicBezTo>
                <a:cubicBezTo>
                  <a:pt x="17991" y="16297"/>
                  <a:pt x="17986" y="16303"/>
                  <a:pt x="17980" y="16310"/>
                </a:cubicBezTo>
                <a:cubicBezTo>
                  <a:pt x="18077" y="16188"/>
                  <a:pt x="17806" y="15955"/>
                  <a:pt x="17710" y="15961"/>
                </a:cubicBezTo>
                <a:close/>
                <a:moveTo>
                  <a:pt x="18167" y="17453"/>
                </a:moveTo>
                <a:cubicBezTo>
                  <a:pt x="18167" y="17440"/>
                  <a:pt x="18167" y="17446"/>
                  <a:pt x="18167" y="17453"/>
                </a:cubicBezTo>
                <a:cubicBezTo>
                  <a:pt x="18167" y="17453"/>
                  <a:pt x="18167" y="17453"/>
                  <a:pt x="18167" y="17453"/>
                </a:cubicBezTo>
                <a:close/>
                <a:moveTo>
                  <a:pt x="18083" y="17581"/>
                </a:moveTo>
                <a:cubicBezTo>
                  <a:pt x="18118" y="17811"/>
                  <a:pt x="18000" y="17620"/>
                  <a:pt x="18003" y="17620"/>
                </a:cubicBezTo>
                <a:cubicBezTo>
                  <a:pt x="17800" y="17636"/>
                  <a:pt x="17817" y="17533"/>
                  <a:pt x="17813" y="17287"/>
                </a:cubicBezTo>
                <a:cubicBezTo>
                  <a:pt x="17810" y="17128"/>
                  <a:pt x="17608" y="17239"/>
                  <a:pt x="17535" y="17194"/>
                </a:cubicBezTo>
                <a:cubicBezTo>
                  <a:pt x="17492" y="17167"/>
                  <a:pt x="17488" y="17406"/>
                  <a:pt x="17436" y="17391"/>
                </a:cubicBezTo>
                <a:cubicBezTo>
                  <a:pt x="17357" y="17368"/>
                  <a:pt x="17569" y="16871"/>
                  <a:pt x="17719" y="16991"/>
                </a:cubicBezTo>
                <a:cubicBezTo>
                  <a:pt x="17721" y="16992"/>
                  <a:pt x="17793" y="17215"/>
                  <a:pt x="17812" y="17062"/>
                </a:cubicBezTo>
                <a:cubicBezTo>
                  <a:pt x="17825" y="16959"/>
                  <a:pt x="17826" y="16988"/>
                  <a:pt x="17894" y="16996"/>
                </a:cubicBezTo>
                <a:cubicBezTo>
                  <a:pt x="17909" y="16893"/>
                  <a:pt x="17880" y="16906"/>
                  <a:pt x="17983" y="16886"/>
                </a:cubicBezTo>
                <a:cubicBezTo>
                  <a:pt x="18091" y="16865"/>
                  <a:pt x="17957" y="16726"/>
                  <a:pt x="18000" y="16693"/>
                </a:cubicBezTo>
                <a:cubicBezTo>
                  <a:pt x="18101" y="16614"/>
                  <a:pt x="18130" y="16965"/>
                  <a:pt x="18133" y="16978"/>
                </a:cubicBezTo>
                <a:cubicBezTo>
                  <a:pt x="18131" y="16970"/>
                  <a:pt x="18211" y="17160"/>
                  <a:pt x="18200" y="17128"/>
                </a:cubicBezTo>
                <a:cubicBezTo>
                  <a:pt x="18258" y="17300"/>
                  <a:pt x="18153" y="17341"/>
                  <a:pt x="18174" y="17494"/>
                </a:cubicBezTo>
                <a:lnTo>
                  <a:pt x="18168" y="17460"/>
                </a:lnTo>
                <a:cubicBezTo>
                  <a:pt x="18167" y="17449"/>
                  <a:pt x="18120" y="17319"/>
                  <a:pt x="18100" y="17304"/>
                </a:cubicBezTo>
                <a:cubicBezTo>
                  <a:pt x="17981" y="17215"/>
                  <a:pt x="18085" y="17594"/>
                  <a:pt x="18083" y="17581"/>
                </a:cubicBezTo>
                <a:close/>
                <a:moveTo>
                  <a:pt x="18592" y="19309"/>
                </a:moveTo>
                <a:cubicBezTo>
                  <a:pt x="18592" y="19309"/>
                  <a:pt x="18587" y="19307"/>
                  <a:pt x="18585" y="19305"/>
                </a:cubicBezTo>
                <a:cubicBezTo>
                  <a:pt x="18586" y="19306"/>
                  <a:pt x="18588" y="19307"/>
                  <a:pt x="18592" y="19309"/>
                </a:cubicBezTo>
                <a:close/>
                <a:moveTo>
                  <a:pt x="18592" y="19309"/>
                </a:moveTo>
                <a:lnTo>
                  <a:pt x="18598" y="19309"/>
                </a:lnTo>
                <a:cubicBezTo>
                  <a:pt x="18615" y="19134"/>
                  <a:pt x="18425" y="19063"/>
                  <a:pt x="18628" y="18989"/>
                </a:cubicBezTo>
                <a:cubicBezTo>
                  <a:pt x="18655" y="18947"/>
                  <a:pt x="18648" y="18911"/>
                  <a:pt x="18607" y="18881"/>
                </a:cubicBezTo>
                <a:cubicBezTo>
                  <a:pt x="18642" y="18813"/>
                  <a:pt x="18683" y="18803"/>
                  <a:pt x="18669" y="18696"/>
                </a:cubicBezTo>
                <a:cubicBezTo>
                  <a:pt x="18643" y="18690"/>
                  <a:pt x="18459" y="18728"/>
                  <a:pt x="18561" y="18611"/>
                </a:cubicBezTo>
                <a:cubicBezTo>
                  <a:pt x="18564" y="18608"/>
                  <a:pt x="18724" y="18381"/>
                  <a:pt x="18601" y="18449"/>
                </a:cubicBezTo>
                <a:cubicBezTo>
                  <a:pt x="18400" y="18560"/>
                  <a:pt x="18393" y="19197"/>
                  <a:pt x="18592" y="19309"/>
                </a:cubicBezTo>
                <a:close/>
                <a:moveTo>
                  <a:pt x="18103" y="19991"/>
                </a:moveTo>
                <a:cubicBezTo>
                  <a:pt x="18100" y="19960"/>
                  <a:pt x="18096" y="19927"/>
                  <a:pt x="18103" y="19992"/>
                </a:cubicBezTo>
                <a:cubicBezTo>
                  <a:pt x="18109" y="20049"/>
                  <a:pt x="18106" y="20022"/>
                  <a:pt x="18103" y="19992"/>
                </a:cubicBezTo>
                <a:cubicBezTo>
                  <a:pt x="18116" y="20110"/>
                  <a:pt x="18306" y="20161"/>
                  <a:pt x="18306" y="20039"/>
                </a:cubicBezTo>
                <a:lnTo>
                  <a:pt x="18306" y="20017"/>
                </a:lnTo>
                <a:cubicBezTo>
                  <a:pt x="18306" y="19930"/>
                  <a:pt x="18091" y="19867"/>
                  <a:pt x="18103" y="19991"/>
                </a:cubicBezTo>
                <a:close/>
                <a:moveTo>
                  <a:pt x="18904" y="19884"/>
                </a:moveTo>
                <a:cubicBezTo>
                  <a:pt x="18917" y="19893"/>
                  <a:pt x="18937" y="19906"/>
                  <a:pt x="18903" y="19884"/>
                </a:cubicBezTo>
                <a:cubicBezTo>
                  <a:pt x="18890" y="19876"/>
                  <a:pt x="18895" y="19879"/>
                  <a:pt x="18902" y="19883"/>
                </a:cubicBezTo>
                <a:cubicBezTo>
                  <a:pt x="18853" y="19853"/>
                  <a:pt x="18538" y="19779"/>
                  <a:pt x="18518" y="19896"/>
                </a:cubicBezTo>
                <a:cubicBezTo>
                  <a:pt x="18509" y="19950"/>
                  <a:pt x="18935" y="20067"/>
                  <a:pt x="18988" y="20089"/>
                </a:cubicBezTo>
                <a:cubicBezTo>
                  <a:pt x="19014" y="20004"/>
                  <a:pt x="18985" y="19937"/>
                  <a:pt x="18904" y="19884"/>
                </a:cubicBezTo>
                <a:close/>
                <a:moveTo>
                  <a:pt x="16263" y="21201"/>
                </a:moveTo>
                <a:cubicBezTo>
                  <a:pt x="16276" y="21209"/>
                  <a:pt x="16293" y="21218"/>
                  <a:pt x="16262" y="21201"/>
                </a:cubicBezTo>
                <a:cubicBezTo>
                  <a:pt x="16243" y="21190"/>
                  <a:pt x="16250" y="21195"/>
                  <a:pt x="16261" y="21200"/>
                </a:cubicBezTo>
                <a:cubicBezTo>
                  <a:pt x="16178" y="21156"/>
                  <a:pt x="15894" y="21117"/>
                  <a:pt x="15839" y="21038"/>
                </a:cubicBezTo>
                <a:cubicBezTo>
                  <a:pt x="15766" y="20931"/>
                  <a:pt x="16060" y="20952"/>
                  <a:pt x="16033" y="20890"/>
                </a:cubicBezTo>
                <a:cubicBezTo>
                  <a:pt x="16015" y="20847"/>
                  <a:pt x="15631" y="20892"/>
                  <a:pt x="15548" y="20827"/>
                </a:cubicBezTo>
                <a:cubicBezTo>
                  <a:pt x="15431" y="20733"/>
                  <a:pt x="15383" y="20954"/>
                  <a:pt x="15185" y="20881"/>
                </a:cubicBezTo>
                <a:cubicBezTo>
                  <a:pt x="15030" y="20824"/>
                  <a:pt x="14638" y="20421"/>
                  <a:pt x="14549" y="20854"/>
                </a:cubicBezTo>
                <a:cubicBezTo>
                  <a:pt x="14678" y="20857"/>
                  <a:pt x="14825" y="21025"/>
                  <a:pt x="14961" y="21071"/>
                </a:cubicBezTo>
                <a:cubicBezTo>
                  <a:pt x="15189" y="21147"/>
                  <a:pt x="15472" y="21216"/>
                  <a:pt x="15706" y="21244"/>
                </a:cubicBezTo>
                <a:cubicBezTo>
                  <a:pt x="15768" y="21252"/>
                  <a:pt x="16095" y="21365"/>
                  <a:pt x="16116" y="21306"/>
                </a:cubicBezTo>
                <a:cubicBezTo>
                  <a:pt x="16108" y="21329"/>
                  <a:pt x="16443" y="21301"/>
                  <a:pt x="16263" y="21201"/>
                </a:cubicBezTo>
                <a:close/>
                <a:moveTo>
                  <a:pt x="14587" y="20535"/>
                </a:moveTo>
                <a:cubicBezTo>
                  <a:pt x="14613" y="20480"/>
                  <a:pt x="14595" y="20518"/>
                  <a:pt x="14587" y="20535"/>
                </a:cubicBezTo>
                <a:cubicBezTo>
                  <a:pt x="14615" y="20477"/>
                  <a:pt x="14667" y="19955"/>
                  <a:pt x="14646" y="19893"/>
                </a:cubicBezTo>
                <a:cubicBezTo>
                  <a:pt x="14672" y="19912"/>
                  <a:pt x="14704" y="19916"/>
                  <a:pt x="14725" y="19942"/>
                </a:cubicBezTo>
                <a:cubicBezTo>
                  <a:pt x="14719" y="19826"/>
                  <a:pt x="14724" y="19684"/>
                  <a:pt x="14625" y="19570"/>
                </a:cubicBezTo>
                <a:cubicBezTo>
                  <a:pt x="14582" y="19521"/>
                  <a:pt x="14466" y="19573"/>
                  <a:pt x="14476" y="19656"/>
                </a:cubicBezTo>
                <a:cubicBezTo>
                  <a:pt x="14484" y="19728"/>
                  <a:pt x="14595" y="19726"/>
                  <a:pt x="14612" y="19833"/>
                </a:cubicBezTo>
                <a:cubicBezTo>
                  <a:pt x="14544" y="19734"/>
                  <a:pt x="14504" y="19734"/>
                  <a:pt x="14410" y="19686"/>
                </a:cubicBezTo>
                <a:cubicBezTo>
                  <a:pt x="14334" y="19438"/>
                  <a:pt x="14184" y="19343"/>
                  <a:pt x="14241" y="19116"/>
                </a:cubicBezTo>
                <a:cubicBezTo>
                  <a:pt x="14265" y="19025"/>
                  <a:pt x="13866" y="18581"/>
                  <a:pt x="13773" y="18564"/>
                </a:cubicBezTo>
                <a:cubicBezTo>
                  <a:pt x="13610" y="18532"/>
                  <a:pt x="13314" y="18143"/>
                  <a:pt x="13239" y="17978"/>
                </a:cubicBezTo>
                <a:cubicBezTo>
                  <a:pt x="13175" y="17835"/>
                  <a:pt x="12614" y="17619"/>
                  <a:pt x="12740" y="17868"/>
                </a:cubicBezTo>
                <a:cubicBezTo>
                  <a:pt x="12804" y="17994"/>
                  <a:pt x="12911" y="18099"/>
                  <a:pt x="12993" y="18204"/>
                </a:cubicBezTo>
                <a:cubicBezTo>
                  <a:pt x="13074" y="18306"/>
                  <a:pt x="13143" y="18547"/>
                  <a:pt x="13247" y="18604"/>
                </a:cubicBezTo>
                <a:cubicBezTo>
                  <a:pt x="13343" y="18657"/>
                  <a:pt x="13391" y="18728"/>
                  <a:pt x="13410" y="18867"/>
                </a:cubicBezTo>
                <a:cubicBezTo>
                  <a:pt x="13435" y="19052"/>
                  <a:pt x="13571" y="19187"/>
                  <a:pt x="13642" y="19345"/>
                </a:cubicBezTo>
                <a:cubicBezTo>
                  <a:pt x="13726" y="19532"/>
                  <a:pt x="13738" y="19854"/>
                  <a:pt x="13898" y="19967"/>
                </a:cubicBezTo>
                <a:cubicBezTo>
                  <a:pt x="13999" y="20039"/>
                  <a:pt x="14049" y="20239"/>
                  <a:pt x="14159" y="20332"/>
                </a:cubicBezTo>
                <a:cubicBezTo>
                  <a:pt x="14218" y="20381"/>
                  <a:pt x="14320" y="20591"/>
                  <a:pt x="14373" y="20604"/>
                </a:cubicBezTo>
                <a:cubicBezTo>
                  <a:pt x="14369" y="20571"/>
                  <a:pt x="14355" y="20530"/>
                  <a:pt x="14378" y="20503"/>
                </a:cubicBezTo>
                <a:cubicBezTo>
                  <a:pt x="14413" y="20525"/>
                  <a:pt x="14560" y="20593"/>
                  <a:pt x="14587" y="20535"/>
                </a:cubicBezTo>
                <a:cubicBezTo>
                  <a:pt x="14584" y="20542"/>
                  <a:pt x="14582" y="20546"/>
                  <a:pt x="14587" y="20535"/>
                </a:cubicBezTo>
                <a:close/>
                <a:moveTo>
                  <a:pt x="18008" y="18723"/>
                </a:moveTo>
                <a:cubicBezTo>
                  <a:pt x="17983" y="18750"/>
                  <a:pt x="17963" y="18782"/>
                  <a:pt x="17947" y="18819"/>
                </a:cubicBezTo>
                <a:cubicBezTo>
                  <a:pt x="17734" y="19148"/>
                  <a:pt x="17442" y="18778"/>
                  <a:pt x="17197" y="18912"/>
                </a:cubicBezTo>
                <a:cubicBezTo>
                  <a:pt x="17066" y="18984"/>
                  <a:pt x="16845" y="19897"/>
                  <a:pt x="16936" y="20034"/>
                </a:cubicBezTo>
                <a:cubicBezTo>
                  <a:pt x="16988" y="20112"/>
                  <a:pt x="17002" y="20686"/>
                  <a:pt x="17101" y="20570"/>
                </a:cubicBezTo>
                <a:cubicBezTo>
                  <a:pt x="17213" y="20440"/>
                  <a:pt x="17177" y="20077"/>
                  <a:pt x="17157" y="19905"/>
                </a:cubicBezTo>
                <a:cubicBezTo>
                  <a:pt x="17424" y="19728"/>
                  <a:pt x="17188" y="20552"/>
                  <a:pt x="17558" y="20246"/>
                </a:cubicBezTo>
                <a:cubicBezTo>
                  <a:pt x="17629" y="20187"/>
                  <a:pt x="17419" y="19764"/>
                  <a:pt x="17386" y="19700"/>
                </a:cubicBezTo>
                <a:cubicBezTo>
                  <a:pt x="17326" y="19586"/>
                  <a:pt x="17694" y="19451"/>
                  <a:pt x="17705" y="19360"/>
                </a:cubicBezTo>
                <a:cubicBezTo>
                  <a:pt x="17715" y="19275"/>
                  <a:pt x="16935" y="19751"/>
                  <a:pt x="17124" y="19135"/>
                </a:cubicBezTo>
                <a:cubicBezTo>
                  <a:pt x="17171" y="18983"/>
                  <a:pt x="17519" y="19053"/>
                  <a:pt x="17608" y="19065"/>
                </a:cubicBezTo>
                <a:cubicBezTo>
                  <a:pt x="17718" y="19079"/>
                  <a:pt x="17835" y="19134"/>
                  <a:pt x="17920" y="19006"/>
                </a:cubicBezTo>
                <a:cubicBezTo>
                  <a:pt x="17927" y="18996"/>
                  <a:pt x="18090" y="18686"/>
                  <a:pt x="18008" y="18723"/>
                </a:cubicBezTo>
                <a:close/>
                <a:moveTo>
                  <a:pt x="16704" y="13082"/>
                </a:moveTo>
                <a:cubicBezTo>
                  <a:pt x="16613" y="13312"/>
                  <a:pt x="16783" y="13423"/>
                  <a:pt x="16840" y="13609"/>
                </a:cubicBezTo>
                <a:cubicBezTo>
                  <a:pt x="16841" y="13609"/>
                  <a:pt x="16850" y="13609"/>
                  <a:pt x="16852" y="13609"/>
                </a:cubicBezTo>
                <a:cubicBezTo>
                  <a:pt x="16855" y="13521"/>
                  <a:pt x="17025" y="12818"/>
                  <a:pt x="16888" y="12816"/>
                </a:cubicBezTo>
                <a:cubicBezTo>
                  <a:pt x="16888" y="12816"/>
                  <a:pt x="16888" y="12816"/>
                  <a:pt x="16888" y="12816"/>
                </a:cubicBezTo>
                <a:cubicBezTo>
                  <a:pt x="16848" y="12816"/>
                  <a:pt x="16878" y="12816"/>
                  <a:pt x="16888" y="12816"/>
                </a:cubicBezTo>
                <a:cubicBezTo>
                  <a:pt x="16771" y="12816"/>
                  <a:pt x="16747" y="12972"/>
                  <a:pt x="16704" y="13082"/>
                </a:cubicBezTo>
                <a:close/>
                <a:moveTo>
                  <a:pt x="17712" y="10844"/>
                </a:moveTo>
                <a:cubicBezTo>
                  <a:pt x="17703" y="10863"/>
                  <a:pt x="17708" y="10853"/>
                  <a:pt x="17712" y="10844"/>
                </a:cubicBezTo>
                <a:cubicBezTo>
                  <a:pt x="17692" y="10887"/>
                  <a:pt x="17822" y="11096"/>
                  <a:pt x="17838" y="11109"/>
                </a:cubicBezTo>
                <a:cubicBezTo>
                  <a:pt x="17849" y="11118"/>
                  <a:pt x="17865" y="11124"/>
                  <a:pt x="17877" y="11126"/>
                </a:cubicBezTo>
                <a:cubicBezTo>
                  <a:pt x="17878" y="11096"/>
                  <a:pt x="17839" y="10886"/>
                  <a:pt x="17827" y="10899"/>
                </a:cubicBezTo>
                <a:cubicBezTo>
                  <a:pt x="17897" y="10821"/>
                  <a:pt x="17903" y="11539"/>
                  <a:pt x="18077" y="11380"/>
                </a:cubicBezTo>
                <a:cubicBezTo>
                  <a:pt x="18170" y="11297"/>
                  <a:pt x="18111" y="11168"/>
                  <a:pt x="18118" y="11055"/>
                </a:cubicBezTo>
                <a:cubicBezTo>
                  <a:pt x="18128" y="10876"/>
                  <a:pt x="18099" y="10972"/>
                  <a:pt x="18021" y="10859"/>
                </a:cubicBezTo>
                <a:cubicBezTo>
                  <a:pt x="18036" y="10845"/>
                  <a:pt x="17825" y="10607"/>
                  <a:pt x="17712" y="10844"/>
                </a:cubicBezTo>
                <a:cubicBezTo>
                  <a:pt x="17714" y="10841"/>
                  <a:pt x="17715" y="10839"/>
                  <a:pt x="17716" y="10837"/>
                </a:cubicBezTo>
                <a:cubicBezTo>
                  <a:pt x="17715" y="10838"/>
                  <a:pt x="17714" y="10841"/>
                  <a:pt x="17712" y="10844"/>
                </a:cubicBezTo>
                <a:close/>
                <a:moveTo>
                  <a:pt x="18155" y="10981"/>
                </a:moveTo>
                <a:cubicBezTo>
                  <a:pt x="18156" y="10983"/>
                  <a:pt x="18156" y="10984"/>
                  <a:pt x="18157" y="10986"/>
                </a:cubicBezTo>
                <a:lnTo>
                  <a:pt x="18157" y="10980"/>
                </a:lnTo>
                <a:cubicBezTo>
                  <a:pt x="18156" y="10981"/>
                  <a:pt x="18156" y="10981"/>
                  <a:pt x="18155" y="10981"/>
                </a:cubicBezTo>
                <a:close/>
                <a:moveTo>
                  <a:pt x="18494" y="10870"/>
                </a:moveTo>
                <a:cubicBezTo>
                  <a:pt x="18495" y="10871"/>
                  <a:pt x="18495" y="10871"/>
                  <a:pt x="18494" y="10870"/>
                </a:cubicBezTo>
                <a:cubicBezTo>
                  <a:pt x="18471" y="10838"/>
                  <a:pt x="18547" y="10731"/>
                  <a:pt x="18554" y="10729"/>
                </a:cubicBezTo>
                <a:cubicBezTo>
                  <a:pt x="18453" y="10479"/>
                  <a:pt x="18199" y="10696"/>
                  <a:pt x="18150" y="10851"/>
                </a:cubicBezTo>
                <a:cubicBezTo>
                  <a:pt x="18209" y="10805"/>
                  <a:pt x="18269" y="11010"/>
                  <a:pt x="18342" y="10999"/>
                </a:cubicBezTo>
                <a:cubicBezTo>
                  <a:pt x="18354" y="10871"/>
                  <a:pt x="18377" y="10711"/>
                  <a:pt x="18494" y="10870"/>
                </a:cubicBezTo>
                <a:close/>
                <a:moveTo>
                  <a:pt x="18925" y="10455"/>
                </a:moveTo>
                <a:cubicBezTo>
                  <a:pt x="19074" y="10535"/>
                  <a:pt x="18998" y="10353"/>
                  <a:pt x="19082" y="10331"/>
                </a:cubicBezTo>
                <a:cubicBezTo>
                  <a:pt x="19143" y="10315"/>
                  <a:pt x="19102" y="10429"/>
                  <a:pt x="19140" y="10453"/>
                </a:cubicBezTo>
                <a:cubicBezTo>
                  <a:pt x="19161" y="10466"/>
                  <a:pt x="19182" y="10192"/>
                  <a:pt x="19268" y="10229"/>
                </a:cubicBezTo>
                <a:cubicBezTo>
                  <a:pt x="19270" y="10283"/>
                  <a:pt x="19281" y="10332"/>
                  <a:pt x="19303" y="10378"/>
                </a:cubicBezTo>
                <a:cubicBezTo>
                  <a:pt x="19331" y="10411"/>
                  <a:pt x="19368" y="10180"/>
                  <a:pt x="19390" y="10163"/>
                </a:cubicBezTo>
                <a:cubicBezTo>
                  <a:pt x="19189" y="10042"/>
                  <a:pt x="19220" y="9561"/>
                  <a:pt x="19213" y="9410"/>
                </a:cubicBezTo>
                <a:cubicBezTo>
                  <a:pt x="19203" y="9250"/>
                  <a:pt x="18945" y="8663"/>
                  <a:pt x="18789" y="8793"/>
                </a:cubicBezTo>
                <a:cubicBezTo>
                  <a:pt x="18688" y="8878"/>
                  <a:pt x="18903" y="9380"/>
                  <a:pt x="18921" y="9513"/>
                </a:cubicBezTo>
                <a:cubicBezTo>
                  <a:pt x="18942" y="9666"/>
                  <a:pt x="18831" y="9812"/>
                  <a:pt x="18747" y="9883"/>
                </a:cubicBezTo>
                <a:cubicBezTo>
                  <a:pt x="18578" y="10022"/>
                  <a:pt x="18681" y="9752"/>
                  <a:pt x="18616" y="9737"/>
                </a:cubicBezTo>
                <a:cubicBezTo>
                  <a:pt x="18570" y="9727"/>
                  <a:pt x="18579" y="10013"/>
                  <a:pt x="18565" y="10058"/>
                </a:cubicBezTo>
                <a:cubicBezTo>
                  <a:pt x="18497" y="10271"/>
                  <a:pt x="18631" y="10204"/>
                  <a:pt x="18427" y="10176"/>
                </a:cubicBezTo>
                <a:cubicBezTo>
                  <a:pt x="18351" y="10166"/>
                  <a:pt x="18089" y="10234"/>
                  <a:pt x="18044" y="10303"/>
                </a:cubicBezTo>
                <a:cubicBezTo>
                  <a:pt x="18047" y="10299"/>
                  <a:pt x="17883" y="10560"/>
                  <a:pt x="17858" y="10523"/>
                </a:cubicBezTo>
                <a:cubicBezTo>
                  <a:pt x="17899" y="10754"/>
                  <a:pt x="18464" y="10422"/>
                  <a:pt x="18580" y="10472"/>
                </a:cubicBezTo>
                <a:cubicBezTo>
                  <a:pt x="18585" y="10596"/>
                  <a:pt x="18609" y="10680"/>
                  <a:pt x="18703" y="10735"/>
                </a:cubicBezTo>
                <a:cubicBezTo>
                  <a:pt x="18753" y="10764"/>
                  <a:pt x="18816" y="10592"/>
                  <a:pt x="18840" y="10543"/>
                </a:cubicBezTo>
                <a:cubicBezTo>
                  <a:pt x="18865" y="10494"/>
                  <a:pt x="18720" y="10465"/>
                  <a:pt x="18769" y="10389"/>
                </a:cubicBezTo>
                <a:cubicBezTo>
                  <a:pt x="18797" y="10347"/>
                  <a:pt x="18905" y="10444"/>
                  <a:pt x="18925" y="10455"/>
                </a:cubicBezTo>
                <a:close/>
                <a:moveTo>
                  <a:pt x="19160" y="8116"/>
                </a:moveTo>
                <a:lnTo>
                  <a:pt x="19146" y="8111"/>
                </a:lnTo>
                <a:cubicBezTo>
                  <a:pt x="19036" y="8151"/>
                  <a:pt x="19089" y="8247"/>
                  <a:pt x="18906" y="8142"/>
                </a:cubicBezTo>
                <a:cubicBezTo>
                  <a:pt x="18847" y="8108"/>
                  <a:pt x="18485" y="7762"/>
                  <a:pt x="18443" y="7857"/>
                </a:cubicBezTo>
                <a:cubicBezTo>
                  <a:pt x="18479" y="7928"/>
                  <a:pt x="18697" y="8296"/>
                  <a:pt x="18646" y="8380"/>
                </a:cubicBezTo>
                <a:cubicBezTo>
                  <a:pt x="18629" y="8381"/>
                  <a:pt x="18520" y="8340"/>
                  <a:pt x="18499" y="8358"/>
                </a:cubicBezTo>
                <a:cubicBezTo>
                  <a:pt x="18498" y="8393"/>
                  <a:pt x="18522" y="8403"/>
                  <a:pt x="18547" y="8410"/>
                </a:cubicBezTo>
                <a:cubicBezTo>
                  <a:pt x="18531" y="8460"/>
                  <a:pt x="18513" y="8509"/>
                  <a:pt x="18493" y="8557"/>
                </a:cubicBezTo>
                <a:cubicBezTo>
                  <a:pt x="18527" y="8619"/>
                  <a:pt x="18568" y="8674"/>
                  <a:pt x="18615" y="8721"/>
                </a:cubicBezTo>
                <a:cubicBezTo>
                  <a:pt x="18661" y="8865"/>
                  <a:pt x="18800" y="8728"/>
                  <a:pt x="18795" y="8712"/>
                </a:cubicBezTo>
                <a:cubicBezTo>
                  <a:pt x="18774" y="8635"/>
                  <a:pt x="18622" y="8687"/>
                  <a:pt x="18587" y="8598"/>
                </a:cubicBezTo>
                <a:cubicBezTo>
                  <a:pt x="18565" y="8543"/>
                  <a:pt x="18779" y="8529"/>
                  <a:pt x="18804" y="8536"/>
                </a:cubicBezTo>
                <a:cubicBezTo>
                  <a:pt x="18831" y="8543"/>
                  <a:pt x="19142" y="8756"/>
                  <a:pt x="19097" y="8609"/>
                </a:cubicBezTo>
                <a:cubicBezTo>
                  <a:pt x="19047" y="8447"/>
                  <a:pt x="19219" y="8414"/>
                  <a:pt x="19316" y="8366"/>
                </a:cubicBezTo>
                <a:cubicBezTo>
                  <a:pt x="19247" y="8378"/>
                  <a:pt x="19154" y="8192"/>
                  <a:pt x="19160" y="8116"/>
                </a:cubicBezTo>
                <a:close/>
                <a:moveTo>
                  <a:pt x="17646" y="6274"/>
                </a:moveTo>
                <a:cubicBezTo>
                  <a:pt x="17799" y="6419"/>
                  <a:pt x="17943" y="6645"/>
                  <a:pt x="18027" y="6862"/>
                </a:cubicBezTo>
                <a:cubicBezTo>
                  <a:pt x="18080" y="6997"/>
                  <a:pt x="18171" y="7189"/>
                  <a:pt x="18248" y="7303"/>
                </a:cubicBezTo>
                <a:cubicBezTo>
                  <a:pt x="18298" y="7378"/>
                  <a:pt x="18389" y="7663"/>
                  <a:pt x="18474" y="7676"/>
                </a:cubicBezTo>
                <a:cubicBezTo>
                  <a:pt x="18421" y="7470"/>
                  <a:pt x="18534" y="7473"/>
                  <a:pt x="18607" y="7547"/>
                </a:cubicBezTo>
                <a:cubicBezTo>
                  <a:pt x="18461" y="7353"/>
                  <a:pt x="18082" y="7060"/>
                  <a:pt x="18198" y="6858"/>
                </a:cubicBezTo>
                <a:cubicBezTo>
                  <a:pt x="18255" y="6759"/>
                  <a:pt x="18499" y="7018"/>
                  <a:pt x="18519" y="7049"/>
                </a:cubicBezTo>
                <a:cubicBezTo>
                  <a:pt x="18357" y="6801"/>
                  <a:pt x="18126" y="6627"/>
                  <a:pt x="17961" y="6378"/>
                </a:cubicBezTo>
                <a:cubicBezTo>
                  <a:pt x="17806" y="6144"/>
                  <a:pt x="17586" y="5734"/>
                  <a:pt x="17350" y="5619"/>
                </a:cubicBezTo>
                <a:cubicBezTo>
                  <a:pt x="17325" y="5663"/>
                  <a:pt x="17472" y="5827"/>
                  <a:pt x="17478" y="5878"/>
                </a:cubicBezTo>
                <a:cubicBezTo>
                  <a:pt x="17465" y="5877"/>
                  <a:pt x="17376" y="5743"/>
                  <a:pt x="17378" y="5856"/>
                </a:cubicBezTo>
                <a:cubicBezTo>
                  <a:pt x="17378" y="5852"/>
                  <a:pt x="17378" y="5849"/>
                  <a:pt x="17378" y="5857"/>
                </a:cubicBezTo>
                <a:cubicBezTo>
                  <a:pt x="17378" y="5869"/>
                  <a:pt x="17378" y="5863"/>
                  <a:pt x="17378" y="5857"/>
                </a:cubicBezTo>
                <a:cubicBezTo>
                  <a:pt x="17381" y="5928"/>
                  <a:pt x="17603" y="6232"/>
                  <a:pt x="17646" y="6274"/>
                </a:cubicBezTo>
                <a:close/>
                <a:moveTo>
                  <a:pt x="18607" y="7547"/>
                </a:moveTo>
                <a:cubicBezTo>
                  <a:pt x="18635" y="7584"/>
                  <a:pt x="18654" y="7616"/>
                  <a:pt x="18660" y="7644"/>
                </a:cubicBezTo>
                <a:cubicBezTo>
                  <a:pt x="18653" y="7607"/>
                  <a:pt x="18633" y="7573"/>
                  <a:pt x="18607" y="7547"/>
                </a:cubicBezTo>
                <a:close/>
                <a:moveTo>
                  <a:pt x="12796" y="1135"/>
                </a:moveTo>
                <a:cubicBezTo>
                  <a:pt x="12751" y="1122"/>
                  <a:pt x="12895" y="1166"/>
                  <a:pt x="12796" y="1135"/>
                </a:cubicBezTo>
                <a:cubicBezTo>
                  <a:pt x="12796" y="1135"/>
                  <a:pt x="12796" y="1135"/>
                  <a:pt x="12796" y="1135"/>
                </a:cubicBezTo>
                <a:close/>
                <a:moveTo>
                  <a:pt x="12796" y="1135"/>
                </a:moveTo>
                <a:cubicBezTo>
                  <a:pt x="12907" y="1169"/>
                  <a:pt x="13566" y="1269"/>
                  <a:pt x="13631" y="1102"/>
                </a:cubicBezTo>
                <a:cubicBezTo>
                  <a:pt x="13663" y="1018"/>
                  <a:pt x="12743" y="910"/>
                  <a:pt x="12645" y="914"/>
                </a:cubicBezTo>
                <a:cubicBezTo>
                  <a:pt x="12600" y="1062"/>
                  <a:pt x="12710" y="1110"/>
                  <a:pt x="12796" y="1135"/>
                </a:cubicBezTo>
                <a:close/>
                <a:moveTo>
                  <a:pt x="6624" y="191"/>
                </a:moveTo>
                <a:cubicBezTo>
                  <a:pt x="6624" y="192"/>
                  <a:pt x="6625" y="195"/>
                  <a:pt x="6626" y="199"/>
                </a:cubicBezTo>
                <a:cubicBezTo>
                  <a:pt x="6626" y="196"/>
                  <a:pt x="6625" y="194"/>
                  <a:pt x="6624" y="191"/>
                </a:cubicBezTo>
                <a:cubicBezTo>
                  <a:pt x="6624" y="191"/>
                  <a:pt x="6624" y="191"/>
                  <a:pt x="6624" y="191"/>
                </a:cubicBezTo>
                <a:close/>
                <a:moveTo>
                  <a:pt x="6637" y="229"/>
                </a:moveTo>
                <a:cubicBezTo>
                  <a:pt x="6645" y="251"/>
                  <a:pt x="6651" y="268"/>
                  <a:pt x="6637" y="229"/>
                </a:cubicBezTo>
                <a:cubicBezTo>
                  <a:pt x="6637" y="229"/>
                  <a:pt x="6637" y="229"/>
                  <a:pt x="6637" y="229"/>
                </a:cubicBezTo>
                <a:close/>
                <a:moveTo>
                  <a:pt x="6637" y="229"/>
                </a:moveTo>
                <a:cubicBezTo>
                  <a:pt x="6637" y="228"/>
                  <a:pt x="6636" y="225"/>
                  <a:pt x="6635" y="224"/>
                </a:cubicBezTo>
                <a:cubicBezTo>
                  <a:pt x="6636" y="225"/>
                  <a:pt x="6637" y="227"/>
                  <a:pt x="6637" y="229"/>
                </a:cubicBezTo>
                <a:close/>
                <a:moveTo>
                  <a:pt x="6626" y="199"/>
                </a:moveTo>
                <a:cubicBezTo>
                  <a:pt x="6629" y="205"/>
                  <a:pt x="6632" y="215"/>
                  <a:pt x="6635" y="224"/>
                </a:cubicBezTo>
                <a:cubicBezTo>
                  <a:pt x="6633" y="217"/>
                  <a:pt x="6630" y="209"/>
                  <a:pt x="6626" y="199"/>
                </a:cubicBezTo>
                <a:close/>
                <a:moveTo>
                  <a:pt x="6639" y="191"/>
                </a:moveTo>
                <a:cubicBezTo>
                  <a:pt x="6700" y="344"/>
                  <a:pt x="6882" y="206"/>
                  <a:pt x="6974" y="224"/>
                </a:cubicBezTo>
                <a:cubicBezTo>
                  <a:pt x="6891" y="274"/>
                  <a:pt x="7101" y="361"/>
                  <a:pt x="7127" y="364"/>
                </a:cubicBezTo>
                <a:cubicBezTo>
                  <a:pt x="7319" y="388"/>
                  <a:pt x="7515" y="426"/>
                  <a:pt x="7709" y="415"/>
                </a:cubicBezTo>
                <a:cubicBezTo>
                  <a:pt x="7714" y="407"/>
                  <a:pt x="7716" y="403"/>
                  <a:pt x="7718" y="393"/>
                </a:cubicBezTo>
                <a:cubicBezTo>
                  <a:pt x="7615" y="349"/>
                  <a:pt x="7588" y="217"/>
                  <a:pt x="7471" y="203"/>
                </a:cubicBezTo>
                <a:cubicBezTo>
                  <a:pt x="7304" y="184"/>
                  <a:pt x="7240" y="132"/>
                  <a:pt x="7094" y="42"/>
                </a:cubicBezTo>
                <a:cubicBezTo>
                  <a:pt x="7017" y="-6"/>
                  <a:pt x="6518" y="-65"/>
                  <a:pt x="6639" y="191"/>
                </a:cubicBezTo>
                <a:cubicBezTo>
                  <a:pt x="6639" y="191"/>
                  <a:pt x="6639" y="191"/>
                  <a:pt x="6639" y="191"/>
                </a:cubicBezTo>
                <a:close/>
                <a:moveTo>
                  <a:pt x="3049" y="1821"/>
                </a:moveTo>
                <a:cubicBezTo>
                  <a:pt x="3097" y="1824"/>
                  <a:pt x="3068" y="1822"/>
                  <a:pt x="3049" y="1821"/>
                </a:cubicBezTo>
                <a:cubicBezTo>
                  <a:pt x="3259" y="1833"/>
                  <a:pt x="3444" y="2105"/>
                  <a:pt x="3693" y="1983"/>
                </a:cubicBezTo>
                <a:cubicBezTo>
                  <a:pt x="3695" y="1975"/>
                  <a:pt x="3695" y="1959"/>
                  <a:pt x="3693" y="1951"/>
                </a:cubicBezTo>
                <a:cubicBezTo>
                  <a:pt x="3378" y="1819"/>
                  <a:pt x="3267" y="1534"/>
                  <a:pt x="3575" y="1251"/>
                </a:cubicBezTo>
                <a:cubicBezTo>
                  <a:pt x="3878" y="973"/>
                  <a:pt x="4250" y="1072"/>
                  <a:pt x="4563" y="873"/>
                </a:cubicBezTo>
                <a:cubicBezTo>
                  <a:pt x="4434" y="627"/>
                  <a:pt x="4069" y="857"/>
                  <a:pt x="3881" y="855"/>
                </a:cubicBezTo>
                <a:cubicBezTo>
                  <a:pt x="3631" y="853"/>
                  <a:pt x="3298" y="977"/>
                  <a:pt x="3102" y="1185"/>
                </a:cubicBezTo>
                <a:cubicBezTo>
                  <a:pt x="3040" y="1251"/>
                  <a:pt x="3027" y="1414"/>
                  <a:pt x="3008" y="1500"/>
                </a:cubicBezTo>
                <a:cubicBezTo>
                  <a:pt x="2968" y="1677"/>
                  <a:pt x="2751" y="1804"/>
                  <a:pt x="3049" y="1821"/>
                </a:cubicBezTo>
                <a:close/>
                <a:moveTo>
                  <a:pt x="10216" y="16862"/>
                </a:moveTo>
                <a:cubicBezTo>
                  <a:pt x="10007" y="16414"/>
                  <a:pt x="9990" y="17186"/>
                  <a:pt x="10036" y="17376"/>
                </a:cubicBezTo>
                <a:cubicBezTo>
                  <a:pt x="10092" y="17606"/>
                  <a:pt x="10129" y="17705"/>
                  <a:pt x="10318" y="17537"/>
                </a:cubicBezTo>
                <a:cubicBezTo>
                  <a:pt x="10499" y="17376"/>
                  <a:pt x="10291" y="17023"/>
                  <a:pt x="10216" y="16863"/>
                </a:cubicBezTo>
                <a:cubicBezTo>
                  <a:pt x="10225" y="16883"/>
                  <a:pt x="10244" y="16922"/>
                  <a:pt x="10216" y="16862"/>
                </a:cubicBezTo>
                <a:close/>
                <a:moveTo>
                  <a:pt x="10216" y="16862"/>
                </a:moveTo>
                <a:cubicBezTo>
                  <a:pt x="10216" y="16862"/>
                  <a:pt x="10216" y="16862"/>
                  <a:pt x="10216" y="16863"/>
                </a:cubicBezTo>
                <a:cubicBezTo>
                  <a:pt x="10211" y="16852"/>
                  <a:pt x="10209" y="16847"/>
                  <a:pt x="10216" y="16862"/>
                </a:cubicBezTo>
                <a:close/>
                <a:moveTo>
                  <a:pt x="17680" y="20444"/>
                </a:moveTo>
                <a:cubicBezTo>
                  <a:pt x="17677" y="20432"/>
                  <a:pt x="17678" y="20435"/>
                  <a:pt x="17679" y="20439"/>
                </a:cubicBezTo>
                <a:cubicBezTo>
                  <a:pt x="17647" y="20338"/>
                  <a:pt x="17562" y="20187"/>
                  <a:pt x="17562" y="20438"/>
                </a:cubicBezTo>
                <a:cubicBezTo>
                  <a:pt x="17562" y="20640"/>
                  <a:pt x="17719" y="20588"/>
                  <a:pt x="17681" y="20445"/>
                </a:cubicBezTo>
                <a:cubicBezTo>
                  <a:pt x="17681" y="20446"/>
                  <a:pt x="17681" y="20446"/>
                  <a:pt x="17680" y="20444"/>
                </a:cubicBezTo>
                <a:close/>
                <a:moveTo>
                  <a:pt x="20845" y="19801"/>
                </a:moveTo>
                <a:cubicBezTo>
                  <a:pt x="20845" y="19756"/>
                  <a:pt x="20831" y="19752"/>
                  <a:pt x="20720" y="19722"/>
                </a:cubicBezTo>
                <a:cubicBezTo>
                  <a:pt x="20484" y="19667"/>
                  <a:pt x="20309" y="19366"/>
                  <a:pt x="20078" y="19540"/>
                </a:cubicBezTo>
                <a:lnTo>
                  <a:pt x="20083" y="19581"/>
                </a:lnTo>
                <a:lnTo>
                  <a:pt x="20066" y="19592"/>
                </a:lnTo>
                <a:cubicBezTo>
                  <a:pt x="20073" y="19603"/>
                  <a:pt x="20078" y="19616"/>
                  <a:pt x="20080" y="19629"/>
                </a:cubicBezTo>
                <a:cubicBezTo>
                  <a:pt x="19967" y="19665"/>
                  <a:pt x="19867" y="19933"/>
                  <a:pt x="19784" y="19933"/>
                </a:cubicBezTo>
                <a:cubicBezTo>
                  <a:pt x="19806" y="19933"/>
                  <a:pt x="19649" y="19674"/>
                  <a:pt x="19649" y="19726"/>
                </a:cubicBezTo>
                <a:cubicBezTo>
                  <a:pt x="19591" y="19599"/>
                  <a:pt x="19738" y="19263"/>
                  <a:pt x="19533" y="19263"/>
                </a:cubicBezTo>
                <a:cubicBezTo>
                  <a:pt x="19510" y="19243"/>
                  <a:pt x="19395" y="19210"/>
                  <a:pt x="19371" y="19200"/>
                </a:cubicBezTo>
                <a:cubicBezTo>
                  <a:pt x="19228" y="19141"/>
                  <a:pt x="19205" y="19326"/>
                  <a:pt x="19144" y="19326"/>
                </a:cubicBezTo>
                <a:cubicBezTo>
                  <a:pt x="19123" y="19314"/>
                  <a:pt x="19057" y="19299"/>
                  <a:pt x="19047" y="19341"/>
                </a:cubicBezTo>
                <a:cubicBezTo>
                  <a:pt x="18878" y="19223"/>
                  <a:pt x="19194" y="19742"/>
                  <a:pt x="19275" y="19766"/>
                </a:cubicBezTo>
                <a:cubicBezTo>
                  <a:pt x="19141" y="19798"/>
                  <a:pt x="19298" y="20026"/>
                  <a:pt x="19315" y="20115"/>
                </a:cubicBezTo>
                <a:cubicBezTo>
                  <a:pt x="19376" y="20426"/>
                  <a:pt x="19468" y="20101"/>
                  <a:pt x="19519" y="20101"/>
                </a:cubicBezTo>
                <a:cubicBezTo>
                  <a:pt x="19605" y="20101"/>
                  <a:pt x="19914" y="20363"/>
                  <a:pt x="20018" y="20411"/>
                </a:cubicBezTo>
                <a:cubicBezTo>
                  <a:pt x="20127" y="20461"/>
                  <a:pt x="20181" y="20479"/>
                  <a:pt x="20248" y="20607"/>
                </a:cubicBezTo>
                <a:cubicBezTo>
                  <a:pt x="20277" y="20661"/>
                  <a:pt x="20274" y="20778"/>
                  <a:pt x="20326" y="20815"/>
                </a:cubicBezTo>
                <a:cubicBezTo>
                  <a:pt x="20319" y="20858"/>
                  <a:pt x="20311" y="20886"/>
                  <a:pt x="20321" y="20928"/>
                </a:cubicBezTo>
                <a:cubicBezTo>
                  <a:pt x="20186" y="20961"/>
                  <a:pt x="20099" y="21117"/>
                  <a:pt x="20109" y="21286"/>
                </a:cubicBezTo>
                <a:cubicBezTo>
                  <a:pt x="20228" y="21294"/>
                  <a:pt x="20372" y="21234"/>
                  <a:pt x="20433" y="21234"/>
                </a:cubicBezTo>
                <a:lnTo>
                  <a:pt x="20433" y="21233"/>
                </a:lnTo>
                <a:cubicBezTo>
                  <a:pt x="20433" y="21142"/>
                  <a:pt x="20719" y="21510"/>
                  <a:pt x="20736" y="21535"/>
                </a:cubicBezTo>
                <a:cubicBezTo>
                  <a:pt x="20771" y="21316"/>
                  <a:pt x="20771" y="21081"/>
                  <a:pt x="20799" y="20857"/>
                </a:cubicBezTo>
                <a:lnTo>
                  <a:pt x="20771" y="20809"/>
                </a:lnTo>
                <a:cubicBezTo>
                  <a:pt x="20895" y="20557"/>
                  <a:pt x="20831" y="20091"/>
                  <a:pt x="20845" y="19801"/>
                </a:cubicBezTo>
                <a:close/>
                <a:moveTo>
                  <a:pt x="21482" y="3136"/>
                </a:moveTo>
                <a:cubicBezTo>
                  <a:pt x="21484" y="3136"/>
                  <a:pt x="21512" y="3136"/>
                  <a:pt x="21512" y="3136"/>
                </a:cubicBezTo>
                <a:cubicBezTo>
                  <a:pt x="21524" y="3110"/>
                  <a:pt x="21544" y="3089"/>
                  <a:pt x="21567" y="3075"/>
                </a:cubicBezTo>
                <a:cubicBezTo>
                  <a:pt x="21432" y="2793"/>
                  <a:pt x="21025" y="2732"/>
                  <a:pt x="20788" y="2699"/>
                </a:cubicBezTo>
                <a:cubicBezTo>
                  <a:pt x="20424" y="2699"/>
                  <a:pt x="20032" y="2429"/>
                  <a:pt x="19669" y="2355"/>
                </a:cubicBezTo>
                <a:cubicBezTo>
                  <a:pt x="19252" y="2271"/>
                  <a:pt x="18850" y="2097"/>
                  <a:pt x="18423" y="2086"/>
                </a:cubicBezTo>
                <a:cubicBezTo>
                  <a:pt x="18281" y="2082"/>
                  <a:pt x="18025" y="1964"/>
                  <a:pt x="17928" y="2085"/>
                </a:cubicBezTo>
                <a:cubicBezTo>
                  <a:pt x="17787" y="1963"/>
                  <a:pt x="17753" y="2111"/>
                  <a:pt x="17640" y="2116"/>
                </a:cubicBezTo>
                <a:cubicBezTo>
                  <a:pt x="17589" y="2193"/>
                  <a:pt x="17369" y="2124"/>
                  <a:pt x="17309" y="2114"/>
                </a:cubicBezTo>
                <a:cubicBezTo>
                  <a:pt x="17131" y="2085"/>
                  <a:pt x="16946" y="2126"/>
                  <a:pt x="16770" y="2090"/>
                </a:cubicBezTo>
                <a:cubicBezTo>
                  <a:pt x="16661" y="2068"/>
                  <a:pt x="16615" y="1921"/>
                  <a:pt x="16498" y="1897"/>
                </a:cubicBezTo>
                <a:cubicBezTo>
                  <a:pt x="16256" y="1847"/>
                  <a:pt x="15932" y="1733"/>
                  <a:pt x="15687" y="1852"/>
                </a:cubicBezTo>
                <a:cubicBezTo>
                  <a:pt x="15505" y="1940"/>
                  <a:pt x="15223" y="1766"/>
                  <a:pt x="15033" y="1732"/>
                </a:cubicBezTo>
                <a:cubicBezTo>
                  <a:pt x="15028" y="1585"/>
                  <a:pt x="14601" y="1491"/>
                  <a:pt x="14524" y="1604"/>
                </a:cubicBezTo>
                <a:cubicBezTo>
                  <a:pt x="14389" y="1489"/>
                  <a:pt x="14096" y="1512"/>
                  <a:pt x="13941" y="1503"/>
                </a:cubicBezTo>
                <a:lnTo>
                  <a:pt x="13941" y="1502"/>
                </a:lnTo>
                <a:cubicBezTo>
                  <a:pt x="13859" y="1397"/>
                  <a:pt x="13713" y="1363"/>
                  <a:pt x="13601" y="1377"/>
                </a:cubicBezTo>
                <a:cubicBezTo>
                  <a:pt x="13463" y="1395"/>
                  <a:pt x="13552" y="1500"/>
                  <a:pt x="13642" y="1496"/>
                </a:cubicBezTo>
                <a:cubicBezTo>
                  <a:pt x="13538" y="1516"/>
                  <a:pt x="13426" y="1657"/>
                  <a:pt x="13589" y="1732"/>
                </a:cubicBezTo>
                <a:cubicBezTo>
                  <a:pt x="13432" y="1749"/>
                  <a:pt x="13289" y="1736"/>
                  <a:pt x="13132" y="1770"/>
                </a:cubicBezTo>
                <a:cubicBezTo>
                  <a:pt x="13010" y="1796"/>
                  <a:pt x="12688" y="1530"/>
                  <a:pt x="12823" y="1894"/>
                </a:cubicBezTo>
                <a:cubicBezTo>
                  <a:pt x="12699" y="1866"/>
                  <a:pt x="12578" y="1803"/>
                  <a:pt x="12462" y="1744"/>
                </a:cubicBezTo>
                <a:lnTo>
                  <a:pt x="12468" y="1739"/>
                </a:lnTo>
                <a:lnTo>
                  <a:pt x="12445" y="1651"/>
                </a:lnTo>
                <a:cubicBezTo>
                  <a:pt x="12201" y="1356"/>
                  <a:pt x="11570" y="1196"/>
                  <a:pt x="11249" y="1384"/>
                </a:cubicBezTo>
                <a:cubicBezTo>
                  <a:pt x="11292" y="1402"/>
                  <a:pt x="11339" y="1419"/>
                  <a:pt x="11379" y="1446"/>
                </a:cubicBezTo>
                <a:cubicBezTo>
                  <a:pt x="11235" y="1453"/>
                  <a:pt x="11040" y="1498"/>
                  <a:pt x="10902" y="1435"/>
                </a:cubicBezTo>
                <a:cubicBezTo>
                  <a:pt x="10924" y="1410"/>
                  <a:pt x="10943" y="1372"/>
                  <a:pt x="10960" y="1341"/>
                </a:cubicBezTo>
                <a:cubicBezTo>
                  <a:pt x="10707" y="1338"/>
                  <a:pt x="10460" y="1329"/>
                  <a:pt x="10209" y="1352"/>
                </a:cubicBezTo>
                <a:cubicBezTo>
                  <a:pt x="10151" y="1292"/>
                  <a:pt x="10082" y="1254"/>
                  <a:pt x="10017" y="1207"/>
                </a:cubicBezTo>
                <a:cubicBezTo>
                  <a:pt x="10017" y="1207"/>
                  <a:pt x="10014" y="1302"/>
                  <a:pt x="10014" y="1302"/>
                </a:cubicBezTo>
                <a:cubicBezTo>
                  <a:pt x="9917" y="1297"/>
                  <a:pt x="9781" y="1215"/>
                  <a:pt x="9686" y="1274"/>
                </a:cubicBezTo>
                <a:cubicBezTo>
                  <a:pt x="10299" y="771"/>
                  <a:pt x="9202" y="741"/>
                  <a:pt x="8912" y="764"/>
                </a:cubicBezTo>
                <a:cubicBezTo>
                  <a:pt x="8912" y="763"/>
                  <a:pt x="8942" y="682"/>
                  <a:pt x="8942" y="682"/>
                </a:cubicBezTo>
                <a:cubicBezTo>
                  <a:pt x="8857" y="692"/>
                  <a:pt x="8774" y="674"/>
                  <a:pt x="8690" y="667"/>
                </a:cubicBezTo>
                <a:cubicBezTo>
                  <a:pt x="8692" y="666"/>
                  <a:pt x="8711" y="652"/>
                  <a:pt x="8711" y="652"/>
                </a:cubicBezTo>
                <a:lnTo>
                  <a:pt x="8680" y="562"/>
                </a:lnTo>
                <a:cubicBezTo>
                  <a:pt x="8568" y="569"/>
                  <a:pt x="8454" y="542"/>
                  <a:pt x="8339" y="545"/>
                </a:cubicBezTo>
                <a:cubicBezTo>
                  <a:pt x="8372" y="543"/>
                  <a:pt x="8389" y="524"/>
                  <a:pt x="8390" y="487"/>
                </a:cubicBezTo>
                <a:cubicBezTo>
                  <a:pt x="8348" y="373"/>
                  <a:pt x="8029" y="432"/>
                  <a:pt x="7984" y="380"/>
                </a:cubicBezTo>
                <a:cubicBezTo>
                  <a:pt x="7880" y="261"/>
                  <a:pt x="7809" y="457"/>
                  <a:pt x="7733" y="455"/>
                </a:cubicBezTo>
                <a:cubicBezTo>
                  <a:pt x="7767" y="710"/>
                  <a:pt x="8058" y="574"/>
                  <a:pt x="8203" y="565"/>
                </a:cubicBezTo>
                <a:cubicBezTo>
                  <a:pt x="8141" y="586"/>
                  <a:pt x="8043" y="670"/>
                  <a:pt x="8093" y="768"/>
                </a:cubicBezTo>
                <a:cubicBezTo>
                  <a:pt x="8012" y="760"/>
                  <a:pt x="7931" y="780"/>
                  <a:pt x="7859" y="828"/>
                </a:cubicBezTo>
                <a:lnTo>
                  <a:pt x="7899" y="850"/>
                </a:lnTo>
                <a:cubicBezTo>
                  <a:pt x="7761" y="924"/>
                  <a:pt x="7599" y="792"/>
                  <a:pt x="7453" y="841"/>
                </a:cubicBezTo>
                <a:cubicBezTo>
                  <a:pt x="7359" y="872"/>
                  <a:pt x="7267" y="899"/>
                  <a:pt x="7171" y="911"/>
                </a:cubicBezTo>
                <a:cubicBezTo>
                  <a:pt x="6973" y="936"/>
                  <a:pt x="6832" y="1042"/>
                  <a:pt x="6697" y="1218"/>
                </a:cubicBezTo>
                <a:lnTo>
                  <a:pt x="6715" y="1300"/>
                </a:lnTo>
                <a:cubicBezTo>
                  <a:pt x="6595" y="1317"/>
                  <a:pt x="5933" y="1282"/>
                  <a:pt x="6309" y="1601"/>
                </a:cubicBezTo>
                <a:cubicBezTo>
                  <a:pt x="6139" y="1560"/>
                  <a:pt x="5956" y="1546"/>
                  <a:pt x="5807" y="1683"/>
                </a:cubicBezTo>
                <a:cubicBezTo>
                  <a:pt x="5762" y="1559"/>
                  <a:pt x="5703" y="1466"/>
                  <a:pt x="5588" y="1483"/>
                </a:cubicBezTo>
                <a:lnTo>
                  <a:pt x="5593" y="1581"/>
                </a:lnTo>
                <a:lnTo>
                  <a:pt x="5611" y="1582"/>
                </a:lnTo>
                <a:cubicBezTo>
                  <a:pt x="5618" y="1583"/>
                  <a:pt x="5633" y="1606"/>
                  <a:pt x="5635" y="1626"/>
                </a:cubicBezTo>
                <a:cubicBezTo>
                  <a:pt x="5565" y="1686"/>
                  <a:pt x="5488" y="1670"/>
                  <a:pt x="5467" y="1800"/>
                </a:cubicBezTo>
                <a:cubicBezTo>
                  <a:pt x="5452" y="1798"/>
                  <a:pt x="5437" y="1795"/>
                  <a:pt x="5422" y="1791"/>
                </a:cubicBezTo>
                <a:cubicBezTo>
                  <a:pt x="5363" y="1613"/>
                  <a:pt x="5452" y="1463"/>
                  <a:pt x="5208" y="1445"/>
                </a:cubicBezTo>
                <a:cubicBezTo>
                  <a:pt x="5135" y="1440"/>
                  <a:pt x="5060" y="1440"/>
                  <a:pt x="4988" y="1440"/>
                </a:cubicBezTo>
                <a:cubicBezTo>
                  <a:pt x="4835" y="1440"/>
                  <a:pt x="4896" y="1580"/>
                  <a:pt x="4862" y="1697"/>
                </a:cubicBezTo>
                <a:cubicBezTo>
                  <a:pt x="4835" y="1790"/>
                  <a:pt x="4726" y="1733"/>
                  <a:pt x="4708" y="1846"/>
                </a:cubicBezTo>
                <a:cubicBezTo>
                  <a:pt x="4689" y="1970"/>
                  <a:pt x="4799" y="1948"/>
                  <a:pt x="4812" y="1996"/>
                </a:cubicBezTo>
                <a:cubicBezTo>
                  <a:pt x="4844" y="2077"/>
                  <a:pt x="4824" y="2151"/>
                  <a:pt x="4867" y="2245"/>
                </a:cubicBezTo>
                <a:cubicBezTo>
                  <a:pt x="4713" y="2182"/>
                  <a:pt x="4560" y="2145"/>
                  <a:pt x="4400" y="2112"/>
                </a:cubicBezTo>
                <a:cubicBezTo>
                  <a:pt x="4221" y="2086"/>
                  <a:pt x="4015" y="1954"/>
                  <a:pt x="3841" y="1954"/>
                </a:cubicBezTo>
                <a:cubicBezTo>
                  <a:pt x="3573" y="1954"/>
                  <a:pt x="4110" y="2290"/>
                  <a:pt x="4127" y="2309"/>
                </a:cubicBezTo>
                <a:cubicBezTo>
                  <a:pt x="4105" y="2315"/>
                  <a:pt x="4083" y="2320"/>
                  <a:pt x="4060" y="2324"/>
                </a:cubicBezTo>
                <a:lnTo>
                  <a:pt x="4065" y="2298"/>
                </a:lnTo>
                <a:cubicBezTo>
                  <a:pt x="3852" y="2201"/>
                  <a:pt x="3571" y="2399"/>
                  <a:pt x="3372" y="2425"/>
                </a:cubicBezTo>
                <a:cubicBezTo>
                  <a:pt x="3370" y="2381"/>
                  <a:pt x="3421" y="2299"/>
                  <a:pt x="3432" y="2250"/>
                </a:cubicBezTo>
                <a:cubicBezTo>
                  <a:pt x="3242" y="2226"/>
                  <a:pt x="3075" y="2344"/>
                  <a:pt x="2898" y="2413"/>
                </a:cubicBezTo>
                <a:cubicBezTo>
                  <a:pt x="2804" y="2450"/>
                  <a:pt x="2559" y="2500"/>
                  <a:pt x="2574" y="2674"/>
                </a:cubicBezTo>
                <a:cubicBezTo>
                  <a:pt x="2584" y="2801"/>
                  <a:pt x="2315" y="2630"/>
                  <a:pt x="2302" y="2618"/>
                </a:cubicBezTo>
                <a:cubicBezTo>
                  <a:pt x="2377" y="2566"/>
                  <a:pt x="2604" y="2549"/>
                  <a:pt x="2395" y="2412"/>
                </a:cubicBezTo>
                <a:cubicBezTo>
                  <a:pt x="2245" y="2314"/>
                  <a:pt x="2091" y="2321"/>
                  <a:pt x="1929" y="2318"/>
                </a:cubicBezTo>
                <a:cubicBezTo>
                  <a:pt x="1937" y="2433"/>
                  <a:pt x="1993" y="2432"/>
                  <a:pt x="2055" y="2493"/>
                </a:cubicBezTo>
                <a:cubicBezTo>
                  <a:pt x="2046" y="2478"/>
                  <a:pt x="2074" y="2893"/>
                  <a:pt x="2169" y="2758"/>
                </a:cubicBezTo>
                <a:cubicBezTo>
                  <a:pt x="2163" y="2794"/>
                  <a:pt x="2158" y="2830"/>
                  <a:pt x="2156" y="2867"/>
                </a:cubicBezTo>
                <a:cubicBezTo>
                  <a:pt x="1969" y="2739"/>
                  <a:pt x="1862" y="2828"/>
                  <a:pt x="1686" y="2928"/>
                </a:cubicBezTo>
                <a:cubicBezTo>
                  <a:pt x="1500" y="3032"/>
                  <a:pt x="1637" y="3097"/>
                  <a:pt x="1707" y="3188"/>
                </a:cubicBezTo>
                <a:cubicBezTo>
                  <a:pt x="1680" y="3244"/>
                  <a:pt x="1425" y="3107"/>
                  <a:pt x="1395" y="3091"/>
                </a:cubicBezTo>
                <a:cubicBezTo>
                  <a:pt x="1324" y="3053"/>
                  <a:pt x="1217" y="3102"/>
                  <a:pt x="1148" y="3140"/>
                </a:cubicBezTo>
                <a:cubicBezTo>
                  <a:pt x="1225" y="3269"/>
                  <a:pt x="1313" y="3308"/>
                  <a:pt x="1425" y="3357"/>
                </a:cubicBezTo>
                <a:cubicBezTo>
                  <a:pt x="1277" y="3479"/>
                  <a:pt x="1067" y="3145"/>
                  <a:pt x="988" y="3080"/>
                </a:cubicBezTo>
                <a:cubicBezTo>
                  <a:pt x="1015" y="3019"/>
                  <a:pt x="1044" y="2956"/>
                  <a:pt x="990" y="2892"/>
                </a:cubicBezTo>
                <a:cubicBezTo>
                  <a:pt x="1164" y="2934"/>
                  <a:pt x="2149" y="3013"/>
                  <a:pt x="1702" y="2525"/>
                </a:cubicBezTo>
                <a:cubicBezTo>
                  <a:pt x="1515" y="2321"/>
                  <a:pt x="920" y="2139"/>
                  <a:pt x="679" y="2180"/>
                </a:cubicBezTo>
                <a:cubicBezTo>
                  <a:pt x="673" y="2165"/>
                  <a:pt x="662" y="2161"/>
                  <a:pt x="647" y="2169"/>
                </a:cubicBezTo>
                <a:cubicBezTo>
                  <a:pt x="682" y="2169"/>
                  <a:pt x="559" y="2063"/>
                  <a:pt x="524" y="2055"/>
                </a:cubicBezTo>
                <a:cubicBezTo>
                  <a:pt x="469" y="2042"/>
                  <a:pt x="389" y="2064"/>
                  <a:pt x="328" y="2064"/>
                </a:cubicBezTo>
                <a:cubicBezTo>
                  <a:pt x="303" y="2062"/>
                  <a:pt x="285" y="2082"/>
                  <a:pt x="285" y="2118"/>
                </a:cubicBezTo>
                <a:cubicBezTo>
                  <a:pt x="266" y="2111"/>
                  <a:pt x="247" y="2104"/>
                  <a:pt x="228" y="2096"/>
                </a:cubicBezTo>
                <a:lnTo>
                  <a:pt x="222" y="2118"/>
                </a:lnTo>
                <a:lnTo>
                  <a:pt x="216" y="2112"/>
                </a:lnTo>
                <a:cubicBezTo>
                  <a:pt x="127" y="2182"/>
                  <a:pt x="72" y="2289"/>
                  <a:pt x="1" y="2385"/>
                </a:cubicBezTo>
                <a:cubicBezTo>
                  <a:pt x="38" y="2448"/>
                  <a:pt x="247" y="2553"/>
                  <a:pt x="193" y="2625"/>
                </a:cubicBezTo>
                <a:cubicBezTo>
                  <a:pt x="81" y="2777"/>
                  <a:pt x="241" y="2837"/>
                  <a:pt x="293" y="2954"/>
                </a:cubicBezTo>
                <a:cubicBezTo>
                  <a:pt x="170" y="3047"/>
                  <a:pt x="319" y="3299"/>
                  <a:pt x="399" y="3343"/>
                </a:cubicBezTo>
                <a:cubicBezTo>
                  <a:pt x="293" y="3475"/>
                  <a:pt x="513" y="3547"/>
                  <a:pt x="565" y="3597"/>
                </a:cubicBezTo>
                <a:cubicBezTo>
                  <a:pt x="607" y="3637"/>
                  <a:pt x="411" y="3845"/>
                  <a:pt x="390" y="3866"/>
                </a:cubicBezTo>
                <a:cubicBezTo>
                  <a:pt x="245" y="4011"/>
                  <a:pt x="119" y="4126"/>
                  <a:pt x="0" y="4306"/>
                </a:cubicBezTo>
                <a:cubicBezTo>
                  <a:pt x="85" y="4284"/>
                  <a:pt x="190" y="4172"/>
                  <a:pt x="266" y="4167"/>
                </a:cubicBezTo>
                <a:cubicBezTo>
                  <a:pt x="283" y="4197"/>
                  <a:pt x="302" y="4226"/>
                  <a:pt x="323" y="4253"/>
                </a:cubicBezTo>
                <a:cubicBezTo>
                  <a:pt x="222" y="4199"/>
                  <a:pt x="162" y="4293"/>
                  <a:pt x="201" y="4411"/>
                </a:cubicBezTo>
                <a:cubicBezTo>
                  <a:pt x="162" y="4553"/>
                  <a:pt x="82" y="4589"/>
                  <a:pt x="175" y="4758"/>
                </a:cubicBezTo>
                <a:cubicBezTo>
                  <a:pt x="78" y="4850"/>
                  <a:pt x="345" y="5225"/>
                  <a:pt x="406" y="5296"/>
                </a:cubicBezTo>
                <a:cubicBezTo>
                  <a:pt x="430" y="5300"/>
                  <a:pt x="451" y="5290"/>
                  <a:pt x="470" y="5265"/>
                </a:cubicBezTo>
                <a:cubicBezTo>
                  <a:pt x="470" y="5264"/>
                  <a:pt x="471" y="5244"/>
                  <a:pt x="471" y="5244"/>
                </a:cubicBezTo>
                <a:cubicBezTo>
                  <a:pt x="468" y="5227"/>
                  <a:pt x="693" y="5374"/>
                  <a:pt x="723" y="5409"/>
                </a:cubicBezTo>
                <a:cubicBezTo>
                  <a:pt x="683" y="5491"/>
                  <a:pt x="819" y="5677"/>
                  <a:pt x="881" y="5677"/>
                </a:cubicBezTo>
                <a:cubicBezTo>
                  <a:pt x="881" y="5776"/>
                  <a:pt x="983" y="5725"/>
                  <a:pt x="1012" y="5801"/>
                </a:cubicBezTo>
                <a:cubicBezTo>
                  <a:pt x="1013" y="5803"/>
                  <a:pt x="840" y="5849"/>
                  <a:pt x="814" y="5864"/>
                </a:cubicBezTo>
                <a:cubicBezTo>
                  <a:pt x="850" y="5933"/>
                  <a:pt x="902" y="6106"/>
                  <a:pt x="948" y="6152"/>
                </a:cubicBezTo>
                <a:cubicBezTo>
                  <a:pt x="1062" y="6265"/>
                  <a:pt x="1164" y="6069"/>
                  <a:pt x="1293" y="6203"/>
                </a:cubicBezTo>
                <a:cubicBezTo>
                  <a:pt x="1286" y="6211"/>
                  <a:pt x="1265" y="6237"/>
                  <a:pt x="1265" y="6237"/>
                </a:cubicBezTo>
                <a:cubicBezTo>
                  <a:pt x="1317" y="6354"/>
                  <a:pt x="1446" y="6350"/>
                  <a:pt x="1481" y="6450"/>
                </a:cubicBezTo>
                <a:cubicBezTo>
                  <a:pt x="1563" y="6681"/>
                  <a:pt x="1653" y="6696"/>
                  <a:pt x="1848" y="6592"/>
                </a:cubicBezTo>
                <a:cubicBezTo>
                  <a:pt x="1905" y="6655"/>
                  <a:pt x="1926" y="6720"/>
                  <a:pt x="2004" y="6723"/>
                </a:cubicBezTo>
                <a:lnTo>
                  <a:pt x="2009" y="6693"/>
                </a:lnTo>
                <a:cubicBezTo>
                  <a:pt x="2095" y="6686"/>
                  <a:pt x="2174" y="6765"/>
                  <a:pt x="2257" y="6780"/>
                </a:cubicBezTo>
                <a:cubicBezTo>
                  <a:pt x="2237" y="6906"/>
                  <a:pt x="2273" y="6983"/>
                  <a:pt x="2267" y="7093"/>
                </a:cubicBezTo>
                <a:cubicBezTo>
                  <a:pt x="2263" y="7128"/>
                  <a:pt x="2226" y="7132"/>
                  <a:pt x="2204" y="7126"/>
                </a:cubicBezTo>
                <a:lnTo>
                  <a:pt x="2204" y="7098"/>
                </a:lnTo>
                <a:cubicBezTo>
                  <a:pt x="2092" y="7098"/>
                  <a:pt x="1997" y="7275"/>
                  <a:pt x="2085" y="7391"/>
                </a:cubicBezTo>
                <a:cubicBezTo>
                  <a:pt x="2053" y="7403"/>
                  <a:pt x="2020" y="7412"/>
                  <a:pt x="1986" y="7420"/>
                </a:cubicBezTo>
                <a:cubicBezTo>
                  <a:pt x="1976" y="7486"/>
                  <a:pt x="2003" y="7524"/>
                  <a:pt x="2047" y="7561"/>
                </a:cubicBezTo>
                <a:cubicBezTo>
                  <a:pt x="2027" y="7581"/>
                  <a:pt x="2018" y="7606"/>
                  <a:pt x="2021" y="7635"/>
                </a:cubicBezTo>
                <a:cubicBezTo>
                  <a:pt x="2021" y="7661"/>
                  <a:pt x="1989" y="7660"/>
                  <a:pt x="1990" y="7711"/>
                </a:cubicBezTo>
                <a:cubicBezTo>
                  <a:pt x="1945" y="7720"/>
                  <a:pt x="1898" y="7715"/>
                  <a:pt x="1853" y="7703"/>
                </a:cubicBezTo>
                <a:cubicBezTo>
                  <a:pt x="1856" y="7754"/>
                  <a:pt x="1852" y="7802"/>
                  <a:pt x="1841" y="7849"/>
                </a:cubicBezTo>
                <a:cubicBezTo>
                  <a:pt x="2028" y="7973"/>
                  <a:pt x="2205" y="8066"/>
                  <a:pt x="2363" y="8238"/>
                </a:cubicBezTo>
                <a:cubicBezTo>
                  <a:pt x="2296" y="8346"/>
                  <a:pt x="2888" y="8477"/>
                  <a:pt x="2736" y="8789"/>
                </a:cubicBezTo>
                <a:cubicBezTo>
                  <a:pt x="2487" y="8980"/>
                  <a:pt x="2231" y="8785"/>
                  <a:pt x="1999" y="8788"/>
                </a:cubicBezTo>
                <a:cubicBezTo>
                  <a:pt x="1930" y="8781"/>
                  <a:pt x="1954" y="8678"/>
                  <a:pt x="1835" y="8708"/>
                </a:cubicBezTo>
                <a:cubicBezTo>
                  <a:pt x="1704" y="8534"/>
                  <a:pt x="1349" y="8634"/>
                  <a:pt x="1224" y="8736"/>
                </a:cubicBezTo>
                <a:cubicBezTo>
                  <a:pt x="1102" y="8835"/>
                  <a:pt x="682" y="8887"/>
                  <a:pt x="661" y="8607"/>
                </a:cubicBezTo>
                <a:cubicBezTo>
                  <a:pt x="631" y="8603"/>
                  <a:pt x="588" y="8600"/>
                  <a:pt x="561" y="8615"/>
                </a:cubicBezTo>
                <a:cubicBezTo>
                  <a:pt x="559" y="8612"/>
                  <a:pt x="535" y="8572"/>
                  <a:pt x="535" y="8572"/>
                </a:cubicBezTo>
                <a:cubicBezTo>
                  <a:pt x="414" y="8571"/>
                  <a:pt x="318" y="8636"/>
                  <a:pt x="375" y="8778"/>
                </a:cubicBezTo>
                <a:cubicBezTo>
                  <a:pt x="343" y="8806"/>
                  <a:pt x="256" y="9007"/>
                  <a:pt x="329" y="9043"/>
                </a:cubicBezTo>
                <a:cubicBezTo>
                  <a:pt x="249" y="9165"/>
                  <a:pt x="305" y="9330"/>
                  <a:pt x="421" y="9335"/>
                </a:cubicBezTo>
                <a:cubicBezTo>
                  <a:pt x="437" y="9593"/>
                  <a:pt x="540" y="10027"/>
                  <a:pt x="785" y="10022"/>
                </a:cubicBezTo>
                <a:cubicBezTo>
                  <a:pt x="850" y="10027"/>
                  <a:pt x="1167" y="10311"/>
                  <a:pt x="1169" y="10017"/>
                </a:cubicBezTo>
                <a:cubicBezTo>
                  <a:pt x="1171" y="9906"/>
                  <a:pt x="1447" y="10181"/>
                  <a:pt x="1452" y="10184"/>
                </a:cubicBezTo>
                <a:cubicBezTo>
                  <a:pt x="1603" y="10274"/>
                  <a:pt x="1696" y="10029"/>
                  <a:pt x="1800" y="10012"/>
                </a:cubicBezTo>
                <a:cubicBezTo>
                  <a:pt x="1854" y="10012"/>
                  <a:pt x="1899" y="10096"/>
                  <a:pt x="1959" y="10058"/>
                </a:cubicBezTo>
                <a:cubicBezTo>
                  <a:pt x="1947" y="10128"/>
                  <a:pt x="1993" y="10195"/>
                  <a:pt x="1984" y="10276"/>
                </a:cubicBezTo>
                <a:cubicBezTo>
                  <a:pt x="1984" y="10276"/>
                  <a:pt x="2022" y="10292"/>
                  <a:pt x="2025" y="10293"/>
                </a:cubicBezTo>
                <a:cubicBezTo>
                  <a:pt x="2030" y="10351"/>
                  <a:pt x="2017" y="10414"/>
                  <a:pt x="2045" y="10467"/>
                </a:cubicBezTo>
                <a:cubicBezTo>
                  <a:pt x="1964" y="10561"/>
                  <a:pt x="1951" y="10674"/>
                  <a:pt x="1927" y="10801"/>
                </a:cubicBezTo>
                <a:cubicBezTo>
                  <a:pt x="1848" y="10835"/>
                  <a:pt x="1834" y="11184"/>
                  <a:pt x="1763" y="11286"/>
                </a:cubicBezTo>
                <a:cubicBezTo>
                  <a:pt x="1769" y="11302"/>
                  <a:pt x="2052" y="12076"/>
                  <a:pt x="1847" y="12076"/>
                </a:cubicBezTo>
                <a:cubicBezTo>
                  <a:pt x="1847" y="12076"/>
                  <a:pt x="1847" y="12076"/>
                  <a:pt x="1847" y="12076"/>
                </a:cubicBezTo>
                <a:lnTo>
                  <a:pt x="1837" y="12090"/>
                </a:lnTo>
                <a:cubicBezTo>
                  <a:pt x="1850" y="12113"/>
                  <a:pt x="1854" y="12139"/>
                  <a:pt x="1849" y="12168"/>
                </a:cubicBezTo>
                <a:lnTo>
                  <a:pt x="1968" y="12175"/>
                </a:lnTo>
                <a:cubicBezTo>
                  <a:pt x="2045" y="12306"/>
                  <a:pt x="2361" y="12799"/>
                  <a:pt x="2334" y="12928"/>
                </a:cubicBezTo>
                <a:cubicBezTo>
                  <a:pt x="2299" y="13089"/>
                  <a:pt x="2510" y="13140"/>
                  <a:pt x="2556" y="13229"/>
                </a:cubicBezTo>
                <a:cubicBezTo>
                  <a:pt x="2628" y="13365"/>
                  <a:pt x="2637" y="13466"/>
                  <a:pt x="2665" y="13606"/>
                </a:cubicBezTo>
                <a:cubicBezTo>
                  <a:pt x="2622" y="13995"/>
                  <a:pt x="2974" y="14177"/>
                  <a:pt x="3079" y="14465"/>
                </a:cubicBezTo>
                <a:cubicBezTo>
                  <a:pt x="3147" y="14644"/>
                  <a:pt x="3352" y="14818"/>
                  <a:pt x="3369" y="15010"/>
                </a:cubicBezTo>
                <a:cubicBezTo>
                  <a:pt x="3389" y="15237"/>
                  <a:pt x="3410" y="15717"/>
                  <a:pt x="3527" y="15914"/>
                </a:cubicBezTo>
                <a:cubicBezTo>
                  <a:pt x="3685" y="16178"/>
                  <a:pt x="3909" y="15819"/>
                  <a:pt x="4050" y="15819"/>
                </a:cubicBezTo>
                <a:cubicBezTo>
                  <a:pt x="4318" y="15819"/>
                  <a:pt x="4521" y="15540"/>
                  <a:pt x="4746" y="15429"/>
                </a:cubicBezTo>
                <a:cubicBezTo>
                  <a:pt x="4904" y="15350"/>
                  <a:pt x="5142" y="15358"/>
                  <a:pt x="5113" y="15092"/>
                </a:cubicBezTo>
                <a:cubicBezTo>
                  <a:pt x="5108" y="15051"/>
                  <a:pt x="5191" y="15049"/>
                  <a:pt x="5224" y="15056"/>
                </a:cubicBezTo>
                <a:cubicBezTo>
                  <a:pt x="5227" y="15026"/>
                  <a:pt x="5232" y="14996"/>
                  <a:pt x="5238" y="14967"/>
                </a:cubicBezTo>
                <a:cubicBezTo>
                  <a:pt x="5244" y="14974"/>
                  <a:pt x="5256" y="14987"/>
                  <a:pt x="5262" y="14995"/>
                </a:cubicBezTo>
                <a:cubicBezTo>
                  <a:pt x="5385" y="14964"/>
                  <a:pt x="5690" y="14881"/>
                  <a:pt x="5666" y="14697"/>
                </a:cubicBezTo>
                <a:cubicBezTo>
                  <a:pt x="5680" y="14778"/>
                  <a:pt x="5943" y="14440"/>
                  <a:pt x="5924" y="14454"/>
                </a:cubicBezTo>
                <a:cubicBezTo>
                  <a:pt x="5959" y="14436"/>
                  <a:pt x="6024" y="14445"/>
                  <a:pt x="6061" y="14446"/>
                </a:cubicBezTo>
                <a:lnTo>
                  <a:pt x="6064" y="14398"/>
                </a:lnTo>
                <a:lnTo>
                  <a:pt x="6088" y="14378"/>
                </a:lnTo>
                <a:cubicBezTo>
                  <a:pt x="6071" y="14281"/>
                  <a:pt x="6052" y="14106"/>
                  <a:pt x="6092" y="14014"/>
                </a:cubicBezTo>
                <a:cubicBezTo>
                  <a:pt x="6217" y="14121"/>
                  <a:pt x="6399" y="13516"/>
                  <a:pt x="6416" y="13402"/>
                </a:cubicBezTo>
                <a:cubicBezTo>
                  <a:pt x="6337" y="13408"/>
                  <a:pt x="6330" y="13381"/>
                  <a:pt x="6268" y="13333"/>
                </a:cubicBezTo>
                <a:cubicBezTo>
                  <a:pt x="6116" y="13110"/>
                  <a:pt x="6087" y="13191"/>
                  <a:pt x="5900" y="13054"/>
                </a:cubicBezTo>
                <a:cubicBezTo>
                  <a:pt x="5695" y="12901"/>
                  <a:pt x="5769" y="12651"/>
                  <a:pt x="5663" y="12468"/>
                </a:cubicBezTo>
                <a:cubicBezTo>
                  <a:pt x="5681" y="12448"/>
                  <a:pt x="5685" y="12420"/>
                  <a:pt x="5677" y="12383"/>
                </a:cubicBezTo>
                <a:cubicBezTo>
                  <a:pt x="5773" y="12362"/>
                  <a:pt x="5783" y="12641"/>
                  <a:pt x="5830" y="12702"/>
                </a:cubicBezTo>
                <a:cubicBezTo>
                  <a:pt x="5907" y="12800"/>
                  <a:pt x="6096" y="12798"/>
                  <a:pt x="6204" y="12813"/>
                </a:cubicBezTo>
                <a:cubicBezTo>
                  <a:pt x="6343" y="12843"/>
                  <a:pt x="6560" y="12984"/>
                  <a:pt x="6684" y="12921"/>
                </a:cubicBezTo>
                <a:cubicBezTo>
                  <a:pt x="6904" y="12809"/>
                  <a:pt x="7142" y="12917"/>
                  <a:pt x="7377" y="12831"/>
                </a:cubicBezTo>
                <a:cubicBezTo>
                  <a:pt x="7381" y="12857"/>
                  <a:pt x="7392" y="12874"/>
                  <a:pt x="7409" y="12884"/>
                </a:cubicBezTo>
                <a:cubicBezTo>
                  <a:pt x="7402" y="12977"/>
                  <a:pt x="7445" y="12999"/>
                  <a:pt x="7507" y="12996"/>
                </a:cubicBezTo>
                <a:cubicBezTo>
                  <a:pt x="7525" y="13107"/>
                  <a:pt x="7595" y="13302"/>
                  <a:pt x="7708" y="13243"/>
                </a:cubicBezTo>
                <a:cubicBezTo>
                  <a:pt x="7799" y="13358"/>
                  <a:pt x="7948" y="13516"/>
                  <a:pt x="8082" y="13456"/>
                </a:cubicBezTo>
                <a:cubicBezTo>
                  <a:pt x="8040" y="13536"/>
                  <a:pt x="7899" y="13395"/>
                  <a:pt x="7863" y="13512"/>
                </a:cubicBezTo>
                <a:cubicBezTo>
                  <a:pt x="7838" y="13591"/>
                  <a:pt x="7985" y="13734"/>
                  <a:pt x="8024" y="13785"/>
                </a:cubicBezTo>
                <a:cubicBezTo>
                  <a:pt x="8174" y="13978"/>
                  <a:pt x="8328" y="14099"/>
                  <a:pt x="8506" y="13859"/>
                </a:cubicBezTo>
                <a:cubicBezTo>
                  <a:pt x="8506" y="13859"/>
                  <a:pt x="8511" y="13822"/>
                  <a:pt x="8511" y="13821"/>
                </a:cubicBezTo>
                <a:cubicBezTo>
                  <a:pt x="8597" y="14372"/>
                  <a:pt x="8658" y="15060"/>
                  <a:pt x="8944" y="15536"/>
                </a:cubicBezTo>
                <a:cubicBezTo>
                  <a:pt x="9051" y="15713"/>
                  <a:pt x="9457" y="17441"/>
                  <a:pt x="9713" y="17105"/>
                </a:cubicBezTo>
                <a:cubicBezTo>
                  <a:pt x="9784" y="17012"/>
                  <a:pt x="9781" y="16935"/>
                  <a:pt x="9870" y="16876"/>
                </a:cubicBezTo>
                <a:cubicBezTo>
                  <a:pt x="9961" y="16816"/>
                  <a:pt x="9845" y="16697"/>
                  <a:pt x="9968" y="16619"/>
                </a:cubicBezTo>
                <a:cubicBezTo>
                  <a:pt x="9997" y="16525"/>
                  <a:pt x="10045" y="16545"/>
                  <a:pt x="10043" y="16402"/>
                </a:cubicBezTo>
                <a:cubicBezTo>
                  <a:pt x="10042" y="16315"/>
                  <a:pt x="9996" y="16229"/>
                  <a:pt x="10027" y="16148"/>
                </a:cubicBezTo>
                <a:cubicBezTo>
                  <a:pt x="10149" y="15836"/>
                  <a:pt x="9994" y="15606"/>
                  <a:pt x="10014" y="15300"/>
                </a:cubicBezTo>
                <a:cubicBezTo>
                  <a:pt x="10017" y="15254"/>
                  <a:pt x="10218" y="15132"/>
                  <a:pt x="10207" y="15132"/>
                </a:cubicBezTo>
                <a:cubicBezTo>
                  <a:pt x="10321" y="15132"/>
                  <a:pt x="10494" y="14748"/>
                  <a:pt x="10602" y="14634"/>
                </a:cubicBezTo>
                <a:cubicBezTo>
                  <a:pt x="10691" y="14538"/>
                  <a:pt x="10737" y="14284"/>
                  <a:pt x="10862" y="14259"/>
                </a:cubicBezTo>
                <a:cubicBezTo>
                  <a:pt x="10992" y="14233"/>
                  <a:pt x="11028" y="14088"/>
                  <a:pt x="11120" y="13995"/>
                </a:cubicBezTo>
                <a:cubicBezTo>
                  <a:pt x="10889" y="13710"/>
                  <a:pt x="11322" y="13817"/>
                  <a:pt x="11401" y="13792"/>
                </a:cubicBezTo>
                <a:lnTo>
                  <a:pt x="11405" y="13809"/>
                </a:lnTo>
                <a:cubicBezTo>
                  <a:pt x="11513" y="13796"/>
                  <a:pt x="11840" y="13734"/>
                  <a:pt x="11758" y="13509"/>
                </a:cubicBezTo>
                <a:cubicBezTo>
                  <a:pt x="11915" y="13567"/>
                  <a:pt x="11804" y="13766"/>
                  <a:pt x="11804" y="13858"/>
                </a:cubicBezTo>
                <a:cubicBezTo>
                  <a:pt x="11855" y="13932"/>
                  <a:pt x="11916" y="14007"/>
                  <a:pt x="11963" y="14088"/>
                </a:cubicBezTo>
                <a:cubicBezTo>
                  <a:pt x="12025" y="14193"/>
                  <a:pt x="12122" y="14206"/>
                  <a:pt x="12170" y="14271"/>
                </a:cubicBezTo>
                <a:cubicBezTo>
                  <a:pt x="12116" y="14362"/>
                  <a:pt x="12121" y="14561"/>
                  <a:pt x="12259" y="14543"/>
                </a:cubicBezTo>
                <a:lnTo>
                  <a:pt x="12265" y="14517"/>
                </a:lnTo>
                <a:cubicBezTo>
                  <a:pt x="12405" y="14547"/>
                  <a:pt x="12309" y="15318"/>
                  <a:pt x="12423" y="15210"/>
                </a:cubicBezTo>
                <a:cubicBezTo>
                  <a:pt x="12494" y="15441"/>
                  <a:pt x="12802" y="15118"/>
                  <a:pt x="12844" y="14997"/>
                </a:cubicBezTo>
                <a:cubicBezTo>
                  <a:pt x="12856" y="15037"/>
                  <a:pt x="12878" y="15060"/>
                  <a:pt x="12911" y="15067"/>
                </a:cubicBezTo>
                <a:cubicBezTo>
                  <a:pt x="12902" y="15223"/>
                  <a:pt x="13012" y="15781"/>
                  <a:pt x="13143" y="15859"/>
                </a:cubicBezTo>
                <a:lnTo>
                  <a:pt x="13144" y="15854"/>
                </a:lnTo>
                <a:cubicBezTo>
                  <a:pt x="13197" y="16052"/>
                  <a:pt x="13142" y="16636"/>
                  <a:pt x="13250" y="16730"/>
                </a:cubicBezTo>
                <a:cubicBezTo>
                  <a:pt x="13233" y="16829"/>
                  <a:pt x="13157" y="17177"/>
                  <a:pt x="13261" y="17253"/>
                </a:cubicBezTo>
                <a:cubicBezTo>
                  <a:pt x="13268" y="17259"/>
                  <a:pt x="13275" y="17264"/>
                  <a:pt x="13282" y="17267"/>
                </a:cubicBezTo>
                <a:cubicBezTo>
                  <a:pt x="13318" y="17267"/>
                  <a:pt x="13328" y="17221"/>
                  <a:pt x="13335" y="17183"/>
                </a:cubicBezTo>
                <a:cubicBezTo>
                  <a:pt x="13489" y="17447"/>
                  <a:pt x="13664" y="17696"/>
                  <a:pt x="13664" y="18046"/>
                </a:cubicBezTo>
                <a:cubicBezTo>
                  <a:pt x="13665" y="18236"/>
                  <a:pt x="13986" y="18792"/>
                  <a:pt x="14143" y="18792"/>
                </a:cubicBezTo>
                <a:lnTo>
                  <a:pt x="14108" y="18792"/>
                </a:lnTo>
                <a:lnTo>
                  <a:pt x="14340" y="18993"/>
                </a:lnTo>
                <a:cubicBezTo>
                  <a:pt x="14381" y="18801"/>
                  <a:pt x="14438" y="18554"/>
                  <a:pt x="14266" y="18407"/>
                </a:cubicBezTo>
                <a:cubicBezTo>
                  <a:pt x="14222" y="18370"/>
                  <a:pt x="14205" y="18151"/>
                  <a:pt x="14226" y="18088"/>
                </a:cubicBezTo>
                <a:cubicBezTo>
                  <a:pt x="14290" y="17896"/>
                  <a:pt x="14071" y="17539"/>
                  <a:pt x="13928" y="17499"/>
                </a:cubicBezTo>
                <a:cubicBezTo>
                  <a:pt x="13881" y="17415"/>
                  <a:pt x="13661" y="17373"/>
                  <a:pt x="13645" y="17259"/>
                </a:cubicBezTo>
                <a:cubicBezTo>
                  <a:pt x="13745" y="17168"/>
                  <a:pt x="13574" y="16889"/>
                  <a:pt x="13559" y="16792"/>
                </a:cubicBezTo>
                <a:cubicBezTo>
                  <a:pt x="13529" y="16788"/>
                  <a:pt x="13501" y="16791"/>
                  <a:pt x="13472" y="16803"/>
                </a:cubicBezTo>
                <a:cubicBezTo>
                  <a:pt x="13429" y="16495"/>
                  <a:pt x="13632" y="16145"/>
                  <a:pt x="13549" y="15846"/>
                </a:cubicBezTo>
                <a:cubicBezTo>
                  <a:pt x="13573" y="15845"/>
                  <a:pt x="13595" y="15843"/>
                  <a:pt x="13619" y="15840"/>
                </a:cubicBezTo>
                <a:cubicBezTo>
                  <a:pt x="13609" y="16099"/>
                  <a:pt x="13684" y="15951"/>
                  <a:pt x="13779" y="16047"/>
                </a:cubicBezTo>
                <a:cubicBezTo>
                  <a:pt x="13864" y="16023"/>
                  <a:pt x="13870" y="16267"/>
                  <a:pt x="13976" y="16189"/>
                </a:cubicBezTo>
                <a:cubicBezTo>
                  <a:pt x="14020" y="16272"/>
                  <a:pt x="14042" y="16563"/>
                  <a:pt x="14148" y="16421"/>
                </a:cubicBezTo>
                <a:cubicBezTo>
                  <a:pt x="14160" y="16430"/>
                  <a:pt x="14169" y="16479"/>
                  <a:pt x="14172" y="16497"/>
                </a:cubicBezTo>
                <a:cubicBezTo>
                  <a:pt x="14248" y="16535"/>
                  <a:pt x="14324" y="16665"/>
                  <a:pt x="14393" y="16675"/>
                </a:cubicBezTo>
                <a:cubicBezTo>
                  <a:pt x="14349" y="16802"/>
                  <a:pt x="14378" y="16936"/>
                  <a:pt x="14328" y="17065"/>
                </a:cubicBezTo>
                <a:cubicBezTo>
                  <a:pt x="14423" y="17103"/>
                  <a:pt x="14649" y="16942"/>
                  <a:pt x="14681" y="16817"/>
                </a:cubicBezTo>
                <a:cubicBezTo>
                  <a:pt x="14747" y="16823"/>
                  <a:pt x="14771" y="16679"/>
                  <a:pt x="14777" y="16616"/>
                </a:cubicBezTo>
                <a:lnTo>
                  <a:pt x="14795" y="16636"/>
                </a:lnTo>
                <a:cubicBezTo>
                  <a:pt x="14920" y="16540"/>
                  <a:pt x="15138" y="16456"/>
                  <a:pt x="15162" y="16247"/>
                </a:cubicBezTo>
                <a:cubicBezTo>
                  <a:pt x="15186" y="16037"/>
                  <a:pt x="15149" y="15872"/>
                  <a:pt x="15136" y="15668"/>
                </a:cubicBezTo>
                <a:cubicBezTo>
                  <a:pt x="15108" y="15228"/>
                  <a:pt x="14762" y="15014"/>
                  <a:pt x="14564" y="14711"/>
                </a:cubicBezTo>
                <a:cubicBezTo>
                  <a:pt x="14528" y="14587"/>
                  <a:pt x="14270" y="14343"/>
                  <a:pt x="14428" y="14189"/>
                </a:cubicBezTo>
                <a:cubicBezTo>
                  <a:pt x="14501" y="14117"/>
                  <a:pt x="14517" y="14012"/>
                  <a:pt x="14591" y="13938"/>
                </a:cubicBezTo>
                <a:cubicBezTo>
                  <a:pt x="14638" y="13892"/>
                  <a:pt x="14715" y="13816"/>
                  <a:pt x="14743" y="13760"/>
                </a:cubicBezTo>
                <a:cubicBezTo>
                  <a:pt x="14780" y="13785"/>
                  <a:pt x="14880" y="13924"/>
                  <a:pt x="14917" y="13797"/>
                </a:cubicBezTo>
                <a:cubicBezTo>
                  <a:pt x="14919" y="13798"/>
                  <a:pt x="14921" y="13800"/>
                  <a:pt x="14924" y="13802"/>
                </a:cubicBezTo>
                <a:cubicBezTo>
                  <a:pt x="14874" y="13903"/>
                  <a:pt x="14944" y="14050"/>
                  <a:pt x="15003" y="14121"/>
                </a:cubicBezTo>
                <a:cubicBezTo>
                  <a:pt x="14696" y="14139"/>
                  <a:pt x="14934" y="14721"/>
                  <a:pt x="15063" y="14532"/>
                </a:cubicBezTo>
                <a:cubicBezTo>
                  <a:pt x="15168" y="14522"/>
                  <a:pt x="15172" y="14273"/>
                  <a:pt x="15207" y="14188"/>
                </a:cubicBezTo>
                <a:cubicBezTo>
                  <a:pt x="15207" y="14093"/>
                  <a:pt x="15157" y="14104"/>
                  <a:pt x="15102" y="14115"/>
                </a:cubicBezTo>
                <a:cubicBezTo>
                  <a:pt x="15199" y="14030"/>
                  <a:pt x="15118" y="14016"/>
                  <a:pt x="15104" y="13913"/>
                </a:cubicBezTo>
                <a:cubicBezTo>
                  <a:pt x="15092" y="13820"/>
                  <a:pt x="15241" y="13850"/>
                  <a:pt x="15282" y="13822"/>
                </a:cubicBezTo>
                <a:cubicBezTo>
                  <a:pt x="15359" y="13767"/>
                  <a:pt x="15439" y="13745"/>
                  <a:pt x="15523" y="13688"/>
                </a:cubicBezTo>
                <a:cubicBezTo>
                  <a:pt x="15526" y="13681"/>
                  <a:pt x="15528" y="13675"/>
                  <a:pt x="15529" y="13668"/>
                </a:cubicBezTo>
                <a:cubicBezTo>
                  <a:pt x="15564" y="13634"/>
                  <a:pt x="15623" y="13651"/>
                  <a:pt x="15631" y="13574"/>
                </a:cubicBezTo>
                <a:cubicBezTo>
                  <a:pt x="15690" y="13627"/>
                  <a:pt x="16074" y="13471"/>
                  <a:pt x="16095" y="13390"/>
                </a:cubicBezTo>
                <a:cubicBezTo>
                  <a:pt x="16114" y="13308"/>
                  <a:pt x="16263" y="13203"/>
                  <a:pt x="16314" y="13153"/>
                </a:cubicBezTo>
                <a:cubicBezTo>
                  <a:pt x="16369" y="13097"/>
                  <a:pt x="16451" y="12820"/>
                  <a:pt x="16493" y="12794"/>
                </a:cubicBezTo>
                <a:lnTo>
                  <a:pt x="16510" y="12781"/>
                </a:lnTo>
                <a:cubicBezTo>
                  <a:pt x="16523" y="12573"/>
                  <a:pt x="16584" y="12331"/>
                  <a:pt x="16643" y="12135"/>
                </a:cubicBezTo>
                <a:cubicBezTo>
                  <a:pt x="16777" y="12226"/>
                  <a:pt x="16741" y="11976"/>
                  <a:pt x="16718" y="11897"/>
                </a:cubicBezTo>
                <a:lnTo>
                  <a:pt x="16759" y="11906"/>
                </a:lnTo>
                <a:cubicBezTo>
                  <a:pt x="16726" y="11747"/>
                  <a:pt x="16728" y="11491"/>
                  <a:pt x="16531" y="11506"/>
                </a:cubicBezTo>
                <a:cubicBezTo>
                  <a:pt x="16589" y="11423"/>
                  <a:pt x="16734" y="11436"/>
                  <a:pt x="16572" y="11272"/>
                </a:cubicBezTo>
                <a:lnTo>
                  <a:pt x="16584" y="11278"/>
                </a:lnTo>
                <a:cubicBezTo>
                  <a:pt x="16598" y="11049"/>
                  <a:pt x="16383" y="11061"/>
                  <a:pt x="16346" y="10916"/>
                </a:cubicBezTo>
                <a:cubicBezTo>
                  <a:pt x="16216" y="10747"/>
                  <a:pt x="16131" y="10449"/>
                  <a:pt x="15922" y="10393"/>
                </a:cubicBezTo>
                <a:cubicBezTo>
                  <a:pt x="15951" y="10281"/>
                  <a:pt x="15996" y="10050"/>
                  <a:pt x="16094" y="10009"/>
                </a:cubicBezTo>
                <a:cubicBezTo>
                  <a:pt x="16162" y="9981"/>
                  <a:pt x="16172" y="9976"/>
                  <a:pt x="16241" y="9976"/>
                </a:cubicBezTo>
                <a:cubicBezTo>
                  <a:pt x="16389" y="9976"/>
                  <a:pt x="16257" y="9717"/>
                  <a:pt x="16138" y="9717"/>
                </a:cubicBezTo>
                <a:cubicBezTo>
                  <a:pt x="16041" y="9717"/>
                  <a:pt x="15947" y="9596"/>
                  <a:pt x="15855" y="9645"/>
                </a:cubicBezTo>
                <a:cubicBezTo>
                  <a:pt x="15815" y="9666"/>
                  <a:pt x="15657" y="9959"/>
                  <a:pt x="15665" y="9700"/>
                </a:cubicBezTo>
                <a:cubicBezTo>
                  <a:pt x="15671" y="9442"/>
                  <a:pt x="15348" y="9696"/>
                  <a:pt x="15343" y="9394"/>
                </a:cubicBezTo>
                <a:cubicBezTo>
                  <a:pt x="15385" y="9432"/>
                  <a:pt x="15449" y="9421"/>
                  <a:pt x="15498" y="9408"/>
                </a:cubicBezTo>
                <a:cubicBezTo>
                  <a:pt x="15515" y="9403"/>
                  <a:pt x="15696" y="9022"/>
                  <a:pt x="15716" y="8978"/>
                </a:cubicBezTo>
                <a:cubicBezTo>
                  <a:pt x="15802" y="8780"/>
                  <a:pt x="15869" y="9340"/>
                  <a:pt x="15873" y="9343"/>
                </a:cubicBezTo>
                <a:cubicBezTo>
                  <a:pt x="15724" y="9412"/>
                  <a:pt x="15962" y="9649"/>
                  <a:pt x="16042" y="9398"/>
                </a:cubicBezTo>
                <a:cubicBezTo>
                  <a:pt x="16080" y="9281"/>
                  <a:pt x="16134" y="9226"/>
                  <a:pt x="16255" y="9232"/>
                </a:cubicBezTo>
                <a:cubicBezTo>
                  <a:pt x="16563" y="9232"/>
                  <a:pt x="16381" y="9707"/>
                  <a:pt x="16600" y="9725"/>
                </a:cubicBezTo>
                <a:cubicBezTo>
                  <a:pt x="16602" y="9756"/>
                  <a:pt x="16619" y="9789"/>
                  <a:pt x="16637" y="9811"/>
                </a:cubicBezTo>
                <a:cubicBezTo>
                  <a:pt x="16663" y="9798"/>
                  <a:pt x="16698" y="9771"/>
                  <a:pt x="16709" y="9740"/>
                </a:cubicBezTo>
                <a:cubicBezTo>
                  <a:pt x="16725" y="9749"/>
                  <a:pt x="16741" y="9758"/>
                  <a:pt x="16757" y="9767"/>
                </a:cubicBezTo>
                <a:cubicBezTo>
                  <a:pt x="16769" y="9767"/>
                  <a:pt x="16778" y="9762"/>
                  <a:pt x="16785" y="9756"/>
                </a:cubicBezTo>
                <a:cubicBezTo>
                  <a:pt x="16797" y="9780"/>
                  <a:pt x="16820" y="9802"/>
                  <a:pt x="16840" y="9817"/>
                </a:cubicBezTo>
                <a:cubicBezTo>
                  <a:pt x="16852" y="9804"/>
                  <a:pt x="16864" y="9788"/>
                  <a:pt x="16873" y="9771"/>
                </a:cubicBezTo>
                <a:cubicBezTo>
                  <a:pt x="16891" y="9805"/>
                  <a:pt x="16902" y="9828"/>
                  <a:pt x="16908" y="9843"/>
                </a:cubicBezTo>
                <a:cubicBezTo>
                  <a:pt x="16847" y="9895"/>
                  <a:pt x="17004" y="10307"/>
                  <a:pt x="17021" y="10410"/>
                </a:cubicBezTo>
                <a:cubicBezTo>
                  <a:pt x="17070" y="10691"/>
                  <a:pt x="17304" y="10518"/>
                  <a:pt x="17449" y="10518"/>
                </a:cubicBezTo>
                <a:cubicBezTo>
                  <a:pt x="17808" y="10215"/>
                  <a:pt x="17261" y="9613"/>
                  <a:pt x="17080" y="9402"/>
                </a:cubicBezTo>
                <a:lnTo>
                  <a:pt x="17048" y="9438"/>
                </a:lnTo>
                <a:cubicBezTo>
                  <a:pt x="16837" y="9231"/>
                  <a:pt x="16887" y="9348"/>
                  <a:pt x="17005" y="9091"/>
                </a:cubicBezTo>
                <a:cubicBezTo>
                  <a:pt x="17099" y="8895"/>
                  <a:pt x="16986" y="8839"/>
                  <a:pt x="17044" y="8633"/>
                </a:cubicBezTo>
                <a:cubicBezTo>
                  <a:pt x="17065" y="8626"/>
                  <a:pt x="17115" y="8634"/>
                  <a:pt x="17137" y="8636"/>
                </a:cubicBezTo>
                <a:cubicBezTo>
                  <a:pt x="17110" y="8586"/>
                  <a:pt x="17077" y="8532"/>
                  <a:pt x="17040" y="8493"/>
                </a:cubicBezTo>
                <a:cubicBezTo>
                  <a:pt x="17041" y="8492"/>
                  <a:pt x="17041" y="8490"/>
                  <a:pt x="17042" y="8488"/>
                </a:cubicBezTo>
                <a:cubicBezTo>
                  <a:pt x="17064" y="8487"/>
                  <a:pt x="17086" y="8479"/>
                  <a:pt x="17106" y="8468"/>
                </a:cubicBezTo>
                <a:cubicBezTo>
                  <a:pt x="17136" y="8432"/>
                  <a:pt x="17150" y="8393"/>
                  <a:pt x="17159" y="8342"/>
                </a:cubicBezTo>
                <a:cubicBezTo>
                  <a:pt x="17315" y="8418"/>
                  <a:pt x="17705" y="8619"/>
                  <a:pt x="17671" y="8117"/>
                </a:cubicBezTo>
                <a:cubicBezTo>
                  <a:pt x="17658" y="7925"/>
                  <a:pt x="17808" y="7735"/>
                  <a:pt x="17792" y="7535"/>
                </a:cubicBezTo>
                <a:cubicBezTo>
                  <a:pt x="17781" y="7389"/>
                  <a:pt x="17861" y="7091"/>
                  <a:pt x="17823" y="6968"/>
                </a:cubicBezTo>
                <a:cubicBezTo>
                  <a:pt x="17754" y="6743"/>
                  <a:pt x="17595" y="6575"/>
                  <a:pt x="17533" y="6355"/>
                </a:cubicBezTo>
                <a:cubicBezTo>
                  <a:pt x="17482" y="6176"/>
                  <a:pt x="17477" y="6076"/>
                  <a:pt x="17371" y="5930"/>
                </a:cubicBezTo>
                <a:cubicBezTo>
                  <a:pt x="17206" y="5696"/>
                  <a:pt x="16964" y="5566"/>
                  <a:pt x="16701" y="5550"/>
                </a:cubicBezTo>
                <a:lnTo>
                  <a:pt x="16702" y="5599"/>
                </a:lnTo>
                <a:lnTo>
                  <a:pt x="16682" y="5620"/>
                </a:lnTo>
                <a:cubicBezTo>
                  <a:pt x="16715" y="5661"/>
                  <a:pt x="16696" y="5689"/>
                  <a:pt x="16705" y="5735"/>
                </a:cubicBezTo>
                <a:cubicBezTo>
                  <a:pt x="16705" y="5735"/>
                  <a:pt x="16701" y="5738"/>
                  <a:pt x="16686" y="5738"/>
                </a:cubicBezTo>
                <a:cubicBezTo>
                  <a:pt x="16699" y="5604"/>
                  <a:pt x="16597" y="5649"/>
                  <a:pt x="16543" y="5672"/>
                </a:cubicBezTo>
                <a:cubicBezTo>
                  <a:pt x="16464" y="5655"/>
                  <a:pt x="16474" y="5478"/>
                  <a:pt x="16362" y="5478"/>
                </a:cubicBezTo>
                <a:cubicBezTo>
                  <a:pt x="16292" y="5478"/>
                  <a:pt x="16248" y="5504"/>
                  <a:pt x="16175" y="5453"/>
                </a:cubicBezTo>
                <a:cubicBezTo>
                  <a:pt x="16188" y="5307"/>
                  <a:pt x="16331" y="5234"/>
                  <a:pt x="16320" y="5059"/>
                </a:cubicBezTo>
                <a:cubicBezTo>
                  <a:pt x="16316" y="4984"/>
                  <a:pt x="16399" y="4871"/>
                  <a:pt x="16438" y="4830"/>
                </a:cubicBezTo>
                <a:cubicBezTo>
                  <a:pt x="16438" y="4780"/>
                  <a:pt x="16419" y="4738"/>
                  <a:pt x="16403" y="4694"/>
                </a:cubicBezTo>
                <a:cubicBezTo>
                  <a:pt x="16485" y="4410"/>
                  <a:pt x="16622" y="4513"/>
                  <a:pt x="16822" y="4502"/>
                </a:cubicBezTo>
                <a:cubicBezTo>
                  <a:pt x="17017" y="4491"/>
                  <a:pt x="17229" y="4512"/>
                  <a:pt x="17432" y="4486"/>
                </a:cubicBezTo>
                <a:cubicBezTo>
                  <a:pt x="17432" y="4486"/>
                  <a:pt x="17380" y="4399"/>
                  <a:pt x="17380" y="4399"/>
                </a:cubicBezTo>
                <a:cubicBezTo>
                  <a:pt x="17472" y="4395"/>
                  <a:pt x="17591" y="4417"/>
                  <a:pt x="17675" y="4457"/>
                </a:cubicBezTo>
                <a:lnTo>
                  <a:pt x="17587" y="4479"/>
                </a:lnTo>
                <a:cubicBezTo>
                  <a:pt x="17820" y="4694"/>
                  <a:pt x="18012" y="4482"/>
                  <a:pt x="18255" y="4567"/>
                </a:cubicBezTo>
                <a:lnTo>
                  <a:pt x="18310" y="4498"/>
                </a:lnTo>
                <a:cubicBezTo>
                  <a:pt x="18234" y="4374"/>
                  <a:pt x="18125" y="4427"/>
                  <a:pt x="18045" y="4339"/>
                </a:cubicBezTo>
                <a:cubicBezTo>
                  <a:pt x="18017" y="4297"/>
                  <a:pt x="18066" y="4003"/>
                  <a:pt x="18073" y="3947"/>
                </a:cubicBezTo>
                <a:cubicBezTo>
                  <a:pt x="18187" y="3913"/>
                  <a:pt x="18309" y="3913"/>
                  <a:pt x="18421" y="3949"/>
                </a:cubicBezTo>
                <a:cubicBezTo>
                  <a:pt x="18458" y="3949"/>
                  <a:pt x="18515" y="4111"/>
                  <a:pt x="18527" y="4157"/>
                </a:cubicBezTo>
                <a:cubicBezTo>
                  <a:pt x="18550" y="4152"/>
                  <a:pt x="18576" y="4143"/>
                  <a:pt x="18595" y="4129"/>
                </a:cubicBezTo>
                <a:cubicBezTo>
                  <a:pt x="18617" y="4170"/>
                  <a:pt x="18639" y="4210"/>
                  <a:pt x="18664" y="4248"/>
                </a:cubicBezTo>
                <a:cubicBezTo>
                  <a:pt x="18693" y="4222"/>
                  <a:pt x="18724" y="4201"/>
                  <a:pt x="18757" y="4186"/>
                </a:cubicBezTo>
                <a:cubicBezTo>
                  <a:pt x="18758" y="4038"/>
                  <a:pt x="18825" y="3956"/>
                  <a:pt x="18932" y="4040"/>
                </a:cubicBezTo>
                <a:cubicBezTo>
                  <a:pt x="18932" y="4003"/>
                  <a:pt x="18933" y="3962"/>
                  <a:pt x="18927" y="3925"/>
                </a:cubicBezTo>
                <a:cubicBezTo>
                  <a:pt x="18949" y="3962"/>
                  <a:pt x="18974" y="4040"/>
                  <a:pt x="19016" y="4044"/>
                </a:cubicBezTo>
                <a:cubicBezTo>
                  <a:pt x="19020" y="4065"/>
                  <a:pt x="19027" y="4085"/>
                  <a:pt x="19036" y="4104"/>
                </a:cubicBezTo>
                <a:cubicBezTo>
                  <a:pt x="18991" y="4134"/>
                  <a:pt x="18948" y="4163"/>
                  <a:pt x="18913" y="4209"/>
                </a:cubicBezTo>
                <a:lnTo>
                  <a:pt x="18933" y="4227"/>
                </a:lnTo>
                <a:lnTo>
                  <a:pt x="18922" y="4242"/>
                </a:lnTo>
                <a:cubicBezTo>
                  <a:pt x="18933" y="4251"/>
                  <a:pt x="18941" y="4262"/>
                  <a:pt x="18947" y="4276"/>
                </a:cubicBezTo>
                <a:cubicBezTo>
                  <a:pt x="18922" y="4461"/>
                  <a:pt x="18945" y="4782"/>
                  <a:pt x="18746" y="4754"/>
                </a:cubicBezTo>
                <a:cubicBezTo>
                  <a:pt x="18747" y="4788"/>
                  <a:pt x="18744" y="4821"/>
                  <a:pt x="18739" y="4854"/>
                </a:cubicBezTo>
                <a:cubicBezTo>
                  <a:pt x="18836" y="5008"/>
                  <a:pt x="18864" y="5224"/>
                  <a:pt x="18983" y="5396"/>
                </a:cubicBezTo>
                <a:cubicBezTo>
                  <a:pt x="19126" y="5602"/>
                  <a:pt x="19308" y="5753"/>
                  <a:pt x="19457" y="5949"/>
                </a:cubicBezTo>
                <a:cubicBezTo>
                  <a:pt x="19532" y="6048"/>
                  <a:pt x="19836" y="6469"/>
                  <a:pt x="19960" y="6469"/>
                </a:cubicBezTo>
                <a:cubicBezTo>
                  <a:pt x="20212" y="6469"/>
                  <a:pt x="19956" y="6018"/>
                  <a:pt x="19950" y="5979"/>
                </a:cubicBezTo>
                <a:cubicBezTo>
                  <a:pt x="19977" y="5936"/>
                  <a:pt x="20168" y="5982"/>
                  <a:pt x="20211" y="5985"/>
                </a:cubicBezTo>
                <a:cubicBezTo>
                  <a:pt x="20174" y="5942"/>
                  <a:pt x="19926" y="5707"/>
                  <a:pt x="19968" y="5649"/>
                </a:cubicBezTo>
                <a:cubicBezTo>
                  <a:pt x="19982" y="5630"/>
                  <a:pt x="20101" y="5654"/>
                  <a:pt x="20126" y="5664"/>
                </a:cubicBezTo>
                <a:cubicBezTo>
                  <a:pt x="20192" y="5412"/>
                  <a:pt x="19863" y="5420"/>
                  <a:pt x="19903" y="5247"/>
                </a:cubicBezTo>
                <a:cubicBezTo>
                  <a:pt x="19934" y="5260"/>
                  <a:pt x="19968" y="5294"/>
                  <a:pt x="19997" y="5315"/>
                </a:cubicBezTo>
                <a:cubicBezTo>
                  <a:pt x="20147" y="5117"/>
                  <a:pt x="19645" y="4785"/>
                  <a:pt x="19523" y="4756"/>
                </a:cubicBezTo>
                <a:cubicBezTo>
                  <a:pt x="19467" y="4748"/>
                  <a:pt x="19432" y="4643"/>
                  <a:pt x="19443" y="4586"/>
                </a:cubicBezTo>
                <a:cubicBezTo>
                  <a:pt x="19470" y="4445"/>
                  <a:pt x="19324" y="4420"/>
                  <a:pt x="19334" y="4366"/>
                </a:cubicBezTo>
                <a:cubicBezTo>
                  <a:pt x="19351" y="4272"/>
                  <a:pt x="19470" y="4429"/>
                  <a:pt x="19504" y="4429"/>
                </a:cubicBezTo>
                <a:cubicBezTo>
                  <a:pt x="19583" y="4429"/>
                  <a:pt x="19522" y="4292"/>
                  <a:pt x="19560" y="4279"/>
                </a:cubicBezTo>
                <a:cubicBezTo>
                  <a:pt x="19779" y="4468"/>
                  <a:pt x="19644" y="4227"/>
                  <a:pt x="19830" y="4227"/>
                </a:cubicBezTo>
                <a:cubicBezTo>
                  <a:pt x="19974" y="4180"/>
                  <a:pt x="20153" y="4358"/>
                  <a:pt x="20275" y="4424"/>
                </a:cubicBezTo>
                <a:cubicBezTo>
                  <a:pt x="20286" y="4362"/>
                  <a:pt x="20280" y="4286"/>
                  <a:pt x="20244" y="4238"/>
                </a:cubicBezTo>
                <a:cubicBezTo>
                  <a:pt x="20487" y="4009"/>
                  <a:pt x="20524" y="3674"/>
                  <a:pt x="20914" y="3862"/>
                </a:cubicBezTo>
                <a:cubicBezTo>
                  <a:pt x="20928" y="3840"/>
                  <a:pt x="20946" y="3835"/>
                  <a:pt x="20968" y="3843"/>
                </a:cubicBezTo>
                <a:cubicBezTo>
                  <a:pt x="20980" y="3602"/>
                  <a:pt x="20494" y="3359"/>
                  <a:pt x="20326" y="3322"/>
                </a:cubicBezTo>
                <a:cubicBezTo>
                  <a:pt x="20400" y="3299"/>
                  <a:pt x="20509" y="3221"/>
                  <a:pt x="20442" y="3106"/>
                </a:cubicBezTo>
                <a:cubicBezTo>
                  <a:pt x="20615" y="3209"/>
                  <a:pt x="20796" y="3130"/>
                  <a:pt x="20975" y="3259"/>
                </a:cubicBezTo>
                <a:cubicBezTo>
                  <a:pt x="21042" y="3307"/>
                  <a:pt x="21600" y="3507"/>
                  <a:pt x="21591" y="3334"/>
                </a:cubicBezTo>
                <a:cubicBezTo>
                  <a:pt x="21518" y="3261"/>
                  <a:pt x="21537" y="3195"/>
                  <a:pt x="21482" y="3136"/>
                </a:cubicBezTo>
                <a:close/>
                <a:moveTo>
                  <a:pt x="16994" y="18909"/>
                </a:moveTo>
                <a:cubicBezTo>
                  <a:pt x="16992" y="18916"/>
                  <a:pt x="16986" y="18936"/>
                  <a:pt x="16994" y="18908"/>
                </a:cubicBezTo>
                <a:cubicBezTo>
                  <a:pt x="16995" y="18905"/>
                  <a:pt x="16995" y="18906"/>
                  <a:pt x="16994" y="18908"/>
                </a:cubicBezTo>
                <a:cubicBezTo>
                  <a:pt x="17025" y="18802"/>
                  <a:pt x="16849" y="18703"/>
                  <a:pt x="16797" y="18645"/>
                </a:cubicBezTo>
                <a:cubicBezTo>
                  <a:pt x="16910" y="18509"/>
                  <a:pt x="16724" y="18432"/>
                  <a:pt x="16738" y="18304"/>
                </a:cubicBezTo>
                <a:lnTo>
                  <a:pt x="16754" y="18340"/>
                </a:lnTo>
                <a:lnTo>
                  <a:pt x="16768" y="18257"/>
                </a:lnTo>
                <a:lnTo>
                  <a:pt x="16776" y="18259"/>
                </a:lnTo>
                <a:cubicBezTo>
                  <a:pt x="16763" y="18110"/>
                  <a:pt x="16888" y="18117"/>
                  <a:pt x="16947" y="18016"/>
                </a:cubicBezTo>
                <a:cubicBezTo>
                  <a:pt x="16932" y="18006"/>
                  <a:pt x="16894" y="17954"/>
                  <a:pt x="16878" y="17954"/>
                </a:cubicBezTo>
                <a:cubicBezTo>
                  <a:pt x="17187" y="17954"/>
                  <a:pt x="16910" y="17614"/>
                  <a:pt x="16748" y="17594"/>
                </a:cubicBezTo>
                <a:cubicBezTo>
                  <a:pt x="16760" y="17529"/>
                  <a:pt x="16681" y="17426"/>
                  <a:pt x="16659" y="17362"/>
                </a:cubicBezTo>
                <a:cubicBezTo>
                  <a:pt x="16473" y="17255"/>
                  <a:pt x="16458" y="17581"/>
                  <a:pt x="16392" y="17697"/>
                </a:cubicBezTo>
                <a:lnTo>
                  <a:pt x="16408" y="17712"/>
                </a:lnTo>
                <a:cubicBezTo>
                  <a:pt x="16350" y="17704"/>
                  <a:pt x="16222" y="17768"/>
                  <a:pt x="16295" y="17866"/>
                </a:cubicBezTo>
                <a:cubicBezTo>
                  <a:pt x="16216" y="17940"/>
                  <a:pt x="16061" y="17932"/>
                  <a:pt x="16023" y="18049"/>
                </a:cubicBezTo>
                <a:cubicBezTo>
                  <a:pt x="15957" y="18251"/>
                  <a:pt x="15876" y="18304"/>
                  <a:pt x="15732" y="18363"/>
                </a:cubicBezTo>
                <a:cubicBezTo>
                  <a:pt x="15609" y="18415"/>
                  <a:pt x="15571" y="18696"/>
                  <a:pt x="15535" y="18708"/>
                </a:cubicBezTo>
                <a:cubicBezTo>
                  <a:pt x="15508" y="18708"/>
                  <a:pt x="15366" y="18659"/>
                  <a:pt x="15367" y="18626"/>
                </a:cubicBezTo>
                <a:lnTo>
                  <a:pt x="15369" y="18534"/>
                </a:lnTo>
                <a:lnTo>
                  <a:pt x="15311" y="18575"/>
                </a:lnTo>
                <a:lnTo>
                  <a:pt x="15306" y="18562"/>
                </a:lnTo>
                <a:cubicBezTo>
                  <a:pt x="15117" y="18677"/>
                  <a:pt x="15108" y="18934"/>
                  <a:pt x="15200" y="19136"/>
                </a:cubicBezTo>
                <a:cubicBezTo>
                  <a:pt x="15161" y="19181"/>
                  <a:pt x="15164" y="19258"/>
                  <a:pt x="15203" y="19303"/>
                </a:cubicBezTo>
                <a:cubicBezTo>
                  <a:pt x="15195" y="19335"/>
                  <a:pt x="15210" y="19374"/>
                  <a:pt x="15235" y="19385"/>
                </a:cubicBezTo>
                <a:cubicBezTo>
                  <a:pt x="15225" y="19424"/>
                  <a:pt x="15232" y="19455"/>
                  <a:pt x="15254" y="19479"/>
                </a:cubicBezTo>
                <a:cubicBezTo>
                  <a:pt x="15285" y="19481"/>
                  <a:pt x="15311" y="19464"/>
                  <a:pt x="15340" y="19452"/>
                </a:cubicBezTo>
                <a:cubicBezTo>
                  <a:pt x="15350" y="19468"/>
                  <a:pt x="15353" y="19488"/>
                  <a:pt x="15347" y="19511"/>
                </a:cubicBezTo>
                <a:cubicBezTo>
                  <a:pt x="15325" y="19540"/>
                  <a:pt x="15350" y="19890"/>
                  <a:pt x="15399" y="19920"/>
                </a:cubicBezTo>
                <a:cubicBezTo>
                  <a:pt x="15473" y="19966"/>
                  <a:pt x="15568" y="19928"/>
                  <a:pt x="15643" y="19918"/>
                </a:cubicBezTo>
                <a:cubicBezTo>
                  <a:pt x="15630" y="20115"/>
                  <a:pt x="15842" y="20079"/>
                  <a:pt x="15913" y="19951"/>
                </a:cubicBezTo>
                <a:cubicBezTo>
                  <a:pt x="15943" y="20003"/>
                  <a:pt x="16038" y="20088"/>
                  <a:pt x="16085" y="20029"/>
                </a:cubicBezTo>
                <a:cubicBezTo>
                  <a:pt x="16181" y="20173"/>
                  <a:pt x="16201" y="20238"/>
                  <a:pt x="16389" y="20115"/>
                </a:cubicBezTo>
                <a:cubicBezTo>
                  <a:pt x="16410" y="20270"/>
                  <a:pt x="16541" y="20049"/>
                  <a:pt x="16499" y="19901"/>
                </a:cubicBezTo>
                <a:cubicBezTo>
                  <a:pt x="16526" y="19881"/>
                  <a:pt x="16539" y="19851"/>
                  <a:pt x="16538" y="19809"/>
                </a:cubicBezTo>
                <a:lnTo>
                  <a:pt x="16562" y="19798"/>
                </a:lnTo>
                <a:cubicBezTo>
                  <a:pt x="16568" y="19733"/>
                  <a:pt x="16573" y="19601"/>
                  <a:pt x="16539" y="19554"/>
                </a:cubicBezTo>
                <a:cubicBezTo>
                  <a:pt x="16562" y="19523"/>
                  <a:pt x="16574" y="19505"/>
                  <a:pt x="16597" y="19520"/>
                </a:cubicBezTo>
                <a:cubicBezTo>
                  <a:pt x="16644" y="19442"/>
                  <a:pt x="16806" y="19309"/>
                  <a:pt x="16741" y="19205"/>
                </a:cubicBezTo>
                <a:cubicBezTo>
                  <a:pt x="16704" y="19144"/>
                  <a:pt x="16767" y="18984"/>
                  <a:pt x="16806" y="18955"/>
                </a:cubicBezTo>
                <a:cubicBezTo>
                  <a:pt x="16858" y="18955"/>
                  <a:pt x="16966" y="19000"/>
                  <a:pt x="16994" y="18909"/>
                </a:cubicBezTo>
                <a:close/>
                <a:moveTo>
                  <a:pt x="17082" y="15769"/>
                </a:moveTo>
                <a:cubicBezTo>
                  <a:pt x="17065" y="15769"/>
                  <a:pt x="17051" y="15769"/>
                  <a:pt x="17082" y="15769"/>
                </a:cubicBezTo>
                <a:cubicBezTo>
                  <a:pt x="17137" y="15769"/>
                  <a:pt x="17106" y="15769"/>
                  <a:pt x="17083" y="15769"/>
                </a:cubicBezTo>
                <a:cubicBezTo>
                  <a:pt x="17275" y="15768"/>
                  <a:pt x="17243" y="16089"/>
                  <a:pt x="17193" y="16059"/>
                </a:cubicBezTo>
                <a:cubicBezTo>
                  <a:pt x="17151" y="16034"/>
                  <a:pt x="17029" y="15770"/>
                  <a:pt x="17082" y="15769"/>
                </a:cubicBezTo>
                <a:close/>
              </a:path>
            </a:pathLst>
          </a:custGeom>
          <a:solidFill>
            <a:schemeClr val="bg1">
              <a:lumMod val="95000"/>
            </a:schemeClr>
          </a:solidFill>
          <a:ln w="12700" cap="flat">
            <a:noFill/>
            <a:miter lim="400000"/>
          </a:ln>
          <a:effectLst/>
        </p:spPr>
        <p:txBody>
          <a:bodyPr wrap="square" lIns="0" tIns="0" rIns="0" bIns="0" numCol="1" anchor="ctr">
            <a:noAutofit/>
          </a:bodyPr>
          <a:lstStyle/>
          <a:p>
            <a:pPr defTabSz="410780">
              <a:lnSpc>
                <a:spcPct val="110000"/>
              </a:lnSpc>
              <a:spcBef>
                <a:spcPts val="2110"/>
              </a:spcBef>
              <a:defRPr sz="2000">
                <a:solidFill>
                  <a:srgbClr val="4C4C4C"/>
                </a:solidFill>
                <a:latin typeface="Helvetica Neue Light"/>
                <a:ea typeface="Helvetica Neue Light"/>
                <a:cs typeface="Helvetica Neue Light"/>
                <a:sym typeface="Helvetica Neue Light"/>
              </a:defRPr>
            </a:pPr>
            <a:endParaRPr lang="en-US" sz="1407" dirty="0">
              <a:latin typeface="Lato Light" panose="020F0502020204030203" pitchFamily="34" charset="0"/>
              <a:ea typeface="Lato Light" panose="020F0502020204030203" pitchFamily="34" charset="0"/>
              <a:cs typeface="Lato Light" panose="020F0502020204030203" pitchFamily="34" charset="0"/>
            </a:endParaRPr>
          </a:p>
        </p:txBody>
      </p:sp>
      <p:sp>
        <p:nvSpPr>
          <p:cNvPr id="393" name="Freeform 24">
            <a:extLst>
              <a:ext uri="{FF2B5EF4-FFF2-40B4-BE49-F238E27FC236}">
                <a16:creationId xmlns:a16="http://schemas.microsoft.com/office/drawing/2014/main" id="{FC30F907-961F-4600-9343-9158CF3476FC}"/>
              </a:ext>
            </a:extLst>
          </p:cNvPr>
          <p:cNvSpPr/>
          <p:nvPr/>
        </p:nvSpPr>
        <p:spPr>
          <a:xfrm>
            <a:off x="8848029" y="4281965"/>
            <a:ext cx="1614872" cy="1421983"/>
          </a:xfrm>
          <a:custGeom>
            <a:avLst/>
            <a:gdLst>
              <a:gd name="connsiteX0" fmla="*/ 1329147 w 2705151"/>
              <a:gd name="connsiteY0" fmla="*/ 2090347 h 2382034"/>
              <a:gd name="connsiteX1" fmla="*/ 1166291 w 2705151"/>
              <a:gd name="connsiteY1" fmla="*/ 2235819 h 2382034"/>
              <a:gd name="connsiteX2" fmla="*/ 1162317 w 2705151"/>
              <a:gd name="connsiteY2" fmla="*/ 2127372 h 2382034"/>
              <a:gd name="connsiteX3" fmla="*/ 1287911 w 2705151"/>
              <a:gd name="connsiteY3" fmla="*/ 2102233 h 2382034"/>
              <a:gd name="connsiteX4" fmla="*/ 1287911 w 2705151"/>
              <a:gd name="connsiteY4" fmla="*/ 2102233 h 2382034"/>
              <a:gd name="connsiteX5" fmla="*/ 1329147 w 2705151"/>
              <a:gd name="connsiteY5" fmla="*/ 2090347 h 2382034"/>
              <a:gd name="connsiteX6" fmla="*/ 2540017 w 2705151"/>
              <a:gd name="connsiteY6" fmla="*/ 1669426 h 2382034"/>
              <a:gd name="connsiteX7" fmla="*/ 2546649 w 2705151"/>
              <a:gd name="connsiteY7" fmla="*/ 1678099 h 2382034"/>
              <a:gd name="connsiteX8" fmla="*/ 2555631 w 2705151"/>
              <a:gd name="connsiteY8" fmla="*/ 1699848 h 2382034"/>
              <a:gd name="connsiteX9" fmla="*/ 2585935 w 2705151"/>
              <a:gd name="connsiteY9" fmla="*/ 1732528 h 2382034"/>
              <a:gd name="connsiteX10" fmla="*/ 2567883 w 2705151"/>
              <a:gd name="connsiteY10" fmla="*/ 1784965 h 2382034"/>
              <a:gd name="connsiteX11" fmla="*/ 2566791 w 2705151"/>
              <a:gd name="connsiteY11" fmla="*/ 1808609 h 2382034"/>
              <a:gd name="connsiteX12" fmla="*/ 2585617 w 2705151"/>
              <a:gd name="connsiteY12" fmla="*/ 1811270 h 2382034"/>
              <a:gd name="connsiteX13" fmla="*/ 2585617 w 2705151"/>
              <a:gd name="connsiteY13" fmla="*/ 1811270 h 2382034"/>
              <a:gd name="connsiteX14" fmla="*/ 2595293 w 2705151"/>
              <a:gd name="connsiteY14" fmla="*/ 1788220 h 2382034"/>
              <a:gd name="connsiteX15" fmla="*/ 2602851 w 2705151"/>
              <a:gd name="connsiteY15" fmla="*/ 1810926 h 2382034"/>
              <a:gd name="connsiteX16" fmla="*/ 2592415 w 2705151"/>
              <a:gd name="connsiteY16" fmla="*/ 1842821 h 2382034"/>
              <a:gd name="connsiteX17" fmla="*/ 2609151 w 2705151"/>
              <a:gd name="connsiteY17" fmla="*/ 1867020 h 2382034"/>
              <a:gd name="connsiteX18" fmla="*/ 2660519 w 2705151"/>
              <a:gd name="connsiteY18" fmla="*/ 1863766 h 2382034"/>
              <a:gd name="connsiteX19" fmla="*/ 2705151 w 2705151"/>
              <a:gd name="connsiteY19" fmla="*/ 1859803 h 2382034"/>
              <a:gd name="connsiteX20" fmla="*/ 2678481 w 2705151"/>
              <a:gd name="connsiteY20" fmla="*/ 1889324 h 2382034"/>
              <a:gd name="connsiteX21" fmla="*/ 2647617 w 2705151"/>
              <a:gd name="connsiteY21" fmla="*/ 1918443 h 2382034"/>
              <a:gd name="connsiteX22" fmla="*/ 2575091 w 2705151"/>
              <a:gd name="connsiteY22" fmla="*/ 1950741 h 2382034"/>
              <a:gd name="connsiteX23" fmla="*/ 2563491 w 2705151"/>
              <a:gd name="connsiteY23" fmla="*/ 1960122 h 2382034"/>
              <a:gd name="connsiteX24" fmla="*/ 2560809 w 2705151"/>
              <a:gd name="connsiteY24" fmla="*/ 1975495 h 2382034"/>
              <a:gd name="connsiteX25" fmla="*/ 2533051 w 2705151"/>
              <a:gd name="connsiteY25" fmla="*/ 1996784 h 2382034"/>
              <a:gd name="connsiteX26" fmla="*/ 2504701 w 2705151"/>
              <a:gd name="connsiteY26" fmla="*/ 2022438 h 2382034"/>
              <a:gd name="connsiteX27" fmla="*/ 2466673 w 2705151"/>
              <a:gd name="connsiteY27" fmla="*/ 2044723 h 2382034"/>
              <a:gd name="connsiteX28" fmla="*/ 2409185 w 2705151"/>
              <a:gd name="connsiteY28" fmla="*/ 2078456 h 2382034"/>
              <a:gd name="connsiteX29" fmla="*/ 2380759 w 2705151"/>
              <a:gd name="connsiteY29" fmla="*/ 2067811 h 2382034"/>
              <a:gd name="connsiteX30" fmla="*/ 2384021 w 2705151"/>
              <a:gd name="connsiteY30" fmla="*/ 2061314 h 2382034"/>
              <a:gd name="connsiteX31" fmla="*/ 2367359 w 2705151"/>
              <a:gd name="connsiteY31" fmla="*/ 2075926 h 2382034"/>
              <a:gd name="connsiteX32" fmla="*/ 2356901 w 2705151"/>
              <a:gd name="connsiteY32" fmla="*/ 2094938 h 2382034"/>
              <a:gd name="connsiteX33" fmla="*/ 2348945 w 2705151"/>
              <a:gd name="connsiteY33" fmla="*/ 2104987 h 2382034"/>
              <a:gd name="connsiteX34" fmla="*/ 2303897 w 2705151"/>
              <a:gd name="connsiteY34" fmla="*/ 2136474 h 2382034"/>
              <a:gd name="connsiteX35" fmla="*/ 2212675 w 2705151"/>
              <a:gd name="connsiteY35" fmla="*/ 2200218 h 2382034"/>
              <a:gd name="connsiteX36" fmla="*/ 2221271 w 2705151"/>
              <a:gd name="connsiteY36" fmla="*/ 2210529 h 2382034"/>
              <a:gd name="connsiteX37" fmla="*/ 2211683 w 2705151"/>
              <a:gd name="connsiteY37" fmla="*/ 2220119 h 2382034"/>
              <a:gd name="connsiteX38" fmla="*/ 2189989 w 2705151"/>
              <a:gd name="connsiteY38" fmla="*/ 2223670 h 2382034"/>
              <a:gd name="connsiteX39" fmla="*/ 2158439 w 2705151"/>
              <a:gd name="connsiteY39" fmla="*/ 2231689 h 2382034"/>
              <a:gd name="connsiteX40" fmla="*/ 2106855 w 2705151"/>
              <a:gd name="connsiteY40" fmla="*/ 2251606 h 2382034"/>
              <a:gd name="connsiteX41" fmla="*/ 2061859 w 2705151"/>
              <a:gd name="connsiteY41" fmla="*/ 2295564 h 2382034"/>
              <a:gd name="connsiteX42" fmla="*/ 1943853 w 2705151"/>
              <a:gd name="connsiteY42" fmla="*/ 2371550 h 2382034"/>
              <a:gd name="connsiteX43" fmla="*/ 1882467 w 2705151"/>
              <a:gd name="connsiteY43" fmla="*/ 2378931 h 2382034"/>
              <a:gd name="connsiteX44" fmla="*/ 1858255 w 2705151"/>
              <a:gd name="connsiteY44" fmla="*/ 2366034 h 2382034"/>
              <a:gd name="connsiteX45" fmla="*/ 1858255 w 2705151"/>
              <a:gd name="connsiteY45" fmla="*/ 2354529 h 2382034"/>
              <a:gd name="connsiteX46" fmla="*/ 1805573 w 2705151"/>
              <a:gd name="connsiteY46" fmla="*/ 2356461 h 2382034"/>
              <a:gd name="connsiteX47" fmla="*/ 1818509 w 2705151"/>
              <a:gd name="connsiteY47" fmla="*/ 2340226 h 2382034"/>
              <a:gd name="connsiteX48" fmla="*/ 1845293 w 2705151"/>
              <a:gd name="connsiteY48" fmla="*/ 2319016 h 2382034"/>
              <a:gd name="connsiteX49" fmla="*/ 1883057 w 2705151"/>
              <a:gd name="connsiteY49" fmla="*/ 2295171 h 2382034"/>
              <a:gd name="connsiteX50" fmla="*/ 1929497 w 2705151"/>
              <a:gd name="connsiteY50" fmla="*/ 2267235 h 2382034"/>
              <a:gd name="connsiteX51" fmla="*/ 1966511 w 2705151"/>
              <a:gd name="connsiteY51" fmla="*/ 2244340 h 2382034"/>
              <a:gd name="connsiteX52" fmla="*/ 2008989 w 2705151"/>
              <a:gd name="connsiteY52" fmla="*/ 2228449 h 2382034"/>
              <a:gd name="connsiteX53" fmla="*/ 2107711 w 2705151"/>
              <a:gd name="connsiteY53" fmla="*/ 2186046 h 2382034"/>
              <a:gd name="connsiteX54" fmla="*/ 2141941 w 2705151"/>
              <a:gd name="connsiteY54" fmla="*/ 2168649 h 2382034"/>
              <a:gd name="connsiteX55" fmla="*/ 2170893 w 2705151"/>
              <a:gd name="connsiteY55" fmla="*/ 2155540 h 2382034"/>
              <a:gd name="connsiteX56" fmla="*/ 2184953 w 2705151"/>
              <a:gd name="connsiteY56" fmla="*/ 2144199 h 2382034"/>
              <a:gd name="connsiteX57" fmla="*/ 2209461 w 2705151"/>
              <a:gd name="connsiteY57" fmla="*/ 2116230 h 2382034"/>
              <a:gd name="connsiteX58" fmla="*/ 2242885 w 2705151"/>
              <a:gd name="connsiteY58" fmla="*/ 2098866 h 2382034"/>
              <a:gd name="connsiteX59" fmla="*/ 2271677 w 2705151"/>
              <a:gd name="connsiteY59" fmla="*/ 2078818 h 2382034"/>
              <a:gd name="connsiteX60" fmla="*/ 2291255 w 2705151"/>
              <a:gd name="connsiteY60" fmla="*/ 2052830 h 2382034"/>
              <a:gd name="connsiteX61" fmla="*/ 2334295 w 2705151"/>
              <a:gd name="connsiteY61" fmla="*/ 2031538 h 2382034"/>
              <a:gd name="connsiteX62" fmla="*/ 2323717 w 2705151"/>
              <a:gd name="connsiteY62" fmla="*/ 2075660 h 2382034"/>
              <a:gd name="connsiteX63" fmla="*/ 2357785 w 2705151"/>
              <a:gd name="connsiteY63" fmla="*/ 2060882 h 2382034"/>
              <a:gd name="connsiteX64" fmla="*/ 2371687 w 2705151"/>
              <a:gd name="connsiteY64" fmla="*/ 2055282 h 2382034"/>
              <a:gd name="connsiteX65" fmla="*/ 2384057 w 2705151"/>
              <a:gd name="connsiteY65" fmla="*/ 2061244 h 2382034"/>
              <a:gd name="connsiteX66" fmla="*/ 2384901 w 2705151"/>
              <a:gd name="connsiteY66" fmla="*/ 2059560 h 2382034"/>
              <a:gd name="connsiteX67" fmla="*/ 2420029 w 2705151"/>
              <a:gd name="connsiteY67" fmla="*/ 2036165 h 2382034"/>
              <a:gd name="connsiteX68" fmla="*/ 2452361 w 2705151"/>
              <a:gd name="connsiteY68" fmla="*/ 1999541 h 2382034"/>
              <a:gd name="connsiteX69" fmla="*/ 2418029 w 2705151"/>
              <a:gd name="connsiteY69" fmla="*/ 1950970 h 2382034"/>
              <a:gd name="connsiteX70" fmla="*/ 2460887 w 2705151"/>
              <a:gd name="connsiteY70" fmla="*/ 1929815 h 2382034"/>
              <a:gd name="connsiteX71" fmla="*/ 2503383 w 2705151"/>
              <a:gd name="connsiteY71" fmla="*/ 1890760 h 2382034"/>
              <a:gd name="connsiteX72" fmla="*/ 2533959 w 2705151"/>
              <a:gd name="connsiteY72" fmla="*/ 1762413 h 2382034"/>
              <a:gd name="connsiteX73" fmla="*/ 2534443 w 2705151"/>
              <a:gd name="connsiteY73" fmla="*/ 1706089 h 2382034"/>
              <a:gd name="connsiteX74" fmla="*/ 2534367 w 2705151"/>
              <a:gd name="connsiteY74" fmla="*/ 1673791 h 2382034"/>
              <a:gd name="connsiteX75" fmla="*/ 2540017 w 2705151"/>
              <a:gd name="connsiteY75" fmla="*/ 1669426 h 2382034"/>
              <a:gd name="connsiteX76" fmla="*/ 36765 w 2705151"/>
              <a:gd name="connsiteY76" fmla="*/ 1271986 h 2382034"/>
              <a:gd name="connsiteX77" fmla="*/ 36813 w 2705151"/>
              <a:gd name="connsiteY77" fmla="*/ 1272075 h 2382034"/>
              <a:gd name="connsiteX78" fmla="*/ 36853 w 2705151"/>
              <a:gd name="connsiteY78" fmla="*/ 1272247 h 2382034"/>
              <a:gd name="connsiteX79" fmla="*/ 33249 w 2705151"/>
              <a:gd name="connsiteY79" fmla="*/ 1265379 h 2382034"/>
              <a:gd name="connsiteX80" fmla="*/ 35953 w 2705151"/>
              <a:gd name="connsiteY80" fmla="*/ 1269583 h 2382034"/>
              <a:gd name="connsiteX81" fmla="*/ 36765 w 2705151"/>
              <a:gd name="connsiteY81" fmla="*/ 1271986 h 2382034"/>
              <a:gd name="connsiteX82" fmla="*/ 1896385 w 2705151"/>
              <a:gd name="connsiteY82" fmla="*/ 1217924 h 2382034"/>
              <a:gd name="connsiteX83" fmla="*/ 1898203 w 2705151"/>
              <a:gd name="connsiteY83" fmla="*/ 1221622 h 2382034"/>
              <a:gd name="connsiteX84" fmla="*/ 1896385 w 2705151"/>
              <a:gd name="connsiteY84" fmla="*/ 1217924 h 2382034"/>
              <a:gd name="connsiteX85" fmla="*/ 111729 w 2705151"/>
              <a:gd name="connsiteY85" fmla="*/ 1070576 h 2382034"/>
              <a:gd name="connsiteX86" fmla="*/ 118701 w 2705151"/>
              <a:gd name="connsiteY86" fmla="*/ 1070576 h 2382034"/>
              <a:gd name="connsiteX87" fmla="*/ 112207 w 2705151"/>
              <a:gd name="connsiteY87" fmla="*/ 1075183 h 2382034"/>
              <a:gd name="connsiteX88" fmla="*/ 111895 w 2705151"/>
              <a:gd name="connsiteY88" fmla="*/ 1073561 h 2382034"/>
              <a:gd name="connsiteX89" fmla="*/ 111381 w 2705151"/>
              <a:gd name="connsiteY89" fmla="*/ 1064332 h 2382034"/>
              <a:gd name="connsiteX90" fmla="*/ 111729 w 2705151"/>
              <a:gd name="connsiteY90" fmla="*/ 1070576 h 2382034"/>
              <a:gd name="connsiteX91" fmla="*/ 111149 w 2705151"/>
              <a:gd name="connsiteY91" fmla="*/ 1070576 h 2382034"/>
              <a:gd name="connsiteX92" fmla="*/ 111381 w 2705151"/>
              <a:gd name="connsiteY92" fmla="*/ 1064332 h 2382034"/>
              <a:gd name="connsiteX93" fmla="*/ 1565809 w 2705151"/>
              <a:gd name="connsiteY93" fmla="*/ 470987 h 2382034"/>
              <a:gd name="connsiteX94" fmla="*/ 1582325 w 2705151"/>
              <a:gd name="connsiteY94" fmla="*/ 527820 h 2382034"/>
              <a:gd name="connsiteX95" fmla="*/ 1598125 w 2705151"/>
              <a:gd name="connsiteY95" fmla="*/ 639527 h 2382034"/>
              <a:gd name="connsiteX96" fmla="*/ 1639957 w 2705151"/>
              <a:gd name="connsiteY96" fmla="*/ 649730 h 2382034"/>
              <a:gd name="connsiteX97" fmla="*/ 1687651 w 2705151"/>
              <a:gd name="connsiteY97" fmla="*/ 917216 h 2382034"/>
              <a:gd name="connsiteX98" fmla="*/ 1779861 w 2705151"/>
              <a:gd name="connsiteY98" fmla="*/ 990425 h 2382034"/>
              <a:gd name="connsiteX99" fmla="*/ 1810663 w 2705151"/>
              <a:gd name="connsiteY99" fmla="*/ 1096136 h 2382034"/>
              <a:gd name="connsiteX100" fmla="*/ 1815035 w 2705151"/>
              <a:gd name="connsiteY100" fmla="*/ 1077518 h 2382034"/>
              <a:gd name="connsiteX101" fmla="*/ 1845837 w 2705151"/>
              <a:gd name="connsiteY101" fmla="*/ 1155145 h 2382034"/>
              <a:gd name="connsiteX102" fmla="*/ 1898203 w 2705151"/>
              <a:gd name="connsiteY102" fmla="*/ 1221622 h 2382034"/>
              <a:gd name="connsiteX103" fmla="*/ 1894427 w 2705151"/>
              <a:gd name="connsiteY103" fmla="*/ 1351526 h 2382034"/>
              <a:gd name="connsiteX104" fmla="*/ 1896315 w 2705151"/>
              <a:gd name="connsiteY104" fmla="*/ 1426628 h 2382034"/>
              <a:gd name="connsiteX105" fmla="*/ 1819109 w 2705151"/>
              <a:gd name="connsiteY105" fmla="*/ 1550957 h 2382034"/>
              <a:gd name="connsiteX106" fmla="*/ 1733061 w 2705151"/>
              <a:gd name="connsiteY106" fmla="*/ 1657089 h 2382034"/>
              <a:gd name="connsiteX107" fmla="*/ 1512175 w 2705151"/>
              <a:gd name="connsiteY107" fmla="*/ 1905326 h 2382034"/>
              <a:gd name="connsiteX108" fmla="*/ 1388567 w 2705151"/>
              <a:gd name="connsiteY108" fmla="*/ 1949504 h 2382034"/>
              <a:gd name="connsiteX109" fmla="*/ 1297749 w 2705151"/>
              <a:gd name="connsiteY109" fmla="*/ 2001045 h 2382034"/>
              <a:gd name="connsiteX110" fmla="*/ 1272411 w 2705151"/>
              <a:gd name="connsiteY110" fmla="*/ 1944876 h 2382034"/>
              <a:gd name="connsiteX111" fmla="*/ 1180797 w 2705151"/>
              <a:gd name="connsiteY111" fmla="*/ 1985793 h 2382034"/>
              <a:gd name="connsiteX112" fmla="*/ 1072591 w 2705151"/>
              <a:gd name="connsiteY112" fmla="*/ 1941405 h 2382034"/>
              <a:gd name="connsiteX113" fmla="*/ 1076665 w 2705151"/>
              <a:gd name="connsiteY113" fmla="*/ 1832118 h 2382034"/>
              <a:gd name="connsiteX114" fmla="*/ 1028971 w 2705151"/>
              <a:gd name="connsiteY114" fmla="*/ 1810975 h 2382034"/>
              <a:gd name="connsiteX115" fmla="*/ 1053711 w 2705151"/>
              <a:gd name="connsiteY115" fmla="*/ 1738082 h 2382034"/>
              <a:gd name="connsiteX116" fmla="*/ 973127 w 2705151"/>
              <a:gd name="connsiteY116" fmla="*/ 1793830 h 2382034"/>
              <a:gd name="connsiteX117" fmla="*/ 1038409 w 2705151"/>
              <a:gd name="connsiteY117" fmla="*/ 1722935 h 2382034"/>
              <a:gd name="connsiteX118" fmla="*/ 1072293 w 2705151"/>
              <a:gd name="connsiteY118" fmla="*/ 1655932 h 2382034"/>
              <a:gd name="connsiteX119" fmla="*/ 923545 w 2705151"/>
              <a:gd name="connsiteY119" fmla="*/ 1777106 h 2382034"/>
              <a:gd name="connsiteX120" fmla="*/ 915695 w 2705151"/>
              <a:gd name="connsiteY120" fmla="*/ 1681808 h 2382034"/>
              <a:gd name="connsiteX121" fmla="*/ 898407 w 2705151"/>
              <a:gd name="connsiteY121" fmla="*/ 1631003 h 2382034"/>
              <a:gd name="connsiteX122" fmla="*/ 712895 w 2705151"/>
              <a:gd name="connsiteY122" fmla="*/ 1593768 h 2382034"/>
              <a:gd name="connsiteX123" fmla="*/ 462897 w 2705151"/>
              <a:gd name="connsiteY123" fmla="*/ 1661086 h 2382034"/>
              <a:gd name="connsiteX124" fmla="*/ 372475 w 2705151"/>
              <a:gd name="connsiteY124" fmla="*/ 1718517 h 2382034"/>
              <a:gd name="connsiteX125" fmla="*/ 256617 w 2705151"/>
              <a:gd name="connsiteY125" fmla="*/ 1715677 h 2382034"/>
              <a:gd name="connsiteX126" fmla="*/ 76273 w 2705151"/>
              <a:gd name="connsiteY126" fmla="*/ 1782786 h 2382034"/>
              <a:gd name="connsiteX127" fmla="*/ 757 w 2705151"/>
              <a:gd name="connsiteY127" fmla="*/ 1712101 h 2382034"/>
              <a:gd name="connsiteX128" fmla="*/ 45569 w 2705151"/>
              <a:gd name="connsiteY128" fmla="*/ 1677811 h 2382034"/>
              <a:gd name="connsiteX129" fmla="*/ 63653 w 2705151"/>
              <a:gd name="connsiteY129" fmla="*/ 1539913 h 2382034"/>
              <a:gd name="connsiteX130" fmla="*/ 63653 w 2705151"/>
              <a:gd name="connsiteY130" fmla="*/ 1426944 h 2382034"/>
              <a:gd name="connsiteX131" fmla="*/ 40711 w 2705151"/>
              <a:gd name="connsiteY131" fmla="*/ 1288479 h 2382034"/>
              <a:gd name="connsiteX132" fmla="*/ 36853 w 2705151"/>
              <a:gd name="connsiteY132" fmla="*/ 1272247 h 2382034"/>
              <a:gd name="connsiteX133" fmla="*/ 38863 w 2705151"/>
              <a:gd name="connsiteY133" fmla="*/ 1278185 h 2382034"/>
              <a:gd name="connsiteX134" fmla="*/ 46265 w 2705151"/>
              <a:gd name="connsiteY134" fmla="*/ 1293043 h 2382034"/>
              <a:gd name="connsiteX135" fmla="*/ 51035 w 2705151"/>
              <a:gd name="connsiteY135" fmla="*/ 1269166 h 2382034"/>
              <a:gd name="connsiteX136" fmla="*/ 81539 w 2705151"/>
              <a:gd name="connsiteY136" fmla="*/ 1304192 h 2382034"/>
              <a:gd name="connsiteX137" fmla="*/ 85117 w 2705151"/>
              <a:gd name="connsiteY137" fmla="*/ 1158300 h 2382034"/>
              <a:gd name="connsiteX138" fmla="*/ 102653 w 2705151"/>
              <a:gd name="connsiteY138" fmla="*/ 1081961 h 2382034"/>
              <a:gd name="connsiteX139" fmla="*/ 112207 w 2705151"/>
              <a:gd name="connsiteY139" fmla="*/ 1075183 h 2382034"/>
              <a:gd name="connsiteX140" fmla="*/ 114419 w 2705151"/>
              <a:gd name="connsiteY140" fmla="*/ 1086714 h 2382034"/>
              <a:gd name="connsiteX141" fmla="*/ 120689 w 2705151"/>
              <a:gd name="connsiteY141" fmla="*/ 1092244 h 2382034"/>
              <a:gd name="connsiteX142" fmla="*/ 233565 w 2705151"/>
              <a:gd name="connsiteY142" fmla="*/ 1005887 h 2382034"/>
              <a:gd name="connsiteX143" fmla="*/ 319217 w 2705151"/>
              <a:gd name="connsiteY143" fmla="*/ 987059 h 2382034"/>
              <a:gd name="connsiteX144" fmla="*/ 379629 w 2705151"/>
              <a:gd name="connsiteY144" fmla="*/ 960657 h 2382034"/>
              <a:gd name="connsiteX145" fmla="*/ 512181 w 2705151"/>
              <a:gd name="connsiteY145" fmla="*/ 885555 h 2382034"/>
              <a:gd name="connsiteX146" fmla="*/ 587697 w 2705151"/>
              <a:gd name="connsiteY146" fmla="*/ 769430 h 2382034"/>
              <a:gd name="connsiteX147" fmla="*/ 609657 w 2705151"/>
              <a:gd name="connsiteY147" fmla="*/ 823075 h 2382034"/>
              <a:gd name="connsiteX148" fmla="*/ 616909 w 2705151"/>
              <a:gd name="connsiteY148" fmla="*/ 792571 h 2382034"/>
              <a:gd name="connsiteX149" fmla="*/ 638969 w 2705151"/>
              <a:gd name="connsiteY149" fmla="*/ 758281 h 2382034"/>
              <a:gd name="connsiteX150" fmla="*/ 680403 w 2705151"/>
              <a:gd name="connsiteY150" fmla="*/ 705478 h 2382034"/>
              <a:gd name="connsiteX151" fmla="*/ 851209 w 2705151"/>
              <a:gd name="connsiteY151" fmla="*/ 686755 h 2382034"/>
              <a:gd name="connsiteX152" fmla="*/ 925533 w 2705151"/>
              <a:gd name="connsiteY152" fmla="*/ 672976 h 2382034"/>
              <a:gd name="connsiteX153" fmla="*/ 998367 w 2705151"/>
              <a:gd name="connsiteY153" fmla="*/ 547910 h 2382034"/>
              <a:gd name="connsiteX154" fmla="*/ 1051525 w 2705151"/>
              <a:gd name="connsiteY154" fmla="*/ 493950 h 2382034"/>
              <a:gd name="connsiteX155" fmla="*/ 1086701 w 2705151"/>
              <a:gd name="connsiteY155" fmla="*/ 487849 h 2382034"/>
              <a:gd name="connsiteX156" fmla="*/ 1138369 w 2705151"/>
              <a:gd name="connsiteY156" fmla="*/ 521298 h 2382034"/>
              <a:gd name="connsiteX157" fmla="*/ 1204149 w 2705151"/>
              <a:gd name="connsiteY157" fmla="*/ 543492 h 2382034"/>
              <a:gd name="connsiteX158" fmla="*/ 1281155 w 2705151"/>
              <a:gd name="connsiteY158" fmla="*/ 540863 h 2382034"/>
              <a:gd name="connsiteX159" fmla="*/ 1230083 w 2705151"/>
              <a:gd name="connsiteY159" fmla="*/ 620278 h 2382034"/>
              <a:gd name="connsiteX160" fmla="*/ 1227897 w 2705151"/>
              <a:gd name="connsiteY160" fmla="*/ 719888 h 2382034"/>
              <a:gd name="connsiteX161" fmla="*/ 1318715 w 2705151"/>
              <a:gd name="connsiteY161" fmla="*/ 782053 h 2382034"/>
              <a:gd name="connsiteX162" fmla="*/ 1428411 w 2705151"/>
              <a:gd name="connsiteY162" fmla="*/ 829491 h 2382034"/>
              <a:gd name="connsiteX163" fmla="*/ 1493893 w 2705151"/>
              <a:gd name="connsiteY163" fmla="*/ 632479 h 2382034"/>
              <a:gd name="connsiteX164" fmla="*/ 1522013 w 2705151"/>
              <a:gd name="connsiteY164" fmla="*/ 530344 h 2382034"/>
              <a:gd name="connsiteX165" fmla="*/ 1565809 w 2705151"/>
              <a:gd name="connsiteY165" fmla="*/ 470987 h 2382034"/>
              <a:gd name="connsiteX166" fmla="*/ 1926323 w 2705151"/>
              <a:gd name="connsiteY166" fmla="*/ 202166 h 2382034"/>
              <a:gd name="connsiteX167" fmla="*/ 1926323 w 2705151"/>
              <a:gd name="connsiteY167" fmla="*/ 202166 h 2382034"/>
              <a:gd name="connsiteX168" fmla="*/ 1975309 w 2705151"/>
              <a:gd name="connsiteY168" fmla="*/ 20090 h 2382034"/>
              <a:gd name="connsiteX169" fmla="*/ 2084807 w 2705151"/>
              <a:gd name="connsiteY169" fmla="*/ 148101 h 2382034"/>
              <a:gd name="connsiteX170" fmla="*/ 2075665 w 2705151"/>
              <a:gd name="connsiteY170" fmla="*/ 121279 h 2382034"/>
              <a:gd name="connsiteX171" fmla="*/ 1926323 w 2705151"/>
              <a:gd name="connsiteY171" fmla="*/ 202166 h 2382034"/>
              <a:gd name="connsiteX172" fmla="*/ 1874653 w 2705151"/>
              <a:gd name="connsiteY172" fmla="*/ 173451 h 2382034"/>
              <a:gd name="connsiteX173" fmla="*/ 2024593 w 2705151"/>
              <a:gd name="connsiteY173" fmla="*/ 142842 h 2382034"/>
              <a:gd name="connsiteX174" fmla="*/ 2072287 w 2705151"/>
              <a:gd name="connsiteY174" fmla="*/ 111181 h 2382034"/>
              <a:gd name="connsiteX175" fmla="*/ 1975309 w 2705151"/>
              <a:gd name="connsiteY175" fmla="*/ 20090 h 2382034"/>
              <a:gd name="connsiteX176" fmla="*/ 1516647 w 2705151"/>
              <a:gd name="connsiteY176" fmla="*/ 0 h 2382034"/>
              <a:gd name="connsiteX177" fmla="*/ 1707623 w 2705151"/>
              <a:gd name="connsiteY177" fmla="*/ 81518 h 2382034"/>
              <a:gd name="connsiteX178" fmla="*/ 1763963 w 2705151"/>
              <a:gd name="connsiteY178" fmla="*/ 155779 h 2382034"/>
              <a:gd name="connsiteX179" fmla="*/ 1856767 w 2705151"/>
              <a:gd name="connsiteY179" fmla="*/ 242557 h 2382034"/>
              <a:gd name="connsiteX180" fmla="*/ 1813445 w 2705151"/>
              <a:gd name="connsiteY180" fmla="*/ 244661 h 2382034"/>
              <a:gd name="connsiteX181" fmla="*/ 1880715 w 2705151"/>
              <a:gd name="connsiteY181" fmla="*/ 347953 h 2382034"/>
              <a:gd name="connsiteX182" fmla="*/ 1907343 w 2705151"/>
              <a:gd name="connsiteY182" fmla="*/ 377510 h 2382034"/>
              <a:gd name="connsiteX183" fmla="*/ 1947189 w 2705151"/>
              <a:gd name="connsiteY183" fmla="*/ 460712 h 2382034"/>
              <a:gd name="connsiteX184" fmla="*/ 1776581 w 2705151"/>
              <a:gd name="connsiteY184" fmla="*/ 375722 h 2382034"/>
              <a:gd name="connsiteX185" fmla="*/ 1621773 w 2705151"/>
              <a:gd name="connsiteY185" fmla="*/ 327442 h 2382034"/>
              <a:gd name="connsiteX186" fmla="*/ 1495581 w 2705151"/>
              <a:gd name="connsiteY186" fmla="*/ 367623 h 2382034"/>
              <a:gd name="connsiteX187" fmla="*/ 1491309 w 2705151"/>
              <a:gd name="connsiteY187" fmla="*/ 233722 h 2382034"/>
              <a:gd name="connsiteX188" fmla="*/ 1516647 w 2705151"/>
              <a:gd name="connsiteY188" fmla="*/ 0 h 2382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2705151" h="2382034">
                <a:moveTo>
                  <a:pt x="1329147" y="2090347"/>
                </a:moveTo>
                <a:cubicBezTo>
                  <a:pt x="1307983" y="2087928"/>
                  <a:pt x="1241011" y="2272002"/>
                  <a:pt x="1166291" y="2235819"/>
                </a:cubicBezTo>
                <a:cubicBezTo>
                  <a:pt x="1132705" y="2219620"/>
                  <a:pt x="1158043" y="2152407"/>
                  <a:pt x="1162317" y="2127372"/>
                </a:cubicBezTo>
                <a:cubicBezTo>
                  <a:pt x="1173941" y="2060790"/>
                  <a:pt x="1242303" y="2107703"/>
                  <a:pt x="1287911" y="2102233"/>
                </a:cubicBezTo>
                <a:cubicBezTo>
                  <a:pt x="1275093" y="2103811"/>
                  <a:pt x="1302419" y="2100550"/>
                  <a:pt x="1287911" y="2102233"/>
                </a:cubicBezTo>
                <a:cubicBezTo>
                  <a:pt x="1301227" y="2096764"/>
                  <a:pt x="1314939" y="2092767"/>
                  <a:pt x="1329147" y="2090347"/>
                </a:cubicBezTo>
                <a:close/>
                <a:moveTo>
                  <a:pt x="2540017" y="1669426"/>
                </a:moveTo>
                <a:cubicBezTo>
                  <a:pt x="2548497" y="1668450"/>
                  <a:pt x="2546755" y="1671360"/>
                  <a:pt x="2546649" y="1678099"/>
                </a:cubicBezTo>
                <a:cubicBezTo>
                  <a:pt x="2546483" y="1687135"/>
                  <a:pt x="2547331" y="1694717"/>
                  <a:pt x="2555631" y="1699848"/>
                </a:cubicBezTo>
                <a:cubicBezTo>
                  <a:pt x="2570229" y="1708865"/>
                  <a:pt x="2586161" y="1711679"/>
                  <a:pt x="2585935" y="1732528"/>
                </a:cubicBezTo>
                <a:cubicBezTo>
                  <a:pt x="2585707" y="1751902"/>
                  <a:pt x="2575499" y="1767927"/>
                  <a:pt x="2567883" y="1784965"/>
                </a:cubicBezTo>
                <a:cubicBezTo>
                  <a:pt x="2564475" y="1792604"/>
                  <a:pt x="2561975" y="1800971"/>
                  <a:pt x="2566791" y="1808609"/>
                </a:cubicBezTo>
                <a:cubicBezTo>
                  <a:pt x="2571213" y="1815597"/>
                  <a:pt x="2579709" y="1817971"/>
                  <a:pt x="2585617" y="1811270"/>
                </a:cubicBezTo>
                <a:cubicBezTo>
                  <a:pt x="2575833" y="1822355"/>
                  <a:pt x="2589675" y="1806733"/>
                  <a:pt x="2585617" y="1811270"/>
                </a:cubicBezTo>
                <a:cubicBezTo>
                  <a:pt x="2590493" y="1805795"/>
                  <a:pt x="2596005" y="1795801"/>
                  <a:pt x="2595293" y="1788220"/>
                </a:cubicBezTo>
                <a:cubicBezTo>
                  <a:pt x="2606107" y="1785004"/>
                  <a:pt x="2603775" y="1804895"/>
                  <a:pt x="2602851" y="1810926"/>
                </a:cubicBezTo>
                <a:cubicBezTo>
                  <a:pt x="2601123" y="1822374"/>
                  <a:pt x="2595173" y="1831832"/>
                  <a:pt x="2592415" y="1842821"/>
                </a:cubicBezTo>
                <a:cubicBezTo>
                  <a:pt x="2589509" y="1854576"/>
                  <a:pt x="2599927" y="1862291"/>
                  <a:pt x="2609151" y="1867020"/>
                </a:cubicBezTo>
                <a:cubicBezTo>
                  <a:pt x="2628035" y="1876708"/>
                  <a:pt x="2642907" y="1874161"/>
                  <a:pt x="2660519" y="1863766"/>
                </a:cubicBezTo>
                <a:cubicBezTo>
                  <a:pt x="2674907" y="1855284"/>
                  <a:pt x="2690597" y="1846267"/>
                  <a:pt x="2705151" y="1859803"/>
                </a:cubicBezTo>
                <a:cubicBezTo>
                  <a:pt x="2694003" y="1867154"/>
                  <a:pt x="2686613" y="1879062"/>
                  <a:pt x="2678481" y="1889324"/>
                </a:cubicBezTo>
                <a:cubicBezTo>
                  <a:pt x="2669713" y="1900428"/>
                  <a:pt x="2659035" y="1910154"/>
                  <a:pt x="2647617" y="1918443"/>
                </a:cubicBezTo>
                <a:cubicBezTo>
                  <a:pt x="2625475" y="1934525"/>
                  <a:pt x="2599579" y="1939598"/>
                  <a:pt x="2575091" y="1950741"/>
                </a:cubicBezTo>
                <a:cubicBezTo>
                  <a:pt x="2570715" y="1952712"/>
                  <a:pt x="2564839" y="1954818"/>
                  <a:pt x="2563491" y="1960122"/>
                </a:cubicBezTo>
                <a:cubicBezTo>
                  <a:pt x="2562143" y="1965406"/>
                  <a:pt x="2564777" y="1970843"/>
                  <a:pt x="2560809" y="1975495"/>
                </a:cubicBezTo>
                <a:cubicBezTo>
                  <a:pt x="2553753" y="1983746"/>
                  <a:pt x="2541213" y="1989088"/>
                  <a:pt x="2533051" y="1996784"/>
                </a:cubicBezTo>
                <a:cubicBezTo>
                  <a:pt x="2523767" y="2005533"/>
                  <a:pt x="2515013" y="2014895"/>
                  <a:pt x="2504701" y="2022438"/>
                </a:cubicBezTo>
                <a:cubicBezTo>
                  <a:pt x="2492887" y="2031034"/>
                  <a:pt x="2479091" y="2036988"/>
                  <a:pt x="2466673" y="2044723"/>
                </a:cubicBezTo>
                <a:cubicBezTo>
                  <a:pt x="2448061" y="2056343"/>
                  <a:pt x="2429327" y="2069534"/>
                  <a:pt x="2409185" y="2078456"/>
                </a:cubicBezTo>
                <a:cubicBezTo>
                  <a:pt x="2401265" y="2081978"/>
                  <a:pt x="2383697" y="2077843"/>
                  <a:pt x="2380759" y="2067811"/>
                </a:cubicBezTo>
                <a:lnTo>
                  <a:pt x="2384021" y="2061314"/>
                </a:lnTo>
                <a:lnTo>
                  <a:pt x="2367359" y="2075926"/>
                </a:lnTo>
                <a:cubicBezTo>
                  <a:pt x="2362847" y="2080782"/>
                  <a:pt x="2359377" y="2086363"/>
                  <a:pt x="2356901" y="2094938"/>
                </a:cubicBezTo>
                <a:cubicBezTo>
                  <a:pt x="2355239" y="2100683"/>
                  <a:pt x="2353391" y="2101877"/>
                  <a:pt x="2348945" y="2104987"/>
                </a:cubicBezTo>
                <a:cubicBezTo>
                  <a:pt x="2333893" y="2115477"/>
                  <a:pt x="2318923" y="2125968"/>
                  <a:pt x="2303897" y="2136474"/>
                </a:cubicBezTo>
                <a:cubicBezTo>
                  <a:pt x="2273471" y="2157700"/>
                  <a:pt x="2243073" y="2178959"/>
                  <a:pt x="2212675" y="2200218"/>
                </a:cubicBezTo>
                <a:cubicBezTo>
                  <a:pt x="2212889" y="2200071"/>
                  <a:pt x="2220441" y="2209547"/>
                  <a:pt x="2221271" y="2210529"/>
                </a:cubicBezTo>
                <a:cubicBezTo>
                  <a:pt x="2224593" y="2214505"/>
                  <a:pt x="2213907" y="2219120"/>
                  <a:pt x="2211683" y="2220119"/>
                </a:cubicBezTo>
                <a:cubicBezTo>
                  <a:pt x="2204773" y="2223196"/>
                  <a:pt x="2197461" y="2223081"/>
                  <a:pt x="2189989" y="2223670"/>
                </a:cubicBezTo>
                <a:cubicBezTo>
                  <a:pt x="2178955" y="2224619"/>
                  <a:pt x="2168857" y="2228171"/>
                  <a:pt x="2158439" y="2231689"/>
                </a:cubicBezTo>
                <a:cubicBezTo>
                  <a:pt x="2141807" y="2237335"/>
                  <a:pt x="2120647" y="2240036"/>
                  <a:pt x="2106855" y="2251606"/>
                </a:cubicBezTo>
                <a:cubicBezTo>
                  <a:pt x="2090891" y="2265026"/>
                  <a:pt x="2077983" y="2282079"/>
                  <a:pt x="2061859" y="2295564"/>
                </a:cubicBezTo>
                <a:cubicBezTo>
                  <a:pt x="2025461" y="2325971"/>
                  <a:pt x="1984993" y="2348507"/>
                  <a:pt x="1943853" y="2371550"/>
                </a:cubicBezTo>
                <a:cubicBezTo>
                  <a:pt x="1925319" y="2381909"/>
                  <a:pt x="1903251" y="2385035"/>
                  <a:pt x="1882467" y="2378931"/>
                </a:cubicBezTo>
                <a:cubicBezTo>
                  <a:pt x="1873601" y="2376328"/>
                  <a:pt x="1865727" y="2371386"/>
                  <a:pt x="1858255" y="2366034"/>
                </a:cubicBezTo>
                <a:cubicBezTo>
                  <a:pt x="1856997" y="2363514"/>
                  <a:pt x="1858255" y="2357442"/>
                  <a:pt x="1858255" y="2354529"/>
                </a:cubicBezTo>
                <a:cubicBezTo>
                  <a:pt x="1839533" y="2357819"/>
                  <a:pt x="1824669" y="2357672"/>
                  <a:pt x="1805573" y="2356461"/>
                </a:cubicBezTo>
                <a:cubicBezTo>
                  <a:pt x="1806243" y="2356493"/>
                  <a:pt x="1814867" y="2341748"/>
                  <a:pt x="1818509" y="2340226"/>
                </a:cubicBezTo>
                <a:cubicBezTo>
                  <a:pt x="1830937" y="2335038"/>
                  <a:pt x="1836267" y="2328443"/>
                  <a:pt x="1845293" y="2319016"/>
                </a:cubicBezTo>
                <a:cubicBezTo>
                  <a:pt x="1855497" y="2308362"/>
                  <a:pt x="1870603" y="2302700"/>
                  <a:pt x="1883057" y="2295171"/>
                </a:cubicBezTo>
                <a:cubicBezTo>
                  <a:pt x="1898509" y="2285794"/>
                  <a:pt x="1913963" y="2276498"/>
                  <a:pt x="1929497" y="2267235"/>
                </a:cubicBezTo>
                <a:cubicBezTo>
                  <a:pt x="1942005" y="2259805"/>
                  <a:pt x="1954487" y="2252523"/>
                  <a:pt x="1966511" y="2244340"/>
                </a:cubicBezTo>
                <a:cubicBezTo>
                  <a:pt x="1979287" y="2235682"/>
                  <a:pt x="1994741" y="2233555"/>
                  <a:pt x="2008989" y="2228449"/>
                </a:cubicBezTo>
                <a:cubicBezTo>
                  <a:pt x="2042521" y="2216469"/>
                  <a:pt x="2075037" y="2200185"/>
                  <a:pt x="2107711" y="2186046"/>
                </a:cubicBezTo>
                <a:cubicBezTo>
                  <a:pt x="2119497" y="2180956"/>
                  <a:pt x="2130825" y="2175081"/>
                  <a:pt x="2141941" y="2168649"/>
                </a:cubicBezTo>
                <a:cubicBezTo>
                  <a:pt x="2150939" y="2163445"/>
                  <a:pt x="2162589" y="2161301"/>
                  <a:pt x="2170893" y="2155540"/>
                </a:cubicBezTo>
                <a:cubicBezTo>
                  <a:pt x="2175687" y="2152202"/>
                  <a:pt x="2180535" y="2147406"/>
                  <a:pt x="2184953" y="2144199"/>
                </a:cubicBezTo>
                <a:cubicBezTo>
                  <a:pt x="2195051" y="2136932"/>
                  <a:pt x="2200435" y="2124527"/>
                  <a:pt x="2209461" y="2116230"/>
                </a:cubicBezTo>
                <a:cubicBezTo>
                  <a:pt x="2218593" y="2107769"/>
                  <a:pt x="2231181" y="2102712"/>
                  <a:pt x="2242885" y="2098866"/>
                </a:cubicBezTo>
                <a:cubicBezTo>
                  <a:pt x="2254509" y="2095037"/>
                  <a:pt x="2262277" y="2086706"/>
                  <a:pt x="2271677" y="2078818"/>
                </a:cubicBezTo>
                <a:cubicBezTo>
                  <a:pt x="2280327" y="2071519"/>
                  <a:pt x="2281211" y="2059556"/>
                  <a:pt x="2291255" y="2052830"/>
                </a:cubicBezTo>
                <a:cubicBezTo>
                  <a:pt x="2304325" y="2044074"/>
                  <a:pt x="2320101" y="2038346"/>
                  <a:pt x="2334295" y="2031538"/>
                </a:cubicBezTo>
                <a:cubicBezTo>
                  <a:pt x="2330787" y="2046251"/>
                  <a:pt x="2327251" y="2060947"/>
                  <a:pt x="2323717" y="2075660"/>
                </a:cubicBezTo>
                <a:cubicBezTo>
                  <a:pt x="2335099" y="2070734"/>
                  <a:pt x="2346429" y="2065791"/>
                  <a:pt x="2357785" y="2060882"/>
                </a:cubicBezTo>
                <a:cubicBezTo>
                  <a:pt x="2364667" y="2057879"/>
                  <a:pt x="2368303" y="2055616"/>
                  <a:pt x="2371687" y="2055282"/>
                </a:cubicBezTo>
                <a:lnTo>
                  <a:pt x="2384057" y="2061244"/>
                </a:lnTo>
                <a:lnTo>
                  <a:pt x="2384901" y="2059560"/>
                </a:lnTo>
                <a:cubicBezTo>
                  <a:pt x="2394157" y="2050437"/>
                  <a:pt x="2415531" y="2039682"/>
                  <a:pt x="2420029" y="2036165"/>
                </a:cubicBezTo>
                <a:cubicBezTo>
                  <a:pt x="2431751" y="2027014"/>
                  <a:pt x="2451953" y="2016790"/>
                  <a:pt x="2452361" y="1999541"/>
                </a:cubicBezTo>
                <a:cubicBezTo>
                  <a:pt x="2452907" y="1979190"/>
                  <a:pt x="2414093" y="1970230"/>
                  <a:pt x="2418029" y="1950970"/>
                </a:cubicBezTo>
                <a:cubicBezTo>
                  <a:pt x="2421165" y="1935961"/>
                  <a:pt x="2450181" y="1935520"/>
                  <a:pt x="2460887" y="1929815"/>
                </a:cubicBezTo>
                <a:cubicBezTo>
                  <a:pt x="2479137" y="1920071"/>
                  <a:pt x="2489207" y="1905157"/>
                  <a:pt x="2503383" y="1890760"/>
                </a:cubicBezTo>
                <a:cubicBezTo>
                  <a:pt x="2538971" y="1854538"/>
                  <a:pt x="2540637" y="1810103"/>
                  <a:pt x="2533959" y="1762413"/>
                </a:cubicBezTo>
                <a:cubicBezTo>
                  <a:pt x="2531581" y="1745546"/>
                  <a:pt x="2522147" y="1719682"/>
                  <a:pt x="2534443" y="1706089"/>
                </a:cubicBezTo>
                <a:cubicBezTo>
                  <a:pt x="2540819" y="1699005"/>
                  <a:pt x="2535473" y="1682234"/>
                  <a:pt x="2534367" y="1673791"/>
                </a:cubicBezTo>
                <a:cubicBezTo>
                  <a:pt x="2533747" y="1668967"/>
                  <a:pt x="2533051" y="1670269"/>
                  <a:pt x="2540017" y="1669426"/>
                </a:cubicBezTo>
                <a:close/>
                <a:moveTo>
                  <a:pt x="36765" y="1271986"/>
                </a:moveTo>
                <a:lnTo>
                  <a:pt x="36813" y="1272075"/>
                </a:lnTo>
                <a:lnTo>
                  <a:pt x="36853" y="1272247"/>
                </a:lnTo>
                <a:close/>
                <a:moveTo>
                  <a:pt x="33249" y="1265379"/>
                </a:moveTo>
                <a:cubicBezTo>
                  <a:pt x="34143" y="1265616"/>
                  <a:pt x="35031" y="1267233"/>
                  <a:pt x="35953" y="1269583"/>
                </a:cubicBezTo>
                <a:lnTo>
                  <a:pt x="36765" y="1271986"/>
                </a:lnTo>
                <a:close/>
                <a:moveTo>
                  <a:pt x="1896385" y="1217924"/>
                </a:moveTo>
                <a:cubicBezTo>
                  <a:pt x="1896655" y="1218447"/>
                  <a:pt x="1901705" y="1228643"/>
                  <a:pt x="1898203" y="1221622"/>
                </a:cubicBezTo>
                <a:cubicBezTo>
                  <a:pt x="1896737" y="1218650"/>
                  <a:pt x="1896295" y="1217750"/>
                  <a:pt x="1896385" y="1217924"/>
                </a:cubicBezTo>
                <a:close/>
                <a:moveTo>
                  <a:pt x="111729" y="1070576"/>
                </a:moveTo>
                <a:lnTo>
                  <a:pt x="118701" y="1070576"/>
                </a:lnTo>
                <a:lnTo>
                  <a:pt x="112207" y="1075183"/>
                </a:lnTo>
                <a:lnTo>
                  <a:pt x="111895" y="1073561"/>
                </a:lnTo>
                <a:close/>
                <a:moveTo>
                  <a:pt x="111381" y="1064332"/>
                </a:moveTo>
                <a:lnTo>
                  <a:pt x="111729" y="1070576"/>
                </a:lnTo>
                <a:lnTo>
                  <a:pt x="111149" y="1070576"/>
                </a:lnTo>
                <a:cubicBezTo>
                  <a:pt x="111373" y="1064633"/>
                  <a:pt x="111353" y="1063193"/>
                  <a:pt x="111381" y="1064332"/>
                </a:cubicBezTo>
                <a:close/>
                <a:moveTo>
                  <a:pt x="1565809" y="470987"/>
                </a:moveTo>
                <a:cubicBezTo>
                  <a:pt x="1571371" y="474289"/>
                  <a:pt x="1576177" y="490782"/>
                  <a:pt x="1582325" y="527820"/>
                </a:cubicBezTo>
                <a:cubicBezTo>
                  <a:pt x="1588387" y="564950"/>
                  <a:pt x="1592063" y="602501"/>
                  <a:pt x="1598125" y="639527"/>
                </a:cubicBezTo>
                <a:cubicBezTo>
                  <a:pt x="1605079" y="682021"/>
                  <a:pt x="1617003" y="647836"/>
                  <a:pt x="1639957" y="649730"/>
                </a:cubicBezTo>
                <a:cubicBezTo>
                  <a:pt x="1695899" y="654042"/>
                  <a:pt x="1659829" y="881137"/>
                  <a:pt x="1687651" y="917216"/>
                </a:cubicBezTo>
                <a:cubicBezTo>
                  <a:pt x="1702257" y="936254"/>
                  <a:pt x="1791983" y="954451"/>
                  <a:pt x="1779861" y="990425"/>
                </a:cubicBezTo>
                <a:cubicBezTo>
                  <a:pt x="1774097" y="1007149"/>
                  <a:pt x="1813147" y="1093506"/>
                  <a:pt x="1810663" y="1096136"/>
                </a:cubicBezTo>
                <a:cubicBezTo>
                  <a:pt x="1812153" y="1089930"/>
                  <a:pt x="1813545" y="1083724"/>
                  <a:pt x="1815035" y="1077518"/>
                </a:cubicBezTo>
                <a:cubicBezTo>
                  <a:pt x="1858953" y="1075835"/>
                  <a:pt x="1840175" y="1132530"/>
                  <a:pt x="1845837" y="1155145"/>
                </a:cubicBezTo>
                <a:cubicBezTo>
                  <a:pt x="1853489" y="1185544"/>
                  <a:pt x="1885483" y="1195852"/>
                  <a:pt x="1898203" y="1221622"/>
                </a:cubicBezTo>
                <a:cubicBezTo>
                  <a:pt x="1916783" y="1259173"/>
                  <a:pt x="1919765" y="1315868"/>
                  <a:pt x="1894427" y="1351526"/>
                </a:cubicBezTo>
                <a:cubicBezTo>
                  <a:pt x="1885881" y="1363622"/>
                  <a:pt x="1898003" y="1410114"/>
                  <a:pt x="1896315" y="1426628"/>
                </a:cubicBezTo>
                <a:cubicBezTo>
                  <a:pt x="1891247" y="1474382"/>
                  <a:pt x="1826065" y="1503203"/>
                  <a:pt x="1819109" y="1550957"/>
                </a:cubicBezTo>
                <a:cubicBezTo>
                  <a:pt x="1813743" y="1587982"/>
                  <a:pt x="1763863" y="1638471"/>
                  <a:pt x="1733061" y="1657089"/>
                </a:cubicBezTo>
                <a:cubicBezTo>
                  <a:pt x="1640055" y="1713574"/>
                  <a:pt x="1580139" y="1823598"/>
                  <a:pt x="1512175" y="1905326"/>
                </a:cubicBezTo>
                <a:cubicBezTo>
                  <a:pt x="1481273" y="1942457"/>
                  <a:pt x="1431293" y="1931202"/>
                  <a:pt x="1388567" y="1949504"/>
                </a:cubicBezTo>
                <a:cubicBezTo>
                  <a:pt x="1372669" y="1956341"/>
                  <a:pt x="1310665" y="2002307"/>
                  <a:pt x="1297749" y="2001045"/>
                </a:cubicBezTo>
                <a:cubicBezTo>
                  <a:pt x="1269927" y="1998626"/>
                  <a:pt x="1274995" y="1955184"/>
                  <a:pt x="1272411" y="1944876"/>
                </a:cubicBezTo>
                <a:cubicBezTo>
                  <a:pt x="1270523" y="1937303"/>
                  <a:pt x="1191727" y="1987686"/>
                  <a:pt x="1180797" y="1985793"/>
                </a:cubicBezTo>
                <a:cubicBezTo>
                  <a:pt x="1152479" y="1980850"/>
                  <a:pt x="1096835" y="1958235"/>
                  <a:pt x="1072591" y="1941405"/>
                </a:cubicBezTo>
                <a:cubicBezTo>
                  <a:pt x="1036423" y="1916160"/>
                  <a:pt x="1085509" y="1865461"/>
                  <a:pt x="1076665" y="1832118"/>
                </a:cubicBezTo>
                <a:cubicBezTo>
                  <a:pt x="1071001" y="1810134"/>
                  <a:pt x="1029865" y="1817286"/>
                  <a:pt x="1028971" y="1810975"/>
                </a:cubicBezTo>
                <a:cubicBezTo>
                  <a:pt x="1027777" y="1802666"/>
                  <a:pt x="1086601" y="1752703"/>
                  <a:pt x="1053711" y="1738082"/>
                </a:cubicBezTo>
                <a:cubicBezTo>
                  <a:pt x="1058283" y="1740080"/>
                  <a:pt x="995981" y="1795408"/>
                  <a:pt x="973127" y="1793830"/>
                </a:cubicBezTo>
                <a:cubicBezTo>
                  <a:pt x="990615" y="1768375"/>
                  <a:pt x="1018041" y="1752177"/>
                  <a:pt x="1038409" y="1722935"/>
                </a:cubicBezTo>
                <a:cubicBezTo>
                  <a:pt x="1054209" y="1700426"/>
                  <a:pt x="1060469" y="1676128"/>
                  <a:pt x="1072293" y="1655932"/>
                </a:cubicBezTo>
                <a:cubicBezTo>
                  <a:pt x="1041491" y="1708946"/>
                  <a:pt x="968259" y="1736714"/>
                  <a:pt x="923545" y="1777106"/>
                </a:cubicBezTo>
                <a:cubicBezTo>
                  <a:pt x="922155" y="1757015"/>
                  <a:pt x="931395" y="1700426"/>
                  <a:pt x="915695" y="1681808"/>
                </a:cubicBezTo>
                <a:cubicBezTo>
                  <a:pt x="904567" y="1668449"/>
                  <a:pt x="909337" y="1635842"/>
                  <a:pt x="898407" y="1631003"/>
                </a:cubicBezTo>
                <a:cubicBezTo>
                  <a:pt x="836999" y="1603760"/>
                  <a:pt x="779269" y="1590191"/>
                  <a:pt x="712895" y="1593768"/>
                </a:cubicBezTo>
                <a:cubicBezTo>
                  <a:pt x="629033" y="1598080"/>
                  <a:pt x="544971" y="1646571"/>
                  <a:pt x="462897" y="1661086"/>
                </a:cubicBezTo>
                <a:cubicBezTo>
                  <a:pt x="421759" y="1668449"/>
                  <a:pt x="417587" y="1716834"/>
                  <a:pt x="372475" y="1718517"/>
                </a:cubicBezTo>
                <a:cubicBezTo>
                  <a:pt x="334021" y="1720095"/>
                  <a:pt x="295171" y="1713994"/>
                  <a:pt x="256617" y="1715677"/>
                </a:cubicBezTo>
                <a:cubicBezTo>
                  <a:pt x="194317" y="1718307"/>
                  <a:pt x="142747" y="1775633"/>
                  <a:pt x="76273" y="1782786"/>
                </a:cubicBezTo>
                <a:cubicBezTo>
                  <a:pt x="50835" y="1785520"/>
                  <a:pt x="-7291" y="1739028"/>
                  <a:pt x="757" y="1712101"/>
                </a:cubicBezTo>
                <a:cubicBezTo>
                  <a:pt x="5625" y="1696113"/>
                  <a:pt x="33249" y="1701898"/>
                  <a:pt x="45569" y="1677811"/>
                </a:cubicBezTo>
                <a:cubicBezTo>
                  <a:pt x="71801" y="1627006"/>
                  <a:pt x="74285" y="1593347"/>
                  <a:pt x="63653" y="1539913"/>
                </a:cubicBezTo>
                <a:cubicBezTo>
                  <a:pt x="55803" y="1500994"/>
                  <a:pt x="77167" y="1467124"/>
                  <a:pt x="63653" y="1426944"/>
                </a:cubicBezTo>
                <a:cubicBezTo>
                  <a:pt x="57991" y="1410299"/>
                  <a:pt x="48749" y="1329043"/>
                  <a:pt x="40711" y="1288479"/>
                </a:cubicBezTo>
                <a:lnTo>
                  <a:pt x="36853" y="1272247"/>
                </a:lnTo>
                <a:lnTo>
                  <a:pt x="38863" y="1278185"/>
                </a:lnTo>
                <a:cubicBezTo>
                  <a:pt x="40925" y="1284523"/>
                  <a:pt x="43285" y="1291202"/>
                  <a:pt x="46265" y="1293043"/>
                </a:cubicBezTo>
                <a:cubicBezTo>
                  <a:pt x="54611" y="1298197"/>
                  <a:pt x="51133" y="1268745"/>
                  <a:pt x="51035" y="1269166"/>
                </a:cubicBezTo>
                <a:cubicBezTo>
                  <a:pt x="53319" y="1258016"/>
                  <a:pt x="69517" y="1318603"/>
                  <a:pt x="81539" y="1304192"/>
                </a:cubicBezTo>
                <a:cubicBezTo>
                  <a:pt x="114825" y="1264117"/>
                  <a:pt x="35931" y="1209315"/>
                  <a:pt x="85117" y="1158300"/>
                </a:cubicBezTo>
                <a:cubicBezTo>
                  <a:pt x="97041" y="1145915"/>
                  <a:pt x="92587" y="1102763"/>
                  <a:pt x="102653" y="1081961"/>
                </a:cubicBezTo>
                <a:lnTo>
                  <a:pt x="112207" y="1075183"/>
                </a:lnTo>
                <a:lnTo>
                  <a:pt x="114419" y="1086714"/>
                </a:lnTo>
                <a:cubicBezTo>
                  <a:pt x="115789" y="1090469"/>
                  <a:pt x="117783" y="1092954"/>
                  <a:pt x="120689" y="1092244"/>
                </a:cubicBezTo>
                <a:cubicBezTo>
                  <a:pt x="150597" y="1084671"/>
                  <a:pt x="206141" y="1025662"/>
                  <a:pt x="233565" y="1005887"/>
                </a:cubicBezTo>
                <a:cubicBezTo>
                  <a:pt x="259697" y="987164"/>
                  <a:pt x="288613" y="1002100"/>
                  <a:pt x="319217" y="987059"/>
                </a:cubicBezTo>
                <a:cubicBezTo>
                  <a:pt x="329551" y="982010"/>
                  <a:pt x="368203" y="959816"/>
                  <a:pt x="379629" y="960657"/>
                </a:cubicBezTo>
                <a:cubicBezTo>
                  <a:pt x="464287" y="966653"/>
                  <a:pt x="466573" y="928155"/>
                  <a:pt x="512181" y="885555"/>
                </a:cubicBezTo>
                <a:cubicBezTo>
                  <a:pt x="517547" y="880506"/>
                  <a:pt x="583623" y="761331"/>
                  <a:pt x="587697" y="769430"/>
                </a:cubicBezTo>
                <a:cubicBezTo>
                  <a:pt x="594751" y="787522"/>
                  <a:pt x="601607" y="805404"/>
                  <a:pt x="609657" y="823075"/>
                </a:cubicBezTo>
                <a:cubicBezTo>
                  <a:pt x="612141" y="812977"/>
                  <a:pt x="614525" y="802774"/>
                  <a:pt x="616909" y="792571"/>
                </a:cubicBezTo>
                <a:cubicBezTo>
                  <a:pt x="630225" y="819814"/>
                  <a:pt x="589983" y="744396"/>
                  <a:pt x="638969" y="758281"/>
                </a:cubicBezTo>
                <a:cubicBezTo>
                  <a:pt x="671759" y="767537"/>
                  <a:pt x="652879" y="720204"/>
                  <a:pt x="680403" y="705478"/>
                </a:cubicBezTo>
                <a:cubicBezTo>
                  <a:pt x="715577" y="686650"/>
                  <a:pt x="847731" y="550540"/>
                  <a:pt x="851209" y="686755"/>
                </a:cubicBezTo>
                <a:cubicBezTo>
                  <a:pt x="851209" y="672660"/>
                  <a:pt x="931197" y="689805"/>
                  <a:pt x="925533" y="672976"/>
                </a:cubicBezTo>
                <a:cubicBezTo>
                  <a:pt x="912119" y="632690"/>
                  <a:pt x="960311" y="573155"/>
                  <a:pt x="998367" y="547910"/>
                </a:cubicBezTo>
                <a:cubicBezTo>
                  <a:pt x="1037913" y="521824"/>
                  <a:pt x="1121577" y="550645"/>
                  <a:pt x="1051525" y="493950"/>
                </a:cubicBezTo>
                <a:cubicBezTo>
                  <a:pt x="1041887" y="486166"/>
                  <a:pt x="1073983" y="475017"/>
                  <a:pt x="1086701" y="487849"/>
                </a:cubicBezTo>
                <a:cubicBezTo>
                  <a:pt x="1101505" y="502470"/>
                  <a:pt x="1118695" y="513620"/>
                  <a:pt x="1138369" y="521298"/>
                </a:cubicBezTo>
                <a:cubicBezTo>
                  <a:pt x="1143437" y="523718"/>
                  <a:pt x="1199677" y="544439"/>
                  <a:pt x="1204149" y="543492"/>
                </a:cubicBezTo>
                <a:cubicBezTo>
                  <a:pt x="1233163" y="536866"/>
                  <a:pt x="1255817" y="507624"/>
                  <a:pt x="1281155" y="540863"/>
                </a:cubicBezTo>
                <a:cubicBezTo>
                  <a:pt x="1295861" y="560322"/>
                  <a:pt x="1230083" y="595033"/>
                  <a:pt x="1230083" y="620278"/>
                </a:cubicBezTo>
                <a:cubicBezTo>
                  <a:pt x="1230083" y="671713"/>
                  <a:pt x="1183381" y="669084"/>
                  <a:pt x="1227897" y="719888"/>
                </a:cubicBezTo>
                <a:cubicBezTo>
                  <a:pt x="1241609" y="735561"/>
                  <a:pt x="1299637" y="772586"/>
                  <a:pt x="1318715" y="782053"/>
                </a:cubicBezTo>
                <a:cubicBezTo>
                  <a:pt x="1357167" y="801196"/>
                  <a:pt x="1375849" y="854946"/>
                  <a:pt x="1428411" y="829491"/>
                </a:cubicBezTo>
                <a:cubicBezTo>
                  <a:pt x="1484551" y="802353"/>
                  <a:pt x="1488923" y="683915"/>
                  <a:pt x="1493893" y="632479"/>
                </a:cubicBezTo>
                <a:cubicBezTo>
                  <a:pt x="1496277" y="607445"/>
                  <a:pt x="1508697" y="549804"/>
                  <a:pt x="1522013" y="530344"/>
                </a:cubicBezTo>
                <a:cubicBezTo>
                  <a:pt x="1545177" y="496619"/>
                  <a:pt x="1556541" y="465483"/>
                  <a:pt x="1565809" y="470987"/>
                </a:cubicBezTo>
                <a:close/>
                <a:moveTo>
                  <a:pt x="1926323" y="202166"/>
                </a:moveTo>
                <a:cubicBezTo>
                  <a:pt x="1918273" y="199011"/>
                  <a:pt x="1951461" y="211948"/>
                  <a:pt x="1926323" y="202166"/>
                </a:cubicBezTo>
                <a:close/>
                <a:moveTo>
                  <a:pt x="1975309" y="20090"/>
                </a:moveTo>
                <a:cubicBezTo>
                  <a:pt x="2006309" y="34185"/>
                  <a:pt x="2138961" y="100136"/>
                  <a:pt x="2084807" y="148101"/>
                </a:cubicBezTo>
                <a:cubicBezTo>
                  <a:pt x="2077951" y="141053"/>
                  <a:pt x="2074871" y="132113"/>
                  <a:pt x="2075665" y="121279"/>
                </a:cubicBezTo>
                <a:cubicBezTo>
                  <a:pt x="2077355" y="177132"/>
                  <a:pt x="1968849" y="218680"/>
                  <a:pt x="1926323" y="202166"/>
                </a:cubicBezTo>
                <a:cubicBezTo>
                  <a:pt x="1918273" y="199011"/>
                  <a:pt x="1871375" y="182707"/>
                  <a:pt x="1874653" y="173451"/>
                </a:cubicBezTo>
                <a:cubicBezTo>
                  <a:pt x="1937351" y="167771"/>
                  <a:pt x="1970141" y="166614"/>
                  <a:pt x="2024593" y="142842"/>
                </a:cubicBezTo>
                <a:cubicBezTo>
                  <a:pt x="2033933" y="138739"/>
                  <a:pt x="2038205" y="61849"/>
                  <a:pt x="2072287" y="111181"/>
                </a:cubicBezTo>
                <a:cubicBezTo>
                  <a:pt x="2054203" y="63216"/>
                  <a:pt x="1993591" y="63532"/>
                  <a:pt x="1975309" y="20090"/>
                </a:cubicBezTo>
                <a:close/>
                <a:moveTo>
                  <a:pt x="1516647" y="0"/>
                </a:moveTo>
                <a:cubicBezTo>
                  <a:pt x="1546257" y="3576"/>
                  <a:pt x="1701563" y="54065"/>
                  <a:pt x="1707623" y="81518"/>
                </a:cubicBezTo>
                <a:cubicBezTo>
                  <a:pt x="1732763" y="74576"/>
                  <a:pt x="1776879" y="132744"/>
                  <a:pt x="1763963" y="155779"/>
                </a:cubicBezTo>
                <a:cubicBezTo>
                  <a:pt x="1804801" y="151677"/>
                  <a:pt x="1867599" y="199116"/>
                  <a:pt x="1856767" y="242557"/>
                </a:cubicBezTo>
                <a:cubicBezTo>
                  <a:pt x="1842361" y="244661"/>
                  <a:pt x="1827555" y="242242"/>
                  <a:pt x="1813445" y="244661"/>
                </a:cubicBezTo>
                <a:cubicBezTo>
                  <a:pt x="1818911" y="260018"/>
                  <a:pt x="1874753" y="346480"/>
                  <a:pt x="1880715" y="347953"/>
                </a:cubicBezTo>
                <a:cubicBezTo>
                  <a:pt x="1898997" y="345849"/>
                  <a:pt x="1916883" y="354895"/>
                  <a:pt x="1907343" y="377510"/>
                </a:cubicBezTo>
                <a:cubicBezTo>
                  <a:pt x="1934967" y="377931"/>
                  <a:pt x="2005615" y="460712"/>
                  <a:pt x="1947189" y="460712"/>
                </a:cubicBezTo>
                <a:cubicBezTo>
                  <a:pt x="1894227" y="460712"/>
                  <a:pt x="1801819" y="415061"/>
                  <a:pt x="1776581" y="375722"/>
                </a:cubicBezTo>
                <a:cubicBezTo>
                  <a:pt x="1729185" y="316397"/>
                  <a:pt x="1699675" y="273061"/>
                  <a:pt x="1621773" y="327442"/>
                </a:cubicBezTo>
                <a:cubicBezTo>
                  <a:pt x="1654265" y="392552"/>
                  <a:pt x="1530557" y="389396"/>
                  <a:pt x="1495581" y="367623"/>
                </a:cubicBezTo>
                <a:cubicBezTo>
                  <a:pt x="1503829" y="333543"/>
                  <a:pt x="1520125" y="258545"/>
                  <a:pt x="1491309" y="233722"/>
                </a:cubicBezTo>
                <a:cubicBezTo>
                  <a:pt x="1530459" y="176816"/>
                  <a:pt x="1512373" y="67949"/>
                  <a:pt x="1516647" y="0"/>
                </a:cubicBezTo>
                <a:close/>
              </a:path>
            </a:pathLst>
          </a:custGeom>
          <a:solidFill>
            <a:schemeClr val="bg1">
              <a:lumMod val="95000"/>
            </a:schemeClr>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394" name="TextBox 51">
            <a:extLst>
              <a:ext uri="{FF2B5EF4-FFF2-40B4-BE49-F238E27FC236}">
                <a16:creationId xmlns:a16="http://schemas.microsoft.com/office/drawing/2014/main" id="{FCB75E14-18E8-4810-B41A-48071961E3F5}"/>
              </a:ext>
            </a:extLst>
          </p:cNvPr>
          <p:cNvSpPr txBox="1"/>
          <p:nvPr/>
        </p:nvSpPr>
        <p:spPr>
          <a:xfrm>
            <a:off x="8565956" y="3086124"/>
            <a:ext cx="1471493" cy="338554"/>
          </a:xfrm>
          <a:prstGeom prst="rect">
            <a:avLst/>
          </a:prstGeom>
          <a:noFill/>
        </p:spPr>
        <p:txBody>
          <a:bodyPr wrap="none" rtlCol="0" anchor="ctr" anchorCtr="0">
            <a:spAutoFit/>
          </a:bodyPr>
          <a:lstStyle/>
          <a:p>
            <a:r>
              <a:rPr lang="en-US" sz="1600" b="1" dirty="0">
                <a:solidFill>
                  <a:schemeClr val="accent2"/>
                </a:solidFill>
                <a:latin typeface="Segoe UI Light" panose="020B0502040204020203" pitchFamily="34" charset="0"/>
                <a:ea typeface="League Spartan" charset="0"/>
                <a:cs typeface="Poppins" pitchFamily="2" charset="77"/>
              </a:rPr>
              <a:t>YOUR TITLE 02</a:t>
            </a:r>
          </a:p>
        </p:txBody>
      </p:sp>
      <p:sp>
        <p:nvSpPr>
          <p:cNvPr id="395" name="TextBox 45">
            <a:extLst>
              <a:ext uri="{FF2B5EF4-FFF2-40B4-BE49-F238E27FC236}">
                <a16:creationId xmlns:a16="http://schemas.microsoft.com/office/drawing/2014/main" id="{4082E252-9C74-4367-A4DB-C02BDF8CA1C8}"/>
              </a:ext>
            </a:extLst>
          </p:cNvPr>
          <p:cNvSpPr txBox="1"/>
          <p:nvPr/>
        </p:nvSpPr>
        <p:spPr>
          <a:xfrm>
            <a:off x="2152039" y="4976739"/>
            <a:ext cx="1471493" cy="338554"/>
          </a:xfrm>
          <a:prstGeom prst="rect">
            <a:avLst/>
          </a:prstGeom>
          <a:noFill/>
        </p:spPr>
        <p:txBody>
          <a:bodyPr wrap="none" rtlCol="0" anchor="ctr" anchorCtr="0">
            <a:spAutoFit/>
          </a:bodyPr>
          <a:lstStyle/>
          <a:p>
            <a:pPr algn="r"/>
            <a:r>
              <a:rPr lang="en-US" sz="1600" b="1" dirty="0">
                <a:solidFill>
                  <a:schemeClr val="accent3"/>
                </a:solidFill>
                <a:latin typeface="Segoe UI Light" panose="020B0502040204020203" pitchFamily="34" charset="0"/>
                <a:ea typeface="League Spartan" charset="0"/>
                <a:cs typeface="Poppins" pitchFamily="2" charset="77"/>
              </a:rPr>
              <a:t>YOUR TITLE 03</a:t>
            </a:r>
          </a:p>
        </p:txBody>
      </p:sp>
      <p:sp>
        <p:nvSpPr>
          <p:cNvPr id="396" name="Subtitle 2">
            <a:extLst>
              <a:ext uri="{FF2B5EF4-FFF2-40B4-BE49-F238E27FC236}">
                <a16:creationId xmlns:a16="http://schemas.microsoft.com/office/drawing/2014/main" id="{5B004A02-830C-4A63-A8C9-2A54158CB87D}"/>
              </a:ext>
            </a:extLst>
          </p:cNvPr>
          <p:cNvSpPr txBox="1">
            <a:spLocks/>
          </p:cNvSpPr>
          <p:nvPr/>
        </p:nvSpPr>
        <p:spPr>
          <a:xfrm>
            <a:off x="757359" y="5309915"/>
            <a:ext cx="2868686" cy="715773"/>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 Aenean commodo ligula eget dolor. Aenean massa. .</a:t>
            </a:r>
          </a:p>
        </p:txBody>
      </p:sp>
      <p:sp>
        <p:nvSpPr>
          <p:cNvPr id="397" name="TextBox 49">
            <a:extLst>
              <a:ext uri="{FF2B5EF4-FFF2-40B4-BE49-F238E27FC236}">
                <a16:creationId xmlns:a16="http://schemas.microsoft.com/office/drawing/2014/main" id="{F4135DF6-90D6-41C6-B236-A740EE78F716}"/>
              </a:ext>
            </a:extLst>
          </p:cNvPr>
          <p:cNvSpPr txBox="1"/>
          <p:nvPr/>
        </p:nvSpPr>
        <p:spPr>
          <a:xfrm>
            <a:off x="2184100" y="1652707"/>
            <a:ext cx="1439432" cy="338554"/>
          </a:xfrm>
          <a:prstGeom prst="rect">
            <a:avLst/>
          </a:prstGeom>
          <a:noFill/>
        </p:spPr>
        <p:txBody>
          <a:bodyPr wrap="none" rtlCol="0" anchor="ctr" anchorCtr="0">
            <a:spAutoFit/>
          </a:bodyPr>
          <a:lstStyle/>
          <a:p>
            <a:pPr algn="r"/>
            <a:r>
              <a:rPr lang="en-US" sz="1600" b="1" dirty="0">
                <a:solidFill>
                  <a:schemeClr val="accent1"/>
                </a:solidFill>
                <a:latin typeface="Segoe UI Light" panose="020B0502040204020203" pitchFamily="34" charset="0"/>
                <a:ea typeface="League Spartan" charset="0"/>
                <a:cs typeface="Poppins" pitchFamily="2" charset="77"/>
              </a:rPr>
              <a:t>YOUR TITLE 01</a:t>
            </a:r>
          </a:p>
        </p:txBody>
      </p:sp>
      <p:sp>
        <p:nvSpPr>
          <p:cNvPr id="398" name="Subtitle 2">
            <a:extLst>
              <a:ext uri="{FF2B5EF4-FFF2-40B4-BE49-F238E27FC236}">
                <a16:creationId xmlns:a16="http://schemas.microsoft.com/office/drawing/2014/main" id="{3FD7FF44-CAD5-48E8-A0D2-5C6A51F1DD39}"/>
              </a:ext>
            </a:extLst>
          </p:cNvPr>
          <p:cNvSpPr txBox="1">
            <a:spLocks/>
          </p:cNvSpPr>
          <p:nvPr/>
        </p:nvSpPr>
        <p:spPr>
          <a:xfrm>
            <a:off x="757359" y="1985883"/>
            <a:ext cx="2868686" cy="715773"/>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 Aenean commodo ligula eget dolor. Aenean massa. </a:t>
            </a:r>
          </a:p>
        </p:txBody>
      </p:sp>
      <p:sp>
        <p:nvSpPr>
          <p:cNvPr id="399" name="Subtitle 2">
            <a:extLst>
              <a:ext uri="{FF2B5EF4-FFF2-40B4-BE49-F238E27FC236}">
                <a16:creationId xmlns:a16="http://schemas.microsoft.com/office/drawing/2014/main" id="{D0919985-E8F9-4D6E-8931-7DA33E747957}"/>
              </a:ext>
            </a:extLst>
          </p:cNvPr>
          <p:cNvSpPr txBox="1">
            <a:spLocks/>
          </p:cNvSpPr>
          <p:nvPr/>
        </p:nvSpPr>
        <p:spPr>
          <a:xfrm>
            <a:off x="8565956" y="3647899"/>
            <a:ext cx="2868686" cy="715773"/>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 Aenean commodo ligula eget dolor. Aenean massa. </a:t>
            </a:r>
          </a:p>
        </p:txBody>
      </p:sp>
    </p:spTree>
    <p:custDataLst>
      <p:tags r:id="rId1"/>
    </p:custDataLst>
    <p:extLst>
      <p:ext uri="{BB962C8B-B14F-4D97-AF65-F5344CB8AC3E}">
        <p14:creationId xmlns:p14="http://schemas.microsoft.com/office/powerpoint/2010/main" val="2185402637"/>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43AC98-C637-4454-9144-531F94627AE7}"/>
              </a:ext>
            </a:extLst>
          </p:cNvPr>
          <p:cNvSpPr>
            <a:spLocks noGrp="1"/>
          </p:cNvSpPr>
          <p:nvPr>
            <p:ph type="title"/>
          </p:nvPr>
        </p:nvSpPr>
        <p:spPr/>
        <p:txBody>
          <a:bodyPr/>
          <a:lstStyle/>
          <a:p>
            <a:r>
              <a:rPr lang="en-US" sz="3000" dirty="0"/>
              <a:t>Europe with text</a:t>
            </a:r>
          </a:p>
        </p:txBody>
      </p:sp>
      <p:grpSp>
        <p:nvGrpSpPr>
          <p:cNvPr id="246" name="Europe">
            <a:extLst>
              <a:ext uri="{FF2B5EF4-FFF2-40B4-BE49-F238E27FC236}">
                <a16:creationId xmlns:a16="http://schemas.microsoft.com/office/drawing/2014/main" id="{F76A8026-4FA9-4DD9-8819-C37D980F3AC2}"/>
              </a:ext>
            </a:extLst>
          </p:cNvPr>
          <p:cNvGrpSpPr>
            <a:grpSpLocks/>
          </p:cNvGrpSpPr>
          <p:nvPr>
            <p:custDataLst>
              <p:tags r:id="rId2"/>
            </p:custDataLst>
          </p:nvPr>
        </p:nvGrpSpPr>
        <p:grpSpPr>
          <a:xfrm>
            <a:off x="4932995" y="95250"/>
            <a:ext cx="7092604" cy="6649717"/>
            <a:chOff x="3371853" y="1447346"/>
            <a:chExt cx="5448295" cy="5091567"/>
          </a:xfrm>
        </p:grpSpPr>
        <p:sp>
          <p:nvSpPr>
            <p:cNvPr id="282" name="United Kingdom">
              <a:extLst>
                <a:ext uri="{FF2B5EF4-FFF2-40B4-BE49-F238E27FC236}">
                  <a16:creationId xmlns:a16="http://schemas.microsoft.com/office/drawing/2014/main" id="{270CA4AC-34E9-4693-AE8D-BD0391591573}"/>
                </a:ext>
              </a:extLst>
            </p:cNvPr>
            <p:cNvSpPr>
              <a:spLocks noEditPoints="1"/>
            </p:cNvSpPr>
            <p:nvPr/>
          </p:nvSpPr>
          <p:spPr bwMode="gray">
            <a:xfrm>
              <a:off x="4355890" y="3381368"/>
              <a:ext cx="778334" cy="1268247"/>
            </a:xfrm>
            <a:custGeom>
              <a:avLst/>
              <a:gdLst>
                <a:gd name="T0" fmla="*/ 118 w 395"/>
                <a:gd name="T1" fmla="*/ 256 h 549"/>
                <a:gd name="T2" fmla="*/ 111 w 395"/>
                <a:gd name="T3" fmla="*/ 221 h 549"/>
                <a:gd name="T4" fmla="*/ 98 w 395"/>
                <a:gd name="T5" fmla="*/ 248 h 549"/>
                <a:gd name="T6" fmla="*/ 222 w 395"/>
                <a:gd name="T7" fmla="*/ 93 h 549"/>
                <a:gd name="T8" fmla="*/ 97 w 395"/>
                <a:gd name="T9" fmla="*/ 159 h 549"/>
                <a:gd name="T10" fmla="*/ 93 w 395"/>
                <a:gd name="T11" fmla="*/ 183 h 549"/>
                <a:gd name="T12" fmla="*/ 325 w 395"/>
                <a:gd name="T13" fmla="*/ 1 h 549"/>
                <a:gd name="T14" fmla="*/ 296 w 395"/>
                <a:gd name="T15" fmla="*/ 36 h 549"/>
                <a:gd name="T16" fmla="*/ 301 w 395"/>
                <a:gd name="T17" fmla="*/ 12 h 549"/>
                <a:gd name="T18" fmla="*/ 296 w 395"/>
                <a:gd name="T19" fmla="*/ 36 h 549"/>
                <a:gd name="T20" fmla="*/ 246 w 395"/>
                <a:gd name="T21" fmla="*/ 96 h 549"/>
                <a:gd name="T22" fmla="*/ 128 w 395"/>
                <a:gd name="T23" fmla="*/ 258 h 549"/>
                <a:gd name="T24" fmla="*/ 331 w 395"/>
                <a:gd name="T25" fmla="*/ 402 h 549"/>
                <a:gd name="T26" fmla="*/ 330 w 395"/>
                <a:gd name="T27" fmla="*/ 357 h 549"/>
                <a:gd name="T28" fmla="*/ 291 w 395"/>
                <a:gd name="T29" fmla="*/ 314 h 549"/>
                <a:gd name="T30" fmla="*/ 265 w 395"/>
                <a:gd name="T31" fmla="*/ 261 h 549"/>
                <a:gd name="T32" fmla="*/ 191 w 395"/>
                <a:gd name="T33" fmla="*/ 235 h 549"/>
                <a:gd name="T34" fmla="*/ 214 w 395"/>
                <a:gd name="T35" fmla="*/ 222 h 549"/>
                <a:gd name="T36" fmla="*/ 261 w 395"/>
                <a:gd name="T37" fmla="*/ 177 h 549"/>
                <a:gd name="T38" fmla="*/ 211 w 395"/>
                <a:gd name="T39" fmla="*/ 154 h 549"/>
                <a:gd name="T40" fmla="*/ 179 w 395"/>
                <a:gd name="T41" fmla="*/ 147 h 549"/>
                <a:gd name="T42" fmla="*/ 224 w 395"/>
                <a:gd name="T43" fmla="*/ 112 h 549"/>
                <a:gd name="T44" fmla="*/ 153 w 395"/>
                <a:gd name="T45" fmla="*/ 110 h 549"/>
                <a:gd name="T46" fmla="*/ 144 w 395"/>
                <a:gd name="T47" fmla="*/ 148 h 549"/>
                <a:gd name="T48" fmla="*/ 121 w 395"/>
                <a:gd name="T49" fmla="*/ 162 h 549"/>
                <a:gd name="T50" fmla="*/ 116 w 395"/>
                <a:gd name="T51" fmla="*/ 198 h 549"/>
                <a:gd name="T52" fmla="*/ 134 w 395"/>
                <a:gd name="T53" fmla="*/ 202 h 549"/>
                <a:gd name="T54" fmla="*/ 116 w 395"/>
                <a:gd name="T55" fmla="*/ 250 h 549"/>
                <a:gd name="T56" fmla="*/ 144 w 395"/>
                <a:gd name="T57" fmla="*/ 251 h 549"/>
                <a:gd name="T58" fmla="*/ 146 w 395"/>
                <a:gd name="T59" fmla="*/ 306 h 549"/>
                <a:gd name="T60" fmla="*/ 211 w 395"/>
                <a:gd name="T61" fmla="*/ 295 h 549"/>
                <a:gd name="T62" fmla="*/ 216 w 395"/>
                <a:gd name="T63" fmla="*/ 349 h 549"/>
                <a:gd name="T64" fmla="*/ 162 w 395"/>
                <a:gd name="T65" fmla="*/ 377 h 549"/>
                <a:gd name="T66" fmla="*/ 135 w 395"/>
                <a:gd name="T67" fmla="*/ 402 h 549"/>
                <a:gd name="T68" fmla="*/ 117 w 395"/>
                <a:gd name="T69" fmla="*/ 448 h 549"/>
                <a:gd name="T70" fmla="*/ 151 w 395"/>
                <a:gd name="T71" fmla="*/ 466 h 549"/>
                <a:gd name="T72" fmla="*/ 202 w 395"/>
                <a:gd name="T73" fmla="*/ 467 h 549"/>
                <a:gd name="T74" fmla="*/ 156 w 395"/>
                <a:gd name="T75" fmla="*/ 485 h 549"/>
                <a:gd name="T76" fmla="*/ 129 w 395"/>
                <a:gd name="T77" fmla="*/ 516 h 549"/>
                <a:gd name="T78" fmla="*/ 83 w 395"/>
                <a:gd name="T79" fmla="*/ 545 h 549"/>
                <a:gd name="T80" fmla="*/ 147 w 395"/>
                <a:gd name="T81" fmla="*/ 530 h 549"/>
                <a:gd name="T82" fmla="*/ 211 w 395"/>
                <a:gd name="T83" fmla="*/ 519 h 549"/>
                <a:gd name="T84" fmla="*/ 273 w 395"/>
                <a:gd name="T85" fmla="*/ 520 h 549"/>
                <a:gd name="T86" fmla="*/ 293 w 395"/>
                <a:gd name="T87" fmla="*/ 508 h 549"/>
                <a:gd name="T88" fmla="*/ 340 w 395"/>
                <a:gd name="T89" fmla="*/ 474 h 549"/>
                <a:gd name="T90" fmla="*/ 375 w 395"/>
                <a:gd name="T91" fmla="*/ 447 h 549"/>
                <a:gd name="T92" fmla="*/ 157 w 395"/>
                <a:gd name="T93" fmla="*/ 325 h 549"/>
                <a:gd name="T94" fmla="*/ 94 w 395"/>
                <a:gd name="T95" fmla="*/ 338 h 549"/>
                <a:gd name="T96" fmla="*/ 110 w 395"/>
                <a:gd name="T97" fmla="*/ 308 h 549"/>
                <a:gd name="T98" fmla="*/ 86 w 395"/>
                <a:gd name="T99" fmla="*/ 281 h 549"/>
                <a:gd name="T100" fmla="*/ 58 w 395"/>
                <a:gd name="T101" fmla="*/ 288 h 549"/>
                <a:gd name="T102" fmla="*/ 13 w 395"/>
                <a:gd name="T103" fmla="*/ 325 h 549"/>
                <a:gd name="T104" fmla="*/ 67 w 395"/>
                <a:gd name="T105" fmla="*/ 335 h 549"/>
                <a:gd name="T106" fmla="*/ 63 w 395"/>
                <a:gd name="T107" fmla="*/ 155 h 549"/>
                <a:gd name="T108" fmla="*/ 63 w 395"/>
                <a:gd name="T109" fmla="*/ 155 h 549"/>
                <a:gd name="T110" fmla="*/ 108 w 395"/>
                <a:gd name="T111" fmla="*/ 115 h 549"/>
                <a:gd name="T112" fmla="*/ 72 w 395"/>
                <a:gd name="T113" fmla="*/ 128 h 549"/>
                <a:gd name="T114" fmla="*/ 57 w 395"/>
                <a:gd name="T115" fmla="*/ 169 h 549"/>
                <a:gd name="T116" fmla="*/ 57 w 395"/>
                <a:gd name="T117" fmla="*/ 16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6" y="96"/>
                    <a:pt x="246" y="96"/>
                    <a:pt x="246" y="96"/>
                  </a:cubicBezTo>
                  <a:lnTo>
                    <a:pt x="239" y="94"/>
                  </a:lnTo>
                  <a:close/>
                  <a:moveTo>
                    <a:pt x="137" y="269"/>
                  </a:moveTo>
                  <a:cubicBezTo>
                    <a:pt x="143" y="265"/>
                    <a:pt x="134" y="252"/>
                    <a:pt x="128" y="258"/>
                  </a:cubicBezTo>
                  <a:cubicBezTo>
                    <a:pt x="122" y="264"/>
                    <a:pt x="130"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0" y="180"/>
                    <a:pt x="130" y="180"/>
                    <a:pt x="130" y="180"/>
                  </a:cubicBezTo>
                  <a:cubicBezTo>
                    <a:pt x="130"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0"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6"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4" y="461"/>
                    <a:pt x="354" y="461"/>
                    <a:pt x="354" y="461"/>
                  </a:cubicBezTo>
                  <a:cubicBezTo>
                    <a:pt x="354"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74" name="Ukraine">
              <a:extLst>
                <a:ext uri="{FF2B5EF4-FFF2-40B4-BE49-F238E27FC236}">
                  <a16:creationId xmlns:a16="http://schemas.microsoft.com/office/drawing/2014/main" id="{537020EA-FDCE-4D16-B280-5D9B92222745}"/>
                </a:ext>
              </a:extLst>
            </p:cNvPr>
            <p:cNvSpPr>
              <a:spLocks/>
            </p:cNvSpPr>
            <p:nvPr/>
          </p:nvSpPr>
          <p:spPr bwMode="gray">
            <a:xfrm>
              <a:off x="6779835" y="4368506"/>
              <a:ext cx="1473270" cy="954458"/>
            </a:xfrm>
            <a:custGeom>
              <a:avLst/>
              <a:gdLst>
                <a:gd name="T0" fmla="*/ 51 w 750"/>
                <a:gd name="T1" fmla="*/ 223 h 415"/>
                <a:gd name="T2" fmla="*/ 79 w 750"/>
                <a:gd name="T3" fmla="*/ 232 h 415"/>
                <a:gd name="T4" fmla="*/ 132 w 750"/>
                <a:gd name="T5" fmla="*/ 230 h 415"/>
                <a:gd name="T6" fmla="*/ 166 w 750"/>
                <a:gd name="T7" fmla="*/ 227 h 415"/>
                <a:gd name="T8" fmla="*/ 209 w 750"/>
                <a:gd name="T9" fmla="*/ 209 h 415"/>
                <a:gd name="T10" fmla="*/ 243 w 750"/>
                <a:gd name="T11" fmla="*/ 208 h 415"/>
                <a:gd name="T12" fmla="*/ 274 w 750"/>
                <a:gd name="T13" fmla="*/ 225 h 415"/>
                <a:gd name="T14" fmla="*/ 296 w 750"/>
                <a:gd name="T15" fmla="*/ 259 h 415"/>
                <a:gd name="T16" fmla="*/ 311 w 750"/>
                <a:gd name="T17" fmla="*/ 278 h 415"/>
                <a:gd name="T18" fmla="*/ 317 w 750"/>
                <a:gd name="T19" fmla="*/ 310 h 415"/>
                <a:gd name="T20" fmla="*/ 304 w 750"/>
                <a:gd name="T21" fmla="*/ 321 h 415"/>
                <a:gd name="T22" fmla="*/ 283 w 750"/>
                <a:gd name="T23" fmla="*/ 356 h 415"/>
                <a:gd name="T24" fmla="*/ 281 w 750"/>
                <a:gd name="T25" fmla="*/ 370 h 415"/>
                <a:gd name="T26" fmla="*/ 323 w 750"/>
                <a:gd name="T27" fmla="*/ 353 h 415"/>
                <a:gd name="T28" fmla="*/ 391 w 750"/>
                <a:gd name="T29" fmla="*/ 301 h 415"/>
                <a:gd name="T30" fmla="*/ 436 w 750"/>
                <a:gd name="T31" fmla="*/ 299 h 415"/>
                <a:gd name="T32" fmla="*/ 420 w 750"/>
                <a:gd name="T33" fmla="*/ 310 h 415"/>
                <a:gd name="T34" fmla="*/ 488 w 750"/>
                <a:gd name="T35" fmla="*/ 324 h 415"/>
                <a:gd name="T36" fmla="*/ 499 w 750"/>
                <a:gd name="T37" fmla="*/ 381 h 415"/>
                <a:gd name="T38" fmla="*/ 542 w 750"/>
                <a:gd name="T39" fmla="*/ 396 h 415"/>
                <a:gd name="T40" fmla="*/ 591 w 750"/>
                <a:gd name="T41" fmla="*/ 385 h 415"/>
                <a:gd name="T42" fmla="*/ 622 w 750"/>
                <a:gd name="T43" fmla="*/ 361 h 415"/>
                <a:gd name="T44" fmla="*/ 553 w 750"/>
                <a:gd name="T45" fmla="*/ 352 h 415"/>
                <a:gd name="T46" fmla="*/ 503 w 750"/>
                <a:gd name="T47" fmla="*/ 328 h 415"/>
                <a:gd name="T48" fmla="*/ 537 w 750"/>
                <a:gd name="T49" fmla="*/ 322 h 415"/>
                <a:gd name="T50" fmla="*/ 588 w 750"/>
                <a:gd name="T51" fmla="*/ 297 h 415"/>
                <a:gd name="T52" fmla="*/ 679 w 750"/>
                <a:gd name="T53" fmla="*/ 273 h 415"/>
                <a:gd name="T54" fmla="*/ 703 w 750"/>
                <a:gd name="T55" fmla="*/ 231 h 415"/>
                <a:gd name="T56" fmla="*/ 727 w 750"/>
                <a:gd name="T57" fmla="*/ 189 h 415"/>
                <a:gd name="T58" fmla="*/ 742 w 750"/>
                <a:gd name="T59" fmla="*/ 166 h 415"/>
                <a:gd name="T60" fmla="*/ 709 w 750"/>
                <a:gd name="T61" fmla="*/ 136 h 415"/>
                <a:gd name="T62" fmla="*/ 662 w 750"/>
                <a:gd name="T63" fmla="*/ 119 h 415"/>
                <a:gd name="T64" fmla="*/ 620 w 750"/>
                <a:gd name="T65" fmla="*/ 100 h 415"/>
                <a:gd name="T66" fmla="*/ 578 w 750"/>
                <a:gd name="T67" fmla="*/ 106 h 415"/>
                <a:gd name="T68" fmla="*/ 540 w 750"/>
                <a:gd name="T69" fmla="*/ 99 h 415"/>
                <a:gd name="T70" fmla="*/ 482 w 750"/>
                <a:gd name="T71" fmla="*/ 56 h 415"/>
                <a:gd name="T72" fmla="*/ 486 w 750"/>
                <a:gd name="T73" fmla="*/ 26 h 415"/>
                <a:gd name="T74" fmla="*/ 431 w 750"/>
                <a:gd name="T75" fmla="*/ 1 h 415"/>
                <a:gd name="T76" fmla="*/ 398 w 750"/>
                <a:gd name="T77" fmla="*/ 16 h 415"/>
                <a:gd name="T78" fmla="*/ 327 w 750"/>
                <a:gd name="T79" fmla="*/ 53 h 415"/>
                <a:gd name="T80" fmla="*/ 273 w 750"/>
                <a:gd name="T81" fmla="*/ 39 h 415"/>
                <a:gd name="T82" fmla="*/ 247 w 750"/>
                <a:gd name="T83" fmla="*/ 46 h 415"/>
                <a:gd name="T84" fmla="*/ 224 w 750"/>
                <a:gd name="T85" fmla="*/ 38 h 415"/>
                <a:gd name="T86" fmla="*/ 202 w 750"/>
                <a:gd name="T87" fmla="*/ 40 h 415"/>
                <a:gd name="T88" fmla="*/ 157 w 750"/>
                <a:gd name="T89" fmla="*/ 28 h 415"/>
                <a:gd name="T90" fmla="*/ 103 w 750"/>
                <a:gd name="T91" fmla="*/ 27 h 415"/>
                <a:gd name="T92" fmla="*/ 47 w 750"/>
                <a:gd name="T93" fmla="*/ 40 h 415"/>
                <a:gd name="T94" fmla="*/ 75 w 750"/>
                <a:gd name="T95" fmla="*/ 76 h 415"/>
                <a:gd name="T96" fmla="*/ 58 w 750"/>
                <a:gd name="T97" fmla="*/ 103 h 415"/>
                <a:gd name="T98" fmla="*/ 30 w 750"/>
                <a:gd name="T99" fmla="*/ 174 h 415"/>
                <a:gd name="T100" fmla="*/ 1 w 750"/>
                <a:gd name="T101" fmla="*/ 194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4"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7"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47" name="Turkey">
              <a:extLst>
                <a:ext uri="{FF2B5EF4-FFF2-40B4-BE49-F238E27FC236}">
                  <a16:creationId xmlns:a16="http://schemas.microsoft.com/office/drawing/2014/main" id="{A3D8E783-B1B2-4047-BEF3-2172903BA160}"/>
                </a:ext>
              </a:extLst>
            </p:cNvPr>
            <p:cNvSpPr>
              <a:spLocks noEditPoints="1"/>
            </p:cNvSpPr>
            <p:nvPr/>
          </p:nvSpPr>
          <p:spPr bwMode="gray">
            <a:xfrm>
              <a:off x="7080020" y="5589711"/>
              <a:ext cx="1740128" cy="784483"/>
            </a:xfrm>
            <a:custGeom>
              <a:avLst/>
              <a:gdLst>
                <a:gd name="T0" fmla="*/ 20 w 888"/>
                <a:gd name="T1" fmla="*/ 116 h 340"/>
                <a:gd name="T2" fmla="*/ 27 w 888"/>
                <a:gd name="T3" fmla="*/ 107 h 340"/>
                <a:gd name="T4" fmla="*/ 63 w 888"/>
                <a:gd name="T5" fmla="*/ 93 h 340"/>
                <a:gd name="T6" fmla="*/ 52 w 888"/>
                <a:gd name="T7" fmla="*/ 101 h 340"/>
                <a:gd name="T8" fmla="*/ 887 w 888"/>
                <a:gd name="T9" fmla="*/ 259 h 340"/>
                <a:gd name="T10" fmla="*/ 850 w 888"/>
                <a:gd name="T11" fmla="*/ 224 h 340"/>
                <a:gd name="T12" fmla="*/ 845 w 888"/>
                <a:gd name="T13" fmla="*/ 165 h 340"/>
                <a:gd name="T14" fmla="*/ 853 w 888"/>
                <a:gd name="T15" fmla="*/ 137 h 340"/>
                <a:gd name="T16" fmla="*/ 802 w 888"/>
                <a:gd name="T17" fmla="*/ 73 h 340"/>
                <a:gd name="T18" fmla="*/ 761 w 888"/>
                <a:gd name="T19" fmla="*/ 32 h 340"/>
                <a:gd name="T20" fmla="*/ 678 w 888"/>
                <a:gd name="T21" fmla="*/ 63 h 340"/>
                <a:gd name="T22" fmla="*/ 542 w 888"/>
                <a:gd name="T23" fmla="*/ 57 h 340"/>
                <a:gd name="T24" fmla="*/ 491 w 888"/>
                <a:gd name="T25" fmla="*/ 51 h 340"/>
                <a:gd name="T26" fmla="*/ 442 w 888"/>
                <a:gd name="T27" fmla="*/ 30 h 340"/>
                <a:gd name="T28" fmla="*/ 385 w 888"/>
                <a:gd name="T29" fmla="*/ 16 h 340"/>
                <a:gd name="T30" fmla="*/ 272 w 888"/>
                <a:gd name="T31" fmla="*/ 42 h 340"/>
                <a:gd name="T32" fmla="*/ 203 w 888"/>
                <a:gd name="T33" fmla="*/ 53 h 340"/>
                <a:gd name="T34" fmla="*/ 120 w 888"/>
                <a:gd name="T35" fmla="*/ 14 h 340"/>
                <a:gd name="T36" fmla="*/ 79 w 888"/>
                <a:gd name="T37" fmla="*/ 10 h 340"/>
                <a:gd name="T38" fmla="*/ 52 w 888"/>
                <a:gd name="T39" fmla="*/ 28 h 340"/>
                <a:gd name="T40" fmla="*/ 50 w 888"/>
                <a:gd name="T41" fmla="*/ 47 h 340"/>
                <a:gd name="T42" fmla="*/ 50 w 888"/>
                <a:gd name="T43" fmla="*/ 86 h 340"/>
                <a:gd name="T44" fmla="*/ 107 w 888"/>
                <a:gd name="T45" fmla="*/ 65 h 340"/>
                <a:gd name="T46" fmla="*/ 165 w 888"/>
                <a:gd name="T47" fmla="*/ 81 h 340"/>
                <a:gd name="T48" fmla="*/ 92 w 888"/>
                <a:gd name="T49" fmla="*/ 91 h 340"/>
                <a:gd name="T50" fmla="*/ 76 w 888"/>
                <a:gd name="T51" fmla="*/ 142 h 340"/>
                <a:gd name="T52" fmla="*/ 83 w 888"/>
                <a:gd name="T53" fmla="*/ 186 h 340"/>
                <a:gd name="T54" fmla="*/ 108 w 888"/>
                <a:gd name="T55" fmla="*/ 234 h 340"/>
                <a:gd name="T56" fmla="*/ 146 w 888"/>
                <a:gd name="T57" fmla="*/ 297 h 340"/>
                <a:gd name="T58" fmla="*/ 250 w 888"/>
                <a:gd name="T59" fmla="*/ 310 h 340"/>
                <a:gd name="T60" fmla="*/ 359 w 888"/>
                <a:gd name="T61" fmla="*/ 325 h 340"/>
                <a:gd name="T62" fmla="*/ 477 w 888"/>
                <a:gd name="T63" fmla="*/ 298 h 340"/>
                <a:gd name="T64" fmla="*/ 495 w 888"/>
                <a:gd name="T65" fmla="*/ 329 h 340"/>
                <a:gd name="T66" fmla="*/ 515 w 888"/>
                <a:gd name="T67" fmla="*/ 330 h 340"/>
                <a:gd name="T68" fmla="*/ 525 w 888"/>
                <a:gd name="T69" fmla="*/ 308 h 340"/>
                <a:gd name="T70" fmla="*/ 546 w 888"/>
                <a:gd name="T71" fmla="*/ 296 h 340"/>
                <a:gd name="T72" fmla="*/ 622 w 888"/>
                <a:gd name="T73" fmla="*/ 290 h 340"/>
                <a:gd name="T74" fmla="*/ 699 w 888"/>
                <a:gd name="T75" fmla="*/ 271 h 340"/>
                <a:gd name="T76" fmla="*/ 746 w 888"/>
                <a:gd name="T77" fmla="*/ 270 h 340"/>
                <a:gd name="T78" fmla="*/ 781 w 888"/>
                <a:gd name="T79" fmla="*/ 274 h 340"/>
                <a:gd name="T80" fmla="*/ 835 w 888"/>
                <a:gd name="T81" fmla="*/ 267 h 340"/>
                <a:gd name="T82" fmla="*/ 888 w 888"/>
                <a:gd name="T83" fmla="*/ 265 h 340"/>
                <a:gd name="T84" fmla="*/ 81 w 888"/>
                <a:gd name="T85" fmla="*/ 204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8" h="340">
                  <a:moveTo>
                    <a:pt x="3" y="126"/>
                  </a:moveTo>
                  <a:cubicBezTo>
                    <a:pt x="17" y="125"/>
                    <a:pt x="17" y="125"/>
                    <a:pt x="17" y="125"/>
                  </a:cubicBezTo>
                  <a:cubicBezTo>
                    <a:pt x="20" y="116"/>
                    <a:pt x="20" y="116"/>
                    <a:pt x="20" y="116"/>
                  </a:cubicBezTo>
                  <a:cubicBezTo>
                    <a:pt x="0" y="116"/>
                    <a:pt x="0" y="116"/>
                    <a:pt x="0" y="116"/>
                  </a:cubicBezTo>
                  <a:lnTo>
                    <a:pt x="3" y="126"/>
                  </a:lnTo>
                  <a:close/>
                  <a:moveTo>
                    <a:pt x="27" y="107"/>
                  </a:moveTo>
                  <a:cubicBezTo>
                    <a:pt x="30" y="116"/>
                    <a:pt x="40" y="122"/>
                    <a:pt x="39" y="106"/>
                  </a:cubicBezTo>
                  <a:cubicBezTo>
                    <a:pt x="38" y="90"/>
                    <a:pt x="27" y="107"/>
                    <a:pt x="27" y="107"/>
                  </a:cubicBezTo>
                  <a:close/>
                  <a:moveTo>
                    <a:pt x="63" y="93"/>
                  </a:moveTo>
                  <a:cubicBezTo>
                    <a:pt x="45" y="93"/>
                    <a:pt x="45" y="93"/>
                    <a:pt x="45" y="93"/>
                  </a:cubicBezTo>
                  <a:cubicBezTo>
                    <a:pt x="45" y="114"/>
                    <a:pt x="45" y="114"/>
                    <a:pt x="45" y="114"/>
                  </a:cubicBezTo>
                  <a:cubicBezTo>
                    <a:pt x="52" y="101"/>
                    <a:pt x="52" y="101"/>
                    <a:pt x="52" y="101"/>
                  </a:cubicBezTo>
                  <a:lnTo>
                    <a:pt x="63" y="93"/>
                  </a:lnTo>
                  <a:close/>
                  <a:moveTo>
                    <a:pt x="888" y="265"/>
                  </a:moveTo>
                  <a:cubicBezTo>
                    <a:pt x="887" y="261"/>
                    <a:pt x="887" y="259"/>
                    <a:pt x="887" y="259"/>
                  </a:cubicBezTo>
                  <a:cubicBezTo>
                    <a:pt x="871" y="254"/>
                    <a:pt x="871" y="254"/>
                    <a:pt x="871" y="254"/>
                  </a:cubicBezTo>
                  <a:cubicBezTo>
                    <a:pt x="871" y="236"/>
                    <a:pt x="871" y="236"/>
                    <a:pt x="871" y="236"/>
                  </a:cubicBezTo>
                  <a:cubicBezTo>
                    <a:pt x="850" y="224"/>
                    <a:pt x="850" y="224"/>
                    <a:pt x="850" y="224"/>
                  </a:cubicBezTo>
                  <a:cubicBezTo>
                    <a:pt x="850" y="224"/>
                    <a:pt x="863" y="205"/>
                    <a:pt x="858" y="203"/>
                  </a:cubicBezTo>
                  <a:cubicBezTo>
                    <a:pt x="853" y="201"/>
                    <a:pt x="846" y="180"/>
                    <a:pt x="846" y="180"/>
                  </a:cubicBezTo>
                  <a:cubicBezTo>
                    <a:pt x="845" y="165"/>
                    <a:pt x="845" y="165"/>
                    <a:pt x="845" y="165"/>
                  </a:cubicBezTo>
                  <a:cubicBezTo>
                    <a:pt x="834" y="149"/>
                    <a:pt x="834" y="149"/>
                    <a:pt x="834" y="149"/>
                  </a:cubicBezTo>
                  <a:cubicBezTo>
                    <a:pt x="850" y="147"/>
                    <a:pt x="850" y="147"/>
                    <a:pt x="850" y="147"/>
                  </a:cubicBezTo>
                  <a:cubicBezTo>
                    <a:pt x="850" y="147"/>
                    <a:pt x="851" y="142"/>
                    <a:pt x="853" y="137"/>
                  </a:cubicBezTo>
                  <a:cubicBezTo>
                    <a:pt x="850" y="127"/>
                    <a:pt x="846" y="116"/>
                    <a:pt x="843" y="116"/>
                  </a:cubicBezTo>
                  <a:cubicBezTo>
                    <a:pt x="838" y="115"/>
                    <a:pt x="822" y="124"/>
                    <a:pt x="814" y="113"/>
                  </a:cubicBezTo>
                  <a:cubicBezTo>
                    <a:pt x="806" y="102"/>
                    <a:pt x="808" y="88"/>
                    <a:pt x="802" y="73"/>
                  </a:cubicBezTo>
                  <a:cubicBezTo>
                    <a:pt x="796" y="58"/>
                    <a:pt x="794" y="50"/>
                    <a:pt x="794" y="50"/>
                  </a:cubicBezTo>
                  <a:cubicBezTo>
                    <a:pt x="777" y="50"/>
                    <a:pt x="777" y="50"/>
                    <a:pt x="777" y="50"/>
                  </a:cubicBezTo>
                  <a:cubicBezTo>
                    <a:pt x="777" y="50"/>
                    <a:pt x="775" y="35"/>
                    <a:pt x="761" y="32"/>
                  </a:cubicBezTo>
                  <a:cubicBezTo>
                    <a:pt x="747" y="29"/>
                    <a:pt x="741" y="39"/>
                    <a:pt x="741" y="39"/>
                  </a:cubicBezTo>
                  <a:cubicBezTo>
                    <a:pt x="715" y="34"/>
                    <a:pt x="715" y="34"/>
                    <a:pt x="715" y="34"/>
                  </a:cubicBezTo>
                  <a:cubicBezTo>
                    <a:pt x="706" y="43"/>
                    <a:pt x="688" y="59"/>
                    <a:pt x="678" y="63"/>
                  </a:cubicBezTo>
                  <a:cubicBezTo>
                    <a:pt x="665" y="68"/>
                    <a:pt x="621" y="62"/>
                    <a:pt x="621" y="62"/>
                  </a:cubicBezTo>
                  <a:cubicBezTo>
                    <a:pt x="585" y="72"/>
                    <a:pt x="585" y="72"/>
                    <a:pt x="585" y="72"/>
                  </a:cubicBezTo>
                  <a:cubicBezTo>
                    <a:pt x="542" y="57"/>
                    <a:pt x="542" y="57"/>
                    <a:pt x="542" y="57"/>
                  </a:cubicBezTo>
                  <a:cubicBezTo>
                    <a:pt x="525" y="63"/>
                    <a:pt x="525" y="63"/>
                    <a:pt x="525" y="63"/>
                  </a:cubicBezTo>
                  <a:cubicBezTo>
                    <a:pt x="525" y="63"/>
                    <a:pt x="516" y="40"/>
                    <a:pt x="508" y="42"/>
                  </a:cubicBezTo>
                  <a:cubicBezTo>
                    <a:pt x="500" y="44"/>
                    <a:pt x="491" y="51"/>
                    <a:pt x="491" y="51"/>
                  </a:cubicBezTo>
                  <a:cubicBezTo>
                    <a:pt x="475" y="40"/>
                    <a:pt x="475" y="40"/>
                    <a:pt x="475" y="40"/>
                  </a:cubicBezTo>
                  <a:cubicBezTo>
                    <a:pt x="472" y="25"/>
                    <a:pt x="472" y="25"/>
                    <a:pt x="472" y="25"/>
                  </a:cubicBezTo>
                  <a:cubicBezTo>
                    <a:pt x="442" y="30"/>
                    <a:pt x="442" y="30"/>
                    <a:pt x="442" y="30"/>
                  </a:cubicBezTo>
                  <a:cubicBezTo>
                    <a:pt x="424" y="20"/>
                    <a:pt x="424" y="20"/>
                    <a:pt x="424" y="20"/>
                  </a:cubicBezTo>
                  <a:cubicBezTo>
                    <a:pt x="421" y="6"/>
                    <a:pt x="421" y="6"/>
                    <a:pt x="421" y="6"/>
                  </a:cubicBezTo>
                  <a:cubicBezTo>
                    <a:pt x="421" y="6"/>
                    <a:pt x="398" y="16"/>
                    <a:pt x="385" y="16"/>
                  </a:cubicBezTo>
                  <a:cubicBezTo>
                    <a:pt x="373" y="16"/>
                    <a:pt x="355" y="10"/>
                    <a:pt x="343" y="11"/>
                  </a:cubicBezTo>
                  <a:cubicBezTo>
                    <a:pt x="332" y="12"/>
                    <a:pt x="297" y="26"/>
                    <a:pt x="291" y="32"/>
                  </a:cubicBezTo>
                  <a:cubicBezTo>
                    <a:pt x="286" y="39"/>
                    <a:pt x="272" y="42"/>
                    <a:pt x="272" y="42"/>
                  </a:cubicBezTo>
                  <a:cubicBezTo>
                    <a:pt x="266" y="58"/>
                    <a:pt x="266" y="58"/>
                    <a:pt x="266" y="58"/>
                  </a:cubicBezTo>
                  <a:cubicBezTo>
                    <a:pt x="266" y="58"/>
                    <a:pt x="266" y="62"/>
                    <a:pt x="252" y="59"/>
                  </a:cubicBezTo>
                  <a:cubicBezTo>
                    <a:pt x="239" y="56"/>
                    <a:pt x="216" y="53"/>
                    <a:pt x="203" y="53"/>
                  </a:cubicBezTo>
                  <a:cubicBezTo>
                    <a:pt x="191" y="53"/>
                    <a:pt x="151" y="44"/>
                    <a:pt x="151" y="44"/>
                  </a:cubicBezTo>
                  <a:cubicBezTo>
                    <a:pt x="151" y="44"/>
                    <a:pt x="127" y="47"/>
                    <a:pt x="124" y="33"/>
                  </a:cubicBezTo>
                  <a:cubicBezTo>
                    <a:pt x="122" y="26"/>
                    <a:pt x="121" y="19"/>
                    <a:pt x="120" y="14"/>
                  </a:cubicBezTo>
                  <a:cubicBezTo>
                    <a:pt x="111" y="15"/>
                    <a:pt x="97" y="13"/>
                    <a:pt x="97" y="13"/>
                  </a:cubicBezTo>
                  <a:cubicBezTo>
                    <a:pt x="87" y="0"/>
                    <a:pt x="87" y="0"/>
                    <a:pt x="87" y="0"/>
                  </a:cubicBezTo>
                  <a:cubicBezTo>
                    <a:pt x="79" y="10"/>
                    <a:pt x="79" y="10"/>
                    <a:pt x="79" y="10"/>
                  </a:cubicBezTo>
                  <a:cubicBezTo>
                    <a:pt x="59" y="8"/>
                    <a:pt x="59" y="8"/>
                    <a:pt x="59" y="8"/>
                  </a:cubicBezTo>
                  <a:cubicBezTo>
                    <a:pt x="50" y="23"/>
                    <a:pt x="50" y="23"/>
                    <a:pt x="50" y="23"/>
                  </a:cubicBezTo>
                  <a:cubicBezTo>
                    <a:pt x="52" y="28"/>
                    <a:pt x="52" y="28"/>
                    <a:pt x="52" y="28"/>
                  </a:cubicBezTo>
                  <a:cubicBezTo>
                    <a:pt x="52" y="28"/>
                    <a:pt x="59" y="27"/>
                    <a:pt x="62" y="32"/>
                  </a:cubicBezTo>
                  <a:cubicBezTo>
                    <a:pt x="65" y="37"/>
                    <a:pt x="64" y="45"/>
                    <a:pt x="64" y="45"/>
                  </a:cubicBezTo>
                  <a:cubicBezTo>
                    <a:pt x="64" y="45"/>
                    <a:pt x="51" y="41"/>
                    <a:pt x="50" y="47"/>
                  </a:cubicBezTo>
                  <a:cubicBezTo>
                    <a:pt x="49" y="53"/>
                    <a:pt x="54" y="56"/>
                    <a:pt x="52" y="63"/>
                  </a:cubicBezTo>
                  <a:cubicBezTo>
                    <a:pt x="50" y="70"/>
                    <a:pt x="47" y="75"/>
                    <a:pt x="47" y="75"/>
                  </a:cubicBezTo>
                  <a:cubicBezTo>
                    <a:pt x="47" y="75"/>
                    <a:pt x="35" y="87"/>
                    <a:pt x="50" y="86"/>
                  </a:cubicBezTo>
                  <a:cubicBezTo>
                    <a:pt x="65" y="85"/>
                    <a:pt x="76" y="80"/>
                    <a:pt x="76" y="80"/>
                  </a:cubicBezTo>
                  <a:cubicBezTo>
                    <a:pt x="76" y="80"/>
                    <a:pt x="72" y="90"/>
                    <a:pt x="80" y="87"/>
                  </a:cubicBezTo>
                  <a:cubicBezTo>
                    <a:pt x="88" y="84"/>
                    <a:pt x="107" y="65"/>
                    <a:pt x="107" y="65"/>
                  </a:cubicBezTo>
                  <a:cubicBezTo>
                    <a:pt x="107" y="65"/>
                    <a:pt x="141" y="53"/>
                    <a:pt x="152" y="61"/>
                  </a:cubicBezTo>
                  <a:cubicBezTo>
                    <a:pt x="163" y="69"/>
                    <a:pt x="197" y="74"/>
                    <a:pt x="197" y="74"/>
                  </a:cubicBezTo>
                  <a:cubicBezTo>
                    <a:pt x="197" y="74"/>
                    <a:pt x="166" y="78"/>
                    <a:pt x="165" y="81"/>
                  </a:cubicBezTo>
                  <a:cubicBezTo>
                    <a:pt x="164" y="84"/>
                    <a:pt x="159" y="93"/>
                    <a:pt x="159" y="93"/>
                  </a:cubicBezTo>
                  <a:cubicBezTo>
                    <a:pt x="126" y="94"/>
                    <a:pt x="126" y="94"/>
                    <a:pt x="126" y="94"/>
                  </a:cubicBezTo>
                  <a:cubicBezTo>
                    <a:pt x="92" y="91"/>
                    <a:pt x="92" y="91"/>
                    <a:pt x="92" y="91"/>
                  </a:cubicBezTo>
                  <a:cubicBezTo>
                    <a:pt x="92" y="91"/>
                    <a:pt x="66" y="97"/>
                    <a:pt x="62" y="105"/>
                  </a:cubicBezTo>
                  <a:cubicBezTo>
                    <a:pt x="58" y="113"/>
                    <a:pt x="49" y="143"/>
                    <a:pt x="49" y="143"/>
                  </a:cubicBezTo>
                  <a:cubicBezTo>
                    <a:pt x="76" y="142"/>
                    <a:pt x="76" y="142"/>
                    <a:pt x="76" y="142"/>
                  </a:cubicBezTo>
                  <a:cubicBezTo>
                    <a:pt x="76" y="142"/>
                    <a:pt x="72" y="151"/>
                    <a:pt x="77" y="159"/>
                  </a:cubicBezTo>
                  <a:cubicBezTo>
                    <a:pt x="82" y="167"/>
                    <a:pt x="88" y="175"/>
                    <a:pt x="88" y="175"/>
                  </a:cubicBezTo>
                  <a:cubicBezTo>
                    <a:pt x="83" y="186"/>
                    <a:pt x="83" y="186"/>
                    <a:pt x="83" y="186"/>
                  </a:cubicBezTo>
                  <a:cubicBezTo>
                    <a:pt x="93" y="201"/>
                    <a:pt x="93" y="201"/>
                    <a:pt x="93" y="201"/>
                  </a:cubicBezTo>
                  <a:cubicBezTo>
                    <a:pt x="84" y="212"/>
                    <a:pt x="84" y="212"/>
                    <a:pt x="84" y="212"/>
                  </a:cubicBezTo>
                  <a:cubicBezTo>
                    <a:pt x="108" y="234"/>
                    <a:pt x="108" y="234"/>
                    <a:pt x="108" y="234"/>
                  </a:cubicBezTo>
                  <a:cubicBezTo>
                    <a:pt x="106" y="258"/>
                    <a:pt x="106" y="258"/>
                    <a:pt x="106" y="258"/>
                  </a:cubicBezTo>
                  <a:cubicBezTo>
                    <a:pt x="140" y="275"/>
                    <a:pt x="140" y="275"/>
                    <a:pt x="140" y="275"/>
                  </a:cubicBezTo>
                  <a:cubicBezTo>
                    <a:pt x="146" y="297"/>
                    <a:pt x="146" y="297"/>
                    <a:pt x="146" y="297"/>
                  </a:cubicBezTo>
                  <a:cubicBezTo>
                    <a:pt x="146" y="297"/>
                    <a:pt x="143" y="285"/>
                    <a:pt x="162" y="290"/>
                  </a:cubicBezTo>
                  <a:cubicBezTo>
                    <a:pt x="181" y="295"/>
                    <a:pt x="178" y="312"/>
                    <a:pt x="208" y="315"/>
                  </a:cubicBezTo>
                  <a:cubicBezTo>
                    <a:pt x="238" y="318"/>
                    <a:pt x="250" y="317"/>
                    <a:pt x="250" y="310"/>
                  </a:cubicBezTo>
                  <a:cubicBezTo>
                    <a:pt x="250" y="303"/>
                    <a:pt x="252" y="284"/>
                    <a:pt x="262" y="283"/>
                  </a:cubicBezTo>
                  <a:cubicBezTo>
                    <a:pt x="272" y="282"/>
                    <a:pt x="299" y="289"/>
                    <a:pt x="313" y="294"/>
                  </a:cubicBezTo>
                  <a:cubicBezTo>
                    <a:pt x="327" y="299"/>
                    <a:pt x="313" y="326"/>
                    <a:pt x="359" y="325"/>
                  </a:cubicBezTo>
                  <a:cubicBezTo>
                    <a:pt x="405" y="324"/>
                    <a:pt x="406" y="299"/>
                    <a:pt x="422" y="294"/>
                  </a:cubicBezTo>
                  <a:cubicBezTo>
                    <a:pt x="438" y="289"/>
                    <a:pt x="450" y="285"/>
                    <a:pt x="457" y="291"/>
                  </a:cubicBezTo>
                  <a:cubicBezTo>
                    <a:pt x="464" y="297"/>
                    <a:pt x="466" y="303"/>
                    <a:pt x="477" y="298"/>
                  </a:cubicBezTo>
                  <a:cubicBezTo>
                    <a:pt x="488" y="293"/>
                    <a:pt x="495" y="277"/>
                    <a:pt x="502" y="284"/>
                  </a:cubicBezTo>
                  <a:cubicBezTo>
                    <a:pt x="509" y="291"/>
                    <a:pt x="501" y="300"/>
                    <a:pt x="498" y="306"/>
                  </a:cubicBezTo>
                  <a:cubicBezTo>
                    <a:pt x="495" y="312"/>
                    <a:pt x="488" y="324"/>
                    <a:pt x="495" y="329"/>
                  </a:cubicBezTo>
                  <a:cubicBezTo>
                    <a:pt x="496" y="330"/>
                    <a:pt x="497" y="331"/>
                    <a:pt x="496" y="333"/>
                  </a:cubicBezTo>
                  <a:cubicBezTo>
                    <a:pt x="499" y="335"/>
                    <a:pt x="506" y="340"/>
                    <a:pt x="509" y="339"/>
                  </a:cubicBezTo>
                  <a:cubicBezTo>
                    <a:pt x="513" y="338"/>
                    <a:pt x="515" y="330"/>
                    <a:pt x="515" y="330"/>
                  </a:cubicBezTo>
                  <a:cubicBezTo>
                    <a:pt x="515" y="321"/>
                    <a:pt x="515" y="321"/>
                    <a:pt x="515" y="321"/>
                  </a:cubicBezTo>
                  <a:cubicBezTo>
                    <a:pt x="515" y="321"/>
                    <a:pt x="529" y="327"/>
                    <a:pt x="530" y="319"/>
                  </a:cubicBezTo>
                  <a:cubicBezTo>
                    <a:pt x="532" y="306"/>
                    <a:pt x="525" y="308"/>
                    <a:pt x="525" y="308"/>
                  </a:cubicBezTo>
                  <a:cubicBezTo>
                    <a:pt x="524" y="287"/>
                    <a:pt x="524" y="287"/>
                    <a:pt x="524" y="287"/>
                  </a:cubicBezTo>
                  <a:cubicBezTo>
                    <a:pt x="524" y="287"/>
                    <a:pt x="538" y="282"/>
                    <a:pt x="540" y="286"/>
                  </a:cubicBezTo>
                  <a:cubicBezTo>
                    <a:pt x="542" y="290"/>
                    <a:pt x="525" y="296"/>
                    <a:pt x="546" y="296"/>
                  </a:cubicBezTo>
                  <a:cubicBezTo>
                    <a:pt x="567" y="296"/>
                    <a:pt x="582" y="288"/>
                    <a:pt x="582" y="288"/>
                  </a:cubicBezTo>
                  <a:cubicBezTo>
                    <a:pt x="582" y="288"/>
                    <a:pt x="593" y="276"/>
                    <a:pt x="596" y="277"/>
                  </a:cubicBezTo>
                  <a:cubicBezTo>
                    <a:pt x="599" y="278"/>
                    <a:pt x="622" y="290"/>
                    <a:pt x="622" y="290"/>
                  </a:cubicBezTo>
                  <a:cubicBezTo>
                    <a:pt x="622" y="290"/>
                    <a:pt x="634" y="295"/>
                    <a:pt x="645" y="294"/>
                  </a:cubicBezTo>
                  <a:cubicBezTo>
                    <a:pt x="656" y="293"/>
                    <a:pt x="661" y="290"/>
                    <a:pt x="670" y="287"/>
                  </a:cubicBezTo>
                  <a:cubicBezTo>
                    <a:pt x="679" y="284"/>
                    <a:pt x="686" y="272"/>
                    <a:pt x="699" y="271"/>
                  </a:cubicBezTo>
                  <a:cubicBezTo>
                    <a:pt x="712" y="270"/>
                    <a:pt x="718" y="269"/>
                    <a:pt x="723" y="271"/>
                  </a:cubicBezTo>
                  <a:cubicBezTo>
                    <a:pt x="728" y="273"/>
                    <a:pt x="723" y="278"/>
                    <a:pt x="732" y="277"/>
                  </a:cubicBezTo>
                  <a:cubicBezTo>
                    <a:pt x="741" y="276"/>
                    <a:pt x="746" y="270"/>
                    <a:pt x="746" y="270"/>
                  </a:cubicBezTo>
                  <a:cubicBezTo>
                    <a:pt x="746" y="270"/>
                    <a:pt x="751" y="268"/>
                    <a:pt x="759" y="267"/>
                  </a:cubicBezTo>
                  <a:cubicBezTo>
                    <a:pt x="767" y="266"/>
                    <a:pt x="769" y="255"/>
                    <a:pt x="772" y="257"/>
                  </a:cubicBezTo>
                  <a:cubicBezTo>
                    <a:pt x="775" y="259"/>
                    <a:pt x="769" y="277"/>
                    <a:pt x="781" y="274"/>
                  </a:cubicBezTo>
                  <a:cubicBezTo>
                    <a:pt x="793" y="271"/>
                    <a:pt x="792" y="258"/>
                    <a:pt x="792" y="258"/>
                  </a:cubicBezTo>
                  <a:cubicBezTo>
                    <a:pt x="818" y="258"/>
                    <a:pt x="818" y="258"/>
                    <a:pt x="818" y="258"/>
                  </a:cubicBezTo>
                  <a:cubicBezTo>
                    <a:pt x="818" y="258"/>
                    <a:pt x="827" y="269"/>
                    <a:pt x="835" y="267"/>
                  </a:cubicBezTo>
                  <a:cubicBezTo>
                    <a:pt x="843" y="265"/>
                    <a:pt x="835" y="257"/>
                    <a:pt x="849" y="258"/>
                  </a:cubicBezTo>
                  <a:cubicBezTo>
                    <a:pt x="863" y="259"/>
                    <a:pt x="861" y="276"/>
                    <a:pt x="861" y="276"/>
                  </a:cubicBezTo>
                  <a:lnTo>
                    <a:pt x="888" y="265"/>
                  </a:lnTo>
                  <a:close/>
                  <a:moveTo>
                    <a:pt x="67" y="189"/>
                  </a:moveTo>
                  <a:cubicBezTo>
                    <a:pt x="63" y="185"/>
                    <a:pt x="61" y="207"/>
                    <a:pt x="67" y="217"/>
                  </a:cubicBezTo>
                  <a:cubicBezTo>
                    <a:pt x="72" y="226"/>
                    <a:pt x="79" y="208"/>
                    <a:pt x="81" y="204"/>
                  </a:cubicBezTo>
                  <a:cubicBezTo>
                    <a:pt x="83" y="200"/>
                    <a:pt x="71" y="193"/>
                    <a:pt x="67" y="189"/>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64" name="Switzerland">
              <a:extLst>
                <a:ext uri="{FF2B5EF4-FFF2-40B4-BE49-F238E27FC236}">
                  <a16:creationId xmlns:a16="http://schemas.microsoft.com/office/drawing/2014/main" id="{4FA3DB84-35F1-4B46-A228-245CC15C90AA}"/>
                </a:ext>
              </a:extLst>
            </p:cNvPr>
            <p:cNvSpPr>
              <a:spLocks/>
            </p:cNvSpPr>
            <p:nvPr/>
          </p:nvSpPr>
          <p:spPr bwMode="gray">
            <a:xfrm>
              <a:off x="5451112" y="4904573"/>
              <a:ext cx="383605" cy="254957"/>
            </a:xfrm>
            <a:custGeom>
              <a:avLst/>
              <a:gdLst>
                <a:gd name="T0" fmla="*/ 93 w 196"/>
                <a:gd name="T1" fmla="*/ 17 h 109"/>
                <a:gd name="T2" fmla="*/ 81 w 196"/>
                <a:gd name="T3" fmla="*/ 17 h 109"/>
                <a:gd name="T4" fmla="*/ 70 w 196"/>
                <a:gd name="T5" fmla="*/ 15 h 109"/>
                <a:gd name="T6" fmla="*/ 70 w 196"/>
                <a:gd name="T7" fmla="*/ 16 h 109"/>
                <a:gd name="T8" fmla="*/ 65 w 196"/>
                <a:gd name="T9" fmla="*/ 26 h 109"/>
                <a:gd name="T10" fmla="*/ 52 w 196"/>
                <a:gd name="T11" fmla="*/ 19 h 109"/>
                <a:gd name="T12" fmla="*/ 47 w 196"/>
                <a:gd name="T13" fmla="*/ 28 h 109"/>
                <a:gd name="T14" fmla="*/ 36 w 196"/>
                <a:gd name="T15" fmla="*/ 43 h 109"/>
                <a:gd name="T16" fmla="*/ 25 w 196"/>
                <a:gd name="T17" fmla="*/ 43 h 109"/>
                <a:gd name="T18" fmla="*/ 22 w 196"/>
                <a:gd name="T19" fmla="*/ 56 h 109"/>
                <a:gd name="T20" fmla="*/ 4 w 196"/>
                <a:gd name="T21" fmla="*/ 72 h 109"/>
                <a:gd name="T22" fmla="*/ 10 w 196"/>
                <a:gd name="T23" fmla="*/ 80 h 109"/>
                <a:gd name="T24" fmla="*/ 6 w 196"/>
                <a:gd name="T25" fmla="*/ 89 h 109"/>
                <a:gd name="T26" fmla="*/ 24 w 196"/>
                <a:gd name="T27" fmla="*/ 73 h 109"/>
                <a:gd name="T28" fmla="*/ 39 w 196"/>
                <a:gd name="T29" fmla="*/ 75 h 109"/>
                <a:gd name="T30" fmla="*/ 38 w 196"/>
                <a:gd name="T31" fmla="*/ 93 h 109"/>
                <a:gd name="T32" fmla="*/ 45 w 196"/>
                <a:gd name="T33" fmla="*/ 103 h 109"/>
                <a:gd name="T34" fmla="*/ 52 w 196"/>
                <a:gd name="T35" fmla="*/ 103 h 109"/>
                <a:gd name="T36" fmla="*/ 66 w 196"/>
                <a:gd name="T37" fmla="*/ 96 h 109"/>
                <a:gd name="T38" fmla="*/ 86 w 196"/>
                <a:gd name="T39" fmla="*/ 101 h 109"/>
                <a:gd name="T40" fmla="*/ 92 w 196"/>
                <a:gd name="T41" fmla="*/ 81 h 109"/>
                <a:gd name="T42" fmla="*/ 103 w 196"/>
                <a:gd name="T43" fmla="*/ 75 h 109"/>
                <a:gd name="T44" fmla="*/ 111 w 196"/>
                <a:gd name="T45" fmla="*/ 90 h 109"/>
                <a:gd name="T46" fmla="*/ 116 w 196"/>
                <a:gd name="T47" fmla="*/ 91 h 109"/>
                <a:gd name="T48" fmla="*/ 132 w 196"/>
                <a:gd name="T49" fmla="*/ 108 h 109"/>
                <a:gd name="T50" fmla="*/ 133 w 196"/>
                <a:gd name="T51" fmla="*/ 93 h 109"/>
                <a:gd name="T52" fmla="*/ 139 w 196"/>
                <a:gd name="T53" fmla="*/ 87 h 109"/>
                <a:gd name="T54" fmla="*/ 144 w 196"/>
                <a:gd name="T55" fmla="*/ 71 h 109"/>
                <a:gd name="T56" fmla="*/ 150 w 196"/>
                <a:gd name="T57" fmla="*/ 83 h 109"/>
                <a:gd name="T58" fmla="*/ 164 w 196"/>
                <a:gd name="T59" fmla="*/ 80 h 109"/>
                <a:gd name="T60" fmla="*/ 175 w 196"/>
                <a:gd name="T61" fmla="*/ 85 h 109"/>
                <a:gd name="T62" fmla="*/ 180 w 196"/>
                <a:gd name="T63" fmla="*/ 79 h 109"/>
                <a:gd name="T64" fmla="*/ 176 w 196"/>
                <a:gd name="T65" fmla="*/ 66 h 109"/>
                <a:gd name="T66" fmla="*/ 189 w 196"/>
                <a:gd name="T67" fmla="*/ 68 h 109"/>
                <a:gd name="T68" fmla="*/ 191 w 196"/>
                <a:gd name="T69" fmla="*/ 55 h 109"/>
                <a:gd name="T70" fmla="*/ 196 w 196"/>
                <a:gd name="T71" fmla="*/ 54 h 109"/>
                <a:gd name="T72" fmla="*/ 187 w 196"/>
                <a:gd name="T73" fmla="*/ 43 h 109"/>
                <a:gd name="T74" fmla="*/ 171 w 196"/>
                <a:gd name="T75" fmla="*/ 55 h 109"/>
                <a:gd name="T76" fmla="*/ 166 w 196"/>
                <a:gd name="T77" fmla="*/ 43 h 109"/>
                <a:gd name="T78" fmla="*/ 154 w 196"/>
                <a:gd name="T79" fmla="*/ 44 h 109"/>
                <a:gd name="T80" fmla="*/ 146 w 196"/>
                <a:gd name="T81" fmla="*/ 42 h 109"/>
                <a:gd name="T82" fmla="*/ 153 w 196"/>
                <a:gd name="T83" fmla="*/ 29 h 109"/>
                <a:gd name="T84" fmla="*/ 154 w 196"/>
                <a:gd name="T85" fmla="*/ 19 h 109"/>
                <a:gd name="T86" fmla="*/ 150 w 196"/>
                <a:gd name="T87" fmla="*/ 19 h 109"/>
                <a:gd name="T88" fmla="*/ 144 w 196"/>
                <a:gd name="T89" fmla="*/ 11 h 109"/>
                <a:gd name="T90" fmla="*/ 134 w 196"/>
                <a:gd name="T91" fmla="*/ 8 h 109"/>
                <a:gd name="T92" fmla="*/ 125 w 196"/>
                <a:gd name="T93" fmla="*/ 8 h 109"/>
                <a:gd name="T94" fmla="*/ 109 w 196"/>
                <a:gd name="T95" fmla="*/ 1 h 109"/>
                <a:gd name="T96" fmla="*/ 107 w 196"/>
                <a:gd name="T97" fmla="*/ 14 h 109"/>
                <a:gd name="T98" fmla="*/ 103 w 196"/>
                <a:gd name="T99" fmla="*/ 10 h 109"/>
                <a:gd name="T100" fmla="*/ 93 w 196"/>
                <a:gd name="T101" fmla="*/ 1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0" y="83"/>
                    <a:pt x="150" y="83"/>
                    <a:pt x="150"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78" name="Sweden">
              <a:extLst>
                <a:ext uri="{FF2B5EF4-FFF2-40B4-BE49-F238E27FC236}">
                  <a16:creationId xmlns:a16="http://schemas.microsoft.com/office/drawing/2014/main" id="{7725D7EA-36AB-4F88-84D3-83A03159238B}"/>
                </a:ext>
              </a:extLst>
            </p:cNvPr>
            <p:cNvSpPr>
              <a:spLocks noEditPoints="1"/>
            </p:cNvSpPr>
            <p:nvPr/>
          </p:nvSpPr>
          <p:spPr bwMode="gray">
            <a:xfrm>
              <a:off x="5890312" y="2492286"/>
              <a:ext cx="900643" cy="1529743"/>
            </a:xfrm>
            <a:custGeom>
              <a:avLst/>
              <a:gdLst>
                <a:gd name="T0" fmla="*/ 445 w 459"/>
                <a:gd name="T1" fmla="*/ 95 h 664"/>
                <a:gd name="T2" fmla="*/ 424 w 459"/>
                <a:gd name="T3" fmla="*/ 67 h 664"/>
                <a:gd name="T4" fmla="*/ 391 w 459"/>
                <a:gd name="T5" fmla="*/ 26 h 664"/>
                <a:gd name="T6" fmla="*/ 338 w 459"/>
                <a:gd name="T7" fmla="*/ 9 h 664"/>
                <a:gd name="T8" fmla="*/ 305 w 459"/>
                <a:gd name="T9" fmla="*/ 14 h 664"/>
                <a:gd name="T10" fmla="*/ 284 w 459"/>
                <a:gd name="T11" fmla="*/ 25 h 664"/>
                <a:gd name="T12" fmla="*/ 243 w 459"/>
                <a:gd name="T13" fmla="*/ 25 h 664"/>
                <a:gd name="T14" fmla="*/ 216 w 459"/>
                <a:gd name="T15" fmla="*/ 45 h 664"/>
                <a:gd name="T16" fmla="*/ 165 w 459"/>
                <a:gd name="T17" fmla="*/ 71 h 664"/>
                <a:gd name="T18" fmla="*/ 161 w 459"/>
                <a:gd name="T19" fmla="*/ 99 h 664"/>
                <a:gd name="T20" fmla="*/ 146 w 459"/>
                <a:gd name="T21" fmla="*/ 128 h 664"/>
                <a:gd name="T22" fmla="*/ 118 w 459"/>
                <a:gd name="T23" fmla="*/ 144 h 664"/>
                <a:gd name="T24" fmla="*/ 96 w 459"/>
                <a:gd name="T25" fmla="*/ 194 h 664"/>
                <a:gd name="T26" fmla="*/ 68 w 459"/>
                <a:gd name="T27" fmla="*/ 227 h 664"/>
                <a:gd name="T28" fmla="*/ 28 w 459"/>
                <a:gd name="T29" fmla="*/ 260 h 664"/>
                <a:gd name="T30" fmla="*/ 21 w 459"/>
                <a:gd name="T31" fmla="*/ 290 h 664"/>
                <a:gd name="T32" fmla="*/ 33 w 459"/>
                <a:gd name="T33" fmla="*/ 334 h 664"/>
                <a:gd name="T34" fmla="*/ 50 w 459"/>
                <a:gd name="T35" fmla="*/ 374 h 664"/>
                <a:gd name="T36" fmla="*/ 51 w 459"/>
                <a:gd name="T37" fmla="*/ 409 h 664"/>
                <a:gd name="T38" fmla="*/ 36 w 459"/>
                <a:gd name="T39" fmla="*/ 431 h 664"/>
                <a:gd name="T40" fmla="*/ 15 w 459"/>
                <a:gd name="T41" fmla="*/ 452 h 664"/>
                <a:gd name="T42" fmla="*/ 0 w 459"/>
                <a:gd name="T43" fmla="*/ 469 h 664"/>
                <a:gd name="T44" fmla="*/ 19 w 459"/>
                <a:gd name="T45" fmla="*/ 515 h 664"/>
                <a:gd name="T46" fmla="*/ 49 w 459"/>
                <a:gd name="T47" fmla="*/ 586 h 664"/>
                <a:gd name="T48" fmla="*/ 53 w 459"/>
                <a:gd name="T49" fmla="*/ 607 h 664"/>
                <a:gd name="T50" fmla="*/ 69 w 459"/>
                <a:gd name="T51" fmla="*/ 656 h 664"/>
                <a:gd name="T52" fmla="*/ 120 w 459"/>
                <a:gd name="T53" fmla="*/ 631 h 664"/>
                <a:gd name="T54" fmla="*/ 176 w 459"/>
                <a:gd name="T55" fmla="*/ 618 h 664"/>
                <a:gd name="T56" fmla="*/ 206 w 459"/>
                <a:gd name="T57" fmla="*/ 549 h 664"/>
                <a:gd name="T58" fmla="*/ 196 w 459"/>
                <a:gd name="T59" fmla="*/ 507 h 664"/>
                <a:gd name="T60" fmla="*/ 237 w 459"/>
                <a:gd name="T61" fmla="*/ 489 h 664"/>
                <a:gd name="T62" fmla="*/ 270 w 459"/>
                <a:gd name="T63" fmla="*/ 456 h 664"/>
                <a:gd name="T64" fmla="*/ 271 w 459"/>
                <a:gd name="T65" fmla="*/ 409 h 664"/>
                <a:gd name="T66" fmla="*/ 217 w 459"/>
                <a:gd name="T67" fmla="*/ 350 h 664"/>
                <a:gd name="T68" fmla="*/ 237 w 459"/>
                <a:gd name="T69" fmla="*/ 303 h 664"/>
                <a:gd name="T70" fmla="*/ 271 w 459"/>
                <a:gd name="T71" fmla="*/ 270 h 664"/>
                <a:gd name="T72" fmla="*/ 340 w 459"/>
                <a:gd name="T73" fmla="*/ 249 h 664"/>
                <a:gd name="T74" fmla="*/ 372 w 459"/>
                <a:gd name="T75" fmla="*/ 175 h 664"/>
                <a:gd name="T76" fmla="*/ 396 w 459"/>
                <a:gd name="T77" fmla="*/ 144 h 664"/>
                <a:gd name="T78" fmla="*/ 459 w 459"/>
                <a:gd name="T79" fmla="*/ 157 h 664"/>
                <a:gd name="T80" fmla="*/ 271 w 459"/>
                <a:gd name="T81" fmla="*/ 583 h 664"/>
                <a:gd name="T82" fmla="*/ 290 w 459"/>
                <a:gd name="T83" fmla="*/ 543 h 664"/>
                <a:gd name="T84" fmla="*/ 200 w 459"/>
                <a:gd name="T85" fmla="*/ 597 h 664"/>
                <a:gd name="T86" fmla="*/ 230 w 459"/>
                <a:gd name="T87" fmla="*/ 570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moveTo>
                    <a:pt x="200" y="597"/>
                  </a:moveTo>
                  <a:cubicBezTo>
                    <a:pt x="200" y="602"/>
                    <a:pt x="199" y="615"/>
                    <a:pt x="199" y="615"/>
                  </a:cubicBezTo>
                  <a:cubicBezTo>
                    <a:pt x="207" y="615"/>
                    <a:pt x="216" y="584"/>
                    <a:pt x="216" y="584"/>
                  </a:cubicBezTo>
                  <a:cubicBezTo>
                    <a:pt x="230" y="570"/>
                    <a:pt x="230" y="570"/>
                    <a:pt x="230" y="570"/>
                  </a:cubicBezTo>
                  <a:cubicBezTo>
                    <a:pt x="226" y="557"/>
                    <a:pt x="226" y="557"/>
                    <a:pt x="226" y="557"/>
                  </a:cubicBezTo>
                  <a:cubicBezTo>
                    <a:pt x="226" y="557"/>
                    <a:pt x="200" y="591"/>
                    <a:pt x="200" y="597"/>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80" name="Spain">
              <a:extLst>
                <a:ext uri="{FF2B5EF4-FFF2-40B4-BE49-F238E27FC236}">
                  <a16:creationId xmlns:a16="http://schemas.microsoft.com/office/drawing/2014/main" id="{E7E5082D-0EEE-4860-9259-3674B3D71F95}"/>
                </a:ext>
              </a:extLst>
            </p:cNvPr>
            <p:cNvSpPr>
              <a:spLocks noEditPoints="1"/>
            </p:cNvSpPr>
            <p:nvPr/>
          </p:nvSpPr>
          <p:spPr bwMode="gray">
            <a:xfrm>
              <a:off x="4155747" y="5401411"/>
              <a:ext cx="1161939" cy="954458"/>
            </a:xfrm>
            <a:custGeom>
              <a:avLst/>
              <a:gdLst>
                <a:gd name="T0" fmla="*/ 527 w 591"/>
                <a:gd name="T1" fmla="*/ 205 h 413"/>
                <a:gd name="T2" fmla="*/ 511 w 591"/>
                <a:gd name="T3" fmla="*/ 226 h 413"/>
                <a:gd name="T4" fmla="*/ 531 w 591"/>
                <a:gd name="T5" fmla="*/ 237 h 413"/>
                <a:gd name="T6" fmla="*/ 536 w 591"/>
                <a:gd name="T7" fmla="*/ 212 h 413"/>
                <a:gd name="T8" fmla="*/ 461 w 591"/>
                <a:gd name="T9" fmla="*/ 249 h 413"/>
                <a:gd name="T10" fmla="*/ 560 w 591"/>
                <a:gd name="T11" fmla="*/ 198 h 413"/>
                <a:gd name="T12" fmla="*/ 560 w 591"/>
                <a:gd name="T13" fmla="*/ 198 h 413"/>
                <a:gd name="T14" fmla="*/ 534 w 591"/>
                <a:gd name="T15" fmla="*/ 86 h 413"/>
                <a:gd name="T16" fmla="*/ 527 w 591"/>
                <a:gd name="T17" fmla="*/ 67 h 413"/>
                <a:gd name="T18" fmla="*/ 514 w 591"/>
                <a:gd name="T19" fmla="*/ 77 h 413"/>
                <a:gd name="T20" fmla="*/ 496 w 591"/>
                <a:gd name="T21" fmla="*/ 70 h 413"/>
                <a:gd name="T22" fmla="*/ 479 w 591"/>
                <a:gd name="T23" fmla="*/ 68 h 413"/>
                <a:gd name="T24" fmla="*/ 459 w 591"/>
                <a:gd name="T25" fmla="*/ 56 h 413"/>
                <a:gd name="T26" fmla="*/ 437 w 591"/>
                <a:gd name="T27" fmla="*/ 48 h 413"/>
                <a:gd name="T28" fmla="*/ 417 w 591"/>
                <a:gd name="T29" fmla="*/ 63 h 413"/>
                <a:gd name="T30" fmla="*/ 395 w 591"/>
                <a:gd name="T31" fmla="*/ 54 h 413"/>
                <a:gd name="T32" fmla="*/ 376 w 591"/>
                <a:gd name="T33" fmla="*/ 51 h 413"/>
                <a:gd name="T34" fmla="*/ 342 w 591"/>
                <a:gd name="T35" fmla="*/ 38 h 413"/>
                <a:gd name="T36" fmla="*/ 327 w 591"/>
                <a:gd name="T37" fmla="*/ 29 h 413"/>
                <a:gd name="T38" fmla="*/ 320 w 591"/>
                <a:gd name="T39" fmla="*/ 23 h 413"/>
                <a:gd name="T40" fmla="*/ 234 w 591"/>
                <a:gd name="T41" fmla="*/ 22 h 413"/>
                <a:gd name="T42" fmla="*/ 156 w 591"/>
                <a:gd name="T43" fmla="*/ 7 h 413"/>
                <a:gd name="T44" fmla="*/ 91 w 591"/>
                <a:gd name="T45" fmla="*/ 8 h 413"/>
                <a:gd name="T46" fmla="*/ 49 w 591"/>
                <a:gd name="T47" fmla="*/ 18 h 413"/>
                <a:gd name="T48" fmla="*/ 21 w 591"/>
                <a:gd name="T49" fmla="*/ 67 h 413"/>
                <a:gd name="T50" fmla="*/ 15 w 591"/>
                <a:gd name="T51" fmla="*/ 101 h 413"/>
                <a:gd name="T52" fmla="*/ 50 w 591"/>
                <a:gd name="T53" fmla="*/ 94 h 413"/>
                <a:gd name="T54" fmla="*/ 61 w 591"/>
                <a:gd name="T55" fmla="*/ 99 h 413"/>
                <a:gd name="T56" fmla="*/ 85 w 591"/>
                <a:gd name="T57" fmla="*/ 96 h 413"/>
                <a:gd name="T58" fmla="*/ 115 w 591"/>
                <a:gd name="T59" fmla="*/ 108 h 413"/>
                <a:gd name="T60" fmla="*/ 94 w 591"/>
                <a:gd name="T61" fmla="*/ 144 h 413"/>
                <a:gd name="T62" fmla="*/ 96 w 591"/>
                <a:gd name="T63" fmla="*/ 181 h 413"/>
                <a:gd name="T64" fmla="*/ 94 w 591"/>
                <a:gd name="T65" fmla="*/ 205 h 413"/>
                <a:gd name="T66" fmla="*/ 61 w 591"/>
                <a:gd name="T67" fmla="*/ 217 h 413"/>
                <a:gd name="T68" fmla="*/ 77 w 591"/>
                <a:gd name="T69" fmla="*/ 240 h 413"/>
                <a:gd name="T70" fmla="*/ 66 w 591"/>
                <a:gd name="T71" fmla="*/ 276 h 413"/>
                <a:gd name="T72" fmla="*/ 84 w 591"/>
                <a:gd name="T73" fmla="*/ 301 h 413"/>
                <a:gd name="T74" fmla="*/ 60 w 591"/>
                <a:gd name="T75" fmla="*/ 325 h 413"/>
                <a:gd name="T76" fmla="*/ 61 w 591"/>
                <a:gd name="T77" fmla="*/ 351 h 413"/>
                <a:gd name="T78" fmla="*/ 81 w 591"/>
                <a:gd name="T79" fmla="*/ 350 h 413"/>
                <a:gd name="T80" fmla="*/ 109 w 591"/>
                <a:gd name="T81" fmla="*/ 365 h 413"/>
                <a:gd name="T82" fmla="*/ 110 w 591"/>
                <a:gd name="T83" fmla="*/ 383 h 413"/>
                <a:gd name="T84" fmla="*/ 136 w 591"/>
                <a:gd name="T85" fmla="*/ 413 h 413"/>
                <a:gd name="T86" fmla="*/ 177 w 591"/>
                <a:gd name="T87" fmla="*/ 389 h 413"/>
                <a:gd name="T88" fmla="*/ 235 w 591"/>
                <a:gd name="T89" fmla="*/ 377 h 413"/>
                <a:gd name="T90" fmla="*/ 265 w 591"/>
                <a:gd name="T91" fmla="*/ 378 h 413"/>
                <a:gd name="T92" fmla="*/ 297 w 591"/>
                <a:gd name="T93" fmla="*/ 374 h 413"/>
                <a:gd name="T94" fmla="*/ 331 w 591"/>
                <a:gd name="T95" fmla="*/ 329 h 413"/>
                <a:gd name="T96" fmla="*/ 356 w 591"/>
                <a:gd name="T97" fmla="*/ 315 h 413"/>
                <a:gd name="T98" fmla="*/ 401 w 591"/>
                <a:gd name="T99" fmla="*/ 270 h 413"/>
                <a:gd name="T100" fmla="*/ 385 w 591"/>
                <a:gd name="T101" fmla="*/ 215 h 413"/>
                <a:gd name="T102" fmla="*/ 424 w 591"/>
                <a:gd name="T103" fmla="*/ 172 h 413"/>
                <a:gd name="T104" fmla="*/ 438 w 591"/>
                <a:gd name="T105" fmla="*/ 146 h 413"/>
                <a:gd name="T106" fmla="*/ 514 w 591"/>
                <a:gd name="T107" fmla="*/ 1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7"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5"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60" name="Slovenia">
              <a:extLst>
                <a:ext uri="{FF2B5EF4-FFF2-40B4-BE49-F238E27FC236}">
                  <a16:creationId xmlns:a16="http://schemas.microsoft.com/office/drawing/2014/main" id="{A7F25998-3E9F-493B-B01F-8FDEEF247743}"/>
                </a:ext>
              </a:extLst>
            </p:cNvPr>
            <p:cNvSpPr>
              <a:spLocks/>
            </p:cNvSpPr>
            <p:nvPr/>
          </p:nvSpPr>
          <p:spPr bwMode="gray">
            <a:xfrm>
              <a:off x="6062662" y="5015712"/>
              <a:ext cx="272416" cy="183044"/>
            </a:xfrm>
            <a:custGeom>
              <a:avLst/>
              <a:gdLst>
                <a:gd name="T0" fmla="*/ 18 w 138"/>
                <a:gd name="T1" fmla="*/ 80 h 80"/>
                <a:gd name="T2" fmla="*/ 27 w 138"/>
                <a:gd name="T3" fmla="*/ 79 h 80"/>
                <a:gd name="T4" fmla="*/ 29 w 138"/>
                <a:gd name="T5" fmla="*/ 70 h 80"/>
                <a:gd name="T6" fmla="*/ 35 w 138"/>
                <a:gd name="T7" fmla="*/ 76 h 80"/>
                <a:gd name="T8" fmla="*/ 47 w 138"/>
                <a:gd name="T9" fmla="*/ 75 h 80"/>
                <a:gd name="T10" fmla="*/ 53 w 138"/>
                <a:gd name="T11" fmla="*/ 67 h 80"/>
                <a:gd name="T12" fmla="*/ 59 w 138"/>
                <a:gd name="T13" fmla="*/ 75 h 80"/>
                <a:gd name="T14" fmla="*/ 72 w 138"/>
                <a:gd name="T15" fmla="*/ 75 h 80"/>
                <a:gd name="T16" fmla="*/ 82 w 138"/>
                <a:gd name="T17" fmla="*/ 75 h 80"/>
                <a:gd name="T18" fmla="*/ 83 w 138"/>
                <a:gd name="T19" fmla="*/ 62 h 80"/>
                <a:gd name="T20" fmla="*/ 93 w 138"/>
                <a:gd name="T21" fmla="*/ 61 h 80"/>
                <a:gd name="T22" fmla="*/ 100 w 138"/>
                <a:gd name="T23" fmla="*/ 53 h 80"/>
                <a:gd name="T24" fmla="*/ 97 w 138"/>
                <a:gd name="T25" fmla="*/ 40 h 80"/>
                <a:gd name="T26" fmla="*/ 106 w 138"/>
                <a:gd name="T27" fmla="*/ 36 h 80"/>
                <a:gd name="T28" fmla="*/ 122 w 138"/>
                <a:gd name="T29" fmla="*/ 32 h 80"/>
                <a:gd name="T30" fmla="*/ 125 w 138"/>
                <a:gd name="T31" fmla="*/ 24 h 80"/>
                <a:gd name="T32" fmla="*/ 138 w 138"/>
                <a:gd name="T33" fmla="*/ 22 h 80"/>
                <a:gd name="T34" fmla="*/ 128 w 138"/>
                <a:gd name="T35" fmla="*/ 15 h 80"/>
                <a:gd name="T36" fmla="*/ 125 w 138"/>
                <a:gd name="T37" fmla="*/ 5 h 80"/>
                <a:gd name="T38" fmla="*/ 118 w 138"/>
                <a:gd name="T39" fmla="*/ 0 h 80"/>
                <a:gd name="T40" fmla="*/ 115 w 138"/>
                <a:gd name="T41" fmla="*/ 8 h 80"/>
                <a:gd name="T42" fmla="*/ 113 w 138"/>
                <a:gd name="T43" fmla="*/ 20 h 80"/>
                <a:gd name="T44" fmla="*/ 97 w 138"/>
                <a:gd name="T45" fmla="*/ 15 h 80"/>
                <a:gd name="T46" fmla="*/ 90 w 138"/>
                <a:gd name="T47" fmla="*/ 19 h 80"/>
                <a:gd name="T48" fmla="*/ 57 w 138"/>
                <a:gd name="T49" fmla="*/ 18 h 80"/>
                <a:gd name="T50" fmla="*/ 50 w 138"/>
                <a:gd name="T51" fmla="*/ 27 h 80"/>
                <a:gd name="T52" fmla="*/ 35 w 138"/>
                <a:gd name="T53" fmla="*/ 25 h 80"/>
                <a:gd name="T54" fmla="*/ 26 w 138"/>
                <a:gd name="T55" fmla="*/ 21 h 80"/>
                <a:gd name="T56" fmla="*/ 14 w 138"/>
                <a:gd name="T57" fmla="*/ 25 h 80"/>
                <a:gd name="T58" fmla="*/ 5 w 138"/>
                <a:gd name="T59" fmla="*/ 25 h 80"/>
                <a:gd name="T60" fmla="*/ 0 w 138"/>
                <a:gd name="T61" fmla="*/ 34 h 80"/>
                <a:gd name="T62" fmla="*/ 8 w 138"/>
                <a:gd name="T63" fmla="*/ 37 h 80"/>
                <a:gd name="T64" fmla="*/ 3 w 138"/>
                <a:gd name="T65" fmla="*/ 62 h 80"/>
                <a:gd name="T66" fmla="*/ 23 w 138"/>
                <a:gd name="T67" fmla="*/ 70 h 80"/>
                <a:gd name="T68" fmla="*/ 18 w 138"/>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4"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61" name="Slovakia">
              <a:extLst>
                <a:ext uri="{FF2B5EF4-FFF2-40B4-BE49-F238E27FC236}">
                  <a16:creationId xmlns:a16="http://schemas.microsoft.com/office/drawing/2014/main" id="{8A527FE2-A50C-4B9B-AC75-2A690DE98295}"/>
                </a:ext>
              </a:extLst>
            </p:cNvPr>
            <p:cNvSpPr>
              <a:spLocks/>
            </p:cNvSpPr>
            <p:nvPr/>
          </p:nvSpPr>
          <p:spPr bwMode="gray">
            <a:xfrm>
              <a:off x="6346198" y="4695380"/>
              <a:ext cx="466998" cy="228809"/>
            </a:xfrm>
            <a:custGeom>
              <a:avLst/>
              <a:gdLst>
                <a:gd name="T0" fmla="*/ 233 w 239"/>
                <a:gd name="T1" fmla="*/ 23 h 98"/>
                <a:gd name="T2" fmla="*/ 214 w 239"/>
                <a:gd name="T3" fmla="*/ 19 h 98"/>
                <a:gd name="T4" fmla="*/ 194 w 239"/>
                <a:gd name="T5" fmla="*/ 6 h 98"/>
                <a:gd name="T6" fmla="*/ 170 w 239"/>
                <a:gd name="T7" fmla="*/ 14 h 98"/>
                <a:gd name="T8" fmla="*/ 159 w 239"/>
                <a:gd name="T9" fmla="*/ 10 h 98"/>
                <a:gd name="T10" fmla="*/ 140 w 239"/>
                <a:gd name="T11" fmla="*/ 9 h 98"/>
                <a:gd name="T12" fmla="*/ 132 w 239"/>
                <a:gd name="T13" fmla="*/ 18 h 98"/>
                <a:gd name="T14" fmla="*/ 126 w 239"/>
                <a:gd name="T15" fmla="*/ 11 h 98"/>
                <a:gd name="T16" fmla="*/ 119 w 239"/>
                <a:gd name="T17" fmla="*/ 11 h 98"/>
                <a:gd name="T18" fmla="*/ 111 w 239"/>
                <a:gd name="T19" fmla="*/ 2 h 98"/>
                <a:gd name="T20" fmla="*/ 91 w 239"/>
                <a:gd name="T21" fmla="*/ 8 h 98"/>
                <a:gd name="T22" fmla="*/ 83 w 239"/>
                <a:gd name="T23" fmla="*/ 2 h 98"/>
                <a:gd name="T24" fmla="*/ 72 w 239"/>
                <a:gd name="T25" fmla="*/ 9 h 98"/>
                <a:gd name="T26" fmla="*/ 58 w 239"/>
                <a:gd name="T27" fmla="*/ 15 h 98"/>
                <a:gd name="T28" fmla="*/ 58 w 239"/>
                <a:gd name="T29" fmla="*/ 28 h 98"/>
                <a:gd name="T30" fmla="*/ 36 w 239"/>
                <a:gd name="T31" fmla="*/ 40 h 98"/>
                <a:gd name="T32" fmla="*/ 24 w 239"/>
                <a:gd name="T33" fmla="*/ 39 h 98"/>
                <a:gd name="T34" fmla="*/ 12 w 239"/>
                <a:gd name="T35" fmla="*/ 41 h 98"/>
                <a:gd name="T36" fmla="*/ 3 w 239"/>
                <a:gd name="T37" fmla="*/ 46 h 98"/>
                <a:gd name="T38" fmla="*/ 1 w 239"/>
                <a:gd name="T39" fmla="*/ 60 h 98"/>
                <a:gd name="T40" fmla="*/ 0 w 239"/>
                <a:gd name="T41" fmla="*/ 70 h 98"/>
                <a:gd name="T42" fmla="*/ 7 w 239"/>
                <a:gd name="T43" fmla="*/ 75 h 98"/>
                <a:gd name="T44" fmla="*/ 7 w 239"/>
                <a:gd name="T45" fmla="*/ 87 h 98"/>
                <a:gd name="T46" fmla="*/ 7 w 239"/>
                <a:gd name="T47" fmla="*/ 87 h 98"/>
                <a:gd name="T48" fmla="*/ 13 w 239"/>
                <a:gd name="T49" fmla="*/ 92 h 98"/>
                <a:gd name="T50" fmla="*/ 20 w 239"/>
                <a:gd name="T51" fmla="*/ 81 h 98"/>
                <a:gd name="T52" fmla="*/ 40 w 239"/>
                <a:gd name="T53" fmla="*/ 97 h 98"/>
                <a:gd name="T54" fmla="*/ 81 w 239"/>
                <a:gd name="T55" fmla="*/ 94 h 98"/>
                <a:gd name="T56" fmla="*/ 87 w 239"/>
                <a:gd name="T57" fmla="*/ 78 h 98"/>
                <a:gd name="T58" fmla="*/ 111 w 239"/>
                <a:gd name="T59" fmla="*/ 81 h 98"/>
                <a:gd name="T60" fmla="*/ 118 w 239"/>
                <a:gd name="T61" fmla="*/ 73 h 98"/>
                <a:gd name="T62" fmla="*/ 144 w 239"/>
                <a:gd name="T63" fmla="*/ 69 h 98"/>
                <a:gd name="T64" fmla="*/ 155 w 239"/>
                <a:gd name="T65" fmla="*/ 53 h 98"/>
                <a:gd name="T66" fmla="*/ 171 w 239"/>
                <a:gd name="T67" fmla="*/ 53 h 98"/>
                <a:gd name="T68" fmla="*/ 174 w 239"/>
                <a:gd name="T69" fmla="*/ 63 h 98"/>
                <a:gd name="T70" fmla="*/ 183 w 239"/>
                <a:gd name="T71" fmla="*/ 64 h 98"/>
                <a:gd name="T72" fmla="*/ 188 w 239"/>
                <a:gd name="T73" fmla="*/ 53 h 98"/>
                <a:gd name="T74" fmla="*/ 194 w 239"/>
                <a:gd name="T75" fmla="*/ 63 h 98"/>
                <a:gd name="T76" fmla="*/ 223 w 239"/>
                <a:gd name="T77" fmla="*/ 59 h 98"/>
                <a:gd name="T78" fmla="*/ 223 w 239"/>
                <a:gd name="T79" fmla="*/ 59 h 98"/>
                <a:gd name="T80" fmla="*/ 224 w 239"/>
                <a:gd name="T81" fmla="*/ 51 h 98"/>
                <a:gd name="T82" fmla="*/ 234 w 239"/>
                <a:gd name="T83" fmla="*/ 43 h 98"/>
                <a:gd name="T84" fmla="*/ 237 w 239"/>
                <a:gd name="T85" fmla="*/ 30 h 98"/>
                <a:gd name="T86" fmla="*/ 233 w 239"/>
                <a:gd name="T87" fmla="*/ 2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86" name="Serbia">
              <a:extLst>
                <a:ext uri="{FF2B5EF4-FFF2-40B4-BE49-F238E27FC236}">
                  <a16:creationId xmlns:a16="http://schemas.microsoft.com/office/drawing/2014/main" id="{F2081308-09E2-4F1E-8282-E2C74BC8FD1C}"/>
                </a:ext>
              </a:extLst>
            </p:cNvPr>
            <p:cNvSpPr>
              <a:spLocks noEditPoints="1"/>
            </p:cNvSpPr>
            <p:nvPr/>
          </p:nvSpPr>
          <p:spPr bwMode="gray">
            <a:xfrm>
              <a:off x="6518550" y="5094144"/>
              <a:ext cx="366928" cy="536063"/>
            </a:xfrm>
            <a:custGeom>
              <a:avLst/>
              <a:gdLst>
                <a:gd name="T0" fmla="*/ 167 w 185"/>
                <a:gd name="T1" fmla="*/ 152 h 233"/>
                <a:gd name="T2" fmla="*/ 160 w 185"/>
                <a:gd name="T3" fmla="*/ 140 h 233"/>
                <a:gd name="T4" fmla="*/ 166 w 185"/>
                <a:gd name="T5" fmla="*/ 120 h 233"/>
                <a:gd name="T6" fmla="*/ 161 w 185"/>
                <a:gd name="T7" fmla="*/ 102 h 233"/>
                <a:gd name="T8" fmla="*/ 171 w 185"/>
                <a:gd name="T9" fmla="*/ 88 h 233"/>
                <a:gd name="T10" fmla="*/ 139 w 185"/>
                <a:gd name="T11" fmla="*/ 91 h 233"/>
                <a:gd name="T12" fmla="*/ 117 w 185"/>
                <a:gd name="T13" fmla="*/ 82 h 233"/>
                <a:gd name="T14" fmla="*/ 115 w 185"/>
                <a:gd name="T15" fmla="*/ 56 h 233"/>
                <a:gd name="T16" fmla="*/ 91 w 185"/>
                <a:gd name="T17" fmla="*/ 48 h 233"/>
                <a:gd name="T18" fmla="*/ 77 w 185"/>
                <a:gd name="T19" fmla="*/ 27 h 233"/>
                <a:gd name="T20" fmla="*/ 48 w 185"/>
                <a:gd name="T21" fmla="*/ 6 h 233"/>
                <a:gd name="T22" fmla="*/ 18 w 185"/>
                <a:gd name="T23" fmla="*/ 17 h 233"/>
                <a:gd name="T24" fmla="*/ 0 w 185"/>
                <a:gd name="T25" fmla="*/ 21 h 233"/>
                <a:gd name="T26" fmla="*/ 6 w 185"/>
                <a:gd name="T27" fmla="*/ 40 h 233"/>
                <a:gd name="T28" fmla="*/ 8 w 185"/>
                <a:gd name="T29" fmla="*/ 53 h 233"/>
                <a:gd name="T30" fmla="*/ 12 w 185"/>
                <a:gd name="T31" fmla="*/ 65 h 233"/>
                <a:gd name="T32" fmla="*/ 5 w 185"/>
                <a:gd name="T33" fmla="*/ 72 h 233"/>
                <a:gd name="T34" fmla="*/ 27 w 185"/>
                <a:gd name="T35" fmla="*/ 76 h 233"/>
                <a:gd name="T36" fmla="*/ 15 w 185"/>
                <a:gd name="T37" fmla="*/ 106 h 233"/>
                <a:gd name="T38" fmla="*/ 37 w 185"/>
                <a:gd name="T39" fmla="*/ 118 h 233"/>
                <a:gd name="T40" fmla="*/ 35 w 185"/>
                <a:gd name="T41" fmla="*/ 140 h 233"/>
                <a:gd name="T42" fmla="*/ 41 w 185"/>
                <a:gd name="T43" fmla="*/ 153 h 233"/>
                <a:gd name="T44" fmla="*/ 58 w 185"/>
                <a:gd name="T45" fmla="*/ 174 h 233"/>
                <a:gd name="T46" fmla="*/ 65 w 185"/>
                <a:gd name="T47" fmla="*/ 199 h 233"/>
                <a:gd name="T48" fmla="*/ 71 w 185"/>
                <a:gd name="T49" fmla="*/ 211 h 233"/>
                <a:gd name="T50" fmla="*/ 84 w 185"/>
                <a:gd name="T51" fmla="*/ 221 h 233"/>
                <a:gd name="T52" fmla="*/ 95 w 185"/>
                <a:gd name="T53" fmla="*/ 229 h 233"/>
                <a:gd name="T54" fmla="*/ 112 w 185"/>
                <a:gd name="T55" fmla="*/ 221 h 233"/>
                <a:gd name="T56" fmla="*/ 128 w 185"/>
                <a:gd name="T57" fmla="*/ 213 h 233"/>
                <a:gd name="T58" fmla="*/ 158 w 185"/>
                <a:gd name="T59" fmla="*/ 207 h 233"/>
                <a:gd name="T60" fmla="*/ 165 w 185"/>
                <a:gd name="T61" fmla="*/ 192 h 233"/>
                <a:gd name="T62" fmla="*/ 177 w 185"/>
                <a:gd name="T63" fmla="*/ 180 h 233"/>
                <a:gd name="T64" fmla="*/ 180 w 185"/>
                <a:gd name="T65" fmla="*/ 159 h 233"/>
                <a:gd name="T66" fmla="*/ 27 w 185"/>
                <a:gd name="T67" fmla="*/ 144 h 233"/>
                <a:gd name="T68" fmla="*/ 24 w 185"/>
                <a:gd name="T69" fmla="*/ 144 h 233"/>
                <a:gd name="T70" fmla="*/ 24 w 185"/>
                <a:gd name="T71"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57" name="Romania">
              <a:extLst>
                <a:ext uri="{FF2B5EF4-FFF2-40B4-BE49-F238E27FC236}">
                  <a16:creationId xmlns:a16="http://schemas.microsoft.com/office/drawing/2014/main" id="{44007BAC-AC96-4F06-A961-73D205CFA610}"/>
                </a:ext>
              </a:extLst>
            </p:cNvPr>
            <p:cNvSpPr>
              <a:spLocks/>
            </p:cNvSpPr>
            <p:nvPr/>
          </p:nvSpPr>
          <p:spPr bwMode="gray">
            <a:xfrm>
              <a:off x="6640849" y="4852276"/>
              <a:ext cx="806128" cy="568750"/>
            </a:xfrm>
            <a:custGeom>
              <a:avLst/>
              <a:gdLst>
                <a:gd name="T0" fmla="*/ 360 w 411"/>
                <a:gd name="T1" fmla="*/ 241 h 248"/>
                <a:gd name="T2" fmla="*/ 379 w 411"/>
                <a:gd name="T3" fmla="*/ 187 h 248"/>
                <a:gd name="T4" fmla="*/ 396 w 411"/>
                <a:gd name="T5" fmla="*/ 146 h 248"/>
                <a:gd name="T6" fmla="*/ 353 w 411"/>
                <a:gd name="T7" fmla="*/ 161 h 248"/>
                <a:gd name="T8" fmla="*/ 330 w 411"/>
                <a:gd name="T9" fmla="*/ 121 h 248"/>
                <a:gd name="T10" fmla="*/ 332 w 411"/>
                <a:gd name="T11" fmla="*/ 98 h 248"/>
                <a:gd name="T12" fmla="*/ 317 w 411"/>
                <a:gd name="T13" fmla="*/ 66 h 248"/>
                <a:gd name="T14" fmla="*/ 307 w 411"/>
                <a:gd name="T15" fmla="*/ 55 h 248"/>
                <a:gd name="T16" fmla="*/ 286 w 411"/>
                <a:gd name="T17" fmla="*/ 32 h 248"/>
                <a:gd name="T18" fmla="*/ 263 w 411"/>
                <a:gd name="T19" fmla="*/ 3 h 248"/>
                <a:gd name="T20" fmla="*/ 225 w 411"/>
                <a:gd name="T21" fmla="*/ 17 h 248"/>
                <a:gd name="T22" fmla="*/ 204 w 411"/>
                <a:gd name="T23" fmla="*/ 21 h 248"/>
                <a:gd name="T24" fmla="*/ 172 w 411"/>
                <a:gd name="T25" fmla="*/ 16 h 248"/>
                <a:gd name="T26" fmla="*/ 145 w 411"/>
                <a:gd name="T27" fmla="*/ 18 h 248"/>
                <a:gd name="T28" fmla="*/ 123 w 411"/>
                <a:gd name="T29" fmla="*/ 14 h 248"/>
                <a:gd name="T30" fmla="*/ 90 w 411"/>
                <a:gd name="T31" fmla="*/ 28 h 248"/>
                <a:gd name="T32" fmla="*/ 69 w 411"/>
                <a:gd name="T33" fmla="*/ 53 h 248"/>
                <a:gd name="T34" fmla="*/ 46 w 411"/>
                <a:gd name="T35" fmla="*/ 83 h 248"/>
                <a:gd name="T36" fmla="*/ 29 w 411"/>
                <a:gd name="T37" fmla="*/ 107 h 248"/>
                <a:gd name="T38" fmla="*/ 16 w 411"/>
                <a:gd name="T39" fmla="*/ 114 h 248"/>
                <a:gd name="T40" fmla="*/ 1 w 411"/>
                <a:gd name="T41" fmla="*/ 119 h 248"/>
                <a:gd name="T42" fmla="*/ 22 w 411"/>
                <a:gd name="T43" fmla="*/ 131 h 248"/>
                <a:gd name="T44" fmla="*/ 38 w 411"/>
                <a:gd name="T45" fmla="*/ 160 h 248"/>
                <a:gd name="T46" fmla="*/ 51 w 411"/>
                <a:gd name="T47" fmla="*/ 177 h 248"/>
                <a:gd name="T48" fmla="*/ 72 w 411"/>
                <a:gd name="T49" fmla="*/ 190 h 248"/>
                <a:gd name="T50" fmla="*/ 94 w 411"/>
                <a:gd name="T51" fmla="*/ 190 h 248"/>
                <a:gd name="T52" fmla="*/ 107 w 411"/>
                <a:gd name="T53" fmla="*/ 200 h 248"/>
                <a:gd name="T54" fmla="*/ 107 w 411"/>
                <a:gd name="T55" fmla="*/ 212 h 248"/>
                <a:gd name="T56" fmla="*/ 113 w 411"/>
                <a:gd name="T57" fmla="*/ 219 h 248"/>
                <a:gd name="T58" fmla="*/ 118 w 411"/>
                <a:gd name="T59" fmla="*/ 236 h 248"/>
                <a:gd name="T60" fmla="*/ 142 w 411"/>
                <a:gd name="T61" fmla="*/ 232 h 248"/>
                <a:gd name="T62" fmla="*/ 180 w 411"/>
                <a:gd name="T63" fmla="*/ 244 h 248"/>
                <a:gd name="T64" fmla="*/ 201 w 411"/>
                <a:gd name="T65" fmla="*/ 240 h 248"/>
                <a:gd name="T66" fmla="*/ 236 w 411"/>
                <a:gd name="T67" fmla="*/ 247 h 248"/>
                <a:gd name="T68" fmla="*/ 266 w 411"/>
                <a:gd name="T69" fmla="*/ 229 h 248"/>
                <a:gd name="T70" fmla="*/ 284 w 411"/>
                <a:gd name="T71" fmla="*/ 226 h 248"/>
                <a:gd name="T72" fmla="*/ 315 w 411"/>
                <a:gd name="T73" fmla="*/ 228 h 248"/>
                <a:gd name="T74" fmla="*/ 341 w 411"/>
                <a:gd name="T75" fmla="*/ 2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6"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81" name="Portugal">
              <a:extLst>
                <a:ext uri="{FF2B5EF4-FFF2-40B4-BE49-F238E27FC236}">
                  <a16:creationId xmlns:a16="http://schemas.microsoft.com/office/drawing/2014/main" id="{FA49DAA1-0054-4449-AB31-3664F3F4C537}"/>
                </a:ext>
              </a:extLst>
            </p:cNvPr>
            <p:cNvSpPr>
              <a:spLocks/>
            </p:cNvSpPr>
            <p:nvPr/>
          </p:nvSpPr>
          <p:spPr bwMode="gray">
            <a:xfrm>
              <a:off x="4105711" y="5604074"/>
              <a:ext cx="305770" cy="640664"/>
            </a:xfrm>
            <a:custGeom>
              <a:avLst/>
              <a:gdLst>
                <a:gd name="T0" fmla="*/ 141 w 155"/>
                <a:gd name="T1" fmla="*/ 20 h 277"/>
                <a:gd name="T2" fmla="*/ 140 w 155"/>
                <a:gd name="T3" fmla="*/ 7 h 277"/>
                <a:gd name="T4" fmla="*/ 111 w 155"/>
                <a:gd name="T5" fmla="*/ 8 h 277"/>
                <a:gd name="T6" fmla="*/ 104 w 155"/>
                <a:gd name="T7" fmla="*/ 16 h 277"/>
                <a:gd name="T8" fmla="*/ 87 w 155"/>
                <a:gd name="T9" fmla="*/ 11 h 277"/>
                <a:gd name="T10" fmla="*/ 70 w 155"/>
                <a:gd name="T11" fmla="*/ 15 h 277"/>
                <a:gd name="T12" fmla="*/ 76 w 155"/>
                <a:gd name="T13" fmla="*/ 6 h 277"/>
                <a:gd name="T14" fmla="*/ 62 w 155"/>
                <a:gd name="T15" fmla="*/ 0 h 277"/>
                <a:gd name="T16" fmla="*/ 41 w 155"/>
                <a:gd name="T17" fmla="*/ 13 h 277"/>
                <a:gd name="T18" fmla="*/ 46 w 155"/>
                <a:gd name="T19" fmla="*/ 53 h 277"/>
                <a:gd name="T20" fmla="*/ 23 w 155"/>
                <a:gd name="T21" fmla="*/ 114 h 277"/>
                <a:gd name="T22" fmla="*/ 9 w 155"/>
                <a:gd name="T23" fmla="*/ 146 h 277"/>
                <a:gd name="T24" fmla="*/ 6 w 155"/>
                <a:gd name="T25" fmla="*/ 180 h 277"/>
                <a:gd name="T26" fmla="*/ 23 w 155"/>
                <a:gd name="T27" fmla="*/ 191 h 277"/>
                <a:gd name="T28" fmla="*/ 30 w 155"/>
                <a:gd name="T29" fmla="*/ 228 h 277"/>
                <a:gd name="T30" fmla="*/ 20 w 155"/>
                <a:gd name="T31" fmla="*/ 271 h 277"/>
                <a:gd name="T32" fmla="*/ 52 w 155"/>
                <a:gd name="T33" fmla="*/ 268 h 277"/>
                <a:gd name="T34" fmla="*/ 62 w 155"/>
                <a:gd name="T35" fmla="*/ 276 h 277"/>
                <a:gd name="T36" fmla="*/ 87 w 155"/>
                <a:gd name="T37" fmla="*/ 263 h 277"/>
                <a:gd name="T38" fmla="*/ 85 w 155"/>
                <a:gd name="T39" fmla="*/ 252 h 277"/>
                <a:gd name="T40" fmla="*/ 86 w 155"/>
                <a:gd name="T41" fmla="*/ 237 h 277"/>
                <a:gd name="T42" fmla="*/ 96 w 155"/>
                <a:gd name="T43" fmla="*/ 220 h 277"/>
                <a:gd name="T44" fmla="*/ 110 w 155"/>
                <a:gd name="T45" fmla="*/ 213 h 277"/>
                <a:gd name="T46" fmla="*/ 101 w 155"/>
                <a:gd name="T47" fmla="*/ 206 h 277"/>
                <a:gd name="T48" fmla="*/ 92 w 155"/>
                <a:gd name="T49" fmla="*/ 188 h 277"/>
                <a:gd name="T50" fmla="*/ 114 w 155"/>
                <a:gd name="T51" fmla="*/ 162 h 277"/>
                <a:gd name="T52" fmla="*/ 103 w 155"/>
                <a:gd name="T53" fmla="*/ 152 h 277"/>
                <a:gd name="T54" fmla="*/ 103 w 155"/>
                <a:gd name="T55" fmla="*/ 143 h 277"/>
                <a:gd name="T56" fmla="*/ 87 w 155"/>
                <a:gd name="T57" fmla="*/ 129 h 277"/>
                <a:gd name="T58" fmla="*/ 108 w 155"/>
                <a:gd name="T59" fmla="*/ 128 h 277"/>
                <a:gd name="T60" fmla="*/ 120 w 155"/>
                <a:gd name="T61" fmla="*/ 117 h 277"/>
                <a:gd name="T62" fmla="*/ 116 w 155"/>
                <a:gd name="T63" fmla="*/ 100 h 277"/>
                <a:gd name="T64" fmla="*/ 122 w 155"/>
                <a:gd name="T65" fmla="*/ 93 h 277"/>
                <a:gd name="T66" fmla="*/ 128 w 155"/>
                <a:gd name="T67" fmla="*/ 65 h 277"/>
                <a:gd name="T68" fmla="*/ 120 w 155"/>
                <a:gd name="T69" fmla="*/ 56 h 277"/>
                <a:gd name="T70" fmla="*/ 154 w 155"/>
                <a:gd name="T71" fmla="*/ 29 h 277"/>
                <a:gd name="T72" fmla="*/ 141 w 155"/>
                <a:gd name="T73" fmla="*/ 2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1"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67" name="Poland">
              <a:extLst>
                <a:ext uri="{FF2B5EF4-FFF2-40B4-BE49-F238E27FC236}">
                  <a16:creationId xmlns:a16="http://schemas.microsoft.com/office/drawing/2014/main" id="{785FF287-451E-418F-BAFD-E183E48F9DC1}"/>
                </a:ext>
              </a:extLst>
            </p:cNvPr>
            <p:cNvSpPr>
              <a:spLocks/>
            </p:cNvSpPr>
            <p:nvPr/>
          </p:nvSpPr>
          <p:spPr bwMode="gray">
            <a:xfrm>
              <a:off x="6112696" y="4074327"/>
              <a:ext cx="822809" cy="692962"/>
            </a:xfrm>
            <a:custGeom>
              <a:avLst/>
              <a:gdLst>
                <a:gd name="T0" fmla="*/ 312 w 419"/>
                <a:gd name="T1" fmla="*/ 276 h 301"/>
                <a:gd name="T2" fmla="*/ 351 w 419"/>
                <a:gd name="T3" fmla="*/ 293 h 301"/>
                <a:gd name="T4" fmla="*/ 371 w 419"/>
                <a:gd name="T5" fmla="*/ 301 h 301"/>
                <a:gd name="T6" fmla="*/ 364 w 419"/>
                <a:gd name="T7" fmla="*/ 265 h 301"/>
                <a:gd name="T8" fmla="*/ 417 w 419"/>
                <a:gd name="T9" fmla="*/ 224 h 301"/>
                <a:gd name="T10" fmla="*/ 416 w 419"/>
                <a:gd name="T11" fmla="*/ 203 h 301"/>
                <a:gd name="T12" fmla="*/ 390 w 419"/>
                <a:gd name="T13" fmla="*/ 180 h 301"/>
                <a:gd name="T14" fmla="*/ 389 w 419"/>
                <a:gd name="T15" fmla="*/ 167 h 301"/>
                <a:gd name="T16" fmla="*/ 387 w 419"/>
                <a:gd name="T17" fmla="*/ 140 h 301"/>
                <a:gd name="T18" fmla="*/ 379 w 419"/>
                <a:gd name="T19" fmla="*/ 123 h 301"/>
                <a:gd name="T20" fmla="*/ 394 w 419"/>
                <a:gd name="T21" fmla="*/ 106 h 301"/>
                <a:gd name="T22" fmla="*/ 392 w 419"/>
                <a:gd name="T23" fmla="*/ 78 h 301"/>
                <a:gd name="T24" fmla="*/ 373 w 419"/>
                <a:gd name="T25" fmla="*/ 46 h 301"/>
                <a:gd name="T26" fmla="*/ 344 w 419"/>
                <a:gd name="T27" fmla="*/ 22 h 301"/>
                <a:gd name="T28" fmla="*/ 313 w 419"/>
                <a:gd name="T29" fmla="*/ 26 h 301"/>
                <a:gd name="T30" fmla="*/ 257 w 419"/>
                <a:gd name="T31" fmla="*/ 20 h 301"/>
                <a:gd name="T32" fmla="*/ 231 w 419"/>
                <a:gd name="T33" fmla="*/ 18 h 301"/>
                <a:gd name="T34" fmla="*/ 189 w 419"/>
                <a:gd name="T35" fmla="*/ 22 h 301"/>
                <a:gd name="T36" fmla="*/ 149 w 419"/>
                <a:gd name="T37" fmla="*/ 0 h 301"/>
                <a:gd name="T38" fmla="*/ 81 w 419"/>
                <a:gd name="T39" fmla="*/ 28 h 301"/>
                <a:gd name="T40" fmla="*/ 12 w 419"/>
                <a:gd name="T41" fmla="*/ 48 h 301"/>
                <a:gd name="T42" fmla="*/ 7 w 419"/>
                <a:gd name="T43" fmla="*/ 58 h 301"/>
                <a:gd name="T44" fmla="*/ 14 w 419"/>
                <a:gd name="T45" fmla="*/ 75 h 301"/>
                <a:gd name="T46" fmla="*/ 3 w 419"/>
                <a:gd name="T47" fmla="*/ 102 h 301"/>
                <a:gd name="T48" fmla="*/ 14 w 419"/>
                <a:gd name="T49" fmla="*/ 111 h 301"/>
                <a:gd name="T50" fmla="*/ 24 w 419"/>
                <a:gd name="T51" fmla="*/ 122 h 301"/>
                <a:gd name="T52" fmla="*/ 25 w 419"/>
                <a:gd name="T53" fmla="*/ 132 h 301"/>
                <a:gd name="T54" fmla="*/ 29 w 419"/>
                <a:gd name="T55" fmla="*/ 142 h 301"/>
                <a:gd name="T56" fmla="*/ 30 w 419"/>
                <a:gd name="T57" fmla="*/ 161 h 301"/>
                <a:gd name="T58" fmla="*/ 38 w 419"/>
                <a:gd name="T59" fmla="*/ 173 h 301"/>
                <a:gd name="T60" fmla="*/ 41 w 419"/>
                <a:gd name="T61" fmla="*/ 187 h 301"/>
                <a:gd name="T62" fmla="*/ 50 w 419"/>
                <a:gd name="T63" fmla="*/ 197 h 301"/>
                <a:gd name="T64" fmla="*/ 67 w 419"/>
                <a:gd name="T65" fmla="*/ 207 h 301"/>
                <a:gd name="T66" fmla="*/ 96 w 419"/>
                <a:gd name="T67" fmla="*/ 216 h 301"/>
                <a:gd name="T68" fmla="*/ 92 w 419"/>
                <a:gd name="T69" fmla="*/ 225 h 301"/>
                <a:gd name="T70" fmla="*/ 102 w 419"/>
                <a:gd name="T71" fmla="*/ 236 h 301"/>
                <a:gd name="T72" fmla="*/ 132 w 419"/>
                <a:gd name="T73" fmla="*/ 232 h 301"/>
                <a:gd name="T74" fmla="*/ 148 w 419"/>
                <a:gd name="T75" fmla="*/ 236 h 301"/>
                <a:gd name="T76" fmla="*/ 168 w 419"/>
                <a:gd name="T77" fmla="*/ 244 h 301"/>
                <a:gd name="T78" fmla="*/ 190 w 419"/>
                <a:gd name="T79" fmla="*/ 255 h 301"/>
                <a:gd name="T80" fmla="*/ 196 w 419"/>
                <a:gd name="T81" fmla="*/ 266 h 301"/>
                <a:gd name="T82" fmla="*/ 229 w 419"/>
                <a:gd name="T83" fmla="*/ 272 h 301"/>
                <a:gd name="T84" fmla="*/ 244 w 419"/>
                <a:gd name="T85" fmla="*/ 281 h 301"/>
                <a:gd name="T86" fmla="*/ 258 w 419"/>
                <a:gd name="T87" fmla="*/ 279 h 301"/>
                <a:gd name="T88" fmla="*/ 288 w 419"/>
                <a:gd name="T89" fmla="*/ 28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79" name="Norway">
              <a:extLst>
                <a:ext uri="{FF2B5EF4-FFF2-40B4-BE49-F238E27FC236}">
                  <a16:creationId xmlns:a16="http://schemas.microsoft.com/office/drawing/2014/main" id="{9532DAB1-14BD-4FA5-8BAD-29A2C40BB2DE}"/>
                </a:ext>
              </a:extLst>
            </p:cNvPr>
            <p:cNvSpPr>
              <a:spLocks noEditPoints="1"/>
            </p:cNvSpPr>
            <p:nvPr/>
          </p:nvSpPr>
          <p:spPr bwMode="gray">
            <a:xfrm>
              <a:off x="5434434" y="1447346"/>
              <a:ext cx="1773484" cy="2327298"/>
            </a:xfrm>
            <a:custGeom>
              <a:avLst/>
              <a:gdLst>
                <a:gd name="T0" fmla="*/ 453 w 905"/>
                <a:gd name="T1" fmla="*/ 40 h 1010"/>
                <a:gd name="T2" fmla="*/ 653 w 905"/>
                <a:gd name="T3" fmla="*/ 48 h 1010"/>
                <a:gd name="T4" fmla="*/ 558 w 905"/>
                <a:gd name="T5" fmla="*/ 4 h 1010"/>
                <a:gd name="T6" fmla="*/ 429 w 905"/>
                <a:gd name="T7" fmla="*/ 28 h 1010"/>
                <a:gd name="T8" fmla="*/ 281 w 905"/>
                <a:gd name="T9" fmla="*/ 93 h 1010"/>
                <a:gd name="T10" fmla="*/ 345 w 905"/>
                <a:gd name="T11" fmla="*/ 111 h 1010"/>
                <a:gd name="T12" fmla="*/ 432 w 905"/>
                <a:gd name="T13" fmla="*/ 100 h 1010"/>
                <a:gd name="T14" fmla="*/ 515 w 905"/>
                <a:gd name="T15" fmla="*/ 123 h 1010"/>
                <a:gd name="T16" fmla="*/ 551 w 905"/>
                <a:gd name="T17" fmla="*/ 82 h 1010"/>
                <a:gd name="T18" fmla="*/ 453 w 905"/>
                <a:gd name="T19" fmla="*/ 54 h 1010"/>
                <a:gd name="T20" fmla="*/ 328 w 905"/>
                <a:gd name="T21" fmla="*/ 27 h 1010"/>
                <a:gd name="T22" fmla="*/ 240 w 905"/>
                <a:gd name="T23" fmla="*/ 24 h 1010"/>
                <a:gd name="T24" fmla="*/ 417 w 905"/>
                <a:gd name="T25" fmla="*/ 467 h 1010"/>
                <a:gd name="T26" fmla="*/ 363 w 905"/>
                <a:gd name="T27" fmla="*/ 482 h 1010"/>
                <a:gd name="T28" fmla="*/ 611 w 905"/>
                <a:gd name="T29" fmla="*/ 404 h 1010"/>
                <a:gd name="T30" fmla="*/ 320 w 905"/>
                <a:gd name="T31" fmla="*/ 509 h 1010"/>
                <a:gd name="T32" fmla="*/ 902 w 905"/>
                <a:gd name="T33" fmla="*/ 421 h 1010"/>
                <a:gd name="T34" fmla="*/ 749 w 905"/>
                <a:gd name="T35" fmla="*/ 425 h 1010"/>
                <a:gd name="T36" fmla="*/ 683 w 905"/>
                <a:gd name="T37" fmla="*/ 393 h 1010"/>
                <a:gd name="T38" fmla="*/ 593 w 905"/>
                <a:gd name="T39" fmla="*/ 446 h 1010"/>
                <a:gd name="T40" fmla="*/ 507 w 905"/>
                <a:gd name="T41" fmla="*/ 444 h 1010"/>
                <a:gd name="T42" fmla="*/ 494 w 905"/>
                <a:gd name="T43" fmla="*/ 437 h 1010"/>
                <a:gd name="T44" fmla="*/ 446 w 905"/>
                <a:gd name="T45" fmla="*/ 491 h 1010"/>
                <a:gd name="T46" fmla="*/ 399 w 905"/>
                <a:gd name="T47" fmla="*/ 505 h 1010"/>
                <a:gd name="T48" fmla="*/ 360 w 905"/>
                <a:gd name="T49" fmla="*/ 526 h 1010"/>
                <a:gd name="T50" fmla="*/ 365 w 905"/>
                <a:gd name="T51" fmla="*/ 561 h 1010"/>
                <a:gd name="T52" fmla="*/ 293 w 905"/>
                <a:gd name="T53" fmla="*/ 606 h 1010"/>
                <a:gd name="T54" fmla="*/ 266 w 905"/>
                <a:gd name="T55" fmla="*/ 642 h 1010"/>
                <a:gd name="T56" fmla="*/ 237 w 905"/>
                <a:gd name="T57" fmla="*/ 689 h 1010"/>
                <a:gd name="T58" fmla="*/ 180 w 905"/>
                <a:gd name="T59" fmla="*/ 715 h 1010"/>
                <a:gd name="T60" fmla="*/ 118 w 905"/>
                <a:gd name="T61" fmla="*/ 741 h 1010"/>
                <a:gd name="T62" fmla="*/ 111 w 905"/>
                <a:gd name="T63" fmla="*/ 775 h 1010"/>
                <a:gd name="T64" fmla="*/ 72 w 905"/>
                <a:gd name="T65" fmla="*/ 808 h 1010"/>
                <a:gd name="T66" fmla="*/ 20 w 905"/>
                <a:gd name="T67" fmla="*/ 804 h 1010"/>
                <a:gd name="T68" fmla="*/ 21 w 905"/>
                <a:gd name="T69" fmla="*/ 834 h 1010"/>
                <a:gd name="T70" fmla="*/ 71 w 905"/>
                <a:gd name="T71" fmla="*/ 854 h 1010"/>
                <a:gd name="T72" fmla="*/ 0 w 905"/>
                <a:gd name="T73" fmla="*/ 858 h 1010"/>
                <a:gd name="T74" fmla="*/ 65 w 905"/>
                <a:gd name="T75" fmla="*/ 884 h 1010"/>
                <a:gd name="T76" fmla="*/ 14 w 905"/>
                <a:gd name="T77" fmla="*/ 926 h 1010"/>
                <a:gd name="T78" fmla="*/ 36 w 905"/>
                <a:gd name="T79" fmla="*/ 967 h 1010"/>
                <a:gd name="T80" fmla="*/ 103 w 905"/>
                <a:gd name="T81" fmla="*/ 1004 h 1010"/>
                <a:gd name="T82" fmla="*/ 207 w 905"/>
                <a:gd name="T83" fmla="*/ 942 h 1010"/>
                <a:gd name="T84" fmla="*/ 252 w 905"/>
                <a:gd name="T85" fmla="*/ 911 h 1010"/>
                <a:gd name="T86" fmla="*/ 268 w 905"/>
                <a:gd name="T87" fmla="*/ 857 h 1010"/>
                <a:gd name="T88" fmla="*/ 262 w 905"/>
                <a:gd name="T89" fmla="*/ 783 h 1010"/>
                <a:gd name="T90" fmla="*/ 279 w 905"/>
                <a:gd name="T91" fmla="*/ 724 h 1010"/>
                <a:gd name="T92" fmla="*/ 348 w 905"/>
                <a:gd name="T93" fmla="*/ 629 h 1010"/>
                <a:gd name="T94" fmla="*/ 386 w 905"/>
                <a:gd name="T95" fmla="*/ 591 h 1010"/>
                <a:gd name="T96" fmla="*/ 423 w 905"/>
                <a:gd name="T97" fmla="*/ 529 h 1010"/>
                <a:gd name="T98" fmla="*/ 508 w 905"/>
                <a:gd name="T99" fmla="*/ 505 h 1010"/>
                <a:gd name="T100" fmla="*/ 557 w 905"/>
                <a:gd name="T101" fmla="*/ 481 h 1010"/>
                <a:gd name="T102" fmla="*/ 594 w 905"/>
                <a:gd name="T103" fmla="*/ 480 h 1010"/>
                <a:gd name="T104" fmla="*/ 677 w 905"/>
                <a:gd name="T105" fmla="*/ 489 h 1010"/>
                <a:gd name="T106" fmla="*/ 752 w 905"/>
                <a:gd name="T107" fmla="*/ 438 h 1010"/>
                <a:gd name="T108" fmla="*/ 834 w 905"/>
                <a:gd name="T109" fmla="*/ 469 h 1010"/>
                <a:gd name="T110" fmla="*/ 891 w 905"/>
                <a:gd name="T111" fmla="*/ 456 h 1010"/>
                <a:gd name="T112" fmla="*/ 380 w 905"/>
                <a:gd name="T113" fmla="*/ 512 h 1010"/>
                <a:gd name="T114" fmla="*/ 346 w 905"/>
                <a:gd name="T115" fmla="*/ 483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1010">
                  <a:moveTo>
                    <a:pt x="215" y="87"/>
                  </a:moveTo>
                  <a:cubicBezTo>
                    <a:pt x="229" y="97"/>
                    <a:pt x="250" y="93"/>
                    <a:pt x="250" y="93"/>
                  </a:cubicBezTo>
                  <a:cubicBezTo>
                    <a:pt x="228" y="82"/>
                    <a:pt x="228" y="82"/>
                    <a:pt x="228" y="82"/>
                  </a:cubicBezTo>
                  <a:cubicBezTo>
                    <a:pt x="195" y="65"/>
                    <a:pt x="195" y="65"/>
                    <a:pt x="195" y="65"/>
                  </a:cubicBezTo>
                  <a:cubicBezTo>
                    <a:pt x="191" y="78"/>
                    <a:pt x="201" y="78"/>
                    <a:pt x="215" y="87"/>
                  </a:cubicBezTo>
                  <a:close/>
                  <a:moveTo>
                    <a:pt x="453" y="40"/>
                  </a:moveTo>
                  <a:cubicBezTo>
                    <a:pt x="481" y="40"/>
                    <a:pt x="481" y="40"/>
                    <a:pt x="481" y="40"/>
                  </a:cubicBezTo>
                  <a:cubicBezTo>
                    <a:pt x="481" y="40"/>
                    <a:pt x="512" y="51"/>
                    <a:pt x="516" y="49"/>
                  </a:cubicBezTo>
                  <a:cubicBezTo>
                    <a:pt x="520" y="48"/>
                    <a:pt x="542" y="44"/>
                    <a:pt x="547" y="44"/>
                  </a:cubicBezTo>
                  <a:cubicBezTo>
                    <a:pt x="553" y="44"/>
                    <a:pt x="599" y="62"/>
                    <a:pt x="599" y="62"/>
                  </a:cubicBezTo>
                  <a:cubicBezTo>
                    <a:pt x="613" y="47"/>
                    <a:pt x="613" y="47"/>
                    <a:pt x="613" y="47"/>
                  </a:cubicBezTo>
                  <a:cubicBezTo>
                    <a:pt x="653" y="48"/>
                    <a:pt x="653" y="48"/>
                    <a:pt x="653" y="48"/>
                  </a:cubicBezTo>
                  <a:cubicBezTo>
                    <a:pt x="656" y="35"/>
                    <a:pt x="656" y="35"/>
                    <a:pt x="656" y="35"/>
                  </a:cubicBezTo>
                  <a:cubicBezTo>
                    <a:pt x="656" y="35"/>
                    <a:pt x="677" y="42"/>
                    <a:pt x="688" y="21"/>
                  </a:cubicBezTo>
                  <a:cubicBezTo>
                    <a:pt x="699" y="0"/>
                    <a:pt x="653" y="17"/>
                    <a:pt x="653" y="17"/>
                  </a:cubicBezTo>
                  <a:cubicBezTo>
                    <a:pt x="653" y="17"/>
                    <a:pt x="650" y="7"/>
                    <a:pt x="626" y="7"/>
                  </a:cubicBezTo>
                  <a:cubicBezTo>
                    <a:pt x="602" y="7"/>
                    <a:pt x="585" y="19"/>
                    <a:pt x="578" y="17"/>
                  </a:cubicBezTo>
                  <a:cubicBezTo>
                    <a:pt x="571" y="16"/>
                    <a:pt x="577" y="4"/>
                    <a:pt x="558" y="4"/>
                  </a:cubicBezTo>
                  <a:cubicBezTo>
                    <a:pt x="540" y="4"/>
                    <a:pt x="535" y="20"/>
                    <a:pt x="535" y="20"/>
                  </a:cubicBezTo>
                  <a:cubicBezTo>
                    <a:pt x="491" y="4"/>
                    <a:pt x="491" y="4"/>
                    <a:pt x="491" y="4"/>
                  </a:cubicBezTo>
                  <a:cubicBezTo>
                    <a:pt x="491" y="4"/>
                    <a:pt x="470" y="11"/>
                    <a:pt x="447" y="16"/>
                  </a:cubicBezTo>
                  <a:cubicBezTo>
                    <a:pt x="425" y="20"/>
                    <a:pt x="440" y="4"/>
                    <a:pt x="440" y="4"/>
                  </a:cubicBezTo>
                  <a:cubicBezTo>
                    <a:pt x="419" y="14"/>
                    <a:pt x="419" y="14"/>
                    <a:pt x="419" y="14"/>
                  </a:cubicBezTo>
                  <a:cubicBezTo>
                    <a:pt x="429" y="28"/>
                    <a:pt x="429" y="28"/>
                    <a:pt x="429" y="28"/>
                  </a:cubicBezTo>
                  <a:lnTo>
                    <a:pt x="453" y="40"/>
                  </a:lnTo>
                  <a:close/>
                  <a:moveTo>
                    <a:pt x="214" y="49"/>
                  </a:moveTo>
                  <a:cubicBezTo>
                    <a:pt x="221" y="54"/>
                    <a:pt x="236" y="51"/>
                    <a:pt x="239" y="55"/>
                  </a:cubicBezTo>
                  <a:cubicBezTo>
                    <a:pt x="242" y="59"/>
                    <a:pt x="223" y="69"/>
                    <a:pt x="223" y="69"/>
                  </a:cubicBezTo>
                  <a:cubicBezTo>
                    <a:pt x="252" y="80"/>
                    <a:pt x="252" y="80"/>
                    <a:pt x="252" y="80"/>
                  </a:cubicBezTo>
                  <a:cubicBezTo>
                    <a:pt x="252" y="80"/>
                    <a:pt x="267" y="90"/>
                    <a:pt x="281" y="93"/>
                  </a:cubicBezTo>
                  <a:cubicBezTo>
                    <a:pt x="295" y="96"/>
                    <a:pt x="305" y="76"/>
                    <a:pt x="305" y="76"/>
                  </a:cubicBezTo>
                  <a:cubicBezTo>
                    <a:pt x="333" y="71"/>
                    <a:pt x="333" y="71"/>
                    <a:pt x="333" y="71"/>
                  </a:cubicBezTo>
                  <a:cubicBezTo>
                    <a:pt x="356" y="85"/>
                    <a:pt x="356" y="85"/>
                    <a:pt x="356" y="85"/>
                  </a:cubicBezTo>
                  <a:cubicBezTo>
                    <a:pt x="356" y="85"/>
                    <a:pt x="337" y="90"/>
                    <a:pt x="319" y="94"/>
                  </a:cubicBezTo>
                  <a:cubicBezTo>
                    <a:pt x="301" y="99"/>
                    <a:pt x="302" y="106"/>
                    <a:pt x="302" y="106"/>
                  </a:cubicBezTo>
                  <a:cubicBezTo>
                    <a:pt x="302" y="106"/>
                    <a:pt x="352" y="110"/>
                    <a:pt x="345" y="111"/>
                  </a:cubicBezTo>
                  <a:cubicBezTo>
                    <a:pt x="337" y="113"/>
                    <a:pt x="307" y="125"/>
                    <a:pt x="307" y="125"/>
                  </a:cubicBezTo>
                  <a:cubicBezTo>
                    <a:pt x="340" y="137"/>
                    <a:pt x="340" y="137"/>
                    <a:pt x="340" y="137"/>
                  </a:cubicBezTo>
                  <a:cubicBezTo>
                    <a:pt x="340" y="137"/>
                    <a:pt x="370" y="152"/>
                    <a:pt x="395" y="148"/>
                  </a:cubicBezTo>
                  <a:cubicBezTo>
                    <a:pt x="421" y="144"/>
                    <a:pt x="402" y="128"/>
                    <a:pt x="402" y="121"/>
                  </a:cubicBezTo>
                  <a:cubicBezTo>
                    <a:pt x="402" y="114"/>
                    <a:pt x="432" y="114"/>
                    <a:pt x="432" y="114"/>
                  </a:cubicBezTo>
                  <a:cubicBezTo>
                    <a:pt x="432" y="100"/>
                    <a:pt x="432" y="100"/>
                    <a:pt x="432" y="100"/>
                  </a:cubicBezTo>
                  <a:cubicBezTo>
                    <a:pt x="451" y="96"/>
                    <a:pt x="451" y="96"/>
                    <a:pt x="451" y="96"/>
                  </a:cubicBezTo>
                  <a:cubicBezTo>
                    <a:pt x="460" y="75"/>
                    <a:pt x="460" y="75"/>
                    <a:pt x="460" y="75"/>
                  </a:cubicBezTo>
                  <a:cubicBezTo>
                    <a:pt x="473" y="82"/>
                    <a:pt x="473" y="82"/>
                    <a:pt x="473" y="82"/>
                  </a:cubicBezTo>
                  <a:cubicBezTo>
                    <a:pt x="489" y="73"/>
                    <a:pt x="489" y="73"/>
                    <a:pt x="489" y="73"/>
                  </a:cubicBezTo>
                  <a:cubicBezTo>
                    <a:pt x="489" y="73"/>
                    <a:pt x="498" y="87"/>
                    <a:pt x="518" y="92"/>
                  </a:cubicBezTo>
                  <a:cubicBezTo>
                    <a:pt x="537" y="96"/>
                    <a:pt x="515" y="123"/>
                    <a:pt x="515" y="123"/>
                  </a:cubicBezTo>
                  <a:cubicBezTo>
                    <a:pt x="551" y="121"/>
                    <a:pt x="551" y="121"/>
                    <a:pt x="551" y="121"/>
                  </a:cubicBezTo>
                  <a:cubicBezTo>
                    <a:pt x="551" y="121"/>
                    <a:pt x="570" y="137"/>
                    <a:pt x="571" y="132"/>
                  </a:cubicBezTo>
                  <a:cubicBezTo>
                    <a:pt x="572" y="128"/>
                    <a:pt x="623" y="114"/>
                    <a:pt x="627" y="106"/>
                  </a:cubicBezTo>
                  <a:cubicBezTo>
                    <a:pt x="632" y="97"/>
                    <a:pt x="589" y="99"/>
                    <a:pt x="589" y="99"/>
                  </a:cubicBezTo>
                  <a:cubicBezTo>
                    <a:pt x="587" y="87"/>
                    <a:pt x="587" y="87"/>
                    <a:pt x="587" y="87"/>
                  </a:cubicBezTo>
                  <a:cubicBezTo>
                    <a:pt x="551" y="82"/>
                    <a:pt x="551" y="82"/>
                    <a:pt x="551" y="82"/>
                  </a:cubicBezTo>
                  <a:cubicBezTo>
                    <a:pt x="550" y="71"/>
                    <a:pt x="550" y="71"/>
                    <a:pt x="550" y="71"/>
                  </a:cubicBezTo>
                  <a:cubicBezTo>
                    <a:pt x="529" y="73"/>
                    <a:pt x="529" y="73"/>
                    <a:pt x="529" y="73"/>
                  </a:cubicBezTo>
                  <a:cubicBezTo>
                    <a:pt x="532" y="61"/>
                    <a:pt x="532" y="61"/>
                    <a:pt x="532" y="61"/>
                  </a:cubicBezTo>
                  <a:cubicBezTo>
                    <a:pt x="481" y="62"/>
                    <a:pt x="481" y="62"/>
                    <a:pt x="481" y="62"/>
                  </a:cubicBezTo>
                  <a:cubicBezTo>
                    <a:pt x="477" y="54"/>
                    <a:pt x="477" y="54"/>
                    <a:pt x="477" y="54"/>
                  </a:cubicBezTo>
                  <a:cubicBezTo>
                    <a:pt x="453" y="54"/>
                    <a:pt x="453" y="54"/>
                    <a:pt x="453" y="54"/>
                  </a:cubicBezTo>
                  <a:cubicBezTo>
                    <a:pt x="453" y="54"/>
                    <a:pt x="450" y="41"/>
                    <a:pt x="435" y="37"/>
                  </a:cubicBezTo>
                  <a:cubicBezTo>
                    <a:pt x="419" y="33"/>
                    <a:pt x="412" y="38"/>
                    <a:pt x="412" y="38"/>
                  </a:cubicBezTo>
                  <a:cubicBezTo>
                    <a:pt x="415" y="26"/>
                    <a:pt x="415" y="26"/>
                    <a:pt x="415" y="26"/>
                  </a:cubicBezTo>
                  <a:cubicBezTo>
                    <a:pt x="415" y="26"/>
                    <a:pt x="394" y="20"/>
                    <a:pt x="366" y="21"/>
                  </a:cubicBezTo>
                  <a:cubicBezTo>
                    <a:pt x="337" y="23"/>
                    <a:pt x="374" y="55"/>
                    <a:pt x="374" y="55"/>
                  </a:cubicBezTo>
                  <a:cubicBezTo>
                    <a:pt x="374" y="55"/>
                    <a:pt x="343" y="30"/>
                    <a:pt x="328" y="27"/>
                  </a:cubicBezTo>
                  <a:cubicBezTo>
                    <a:pt x="312" y="24"/>
                    <a:pt x="307" y="44"/>
                    <a:pt x="307" y="44"/>
                  </a:cubicBezTo>
                  <a:cubicBezTo>
                    <a:pt x="307" y="44"/>
                    <a:pt x="284" y="40"/>
                    <a:pt x="278" y="37"/>
                  </a:cubicBezTo>
                  <a:cubicBezTo>
                    <a:pt x="273" y="34"/>
                    <a:pt x="291" y="24"/>
                    <a:pt x="291" y="24"/>
                  </a:cubicBezTo>
                  <a:cubicBezTo>
                    <a:pt x="254" y="27"/>
                    <a:pt x="254" y="27"/>
                    <a:pt x="254" y="27"/>
                  </a:cubicBezTo>
                  <a:cubicBezTo>
                    <a:pt x="245" y="35"/>
                    <a:pt x="245" y="35"/>
                    <a:pt x="245" y="35"/>
                  </a:cubicBezTo>
                  <a:cubicBezTo>
                    <a:pt x="240" y="24"/>
                    <a:pt x="240" y="24"/>
                    <a:pt x="240" y="24"/>
                  </a:cubicBezTo>
                  <a:cubicBezTo>
                    <a:pt x="240" y="24"/>
                    <a:pt x="216" y="31"/>
                    <a:pt x="208" y="38"/>
                  </a:cubicBezTo>
                  <a:cubicBezTo>
                    <a:pt x="208" y="38"/>
                    <a:pt x="207" y="45"/>
                    <a:pt x="214" y="49"/>
                  </a:cubicBezTo>
                  <a:close/>
                  <a:moveTo>
                    <a:pt x="425" y="477"/>
                  </a:moveTo>
                  <a:cubicBezTo>
                    <a:pt x="441" y="474"/>
                    <a:pt x="440" y="464"/>
                    <a:pt x="447" y="464"/>
                  </a:cubicBezTo>
                  <a:cubicBezTo>
                    <a:pt x="453" y="464"/>
                    <a:pt x="447" y="453"/>
                    <a:pt x="447" y="453"/>
                  </a:cubicBezTo>
                  <a:cubicBezTo>
                    <a:pt x="417" y="467"/>
                    <a:pt x="417" y="467"/>
                    <a:pt x="417" y="467"/>
                  </a:cubicBezTo>
                  <a:lnTo>
                    <a:pt x="425" y="477"/>
                  </a:lnTo>
                  <a:close/>
                  <a:moveTo>
                    <a:pt x="513" y="437"/>
                  </a:moveTo>
                  <a:cubicBezTo>
                    <a:pt x="522" y="434"/>
                    <a:pt x="535" y="424"/>
                    <a:pt x="517" y="423"/>
                  </a:cubicBezTo>
                  <a:cubicBezTo>
                    <a:pt x="500" y="422"/>
                    <a:pt x="513" y="437"/>
                    <a:pt x="513" y="437"/>
                  </a:cubicBezTo>
                  <a:close/>
                  <a:moveTo>
                    <a:pt x="392" y="470"/>
                  </a:moveTo>
                  <a:cubicBezTo>
                    <a:pt x="373" y="465"/>
                    <a:pt x="363" y="482"/>
                    <a:pt x="363" y="482"/>
                  </a:cubicBezTo>
                  <a:cubicBezTo>
                    <a:pt x="379" y="486"/>
                    <a:pt x="379" y="486"/>
                    <a:pt x="379" y="486"/>
                  </a:cubicBezTo>
                  <a:cubicBezTo>
                    <a:pt x="385" y="482"/>
                    <a:pt x="411" y="474"/>
                    <a:pt x="392" y="470"/>
                  </a:cubicBezTo>
                  <a:close/>
                  <a:moveTo>
                    <a:pt x="610" y="414"/>
                  </a:moveTo>
                  <a:cubicBezTo>
                    <a:pt x="623" y="417"/>
                    <a:pt x="623" y="417"/>
                    <a:pt x="623" y="417"/>
                  </a:cubicBezTo>
                  <a:cubicBezTo>
                    <a:pt x="631" y="408"/>
                    <a:pt x="631" y="402"/>
                    <a:pt x="631" y="402"/>
                  </a:cubicBezTo>
                  <a:cubicBezTo>
                    <a:pt x="611" y="404"/>
                    <a:pt x="611" y="404"/>
                    <a:pt x="611" y="404"/>
                  </a:cubicBezTo>
                  <a:lnTo>
                    <a:pt x="610" y="414"/>
                  </a:lnTo>
                  <a:close/>
                  <a:moveTo>
                    <a:pt x="320" y="509"/>
                  </a:moveTo>
                  <a:cubicBezTo>
                    <a:pt x="304" y="509"/>
                    <a:pt x="279" y="528"/>
                    <a:pt x="285" y="532"/>
                  </a:cubicBezTo>
                  <a:cubicBezTo>
                    <a:pt x="290" y="535"/>
                    <a:pt x="315" y="520"/>
                    <a:pt x="315" y="520"/>
                  </a:cubicBezTo>
                  <a:cubicBezTo>
                    <a:pt x="338" y="516"/>
                    <a:pt x="338" y="516"/>
                    <a:pt x="338" y="516"/>
                  </a:cubicBezTo>
                  <a:cubicBezTo>
                    <a:pt x="335" y="516"/>
                    <a:pt x="336" y="509"/>
                    <a:pt x="320" y="509"/>
                  </a:cubicBezTo>
                  <a:close/>
                  <a:moveTo>
                    <a:pt x="901" y="448"/>
                  </a:moveTo>
                  <a:cubicBezTo>
                    <a:pt x="884" y="451"/>
                    <a:pt x="884" y="451"/>
                    <a:pt x="884" y="451"/>
                  </a:cubicBezTo>
                  <a:cubicBezTo>
                    <a:pt x="856" y="444"/>
                    <a:pt x="856" y="444"/>
                    <a:pt x="856" y="444"/>
                  </a:cubicBezTo>
                  <a:cubicBezTo>
                    <a:pt x="836" y="433"/>
                    <a:pt x="836" y="433"/>
                    <a:pt x="836" y="433"/>
                  </a:cubicBezTo>
                  <a:cubicBezTo>
                    <a:pt x="836" y="433"/>
                    <a:pt x="862" y="437"/>
                    <a:pt x="873" y="432"/>
                  </a:cubicBezTo>
                  <a:cubicBezTo>
                    <a:pt x="884" y="427"/>
                    <a:pt x="902" y="421"/>
                    <a:pt x="902" y="421"/>
                  </a:cubicBezTo>
                  <a:cubicBezTo>
                    <a:pt x="902" y="421"/>
                    <a:pt x="876" y="406"/>
                    <a:pt x="862" y="406"/>
                  </a:cubicBezTo>
                  <a:cubicBezTo>
                    <a:pt x="848" y="406"/>
                    <a:pt x="827" y="395"/>
                    <a:pt x="827" y="395"/>
                  </a:cubicBezTo>
                  <a:cubicBezTo>
                    <a:pt x="827" y="395"/>
                    <a:pt x="819" y="421"/>
                    <a:pt x="803" y="418"/>
                  </a:cubicBezTo>
                  <a:cubicBezTo>
                    <a:pt x="787" y="415"/>
                    <a:pt x="815" y="397"/>
                    <a:pt x="815" y="397"/>
                  </a:cubicBezTo>
                  <a:cubicBezTo>
                    <a:pt x="771" y="382"/>
                    <a:pt x="771" y="382"/>
                    <a:pt x="771" y="382"/>
                  </a:cubicBezTo>
                  <a:cubicBezTo>
                    <a:pt x="771" y="382"/>
                    <a:pt x="763" y="431"/>
                    <a:pt x="749" y="425"/>
                  </a:cubicBezTo>
                  <a:cubicBezTo>
                    <a:pt x="735" y="419"/>
                    <a:pt x="746" y="393"/>
                    <a:pt x="746" y="393"/>
                  </a:cubicBezTo>
                  <a:cubicBezTo>
                    <a:pt x="746" y="393"/>
                    <a:pt x="708" y="437"/>
                    <a:pt x="698" y="430"/>
                  </a:cubicBezTo>
                  <a:cubicBezTo>
                    <a:pt x="688" y="423"/>
                    <a:pt x="734" y="387"/>
                    <a:pt x="734" y="387"/>
                  </a:cubicBezTo>
                  <a:cubicBezTo>
                    <a:pt x="711" y="385"/>
                    <a:pt x="711" y="385"/>
                    <a:pt x="711" y="385"/>
                  </a:cubicBezTo>
                  <a:cubicBezTo>
                    <a:pt x="699" y="395"/>
                    <a:pt x="699" y="395"/>
                    <a:pt x="699" y="395"/>
                  </a:cubicBezTo>
                  <a:cubicBezTo>
                    <a:pt x="683" y="393"/>
                    <a:pt x="683" y="393"/>
                    <a:pt x="683" y="393"/>
                  </a:cubicBezTo>
                  <a:cubicBezTo>
                    <a:pt x="653" y="411"/>
                    <a:pt x="653" y="411"/>
                    <a:pt x="653" y="411"/>
                  </a:cubicBezTo>
                  <a:cubicBezTo>
                    <a:pt x="637" y="412"/>
                    <a:pt x="637" y="412"/>
                    <a:pt x="637" y="412"/>
                  </a:cubicBezTo>
                  <a:cubicBezTo>
                    <a:pt x="635" y="432"/>
                    <a:pt x="635" y="432"/>
                    <a:pt x="635" y="432"/>
                  </a:cubicBezTo>
                  <a:cubicBezTo>
                    <a:pt x="611" y="423"/>
                    <a:pt x="611" y="423"/>
                    <a:pt x="611" y="423"/>
                  </a:cubicBezTo>
                  <a:cubicBezTo>
                    <a:pt x="585" y="428"/>
                    <a:pt x="585" y="428"/>
                    <a:pt x="585" y="428"/>
                  </a:cubicBezTo>
                  <a:cubicBezTo>
                    <a:pt x="593" y="446"/>
                    <a:pt x="593" y="446"/>
                    <a:pt x="593" y="446"/>
                  </a:cubicBezTo>
                  <a:cubicBezTo>
                    <a:pt x="562" y="437"/>
                    <a:pt x="562" y="437"/>
                    <a:pt x="562" y="437"/>
                  </a:cubicBezTo>
                  <a:cubicBezTo>
                    <a:pt x="551" y="443"/>
                    <a:pt x="551" y="443"/>
                    <a:pt x="551" y="443"/>
                  </a:cubicBezTo>
                  <a:cubicBezTo>
                    <a:pt x="554" y="459"/>
                    <a:pt x="554" y="459"/>
                    <a:pt x="554" y="459"/>
                  </a:cubicBezTo>
                  <a:cubicBezTo>
                    <a:pt x="524" y="465"/>
                    <a:pt x="524" y="465"/>
                    <a:pt x="524" y="465"/>
                  </a:cubicBezTo>
                  <a:cubicBezTo>
                    <a:pt x="527" y="444"/>
                    <a:pt x="527" y="444"/>
                    <a:pt x="527" y="444"/>
                  </a:cubicBezTo>
                  <a:cubicBezTo>
                    <a:pt x="507" y="444"/>
                    <a:pt x="507" y="444"/>
                    <a:pt x="507" y="444"/>
                  </a:cubicBezTo>
                  <a:cubicBezTo>
                    <a:pt x="513" y="457"/>
                    <a:pt x="513" y="457"/>
                    <a:pt x="513" y="457"/>
                  </a:cubicBezTo>
                  <a:cubicBezTo>
                    <a:pt x="497" y="447"/>
                    <a:pt x="497" y="447"/>
                    <a:pt x="497" y="447"/>
                  </a:cubicBezTo>
                  <a:cubicBezTo>
                    <a:pt x="499" y="467"/>
                    <a:pt x="499" y="467"/>
                    <a:pt x="499" y="467"/>
                  </a:cubicBezTo>
                  <a:cubicBezTo>
                    <a:pt x="482" y="466"/>
                    <a:pt x="482" y="466"/>
                    <a:pt x="482" y="466"/>
                  </a:cubicBezTo>
                  <a:cubicBezTo>
                    <a:pt x="482" y="466"/>
                    <a:pt x="479" y="453"/>
                    <a:pt x="481" y="450"/>
                  </a:cubicBezTo>
                  <a:cubicBezTo>
                    <a:pt x="483" y="447"/>
                    <a:pt x="494" y="437"/>
                    <a:pt x="494" y="437"/>
                  </a:cubicBezTo>
                  <a:cubicBezTo>
                    <a:pt x="471" y="434"/>
                    <a:pt x="471" y="434"/>
                    <a:pt x="471" y="434"/>
                  </a:cubicBezTo>
                  <a:cubicBezTo>
                    <a:pt x="468" y="463"/>
                    <a:pt x="468" y="463"/>
                    <a:pt x="468" y="463"/>
                  </a:cubicBezTo>
                  <a:cubicBezTo>
                    <a:pt x="450" y="472"/>
                    <a:pt x="450" y="472"/>
                    <a:pt x="450" y="472"/>
                  </a:cubicBezTo>
                  <a:cubicBezTo>
                    <a:pt x="460" y="480"/>
                    <a:pt x="460" y="480"/>
                    <a:pt x="460" y="480"/>
                  </a:cubicBezTo>
                  <a:cubicBezTo>
                    <a:pt x="438" y="483"/>
                    <a:pt x="438" y="483"/>
                    <a:pt x="438" y="483"/>
                  </a:cubicBezTo>
                  <a:cubicBezTo>
                    <a:pt x="446" y="491"/>
                    <a:pt x="446" y="491"/>
                    <a:pt x="446" y="491"/>
                  </a:cubicBezTo>
                  <a:cubicBezTo>
                    <a:pt x="418" y="492"/>
                    <a:pt x="418" y="492"/>
                    <a:pt x="418" y="492"/>
                  </a:cubicBezTo>
                  <a:cubicBezTo>
                    <a:pt x="418" y="500"/>
                    <a:pt x="418" y="500"/>
                    <a:pt x="418" y="500"/>
                  </a:cubicBezTo>
                  <a:cubicBezTo>
                    <a:pt x="439" y="505"/>
                    <a:pt x="439" y="505"/>
                    <a:pt x="439" y="505"/>
                  </a:cubicBezTo>
                  <a:cubicBezTo>
                    <a:pt x="432" y="514"/>
                    <a:pt x="432" y="514"/>
                    <a:pt x="432" y="514"/>
                  </a:cubicBezTo>
                  <a:cubicBezTo>
                    <a:pt x="408" y="504"/>
                    <a:pt x="408" y="504"/>
                    <a:pt x="408" y="504"/>
                  </a:cubicBezTo>
                  <a:cubicBezTo>
                    <a:pt x="399" y="505"/>
                    <a:pt x="399" y="505"/>
                    <a:pt x="399" y="505"/>
                  </a:cubicBezTo>
                  <a:cubicBezTo>
                    <a:pt x="415" y="516"/>
                    <a:pt x="415" y="516"/>
                    <a:pt x="415" y="516"/>
                  </a:cubicBezTo>
                  <a:cubicBezTo>
                    <a:pt x="400" y="527"/>
                    <a:pt x="400" y="527"/>
                    <a:pt x="400" y="527"/>
                  </a:cubicBezTo>
                  <a:cubicBezTo>
                    <a:pt x="392" y="514"/>
                    <a:pt x="392" y="514"/>
                    <a:pt x="392" y="514"/>
                  </a:cubicBezTo>
                  <a:cubicBezTo>
                    <a:pt x="382" y="520"/>
                    <a:pt x="382" y="520"/>
                    <a:pt x="382" y="520"/>
                  </a:cubicBezTo>
                  <a:cubicBezTo>
                    <a:pt x="383" y="525"/>
                    <a:pt x="383" y="525"/>
                    <a:pt x="383" y="525"/>
                  </a:cubicBezTo>
                  <a:cubicBezTo>
                    <a:pt x="360" y="526"/>
                    <a:pt x="360" y="526"/>
                    <a:pt x="360" y="526"/>
                  </a:cubicBezTo>
                  <a:cubicBezTo>
                    <a:pt x="357" y="535"/>
                    <a:pt x="357" y="535"/>
                    <a:pt x="357" y="535"/>
                  </a:cubicBezTo>
                  <a:cubicBezTo>
                    <a:pt x="374" y="544"/>
                    <a:pt x="374" y="544"/>
                    <a:pt x="374" y="544"/>
                  </a:cubicBezTo>
                  <a:cubicBezTo>
                    <a:pt x="372" y="554"/>
                    <a:pt x="372" y="554"/>
                    <a:pt x="372" y="554"/>
                  </a:cubicBezTo>
                  <a:cubicBezTo>
                    <a:pt x="350" y="546"/>
                    <a:pt x="350" y="546"/>
                    <a:pt x="350" y="546"/>
                  </a:cubicBezTo>
                  <a:cubicBezTo>
                    <a:pt x="347" y="556"/>
                    <a:pt x="347" y="556"/>
                    <a:pt x="347" y="556"/>
                  </a:cubicBezTo>
                  <a:cubicBezTo>
                    <a:pt x="365" y="561"/>
                    <a:pt x="365" y="561"/>
                    <a:pt x="365" y="561"/>
                  </a:cubicBezTo>
                  <a:cubicBezTo>
                    <a:pt x="365" y="561"/>
                    <a:pt x="344" y="562"/>
                    <a:pt x="337" y="563"/>
                  </a:cubicBezTo>
                  <a:cubicBezTo>
                    <a:pt x="330" y="564"/>
                    <a:pt x="334" y="574"/>
                    <a:pt x="334" y="574"/>
                  </a:cubicBezTo>
                  <a:cubicBezTo>
                    <a:pt x="334" y="574"/>
                    <a:pt x="321" y="567"/>
                    <a:pt x="313" y="573"/>
                  </a:cubicBezTo>
                  <a:cubicBezTo>
                    <a:pt x="305" y="579"/>
                    <a:pt x="298" y="584"/>
                    <a:pt x="303" y="587"/>
                  </a:cubicBezTo>
                  <a:cubicBezTo>
                    <a:pt x="308" y="590"/>
                    <a:pt x="297" y="596"/>
                    <a:pt x="297" y="596"/>
                  </a:cubicBezTo>
                  <a:cubicBezTo>
                    <a:pt x="297" y="596"/>
                    <a:pt x="290" y="605"/>
                    <a:pt x="293" y="606"/>
                  </a:cubicBezTo>
                  <a:cubicBezTo>
                    <a:pt x="296" y="607"/>
                    <a:pt x="316" y="608"/>
                    <a:pt x="316" y="608"/>
                  </a:cubicBezTo>
                  <a:cubicBezTo>
                    <a:pt x="309" y="616"/>
                    <a:pt x="309" y="616"/>
                    <a:pt x="309" y="616"/>
                  </a:cubicBezTo>
                  <a:cubicBezTo>
                    <a:pt x="286" y="612"/>
                    <a:pt x="286" y="612"/>
                    <a:pt x="286" y="612"/>
                  </a:cubicBezTo>
                  <a:cubicBezTo>
                    <a:pt x="286" y="612"/>
                    <a:pt x="273" y="614"/>
                    <a:pt x="273" y="622"/>
                  </a:cubicBezTo>
                  <a:cubicBezTo>
                    <a:pt x="273" y="630"/>
                    <a:pt x="283" y="636"/>
                    <a:pt x="279" y="639"/>
                  </a:cubicBezTo>
                  <a:cubicBezTo>
                    <a:pt x="275" y="642"/>
                    <a:pt x="271" y="642"/>
                    <a:pt x="266" y="642"/>
                  </a:cubicBezTo>
                  <a:cubicBezTo>
                    <a:pt x="261" y="642"/>
                    <a:pt x="255" y="643"/>
                    <a:pt x="257" y="650"/>
                  </a:cubicBezTo>
                  <a:cubicBezTo>
                    <a:pt x="259" y="657"/>
                    <a:pt x="267" y="661"/>
                    <a:pt x="267" y="661"/>
                  </a:cubicBezTo>
                  <a:cubicBezTo>
                    <a:pt x="267" y="661"/>
                    <a:pt x="273" y="672"/>
                    <a:pt x="266" y="673"/>
                  </a:cubicBezTo>
                  <a:cubicBezTo>
                    <a:pt x="259" y="674"/>
                    <a:pt x="252" y="673"/>
                    <a:pt x="249" y="673"/>
                  </a:cubicBezTo>
                  <a:cubicBezTo>
                    <a:pt x="246" y="673"/>
                    <a:pt x="243" y="674"/>
                    <a:pt x="240" y="678"/>
                  </a:cubicBezTo>
                  <a:cubicBezTo>
                    <a:pt x="237" y="682"/>
                    <a:pt x="237" y="689"/>
                    <a:pt x="237" y="689"/>
                  </a:cubicBezTo>
                  <a:cubicBezTo>
                    <a:pt x="237" y="689"/>
                    <a:pt x="239" y="696"/>
                    <a:pt x="232" y="696"/>
                  </a:cubicBezTo>
                  <a:cubicBezTo>
                    <a:pt x="225" y="696"/>
                    <a:pt x="222" y="689"/>
                    <a:pt x="216" y="690"/>
                  </a:cubicBezTo>
                  <a:cubicBezTo>
                    <a:pt x="210" y="691"/>
                    <a:pt x="212" y="691"/>
                    <a:pt x="207" y="695"/>
                  </a:cubicBezTo>
                  <a:cubicBezTo>
                    <a:pt x="202" y="699"/>
                    <a:pt x="202" y="700"/>
                    <a:pt x="199" y="704"/>
                  </a:cubicBezTo>
                  <a:cubicBezTo>
                    <a:pt x="196" y="708"/>
                    <a:pt x="187" y="708"/>
                    <a:pt x="187" y="708"/>
                  </a:cubicBezTo>
                  <a:cubicBezTo>
                    <a:pt x="187" y="708"/>
                    <a:pt x="183" y="709"/>
                    <a:pt x="180" y="715"/>
                  </a:cubicBezTo>
                  <a:cubicBezTo>
                    <a:pt x="177" y="721"/>
                    <a:pt x="186" y="725"/>
                    <a:pt x="181" y="728"/>
                  </a:cubicBezTo>
                  <a:cubicBezTo>
                    <a:pt x="176" y="731"/>
                    <a:pt x="175" y="733"/>
                    <a:pt x="170" y="733"/>
                  </a:cubicBezTo>
                  <a:cubicBezTo>
                    <a:pt x="165" y="733"/>
                    <a:pt x="156" y="728"/>
                    <a:pt x="153" y="728"/>
                  </a:cubicBezTo>
                  <a:cubicBezTo>
                    <a:pt x="150" y="728"/>
                    <a:pt x="157" y="720"/>
                    <a:pt x="144" y="727"/>
                  </a:cubicBezTo>
                  <a:cubicBezTo>
                    <a:pt x="131" y="734"/>
                    <a:pt x="130" y="735"/>
                    <a:pt x="126" y="734"/>
                  </a:cubicBezTo>
                  <a:cubicBezTo>
                    <a:pt x="122" y="733"/>
                    <a:pt x="117" y="731"/>
                    <a:pt x="118" y="741"/>
                  </a:cubicBezTo>
                  <a:cubicBezTo>
                    <a:pt x="119" y="751"/>
                    <a:pt x="125" y="750"/>
                    <a:pt x="126" y="753"/>
                  </a:cubicBezTo>
                  <a:cubicBezTo>
                    <a:pt x="127" y="756"/>
                    <a:pt x="130" y="764"/>
                    <a:pt x="122" y="760"/>
                  </a:cubicBezTo>
                  <a:cubicBezTo>
                    <a:pt x="114" y="756"/>
                    <a:pt x="113" y="747"/>
                    <a:pt x="108" y="750"/>
                  </a:cubicBezTo>
                  <a:cubicBezTo>
                    <a:pt x="103" y="753"/>
                    <a:pt x="97" y="760"/>
                    <a:pt x="102" y="763"/>
                  </a:cubicBezTo>
                  <a:cubicBezTo>
                    <a:pt x="107" y="766"/>
                    <a:pt x="122" y="762"/>
                    <a:pt x="119" y="768"/>
                  </a:cubicBezTo>
                  <a:cubicBezTo>
                    <a:pt x="116" y="774"/>
                    <a:pt x="126" y="777"/>
                    <a:pt x="111" y="775"/>
                  </a:cubicBezTo>
                  <a:cubicBezTo>
                    <a:pt x="96" y="773"/>
                    <a:pt x="92" y="773"/>
                    <a:pt x="92" y="773"/>
                  </a:cubicBezTo>
                  <a:cubicBezTo>
                    <a:pt x="92" y="773"/>
                    <a:pt x="94" y="767"/>
                    <a:pt x="88" y="772"/>
                  </a:cubicBezTo>
                  <a:cubicBezTo>
                    <a:pt x="82" y="777"/>
                    <a:pt x="84" y="786"/>
                    <a:pt x="84" y="786"/>
                  </a:cubicBezTo>
                  <a:cubicBezTo>
                    <a:pt x="84" y="786"/>
                    <a:pt x="55" y="773"/>
                    <a:pt x="59" y="781"/>
                  </a:cubicBezTo>
                  <a:cubicBezTo>
                    <a:pt x="63" y="789"/>
                    <a:pt x="85" y="794"/>
                    <a:pt x="85" y="794"/>
                  </a:cubicBezTo>
                  <a:cubicBezTo>
                    <a:pt x="72" y="808"/>
                    <a:pt x="72" y="808"/>
                    <a:pt x="72" y="808"/>
                  </a:cubicBezTo>
                  <a:cubicBezTo>
                    <a:pt x="72" y="808"/>
                    <a:pt x="73" y="798"/>
                    <a:pt x="66" y="797"/>
                  </a:cubicBezTo>
                  <a:cubicBezTo>
                    <a:pt x="59" y="796"/>
                    <a:pt x="53" y="804"/>
                    <a:pt x="53" y="804"/>
                  </a:cubicBezTo>
                  <a:cubicBezTo>
                    <a:pt x="40" y="793"/>
                    <a:pt x="40" y="793"/>
                    <a:pt x="40" y="793"/>
                  </a:cubicBezTo>
                  <a:cubicBezTo>
                    <a:pt x="34" y="802"/>
                    <a:pt x="34" y="802"/>
                    <a:pt x="34" y="802"/>
                  </a:cubicBezTo>
                  <a:cubicBezTo>
                    <a:pt x="43" y="805"/>
                    <a:pt x="43" y="805"/>
                    <a:pt x="43" y="805"/>
                  </a:cubicBezTo>
                  <a:cubicBezTo>
                    <a:pt x="20" y="804"/>
                    <a:pt x="20" y="804"/>
                    <a:pt x="20" y="804"/>
                  </a:cubicBezTo>
                  <a:cubicBezTo>
                    <a:pt x="19" y="813"/>
                    <a:pt x="19" y="813"/>
                    <a:pt x="19" y="813"/>
                  </a:cubicBezTo>
                  <a:cubicBezTo>
                    <a:pt x="52" y="815"/>
                    <a:pt x="52" y="815"/>
                    <a:pt x="52" y="815"/>
                  </a:cubicBezTo>
                  <a:cubicBezTo>
                    <a:pt x="35" y="820"/>
                    <a:pt x="35" y="820"/>
                    <a:pt x="35" y="820"/>
                  </a:cubicBezTo>
                  <a:cubicBezTo>
                    <a:pt x="11" y="814"/>
                    <a:pt x="11" y="814"/>
                    <a:pt x="11" y="814"/>
                  </a:cubicBezTo>
                  <a:cubicBezTo>
                    <a:pt x="11" y="814"/>
                    <a:pt x="3" y="821"/>
                    <a:pt x="3" y="827"/>
                  </a:cubicBezTo>
                  <a:cubicBezTo>
                    <a:pt x="3" y="833"/>
                    <a:pt x="21" y="834"/>
                    <a:pt x="21" y="834"/>
                  </a:cubicBezTo>
                  <a:cubicBezTo>
                    <a:pt x="10" y="839"/>
                    <a:pt x="10" y="839"/>
                    <a:pt x="10" y="839"/>
                  </a:cubicBezTo>
                  <a:cubicBezTo>
                    <a:pt x="10" y="839"/>
                    <a:pt x="1" y="846"/>
                    <a:pt x="10" y="847"/>
                  </a:cubicBezTo>
                  <a:cubicBezTo>
                    <a:pt x="19" y="848"/>
                    <a:pt x="42" y="848"/>
                    <a:pt x="42" y="848"/>
                  </a:cubicBezTo>
                  <a:cubicBezTo>
                    <a:pt x="52" y="854"/>
                    <a:pt x="52" y="854"/>
                    <a:pt x="52" y="854"/>
                  </a:cubicBezTo>
                  <a:cubicBezTo>
                    <a:pt x="63" y="846"/>
                    <a:pt x="63" y="846"/>
                    <a:pt x="63" y="846"/>
                  </a:cubicBezTo>
                  <a:cubicBezTo>
                    <a:pt x="71" y="854"/>
                    <a:pt x="71" y="854"/>
                    <a:pt x="71" y="854"/>
                  </a:cubicBezTo>
                  <a:cubicBezTo>
                    <a:pt x="89" y="845"/>
                    <a:pt x="89" y="845"/>
                    <a:pt x="89" y="845"/>
                  </a:cubicBezTo>
                  <a:cubicBezTo>
                    <a:pt x="89" y="845"/>
                    <a:pt x="86" y="858"/>
                    <a:pt x="80" y="858"/>
                  </a:cubicBezTo>
                  <a:cubicBezTo>
                    <a:pt x="74" y="858"/>
                    <a:pt x="62" y="857"/>
                    <a:pt x="62" y="857"/>
                  </a:cubicBezTo>
                  <a:cubicBezTo>
                    <a:pt x="44" y="858"/>
                    <a:pt x="44" y="858"/>
                    <a:pt x="44" y="858"/>
                  </a:cubicBezTo>
                  <a:cubicBezTo>
                    <a:pt x="44" y="858"/>
                    <a:pt x="28" y="856"/>
                    <a:pt x="25" y="856"/>
                  </a:cubicBezTo>
                  <a:cubicBezTo>
                    <a:pt x="22" y="856"/>
                    <a:pt x="0" y="858"/>
                    <a:pt x="0" y="858"/>
                  </a:cubicBezTo>
                  <a:cubicBezTo>
                    <a:pt x="0" y="858"/>
                    <a:pt x="2" y="870"/>
                    <a:pt x="7" y="872"/>
                  </a:cubicBezTo>
                  <a:cubicBezTo>
                    <a:pt x="12" y="874"/>
                    <a:pt x="20" y="874"/>
                    <a:pt x="20" y="874"/>
                  </a:cubicBezTo>
                  <a:cubicBezTo>
                    <a:pt x="20" y="874"/>
                    <a:pt x="7" y="884"/>
                    <a:pt x="13" y="891"/>
                  </a:cubicBezTo>
                  <a:cubicBezTo>
                    <a:pt x="19" y="898"/>
                    <a:pt x="29" y="899"/>
                    <a:pt x="29" y="899"/>
                  </a:cubicBezTo>
                  <a:cubicBezTo>
                    <a:pt x="47" y="888"/>
                    <a:pt x="47" y="888"/>
                    <a:pt x="47" y="888"/>
                  </a:cubicBezTo>
                  <a:cubicBezTo>
                    <a:pt x="65" y="884"/>
                    <a:pt x="65" y="884"/>
                    <a:pt x="65" y="884"/>
                  </a:cubicBezTo>
                  <a:cubicBezTo>
                    <a:pt x="59" y="898"/>
                    <a:pt x="59" y="898"/>
                    <a:pt x="59" y="898"/>
                  </a:cubicBezTo>
                  <a:cubicBezTo>
                    <a:pt x="49" y="895"/>
                    <a:pt x="49" y="895"/>
                    <a:pt x="49" y="895"/>
                  </a:cubicBezTo>
                  <a:cubicBezTo>
                    <a:pt x="43" y="907"/>
                    <a:pt x="43" y="907"/>
                    <a:pt x="43" y="907"/>
                  </a:cubicBezTo>
                  <a:cubicBezTo>
                    <a:pt x="43" y="907"/>
                    <a:pt x="13" y="901"/>
                    <a:pt x="17" y="908"/>
                  </a:cubicBezTo>
                  <a:cubicBezTo>
                    <a:pt x="21" y="915"/>
                    <a:pt x="30" y="918"/>
                    <a:pt x="30" y="918"/>
                  </a:cubicBezTo>
                  <a:cubicBezTo>
                    <a:pt x="14" y="926"/>
                    <a:pt x="14" y="926"/>
                    <a:pt x="14" y="926"/>
                  </a:cubicBezTo>
                  <a:cubicBezTo>
                    <a:pt x="2" y="926"/>
                    <a:pt x="2" y="926"/>
                    <a:pt x="2" y="926"/>
                  </a:cubicBezTo>
                  <a:cubicBezTo>
                    <a:pt x="2" y="926"/>
                    <a:pt x="4" y="938"/>
                    <a:pt x="7" y="938"/>
                  </a:cubicBezTo>
                  <a:cubicBezTo>
                    <a:pt x="10" y="938"/>
                    <a:pt x="42" y="939"/>
                    <a:pt x="42" y="939"/>
                  </a:cubicBezTo>
                  <a:cubicBezTo>
                    <a:pt x="33" y="953"/>
                    <a:pt x="33" y="953"/>
                    <a:pt x="33" y="953"/>
                  </a:cubicBezTo>
                  <a:cubicBezTo>
                    <a:pt x="41" y="955"/>
                    <a:pt x="41" y="955"/>
                    <a:pt x="41" y="955"/>
                  </a:cubicBezTo>
                  <a:cubicBezTo>
                    <a:pt x="36" y="967"/>
                    <a:pt x="36" y="967"/>
                    <a:pt x="36" y="967"/>
                  </a:cubicBezTo>
                  <a:cubicBezTo>
                    <a:pt x="36" y="967"/>
                    <a:pt x="10" y="954"/>
                    <a:pt x="11" y="962"/>
                  </a:cubicBezTo>
                  <a:cubicBezTo>
                    <a:pt x="12" y="970"/>
                    <a:pt x="23" y="981"/>
                    <a:pt x="23" y="981"/>
                  </a:cubicBezTo>
                  <a:cubicBezTo>
                    <a:pt x="55" y="995"/>
                    <a:pt x="55" y="995"/>
                    <a:pt x="55" y="995"/>
                  </a:cubicBezTo>
                  <a:cubicBezTo>
                    <a:pt x="55" y="995"/>
                    <a:pt x="48" y="1000"/>
                    <a:pt x="55" y="1003"/>
                  </a:cubicBezTo>
                  <a:cubicBezTo>
                    <a:pt x="62" y="1006"/>
                    <a:pt x="83" y="1001"/>
                    <a:pt x="83" y="1001"/>
                  </a:cubicBezTo>
                  <a:cubicBezTo>
                    <a:pt x="83" y="1001"/>
                    <a:pt x="86" y="1010"/>
                    <a:pt x="103" y="1004"/>
                  </a:cubicBezTo>
                  <a:cubicBezTo>
                    <a:pt x="120" y="998"/>
                    <a:pt x="148" y="973"/>
                    <a:pt x="148" y="973"/>
                  </a:cubicBezTo>
                  <a:cubicBezTo>
                    <a:pt x="172" y="954"/>
                    <a:pt x="172" y="954"/>
                    <a:pt x="172" y="954"/>
                  </a:cubicBezTo>
                  <a:cubicBezTo>
                    <a:pt x="172" y="954"/>
                    <a:pt x="183" y="959"/>
                    <a:pt x="193" y="950"/>
                  </a:cubicBezTo>
                  <a:cubicBezTo>
                    <a:pt x="203" y="941"/>
                    <a:pt x="193" y="922"/>
                    <a:pt x="193" y="922"/>
                  </a:cubicBezTo>
                  <a:cubicBezTo>
                    <a:pt x="205" y="920"/>
                    <a:pt x="205" y="920"/>
                    <a:pt x="205" y="920"/>
                  </a:cubicBezTo>
                  <a:cubicBezTo>
                    <a:pt x="205" y="920"/>
                    <a:pt x="192" y="937"/>
                    <a:pt x="207" y="942"/>
                  </a:cubicBezTo>
                  <a:cubicBezTo>
                    <a:pt x="222" y="947"/>
                    <a:pt x="233" y="949"/>
                    <a:pt x="233" y="949"/>
                  </a:cubicBezTo>
                  <a:cubicBezTo>
                    <a:pt x="247" y="962"/>
                    <a:pt x="247" y="962"/>
                    <a:pt x="247" y="962"/>
                  </a:cubicBezTo>
                  <a:cubicBezTo>
                    <a:pt x="247" y="962"/>
                    <a:pt x="253" y="951"/>
                    <a:pt x="255" y="946"/>
                  </a:cubicBezTo>
                  <a:cubicBezTo>
                    <a:pt x="257" y="941"/>
                    <a:pt x="251" y="940"/>
                    <a:pt x="248" y="932"/>
                  </a:cubicBezTo>
                  <a:cubicBezTo>
                    <a:pt x="245" y="924"/>
                    <a:pt x="254" y="921"/>
                    <a:pt x="254" y="921"/>
                  </a:cubicBezTo>
                  <a:cubicBezTo>
                    <a:pt x="254" y="921"/>
                    <a:pt x="254" y="917"/>
                    <a:pt x="252" y="911"/>
                  </a:cubicBezTo>
                  <a:cubicBezTo>
                    <a:pt x="250" y="905"/>
                    <a:pt x="264" y="911"/>
                    <a:pt x="269" y="911"/>
                  </a:cubicBezTo>
                  <a:cubicBezTo>
                    <a:pt x="274" y="911"/>
                    <a:pt x="277" y="906"/>
                    <a:pt x="277" y="906"/>
                  </a:cubicBezTo>
                  <a:cubicBezTo>
                    <a:pt x="277" y="889"/>
                    <a:pt x="277" y="889"/>
                    <a:pt x="277" y="889"/>
                  </a:cubicBezTo>
                  <a:cubicBezTo>
                    <a:pt x="284" y="889"/>
                    <a:pt x="284" y="889"/>
                    <a:pt x="284" y="889"/>
                  </a:cubicBezTo>
                  <a:cubicBezTo>
                    <a:pt x="284" y="889"/>
                    <a:pt x="280" y="880"/>
                    <a:pt x="277" y="877"/>
                  </a:cubicBezTo>
                  <a:cubicBezTo>
                    <a:pt x="274" y="874"/>
                    <a:pt x="268" y="857"/>
                    <a:pt x="268" y="857"/>
                  </a:cubicBezTo>
                  <a:cubicBezTo>
                    <a:pt x="283" y="854"/>
                    <a:pt x="283" y="854"/>
                    <a:pt x="283" y="854"/>
                  </a:cubicBezTo>
                  <a:cubicBezTo>
                    <a:pt x="283" y="854"/>
                    <a:pt x="290" y="848"/>
                    <a:pt x="292" y="841"/>
                  </a:cubicBezTo>
                  <a:cubicBezTo>
                    <a:pt x="294" y="834"/>
                    <a:pt x="275" y="828"/>
                    <a:pt x="275" y="828"/>
                  </a:cubicBezTo>
                  <a:cubicBezTo>
                    <a:pt x="275" y="828"/>
                    <a:pt x="267" y="821"/>
                    <a:pt x="266" y="814"/>
                  </a:cubicBezTo>
                  <a:cubicBezTo>
                    <a:pt x="265" y="807"/>
                    <a:pt x="271" y="800"/>
                    <a:pt x="272" y="795"/>
                  </a:cubicBezTo>
                  <a:cubicBezTo>
                    <a:pt x="273" y="790"/>
                    <a:pt x="262" y="783"/>
                    <a:pt x="262" y="783"/>
                  </a:cubicBezTo>
                  <a:cubicBezTo>
                    <a:pt x="262" y="783"/>
                    <a:pt x="256" y="775"/>
                    <a:pt x="254" y="770"/>
                  </a:cubicBezTo>
                  <a:cubicBezTo>
                    <a:pt x="252" y="765"/>
                    <a:pt x="261" y="763"/>
                    <a:pt x="267" y="757"/>
                  </a:cubicBezTo>
                  <a:cubicBezTo>
                    <a:pt x="273" y="751"/>
                    <a:pt x="255" y="751"/>
                    <a:pt x="255" y="748"/>
                  </a:cubicBezTo>
                  <a:cubicBezTo>
                    <a:pt x="255" y="745"/>
                    <a:pt x="261" y="740"/>
                    <a:pt x="261" y="740"/>
                  </a:cubicBezTo>
                  <a:cubicBezTo>
                    <a:pt x="266" y="734"/>
                    <a:pt x="266" y="734"/>
                    <a:pt x="266" y="734"/>
                  </a:cubicBezTo>
                  <a:cubicBezTo>
                    <a:pt x="266" y="734"/>
                    <a:pt x="272" y="729"/>
                    <a:pt x="279" y="724"/>
                  </a:cubicBezTo>
                  <a:cubicBezTo>
                    <a:pt x="286" y="719"/>
                    <a:pt x="301" y="707"/>
                    <a:pt x="301" y="707"/>
                  </a:cubicBezTo>
                  <a:cubicBezTo>
                    <a:pt x="301" y="707"/>
                    <a:pt x="328" y="712"/>
                    <a:pt x="332" y="703"/>
                  </a:cubicBezTo>
                  <a:cubicBezTo>
                    <a:pt x="336" y="694"/>
                    <a:pt x="315" y="684"/>
                    <a:pt x="315" y="684"/>
                  </a:cubicBezTo>
                  <a:cubicBezTo>
                    <a:pt x="315" y="684"/>
                    <a:pt x="324" y="678"/>
                    <a:pt x="329" y="674"/>
                  </a:cubicBezTo>
                  <a:cubicBezTo>
                    <a:pt x="334" y="670"/>
                    <a:pt x="344" y="658"/>
                    <a:pt x="344" y="658"/>
                  </a:cubicBezTo>
                  <a:cubicBezTo>
                    <a:pt x="348" y="629"/>
                    <a:pt x="348" y="629"/>
                    <a:pt x="348" y="629"/>
                  </a:cubicBezTo>
                  <a:cubicBezTo>
                    <a:pt x="351" y="624"/>
                    <a:pt x="351" y="624"/>
                    <a:pt x="351" y="624"/>
                  </a:cubicBezTo>
                  <a:cubicBezTo>
                    <a:pt x="349" y="608"/>
                    <a:pt x="349" y="608"/>
                    <a:pt x="349" y="608"/>
                  </a:cubicBezTo>
                  <a:cubicBezTo>
                    <a:pt x="363" y="615"/>
                    <a:pt x="363" y="615"/>
                    <a:pt x="363" y="615"/>
                  </a:cubicBezTo>
                  <a:cubicBezTo>
                    <a:pt x="363" y="615"/>
                    <a:pt x="372" y="610"/>
                    <a:pt x="379" y="608"/>
                  </a:cubicBezTo>
                  <a:cubicBezTo>
                    <a:pt x="386" y="606"/>
                    <a:pt x="372" y="592"/>
                    <a:pt x="372" y="592"/>
                  </a:cubicBezTo>
                  <a:cubicBezTo>
                    <a:pt x="386" y="591"/>
                    <a:pt x="386" y="591"/>
                    <a:pt x="386" y="591"/>
                  </a:cubicBezTo>
                  <a:cubicBezTo>
                    <a:pt x="386" y="591"/>
                    <a:pt x="388" y="584"/>
                    <a:pt x="394" y="579"/>
                  </a:cubicBezTo>
                  <a:cubicBezTo>
                    <a:pt x="400" y="574"/>
                    <a:pt x="405" y="573"/>
                    <a:pt x="405" y="573"/>
                  </a:cubicBezTo>
                  <a:cubicBezTo>
                    <a:pt x="410" y="563"/>
                    <a:pt x="410" y="563"/>
                    <a:pt x="410" y="563"/>
                  </a:cubicBezTo>
                  <a:cubicBezTo>
                    <a:pt x="410" y="563"/>
                    <a:pt x="399" y="555"/>
                    <a:pt x="398" y="551"/>
                  </a:cubicBezTo>
                  <a:cubicBezTo>
                    <a:pt x="397" y="547"/>
                    <a:pt x="414" y="539"/>
                    <a:pt x="414" y="539"/>
                  </a:cubicBezTo>
                  <a:cubicBezTo>
                    <a:pt x="423" y="529"/>
                    <a:pt x="423" y="529"/>
                    <a:pt x="423" y="529"/>
                  </a:cubicBezTo>
                  <a:cubicBezTo>
                    <a:pt x="449" y="525"/>
                    <a:pt x="449" y="525"/>
                    <a:pt x="449" y="525"/>
                  </a:cubicBezTo>
                  <a:cubicBezTo>
                    <a:pt x="449" y="525"/>
                    <a:pt x="464" y="525"/>
                    <a:pt x="467" y="520"/>
                  </a:cubicBezTo>
                  <a:cubicBezTo>
                    <a:pt x="470" y="515"/>
                    <a:pt x="460" y="504"/>
                    <a:pt x="468" y="498"/>
                  </a:cubicBezTo>
                  <a:cubicBezTo>
                    <a:pt x="476" y="492"/>
                    <a:pt x="476" y="505"/>
                    <a:pt x="476" y="505"/>
                  </a:cubicBezTo>
                  <a:cubicBezTo>
                    <a:pt x="495" y="501"/>
                    <a:pt x="495" y="501"/>
                    <a:pt x="495" y="501"/>
                  </a:cubicBezTo>
                  <a:cubicBezTo>
                    <a:pt x="508" y="505"/>
                    <a:pt x="508" y="505"/>
                    <a:pt x="508" y="505"/>
                  </a:cubicBezTo>
                  <a:cubicBezTo>
                    <a:pt x="517" y="505"/>
                    <a:pt x="517" y="505"/>
                    <a:pt x="517" y="505"/>
                  </a:cubicBezTo>
                  <a:cubicBezTo>
                    <a:pt x="517" y="505"/>
                    <a:pt x="528" y="511"/>
                    <a:pt x="536" y="509"/>
                  </a:cubicBezTo>
                  <a:cubicBezTo>
                    <a:pt x="544" y="507"/>
                    <a:pt x="531" y="501"/>
                    <a:pt x="531" y="496"/>
                  </a:cubicBezTo>
                  <a:cubicBezTo>
                    <a:pt x="531" y="491"/>
                    <a:pt x="538" y="494"/>
                    <a:pt x="538" y="494"/>
                  </a:cubicBezTo>
                  <a:cubicBezTo>
                    <a:pt x="537" y="480"/>
                    <a:pt x="537" y="480"/>
                    <a:pt x="537" y="480"/>
                  </a:cubicBezTo>
                  <a:cubicBezTo>
                    <a:pt x="557" y="481"/>
                    <a:pt x="557" y="481"/>
                    <a:pt x="557" y="481"/>
                  </a:cubicBezTo>
                  <a:cubicBezTo>
                    <a:pt x="555" y="479"/>
                    <a:pt x="554" y="478"/>
                    <a:pt x="554" y="478"/>
                  </a:cubicBezTo>
                  <a:cubicBezTo>
                    <a:pt x="556" y="473"/>
                    <a:pt x="556" y="473"/>
                    <a:pt x="556" y="473"/>
                  </a:cubicBezTo>
                  <a:cubicBezTo>
                    <a:pt x="568" y="478"/>
                    <a:pt x="568" y="478"/>
                    <a:pt x="568" y="478"/>
                  </a:cubicBezTo>
                  <a:cubicBezTo>
                    <a:pt x="570" y="469"/>
                    <a:pt x="570" y="469"/>
                    <a:pt x="570" y="469"/>
                  </a:cubicBezTo>
                  <a:cubicBezTo>
                    <a:pt x="570" y="469"/>
                    <a:pt x="577" y="466"/>
                    <a:pt x="581" y="466"/>
                  </a:cubicBezTo>
                  <a:cubicBezTo>
                    <a:pt x="585" y="466"/>
                    <a:pt x="594" y="480"/>
                    <a:pt x="594" y="480"/>
                  </a:cubicBezTo>
                  <a:cubicBezTo>
                    <a:pt x="603" y="481"/>
                    <a:pt x="603" y="481"/>
                    <a:pt x="603" y="481"/>
                  </a:cubicBezTo>
                  <a:cubicBezTo>
                    <a:pt x="603" y="481"/>
                    <a:pt x="604" y="491"/>
                    <a:pt x="618" y="492"/>
                  </a:cubicBezTo>
                  <a:cubicBezTo>
                    <a:pt x="632" y="493"/>
                    <a:pt x="632" y="494"/>
                    <a:pt x="632" y="494"/>
                  </a:cubicBezTo>
                  <a:cubicBezTo>
                    <a:pt x="632" y="494"/>
                    <a:pt x="632" y="494"/>
                    <a:pt x="642" y="497"/>
                  </a:cubicBezTo>
                  <a:cubicBezTo>
                    <a:pt x="652" y="500"/>
                    <a:pt x="661" y="492"/>
                    <a:pt x="661" y="492"/>
                  </a:cubicBezTo>
                  <a:cubicBezTo>
                    <a:pt x="661" y="492"/>
                    <a:pt x="672" y="488"/>
                    <a:pt x="677" y="489"/>
                  </a:cubicBezTo>
                  <a:cubicBezTo>
                    <a:pt x="682" y="490"/>
                    <a:pt x="694" y="498"/>
                    <a:pt x="702" y="498"/>
                  </a:cubicBezTo>
                  <a:cubicBezTo>
                    <a:pt x="710" y="498"/>
                    <a:pt x="704" y="488"/>
                    <a:pt x="711" y="483"/>
                  </a:cubicBezTo>
                  <a:cubicBezTo>
                    <a:pt x="718" y="478"/>
                    <a:pt x="727" y="483"/>
                    <a:pt x="727" y="483"/>
                  </a:cubicBezTo>
                  <a:cubicBezTo>
                    <a:pt x="727" y="483"/>
                    <a:pt x="728" y="467"/>
                    <a:pt x="727" y="463"/>
                  </a:cubicBezTo>
                  <a:cubicBezTo>
                    <a:pt x="726" y="459"/>
                    <a:pt x="730" y="446"/>
                    <a:pt x="730" y="446"/>
                  </a:cubicBezTo>
                  <a:cubicBezTo>
                    <a:pt x="730" y="446"/>
                    <a:pt x="747" y="437"/>
                    <a:pt x="752" y="438"/>
                  </a:cubicBezTo>
                  <a:cubicBezTo>
                    <a:pt x="757" y="439"/>
                    <a:pt x="768" y="440"/>
                    <a:pt x="768" y="440"/>
                  </a:cubicBezTo>
                  <a:cubicBezTo>
                    <a:pt x="768" y="440"/>
                    <a:pt x="779" y="433"/>
                    <a:pt x="794" y="434"/>
                  </a:cubicBezTo>
                  <a:cubicBezTo>
                    <a:pt x="809" y="435"/>
                    <a:pt x="802" y="441"/>
                    <a:pt x="802" y="441"/>
                  </a:cubicBezTo>
                  <a:cubicBezTo>
                    <a:pt x="825" y="446"/>
                    <a:pt x="825" y="446"/>
                    <a:pt x="825" y="446"/>
                  </a:cubicBezTo>
                  <a:cubicBezTo>
                    <a:pt x="825" y="446"/>
                    <a:pt x="839" y="447"/>
                    <a:pt x="843" y="464"/>
                  </a:cubicBezTo>
                  <a:cubicBezTo>
                    <a:pt x="847" y="481"/>
                    <a:pt x="834" y="469"/>
                    <a:pt x="834" y="469"/>
                  </a:cubicBezTo>
                  <a:cubicBezTo>
                    <a:pt x="832" y="477"/>
                    <a:pt x="832" y="477"/>
                    <a:pt x="832" y="477"/>
                  </a:cubicBezTo>
                  <a:cubicBezTo>
                    <a:pt x="836" y="479"/>
                    <a:pt x="840" y="480"/>
                    <a:pt x="845" y="480"/>
                  </a:cubicBezTo>
                  <a:cubicBezTo>
                    <a:pt x="854" y="479"/>
                    <a:pt x="855" y="465"/>
                    <a:pt x="855" y="465"/>
                  </a:cubicBezTo>
                  <a:cubicBezTo>
                    <a:pt x="870" y="464"/>
                    <a:pt x="870" y="464"/>
                    <a:pt x="870" y="464"/>
                  </a:cubicBezTo>
                  <a:cubicBezTo>
                    <a:pt x="874" y="456"/>
                    <a:pt x="874" y="456"/>
                    <a:pt x="874" y="456"/>
                  </a:cubicBezTo>
                  <a:cubicBezTo>
                    <a:pt x="874" y="456"/>
                    <a:pt x="873" y="459"/>
                    <a:pt x="891" y="456"/>
                  </a:cubicBezTo>
                  <a:cubicBezTo>
                    <a:pt x="899" y="455"/>
                    <a:pt x="903" y="451"/>
                    <a:pt x="905" y="448"/>
                  </a:cubicBezTo>
                  <a:lnTo>
                    <a:pt x="901" y="448"/>
                  </a:lnTo>
                  <a:close/>
                  <a:moveTo>
                    <a:pt x="372" y="489"/>
                  </a:moveTo>
                  <a:cubicBezTo>
                    <a:pt x="357" y="498"/>
                    <a:pt x="357" y="498"/>
                    <a:pt x="357" y="498"/>
                  </a:cubicBezTo>
                  <a:cubicBezTo>
                    <a:pt x="362" y="511"/>
                    <a:pt x="362" y="511"/>
                    <a:pt x="362" y="511"/>
                  </a:cubicBezTo>
                  <a:cubicBezTo>
                    <a:pt x="380" y="512"/>
                    <a:pt x="380" y="512"/>
                    <a:pt x="380" y="512"/>
                  </a:cubicBezTo>
                  <a:cubicBezTo>
                    <a:pt x="376" y="499"/>
                    <a:pt x="376" y="499"/>
                    <a:pt x="376" y="499"/>
                  </a:cubicBezTo>
                  <a:lnTo>
                    <a:pt x="372" y="489"/>
                  </a:lnTo>
                  <a:close/>
                  <a:moveTo>
                    <a:pt x="346" y="483"/>
                  </a:moveTo>
                  <a:cubicBezTo>
                    <a:pt x="335" y="487"/>
                    <a:pt x="339" y="504"/>
                    <a:pt x="339" y="504"/>
                  </a:cubicBezTo>
                  <a:cubicBezTo>
                    <a:pt x="351" y="516"/>
                    <a:pt x="351" y="516"/>
                    <a:pt x="351" y="516"/>
                  </a:cubicBezTo>
                  <a:cubicBezTo>
                    <a:pt x="351" y="516"/>
                    <a:pt x="357" y="479"/>
                    <a:pt x="346" y="483"/>
                  </a:cubicBezTo>
                  <a:close/>
                  <a:moveTo>
                    <a:pt x="403" y="498"/>
                  </a:moveTo>
                  <a:cubicBezTo>
                    <a:pt x="412" y="493"/>
                    <a:pt x="427" y="490"/>
                    <a:pt x="408" y="486"/>
                  </a:cubicBezTo>
                  <a:cubicBezTo>
                    <a:pt x="389" y="483"/>
                    <a:pt x="380" y="494"/>
                    <a:pt x="380" y="494"/>
                  </a:cubicBezTo>
                  <a:cubicBezTo>
                    <a:pt x="386" y="501"/>
                    <a:pt x="386" y="501"/>
                    <a:pt x="386" y="501"/>
                  </a:cubicBezTo>
                  <a:lnTo>
                    <a:pt x="403" y="498"/>
                  </a:ln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70" name="Netherlands">
              <a:extLst>
                <a:ext uri="{FF2B5EF4-FFF2-40B4-BE49-F238E27FC236}">
                  <a16:creationId xmlns:a16="http://schemas.microsoft.com/office/drawing/2014/main" id="{70415BF5-E812-45BE-817C-BA55EA24A57D}"/>
                </a:ext>
              </a:extLst>
            </p:cNvPr>
            <p:cNvSpPr>
              <a:spLocks/>
            </p:cNvSpPr>
            <p:nvPr/>
          </p:nvSpPr>
          <p:spPr bwMode="gray">
            <a:xfrm>
              <a:off x="5223174" y="4237764"/>
              <a:ext cx="355811" cy="333408"/>
            </a:xfrm>
            <a:custGeom>
              <a:avLst/>
              <a:gdLst>
                <a:gd name="T0" fmla="*/ 14 w 182"/>
                <a:gd name="T1" fmla="*/ 104 h 145"/>
                <a:gd name="T2" fmla="*/ 0 w 182"/>
                <a:gd name="T3" fmla="*/ 116 h 145"/>
                <a:gd name="T4" fmla="*/ 0 w 182"/>
                <a:gd name="T5" fmla="*/ 116 h 145"/>
                <a:gd name="T6" fmla="*/ 9 w 182"/>
                <a:gd name="T7" fmla="*/ 108 h 145"/>
                <a:gd name="T8" fmla="*/ 10 w 182"/>
                <a:gd name="T9" fmla="*/ 110 h 145"/>
                <a:gd name="T10" fmla="*/ 18 w 182"/>
                <a:gd name="T11" fmla="*/ 108 h 145"/>
                <a:gd name="T12" fmla="*/ 22 w 182"/>
                <a:gd name="T13" fmla="*/ 114 h 145"/>
                <a:gd name="T14" fmla="*/ 34 w 182"/>
                <a:gd name="T15" fmla="*/ 112 h 145"/>
                <a:gd name="T16" fmla="*/ 43 w 182"/>
                <a:gd name="T17" fmla="*/ 117 h 145"/>
                <a:gd name="T18" fmla="*/ 46 w 182"/>
                <a:gd name="T19" fmla="*/ 110 h 145"/>
                <a:gd name="T20" fmla="*/ 56 w 182"/>
                <a:gd name="T21" fmla="*/ 112 h 145"/>
                <a:gd name="T22" fmla="*/ 56 w 182"/>
                <a:gd name="T23" fmla="*/ 106 h 145"/>
                <a:gd name="T24" fmla="*/ 65 w 182"/>
                <a:gd name="T25" fmla="*/ 108 h 145"/>
                <a:gd name="T26" fmla="*/ 71 w 182"/>
                <a:gd name="T27" fmla="*/ 104 h 145"/>
                <a:gd name="T28" fmla="*/ 90 w 182"/>
                <a:gd name="T29" fmla="*/ 104 h 145"/>
                <a:gd name="T30" fmla="*/ 94 w 182"/>
                <a:gd name="T31" fmla="*/ 114 h 145"/>
                <a:gd name="T32" fmla="*/ 108 w 182"/>
                <a:gd name="T33" fmla="*/ 114 h 145"/>
                <a:gd name="T34" fmla="*/ 119 w 182"/>
                <a:gd name="T35" fmla="*/ 121 h 145"/>
                <a:gd name="T36" fmla="*/ 114 w 182"/>
                <a:gd name="T37" fmla="*/ 130 h 145"/>
                <a:gd name="T38" fmla="*/ 112 w 182"/>
                <a:gd name="T39" fmla="*/ 140 h 145"/>
                <a:gd name="T40" fmla="*/ 123 w 182"/>
                <a:gd name="T41" fmla="*/ 140 h 145"/>
                <a:gd name="T42" fmla="*/ 127 w 182"/>
                <a:gd name="T43" fmla="*/ 124 h 145"/>
                <a:gd name="T44" fmla="*/ 123 w 182"/>
                <a:gd name="T45" fmla="*/ 116 h 145"/>
                <a:gd name="T46" fmla="*/ 134 w 182"/>
                <a:gd name="T47" fmla="*/ 106 h 145"/>
                <a:gd name="T48" fmla="*/ 130 w 182"/>
                <a:gd name="T49" fmla="*/ 95 h 145"/>
                <a:gd name="T50" fmla="*/ 124 w 182"/>
                <a:gd name="T51" fmla="*/ 80 h 145"/>
                <a:gd name="T52" fmla="*/ 148 w 182"/>
                <a:gd name="T53" fmla="*/ 85 h 145"/>
                <a:gd name="T54" fmla="*/ 152 w 182"/>
                <a:gd name="T55" fmla="*/ 77 h 145"/>
                <a:gd name="T56" fmla="*/ 158 w 182"/>
                <a:gd name="T57" fmla="*/ 78 h 145"/>
                <a:gd name="T58" fmla="*/ 160 w 182"/>
                <a:gd name="T59" fmla="*/ 67 h 145"/>
                <a:gd name="T60" fmla="*/ 168 w 182"/>
                <a:gd name="T61" fmla="*/ 59 h 145"/>
                <a:gd name="T62" fmla="*/ 153 w 182"/>
                <a:gd name="T63" fmla="*/ 47 h 145"/>
                <a:gd name="T64" fmla="*/ 164 w 182"/>
                <a:gd name="T65" fmla="*/ 40 h 145"/>
                <a:gd name="T66" fmla="*/ 172 w 182"/>
                <a:gd name="T67" fmla="*/ 40 h 145"/>
                <a:gd name="T68" fmla="*/ 170 w 182"/>
                <a:gd name="T69" fmla="*/ 28 h 145"/>
                <a:gd name="T70" fmla="*/ 182 w 182"/>
                <a:gd name="T71" fmla="*/ 20 h 145"/>
                <a:gd name="T72" fmla="*/ 177 w 182"/>
                <a:gd name="T73" fmla="*/ 12 h 145"/>
                <a:gd name="T74" fmla="*/ 180 w 182"/>
                <a:gd name="T75" fmla="*/ 10 h 145"/>
                <a:gd name="T76" fmla="*/ 176 w 182"/>
                <a:gd name="T77" fmla="*/ 7 h 145"/>
                <a:gd name="T78" fmla="*/ 154 w 182"/>
                <a:gd name="T79" fmla="*/ 1 h 145"/>
                <a:gd name="T80" fmla="*/ 125 w 182"/>
                <a:gd name="T81" fmla="*/ 0 h 145"/>
                <a:gd name="T82" fmla="*/ 103 w 182"/>
                <a:gd name="T83" fmla="*/ 10 h 145"/>
                <a:gd name="T84" fmla="*/ 107 w 182"/>
                <a:gd name="T85" fmla="*/ 21 h 145"/>
                <a:gd name="T86" fmla="*/ 111 w 182"/>
                <a:gd name="T87" fmla="*/ 34 h 145"/>
                <a:gd name="T88" fmla="*/ 116 w 182"/>
                <a:gd name="T89" fmla="*/ 40 h 145"/>
                <a:gd name="T90" fmla="*/ 122 w 182"/>
                <a:gd name="T91" fmla="*/ 48 h 145"/>
                <a:gd name="T92" fmla="*/ 104 w 182"/>
                <a:gd name="T93" fmla="*/ 60 h 145"/>
                <a:gd name="T94" fmla="*/ 92 w 182"/>
                <a:gd name="T95" fmla="*/ 52 h 145"/>
                <a:gd name="T96" fmla="*/ 100 w 182"/>
                <a:gd name="T97" fmla="*/ 37 h 145"/>
                <a:gd name="T98" fmla="*/ 102 w 182"/>
                <a:gd name="T99" fmla="*/ 24 h 145"/>
                <a:gd name="T100" fmla="*/ 97 w 182"/>
                <a:gd name="T101" fmla="*/ 16 h 145"/>
                <a:gd name="T102" fmla="*/ 81 w 182"/>
                <a:gd name="T103" fmla="*/ 30 h 145"/>
                <a:gd name="T104" fmla="*/ 64 w 182"/>
                <a:gd name="T105" fmla="*/ 49 h 145"/>
                <a:gd name="T106" fmla="*/ 60 w 182"/>
                <a:gd name="T107" fmla="*/ 69 h 145"/>
                <a:gd name="T108" fmla="*/ 42 w 182"/>
                <a:gd name="T109" fmla="*/ 89 h 145"/>
                <a:gd name="T110" fmla="*/ 48 w 182"/>
                <a:gd name="T111" fmla="*/ 97 h 145"/>
                <a:gd name="T112" fmla="*/ 31 w 182"/>
                <a:gd name="T113" fmla="*/ 98 h 145"/>
                <a:gd name="T114" fmla="*/ 14 w 182"/>
                <a:gd name="T115" fmla="*/ 10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85" name="Montenegro">
              <a:extLst>
                <a:ext uri="{FF2B5EF4-FFF2-40B4-BE49-F238E27FC236}">
                  <a16:creationId xmlns:a16="http://schemas.microsoft.com/office/drawing/2014/main" id="{97BA43DE-C43C-4071-8068-C41461E6036D}"/>
                </a:ext>
              </a:extLst>
            </p:cNvPr>
            <p:cNvSpPr>
              <a:spLocks/>
            </p:cNvSpPr>
            <p:nvPr/>
          </p:nvSpPr>
          <p:spPr bwMode="gray">
            <a:xfrm>
              <a:off x="6490752" y="5421018"/>
              <a:ext cx="155667" cy="209194"/>
            </a:xfrm>
            <a:custGeom>
              <a:avLst/>
              <a:gdLst>
                <a:gd name="T0" fmla="*/ 79 w 80"/>
                <a:gd name="T1" fmla="*/ 27 h 90"/>
                <a:gd name="T2" fmla="*/ 73 w 80"/>
                <a:gd name="T3" fmla="*/ 31 h 90"/>
                <a:gd name="T4" fmla="*/ 65 w 80"/>
                <a:gd name="T5" fmla="*/ 17 h 90"/>
                <a:gd name="T6" fmla="*/ 56 w 80"/>
                <a:gd name="T7" fmla="*/ 10 h 90"/>
                <a:gd name="T8" fmla="*/ 46 w 80"/>
                <a:gd name="T9" fmla="*/ 0 h 90"/>
                <a:gd name="T10" fmla="*/ 29 w 80"/>
                <a:gd name="T11" fmla="*/ 0 h 90"/>
                <a:gd name="T12" fmla="*/ 29 w 80"/>
                <a:gd name="T13" fmla="*/ 15 h 90"/>
                <a:gd name="T14" fmla="*/ 18 w 80"/>
                <a:gd name="T15" fmla="*/ 14 h 90"/>
                <a:gd name="T16" fmla="*/ 9 w 80"/>
                <a:gd name="T17" fmla="*/ 29 h 90"/>
                <a:gd name="T18" fmla="*/ 4 w 80"/>
                <a:gd name="T19" fmla="*/ 29 h 90"/>
                <a:gd name="T20" fmla="*/ 3 w 80"/>
                <a:gd name="T21" fmla="*/ 39 h 90"/>
                <a:gd name="T22" fmla="*/ 17 w 80"/>
                <a:gd name="T23" fmla="*/ 48 h 90"/>
                <a:gd name="T24" fmla="*/ 4 w 80"/>
                <a:gd name="T25" fmla="*/ 64 h 90"/>
                <a:gd name="T26" fmla="*/ 6 w 80"/>
                <a:gd name="T27" fmla="*/ 65 h 90"/>
                <a:gd name="T28" fmla="*/ 24 w 80"/>
                <a:gd name="T29" fmla="*/ 62 h 90"/>
                <a:gd name="T30" fmla="*/ 24 w 80"/>
                <a:gd name="T31" fmla="*/ 74 h 90"/>
                <a:gd name="T32" fmla="*/ 41 w 80"/>
                <a:gd name="T33" fmla="*/ 90 h 90"/>
                <a:gd name="T34" fmla="*/ 48 w 80"/>
                <a:gd name="T35" fmla="*/ 81 h 90"/>
                <a:gd name="T36" fmla="*/ 46 w 80"/>
                <a:gd name="T37" fmla="*/ 71 h 90"/>
                <a:gd name="T38" fmla="*/ 40 w 80"/>
                <a:gd name="T39" fmla="*/ 74 h 90"/>
                <a:gd name="T40" fmla="*/ 31 w 80"/>
                <a:gd name="T41" fmla="*/ 68 h 90"/>
                <a:gd name="T42" fmla="*/ 46 w 80"/>
                <a:gd name="T43" fmla="*/ 68 h 90"/>
                <a:gd name="T44" fmla="*/ 52 w 80"/>
                <a:gd name="T45" fmla="*/ 63 h 90"/>
                <a:gd name="T46" fmla="*/ 54 w 80"/>
                <a:gd name="T47" fmla="*/ 49 h 90"/>
                <a:gd name="T48" fmla="*/ 72 w 80"/>
                <a:gd name="T49" fmla="*/ 59 h 90"/>
                <a:gd name="T50" fmla="*/ 78 w 80"/>
                <a:gd name="T51" fmla="*/ 53 h 90"/>
                <a:gd name="T52" fmla="*/ 80 w 80"/>
                <a:gd name="T53" fmla="*/ 56 h 90"/>
                <a:gd name="T54" fmla="*/ 79 w 80"/>
                <a:gd name="T55" fmla="*/ 2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55" name="Moldova">
              <a:extLst>
                <a:ext uri="{FF2B5EF4-FFF2-40B4-BE49-F238E27FC236}">
                  <a16:creationId xmlns:a16="http://schemas.microsoft.com/office/drawing/2014/main" id="{17CD184B-66FB-4F31-89EB-BA9774FA3BD0}"/>
                </a:ext>
              </a:extLst>
            </p:cNvPr>
            <p:cNvSpPr>
              <a:spLocks/>
            </p:cNvSpPr>
            <p:nvPr/>
          </p:nvSpPr>
          <p:spPr bwMode="gray">
            <a:xfrm>
              <a:off x="7157887" y="4832661"/>
              <a:ext cx="277976" cy="366092"/>
            </a:xfrm>
            <a:custGeom>
              <a:avLst/>
              <a:gdLst>
                <a:gd name="T0" fmla="*/ 0 w 143"/>
                <a:gd name="T1" fmla="*/ 11 h 158"/>
                <a:gd name="T2" fmla="*/ 24 w 143"/>
                <a:gd name="T3" fmla="*/ 30 h 158"/>
                <a:gd name="T4" fmla="*/ 23 w 143"/>
                <a:gd name="T5" fmla="*/ 40 h 158"/>
                <a:gd name="T6" fmla="*/ 38 w 143"/>
                <a:gd name="T7" fmla="*/ 49 h 158"/>
                <a:gd name="T8" fmla="*/ 44 w 143"/>
                <a:gd name="T9" fmla="*/ 63 h 158"/>
                <a:gd name="T10" fmla="*/ 52 w 143"/>
                <a:gd name="T11" fmla="*/ 64 h 158"/>
                <a:gd name="T12" fmla="*/ 54 w 143"/>
                <a:gd name="T13" fmla="*/ 74 h 158"/>
                <a:gd name="T14" fmla="*/ 71 w 143"/>
                <a:gd name="T15" fmla="*/ 84 h 158"/>
                <a:gd name="T16" fmla="*/ 69 w 143"/>
                <a:gd name="T17" fmla="*/ 106 h 158"/>
                <a:gd name="T18" fmla="*/ 74 w 143"/>
                <a:gd name="T19" fmla="*/ 109 h 158"/>
                <a:gd name="T20" fmla="*/ 67 w 143"/>
                <a:gd name="T21" fmla="*/ 129 h 158"/>
                <a:gd name="T22" fmla="*/ 73 w 143"/>
                <a:gd name="T23" fmla="*/ 143 h 158"/>
                <a:gd name="T24" fmla="*/ 75 w 143"/>
                <a:gd name="T25" fmla="*/ 158 h 158"/>
                <a:gd name="T26" fmla="*/ 92 w 143"/>
                <a:gd name="T27" fmla="*/ 155 h 158"/>
                <a:gd name="T28" fmla="*/ 88 w 143"/>
                <a:gd name="T29" fmla="*/ 141 h 158"/>
                <a:gd name="T30" fmla="*/ 104 w 143"/>
                <a:gd name="T31" fmla="*/ 129 h 158"/>
                <a:gd name="T32" fmla="*/ 113 w 143"/>
                <a:gd name="T33" fmla="*/ 120 h 158"/>
                <a:gd name="T34" fmla="*/ 97 w 143"/>
                <a:gd name="T35" fmla="*/ 106 h 158"/>
                <a:gd name="T36" fmla="*/ 113 w 143"/>
                <a:gd name="T37" fmla="*/ 102 h 158"/>
                <a:gd name="T38" fmla="*/ 126 w 143"/>
                <a:gd name="T39" fmla="*/ 109 h 158"/>
                <a:gd name="T40" fmla="*/ 143 w 143"/>
                <a:gd name="T41" fmla="*/ 104 h 158"/>
                <a:gd name="T42" fmla="*/ 141 w 143"/>
                <a:gd name="T43" fmla="*/ 83 h 158"/>
                <a:gd name="T44" fmla="*/ 120 w 143"/>
                <a:gd name="T45" fmla="*/ 77 h 158"/>
                <a:gd name="T46" fmla="*/ 122 w 143"/>
                <a:gd name="T47" fmla="*/ 61 h 158"/>
                <a:gd name="T48" fmla="*/ 117 w 143"/>
                <a:gd name="T49" fmla="*/ 56 h 158"/>
                <a:gd name="T50" fmla="*/ 105 w 143"/>
                <a:gd name="T51" fmla="*/ 58 h 158"/>
                <a:gd name="T52" fmla="*/ 105 w 143"/>
                <a:gd name="T53" fmla="*/ 43 h 158"/>
                <a:gd name="T54" fmla="*/ 103 w 143"/>
                <a:gd name="T55" fmla="*/ 26 h 158"/>
                <a:gd name="T56" fmla="*/ 83 w 143"/>
                <a:gd name="T57" fmla="*/ 24 h 158"/>
                <a:gd name="T58" fmla="*/ 78 w 143"/>
                <a:gd name="T59" fmla="*/ 13 h 158"/>
                <a:gd name="T60" fmla="*/ 57 w 143"/>
                <a:gd name="T61" fmla="*/ 12 h 158"/>
                <a:gd name="T62" fmla="*/ 52 w 143"/>
                <a:gd name="T63" fmla="*/ 7 h 158"/>
                <a:gd name="T64" fmla="*/ 48 w 143"/>
                <a:gd name="T65" fmla="*/ 9 h 158"/>
                <a:gd name="T66" fmla="*/ 33 w 143"/>
                <a:gd name="T67" fmla="*/ 1 h 158"/>
                <a:gd name="T68" fmla="*/ 18 w 143"/>
                <a:gd name="T69" fmla="*/ 8 h 158"/>
                <a:gd name="T70" fmla="*/ 2 w 143"/>
                <a:gd name="T71" fmla="*/ 3 h 158"/>
                <a:gd name="T72" fmla="*/ 0 w 143"/>
                <a:gd name="T73" fmla="*/ 11 h 158"/>
                <a:gd name="T74" fmla="*/ 0 w 143"/>
                <a:gd name="T75" fmla="*/ 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48" name="Malta">
              <a:extLst>
                <a:ext uri="{FF2B5EF4-FFF2-40B4-BE49-F238E27FC236}">
                  <a16:creationId xmlns:a16="http://schemas.microsoft.com/office/drawing/2014/main" id="{BD9BC523-CCC3-42DA-A4BC-BE20517962C6}"/>
                </a:ext>
              </a:extLst>
            </p:cNvPr>
            <p:cNvSpPr>
              <a:spLocks/>
            </p:cNvSpPr>
            <p:nvPr/>
          </p:nvSpPr>
          <p:spPr bwMode="gray">
            <a:xfrm>
              <a:off x="6134935" y="6303563"/>
              <a:ext cx="66713" cy="78447"/>
            </a:xfrm>
            <a:custGeom>
              <a:avLst/>
              <a:gdLst>
                <a:gd name="T0" fmla="*/ 23 w 34"/>
                <a:gd name="T1" fmla="*/ 33 h 33"/>
                <a:gd name="T2" fmla="*/ 8 w 34"/>
                <a:gd name="T3" fmla="*/ 14 h 33"/>
                <a:gd name="T4" fmla="*/ 23 w 34"/>
                <a:gd name="T5" fmla="*/ 33 h 33"/>
              </a:gdLst>
              <a:ahLst/>
              <a:cxnLst>
                <a:cxn ang="0">
                  <a:pos x="T0" y="T1"/>
                </a:cxn>
                <a:cxn ang="0">
                  <a:pos x="T2" y="T3"/>
                </a:cxn>
                <a:cxn ang="0">
                  <a:pos x="T4" y="T5"/>
                </a:cxn>
              </a:cxnLst>
              <a:rect l="0" t="0" r="r" b="b"/>
              <a:pathLst>
                <a:path w="34" h="33">
                  <a:moveTo>
                    <a:pt x="23" y="33"/>
                  </a:moveTo>
                  <a:cubicBezTo>
                    <a:pt x="34" y="20"/>
                    <a:pt x="16" y="0"/>
                    <a:pt x="8" y="14"/>
                  </a:cubicBezTo>
                  <a:cubicBezTo>
                    <a:pt x="0" y="28"/>
                    <a:pt x="23" y="33"/>
                    <a:pt x="23" y="33"/>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54" name="Macedonia">
              <a:extLst>
                <a:ext uri="{FF2B5EF4-FFF2-40B4-BE49-F238E27FC236}">
                  <a16:creationId xmlns:a16="http://schemas.microsoft.com/office/drawing/2014/main" id="{F55E317B-2800-440E-838A-F69C3D39ADE5}"/>
                </a:ext>
              </a:extLst>
            </p:cNvPr>
            <p:cNvSpPr>
              <a:spLocks/>
            </p:cNvSpPr>
            <p:nvPr/>
          </p:nvSpPr>
          <p:spPr bwMode="gray">
            <a:xfrm>
              <a:off x="6679768" y="5571383"/>
              <a:ext cx="216820" cy="202659"/>
            </a:xfrm>
            <a:custGeom>
              <a:avLst/>
              <a:gdLst>
                <a:gd name="T0" fmla="*/ 100 w 111"/>
                <a:gd name="T1" fmla="*/ 26 h 87"/>
                <a:gd name="T2" fmla="*/ 88 w 111"/>
                <a:gd name="T3" fmla="*/ 17 h 87"/>
                <a:gd name="T4" fmla="*/ 88 w 111"/>
                <a:gd name="T5" fmla="*/ 9 h 87"/>
                <a:gd name="T6" fmla="*/ 83 w 111"/>
                <a:gd name="T7" fmla="*/ 9 h 87"/>
                <a:gd name="T8" fmla="*/ 77 w 111"/>
                <a:gd name="T9" fmla="*/ 0 h 87"/>
                <a:gd name="T10" fmla="*/ 76 w 111"/>
                <a:gd name="T11" fmla="*/ 0 h 87"/>
                <a:gd name="T12" fmla="*/ 50 w 111"/>
                <a:gd name="T13" fmla="*/ 2 h 87"/>
                <a:gd name="T14" fmla="*/ 46 w 111"/>
                <a:gd name="T15" fmla="*/ 6 h 87"/>
                <a:gd name="T16" fmla="*/ 33 w 111"/>
                <a:gd name="T17" fmla="*/ 6 h 87"/>
                <a:gd name="T18" fmla="*/ 30 w 111"/>
                <a:gd name="T19" fmla="*/ 14 h 87"/>
                <a:gd name="T20" fmla="*/ 18 w 111"/>
                <a:gd name="T21" fmla="*/ 14 h 87"/>
                <a:gd name="T22" fmla="*/ 13 w 111"/>
                <a:gd name="T23" fmla="*/ 22 h 87"/>
                <a:gd name="T24" fmla="*/ 2 w 111"/>
                <a:gd name="T25" fmla="*/ 26 h 87"/>
                <a:gd name="T26" fmla="*/ 0 w 111"/>
                <a:gd name="T27" fmla="*/ 41 h 87"/>
                <a:gd name="T28" fmla="*/ 5 w 111"/>
                <a:gd name="T29" fmla="*/ 52 h 87"/>
                <a:gd name="T30" fmla="*/ 3 w 111"/>
                <a:gd name="T31" fmla="*/ 64 h 87"/>
                <a:gd name="T32" fmla="*/ 11 w 111"/>
                <a:gd name="T33" fmla="*/ 70 h 87"/>
                <a:gd name="T34" fmla="*/ 11 w 111"/>
                <a:gd name="T35" fmla="*/ 84 h 87"/>
                <a:gd name="T36" fmla="*/ 29 w 111"/>
                <a:gd name="T37" fmla="*/ 77 h 87"/>
                <a:gd name="T38" fmla="*/ 31 w 111"/>
                <a:gd name="T39" fmla="*/ 84 h 87"/>
                <a:gd name="T40" fmla="*/ 36 w 111"/>
                <a:gd name="T41" fmla="*/ 79 h 87"/>
                <a:gd name="T42" fmla="*/ 60 w 111"/>
                <a:gd name="T43" fmla="*/ 81 h 87"/>
                <a:gd name="T44" fmla="*/ 63 w 111"/>
                <a:gd name="T45" fmla="*/ 70 h 87"/>
                <a:gd name="T46" fmla="*/ 90 w 111"/>
                <a:gd name="T47" fmla="*/ 66 h 87"/>
                <a:gd name="T48" fmla="*/ 108 w 111"/>
                <a:gd name="T49" fmla="*/ 44 h 87"/>
                <a:gd name="T50" fmla="*/ 100 w 111"/>
                <a:gd name="T51" fmla="*/ 2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68" name="Luxembourg">
              <a:extLst>
                <a:ext uri="{FF2B5EF4-FFF2-40B4-BE49-F238E27FC236}">
                  <a16:creationId xmlns:a16="http://schemas.microsoft.com/office/drawing/2014/main" id="{9AAA004C-6342-47F6-940E-238B81ED8FB0}"/>
                </a:ext>
              </a:extLst>
            </p:cNvPr>
            <p:cNvSpPr>
              <a:spLocks/>
            </p:cNvSpPr>
            <p:nvPr/>
          </p:nvSpPr>
          <p:spPr bwMode="gray">
            <a:xfrm>
              <a:off x="5439995" y="4630002"/>
              <a:ext cx="66713" cy="71913"/>
            </a:xfrm>
            <a:custGeom>
              <a:avLst/>
              <a:gdLst>
                <a:gd name="T0" fmla="*/ 13 w 36"/>
                <a:gd name="T1" fmla="*/ 32 h 32"/>
                <a:gd name="T2" fmla="*/ 19 w 36"/>
                <a:gd name="T3" fmla="*/ 27 h 32"/>
                <a:gd name="T4" fmla="*/ 30 w 36"/>
                <a:gd name="T5" fmla="*/ 29 h 32"/>
                <a:gd name="T6" fmla="*/ 35 w 36"/>
                <a:gd name="T7" fmla="*/ 20 h 32"/>
                <a:gd name="T8" fmla="*/ 20 w 36"/>
                <a:gd name="T9" fmla="*/ 8 h 32"/>
                <a:gd name="T10" fmla="*/ 20 w 36"/>
                <a:gd name="T11" fmla="*/ 0 h 32"/>
                <a:gd name="T12" fmla="*/ 12 w 36"/>
                <a:gd name="T13" fmla="*/ 4 h 32"/>
                <a:gd name="T14" fmla="*/ 2 w 36"/>
                <a:gd name="T15" fmla="*/ 18 h 32"/>
                <a:gd name="T16" fmla="*/ 1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63" name="Lithuania">
              <a:extLst>
                <a:ext uri="{FF2B5EF4-FFF2-40B4-BE49-F238E27FC236}">
                  <a16:creationId xmlns:a16="http://schemas.microsoft.com/office/drawing/2014/main" id="{917EA8D6-77B2-4D9E-8345-52FE486A83C2}"/>
                </a:ext>
              </a:extLst>
            </p:cNvPr>
            <p:cNvSpPr>
              <a:spLocks/>
            </p:cNvSpPr>
            <p:nvPr/>
          </p:nvSpPr>
          <p:spPr bwMode="gray">
            <a:xfrm>
              <a:off x="6640849" y="3878210"/>
              <a:ext cx="450317" cy="300717"/>
            </a:xfrm>
            <a:custGeom>
              <a:avLst/>
              <a:gdLst>
                <a:gd name="T0" fmla="*/ 222 w 230"/>
                <a:gd name="T1" fmla="*/ 42 h 132"/>
                <a:gd name="T2" fmla="*/ 210 w 230"/>
                <a:gd name="T3" fmla="*/ 38 h 132"/>
                <a:gd name="T4" fmla="*/ 195 w 230"/>
                <a:gd name="T5" fmla="*/ 30 h 132"/>
                <a:gd name="T6" fmla="*/ 184 w 230"/>
                <a:gd name="T7" fmla="*/ 20 h 132"/>
                <a:gd name="T8" fmla="*/ 157 w 230"/>
                <a:gd name="T9" fmla="*/ 17 h 132"/>
                <a:gd name="T10" fmla="*/ 145 w 230"/>
                <a:gd name="T11" fmla="*/ 4 h 132"/>
                <a:gd name="T12" fmla="*/ 128 w 230"/>
                <a:gd name="T13" fmla="*/ 12 h 132"/>
                <a:gd name="T14" fmla="*/ 113 w 230"/>
                <a:gd name="T15" fmla="*/ 8 h 132"/>
                <a:gd name="T16" fmla="*/ 104 w 230"/>
                <a:gd name="T17" fmla="*/ 13 h 132"/>
                <a:gd name="T18" fmla="*/ 81 w 230"/>
                <a:gd name="T19" fmla="*/ 7 h 132"/>
                <a:gd name="T20" fmla="*/ 73 w 230"/>
                <a:gd name="T21" fmla="*/ 9 h 132"/>
                <a:gd name="T22" fmla="*/ 60 w 230"/>
                <a:gd name="T23" fmla="*/ 2 h 132"/>
                <a:gd name="T24" fmla="*/ 46 w 230"/>
                <a:gd name="T25" fmla="*/ 5 h 132"/>
                <a:gd name="T26" fmla="*/ 13 w 230"/>
                <a:gd name="T27" fmla="*/ 11 h 132"/>
                <a:gd name="T28" fmla="*/ 0 w 230"/>
                <a:gd name="T29" fmla="*/ 16 h 132"/>
                <a:gd name="T30" fmla="*/ 1 w 230"/>
                <a:gd name="T31" fmla="*/ 23 h 132"/>
                <a:gd name="T32" fmla="*/ 11 w 230"/>
                <a:gd name="T33" fmla="*/ 60 h 132"/>
                <a:gd name="T34" fmla="*/ 14 w 230"/>
                <a:gd name="T35" fmla="*/ 64 h 132"/>
                <a:gd name="T36" fmla="*/ 19 w 230"/>
                <a:gd name="T37" fmla="*/ 64 h 132"/>
                <a:gd name="T38" fmla="*/ 22 w 230"/>
                <a:gd name="T39" fmla="*/ 70 h 132"/>
                <a:gd name="T40" fmla="*/ 30 w 230"/>
                <a:gd name="T41" fmla="*/ 69 h 132"/>
                <a:gd name="T42" fmla="*/ 32 w 230"/>
                <a:gd name="T43" fmla="*/ 75 h 132"/>
                <a:gd name="T44" fmla="*/ 64 w 230"/>
                <a:gd name="T45" fmla="*/ 71 h 132"/>
                <a:gd name="T46" fmla="*/ 74 w 230"/>
                <a:gd name="T47" fmla="*/ 86 h 132"/>
                <a:gd name="T48" fmla="*/ 65 w 230"/>
                <a:gd name="T49" fmla="*/ 98 h 132"/>
                <a:gd name="T50" fmla="*/ 70 w 230"/>
                <a:gd name="T51" fmla="*/ 108 h 132"/>
                <a:gd name="T52" fmla="*/ 74 w 230"/>
                <a:gd name="T53" fmla="*/ 108 h 132"/>
                <a:gd name="T54" fmla="*/ 103 w 230"/>
                <a:gd name="T55" fmla="*/ 119 h 132"/>
                <a:gd name="T56" fmla="*/ 103 w 230"/>
                <a:gd name="T57" fmla="*/ 132 h 132"/>
                <a:gd name="T58" fmla="*/ 127 w 230"/>
                <a:gd name="T59" fmla="*/ 127 h 132"/>
                <a:gd name="T60" fmla="*/ 137 w 230"/>
                <a:gd name="T61" fmla="*/ 132 h 132"/>
                <a:gd name="T62" fmla="*/ 155 w 230"/>
                <a:gd name="T63" fmla="*/ 132 h 132"/>
                <a:gd name="T64" fmla="*/ 157 w 230"/>
                <a:gd name="T65" fmla="*/ 122 h 132"/>
                <a:gd name="T66" fmla="*/ 165 w 230"/>
                <a:gd name="T67" fmla="*/ 130 h 132"/>
                <a:gd name="T68" fmla="*/ 169 w 230"/>
                <a:gd name="T69" fmla="*/ 122 h 132"/>
                <a:gd name="T70" fmla="*/ 187 w 230"/>
                <a:gd name="T71" fmla="*/ 115 h 132"/>
                <a:gd name="T72" fmla="*/ 193 w 230"/>
                <a:gd name="T73" fmla="*/ 123 h 132"/>
                <a:gd name="T74" fmla="*/ 188 w 230"/>
                <a:gd name="T75" fmla="*/ 103 h 132"/>
                <a:gd name="T76" fmla="*/ 195 w 230"/>
                <a:gd name="T77" fmla="*/ 96 h 132"/>
                <a:gd name="T78" fmla="*/ 193 w 230"/>
                <a:gd name="T79" fmla="*/ 81 h 132"/>
                <a:gd name="T80" fmla="*/ 208 w 230"/>
                <a:gd name="T81" fmla="*/ 79 h 132"/>
                <a:gd name="T82" fmla="*/ 204 w 230"/>
                <a:gd name="T83" fmla="*/ 66 h 132"/>
                <a:gd name="T84" fmla="*/ 217 w 230"/>
                <a:gd name="T85" fmla="*/ 71 h 132"/>
                <a:gd name="T86" fmla="*/ 230 w 230"/>
                <a:gd name="T87" fmla="*/ 65 h 132"/>
                <a:gd name="T88" fmla="*/ 216 w 230"/>
                <a:gd name="T89" fmla="*/ 50 h 132"/>
                <a:gd name="T90" fmla="*/ 222 w 230"/>
                <a:gd name="T91" fmla="*/ 4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56" name="Liechtenstein">
              <a:extLst>
                <a:ext uri="{FF2B5EF4-FFF2-40B4-BE49-F238E27FC236}">
                  <a16:creationId xmlns:a16="http://schemas.microsoft.com/office/drawing/2014/main" id="{C1E6C6F6-CBD3-410F-A43F-E8057AF20A70}"/>
                </a:ext>
              </a:extLst>
            </p:cNvPr>
            <p:cNvSpPr>
              <a:spLocks/>
            </p:cNvSpPr>
            <p:nvPr/>
          </p:nvSpPr>
          <p:spPr bwMode="gray">
            <a:xfrm>
              <a:off x="5729089" y="4969949"/>
              <a:ext cx="27794" cy="39226"/>
            </a:xfrm>
            <a:custGeom>
              <a:avLst/>
              <a:gdLst>
                <a:gd name="T0" fmla="*/ 11 w 15"/>
                <a:gd name="T1" fmla="*/ 1 h 16"/>
                <a:gd name="T2" fmla="*/ 4 w 15"/>
                <a:gd name="T3" fmla="*/ 14 h 16"/>
                <a:gd name="T4" fmla="*/ 12 w 15"/>
                <a:gd name="T5" fmla="*/ 16 h 16"/>
                <a:gd name="T6" fmla="*/ 15 w 15"/>
                <a:gd name="T7" fmla="*/ 16 h 16"/>
                <a:gd name="T8" fmla="*/ 15 w 15"/>
                <a:gd name="T9" fmla="*/ 6 h 16"/>
                <a:gd name="T10" fmla="*/ 13 w 15"/>
                <a:gd name="T11" fmla="*/ 0 h 16"/>
                <a:gd name="T12" fmla="*/ 11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76" name="Latvia">
              <a:extLst>
                <a:ext uri="{FF2B5EF4-FFF2-40B4-BE49-F238E27FC236}">
                  <a16:creationId xmlns:a16="http://schemas.microsoft.com/office/drawing/2014/main" id="{7B13FEA3-6823-4C71-ACED-E9DD935F0DC4}"/>
                </a:ext>
              </a:extLst>
            </p:cNvPr>
            <p:cNvSpPr>
              <a:spLocks/>
            </p:cNvSpPr>
            <p:nvPr/>
          </p:nvSpPr>
          <p:spPr bwMode="gray">
            <a:xfrm>
              <a:off x="6629732" y="3688624"/>
              <a:ext cx="561509" cy="287645"/>
            </a:xfrm>
            <a:custGeom>
              <a:avLst/>
              <a:gdLst>
                <a:gd name="T0" fmla="*/ 5 w 286"/>
                <a:gd name="T1" fmla="*/ 97 h 123"/>
                <a:gd name="T2" fmla="*/ 18 w 286"/>
                <a:gd name="T3" fmla="*/ 92 h 123"/>
                <a:gd name="T4" fmla="*/ 51 w 286"/>
                <a:gd name="T5" fmla="*/ 86 h 123"/>
                <a:gd name="T6" fmla="*/ 65 w 286"/>
                <a:gd name="T7" fmla="*/ 83 h 123"/>
                <a:gd name="T8" fmla="*/ 78 w 286"/>
                <a:gd name="T9" fmla="*/ 90 h 123"/>
                <a:gd name="T10" fmla="*/ 86 w 286"/>
                <a:gd name="T11" fmla="*/ 88 h 123"/>
                <a:gd name="T12" fmla="*/ 109 w 286"/>
                <a:gd name="T13" fmla="*/ 94 h 123"/>
                <a:gd name="T14" fmla="*/ 118 w 286"/>
                <a:gd name="T15" fmla="*/ 89 h 123"/>
                <a:gd name="T16" fmla="*/ 133 w 286"/>
                <a:gd name="T17" fmla="*/ 93 h 123"/>
                <a:gd name="T18" fmla="*/ 150 w 286"/>
                <a:gd name="T19" fmla="*/ 85 h 123"/>
                <a:gd name="T20" fmla="*/ 162 w 286"/>
                <a:gd name="T21" fmla="*/ 98 h 123"/>
                <a:gd name="T22" fmla="*/ 189 w 286"/>
                <a:gd name="T23" fmla="*/ 101 h 123"/>
                <a:gd name="T24" fmla="*/ 200 w 286"/>
                <a:gd name="T25" fmla="*/ 111 h 123"/>
                <a:gd name="T26" fmla="*/ 215 w 286"/>
                <a:gd name="T27" fmla="*/ 119 h 123"/>
                <a:gd name="T28" fmla="*/ 227 w 286"/>
                <a:gd name="T29" fmla="*/ 123 h 123"/>
                <a:gd name="T30" fmla="*/ 243 w 286"/>
                <a:gd name="T31" fmla="*/ 113 h 123"/>
                <a:gd name="T32" fmla="*/ 259 w 286"/>
                <a:gd name="T33" fmla="*/ 119 h 123"/>
                <a:gd name="T34" fmla="*/ 264 w 286"/>
                <a:gd name="T35" fmla="*/ 113 h 123"/>
                <a:gd name="T36" fmla="*/ 278 w 286"/>
                <a:gd name="T37" fmla="*/ 100 h 123"/>
                <a:gd name="T38" fmla="*/ 286 w 286"/>
                <a:gd name="T39" fmla="*/ 101 h 123"/>
                <a:gd name="T40" fmla="*/ 280 w 286"/>
                <a:gd name="T41" fmla="*/ 82 h 123"/>
                <a:gd name="T42" fmla="*/ 268 w 286"/>
                <a:gd name="T43" fmla="*/ 65 h 123"/>
                <a:gd name="T44" fmla="*/ 255 w 286"/>
                <a:gd name="T45" fmla="*/ 61 h 123"/>
                <a:gd name="T46" fmla="*/ 256 w 286"/>
                <a:gd name="T47" fmla="*/ 52 h 123"/>
                <a:gd name="T48" fmla="*/ 268 w 286"/>
                <a:gd name="T49" fmla="*/ 45 h 123"/>
                <a:gd name="T50" fmla="*/ 246 w 286"/>
                <a:gd name="T51" fmla="*/ 30 h 123"/>
                <a:gd name="T52" fmla="*/ 238 w 286"/>
                <a:gd name="T53" fmla="*/ 31 h 123"/>
                <a:gd name="T54" fmla="*/ 225 w 286"/>
                <a:gd name="T55" fmla="*/ 26 h 123"/>
                <a:gd name="T56" fmla="*/ 214 w 286"/>
                <a:gd name="T57" fmla="*/ 32 h 123"/>
                <a:gd name="T58" fmla="*/ 194 w 286"/>
                <a:gd name="T59" fmla="*/ 20 h 123"/>
                <a:gd name="T60" fmla="*/ 166 w 286"/>
                <a:gd name="T61" fmla="*/ 3 h 123"/>
                <a:gd name="T62" fmla="*/ 145 w 286"/>
                <a:gd name="T63" fmla="*/ 4 h 123"/>
                <a:gd name="T64" fmla="*/ 124 w 286"/>
                <a:gd name="T65" fmla="*/ 10 h 123"/>
                <a:gd name="T66" fmla="*/ 120 w 286"/>
                <a:gd name="T67" fmla="*/ 10 h 123"/>
                <a:gd name="T68" fmla="*/ 119 w 286"/>
                <a:gd name="T69" fmla="*/ 12 h 123"/>
                <a:gd name="T70" fmla="*/ 123 w 286"/>
                <a:gd name="T71" fmla="*/ 55 h 123"/>
                <a:gd name="T72" fmla="*/ 86 w 286"/>
                <a:gd name="T73" fmla="*/ 52 h 123"/>
                <a:gd name="T74" fmla="*/ 79 w 286"/>
                <a:gd name="T75" fmla="*/ 37 h 123"/>
                <a:gd name="T76" fmla="*/ 56 w 286"/>
                <a:gd name="T77" fmla="*/ 18 h 123"/>
                <a:gd name="T78" fmla="*/ 21 w 286"/>
                <a:gd name="T79" fmla="*/ 30 h 123"/>
                <a:gd name="T80" fmla="*/ 16 w 286"/>
                <a:gd name="T81" fmla="*/ 46 h 123"/>
                <a:gd name="T82" fmla="*/ 0 w 286"/>
                <a:gd name="T83" fmla="*/ 69 h 123"/>
                <a:gd name="T84" fmla="*/ 6 w 286"/>
                <a:gd name="T85" fmla="*/ 104 h 123"/>
                <a:gd name="T86" fmla="*/ 5 w 286"/>
                <a:gd name="T87" fmla="*/ 9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65" name="Italy">
              <a:extLst>
                <a:ext uri="{FF2B5EF4-FFF2-40B4-BE49-F238E27FC236}">
                  <a16:creationId xmlns:a16="http://schemas.microsoft.com/office/drawing/2014/main" id="{874EF05A-47D1-4777-B226-BCDA5D23D6E8}"/>
                </a:ext>
              </a:extLst>
            </p:cNvPr>
            <p:cNvSpPr>
              <a:spLocks noEditPoints="1"/>
            </p:cNvSpPr>
            <p:nvPr/>
          </p:nvSpPr>
          <p:spPr bwMode="gray">
            <a:xfrm>
              <a:off x="5501151" y="4996093"/>
              <a:ext cx="1028509" cy="1274786"/>
            </a:xfrm>
            <a:custGeom>
              <a:avLst/>
              <a:gdLst>
                <a:gd name="T0" fmla="*/ 341 w 523"/>
                <a:gd name="T1" fmla="*/ 483 h 554"/>
                <a:gd name="T2" fmla="*/ 278 w 523"/>
                <a:gd name="T3" fmla="*/ 485 h 554"/>
                <a:gd name="T4" fmla="*/ 281 w 523"/>
                <a:gd name="T5" fmla="*/ 507 h 554"/>
                <a:gd name="T6" fmla="*/ 330 w 523"/>
                <a:gd name="T7" fmla="*/ 531 h 554"/>
                <a:gd name="T8" fmla="*/ 372 w 523"/>
                <a:gd name="T9" fmla="*/ 513 h 554"/>
                <a:gd name="T10" fmla="*/ 378 w 523"/>
                <a:gd name="T11" fmla="*/ 479 h 554"/>
                <a:gd name="T12" fmla="*/ 68 w 523"/>
                <a:gd name="T13" fmla="*/ 320 h 554"/>
                <a:gd name="T14" fmla="*/ 75 w 523"/>
                <a:gd name="T15" fmla="*/ 381 h 554"/>
                <a:gd name="T16" fmla="*/ 78 w 523"/>
                <a:gd name="T17" fmla="*/ 424 h 554"/>
                <a:gd name="T18" fmla="*/ 103 w 523"/>
                <a:gd name="T19" fmla="*/ 414 h 554"/>
                <a:gd name="T20" fmla="*/ 133 w 523"/>
                <a:gd name="T21" fmla="*/ 388 h 554"/>
                <a:gd name="T22" fmla="*/ 140 w 523"/>
                <a:gd name="T23" fmla="*/ 352 h 554"/>
                <a:gd name="T24" fmla="*/ 481 w 523"/>
                <a:gd name="T25" fmla="*/ 337 h 554"/>
                <a:gd name="T26" fmla="*/ 414 w 523"/>
                <a:gd name="T27" fmla="*/ 281 h 554"/>
                <a:gd name="T28" fmla="*/ 311 w 523"/>
                <a:gd name="T29" fmla="*/ 216 h 554"/>
                <a:gd name="T30" fmla="*/ 249 w 523"/>
                <a:gd name="T31" fmla="*/ 148 h 554"/>
                <a:gd name="T32" fmla="*/ 244 w 523"/>
                <a:gd name="T33" fmla="*/ 92 h 554"/>
                <a:gd name="T34" fmla="*/ 294 w 523"/>
                <a:gd name="T35" fmla="*/ 46 h 554"/>
                <a:gd name="T36" fmla="*/ 265 w 523"/>
                <a:gd name="T37" fmla="*/ 29 h 554"/>
                <a:gd name="T38" fmla="*/ 243 w 523"/>
                <a:gd name="T39" fmla="*/ 16 h 554"/>
                <a:gd name="T40" fmla="*/ 195 w 523"/>
                <a:gd name="T41" fmla="*/ 7 h 554"/>
                <a:gd name="T42" fmla="*/ 165 w 523"/>
                <a:gd name="T43" fmla="*/ 16 h 554"/>
                <a:gd name="T44" fmla="*/ 154 w 523"/>
                <a:gd name="T45" fmla="*/ 40 h 554"/>
                <a:gd name="T46" fmla="*/ 124 w 523"/>
                <a:gd name="T47" fmla="*/ 44 h 554"/>
                <a:gd name="T48" fmla="*/ 107 w 523"/>
                <a:gd name="T49" fmla="*/ 54 h 554"/>
                <a:gd name="T50" fmla="*/ 85 w 523"/>
                <a:gd name="T51" fmla="*/ 51 h 554"/>
                <a:gd name="T52" fmla="*/ 60 w 523"/>
                <a:gd name="T53" fmla="*/ 62 h 554"/>
                <a:gd name="T54" fmla="*/ 19 w 523"/>
                <a:gd name="T55" fmla="*/ 64 h 554"/>
                <a:gd name="T56" fmla="*/ 28 w 523"/>
                <a:gd name="T57" fmla="*/ 93 h 554"/>
                <a:gd name="T58" fmla="*/ 6 w 523"/>
                <a:gd name="T59" fmla="*/ 118 h 554"/>
                <a:gd name="T60" fmla="*/ 12 w 523"/>
                <a:gd name="T61" fmla="*/ 141 h 554"/>
                <a:gd name="T62" fmla="*/ 45 w 523"/>
                <a:gd name="T63" fmla="*/ 160 h 554"/>
                <a:gd name="T64" fmla="*/ 58 w 523"/>
                <a:gd name="T65" fmla="*/ 173 h 554"/>
                <a:gd name="T66" fmla="*/ 160 w 523"/>
                <a:gd name="T67" fmla="*/ 192 h 554"/>
                <a:gd name="T68" fmla="*/ 193 w 523"/>
                <a:gd name="T69" fmla="*/ 236 h 554"/>
                <a:gd name="T70" fmla="*/ 259 w 523"/>
                <a:gd name="T71" fmla="*/ 294 h 554"/>
                <a:gd name="T72" fmla="*/ 325 w 523"/>
                <a:gd name="T73" fmla="*/ 334 h 554"/>
                <a:gd name="T74" fmla="*/ 397 w 523"/>
                <a:gd name="T75" fmla="*/ 373 h 554"/>
                <a:gd name="T76" fmla="*/ 418 w 523"/>
                <a:gd name="T77" fmla="*/ 446 h 554"/>
                <a:gd name="T78" fmla="*/ 395 w 523"/>
                <a:gd name="T79" fmla="*/ 489 h 554"/>
                <a:gd name="T80" fmla="*/ 435 w 523"/>
                <a:gd name="T81" fmla="*/ 466 h 554"/>
                <a:gd name="T82" fmla="*/ 452 w 523"/>
                <a:gd name="T83" fmla="*/ 408 h 554"/>
                <a:gd name="T84" fmla="*/ 468 w 523"/>
                <a:gd name="T85" fmla="*/ 361 h 554"/>
                <a:gd name="T86" fmla="*/ 515 w 523"/>
                <a:gd name="T87" fmla="*/ 363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1" y="9"/>
                    <a:pt x="221"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4" y="44"/>
                    <a:pt x="124" y="44"/>
                    <a:pt x="124"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83" name="Ireland">
              <a:extLst>
                <a:ext uri="{FF2B5EF4-FFF2-40B4-BE49-F238E27FC236}">
                  <a16:creationId xmlns:a16="http://schemas.microsoft.com/office/drawing/2014/main" id="{62CFBCAB-0B99-4E53-BDC8-B22120A0BF33}"/>
                </a:ext>
              </a:extLst>
            </p:cNvPr>
            <p:cNvSpPr>
              <a:spLocks/>
            </p:cNvSpPr>
            <p:nvPr/>
          </p:nvSpPr>
          <p:spPr bwMode="gray">
            <a:xfrm>
              <a:off x="4161303" y="4015491"/>
              <a:ext cx="372485" cy="464155"/>
            </a:xfrm>
            <a:custGeom>
              <a:avLst/>
              <a:gdLst>
                <a:gd name="T0" fmla="*/ 186 w 189"/>
                <a:gd name="T1" fmla="*/ 104 h 202"/>
                <a:gd name="T2" fmla="*/ 177 w 189"/>
                <a:gd name="T3" fmla="*/ 87 h 202"/>
                <a:gd name="T4" fmla="*/ 175 w 189"/>
                <a:gd name="T5" fmla="*/ 73 h 202"/>
                <a:gd name="T6" fmla="*/ 189 w 189"/>
                <a:gd name="T7" fmla="*/ 66 h 202"/>
                <a:gd name="T8" fmla="*/ 167 w 189"/>
                <a:gd name="T9" fmla="*/ 61 h 202"/>
                <a:gd name="T10" fmla="*/ 155 w 189"/>
                <a:gd name="T11" fmla="*/ 45 h 202"/>
                <a:gd name="T12" fmla="*/ 138 w 189"/>
                <a:gd name="T13" fmla="*/ 61 h 202"/>
                <a:gd name="T14" fmla="*/ 113 w 189"/>
                <a:gd name="T15" fmla="*/ 51 h 202"/>
                <a:gd name="T16" fmla="*/ 129 w 189"/>
                <a:gd name="T17" fmla="*/ 38 h 202"/>
                <a:gd name="T18" fmla="*/ 128 w 189"/>
                <a:gd name="T19" fmla="*/ 28 h 202"/>
                <a:gd name="T20" fmla="*/ 158 w 189"/>
                <a:gd name="T21" fmla="*/ 14 h 202"/>
                <a:gd name="T22" fmla="*/ 161 w 189"/>
                <a:gd name="T23" fmla="*/ 7 h 202"/>
                <a:gd name="T24" fmla="*/ 153 w 189"/>
                <a:gd name="T25" fmla="*/ 2 h 202"/>
                <a:gd name="T26" fmla="*/ 138 w 189"/>
                <a:gd name="T27" fmla="*/ 14 h 202"/>
                <a:gd name="T28" fmla="*/ 134 w 189"/>
                <a:gd name="T29" fmla="*/ 4 h 202"/>
                <a:gd name="T30" fmla="*/ 107 w 189"/>
                <a:gd name="T31" fmla="*/ 9 h 202"/>
                <a:gd name="T32" fmla="*/ 99 w 189"/>
                <a:gd name="T33" fmla="*/ 30 h 202"/>
                <a:gd name="T34" fmla="*/ 84 w 189"/>
                <a:gd name="T35" fmla="*/ 35 h 202"/>
                <a:gd name="T36" fmla="*/ 102 w 189"/>
                <a:gd name="T37" fmla="*/ 44 h 202"/>
                <a:gd name="T38" fmla="*/ 92 w 189"/>
                <a:gd name="T39" fmla="*/ 50 h 202"/>
                <a:gd name="T40" fmla="*/ 87 w 189"/>
                <a:gd name="T41" fmla="*/ 57 h 202"/>
                <a:gd name="T42" fmla="*/ 69 w 189"/>
                <a:gd name="T43" fmla="*/ 56 h 202"/>
                <a:gd name="T44" fmla="*/ 69 w 189"/>
                <a:gd name="T45" fmla="*/ 61 h 202"/>
                <a:gd name="T46" fmla="*/ 48 w 189"/>
                <a:gd name="T47" fmla="*/ 51 h 202"/>
                <a:gd name="T48" fmla="*/ 30 w 189"/>
                <a:gd name="T49" fmla="*/ 54 h 202"/>
                <a:gd name="T50" fmla="*/ 33 w 189"/>
                <a:gd name="T51" fmla="*/ 71 h 202"/>
                <a:gd name="T52" fmla="*/ 42 w 189"/>
                <a:gd name="T53" fmla="*/ 79 h 202"/>
                <a:gd name="T54" fmla="*/ 31 w 189"/>
                <a:gd name="T55" fmla="*/ 86 h 202"/>
                <a:gd name="T56" fmla="*/ 25 w 189"/>
                <a:gd name="T57" fmla="*/ 98 h 202"/>
                <a:gd name="T58" fmla="*/ 48 w 189"/>
                <a:gd name="T59" fmla="*/ 107 h 202"/>
                <a:gd name="T60" fmla="*/ 66 w 189"/>
                <a:gd name="T61" fmla="*/ 107 h 202"/>
                <a:gd name="T62" fmla="*/ 50 w 189"/>
                <a:gd name="T63" fmla="*/ 116 h 202"/>
                <a:gd name="T64" fmla="*/ 50 w 189"/>
                <a:gd name="T65" fmla="*/ 130 h 202"/>
                <a:gd name="T66" fmla="*/ 35 w 189"/>
                <a:gd name="T67" fmla="*/ 134 h 202"/>
                <a:gd name="T68" fmla="*/ 30 w 189"/>
                <a:gd name="T69" fmla="*/ 156 h 202"/>
                <a:gd name="T70" fmla="*/ 4 w 189"/>
                <a:gd name="T71" fmla="*/ 161 h 202"/>
                <a:gd name="T72" fmla="*/ 15 w 189"/>
                <a:gd name="T73" fmla="*/ 167 h 202"/>
                <a:gd name="T74" fmla="*/ 0 w 189"/>
                <a:gd name="T75" fmla="*/ 176 h 202"/>
                <a:gd name="T76" fmla="*/ 7 w 189"/>
                <a:gd name="T77" fmla="*/ 183 h 202"/>
                <a:gd name="T78" fmla="*/ 30 w 189"/>
                <a:gd name="T79" fmla="*/ 180 h 202"/>
                <a:gd name="T80" fmla="*/ 19 w 189"/>
                <a:gd name="T81" fmla="*/ 192 h 202"/>
                <a:gd name="T82" fmla="*/ 35 w 189"/>
                <a:gd name="T83" fmla="*/ 190 h 202"/>
                <a:gd name="T84" fmla="*/ 29 w 189"/>
                <a:gd name="T85" fmla="*/ 202 h 202"/>
                <a:gd name="T86" fmla="*/ 74 w 189"/>
                <a:gd name="T87" fmla="*/ 191 h 202"/>
                <a:gd name="T88" fmla="*/ 83 w 189"/>
                <a:gd name="T89" fmla="*/ 178 h 202"/>
                <a:gd name="T90" fmla="*/ 102 w 189"/>
                <a:gd name="T91" fmla="*/ 178 h 202"/>
                <a:gd name="T92" fmla="*/ 124 w 189"/>
                <a:gd name="T93" fmla="*/ 166 h 202"/>
                <a:gd name="T94" fmla="*/ 140 w 189"/>
                <a:gd name="T95" fmla="*/ 165 h 202"/>
                <a:gd name="T96" fmla="*/ 143 w 189"/>
                <a:gd name="T97" fmla="*/ 159 h 202"/>
                <a:gd name="T98" fmla="*/ 168 w 189"/>
                <a:gd name="T99" fmla="*/ 160 h 202"/>
                <a:gd name="T100" fmla="*/ 167 w 189"/>
                <a:gd name="T101" fmla="*/ 148 h 202"/>
                <a:gd name="T102" fmla="*/ 179 w 189"/>
                <a:gd name="T103" fmla="*/ 146 h 202"/>
                <a:gd name="T104" fmla="*/ 178 w 189"/>
                <a:gd name="T105" fmla="*/ 133 h 202"/>
                <a:gd name="T106" fmla="*/ 186 w 189"/>
                <a:gd name="T107" fmla="*/ 10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202">
                  <a:moveTo>
                    <a:pt x="186" y="104"/>
                  </a:moveTo>
                  <a:cubicBezTo>
                    <a:pt x="186" y="94"/>
                    <a:pt x="177" y="87"/>
                    <a:pt x="177" y="87"/>
                  </a:cubicBezTo>
                  <a:cubicBezTo>
                    <a:pt x="177" y="87"/>
                    <a:pt x="177" y="78"/>
                    <a:pt x="175"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7" y="183"/>
                    <a:pt x="7"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50" name="Iceland">
              <a:extLst>
                <a:ext uri="{FF2B5EF4-FFF2-40B4-BE49-F238E27FC236}">
                  <a16:creationId xmlns:a16="http://schemas.microsoft.com/office/drawing/2014/main" id="{0D9D7D6A-1A63-46F2-B661-B1D0D88DFDE6}"/>
                </a:ext>
              </a:extLst>
            </p:cNvPr>
            <p:cNvSpPr>
              <a:spLocks/>
            </p:cNvSpPr>
            <p:nvPr/>
          </p:nvSpPr>
          <p:spPr bwMode="gray">
            <a:xfrm>
              <a:off x="3371853" y="2753781"/>
              <a:ext cx="778334" cy="346482"/>
            </a:xfrm>
            <a:custGeom>
              <a:avLst/>
              <a:gdLst>
                <a:gd name="T0" fmla="*/ 207 w 396"/>
                <a:gd name="T1" fmla="*/ 144 h 152"/>
                <a:gd name="T2" fmla="*/ 238 w 396"/>
                <a:gd name="T3" fmla="*/ 136 h 152"/>
                <a:gd name="T4" fmla="*/ 262 w 396"/>
                <a:gd name="T5" fmla="*/ 130 h 152"/>
                <a:gd name="T6" fmla="*/ 339 w 396"/>
                <a:gd name="T7" fmla="*/ 105 h 152"/>
                <a:gd name="T8" fmla="*/ 363 w 396"/>
                <a:gd name="T9" fmla="*/ 83 h 152"/>
                <a:gd name="T10" fmla="*/ 373 w 396"/>
                <a:gd name="T11" fmla="*/ 68 h 152"/>
                <a:gd name="T12" fmla="*/ 356 w 396"/>
                <a:gd name="T13" fmla="*/ 50 h 152"/>
                <a:gd name="T14" fmla="*/ 341 w 396"/>
                <a:gd name="T15" fmla="*/ 41 h 152"/>
                <a:gd name="T16" fmla="*/ 342 w 396"/>
                <a:gd name="T17" fmla="*/ 24 h 152"/>
                <a:gd name="T18" fmla="*/ 325 w 396"/>
                <a:gd name="T19" fmla="*/ 17 h 152"/>
                <a:gd name="T20" fmla="*/ 294 w 396"/>
                <a:gd name="T21" fmla="*/ 16 h 152"/>
                <a:gd name="T22" fmla="*/ 262 w 396"/>
                <a:gd name="T23" fmla="*/ 19 h 152"/>
                <a:gd name="T24" fmla="*/ 227 w 396"/>
                <a:gd name="T25" fmla="*/ 19 h 152"/>
                <a:gd name="T26" fmla="*/ 201 w 396"/>
                <a:gd name="T27" fmla="*/ 16 h 152"/>
                <a:gd name="T28" fmla="*/ 182 w 396"/>
                <a:gd name="T29" fmla="*/ 26 h 152"/>
                <a:gd name="T30" fmla="*/ 171 w 396"/>
                <a:gd name="T31" fmla="*/ 39 h 152"/>
                <a:gd name="T32" fmla="*/ 145 w 396"/>
                <a:gd name="T33" fmla="*/ 50 h 152"/>
                <a:gd name="T34" fmla="*/ 112 w 396"/>
                <a:gd name="T35" fmla="*/ 63 h 152"/>
                <a:gd name="T36" fmla="*/ 102 w 396"/>
                <a:gd name="T37" fmla="*/ 40 h 152"/>
                <a:gd name="T38" fmla="*/ 68 w 396"/>
                <a:gd name="T39" fmla="*/ 7 h 152"/>
                <a:gd name="T40" fmla="*/ 43 w 396"/>
                <a:gd name="T41" fmla="*/ 19 h 152"/>
                <a:gd name="T42" fmla="*/ 35 w 396"/>
                <a:gd name="T43" fmla="*/ 37 h 152"/>
                <a:gd name="T44" fmla="*/ 4 w 396"/>
                <a:gd name="T45" fmla="*/ 47 h 152"/>
                <a:gd name="T46" fmla="*/ 55 w 396"/>
                <a:gd name="T47" fmla="*/ 43 h 152"/>
                <a:gd name="T48" fmla="*/ 64 w 396"/>
                <a:gd name="T49" fmla="*/ 61 h 152"/>
                <a:gd name="T50" fmla="*/ 35 w 396"/>
                <a:gd name="T51" fmla="*/ 73 h 152"/>
                <a:gd name="T52" fmla="*/ 38 w 396"/>
                <a:gd name="T53" fmla="*/ 82 h 152"/>
                <a:gd name="T54" fmla="*/ 88 w 396"/>
                <a:gd name="T55" fmla="*/ 91 h 152"/>
                <a:gd name="T56" fmla="*/ 85 w 396"/>
                <a:gd name="T57" fmla="*/ 105 h 152"/>
                <a:gd name="T58" fmla="*/ 41 w 396"/>
                <a:gd name="T59" fmla="*/ 125 h 152"/>
                <a:gd name="T60" fmla="*/ 98 w 396"/>
                <a:gd name="T61" fmla="*/ 123 h 152"/>
                <a:gd name="T62" fmla="*/ 124 w 396"/>
                <a:gd name="T63" fmla="*/ 127 h 152"/>
                <a:gd name="T64" fmla="*/ 172 w 396"/>
                <a:gd name="T65" fmla="*/ 1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62" name="Hungary">
              <a:extLst>
                <a:ext uri="{FF2B5EF4-FFF2-40B4-BE49-F238E27FC236}">
                  <a16:creationId xmlns:a16="http://schemas.microsoft.com/office/drawing/2014/main" id="{E1DA05E6-04DA-466F-A033-40A9514652B3}"/>
                </a:ext>
              </a:extLst>
            </p:cNvPr>
            <p:cNvSpPr>
              <a:spLocks/>
            </p:cNvSpPr>
            <p:nvPr/>
          </p:nvSpPr>
          <p:spPr bwMode="gray">
            <a:xfrm>
              <a:off x="6296159" y="4819587"/>
              <a:ext cx="561509" cy="339943"/>
            </a:xfrm>
            <a:custGeom>
              <a:avLst/>
              <a:gdLst>
                <a:gd name="T0" fmla="*/ 31 w 286"/>
                <a:gd name="T1" fmla="*/ 43 h 148"/>
                <a:gd name="T2" fmla="*/ 16 w 286"/>
                <a:gd name="T3" fmla="*/ 43 h 148"/>
                <a:gd name="T4" fmla="*/ 15 w 286"/>
                <a:gd name="T5" fmla="*/ 52 h 148"/>
                <a:gd name="T6" fmla="*/ 23 w 286"/>
                <a:gd name="T7" fmla="*/ 53 h 148"/>
                <a:gd name="T8" fmla="*/ 15 w 286"/>
                <a:gd name="T9" fmla="*/ 65 h 148"/>
                <a:gd name="T10" fmla="*/ 15 w 286"/>
                <a:gd name="T11" fmla="*/ 79 h 148"/>
                <a:gd name="T12" fmla="*/ 2 w 286"/>
                <a:gd name="T13" fmla="*/ 81 h 148"/>
                <a:gd name="T14" fmla="*/ 0 w 286"/>
                <a:gd name="T15" fmla="*/ 85 h 148"/>
                <a:gd name="T16" fmla="*/ 7 w 286"/>
                <a:gd name="T17" fmla="*/ 90 h 148"/>
                <a:gd name="T18" fmla="*/ 10 w 286"/>
                <a:gd name="T19" fmla="*/ 100 h 148"/>
                <a:gd name="T20" fmla="*/ 20 w 286"/>
                <a:gd name="T21" fmla="*/ 107 h 148"/>
                <a:gd name="T22" fmla="*/ 34 w 286"/>
                <a:gd name="T23" fmla="*/ 120 h 148"/>
                <a:gd name="T24" fmla="*/ 54 w 286"/>
                <a:gd name="T25" fmla="*/ 137 h 148"/>
                <a:gd name="T26" fmla="*/ 63 w 286"/>
                <a:gd name="T27" fmla="*/ 141 h 148"/>
                <a:gd name="T28" fmla="*/ 75 w 286"/>
                <a:gd name="T29" fmla="*/ 141 h 148"/>
                <a:gd name="T30" fmla="*/ 78 w 286"/>
                <a:gd name="T31" fmla="*/ 148 h 148"/>
                <a:gd name="T32" fmla="*/ 106 w 286"/>
                <a:gd name="T33" fmla="*/ 145 h 148"/>
                <a:gd name="T34" fmla="*/ 112 w 286"/>
                <a:gd name="T35" fmla="*/ 139 h 148"/>
                <a:gd name="T36" fmla="*/ 115 w 286"/>
                <a:gd name="T37" fmla="*/ 140 h 148"/>
                <a:gd name="T38" fmla="*/ 118 w 286"/>
                <a:gd name="T39" fmla="*/ 136 h 148"/>
                <a:gd name="T40" fmla="*/ 133 w 286"/>
                <a:gd name="T41" fmla="*/ 136 h 148"/>
                <a:gd name="T42" fmla="*/ 145 w 286"/>
                <a:gd name="T43" fmla="*/ 125 h 148"/>
                <a:gd name="T44" fmla="*/ 163 w 286"/>
                <a:gd name="T45" fmla="*/ 125 h 148"/>
                <a:gd name="T46" fmla="*/ 176 w 286"/>
                <a:gd name="T47" fmla="*/ 131 h 148"/>
                <a:gd name="T48" fmla="*/ 192 w 286"/>
                <a:gd name="T49" fmla="*/ 127 h 148"/>
                <a:gd name="T50" fmla="*/ 194 w 286"/>
                <a:gd name="T51" fmla="*/ 118 h 148"/>
                <a:gd name="T52" fmla="*/ 205 w 286"/>
                <a:gd name="T53" fmla="*/ 120 h 148"/>
                <a:gd name="T54" fmla="*/ 221 w 286"/>
                <a:gd name="T55" fmla="*/ 110 h 148"/>
                <a:gd name="T56" fmla="*/ 222 w 286"/>
                <a:gd name="T57" fmla="*/ 96 h 148"/>
                <a:gd name="T58" fmla="*/ 238 w 286"/>
                <a:gd name="T59" fmla="*/ 83 h 148"/>
                <a:gd name="T60" fmla="*/ 245 w 286"/>
                <a:gd name="T61" fmla="*/ 66 h 148"/>
                <a:gd name="T62" fmla="*/ 246 w 286"/>
                <a:gd name="T63" fmla="*/ 48 h 148"/>
                <a:gd name="T64" fmla="*/ 266 w 286"/>
                <a:gd name="T65" fmla="*/ 41 h 148"/>
                <a:gd name="T66" fmla="*/ 286 w 286"/>
                <a:gd name="T67" fmla="*/ 27 h 148"/>
                <a:gd name="T68" fmla="*/ 264 w 286"/>
                <a:gd name="T69" fmla="*/ 19 h 148"/>
                <a:gd name="T70" fmla="*/ 248 w 286"/>
                <a:gd name="T71" fmla="*/ 6 h 148"/>
                <a:gd name="T72" fmla="*/ 219 w 286"/>
                <a:gd name="T73" fmla="*/ 10 h 148"/>
                <a:gd name="T74" fmla="*/ 213 w 286"/>
                <a:gd name="T75" fmla="*/ 0 h 148"/>
                <a:gd name="T76" fmla="*/ 208 w 286"/>
                <a:gd name="T77" fmla="*/ 11 h 148"/>
                <a:gd name="T78" fmla="*/ 199 w 286"/>
                <a:gd name="T79" fmla="*/ 10 h 148"/>
                <a:gd name="T80" fmla="*/ 196 w 286"/>
                <a:gd name="T81" fmla="*/ 0 h 148"/>
                <a:gd name="T82" fmla="*/ 180 w 286"/>
                <a:gd name="T83" fmla="*/ 0 h 148"/>
                <a:gd name="T84" fmla="*/ 169 w 286"/>
                <a:gd name="T85" fmla="*/ 16 h 148"/>
                <a:gd name="T86" fmla="*/ 143 w 286"/>
                <a:gd name="T87" fmla="*/ 20 h 148"/>
                <a:gd name="T88" fmla="*/ 136 w 286"/>
                <a:gd name="T89" fmla="*/ 28 h 148"/>
                <a:gd name="T90" fmla="*/ 112 w 286"/>
                <a:gd name="T91" fmla="*/ 25 h 148"/>
                <a:gd name="T92" fmla="*/ 106 w 286"/>
                <a:gd name="T93" fmla="*/ 41 h 148"/>
                <a:gd name="T94" fmla="*/ 65 w 286"/>
                <a:gd name="T95" fmla="*/ 44 h 148"/>
                <a:gd name="T96" fmla="*/ 45 w 286"/>
                <a:gd name="T97" fmla="*/ 28 h 148"/>
                <a:gd name="T98" fmla="*/ 38 w 286"/>
                <a:gd name="T99" fmla="*/ 39 h 148"/>
                <a:gd name="T100" fmla="*/ 32 w 286"/>
                <a:gd name="T101" fmla="*/ 34 h 148"/>
                <a:gd name="T102" fmla="*/ 31 w 286"/>
                <a:gd name="T103" fmla="*/ 4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6" h="148">
                  <a:moveTo>
                    <a:pt x="31" y="43"/>
                  </a:moveTo>
                  <a:cubicBezTo>
                    <a:pt x="16" y="43"/>
                    <a:pt x="16" y="43"/>
                    <a:pt x="16" y="43"/>
                  </a:cubicBezTo>
                  <a:cubicBezTo>
                    <a:pt x="15" y="52"/>
                    <a:pt x="15" y="52"/>
                    <a:pt x="15" y="52"/>
                  </a:cubicBezTo>
                  <a:cubicBezTo>
                    <a:pt x="23" y="53"/>
                    <a:pt x="23" y="53"/>
                    <a:pt x="23"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51" name="Greece">
              <a:extLst>
                <a:ext uri="{FF2B5EF4-FFF2-40B4-BE49-F238E27FC236}">
                  <a16:creationId xmlns:a16="http://schemas.microsoft.com/office/drawing/2014/main" id="{B95250C5-760D-44F9-84E3-41C6AD5F502A}"/>
                </a:ext>
              </a:extLst>
            </p:cNvPr>
            <p:cNvSpPr>
              <a:spLocks noEditPoints="1"/>
            </p:cNvSpPr>
            <p:nvPr/>
          </p:nvSpPr>
          <p:spPr bwMode="gray">
            <a:xfrm>
              <a:off x="6668651" y="5649830"/>
              <a:ext cx="711617" cy="843323"/>
            </a:xfrm>
            <a:custGeom>
              <a:avLst/>
              <a:gdLst>
                <a:gd name="T0" fmla="*/ 190 w 365"/>
                <a:gd name="T1" fmla="*/ 78 h 367"/>
                <a:gd name="T2" fmla="*/ 5 w 365"/>
                <a:gd name="T3" fmla="*/ 188 h 367"/>
                <a:gd name="T4" fmla="*/ 212 w 365"/>
                <a:gd name="T5" fmla="*/ 277 h 367"/>
                <a:gd name="T6" fmla="*/ 210 w 365"/>
                <a:gd name="T7" fmla="*/ 258 h 367"/>
                <a:gd name="T8" fmla="*/ 210 w 365"/>
                <a:gd name="T9" fmla="*/ 258 h 367"/>
                <a:gd name="T10" fmla="*/ 223 w 365"/>
                <a:gd name="T11" fmla="*/ 213 h 367"/>
                <a:gd name="T12" fmla="*/ 97 w 365"/>
                <a:gd name="T13" fmla="*/ 176 h 367"/>
                <a:gd name="T14" fmla="*/ 166 w 365"/>
                <a:gd name="T15" fmla="*/ 188 h 367"/>
                <a:gd name="T16" fmla="*/ 128 w 365"/>
                <a:gd name="T17" fmla="*/ 152 h 367"/>
                <a:gd name="T18" fmla="*/ 153 w 365"/>
                <a:gd name="T19" fmla="*/ 156 h 367"/>
                <a:gd name="T20" fmla="*/ 107 w 365"/>
                <a:gd name="T21" fmla="*/ 94 h 367"/>
                <a:gd name="T22" fmla="*/ 129 w 365"/>
                <a:gd name="T23" fmla="*/ 78 h 367"/>
                <a:gd name="T24" fmla="*/ 140 w 365"/>
                <a:gd name="T25" fmla="*/ 79 h 367"/>
                <a:gd name="T26" fmla="*/ 152 w 365"/>
                <a:gd name="T27" fmla="*/ 77 h 367"/>
                <a:gd name="T28" fmla="*/ 182 w 365"/>
                <a:gd name="T29" fmla="*/ 49 h 367"/>
                <a:gd name="T30" fmla="*/ 258 w 365"/>
                <a:gd name="T31" fmla="*/ 52 h 367"/>
                <a:gd name="T32" fmla="*/ 275 w 365"/>
                <a:gd name="T33" fmla="*/ 22 h 367"/>
                <a:gd name="T34" fmla="*/ 261 w 365"/>
                <a:gd name="T35" fmla="*/ 0 h 367"/>
                <a:gd name="T36" fmla="*/ 237 w 365"/>
                <a:gd name="T37" fmla="*/ 25 h 367"/>
                <a:gd name="T38" fmla="*/ 205 w 365"/>
                <a:gd name="T39" fmla="*/ 17 h 367"/>
                <a:gd name="T40" fmla="*/ 161 w 365"/>
                <a:gd name="T41" fmla="*/ 9 h 367"/>
                <a:gd name="T42" fmla="*/ 123 w 365"/>
                <a:gd name="T43" fmla="*/ 25 h 367"/>
                <a:gd name="T44" fmla="*/ 70 w 365"/>
                <a:gd name="T45" fmla="*/ 36 h 367"/>
                <a:gd name="T46" fmla="*/ 38 w 365"/>
                <a:gd name="T47" fmla="*/ 50 h 367"/>
                <a:gd name="T48" fmla="*/ 21 w 365"/>
                <a:gd name="T49" fmla="*/ 84 h 367"/>
                <a:gd name="T50" fmla="*/ 3 w 365"/>
                <a:gd name="T51" fmla="*/ 109 h 367"/>
                <a:gd name="T52" fmla="*/ 29 w 365"/>
                <a:gd name="T53" fmla="*/ 156 h 367"/>
                <a:gd name="T54" fmla="*/ 266 w 365"/>
                <a:gd name="T55" fmla="*/ 168 h 367"/>
                <a:gd name="T56" fmla="*/ 261 w 365"/>
                <a:gd name="T57" fmla="*/ 196 h 367"/>
                <a:gd name="T58" fmla="*/ 30 w 365"/>
                <a:gd name="T59" fmla="*/ 220 h 367"/>
                <a:gd name="T60" fmla="*/ 255 w 365"/>
                <a:gd name="T61" fmla="*/ 270 h 367"/>
                <a:gd name="T62" fmla="*/ 275 w 365"/>
                <a:gd name="T63" fmla="*/ 220 h 367"/>
                <a:gd name="T64" fmla="*/ 269 w 365"/>
                <a:gd name="T65" fmla="*/ 127 h 367"/>
                <a:gd name="T66" fmla="*/ 278 w 365"/>
                <a:gd name="T67" fmla="*/ 148 h 367"/>
                <a:gd name="T68" fmla="*/ 247 w 365"/>
                <a:gd name="T69" fmla="*/ 254 h 367"/>
                <a:gd name="T70" fmla="*/ 291 w 365"/>
                <a:gd name="T71" fmla="*/ 220 h 367"/>
                <a:gd name="T72" fmla="*/ 307 w 365"/>
                <a:gd name="T73" fmla="*/ 236 h 367"/>
                <a:gd name="T74" fmla="*/ 186 w 365"/>
                <a:gd name="T75" fmla="*/ 146 h 367"/>
                <a:gd name="T76" fmla="*/ 361 w 365"/>
                <a:gd name="T77" fmla="*/ 281 h 367"/>
                <a:gd name="T78" fmla="*/ 310 w 365"/>
                <a:gd name="T79" fmla="*/ 258 h 367"/>
                <a:gd name="T80" fmla="*/ 326 w 365"/>
                <a:gd name="T81" fmla="*/ 249 h 367"/>
                <a:gd name="T82" fmla="*/ 324 w 365"/>
                <a:gd name="T83" fmla="*/ 339 h 367"/>
                <a:gd name="T84" fmla="*/ 186 w 365"/>
                <a:gd name="T85" fmla="*/ 221 h 367"/>
                <a:gd name="T86" fmla="*/ 127 w 365"/>
                <a:gd name="T87" fmla="*/ 288 h 367"/>
                <a:gd name="T88" fmla="*/ 259 w 365"/>
                <a:gd name="T89" fmla="*/ 352 h 367"/>
                <a:gd name="T90" fmla="*/ 209 w 365"/>
                <a:gd name="T91" fmla="*/ 336 h 367"/>
                <a:gd name="T92" fmla="*/ 161 w 365"/>
                <a:gd name="T93" fmla="*/ 342 h 367"/>
                <a:gd name="T94" fmla="*/ 205 w 365"/>
                <a:gd name="T95" fmla="*/ 352 h 367"/>
                <a:gd name="T96" fmla="*/ 241 w 365"/>
                <a:gd name="T97" fmla="*/ 362 h 367"/>
                <a:gd name="T98" fmla="*/ 285 w 365"/>
                <a:gd name="T99" fmla="*/ 272 h 367"/>
                <a:gd name="T100" fmla="*/ 79 w 365"/>
                <a:gd name="T101" fmla="*/ 186 h 367"/>
                <a:gd name="T102" fmla="*/ 47 w 365"/>
                <a:gd name="T103" fmla="*/ 207 h 367"/>
                <a:gd name="T104" fmla="*/ 81 w 365"/>
                <a:gd name="T105" fmla="*/ 260 h 367"/>
                <a:gd name="T106" fmla="*/ 113 w 365"/>
                <a:gd name="T107" fmla="*/ 262 h 367"/>
                <a:gd name="T108" fmla="*/ 129 w 365"/>
                <a:gd name="T109" fmla="*/ 270 h 367"/>
                <a:gd name="T110" fmla="*/ 117 w 365"/>
                <a:gd name="T111" fmla="*/ 221 h 367"/>
                <a:gd name="T112" fmla="*/ 132 w 365"/>
                <a:gd name="T113" fmla="*/ 212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72" name="Germany">
              <a:extLst>
                <a:ext uri="{FF2B5EF4-FFF2-40B4-BE49-F238E27FC236}">
                  <a16:creationId xmlns:a16="http://schemas.microsoft.com/office/drawing/2014/main" id="{FAE60DB3-9DDA-4990-8E6B-11DC5FDC2FFC}"/>
                </a:ext>
              </a:extLst>
            </p:cNvPr>
            <p:cNvSpPr>
              <a:spLocks/>
            </p:cNvSpPr>
            <p:nvPr/>
          </p:nvSpPr>
          <p:spPr bwMode="gray">
            <a:xfrm>
              <a:off x="5462232" y="4067789"/>
              <a:ext cx="733855" cy="902160"/>
            </a:xfrm>
            <a:custGeom>
              <a:avLst/>
              <a:gdLst>
                <a:gd name="T0" fmla="*/ 21 w 373"/>
                <a:gd name="T1" fmla="*/ 294 h 393"/>
                <a:gd name="T2" fmla="*/ 62 w 373"/>
                <a:gd name="T3" fmla="*/ 297 h 393"/>
                <a:gd name="T4" fmla="*/ 90 w 373"/>
                <a:gd name="T5" fmla="*/ 305 h 393"/>
                <a:gd name="T6" fmla="*/ 74 w 373"/>
                <a:gd name="T7" fmla="*/ 330 h 393"/>
                <a:gd name="T8" fmla="*/ 75 w 373"/>
                <a:gd name="T9" fmla="*/ 381 h 393"/>
                <a:gd name="T10" fmla="*/ 101 w 373"/>
                <a:gd name="T11" fmla="*/ 378 h 393"/>
                <a:gd name="T12" fmla="*/ 128 w 373"/>
                <a:gd name="T13" fmla="*/ 372 h 393"/>
                <a:gd name="T14" fmla="*/ 148 w 373"/>
                <a:gd name="T15" fmla="*/ 383 h 393"/>
                <a:gd name="T16" fmla="*/ 161 w 373"/>
                <a:gd name="T17" fmla="*/ 382 h 393"/>
                <a:gd name="T18" fmla="*/ 182 w 373"/>
                <a:gd name="T19" fmla="*/ 377 h 393"/>
                <a:gd name="T20" fmla="*/ 224 w 373"/>
                <a:gd name="T21" fmla="*/ 387 h 393"/>
                <a:gd name="T22" fmla="*/ 258 w 373"/>
                <a:gd name="T23" fmla="*/ 372 h 393"/>
                <a:gd name="T24" fmla="*/ 290 w 373"/>
                <a:gd name="T25" fmla="*/ 385 h 393"/>
                <a:gd name="T26" fmla="*/ 282 w 373"/>
                <a:gd name="T27" fmla="*/ 358 h 393"/>
                <a:gd name="T28" fmla="*/ 309 w 373"/>
                <a:gd name="T29" fmla="*/ 335 h 393"/>
                <a:gd name="T30" fmla="*/ 324 w 373"/>
                <a:gd name="T31" fmla="*/ 316 h 393"/>
                <a:gd name="T32" fmla="*/ 301 w 373"/>
                <a:gd name="T33" fmla="*/ 295 h 393"/>
                <a:gd name="T34" fmla="*/ 281 w 373"/>
                <a:gd name="T35" fmla="*/ 285 h 393"/>
                <a:gd name="T36" fmla="*/ 271 w 373"/>
                <a:gd name="T37" fmla="*/ 271 h 393"/>
                <a:gd name="T38" fmla="*/ 263 w 373"/>
                <a:gd name="T39" fmla="*/ 248 h 393"/>
                <a:gd name="T40" fmla="*/ 263 w 373"/>
                <a:gd name="T41" fmla="*/ 239 h 393"/>
                <a:gd name="T42" fmla="*/ 283 w 373"/>
                <a:gd name="T43" fmla="*/ 227 h 393"/>
                <a:gd name="T44" fmla="*/ 308 w 373"/>
                <a:gd name="T45" fmla="*/ 221 h 393"/>
                <a:gd name="T46" fmla="*/ 325 w 373"/>
                <a:gd name="T47" fmla="*/ 210 h 393"/>
                <a:gd name="T48" fmla="*/ 360 w 373"/>
                <a:gd name="T49" fmla="*/ 208 h 393"/>
                <a:gd name="T50" fmla="*/ 369 w 373"/>
                <a:gd name="T51" fmla="*/ 177 h 393"/>
                <a:gd name="T52" fmla="*/ 351 w 373"/>
                <a:gd name="T53" fmla="*/ 157 h 393"/>
                <a:gd name="T54" fmla="*/ 356 w 373"/>
                <a:gd name="T55" fmla="*/ 136 h 393"/>
                <a:gd name="T56" fmla="*/ 352 w 373"/>
                <a:gd name="T57" fmla="*/ 115 h 393"/>
                <a:gd name="T58" fmla="*/ 334 w 373"/>
                <a:gd name="T59" fmla="*/ 106 h 393"/>
                <a:gd name="T60" fmla="*/ 339 w 373"/>
                <a:gd name="T61" fmla="*/ 72 h 393"/>
                <a:gd name="T62" fmla="*/ 321 w 373"/>
                <a:gd name="T63" fmla="*/ 55 h 393"/>
                <a:gd name="T64" fmla="*/ 296 w 373"/>
                <a:gd name="T65" fmla="*/ 35 h 393"/>
                <a:gd name="T66" fmla="*/ 226 w 373"/>
                <a:gd name="T67" fmla="*/ 35 h 393"/>
                <a:gd name="T68" fmla="*/ 202 w 373"/>
                <a:gd name="T69" fmla="*/ 35 h 393"/>
                <a:gd name="T70" fmla="*/ 168 w 373"/>
                <a:gd name="T71" fmla="*/ 22 h 393"/>
                <a:gd name="T72" fmla="*/ 145 w 373"/>
                <a:gd name="T73" fmla="*/ 3 h 393"/>
                <a:gd name="T74" fmla="*/ 112 w 373"/>
                <a:gd name="T75" fmla="*/ 0 h 393"/>
                <a:gd name="T76" fmla="*/ 130 w 373"/>
                <a:gd name="T77" fmla="*/ 49 h 393"/>
                <a:gd name="T78" fmla="*/ 105 w 373"/>
                <a:gd name="T79" fmla="*/ 55 h 393"/>
                <a:gd name="T80" fmla="*/ 82 w 373"/>
                <a:gd name="T81" fmla="*/ 62 h 393"/>
                <a:gd name="T82" fmla="*/ 57 w 373"/>
                <a:gd name="T83" fmla="*/ 85 h 393"/>
                <a:gd name="T84" fmla="*/ 47 w 373"/>
                <a:gd name="T85" fmla="*/ 103 h 393"/>
                <a:gd name="T86" fmla="*/ 30 w 373"/>
                <a:gd name="T87" fmla="*/ 122 h 393"/>
                <a:gd name="T88" fmla="*/ 35 w 373"/>
                <a:gd name="T89" fmla="*/ 153 h 393"/>
                <a:gd name="T90" fmla="*/ 1 w 373"/>
                <a:gd name="T91" fmla="*/ 155 h 393"/>
                <a:gd name="T92" fmla="*/ 0 w 373"/>
                <a:gd name="T93" fmla="*/ 191 h 393"/>
                <a:gd name="T94" fmla="*/ 5 w 373"/>
                <a:gd name="T95" fmla="*/ 216 h 393"/>
                <a:gd name="T96" fmla="*/ 9 w 373"/>
                <a:gd name="T97" fmla="*/ 239 h 393"/>
                <a:gd name="T98" fmla="*/ 17 w 373"/>
                <a:gd name="T99" fmla="*/ 27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solidFill>
              <a:schemeClr val="accent1"/>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88" name="France">
              <a:extLst>
                <a:ext uri="{FF2B5EF4-FFF2-40B4-BE49-F238E27FC236}">
                  <a16:creationId xmlns:a16="http://schemas.microsoft.com/office/drawing/2014/main" id="{ACFD211D-411A-4995-B749-4BA9108258FE}"/>
                </a:ext>
              </a:extLst>
            </p:cNvPr>
            <p:cNvSpPr>
              <a:spLocks/>
            </p:cNvSpPr>
            <p:nvPr/>
          </p:nvSpPr>
          <p:spPr bwMode="gray">
            <a:xfrm>
              <a:off x="4571824" y="4512308"/>
              <a:ext cx="1067171" cy="1062915"/>
            </a:xfrm>
            <a:custGeom>
              <a:avLst/>
              <a:gdLst>
                <a:gd name="T0" fmla="*/ 91 w 96"/>
                <a:gd name="T1" fmla="*/ 18 h 81"/>
                <a:gd name="T2" fmla="*/ 87 w 96"/>
                <a:gd name="T3" fmla="*/ 17 h 81"/>
                <a:gd name="T4" fmla="*/ 84 w 96"/>
                <a:gd name="T5" fmla="*/ 15 h 81"/>
                <a:gd name="T6" fmla="*/ 81 w 96"/>
                <a:gd name="T7" fmla="*/ 14 h 81"/>
                <a:gd name="T8" fmla="*/ 79 w 96"/>
                <a:gd name="T9" fmla="*/ 14 h 81"/>
                <a:gd name="T10" fmla="*/ 76 w 96"/>
                <a:gd name="T11" fmla="*/ 13 h 81"/>
                <a:gd name="T12" fmla="*/ 72 w 96"/>
                <a:gd name="T13" fmla="*/ 9 h 81"/>
                <a:gd name="T14" fmla="*/ 67 w 96"/>
                <a:gd name="T15" fmla="*/ 11 h 81"/>
                <a:gd name="T16" fmla="*/ 62 w 96"/>
                <a:gd name="T17" fmla="*/ 6 h 81"/>
                <a:gd name="T18" fmla="*/ 58 w 96"/>
                <a:gd name="T19" fmla="*/ 4 h 81"/>
                <a:gd name="T20" fmla="*/ 57 w 96"/>
                <a:gd name="T21" fmla="*/ 0 h 81"/>
                <a:gd name="T22" fmla="*/ 47 w 96"/>
                <a:gd name="T23" fmla="*/ 2 h 81"/>
                <a:gd name="T24" fmla="*/ 48 w 96"/>
                <a:gd name="T25" fmla="*/ 9 h 81"/>
                <a:gd name="T26" fmla="*/ 38 w 96"/>
                <a:gd name="T27" fmla="*/ 14 h 81"/>
                <a:gd name="T28" fmla="*/ 33 w 96"/>
                <a:gd name="T29" fmla="*/ 17 h 81"/>
                <a:gd name="T30" fmla="*/ 27 w 96"/>
                <a:gd name="T31" fmla="*/ 13 h 81"/>
                <a:gd name="T32" fmla="*/ 26 w 96"/>
                <a:gd name="T33" fmla="*/ 17 h 81"/>
                <a:gd name="T34" fmla="*/ 18 w 96"/>
                <a:gd name="T35" fmla="*/ 22 h 81"/>
                <a:gd name="T36" fmla="*/ 13 w 96"/>
                <a:gd name="T37" fmla="*/ 20 h 81"/>
                <a:gd name="T38" fmla="*/ 2 w 96"/>
                <a:gd name="T39" fmla="*/ 24 h 81"/>
                <a:gd name="T40" fmla="*/ 1 w 96"/>
                <a:gd name="T41" fmla="*/ 28 h 81"/>
                <a:gd name="T42" fmla="*/ 6 w 96"/>
                <a:gd name="T43" fmla="*/ 29 h 81"/>
                <a:gd name="T44" fmla="*/ 15 w 96"/>
                <a:gd name="T45" fmla="*/ 32 h 81"/>
                <a:gd name="T46" fmla="*/ 22 w 96"/>
                <a:gd name="T47" fmla="*/ 35 h 81"/>
                <a:gd name="T48" fmla="*/ 23 w 96"/>
                <a:gd name="T49" fmla="*/ 43 h 81"/>
                <a:gd name="T50" fmla="*/ 26 w 96"/>
                <a:gd name="T51" fmla="*/ 49 h 81"/>
                <a:gd name="T52" fmla="*/ 30 w 96"/>
                <a:gd name="T53" fmla="*/ 56 h 81"/>
                <a:gd name="T54" fmla="*/ 26 w 96"/>
                <a:gd name="T55" fmla="*/ 59 h 81"/>
                <a:gd name="T56" fmla="*/ 20 w 96"/>
                <a:gd name="T57" fmla="*/ 72 h 81"/>
                <a:gd name="T58" fmla="*/ 23 w 96"/>
                <a:gd name="T59" fmla="*/ 73 h 81"/>
                <a:gd name="T60" fmla="*/ 27 w 96"/>
                <a:gd name="T61" fmla="*/ 75 h 81"/>
                <a:gd name="T62" fmla="*/ 32 w 96"/>
                <a:gd name="T63" fmla="*/ 77 h 81"/>
                <a:gd name="T64" fmla="*/ 36 w 96"/>
                <a:gd name="T65" fmla="*/ 78 h 81"/>
                <a:gd name="T66" fmla="*/ 39 w 96"/>
                <a:gd name="T67" fmla="*/ 78 h 81"/>
                <a:gd name="T68" fmla="*/ 42 w 96"/>
                <a:gd name="T69" fmla="*/ 78 h 81"/>
                <a:gd name="T70" fmla="*/ 44 w 96"/>
                <a:gd name="T71" fmla="*/ 78 h 81"/>
                <a:gd name="T72" fmla="*/ 47 w 96"/>
                <a:gd name="T73" fmla="*/ 78 h 81"/>
                <a:gd name="T74" fmla="*/ 49 w 96"/>
                <a:gd name="T75" fmla="*/ 81 h 81"/>
                <a:gd name="T76" fmla="*/ 52 w 96"/>
                <a:gd name="T77" fmla="*/ 81 h 81"/>
                <a:gd name="T78" fmla="*/ 55 w 96"/>
                <a:gd name="T79" fmla="*/ 80 h 81"/>
                <a:gd name="T80" fmla="*/ 56 w 96"/>
                <a:gd name="T81" fmla="*/ 79 h 81"/>
                <a:gd name="T82" fmla="*/ 66 w 96"/>
                <a:gd name="T83" fmla="*/ 70 h 81"/>
                <a:gd name="T84" fmla="*/ 74 w 96"/>
                <a:gd name="T85" fmla="*/ 71 h 81"/>
                <a:gd name="T86" fmla="*/ 83 w 96"/>
                <a:gd name="T87" fmla="*/ 74 h 81"/>
                <a:gd name="T88" fmla="*/ 90 w 96"/>
                <a:gd name="T89" fmla="*/ 68 h 81"/>
                <a:gd name="T90" fmla="*/ 92 w 96"/>
                <a:gd name="T91" fmla="*/ 65 h 81"/>
                <a:gd name="T92" fmla="*/ 88 w 96"/>
                <a:gd name="T93" fmla="*/ 63 h 81"/>
                <a:gd name="T94" fmla="*/ 87 w 96"/>
                <a:gd name="T95" fmla="*/ 59 h 81"/>
                <a:gd name="T96" fmla="*/ 85 w 96"/>
                <a:gd name="T97" fmla="*/ 57 h 81"/>
                <a:gd name="T98" fmla="*/ 85 w 96"/>
                <a:gd name="T99" fmla="*/ 55 h 81"/>
                <a:gd name="T100" fmla="*/ 87 w 96"/>
                <a:gd name="T101" fmla="*/ 51 h 81"/>
                <a:gd name="T102" fmla="*/ 87 w 96"/>
                <a:gd name="T103" fmla="*/ 48 h 81"/>
                <a:gd name="T104" fmla="*/ 86 w 96"/>
                <a:gd name="T105" fmla="*/ 43 h 81"/>
                <a:gd name="T106" fmla="*/ 80 w 96"/>
                <a:gd name="T107" fmla="*/ 46 h 81"/>
                <a:gd name="T108" fmla="*/ 80 w 96"/>
                <a:gd name="T109" fmla="*/ 43 h 81"/>
                <a:gd name="T110" fmla="*/ 84 w 96"/>
                <a:gd name="T111" fmla="*/ 37 h 81"/>
                <a:gd name="T112" fmla="*/ 87 w 96"/>
                <a:gd name="T113" fmla="*/ 35 h 81"/>
                <a:gd name="T114" fmla="*/ 91 w 96"/>
                <a:gd name="T115" fmla="*/ 34 h 81"/>
                <a:gd name="T116" fmla="*/ 91 w 96"/>
                <a:gd name="T117" fmla="*/ 29 h 81"/>
                <a:gd name="T118" fmla="*/ 93 w 96"/>
                <a:gd name="T119" fmla="*/ 22 h 81"/>
                <a:gd name="T120" fmla="*/ 96 w 96"/>
                <a:gd name="T121" fmla="*/ 19 h 81"/>
                <a:gd name="T122" fmla="*/ 91 w 96"/>
                <a:gd name="T123" fmla="*/ 1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 h="81">
                  <a:moveTo>
                    <a:pt x="91" y="19"/>
                  </a:moveTo>
                  <a:cubicBezTo>
                    <a:pt x="91" y="18"/>
                    <a:pt x="91" y="18"/>
                    <a:pt x="91" y="18"/>
                  </a:cubicBezTo>
                  <a:cubicBezTo>
                    <a:pt x="91" y="18"/>
                    <a:pt x="89" y="19"/>
                    <a:pt x="88" y="19"/>
                  </a:cubicBezTo>
                  <a:cubicBezTo>
                    <a:pt x="87" y="18"/>
                    <a:pt x="87" y="17"/>
                    <a:pt x="87" y="17"/>
                  </a:cubicBezTo>
                  <a:cubicBezTo>
                    <a:pt x="84" y="17"/>
                    <a:pt x="84" y="17"/>
                    <a:pt x="84" y="17"/>
                  </a:cubicBezTo>
                  <a:cubicBezTo>
                    <a:pt x="84" y="17"/>
                    <a:pt x="85" y="16"/>
                    <a:pt x="84" y="15"/>
                  </a:cubicBezTo>
                  <a:cubicBezTo>
                    <a:pt x="84" y="15"/>
                    <a:pt x="83" y="14"/>
                    <a:pt x="83" y="14"/>
                  </a:cubicBezTo>
                  <a:cubicBezTo>
                    <a:pt x="81" y="14"/>
                    <a:pt x="81" y="14"/>
                    <a:pt x="81" y="14"/>
                  </a:cubicBezTo>
                  <a:cubicBezTo>
                    <a:pt x="80" y="15"/>
                    <a:pt x="80" y="15"/>
                    <a:pt x="80" y="15"/>
                  </a:cubicBezTo>
                  <a:cubicBezTo>
                    <a:pt x="79" y="14"/>
                    <a:pt x="79" y="14"/>
                    <a:pt x="79" y="14"/>
                  </a:cubicBezTo>
                  <a:cubicBezTo>
                    <a:pt x="76" y="14"/>
                    <a:pt x="76" y="14"/>
                    <a:pt x="76" y="14"/>
                  </a:cubicBezTo>
                  <a:cubicBezTo>
                    <a:pt x="76" y="14"/>
                    <a:pt x="76" y="14"/>
                    <a:pt x="76" y="13"/>
                  </a:cubicBezTo>
                  <a:cubicBezTo>
                    <a:pt x="75" y="13"/>
                    <a:pt x="72" y="12"/>
                    <a:pt x="72" y="12"/>
                  </a:cubicBezTo>
                  <a:cubicBezTo>
                    <a:pt x="72" y="9"/>
                    <a:pt x="72" y="9"/>
                    <a:pt x="72" y="9"/>
                  </a:cubicBezTo>
                  <a:cubicBezTo>
                    <a:pt x="70" y="11"/>
                    <a:pt x="70" y="11"/>
                    <a:pt x="70" y="11"/>
                  </a:cubicBezTo>
                  <a:cubicBezTo>
                    <a:pt x="67" y="11"/>
                    <a:pt x="67" y="11"/>
                    <a:pt x="67" y="11"/>
                  </a:cubicBezTo>
                  <a:cubicBezTo>
                    <a:pt x="67" y="11"/>
                    <a:pt x="67" y="8"/>
                    <a:pt x="66" y="7"/>
                  </a:cubicBezTo>
                  <a:cubicBezTo>
                    <a:pt x="65" y="7"/>
                    <a:pt x="62" y="6"/>
                    <a:pt x="62" y="6"/>
                  </a:cubicBezTo>
                  <a:cubicBezTo>
                    <a:pt x="61" y="5"/>
                    <a:pt x="61" y="5"/>
                    <a:pt x="61" y="5"/>
                  </a:cubicBezTo>
                  <a:cubicBezTo>
                    <a:pt x="58" y="4"/>
                    <a:pt x="58" y="4"/>
                    <a:pt x="58" y="4"/>
                  </a:cubicBezTo>
                  <a:cubicBezTo>
                    <a:pt x="57" y="2"/>
                    <a:pt x="57" y="2"/>
                    <a:pt x="57" y="2"/>
                  </a:cubicBezTo>
                  <a:cubicBezTo>
                    <a:pt x="57" y="0"/>
                    <a:pt x="57" y="0"/>
                    <a:pt x="57" y="0"/>
                  </a:cubicBezTo>
                  <a:cubicBezTo>
                    <a:pt x="57" y="0"/>
                    <a:pt x="55" y="0"/>
                    <a:pt x="53" y="1"/>
                  </a:cubicBezTo>
                  <a:cubicBezTo>
                    <a:pt x="51" y="1"/>
                    <a:pt x="47" y="1"/>
                    <a:pt x="47" y="2"/>
                  </a:cubicBezTo>
                  <a:cubicBezTo>
                    <a:pt x="48" y="3"/>
                    <a:pt x="49" y="5"/>
                    <a:pt x="49" y="5"/>
                  </a:cubicBezTo>
                  <a:cubicBezTo>
                    <a:pt x="49" y="5"/>
                    <a:pt x="50" y="8"/>
                    <a:pt x="48" y="9"/>
                  </a:cubicBezTo>
                  <a:cubicBezTo>
                    <a:pt x="46" y="10"/>
                    <a:pt x="42" y="10"/>
                    <a:pt x="42" y="10"/>
                  </a:cubicBezTo>
                  <a:cubicBezTo>
                    <a:pt x="38" y="14"/>
                    <a:pt x="38" y="14"/>
                    <a:pt x="38" y="14"/>
                  </a:cubicBezTo>
                  <a:cubicBezTo>
                    <a:pt x="39" y="15"/>
                    <a:pt x="39" y="15"/>
                    <a:pt x="39" y="15"/>
                  </a:cubicBezTo>
                  <a:cubicBezTo>
                    <a:pt x="39" y="15"/>
                    <a:pt x="36" y="17"/>
                    <a:pt x="33" y="17"/>
                  </a:cubicBezTo>
                  <a:cubicBezTo>
                    <a:pt x="31" y="17"/>
                    <a:pt x="29" y="16"/>
                    <a:pt x="29" y="16"/>
                  </a:cubicBezTo>
                  <a:cubicBezTo>
                    <a:pt x="27" y="13"/>
                    <a:pt x="27" y="13"/>
                    <a:pt x="27" y="13"/>
                  </a:cubicBezTo>
                  <a:cubicBezTo>
                    <a:pt x="27" y="13"/>
                    <a:pt x="23" y="12"/>
                    <a:pt x="23" y="13"/>
                  </a:cubicBezTo>
                  <a:cubicBezTo>
                    <a:pt x="24" y="14"/>
                    <a:pt x="26" y="17"/>
                    <a:pt x="26" y="17"/>
                  </a:cubicBezTo>
                  <a:cubicBezTo>
                    <a:pt x="26" y="17"/>
                    <a:pt x="28" y="21"/>
                    <a:pt x="25" y="22"/>
                  </a:cubicBezTo>
                  <a:cubicBezTo>
                    <a:pt x="22" y="22"/>
                    <a:pt x="18" y="22"/>
                    <a:pt x="18" y="22"/>
                  </a:cubicBezTo>
                  <a:cubicBezTo>
                    <a:pt x="17" y="24"/>
                    <a:pt x="17" y="24"/>
                    <a:pt x="17" y="24"/>
                  </a:cubicBezTo>
                  <a:cubicBezTo>
                    <a:pt x="17" y="24"/>
                    <a:pt x="14" y="20"/>
                    <a:pt x="13" y="20"/>
                  </a:cubicBezTo>
                  <a:cubicBezTo>
                    <a:pt x="12" y="21"/>
                    <a:pt x="9" y="22"/>
                    <a:pt x="9" y="22"/>
                  </a:cubicBezTo>
                  <a:cubicBezTo>
                    <a:pt x="9" y="22"/>
                    <a:pt x="2" y="23"/>
                    <a:pt x="2" y="24"/>
                  </a:cubicBezTo>
                  <a:cubicBezTo>
                    <a:pt x="1" y="25"/>
                    <a:pt x="5" y="26"/>
                    <a:pt x="5" y="27"/>
                  </a:cubicBezTo>
                  <a:cubicBezTo>
                    <a:pt x="5" y="27"/>
                    <a:pt x="0" y="27"/>
                    <a:pt x="1" y="28"/>
                  </a:cubicBezTo>
                  <a:cubicBezTo>
                    <a:pt x="2" y="30"/>
                    <a:pt x="5" y="30"/>
                    <a:pt x="5" y="30"/>
                  </a:cubicBezTo>
                  <a:cubicBezTo>
                    <a:pt x="6" y="29"/>
                    <a:pt x="6" y="29"/>
                    <a:pt x="6" y="29"/>
                  </a:cubicBezTo>
                  <a:cubicBezTo>
                    <a:pt x="12" y="32"/>
                    <a:pt x="12" y="32"/>
                    <a:pt x="12" y="32"/>
                  </a:cubicBezTo>
                  <a:cubicBezTo>
                    <a:pt x="15" y="32"/>
                    <a:pt x="15" y="32"/>
                    <a:pt x="15" y="32"/>
                  </a:cubicBezTo>
                  <a:cubicBezTo>
                    <a:pt x="17" y="34"/>
                    <a:pt x="17" y="34"/>
                    <a:pt x="17" y="34"/>
                  </a:cubicBezTo>
                  <a:cubicBezTo>
                    <a:pt x="22" y="35"/>
                    <a:pt x="22" y="35"/>
                    <a:pt x="22" y="35"/>
                  </a:cubicBezTo>
                  <a:cubicBezTo>
                    <a:pt x="19" y="37"/>
                    <a:pt x="19" y="37"/>
                    <a:pt x="19" y="37"/>
                  </a:cubicBezTo>
                  <a:cubicBezTo>
                    <a:pt x="19" y="37"/>
                    <a:pt x="22" y="42"/>
                    <a:pt x="23" y="43"/>
                  </a:cubicBezTo>
                  <a:cubicBezTo>
                    <a:pt x="23" y="44"/>
                    <a:pt x="26" y="44"/>
                    <a:pt x="26" y="44"/>
                  </a:cubicBezTo>
                  <a:cubicBezTo>
                    <a:pt x="26" y="49"/>
                    <a:pt x="26" y="49"/>
                    <a:pt x="26" y="49"/>
                  </a:cubicBezTo>
                  <a:cubicBezTo>
                    <a:pt x="28" y="52"/>
                    <a:pt x="28" y="52"/>
                    <a:pt x="28" y="52"/>
                  </a:cubicBezTo>
                  <a:cubicBezTo>
                    <a:pt x="30" y="56"/>
                    <a:pt x="30" y="56"/>
                    <a:pt x="30" y="56"/>
                  </a:cubicBezTo>
                  <a:cubicBezTo>
                    <a:pt x="26" y="52"/>
                    <a:pt x="26" y="52"/>
                    <a:pt x="26" y="52"/>
                  </a:cubicBezTo>
                  <a:cubicBezTo>
                    <a:pt x="26" y="52"/>
                    <a:pt x="26" y="57"/>
                    <a:pt x="26" y="59"/>
                  </a:cubicBezTo>
                  <a:cubicBezTo>
                    <a:pt x="26" y="60"/>
                    <a:pt x="24" y="67"/>
                    <a:pt x="23" y="69"/>
                  </a:cubicBezTo>
                  <a:cubicBezTo>
                    <a:pt x="22" y="70"/>
                    <a:pt x="22" y="72"/>
                    <a:pt x="20" y="72"/>
                  </a:cubicBezTo>
                  <a:cubicBezTo>
                    <a:pt x="20" y="73"/>
                    <a:pt x="20" y="73"/>
                    <a:pt x="20" y="73"/>
                  </a:cubicBezTo>
                  <a:cubicBezTo>
                    <a:pt x="20" y="73"/>
                    <a:pt x="22" y="72"/>
                    <a:pt x="23" y="73"/>
                  </a:cubicBezTo>
                  <a:cubicBezTo>
                    <a:pt x="24" y="74"/>
                    <a:pt x="23" y="75"/>
                    <a:pt x="23" y="75"/>
                  </a:cubicBezTo>
                  <a:cubicBezTo>
                    <a:pt x="23" y="75"/>
                    <a:pt x="26" y="75"/>
                    <a:pt x="27" y="75"/>
                  </a:cubicBezTo>
                  <a:cubicBezTo>
                    <a:pt x="28" y="75"/>
                    <a:pt x="29" y="77"/>
                    <a:pt x="29" y="77"/>
                  </a:cubicBezTo>
                  <a:cubicBezTo>
                    <a:pt x="29" y="77"/>
                    <a:pt x="31" y="76"/>
                    <a:pt x="32" y="77"/>
                  </a:cubicBezTo>
                  <a:cubicBezTo>
                    <a:pt x="32" y="77"/>
                    <a:pt x="32" y="77"/>
                    <a:pt x="32" y="77"/>
                  </a:cubicBezTo>
                  <a:cubicBezTo>
                    <a:pt x="36" y="78"/>
                    <a:pt x="36" y="78"/>
                    <a:pt x="36" y="78"/>
                  </a:cubicBezTo>
                  <a:cubicBezTo>
                    <a:pt x="36" y="79"/>
                    <a:pt x="36" y="79"/>
                    <a:pt x="36" y="79"/>
                  </a:cubicBezTo>
                  <a:cubicBezTo>
                    <a:pt x="39" y="78"/>
                    <a:pt x="39" y="78"/>
                    <a:pt x="39" y="78"/>
                  </a:cubicBezTo>
                  <a:cubicBezTo>
                    <a:pt x="39" y="78"/>
                    <a:pt x="38" y="76"/>
                    <a:pt x="40" y="76"/>
                  </a:cubicBezTo>
                  <a:cubicBezTo>
                    <a:pt x="42" y="76"/>
                    <a:pt x="42" y="78"/>
                    <a:pt x="42" y="78"/>
                  </a:cubicBezTo>
                  <a:cubicBezTo>
                    <a:pt x="44" y="78"/>
                    <a:pt x="44" y="78"/>
                    <a:pt x="44" y="78"/>
                  </a:cubicBezTo>
                  <a:cubicBezTo>
                    <a:pt x="44" y="78"/>
                    <a:pt x="44" y="78"/>
                    <a:pt x="44" y="78"/>
                  </a:cubicBezTo>
                  <a:cubicBezTo>
                    <a:pt x="44" y="78"/>
                    <a:pt x="45" y="78"/>
                    <a:pt x="45" y="78"/>
                  </a:cubicBezTo>
                  <a:cubicBezTo>
                    <a:pt x="47" y="78"/>
                    <a:pt x="47" y="78"/>
                    <a:pt x="47" y="78"/>
                  </a:cubicBezTo>
                  <a:cubicBezTo>
                    <a:pt x="48" y="80"/>
                    <a:pt x="48" y="80"/>
                    <a:pt x="48" y="80"/>
                  </a:cubicBezTo>
                  <a:cubicBezTo>
                    <a:pt x="48" y="80"/>
                    <a:pt x="49" y="81"/>
                    <a:pt x="49" y="81"/>
                  </a:cubicBezTo>
                  <a:cubicBezTo>
                    <a:pt x="49" y="81"/>
                    <a:pt x="50" y="80"/>
                    <a:pt x="50" y="80"/>
                  </a:cubicBezTo>
                  <a:cubicBezTo>
                    <a:pt x="51" y="80"/>
                    <a:pt x="52" y="81"/>
                    <a:pt x="52" y="81"/>
                  </a:cubicBezTo>
                  <a:cubicBezTo>
                    <a:pt x="52" y="81"/>
                    <a:pt x="52" y="81"/>
                    <a:pt x="53" y="81"/>
                  </a:cubicBezTo>
                  <a:cubicBezTo>
                    <a:pt x="55" y="81"/>
                    <a:pt x="55" y="80"/>
                    <a:pt x="55" y="80"/>
                  </a:cubicBezTo>
                  <a:cubicBezTo>
                    <a:pt x="56" y="80"/>
                    <a:pt x="56" y="80"/>
                    <a:pt x="56" y="80"/>
                  </a:cubicBezTo>
                  <a:cubicBezTo>
                    <a:pt x="56" y="80"/>
                    <a:pt x="56" y="79"/>
                    <a:pt x="56" y="79"/>
                  </a:cubicBezTo>
                  <a:cubicBezTo>
                    <a:pt x="56" y="77"/>
                    <a:pt x="58" y="73"/>
                    <a:pt x="60" y="73"/>
                  </a:cubicBezTo>
                  <a:cubicBezTo>
                    <a:pt x="61" y="72"/>
                    <a:pt x="65" y="69"/>
                    <a:pt x="66" y="70"/>
                  </a:cubicBezTo>
                  <a:cubicBezTo>
                    <a:pt x="68" y="71"/>
                    <a:pt x="69" y="72"/>
                    <a:pt x="69" y="72"/>
                  </a:cubicBezTo>
                  <a:cubicBezTo>
                    <a:pt x="69" y="72"/>
                    <a:pt x="73" y="71"/>
                    <a:pt x="74" y="71"/>
                  </a:cubicBezTo>
                  <a:cubicBezTo>
                    <a:pt x="75" y="72"/>
                    <a:pt x="76" y="74"/>
                    <a:pt x="77" y="74"/>
                  </a:cubicBezTo>
                  <a:cubicBezTo>
                    <a:pt x="77" y="74"/>
                    <a:pt x="81" y="76"/>
                    <a:pt x="83" y="74"/>
                  </a:cubicBezTo>
                  <a:cubicBezTo>
                    <a:pt x="86" y="72"/>
                    <a:pt x="86" y="69"/>
                    <a:pt x="87" y="69"/>
                  </a:cubicBezTo>
                  <a:cubicBezTo>
                    <a:pt x="88" y="68"/>
                    <a:pt x="89" y="68"/>
                    <a:pt x="90" y="68"/>
                  </a:cubicBezTo>
                  <a:cubicBezTo>
                    <a:pt x="90" y="68"/>
                    <a:pt x="90" y="67"/>
                    <a:pt x="90" y="67"/>
                  </a:cubicBezTo>
                  <a:cubicBezTo>
                    <a:pt x="91" y="67"/>
                    <a:pt x="92" y="66"/>
                    <a:pt x="92" y="65"/>
                  </a:cubicBezTo>
                  <a:cubicBezTo>
                    <a:pt x="91" y="64"/>
                    <a:pt x="89" y="65"/>
                    <a:pt x="89" y="65"/>
                  </a:cubicBezTo>
                  <a:cubicBezTo>
                    <a:pt x="88" y="63"/>
                    <a:pt x="88" y="63"/>
                    <a:pt x="88" y="63"/>
                  </a:cubicBezTo>
                  <a:cubicBezTo>
                    <a:pt x="88" y="63"/>
                    <a:pt x="86" y="63"/>
                    <a:pt x="86" y="62"/>
                  </a:cubicBezTo>
                  <a:cubicBezTo>
                    <a:pt x="86" y="60"/>
                    <a:pt x="87" y="60"/>
                    <a:pt x="87" y="59"/>
                  </a:cubicBezTo>
                  <a:cubicBezTo>
                    <a:pt x="87" y="58"/>
                    <a:pt x="86" y="57"/>
                    <a:pt x="86" y="57"/>
                  </a:cubicBezTo>
                  <a:cubicBezTo>
                    <a:pt x="85" y="57"/>
                    <a:pt x="85" y="57"/>
                    <a:pt x="85" y="57"/>
                  </a:cubicBezTo>
                  <a:cubicBezTo>
                    <a:pt x="84" y="55"/>
                    <a:pt x="84" y="55"/>
                    <a:pt x="84" y="55"/>
                  </a:cubicBezTo>
                  <a:cubicBezTo>
                    <a:pt x="85" y="55"/>
                    <a:pt x="85" y="55"/>
                    <a:pt x="85" y="55"/>
                  </a:cubicBezTo>
                  <a:cubicBezTo>
                    <a:pt x="85" y="55"/>
                    <a:pt x="89" y="55"/>
                    <a:pt x="89" y="53"/>
                  </a:cubicBezTo>
                  <a:cubicBezTo>
                    <a:pt x="89" y="52"/>
                    <a:pt x="87" y="51"/>
                    <a:pt x="87" y="51"/>
                  </a:cubicBezTo>
                  <a:cubicBezTo>
                    <a:pt x="85" y="49"/>
                    <a:pt x="85" y="49"/>
                    <a:pt x="85" y="49"/>
                  </a:cubicBezTo>
                  <a:cubicBezTo>
                    <a:pt x="85" y="49"/>
                    <a:pt x="87" y="49"/>
                    <a:pt x="87" y="48"/>
                  </a:cubicBezTo>
                  <a:cubicBezTo>
                    <a:pt x="87" y="47"/>
                    <a:pt x="86" y="46"/>
                    <a:pt x="86" y="46"/>
                  </a:cubicBezTo>
                  <a:cubicBezTo>
                    <a:pt x="86" y="43"/>
                    <a:pt x="86" y="43"/>
                    <a:pt x="86" y="43"/>
                  </a:cubicBezTo>
                  <a:cubicBezTo>
                    <a:pt x="86" y="43"/>
                    <a:pt x="85" y="42"/>
                    <a:pt x="83" y="43"/>
                  </a:cubicBezTo>
                  <a:cubicBezTo>
                    <a:pt x="82" y="43"/>
                    <a:pt x="81" y="46"/>
                    <a:pt x="80" y="46"/>
                  </a:cubicBezTo>
                  <a:cubicBezTo>
                    <a:pt x="79" y="45"/>
                    <a:pt x="81" y="44"/>
                    <a:pt x="81" y="44"/>
                  </a:cubicBezTo>
                  <a:cubicBezTo>
                    <a:pt x="80" y="43"/>
                    <a:pt x="80" y="43"/>
                    <a:pt x="80" y="43"/>
                  </a:cubicBezTo>
                  <a:cubicBezTo>
                    <a:pt x="80" y="43"/>
                    <a:pt x="82" y="41"/>
                    <a:pt x="83" y="40"/>
                  </a:cubicBezTo>
                  <a:cubicBezTo>
                    <a:pt x="84" y="38"/>
                    <a:pt x="84" y="37"/>
                    <a:pt x="84" y="37"/>
                  </a:cubicBezTo>
                  <a:cubicBezTo>
                    <a:pt x="84" y="37"/>
                    <a:pt x="85" y="38"/>
                    <a:pt x="86" y="37"/>
                  </a:cubicBezTo>
                  <a:cubicBezTo>
                    <a:pt x="86" y="36"/>
                    <a:pt x="87" y="35"/>
                    <a:pt x="87" y="35"/>
                  </a:cubicBezTo>
                  <a:cubicBezTo>
                    <a:pt x="88" y="33"/>
                    <a:pt x="88" y="33"/>
                    <a:pt x="88" y="33"/>
                  </a:cubicBezTo>
                  <a:cubicBezTo>
                    <a:pt x="91" y="34"/>
                    <a:pt x="91" y="34"/>
                    <a:pt x="91" y="34"/>
                  </a:cubicBezTo>
                  <a:cubicBezTo>
                    <a:pt x="92" y="33"/>
                    <a:pt x="92" y="33"/>
                    <a:pt x="92" y="33"/>
                  </a:cubicBezTo>
                  <a:cubicBezTo>
                    <a:pt x="92" y="33"/>
                    <a:pt x="91" y="31"/>
                    <a:pt x="91" y="29"/>
                  </a:cubicBezTo>
                  <a:cubicBezTo>
                    <a:pt x="92" y="27"/>
                    <a:pt x="93" y="24"/>
                    <a:pt x="93" y="24"/>
                  </a:cubicBezTo>
                  <a:cubicBezTo>
                    <a:pt x="93" y="22"/>
                    <a:pt x="93" y="22"/>
                    <a:pt x="93" y="22"/>
                  </a:cubicBezTo>
                  <a:cubicBezTo>
                    <a:pt x="96" y="20"/>
                    <a:pt x="96" y="20"/>
                    <a:pt x="96" y="20"/>
                  </a:cubicBezTo>
                  <a:cubicBezTo>
                    <a:pt x="96" y="19"/>
                    <a:pt x="96" y="19"/>
                    <a:pt x="96" y="19"/>
                  </a:cubicBezTo>
                  <a:cubicBezTo>
                    <a:pt x="94" y="19"/>
                    <a:pt x="94" y="19"/>
                    <a:pt x="94" y="19"/>
                  </a:cubicBezTo>
                  <a:cubicBezTo>
                    <a:pt x="91" y="19"/>
                    <a:pt x="91" y="19"/>
                    <a:pt x="91" y="19"/>
                  </a:cubicBezTo>
                  <a:close/>
                </a:path>
              </a:pathLst>
            </a:custGeom>
            <a:solidFill>
              <a:schemeClr val="accent6"/>
            </a:solidFill>
            <a:ln w="0">
              <a:solidFill>
                <a:schemeClr val="bg1"/>
              </a:solidFill>
              <a:round/>
              <a:headEnd/>
              <a:tailEnd/>
            </a:ln>
          </p:spPr>
          <p:txBody>
            <a:bodyPr vert="horz" wrap="square" lIns="91419" tIns="45709" rIns="91419" bIns="45709" numCol="1" anchor="t" anchorCtr="0" compatLnSpc="1">
              <a:prstTxWarp prst="textNoShape">
                <a:avLst/>
              </a:prstTxWarp>
            </a:bodyPr>
            <a:lstStyle/>
            <a:p>
              <a:endParaRPr lang="en-US" dirty="0"/>
            </a:p>
          </p:txBody>
        </p:sp>
        <p:sp>
          <p:nvSpPr>
            <p:cNvPr id="277" name="Finland">
              <a:extLst>
                <a:ext uri="{FF2B5EF4-FFF2-40B4-BE49-F238E27FC236}">
                  <a16:creationId xmlns:a16="http://schemas.microsoft.com/office/drawing/2014/main" id="{12333A2A-2E9A-4209-8F3A-14EF646729E9}"/>
                </a:ext>
              </a:extLst>
            </p:cNvPr>
            <p:cNvSpPr>
              <a:spLocks/>
            </p:cNvSpPr>
            <p:nvPr/>
          </p:nvSpPr>
          <p:spPr bwMode="gray">
            <a:xfrm>
              <a:off x="6518536" y="2381150"/>
              <a:ext cx="828366" cy="1111352"/>
            </a:xfrm>
            <a:custGeom>
              <a:avLst/>
              <a:gdLst>
                <a:gd name="T0" fmla="*/ 88 w 422"/>
                <a:gd name="T1" fmla="*/ 64 h 480"/>
                <a:gd name="T2" fmla="*/ 64 w 422"/>
                <a:gd name="T3" fmla="*/ 59 h 480"/>
                <a:gd name="T4" fmla="*/ 40 w 422"/>
                <a:gd name="T5" fmla="*/ 47 h 480"/>
                <a:gd name="T6" fmla="*/ 16 w 422"/>
                <a:gd name="T7" fmla="*/ 36 h 480"/>
                <a:gd name="T8" fmla="*/ 2 w 422"/>
                <a:gd name="T9" fmla="*/ 40 h 480"/>
                <a:gd name="T10" fmla="*/ 17 w 422"/>
                <a:gd name="T11" fmla="*/ 56 h 480"/>
                <a:gd name="T12" fmla="*/ 48 w 422"/>
                <a:gd name="T13" fmla="*/ 72 h 480"/>
                <a:gd name="T14" fmla="*/ 92 w 422"/>
                <a:gd name="T15" fmla="*/ 85 h 480"/>
                <a:gd name="T16" fmla="*/ 103 w 422"/>
                <a:gd name="T17" fmla="*/ 114 h 480"/>
                <a:gd name="T18" fmla="*/ 107 w 422"/>
                <a:gd name="T19" fmla="*/ 132 h 480"/>
                <a:gd name="T20" fmla="*/ 113 w 422"/>
                <a:gd name="T21" fmla="*/ 165 h 480"/>
                <a:gd name="T22" fmla="*/ 138 w 422"/>
                <a:gd name="T23" fmla="*/ 204 h 480"/>
                <a:gd name="T24" fmla="*/ 179 w 422"/>
                <a:gd name="T25" fmla="*/ 217 h 480"/>
                <a:gd name="T26" fmla="*/ 167 w 422"/>
                <a:gd name="T27" fmla="*/ 234 h 480"/>
                <a:gd name="T28" fmla="*/ 119 w 422"/>
                <a:gd name="T29" fmla="*/ 283 h 480"/>
                <a:gd name="T30" fmla="*/ 81 w 422"/>
                <a:gd name="T31" fmla="*/ 309 h 480"/>
                <a:gd name="T32" fmla="*/ 45 w 422"/>
                <a:gd name="T33" fmla="*/ 336 h 480"/>
                <a:gd name="T34" fmla="*/ 49 w 422"/>
                <a:gd name="T35" fmla="*/ 364 h 480"/>
                <a:gd name="T36" fmla="*/ 62 w 422"/>
                <a:gd name="T37" fmla="*/ 393 h 480"/>
                <a:gd name="T38" fmla="*/ 71 w 422"/>
                <a:gd name="T39" fmla="*/ 452 h 480"/>
                <a:gd name="T40" fmla="*/ 114 w 422"/>
                <a:gd name="T41" fmla="*/ 460 h 480"/>
                <a:gd name="T42" fmla="*/ 180 w 422"/>
                <a:gd name="T43" fmla="*/ 475 h 480"/>
                <a:gd name="T44" fmla="*/ 222 w 422"/>
                <a:gd name="T45" fmla="*/ 465 h 480"/>
                <a:gd name="T46" fmla="*/ 304 w 422"/>
                <a:gd name="T47" fmla="*/ 451 h 480"/>
                <a:gd name="T48" fmla="*/ 305 w 422"/>
                <a:gd name="T49" fmla="*/ 441 h 480"/>
                <a:gd name="T50" fmla="*/ 382 w 422"/>
                <a:gd name="T51" fmla="*/ 381 h 480"/>
                <a:gd name="T52" fmla="*/ 421 w 422"/>
                <a:gd name="T53" fmla="*/ 340 h 480"/>
                <a:gd name="T54" fmla="*/ 360 w 422"/>
                <a:gd name="T55" fmla="*/ 295 h 480"/>
                <a:gd name="T56" fmla="*/ 368 w 422"/>
                <a:gd name="T57" fmla="*/ 265 h 480"/>
                <a:gd name="T58" fmla="*/ 359 w 422"/>
                <a:gd name="T59" fmla="*/ 247 h 480"/>
                <a:gd name="T60" fmla="*/ 339 w 422"/>
                <a:gd name="T61" fmla="*/ 228 h 480"/>
                <a:gd name="T62" fmla="*/ 337 w 422"/>
                <a:gd name="T63" fmla="*/ 202 h 480"/>
                <a:gd name="T64" fmla="*/ 312 w 422"/>
                <a:gd name="T65" fmla="*/ 156 h 480"/>
                <a:gd name="T66" fmla="*/ 316 w 422"/>
                <a:gd name="T67" fmla="*/ 133 h 480"/>
                <a:gd name="T68" fmla="*/ 312 w 422"/>
                <a:gd name="T69" fmla="*/ 98 h 480"/>
                <a:gd name="T70" fmla="*/ 275 w 422"/>
                <a:gd name="T71" fmla="*/ 82 h 480"/>
                <a:gd name="T72" fmla="*/ 282 w 422"/>
                <a:gd name="T73" fmla="*/ 62 h 480"/>
                <a:gd name="T74" fmla="*/ 280 w 422"/>
                <a:gd name="T75" fmla="*/ 36 h 480"/>
                <a:gd name="T76" fmla="*/ 271 w 422"/>
                <a:gd name="T77" fmla="*/ 13 h 480"/>
                <a:gd name="T78" fmla="*/ 240 w 422"/>
                <a:gd name="T79" fmla="*/ 1 h 480"/>
                <a:gd name="T80" fmla="*/ 198 w 422"/>
                <a:gd name="T81" fmla="*/ 5 h 480"/>
                <a:gd name="T82" fmla="*/ 173 w 422"/>
                <a:gd name="T83" fmla="*/ 30 h 480"/>
                <a:gd name="T84" fmla="*/ 157 w 422"/>
                <a:gd name="T85" fmla="*/ 50 h 480"/>
                <a:gd name="T86" fmla="*/ 123 w 422"/>
                <a:gd name="T87" fmla="*/ 5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84" name="Estonia">
              <a:extLst>
                <a:ext uri="{FF2B5EF4-FFF2-40B4-BE49-F238E27FC236}">
                  <a16:creationId xmlns:a16="http://schemas.microsoft.com/office/drawing/2014/main" id="{5EE45B5F-A0E2-49CC-9FC0-5400DA7EF640}"/>
                </a:ext>
              </a:extLst>
            </p:cNvPr>
            <p:cNvSpPr>
              <a:spLocks noEditPoints="1"/>
            </p:cNvSpPr>
            <p:nvPr/>
          </p:nvSpPr>
          <p:spPr bwMode="gray">
            <a:xfrm>
              <a:off x="6674214" y="3518648"/>
              <a:ext cx="466998" cy="248419"/>
            </a:xfrm>
            <a:custGeom>
              <a:avLst/>
              <a:gdLst>
                <a:gd name="T0" fmla="*/ 228 w 237"/>
                <a:gd name="T1" fmla="*/ 76 h 107"/>
                <a:gd name="T2" fmla="*/ 221 w 237"/>
                <a:gd name="T3" fmla="*/ 74 h 107"/>
                <a:gd name="T4" fmla="*/ 226 w 237"/>
                <a:gd name="T5" fmla="*/ 56 h 107"/>
                <a:gd name="T6" fmla="*/ 217 w 237"/>
                <a:gd name="T7" fmla="*/ 52 h 107"/>
                <a:gd name="T8" fmla="*/ 220 w 237"/>
                <a:gd name="T9" fmla="*/ 36 h 107"/>
                <a:gd name="T10" fmla="*/ 231 w 237"/>
                <a:gd name="T11" fmla="*/ 30 h 107"/>
                <a:gd name="T12" fmla="*/ 228 w 237"/>
                <a:gd name="T13" fmla="*/ 21 h 107"/>
                <a:gd name="T14" fmla="*/ 231 w 237"/>
                <a:gd name="T15" fmla="*/ 11 h 107"/>
                <a:gd name="T16" fmla="*/ 170 w 237"/>
                <a:gd name="T17" fmla="*/ 1 h 107"/>
                <a:gd name="T18" fmla="*/ 110 w 237"/>
                <a:gd name="T19" fmla="*/ 6 h 107"/>
                <a:gd name="T20" fmla="*/ 60 w 237"/>
                <a:gd name="T21" fmla="*/ 31 h 107"/>
                <a:gd name="T22" fmla="*/ 66 w 237"/>
                <a:gd name="T23" fmla="*/ 56 h 107"/>
                <a:gd name="T24" fmla="*/ 105 w 237"/>
                <a:gd name="T25" fmla="*/ 61 h 107"/>
                <a:gd name="T26" fmla="*/ 98 w 237"/>
                <a:gd name="T27" fmla="*/ 85 h 107"/>
                <a:gd name="T28" fmla="*/ 102 w 237"/>
                <a:gd name="T29" fmla="*/ 85 h 107"/>
                <a:gd name="T30" fmla="*/ 123 w 237"/>
                <a:gd name="T31" fmla="*/ 79 h 107"/>
                <a:gd name="T32" fmla="*/ 144 w 237"/>
                <a:gd name="T33" fmla="*/ 78 h 107"/>
                <a:gd name="T34" fmla="*/ 172 w 237"/>
                <a:gd name="T35" fmla="*/ 95 h 107"/>
                <a:gd name="T36" fmla="*/ 192 w 237"/>
                <a:gd name="T37" fmla="*/ 107 h 107"/>
                <a:gd name="T38" fmla="*/ 203 w 237"/>
                <a:gd name="T39" fmla="*/ 101 h 107"/>
                <a:gd name="T40" fmla="*/ 216 w 237"/>
                <a:gd name="T41" fmla="*/ 106 h 107"/>
                <a:gd name="T42" fmla="*/ 224 w 237"/>
                <a:gd name="T43" fmla="*/ 105 h 107"/>
                <a:gd name="T44" fmla="*/ 224 w 237"/>
                <a:gd name="T45" fmla="*/ 97 h 107"/>
                <a:gd name="T46" fmla="*/ 237 w 237"/>
                <a:gd name="T47" fmla="*/ 88 h 107"/>
                <a:gd name="T48" fmla="*/ 228 w 237"/>
                <a:gd name="T49" fmla="*/ 76 h 107"/>
                <a:gd name="T50" fmla="*/ 27 w 237"/>
                <a:gd name="T51" fmla="*/ 53 h 107"/>
                <a:gd name="T52" fmla="*/ 7 w 237"/>
                <a:gd name="T53" fmla="*/ 55 h 107"/>
                <a:gd name="T54" fmla="*/ 9 w 237"/>
                <a:gd name="T55" fmla="*/ 74 h 107"/>
                <a:gd name="T56" fmla="*/ 14 w 237"/>
                <a:gd name="T57" fmla="*/ 87 h 107"/>
                <a:gd name="T58" fmla="*/ 34 w 237"/>
                <a:gd name="T59" fmla="*/ 74 h 107"/>
                <a:gd name="T60" fmla="*/ 55 w 237"/>
                <a:gd name="T61" fmla="*/ 60 h 107"/>
                <a:gd name="T62" fmla="*/ 51 w 237"/>
                <a:gd name="T63" fmla="*/ 49 h 107"/>
                <a:gd name="T64" fmla="*/ 27 w 237"/>
                <a:gd name="T65" fmla="*/ 53 h 107"/>
                <a:gd name="T66" fmla="*/ 29 w 237"/>
                <a:gd name="T67" fmla="*/ 45 h 107"/>
                <a:gd name="T68" fmla="*/ 35 w 237"/>
                <a:gd name="T69" fmla="*/ 25 h 107"/>
                <a:gd name="T70" fmla="*/ 29 w 237"/>
                <a:gd name="T71" fmla="*/ 4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4" y="52"/>
                    <a:pt x="7" y="55"/>
                  </a:cubicBezTo>
                  <a:cubicBezTo>
                    <a:pt x="0" y="57"/>
                    <a:pt x="9" y="74"/>
                    <a:pt x="9" y="74"/>
                  </a:cubicBezTo>
                  <a:cubicBezTo>
                    <a:pt x="14" y="87"/>
                    <a:pt x="14" y="87"/>
                    <a:pt x="14" y="87"/>
                  </a:cubicBezTo>
                  <a:cubicBezTo>
                    <a:pt x="14"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66" name="Czech Republic">
              <a:extLst>
                <a:ext uri="{FF2B5EF4-FFF2-40B4-BE49-F238E27FC236}">
                  <a16:creationId xmlns:a16="http://schemas.microsoft.com/office/drawing/2014/main" id="{F0ECB687-FBBF-4F01-BC66-139B12E7115D}"/>
                </a:ext>
              </a:extLst>
            </p:cNvPr>
            <p:cNvSpPr>
              <a:spLocks/>
            </p:cNvSpPr>
            <p:nvPr/>
          </p:nvSpPr>
          <p:spPr bwMode="gray">
            <a:xfrm>
              <a:off x="5957029" y="4518870"/>
              <a:ext cx="456302" cy="257673"/>
            </a:xfrm>
            <a:custGeom>
              <a:avLst/>
              <a:gdLst>
                <a:gd name="T0" fmla="*/ 268 w 280"/>
                <a:gd name="T1" fmla="*/ 67 h 132"/>
                <a:gd name="T2" fmla="*/ 255 w 280"/>
                <a:gd name="T3" fmla="*/ 60 h 132"/>
                <a:gd name="T4" fmla="*/ 240 w 280"/>
                <a:gd name="T5" fmla="*/ 57 h 132"/>
                <a:gd name="T6" fmla="*/ 219 w 280"/>
                <a:gd name="T7" fmla="*/ 42 h 132"/>
                <a:gd name="T8" fmla="*/ 196 w 280"/>
                <a:gd name="T9" fmla="*/ 47 h 132"/>
                <a:gd name="T10" fmla="*/ 177 w 280"/>
                <a:gd name="T11" fmla="*/ 35 h 132"/>
                <a:gd name="T12" fmla="*/ 178 w 280"/>
                <a:gd name="T13" fmla="*/ 28 h 132"/>
                <a:gd name="T14" fmla="*/ 159 w 280"/>
                <a:gd name="T15" fmla="*/ 24 h 132"/>
                <a:gd name="T16" fmla="*/ 132 w 280"/>
                <a:gd name="T17" fmla="*/ 13 h 132"/>
                <a:gd name="T18" fmla="*/ 116 w 280"/>
                <a:gd name="T19" fmla="*/ 2 h 132"/>
                <a:gd name="T20" fmla="*/ 108 w 280"/>
                <a:gd name="T21" fmla="*/ 11 h 132"/>
                <a:gd name="T22" fmla="*/ 87 w 280"/>
                <a:gd name="T23" fmla="*/ 11 h 132"/>
                <a:gd name="T24" fmla="*/ 72 w 280"/>
                <a:gd name="T25" fmla="*/ 19 h 132"/>
                <a:gd name="T26" fmla="*/ 56 w 280"/>
                <a:gd name="T27" fmla="*/ 24 h 132"/>
                <a:gd name="T28" fmla="*/ 38 w 280"/>
                <a:gd name="T29" fmla="*/ 36 h 132"/>
                <a:gd name="T30" fmla="*/ 21 w 280"/>
                <a:gd name="T31" fmla="*/ 36 h 132"/>
                <a:gd name="T32" fmla="*/ 11 w 280"/>
                <a:gd name="T33" fmla="*/ 42 h 132"/>
                <a:gd name="T34" fmla="*/ 5 w 280"/>
                <a:gd name="T35" fmla="*/ 50 h 132"/>
                <a:gd name="T36" fmla="*/ 17 w 280"/>
                <a:gd name="T37" fmla="*/ 60 h 132"/>
                <a:gd name="T38" fmla="*/ 19 w 280"/>
                <a:gd name="T39" fmla="*/ 74 h 132"/>
                <a:gd name="T40" fmla="*/ 27 w 280"/>
                <a:gd name="T41" fmla="*/ 82 h 132"/>
                <a:gd name="T42" fmla="*/ 42 w 280"/>
                <a:gd name="T43" fmla="*/ 90 h 132"/>
                <a:gd name="T44" fmla="*/ 49 w 280"/>
                <a:gd name="T45" fmla="*/ 98 h 132"/>
                <a:gd name="T46" fmla="*/ 65 w 280"/>
                <a:gd name="T47" fmla="*/ 108 h 132"/>
                <a:gd name="T48" fmla="*/ 87 w 280"/>
                <a:gd name="T49" fmla="*/ 131 h 132"/>
                <a:gd name="T50" fmla="*/ 110 w 280"/>
                <a:gd name="T51" fmla="*/ 132 h 132"/>
                <a:gd name="T52" fmla="*/ 115 w 280"/>
                <a:gd name="T53" fmla="*/ 119 h 132"/>
                <a:gd name="T54" fmla="*/ 142 w 280"/>
                <a:gd name="T55" fmla="*/ 112 h 132"/>
                <a:gd name="T56" fmla="*/ 158 w 280"/>
                <a:gd name="T57" fmla="*/ 113 h 132"/>
                <a:gd name="T58" fmla="*/ 173 w 280"/>
                <a:gd name="T59" fmla="*/ 120 h 132"/>
                <a:gd name="T60" fmla="*/ 200 w 280"/>
                <a:gd name="T61" fmla="*/ 123 h 132"/>
                <a:gd name="T62" fmla="*/ 221 w 280"/>
                <a:gd name="T63" fmla="*/ 116 h 132"/>
                <a:gd name="T64" fmla="*/ 255 w 280"/>
                <a:gd name="T65" fmla="*/ 105 h 132"/>
                <a:gd name="T66" fmla="*/ 269 w 280"/>
                <a:gd name="T67" fmla="*/ 86 h 132"/>
                <a:gd name="T68" fmla="*/ 275 w 280"/>
                <a:gd name="T69" fmla="*/ 7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49" name="Cyprus">
              <a:extLst>
                <a:ext uri="{FF2B5EF4-FFF2-40B4-BE49-F238E27FC236}">
                  <a16:creationId xmlns:a16="http://schemas.microsoft.com/office/drawing/2014/main" id="{A479E9F4-B0F8-4C84-9496-CE7E07E301B0}"/>
                </a:ext>
              </a:extLst>
            </p:cNvPr>
            <p:cNvSpPr>
              <a:spLocks/>
            </p:cNvSpPr>
            <p:nvPr/>
          </p:nvSpPr>
          <p:spPr bwMode="gray">
            <a:xfrm>
              <a:off x="7736079" y="6401625"/>
              <a:ext cx="189022" cy="137288"/>
            </a:xfrm>
            <a:custGeom>
              <a:avLst/>
              <a:gdLst>
                <a:gd name="T0" fmla="*/ 1 w 98"/>
                <a:gd name="T1" fmla="*/ 31 h 60"/>
                <a:gd name="T2" fmla="*/ 36 w 98"/>
                <a:gd name="T3" fmla="*/ 57 h 60"/>
                <a:gd name="T4" fmla="*/ 61 w 98"/>
                <a:gd name="T5" fmla="*/ 38 h 60"/>
                <a:gd name="T6" fmla="*/ 80 w 98"/>
                <a:gd name="T7" fmla="*/ 39 h 60"/>
                <a:gd name="T8" fmla="*/ 77 w 98"/>
                <a:gd name="T9" fmla="*/ 24 h 60"/>
                <a:gd name="T10" fmla="*/ 98 w 98"/>
                <a:gd name="T11" fmla="*/ 0 h 60"/>
                <a:gd name="T12" fmla="*/ 71 w 98"/>
                <a:gd name="T13" fmla="*/ 17 h 60"/>
                <a:gd name="T14" fmla="*/ 38 w 98"/>
                <a:gd name="T15" fmla="*/ 15 h 60"/>
                <a:gd name="T16" fmla="*/ 32 w 98"/>
                <a:gd name="T17" fmla="*/ 26 h 60"/>
                <a:gd name="T18" fmla="*/ 1 w 98"/>
                <a:gd name="T19"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60">
                  <a:moveTo>
                    <a:pt x="1" y="31"/>
                  </a:moveTo>
                  <a:cubicBezTo>
                    <a:pt x="2" y="45"/>
                    <a:pt x="29" y="60"/>
                    <a:pt x="36" y="57"/>
                  </a:cubicBezTo>
                  <a:cubicBezTo>
                    <a:pt x="43" y="54"/>
                    <a:pt x="61" y="38"/>
                    <a:pt x="61" y="38"/>
                  </a:cubicBezTo>
                  <a:cubicBezTo>
                    <a:pt x="61" y="38"/>
                    <a:pt x="77" y="45"/>
                    <a:pt x="80" y="39"/>
                  </a:cubicBezTo>
                  <a:cubicBezTo>
                    <a:pt x="84" y="33"/>
                    <a:pt x="77" y="24"/>
                    <a:pt x="77" y="24"/>
                  </a:cubicBezTo>
                  <a:cubicBezTo>
                    <a:pt x="98" y="0"/>
                    <a:pt x="98" y="0"/>
                    <a:pt x="98" y="0"/>
                  </a:cubicBezTo>
                  <a:cubicBezTo>
                    <a:pt x="71" y="17"/>
                    <a:pt x="71" y="17"/>
                    <a:pt x="71" y="17"/>
                  </a:cubicBezTo>
                  <a:cubicBezTo>
                    <a:pt x="71" y="17"/>
                    <a:pt x="47" y="13"/>
                    <a:pt x="38" y="15"/>
                  </a:cubicBezTo>
                  <a:cubicBezTo>
                    <a:pt x="29" y="17"/>
                    <a:pt x="32" y="26"/>
                    <a:pt x="32" y="26"/>
                  </a:cubicBezTo>
                  <a:cubicBezTo>
                    <a:pt x="32" y="26"/>
                    <a:pt x="0" y="20"/>
                    <a:pt x="1" y="31"/>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59" name="Croatia">
              <a:extLst>
                <a:ext uri="{FF2B5EF4-FFF2-40B4-BE49-F238E27FC236}">
                  <a16:creationId xmlns:a16="http://schemas.microsoft.com/office/drawing/2014/main" id="{A84D724B-705F-42B4-BA6B-C4B9963B65ED}"/>
                </a:ext>
              </a:extLst>
            </p:cNvPr>
            <p:cNvSpPr>
              <a:spLocks/>
            </p:cNvSpPr>
            <p:nvPr/>
          </p:nvSpPr>
          <p:spPr bwMode="gray">
            <a:xfrm>
              <a:off x="6090459" y="5068011"/>
              <a:ext cx="478120" cy="424929"/>
            </a:xfrm>
            <a:custGeom>
              <a:avLst/>
              <a:gdLst>
                <a:gd name="T0" fmla="*/ 232 w 246"/>
                <a:gd name="T1" fmla="*/ 77 h 186"/>
                <a:gd name="T2" fmla="*/ 228 w 246"/>
                <a:gd name="T3" fmla="*/ 65 h 186"/>
                <a:gd name="T4" fmla="*/ 226 w 246"/>
                <a:gd name="T5" fmla="*/ 52 h 186"/>
                <a:gd name="T6" fmla="*/ 217 w 246"/>
                <a:gd name="T7" fmla="*/ 32 h 186"/>
                <a:gd name="T8" fmla="*/ 183 w 246"/>
                <a:gd name="T9" fmla="*/ 41 h 186"/>
                <a:gd name="T10" fmla="*/ 168 w 246"/>
                <a:gd name="T11" fmla="*/ 34 h 186"/>
                <a:gd name="T12" fmla="*/ 139 w 246"/>
                <a:gd name="T13" fmla="*/ 13 h 186"/>
                <a:gd name="T14" fmla="*/ 112 w 246"/>
                <a:gd name="T15" fmla="*/ 2 h 186"/>
                <a:gd name="T16" fmla="*/ 93 w 246"/>
                <a:gd name="T17" fmla="*/ 14 h 186"/>
                <a:gd name="T18" fmla="*/ 87 w 246"/>
                <a:gd name="T19" fmla="*/ 31 h 186"/>
                <a:gd name="T20" fmla="*/ 70 w 246"/>
                <a:gd name="T21" fmla="*/ 40 h 186"/>
                <a:gd name="T22" fmla="*/ 59 w 246"/>
                <a:gd name="T23" fmla="*/ 53 h 186"/>
                <a:gd name="T24" fmla="*/ 40 w 246"/>
                <a:gd name="T25" fmla="*/ 45 h 186"/>
                <a:gd name="T26" fmla="*/ 22 w 246"/>
                <a:gd name="T27" fmla="*/ 54 h 186"/>
                <a:gd name="T28" fmla="*/ 14 w 246"/>
                <a:gd name="T29" fmla="*/ 57 h 186"/>
                <a:gd name="T30" fmla="*/ 1 w 246"/>
                <a:gd name="T31" fmla="*/ 67 h 186"/>
                <a:gd name="T32" fmla="*/ 31 w 246"/>
                <a:gd name="T33" fmla="*/ 70 h 186"/>
                <a:gd name="T34" fmla="*/ 54 w 246"/>
                <a:gd name="T35" fmla="*/ 87 h 186"/>
                <a:gd name="T36" fmla="*/ 68 w 246"/>
                <a:gd name="T37" fmla="*/ 123 h 186"/>
                <a:gd name="T38" fmla="*/ 98 w 246"/>
                <a:gd name="T39" fmla="*/ 161 h 186"/>
                <a:gd name="T40" fmla="*/ 146 w 246"/>
                <a:gd name="T41" fmla="*/ 171 h 186"/>
                <a:gd name="T42" fmla="*/ 165 w 246"/>
                <a:gd name="T43" fmla="*/ 186 h 186"/>
                <a:gd name="T44" fmla="*/ 131 w 246"/>
                <a:gd name="T45" fmla="*/ 146 h 186"/>
                <a:gd name="T46" fmla="*/ 110 w 246"/>
                <a:gd name="T47" fmla="*/ 123 h 186"/>
                <a:gd name="T48" fmla="*/ 102 w 246"/>
                <a:gd name="T49" fmla="*/ 105 h 186"/>
                <a:gd name="T50" fmla="*/ 91 w 246"/>
                <a:gd name="T51" fmla="*/ 93 h 186"/>
                <a:gd name="T52" fmla="*/ 93 w 246"/>
                <a:gd name="T53" fmla="*/ 81 h 186"/>
                <a:gd name="T54" fmla="*/ 112 w 246"/>
                <a:gd name="T55" fmla="*/ 74 h 186"/>
                <a:gd name="T56" fmla="*/ 142 w 246"/>
                <a:gd name="T57" fmla="*/ 68 h 186"/>
                <a:gd name="T58" fmla="*/ 164 w 246"/>
                <a:gd name="T59" fmla="*/ 71 h 186"/>
                <a:gd name="T60" fmla="*/ 193 w 246"/>
                <a:gd name="T61" fmla="*/ 73 h 186"/>
                <a:gd name="T62" fmla="*/ 220 w 246"/>
                <a:gd name="T63" fmla="*/ 8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87" name="Corsica">
              <a:extLst>
                <a:ext uri="{FF2B5EF4-FFF2-40B4-BE49-F238E27FC236}">
                  <a16:creationId xmlns:a16="http://schemas.microsoft.com/office/drawing/2014/main" id="{DAB7FB22-3292-4D9C-8F16-61F7B521EC34}"/>
                </a:ext>
              </a:extLst>
            </p:cNvPr>
            <p:cNvSpPr>
              <a:spLocks/>
            </p:cNvSpPr>
            <p:nvPr/>
          </p:nvSpPr>
          <p:spPr bwMode="gray">
            <a:xfrm>
              <a:off x="5662404" y="5481602"/>
              <a:ext cx="88930" cy="209279"/>
            </a:xfrm>
            <a:custGeom>
              <a:avLst/>
              <a:gdLst>
                <a:gd name="T0" fmla="*/ 8 w 8"/>
                <a:gd name="T1" fmla="*/ 4 h 16"/>
                <a:gd name="T2" fmla="*/ 7 w 8"/>
                <a:gd name="T3" fmla="*/ 4 h 16"/>
                <a:gd name="T4" fmla="*/ 7 w 8"/>
                <a:gd name="T5" fmla="*/ 1 h 16"/>
                <a:gd name="T6" fmla="*/ 5 w 8"/>
                <a:gd name="T7" fmla="*/ 3 h 16"/>
                <a:gd name="T8" fmla="*/ 1 w 8"/>
                <a:gd name="T9" fmla="*/ 8 h 16"/>
                <a:gd name="T10" fmla="*/ 3 w 8"/>
                <a:gd name="T11" fmla="*/ 12 h 16"/>
                <a:gd name="T12" fmla="*/ 2 w 8"/>
                <a:gd name="T13" fmla="*/ 15 h 16"/>
                <a:gd name="T14" fmla="*/ 5 w 8"/>
                <a:gd name="T15" fmla="*/ 16 h 16"/>
                <a:gd name="T16" fmla="*/ 7 w 8"/>
                <a:gd name="T17" fmla="*/ 13 h 16"/>
                <a:gd name="T18" fmla="*/ 7 w 8"/>
                <a:gd name="T19" fmla="*/ 11 h 16"/>
                <a:gd name="T20" fmla="*/ 8 w 8"/>
                <a:gd name="T21" fmla="*/ 10 h 16"/>
                <a:gd name="T22" fmla="*/ 8 w 8"/>
                <a:gd name="T23"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6">
                  <a:moveTo>
                    <a:pt x="8" y="4"/>
                  </a:moveTo>
                  <a:cubicBezTo>
                    <a:pt x="7" y="4"/>
                    <a:pt x="7" y="4"/>
                    <a:pt x="7" y="4"/>
                  </a:cubicBezTo>
                  <a:cubicBezTo>
                    <a:pt x="7" y="4"/>
                    <a:pt x="8" y="3"/>
                    <a:pt x="7" y="1"/>
                  </a:cubicBezTo>
                  <a:cubicBezTo>
                    <a:pt x="7" y="0"/>
                    <a:pt x="5" y="3"/>
                    <a:pt x="5" y="3"/>
                  </a:cubicBezTo>
                  <a:cubicBezTo>
                    <a:pt x="5" y="3"/>
                    <a:pt x="0" y="6"/>
                    <a:pt x="1" y="8"/>
                  </a:cubicBezTo>
                  <a:cubicBezTo>
                    <a:pt x="1" y="11"/>
                    <a:pt x="3" y="12"/>
                    <a:pt x="3" y="12"/>
                  </a:cubicBezTo>
                  <a:cubicBezTo>
                    <a:pt x="3" y="12"/>
                    <a:pt x="1" y="14"/>
                    <a:pt x="2" y="15"/>
                  </a:cubicBezTo>
                  <a:cubicBezTo>
                    <a:pt x="4" y="16"/>
                    <a:pt x="5" y="16"/>
                    <a:pt x="5" y="16"/>
                  </a:cubicBezTo>
                  <a:cubicBezTo>
                    <a:pt x="5" y="16"/>
                    <a:pt x="7" y="15"/>
                    <a:pt x="7" y="13"/>
                  </a:cubicBezTo>
                  <a:cubicBezTo>
                    <a:pt x="7" y="11"/>
                    <a:pt x="7" y="11"/>
                    <a:pt x="7" y="11"/>
                  </a:cubicBezTo>
                  <a:cubicBezTo>
                    <a:pt x="8" y="10"/>
                    <a:pt x="8" y="10"/>
                    <a:pt x="8" y="10"/>
                  </a:cubicBezTo>
                  <a:cubicBezTo>
                    <a:pt x="8" y="4"/>
                    <a:pt x="8" y="4"/>
                    <a:pt x="8" y="4"/>
                  </a:cubicBezTo>
                  <a:close/>
                </a:path>
              </a:pathLst>
            </a:custGeom>
            <a:solidFill>
              <a:schemeClr val="accent6"/>
            </a:solidFill>
            <a:ln w="0">
              <a:solidFill>
                <a:schemeClr val="bg1"/>
              </a:solidFill>
              <a:round/>
              <a:headEnd/>
              <a:tailEnd/>
            </a:ln>
          </p:spPr>
          <p:txBody>
            <a:bodyPr vert="horz" wrap="square" lIns="91419" tIns="45709" rIns="91419" bIns="45709" numCol="1" anchor="t" anchorCtr="0" compatLnSpc="1">
              <a:prstTxWarp prst="textNoShape">
                <a:avLst/>
              </a:prstTxWarp>
            </a:bodyPr>
            <a:lstStyle/>
            <a:p>
              <a:endParaRPr lang="en-US" dirty="0"/>
            </a:p>
          </p:txBody>
        </p:sp>
        <p:sp>
          <p:nvSpPr>
            <p:cNvPr id="253" name="Bulgaria">
              <a:extLst>
                <a:ext uri="{FF2B5EF4-FFF2-40B4-BE49-F238E27FC236}">
                  <a16:creationId xmlns:a16="http://schemas.microsoft.com/office/drawing/2014/main" id="{013AA442-551A-4195-B034-7B7BB4655BA9}"/>
                </a:ext>
              </a:extLst>
            </p:cNvPr>
            <p:cNvSpPr>
              <a:spLocks/>
            </p:cNvSpPr>
            <p:nvPr/>
          </p:nvSpPr>
          <p:spPr bwMode="gray">
            <a:xfrm>
              <a:off x="6829874" y="5349113"/>
              <a:ext cx="522595" cy="359558"/>
            </a:xfrm>
            <a:custGeom>
              <a:avLst/>
              <a:gdLst>
                <a:gd name="T0" fmla="*/ 225 w 267"/>
                <a:gd name="T1" fmla="*/ 87 h 155"/>
                <a:gd name="T2" fmla="*/ 241 w 267"/>
                <a:gd name="T3" fmla="*/ 47 h 155"/>
                <a:gd name="T4" fmla="*/ 264 w 267"/>
                <a:gd name="T5" fmla="*/ 23 h 155"/>
                <a:gd name="T6" fmla="*/ 237 w 267"/>
                <a:gd name="T7" fmla="*/ 12 h 155"/>
                <a:gd name="T8" fmla="*/ 194 w 267"/>
                <a:gd name="T9" fmla="*/ 2 h 155"/>
                <a:gd name="T10" fmla="*/ 169 w 267"/>
                <a:gd name="T11" fmla="*/ 6 h 155"/>
                <a:gd name="T12" fmla="*/ 157 w 267"/>
                <a:gd name="T13" fmla="*/ 12 h 155"/>
                <a:gd name="T14" fmla="*/ 118 w 267"/>
                <a:gd name="T15" fmla="*/ 23 h 155"/>
                <a:gd name="T16" fmla="*/ 92 w 267"/>
                <a:gd name="T17" fmla="*/ 17 h 155"/>
                <a:gd name="T18" fmla="*/ 62 w 267"/>
                <a:gd name="T19" fmla="*/ 21 h 155"/>
                <a:gd name="T20" fmla="*/ 39 w 267"/>
                <a:gd name="T21" fmla="*/ 21 h 155"/>
                <a:gd name="T22" fmla="*/ 29 w 267"/>
                <a:gd name="T23" fmla="*/ 5 h 155"/>
                <a:gd name="T24" fmla="*/ 10 w 267"/>
                <a:gd name="T25" fmla="*/ 0 h 155"/>
                <a:gd name="T26" fmla="*/ 0 w 267"/>
                <a:gd name="T27" fmla="*/ 16 h 155"/>
                <a:gd name="T28" fmla="*/ 12 w 267"/>
                <a:gd name="T29" fmla="*/ 33 h 155"/>
                <a:gd name="T30" fmla="*/ 23 w 267"/>
                <a:gd name="T31" fmla="*/ 47 h 155"/>
                <a:gd name="T32" fmla="*/ 20 w 267"/>
                <a:gd name="T33" fmla="*/ 68 h 155"/>
                <a:gd name="T34" fmla="*/ 8 w 267"/>
                <a:gd name="T35" fmla="*/ 80 h 155"/>
                <a:gd name="T36" fmla="*/ 2 w 267"/>
                <a:gd name="T37" fmla="*/ 95 h 155"/>
                <a:gd name="T38" fmla="*/ 8 w 267"/>
                <a:gd name="T39" fmla="*/ 104 h 155"/>
                <a:gd name="T40" fmla="*/ 13 w 267"/>
                <a:gd name="T41" fmla="*/ 112 h 155"/>
                <a:gd name="T42" fmla="*/ 33 w 267"/>
                <a:gd name="T43" fmla="*/ 139 h 155"/>
                <a:gd name="T44" fmla="*/ 41 w 267"/>
                <a:gd name="T45" fmla="*/ 154 h 155"/>
                <a:gd name="T46" fmla="*/ 73 w 267"/>
                <a:gd name="T47" fmla="*/ 150 h 155"/>
                <a:gd name="T48" fmla="*/ 97 w 267"/>
                <a:gd name="T49" fmla="*/ 135 h 155"/>
                <a:gd name="T50" fmla="*/ 123 w 267"/>
                <a:gd name="T51" fmla="*/ 146 h 155"/>
                <a:gd name="T52" fmla="*/ 145 w 267"/>
                <a:gd name="T53" fmla="*/ 146 h 155"/>
                <a:gd name="T54" fmla="*/ 171 w 267"/>
                <a:gd name="T55" fmla="*/ 148 h 155"/>
                <a:gd name="T56" fmla="*/ 179 w 267"/>
                <a:gd name="T57" fmla="*/ 129 h 155"/>
                <a:gd name="T58" fmla="*/ 208 w 267"/>
                <a:gd name="T59" fmla="*/ 116 h 155"/>
                <a:gd name="T60" fmla="*/ 226 w 267"/>
                <a:gd name="T61" fmla="*/ 119 h 155"/>
                <a:gd name="T62" fmla="*/ 248 w 267"/>
                <a:gd name="T63" fmla="*/ 1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71" name="Belgium">
              <a:extLst>
                <a:ext uri="{FF2B5EF4-FFF2-40B4-BE49-F238E27FC236}">
                  <a16:creationId xmlns:a16="http://schemas.microsoft.com/office/drawing/2014/main" id="{983FB814-D3B9-4D74-8CE7-8D7BB871A1E1}"/>
                </a:ext>
              </a:extLst>
            </p:cNvPr>
            <p:cNvSpPr>
              <a:spLocks/>
            </p:cNvSpPr>
            <p:nvPr/>
          </p:nvSpPr>
          <p:spPr bwMode="gray">
            <a:xfrm>
              <a:off x="5206493" y="4473107"/>
              <a:ext cx="294655" cy="235346"/>
            </a:xfrm>
            <a:custGeom>
              <a:avLst/>
              <a:gdLst>
                <a:gd name="T0" fmla="*/ 0 w 149"/>
                <a:gd name="T1" fmla="*/ 29 h 102"/>
                <a:gd name="T2" fmla="*/ 6 w 149"/>
                <a:gd name="T3" fmla="*/ 43 h 102"/>
                <a:gd name="T4" fmla="*/ 22 w 149"/>
                <a:gd name="T5" fmla="*/ 47 h 102"/>
                <a:gd name="T6" fmla="*/ 29 w 149"/>
                <a:gd name="T7" fmla="*/ 54 h 102"/>
                <a:gd name="T8" fmla="*/ 52 w 149"/>
                <a:gd name="T9" fmla="*/ 59 h 102"/>
                <a:gd name="T10" fmla="*/ 57 w 149"/>
                <a:gd name="T11" fmla="*/ 78 h 102"/>
                <a:gd name="T12" fmla="*/ 72 w 149"/>
                <a:gd name="T13" fmla="*/ 78 h 102"/>
                <a:gd name="T14" fmla="*/ 82 w 149"/>
                <a:gd name="T15" fmla="*/ 71 h 102"/>
                <a:gd name="T16" fmla="*/ 82 w 149"/>
                <a:gd name="T17" fmla="*/ 87 h 102"/>
                <a:gd name="T18" fmla="*/ 106 w 149"/>
                <a:gd name="T19" fmla="*/ 94 h 102"/>
                <a:gd name="T20" fmla="*/ 109 w 149"/>
                <a:gd name="T21" fmla="*/ 98 h 102"/>
                <a:gd name="T22" fmla="*/ 123 w 149"/>
                <a:gd name="T23" fmla="*/ 98 h 102"/>
                <a:gd name="T24" fmla="*/ 128 w 149"/>
                <a:gd name="T25" fmla="*/ 102 h 102"/>
                <a:gd name="T26" fmla="*/ 131 w 149"/>
                <a:gd name="T27" fmla="*/ 100 h 102"/>
                <a:gd name="T28" fmla="*/ 120 w 149"/>
                <a:gd name="T29" fmla="*/ 86 h 102"/>
                <a:gd name="T30" fmla="*/ 130 w 149"/>
                <a:gd name="T31" fmla="*/ 72 h 102"/>
                <a:gd name="T32" fmla="*/ 138 w 149"/>
                <a:gd name="T33" fmla="*/ 68 h 102"/>
                <a:gd name="T34" fmla="*/ 138 w 149"/>
                <a:gd name="T35" fmla="*/ 68 h 102"/>
                <a:gd name="T36" fmla="*/ 140 w 149"/>
                <a:gd name="T37" fmla="*/ 62 h 102"/>
                <a:gd name="T38" fmla="*/ 149 w 149"/>
                <a:gd name="T39" fmla="*/ 61 h 102"/>
                <a:gd name="T40" fmla="*/ 146 w 149"/>
                <a:gd name="T41" fmla="*/ 48 h 102"/>
                <a:gd name="T42" fmla="*/ 136 w 149"/>
                <a:gd name="T43" fmla="*/ 39 h 102"/>
                <a:gd name="T44" fmla="*/ 131 w 149"/>
                <a:gd name="T45" fmla="*/ 38 h 102"/>
                <a:gd name="T46" fmla="*/ 120 w 149"/>
                <a:gd name="T47" fmla="*/ 38 h 102"/>
                <a:gd name="T48" fmla="*/ 122 w 149"/>
                <a:gd name="T49" fmla="*/ 28 h 102"/>
                <a:gd name="T50" fmla="*/ 127 w 149"/>
                <a:gd name="T51" fmla="*/ 19 h 102"/>
                <a:gd name="T52" fmla="*/ 116 w 149"/>
                <a:gd name="T53" fmla="*/ 12 h 102"/>
                <a:gd name="T54" fmla="*/ 102 w 149"/>
                <a:gd name="T55" fmla="*/ 12 h 102"/>
                <a:gd name="T56" fmla="*/ 98 w 149"/>
                <a:gd name="T57" fmla="*/ 2 h 102"/>
                <a:gd name="T58" fmla="*/ 79 w 149"/>
                <a:gd name="T59" fmla="*/ 2 h 102"/>
                <a:gd name="T60" fmla="*/ 73 w 149"/>
                <a:gd name="T61" fmla="*/ 6 h 102"/>
                <a:gd name="T62" fmla="*/ 64 w 149"/>
                <a:gd name="T63" fmla="*/ 4 h 102"/>
                <a:gd name="T64" fmla="*/ 64 w 149"/>
                <a:gd name="T65" fmla="*/ 10 h 102"/>
                <a:gd name="T66" fmla="*/ 54 w 149"/>
                <a:gd name="T67" fmla="*/ 8 h 102"/>
                <a:gd name="T68" fmla="*/ 51 w 149"/>
                <a:gd name="T69" fmla="*/ 15 h 102"/>
                <a:gd name="T70" fmla="*/ 42 w 149"/>
                <a:gd name="T71" fmla="*/ 10 h 102"/>
                <a:gd name="T72" fmla="*/ 30 w 149"/>
                <a:gd name="T73" fmla="*/ 12 h 102"/>
                <a:gd name="T74" fmla="*/ 26 w 149"/>
                <a:gd name="T75" fmla="*/ 6 h 102"/>
                <a:gd name="T76" fmla="*/ 18 w 149"/>
                <a:gd name="T77" fmla="*/ 8 h 102"/>
                <a:gd name="T78" fmla="*/ 17 w 149"/>
                <a:gd name="T79" fmla="*/ 6 h 102"/>
                <a:gd name="T80" fmla="*/ 1 w 149"/>
                <a:gd name="T81" fmla="*/ 20 h 102"/>
                <a:gd name="T82" fmla="*/ 0 w 149"/>
                <a:gd name="T83" fmla="*/ 2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75" name="Belarus">
              <a:extLst>
                <a:ext uri="{FF2B5EF4-FFF2-40B4-BE49-F238E27FC236}">
                  <a16:creationId xmlns:a16="http://schemas.microsoft.com/office/drawing/2014/main" id="{74E98B9B-0D7A-4853-B85D-B846147AB6C1}"/>
                </a:ext>
              </a:extLst>
            </p:cNvPr>
            <p:cNvSpPr>
              <a:spLocks/>
            </p:cNvSpPr>
            <p:nvPr/>
          </p:nvSpPr>
          <p:spPr bwMode="gray">
            <a:xfrm>
              <a:off x="6829874" y="3923966"/>
              <a:ext cx="750533" cy="575285"/>
            </a:xfrm>
            <a:custGeom>
              <a:avLst/>
              <a:gdLst>
                <a:gd name="T0" fmla="*/ 19 w 382"/>
                <a:gd name="T1" fmla="*/ 225 h 250"/>
                <a:gd name="T2" fmla="*/ 42 w 382"/>
                <a:gd name="T3" fmla="*/ 236 h 250"/>
                <a:gd name="T4" fmla="*/ 77 w 382"/>
                <a:gd name="T5" fmla="*/ 221 h 250"/>
                <a:gd name="T6" fmla="*/ 121 w 382"/>
                <a:gd name="T7" fmla="*/ 214 h 250"/>
                <a:gd name="T8" fmla="*/ 146 w 382"/>
                <a:gd name="T9" fmla="*/ 222 h 250"/>
                <a:gd name="T10" fmla="*/ 176 w 382"/>
                <a:gd name="T11" fmla="*/ 234 h 250"/>
                <a:gd name="T12" fmla="*/ 193 w 382"/>
                <a:gd name="T13" fmla="*/ 239 h 250"/>
                <a:gd name="T14" fmla="*/ 205 w 382"/>
                <a:gd name="T15" fmla="*/ 237 h 250"/>
                <a:gd name="T16" fmla="*/ 221 w 382"/>
                <a:gd name="T17" fmla="*/ 240 h 250"/>
                <a:gd name="T18" fmla="*/ 236 w 382"/>
                <a:gd name="T19" fmla="*/ 242 h 250"/>
                <a:gd name="T20" fmla="*/ 259 w 382"/>
                <a:gd name="T21" fmla="*/ 245 h 250"/>
                <a:gd name="T22" fmla="*/ 301 w 382"/>
                <a:gd name="T23" fmla="*/ 247 h 250"/>
                <a:gd name="T24" fmla="*/ 323 w 382"/>
                <a:gd name="T25" fmla="*/ 206 h 250"/>
                <a:gd name="T26" fmla="*/ 344 w 382"/>
                <a:gd name="T27" fmla="*/ 191 h 250"/>
                <a:gd name="T28" fmla="*/ 328 w 382"/>
                <a:gd name="T29" fmla="*/ 151 h 250"/>
                <a:gd name="T30" fmla="*/ 365 w 382"/>
                <a:gd name="T31" fmla="*/ 155 h 250"/>
                <a:gd name="T32" fmla="*/ 368 w 382"/>
                <a:gd name="T33" fmla="*/ 131 h 250"/>
                <a:gd name="T34" fmla="*/ 340 w 382"/>
                <a:gd name="T35" fmla="*/ 118 h 250"/>
                <a:gd name="T36" fmla="*/ 318 w 382"/>
                <a:gd name="T37" fmla="*/ 96 h 250"/>
                <a:gd name="T38" fmla="*/ 294 w 382"/>
                <a:gd name="T39" fmla="*/ 66 h 250"/>
                <a:gd name="T40" fmla="*/ 290 w 382"/>
                <a:gd name="T41" fmla="*/ 44 h 250"/>
                <a:gd name="T42" fmla="*/ 260 w 382"/>
                <a:gd name="T43" fmla="*/ 9 h 250"/>
                <a:gd name="T44" fmla="*/ 236 w 382"/>
                <a:gd name="T45" fmla="*/ 11 h 250"/>
                <a:gd name="T46" fmla="*/ 204 w 382"/>
                <a:gd name="T47" fmla="*/ 11 h 250"/>
                <a:gd name="T48" fmla="*/ 176 w 382"/>
                <a:gd name="T49" fmla="*/ 0 h 250"/>
                <a:gd name="T50" fmla="*/ 157 w 382"/>
                <a:gd name="T51" fmla="*/ 19 h 250"/>
                <a:gd name="T52" fmla="*/ 119 w 382"/>
                <a:gd name="T53" fmla="*/ 31 h 250"/>
                <a:gd name="T54" fmla="*/ 120 w 382"/>
                <a:gd name="T55" fmla="*/ 52 h 250"/>
                <a:gd name="T56" fmla="*/ 111 w 382"/>
                <a:gd name="T57" fmla="*/ 60 h 250"/>
                <a:gd name="T58" fmla="*/ 98 w 382"/>
                <a:gd name="T59" fmla="*/ 77 h 250"/>
                <a:gd name="T60" fmla="*/ 96 w 382"/>
                <a:gd name="T61" fmla="*/ 104 h 250"/>
                <a:gd name="T62" fmla="*/ 72 w 382"/>
                <a:gd name="T63" fmla="*/ 103 h 250"/>
                <a:gd name="T64" fmla="*/ 60 w 382"/>
                <a:gd name="T65" fmla="*/ 103 h 250"/>
                <a:gd name="T66" fmla="*/ 40 w 382"/>
                <a:gd name="T67" fmla="*/ 113 h 250"/>
                <a:gd name="T68" fmla="*/ 6 w 382"/>
                <a:gd name="T69" fmla="*/ 113 h 250"/>
                <a:gd name="T70" fmla="*/ 25 w 382"/>
                <a:gd name="T71" fmla="*/ 145 h 250"/>
                <a:gd name="T72" fmla="*/ 27 w 382"/>
                <a:gd name="T73" fmla="*/ 173 h 250"/>
                <a:gd name="T74" fmla="*/ 12 w 382"/>
                <a:gd name="T75" fmla="*/ 190 h 250"/>
                <a:gd name="T76" fmla="*/ 20 w 382"/>
                <a:gd name="T77" fmla="*/ 20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6"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58" name="Bosnia and Herzegovina">
              <a:extLst>
                <a:ext uri="{FF2B5EF4-FFF2-40B4-BE49-F238E27FC236}">
                  <a16:creationId xmlns:a16="http://schemas.microsoft.com/office/drawing/2014/main" id="{B378ADF7-7BC9-4B3A-BB4B-E4F72FD62994}"/>
                </a:ext>
              </a:extLst>
            </p:cNvPr>
            <p:cNvSpPr>
              <a:spLocks/>
            </p:cNvSpPr>
            <p:nvPr/>
          </p:nvSpPr>
          <p:spPr bwMode="gray">
            <a:xfrm>
              <a:off x="6251684" y="5218367"/>
              <a:ext cx="339130" cy="353015"/>
            </a:xfrm>
            <a:custGeom>
              <a:avLst/>
              <a:gdLst>
                <a:gd name="T0" fmla="*/ 162 w 173"/>
                <a:gd name="T1" fmla="*/ 51 h 153"/>
                <a:gd name="T2" fmla="*/ 151 w 173"/>
                <a:gd name="T3" fmla="*/ 52 h 153"/>
                <a:gd name="T4" fmla="*/ 151 w 173"/>
                <a:gd name="T5" fmla="*/ 41 h 153"/>
                <a:gd name="T6" fmla="*/ 163 w 173"/>
                <a:gd name="T7" fmla="*/ 22 h 153"/>
                <a:gd name="T8" fmla="*/ 144 w 173"/>
                <a:gd name="T9" fmla="*/ 23 h 153"/>
                <a:gd name="T10" fmla="*/ 141 w 173"/>
                <a:gd name="T11" fmla="*/ 18 h 153"/>
                <a:gd name="T12" fmla="*/ 136 w 173"/>
                <a:gd name="T13" fmla="*/ 19 h 153"/>
                <a:gd name="T14" fmla="*/ 126 w 173"/>
                <a:gd name="T15" fmla="*/ 8 h 153"/>
                <a:gd name="T16" fmla="*/ 109 w 173"/>
                <a:gd name="T17" fmla="*/ 7 h 153"/>
                <a:gd name="T18" fmla="*/ 93 w 173"/>
                <a:gd name="T19" fmla="*/ 8 h 153"/>
                <a:gd name="T20" fmla="*/ 80 w 173"/>
                <a:gd name="T21" fmla="*/ 5 h 153"/>
                <a:gd name="T22" fmla="*/ 71 w 173"/>
                <a:gd name="T23" fmla="*/ 9 h 153"/>
                <a:gd name="T24" fmla="*/ 58 w 173"/>
                <a:gd name="T25" fmla="*/ 2 h 153"/>
                <a:gd name="T26" fmla="*/ 43 w 173"/>
                <a:gd name="T27" fmla="*/ 4 h 153"/>
                <a:gd name="T28" fmla="*/ 28 w 173"/>
                <a:gd name="T29" fmla="*/ 8 h 153"/>
                <a:gd name="T30" fmla="*/ 12 w 173"/>
                <a:gd name="T31" fmla="*/ 1 h 153"/>
                <a:gd name="T32" fmla="*/ 9 w 173"/>
                <a:gd name="T33" fmla="*/ 15 h 153"/>
                <a:gd name="T34" fmla="*/ 0 w 173"/>
                <a:gd name="T35" fmla="*/ 20 h 153"/>
                <a:gd name="T36" fmla="*/ 7 w 173"/>
                <a:gd name="T37" fmla="*/ 27 h 153"/>
                <a:gd name="T38" fmla="*/ 19 w 173"/>
                <a:gd name="T39" fmla="*/ 30 h 153"/>
                <a:gd name="T40" fmla="*/ 18 w 173"/>
                <a:gd name="T41" fmla="*/ 39 h 153"/>
                <a:gd name="T42" fmla="*/ 26 w 173"/>
                <a:gd name="T43" fmla="*/ 43 h 153"/>
                <a:gd name="T44" fmla="*/ 26 w 173"/>
                <a:gd name="T45" fmla="*/ 57 h 153"/>
                <a:gd name="T46" fmla="*/ 37 w 173"/>
                <a:gd name="T47" fmla="*/ 60 h 153"/>
                <a:gd name="T48" fmla="*/ 47 w 173"/>
                <a:gd name="T49" fmla="*/ 80 h 153"/>
                <a:gd name="T50" fmla="*/ 75 w 173"/>
                <a:gd name="T51" fmla="*/ 99 h 153"/>
                <a:gd name="T52" fmla="*/ 81 w 173"/>
                <a:gd name="T53" fmla="*/ 120 h 153"/>
                <a:gd name="T54" fmla="*/ 89 w 173"/>
                <a:gd name="T55" fmla="*/ 121 h 153"/>
                <a:gd name="T56" fmla="*/ 125 w 173"/>
                <a:gd name="T57" fmla="*/ 153 h 153"/>
                <a:gd name="T58" fmla="*/ 138 w 173"/>
                <a:gd name="T59" fmla="*/ 137 h 153"/>
                <a:gd name="T60" fmla="*/ 124 w 173"/>
                <a:gd name="T61" fmla="*/ 128 h 153"/>
                <a:gd name="T62" fmla="*/ 125 w 173"/>
                <a:gd name="T63" fmla="*/ 118 h 153"/>
                <a:gd name="T64" fmla="*/ 130 w 173"/>
                <a:gd name="T65" fmla="*/ 118 h 153"/>
                <a:gd name="T66" fmla="*/ 139 w 173"/>
                <a:gd name="T67" fmla="*/ 103 h 153"/>
                <a:gd name="T68" fmla="*/ 150 w 173"/>
                <a:gd name="T69" fmla="*/ 104 h 153"/>
                <a:gd name="T70" fmla="*/ 150 w 173"/>
                <a:gd name="T71" fmla="*/ 89 h 153"/>
                <a:gd name="T72" fmla="*/ 171 w 173"/>
                <a:gd name="T73" fmla="*/ 86 h 153"/>
                <a:gd name="T74" fmla="*/ 159 w 173"/>
                <a:gd name="T75" fmla="*/ 66 h 153"/>
                <a:gd name="T76" fmla="*/ 173 w 173"/>
                <a:gd name="T77" fmla="*/ 64 h 153"/>
                <a:gd name="T78" fmla="*/ 162 w 173"/>
                <a:gd name="T7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69" name="Austria">
              <a:extLst>
                <a:ext uri="{FF2B5EF4-FFF2-40B4-BE49-F238E27FC236}">
                  <a16:creationId xmlns:a16="http://schemas.microsoft.com/office/drawing/2014/main" id="{E5231C56-5A08-45D4-BDA2-A99AC72DFBA6}"/>
                </a:ext>
              </a:extLst>
            </p:cNvPr>
            <p:cNvSpPr>
              <a:spLocks/>
            </p:cNvSpPr>
            <p:nvPr/>
          </p:nvSpPr>
          <p:spPr bwMode="gray">
            <a:xfrm>
              <a:off x="5756887" y="4760751"/>
              <a:ext cx="600428" cy="320332"/>
            </a:xfrm>
            <a:custGeom>
              <a:avLst/>
              <a:gdLst>
                <a:gd name="T0" fmla="*/ 307 w 308"/>
                <a:gd name="T1" fmla="*/ 48 h 138"/>
                <a:gd name="T2" fmla="*/ 301 w 308"/>
                <a:gd name="T3" fmla="*/ 33 h 138"/>
                <a:gd name="T4" fmla="*/ 287 w 308"/>
                <a:gd name="T5" fmla="*/ 11 h 138"/>
                <a:gd name="T6" fmla="*/ 268 w 308"/>
                <a:gd name="T7" fmla="*/ 17 h 138"/>
                <a:gd name="T8" fmla="*/ 254 w 308"/>
                <a:gd name="T9" fmla="*/ 14 h 138"/>
                <a:gd name="T10" fmla="*/ 228 w 308"/>
                <a:gd name="T11" fmla="*/ 1 h 138"/>
                <a:gd name="T12" fmla="*/ 214 w 308"/>
                <a:gd name="T13" fmla="*/ 16 h 138"/>
                <a:gd name="T14" fmla="*/ 204 w 308"/>
                <a:gd name="T15" fmla="*/ 23 h 138"/>
                <a:gd name="T16" fmla="*/ 175 w 308"/>
                <a:gd name="T17" fmla="*/ 15 h 138"/>
                <a:gd name="T18" fmla="*/ 156 w 308"/>
                <a:gd name="T19" fmla="*/ 27 h 138"/>
                <a:gd name="T20" fmla="*/ 160 w 308"/>
                <a:gd name="T21" fmla="*/ 45 h 138"/>
                <a:gd name="T22" fmla="*/ 133 w 308"/>
                <a:gd name="T23" fmla="*/ 57 h 138"/>
                <a:gd name="T24" fmla="*/ 141 w 308"/>
                <a:gd name="T25" fmla="*/ 68 h 138"/>
                <a:gd name="T26" fmla="*/ 131 w 308"/>
                <a:gd name="T27" fmla="*/ 77 h 138"/>
                <a:gd name="T28" fmla="*/ 109 w 308"/>
                <a:gd name="T29" fmla="*/ 71 h 138"/>
                <a:gd name="T30" fmla="*/ 84 w 308"/>
                <a:gd name="T31" fmla="*/ 78 h 138"/>
                <a:gd name="T32" fmla="*/ 63 w 308"/>
                <a:gd name="T33" fmla="*/ 88 h 138"/>
                <a:gd name="T34" fmla="*/ 33 w 308"/>
                <a:gd name="T35" fmla="*/ 76 h 138"/>
                <a:gd name="T36" fmla="*/ 26 w 308"/>
                <a:gd name="T37" fmla="*/ 91 h 138"/>
                <a:gd name="T38" fmla="*/ 0 w 308"/>
                <a:gd name="T39" fmla="*/ 84 h 138"/>
                <a:gd name="T40" fmla="*/ 2 w 308"/>
                <a:gd name="T41" fmla="*/ 97 h 138"/>
                <a:gd name="T42" fmla="*/ 11 w 308"/>
                <a:gd name="T43" fmla="*/ 106 h 138"/>
                <a:gd name="T44" fmla="*/ 32 w 308"/>
                <a:gd name="T45" fmla="*/ 106 h 138"/>
                <a:gd name="T46" fmla="*/ 50 w 308"/>
                <a:gd name="T47" fmla="*/ 117 h 138"/>
                <a:gd name="T48" fmla="*/ 66 w 308"/>
                <a:gd name="T49" fmla="*/ 109 h 138"/>
                <a:gd name="T50" fmla="*/ 104 w 308"/>
                <a:gd name="T51" fmla="*/ 103 h 138"/>
                <a:gd name="T52" fmla="*/ 119 w 308"/>
                <a:gd name="T53" fmla="*/ 118 h 138"/>
                <a:gd name="T54" fmla="*/ 136 w 308"/>
                <a:gd name="T55" fmla="*/ 131 h 138"/>
                <a:gd name="T56" fmla="*/ 162 w 308"/>
                <a:gd name="T57" fmla="*/ 136 h 138"/>
                <a:gd name="T58" fmla="*/ 183 w 308"/>
                <a:gd name="T59" fmla="*/ 132 h 138"/>
                <a:gd name="T60" fmla="*/ 207 w 308"/>
                <a:gd name="T61" fmla="*/ 138 h 138"/>
                <a:gd name="T62" fmla="*/ 247 w 308"/>
                <a:gd name="T63" fmla="*/ 130 h 138"/>
                <a:gd name="T64" fmla="*/ 270 w 308"/>
                <a:gd name="T65" fmla="*/ 131 h 138"/>
                <a:gd name="T66" fmla="*/ 277 w 308"/>
                <a:gd name="T67" fmla="*/ 107 h 138"/>
                <a:gd name="T68" fmla="*/ 290 w 308"/>
                <a:gd name="T69" fmla="*/ 91 h 138"/>
                <a:gd name="T70" fmla="*/ 290 w 308"/>
                <a:gd name="T71" fmla="*/ 78 h 138"/>
                <a:gd name="T72" fmla="*/ 306 w 308"/>
                <a:gd name="T73"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2" y="111"/>
                    <a:pt x="92" y="111"/>
                    <a:pt x="92" y="111"/>
                  </a:cubicBezTo>
                  <a:cubicBezTo>
                    <a:pt x="92"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2"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8" y="79"/>
                    <a:pt x="298" y="79"/>
                    <a:pt x="298" y="79"/>
                  </a:cubicBezTo>
                  <a:cubicBezTo>
                    <a:pt x="290" y="78"/>
                    <a:pt x="290" y="78"/>
                    <a:pt x="290" y="78"/>
                  </a:cubicBezTo>
                  <a:cubicBezTo>
                    <a:pt x="291" y="69"/>
                    <a:pt x="291" y="69"/>
                    <a:pt x="291" y="69"/>
                  </a:cubicBezTo>
                  <a:lnTo>
                    <a:pt x="306" y="69"/>
                  </a:ln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73" name="Andorra">
              <a:extLst>
                <a:ext uri="{FF2B5EF4-FFF2-40B4-BE49-F238E27FC236}">
                  <a16:creationId xmlns:a16="http://schemas.microsoft.com/office/drawing/2014/main" id="{D26CE21F-5087-4F8A-884F-D9FAB48018FE}"/>
                </a:ext>
              </a:extLst>
            </p:cNvPr>
            <p:cNvSpPr>
              <a:spLocks/>
            </p:cNvSpPr>
            <p:nvPr/>
          </p:nvSpPr>
          <p:spPr bwMode="gray">
            <a:xfrm>
              <a:off x="5061946" y="5538699"/>
              <a:ext cx="38916" cy="26149"/>
            </a:xfrm>
            <a:custGeom>
              <a:avLst/>
              <a:gdLst>
                <a:gd name="T0" fmla="*/ 5 w 20"/>
                <a:gd name="T1" fmla="*/ 13 h 13"/>
                <a:gd name="T2" fmla="*/ 18 w 20"/>
                <a:gd name="T3" fmla="*/ 10 h 13"/>
                <a:gd name="T4" fmla="*/ 20 w 20"/>
                <a:gd name="T5" fmla="*/ 10 h 13"/>
                <a:gd name="T6" fmla="*/ 19 w 20"/>
                <a:gd name="T7" fmla="*/ 1 h 13"/>
                <a:gd name="T8" fmla="*/ 5 w 20"/>
                <a:gd name="T9" fmla="*/ 1 h 13"/>
                <a:gd name="T10" fmla="*/ 0 w 20"/>
                <a:gd name="T11" fmla="*/ 2 h 13"/>
                <a:gd name="T12" fmla="*/ 5 w 2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52" name="Albania">
              <a:extLst>
                <a:ext uri="{FF2B5EF4-FFF2-40B4-BE49-F238E27FC236}">
                  <a16:creationId xmlns:a16="http://schemas.microsoft.com/office/drawing/2014/main" id="{A730735C-FA22-4366-91F0-2E0582BDC473}"/>
                </a:ext>
              </a:extLst>
            </p:cNvPr>
            <p:cNvSpPr>
              <a:spLocks/>
            </p:cNvSpPr>
            <p:nvPr/>
          </p:nvSpPr>
          <p:spPr bwMode="gray">
            <a:xfrm>
              <a:off x="6551898" y="5538699"/>
              <a:ext cx="194583" cy="379165"/>
            </a:xfrm>
            <a:custGeom>
              <a:avLst/>
              <a:gdLst>
                <a:gd name="T0" fmla="*/ 62 w 100"/>
                <a:gd name="T1" fmla="*/ 142 h 165"/>
                <a:gd name="T2" fmla="*/ 72 w 100"/>
                <a:gd name="T3" fmla="*/ 138 h 165"/>
                <a:gd name="T4" fmla="*/ 80 w 100"/>
                <a:gd name="T5" fmla="*/ 133 h 165"/>
                <a:gd name="T6" fmla="*/ 80 w 100"/>
                <a:gd name="T7" fmla="*/ 119 h 165"/>
                <a:gd name="T8" fmla="*/ 95 w 100"/>
                <a:gd name="T9" fmla="*/ 113 h 165"/>
                <a:gd name="T10" fmla="*/ 95 w 100"/>
                <a:gd name="T11" fmla="*/ 92 h 165"/>
                <a:gd name="T12" fmla="*/ 77 w 100"/>
                <a:gd name="T13" fmla="*/ 99 h 165"/>
                <a:gd name="T14" fmla="*/ 77 w 100"/>
                <a:gd name="T15" fmla="*/ 85 h 165"/>
                <a:gd name="T16" fmla="*/ 69 w 100"/>
                <a:gd name="T17" fmla="*/ 79 h 165"/>
                <a:gd name="T18" fmla="*/ 71 w 100"/>
                <a:gd name="T19" fmla="*/ 67 h 165"/>
                <a:gd name="T20" fmla="*/ 66 w 100"/>
                <a:gd name="T21" fmla="*/ 56 h 165"/>
                <a:gd name="T22" fmla="*/ 68 w 100"/>
                <a:gd name="T23" fmla="*/ 41 h 165"/>
                <a:gd name="T24" fmla="*/ 68 w 100"/>
                <a:gd name="T25" fmla="*/ 29 h 165"/>
                <a:gd name="T26" fmla="*/ 64 w 100"/>
                <a:gd name="T27" fmla="*/ 19 h 165"/>
                <a:gd name="T28" fmla="*/ 55 w 100"/>
                <a:gd name="T29" fmla="*/ 19 h 165"/>
                <a:gd name="T30" fmla="*/ 47 w 100"/>
                <a:gd name="T31" fmla="*/ 4 h 165"/>
                <a:gd name="T32" fmla="*/ 41 w 100"/>
                <a:gd name="T33" fmla="*/ 10 h 165"/>
                <a:gd name="T34" fmla="*/ 23 w 100"/>
                <a:gd name="T35" fmla="*/ 0 h 165"/>
                <a:gd name="T36" fmla="*/ 21 w 100"/>
                <a:gd name="T37" fmla="*/ 14 h 165"/>
                <a:gd name="T38" fmla="*/ 15 w 100"/>
                <a:gd name="T39" fmla="*/ 19 h 165"/>
                <a:gd name="T40" fmla="*/ 0 w 100"/>
                <a:gd name="T41" fmla="*/ 19 h 165"/>
                <a:gd name="T42" fmla="*/ 9 w 100"/>
                <a:gd name="T43" fmla="*/ 25 h 165"/>
                <a:gd name="T44" fmla="*/ 15 w 100"/>
                <a:gd name="T45" fmla="*/ 22 h 165"/>
                <a:gd name="T46" fmla="*/ 17 w 100"/>
                <a:gd name="T47" fmla="*/ 32 h 165"/>
                <a:gd name="T48" fmla="*/ 10 w 100"/>
                <a:gd name="T49" fmla="*/ 41 h 165"/>
                <a:gd name="T50" fmla="*/ 14 w 100"/>
                <a:gd name="T51" fmla="*/ 45 h 165"/>
                <a:gd name="T52" fmla="*/ 30 w 100"/>
                <a:gd name="T53" fmla="*/ 45 h 165"/>
                <a:gd name="T54" fmla="*/ 24 w 100"/>
                <a:gd name="T55" fmla="*/ 96 h 165"/>
                <a:gd name="T56" fmla="*/ 17 w 100"/>
                <a:gd name="T57" fmla="*/ 129 h 165"/>
                <a:gd name="T58" fmla="*/ 40 w 100"/>
                <a:gd name="T59" fmla="*/ 144 h 165"/>
                <a:gd name="T60" fmla="*/ 41 w 100"/>
                <a:gd name="T61" fmla="*/ 163 h 165"/>
                <a:gd name="T62" fmla="*/ 64 w 100"/>
                <a:gd name="T63" fmla="*/ 165 h 165"/>
                <a:gd name="T64" fmla="*/ 62 w 100"/>
                <a:gd name="T65" fmla="*/ 158 h 165"/>
                <a:gd name="T66" fmla="*/ 62 w 100"/>
                <a:gd name="T67" fmla="*/ 14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solidFill>
              <a:schemeClr val="accent6"/>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grpSp>
      <p:sp>
        <p:nvSpPr>
          <p:cNvPr id="48" name="MIO_TEXTBOX_BODY">
            <a:extLst>
              <a:ext uri="{FF2B5EF4-FFF2-40B4-BE49-F238E27FC236}">
                <a16:creationId xmlns:a16="http://schemas.microsoft.com/office/drawing/2014/main" id="{B1F9B06A-C647-4091-9E77-D85587B7731E}"/>
              </a:ext>
            </a:extLst>
          </p:cNvPr>
          <p:cNvSpPr txBox="1"/>
          <p:nvPr/>
        </p:nvSpPr>
        <p:spPr>
          <a:xfrm>
            <a:off x="458399" y="1832183"/>
            <a:ext cx="3499090" cy="4610017"/>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dirty="0"/>
              <a:t>Lorem ipsum dolor sit amet, consectetuer adipiscing elit. Aenean commodo ligula eget dolor. Aenean massa. Cum sociis natoque penatibus et magnis dis parturient montes, nascetur ridiculus mus. </a:t>
            </a:r>
          </a:p>
          <a:p>
            <a:pPr marL="0" indent="0">
              <a:buSzPct val="100000"/>
              <a:buNone/>
            </a:pPr>
            <a:r>
              <a:rPr lang="en-US" dirty="0"/>
              <a:t>Donec quam felis, ultricies nec, pellentesque eu, pretium quis, sem. Nulla consequat massa quis enim. Donec pede justo, fringilla vel, aliquet nec, vulputate eget, arcu. </a:t>
            </a:r>
          </a:p>
          <a:p>
            <a:pPr marL="0" indent="0">
              <a:buSzPct val="100000"/>
              <a:buNone/>
            </a:pPr>
            <a:r>
              <a:rPr lang="en-US" dirty="0"/>
              <a:t>Lorem ipsum dolor sit amet, consectetuer adipiscing elit. Aenean commodo ligula eget dolor. Aenean massa. </a:t>
            </a:r>
          </a:p>
        </p:txBody>
      </p:sp>
      <p:sp>
        <p:nvSpPr>
          <p:cNvPr id="49" name="MIO_TEXTBOX_HEADER">
            <a:extLst>
              <a:ext uri="{FF2B5EF4-FFF2-40B4-BE49-F238E27FC236}">
                <a16:creationId xmlns:a16="http://schemas.microsoft.com/office/drawing/2014/main" id="{802B170C-CCC7-4F93-9068-007858E5A442}"/>
              </a:ext>
            </a:extLst>
          </p:cNvPr>
          <p:cNvSpPr txBox="1"/>
          <p:nvPr/>
        </p:nvSpPr>
        <p:spPr>
          <a:xfrm>
            <a:off x="458400" y="1387800"/>
            <a:ext cx="3499090" cy="336068"/>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800" dirty="0">
                <a:solidFill>
                  <a:schemeClr val="dk1"/>
                </a:solidFill>
              </a:rPr>
              <a:t>Lorem ipsum dolor sit amet</a:t>
            </a:r>
          </a:p>
        </p:txBody>
      </p:sp>
    </p:spTree>
    <p:custDataLst>
      <p:tags r:id="rId1"/>
    </p:custDataLst>
    <p:extLst>
      <p:ext uri="{BB962C8B-B14F-4D97-AF65-F5344CB8AC3E}">
        <p14:creationId xmlns:p14="http://schemas.microsoft.com/office/powerpoint/2010/main" val="1813872978"/>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ermany">
            <a:extLst>
              <a:ext uri="{FF2B5EF4-FFF2-40B4-BE49-F238E27FC236}">
                <a16:creationId xmlns:a16="http://schemas.microsoft.com/office/drawing/2014/main" id="{D307B383-4248-4A23-B5D2-E3B883B1682B}"/>
              </a:ext>
            </a:extLst>
          </p:cNvPr>
          <p:cNvGrpSpPr>
            <a:grpSpLocks noChangeAspect="1"/>
          </p:cNvGrpSpPr>
          <p:nvPr>
            <p:custDataLst>
              <p:tags r:id="rId2"/>
            </p:custDataLst>
          </p:nvPr>
        </p:nvGrpSpPr>
        <p:grpSpPr>
          <a:xfrm>
            <a:off x="5470222" y="360001"/>
            <a:ext cx="4151468" cy="6137997"/>
            <a:chOff x="3142034" y="1553368"/>
            <a:chExt cx="3028950" cy="4478339"/>
          </a:xfrm>
          <a:solidFill>
            <a:schemeClr val="bg1">
              <a:lumMod val="85000"/>
            </a:schemeClr>
          </a:solidFill>
        </p:grpSpPr>
        <p:sp>
          <p:nvSpPr>
            <p:cNvPr id="58" name="Thuringia">
              <a:extLst>
                <a:ext uri="{FF2B5EF4-FFF2-40B4-BE49-F238E27FC236}">
                  <a16:creationId xmlns:a16="http://schemas.microsoft.com/office/drawing/2014/main" id="{5AD56BA9-28DB-4C17-9200-4481F3530E5E}"/>
                </a:ext>
              </a:extLst>
            </p:cNvPr>
            <p:cNvSpPr>
              <a:spLocks/>
            </p:cNvSpPr>
            <p:nvPr/>
          </p:nvSpPr>
          <p:spPr bwMode="auto">
            <a:xfrm>
              <a:off x="4469672" y="3485356"/>
              <a:ext cx="914400" cy="857250"/>
            </a:xfrm>
            <a:custGeom>
              <a:avLst/>
              <a:gdLst>
                <a:gd name="T0" fmla="*/ 1112823142 w 658"/>
                <a:gd name="T1" fmla="*/ 425950627 h 568"/>
                <a:gd name="T2" fmla="*/ 1176284748 w 658"/>
                <a:gd name="T3" fmla="*/ 471507106 h 568"/>
                <a:gd name="T4" fmla="*/ 1176284748 w 658"/>
                <a:gd name="T5" fmla="*/ 521619988 h 568"/>
                <a:gd name="T6" fmla="*/ 1083359578 w 658"/>
                <a:gd name="T7" fmla="*/ 678787954 h 568"/>
                <a:gd name="T8" fmla="*/ 1006300561 w 658"/>
                <a:gd name="T9" fmla="*/ 738012132 h 568"/>
                <a:gd name="T10" fmla="*/ 974571264 w 658"/>
                <a:gd name="T11" fmla="*/ 788123504 h 568"/>
                <a:gd name="T12" fmla="*/ 911109657 w 658"/>
                <a:gd name="T13" fmla="*/ 835957618 h 568"/>
                <a:gd name="T14" fmla="*/ 865781444 w 658"/>
                <a:gd name="T15" fmla="*/ 899736689 h 568"/>
                <a:gd name="T16" fmla="*/ 682199659 w 658"/>
                <a:gd name="T17" fmla="*/ 886070500 h 568"/>
                <a:gd name="T18" fmla="*/ 602873404 w 658"/>
                <a:gd name="T19" fmla="*/ 865568952 h 568"/>
                <a:gd name="T20" fmla="*/ 616472319 w 658"/>
                <a:gd name="T21" fmla="*/ 993127094 h 568"/>
                <a:gd name="T22" fmla="*/ 557545190 w 658"/>
                <a:gd name="T23" fmla="*/ 993127094 h 568"/>
                <a:gd name="T24" fmla="*/ 509949738 w 658"/>
                <a:gd name="T25" fmla="*/ 945293168 h 568"/>
                <a:gd name="T26" fmla="*/ 417026073 w 658"/>
                <a:gd name="T27" fmla="*/ 931625470 h 568"/>
                <a:gd name="T28" fmla="*/ 353564373 w 658"/>
                <a:gd name="T29" fmla="*/ 963515760 h 568"/>
                <a:gd name="T30" fmla="*/ 432890722 w 658"/>
                <a:gd name="T31" fmla="*/ 1025015875 h 568"/>
                <a:gd name="T32" fmla="*/ 353564373 w 658"/>
                <a:gd name="T33" fmla="*/ 1056906165 h 568"/>
                <a:gd name="T34" fmla="*/ 294637244 w 658"/>
                <a:gd name="T35" fmla="*/ 963515760 h 568"/>
                <a:gd name="T36" fmla="*/ 201713579 w 658"/>
                <a:gd name="T37" fmla="*/ 886070500 h 568"/>
                <a:gd name="T38" fmla="*/ 106522628 w 658"/>
                <a:gd name="T39" fmla="*/ 806346284 h 568"/>
                <a:gd name="T40" fmla="*/ 77059040 w 658"/>
                <a:gd name="T41" fmla="*/ 758512170 h 568"/>
                <a:gd name="T42" fmla="*/ 18131893 w 658"/>
                <a:gd name="T43" fmla="*/ 758512170 h 568"/>
                <a:gd name="T44" fmla="*/ 29463576 w 658"/>
                <a:gd name="T45" fmla="*/ 630954028 h 568"/>
                <a:gd name="T46" fmla="*/ 29463576 w 658"/>
                <a:gd name="T47" fmla="*/ 551231322 h 568"/>
                <a:gd name="T48" fmla="*/ 124654515 w 658"/>
                <a:gd name="T49" fmla="*/ 489729698 h 568"/>
                <a:gd name="T50" fmla="*/ 124654515 w 658"/>
                <a:gd name="T51" fmla="*/ 410006991 h 568"/>
                <a:gd name="T52" fmla="*/ 138253431 w 658"/>
                <a:gd name="T53" fmla="*/ 346227826 h 568"/>
                <a:gd name="T54" fmla="*/ 77059040 w 658"/>
                <a:gd name="T55" fmla="*/ 314339045 h 568"/>
                <a:gd name="T56" fmla="*/ 61194391 w 658"/>
                <a:gd name="T57" fmla="*/ 205003496 h 568"/>
                <a:gd name="T58" fmla="*/ 201713579 w 658"/>
                <a:gd name="T59" fmla="*/ 125279233 h 568"/>
                <a:gd name="T60" fmla="*/ 278772595 w 658"/>
                <a:gd name="T61" fmla="*/ 95667875 h 568"/>
                <a:gd name="T62" fmla="*/ 337699724 w 658"/>
                <a:gd name="T63" fmla="*/ 61501648 h 568"/>
                <a:gd name="T64" fmla="*/ 387562415 w 658"/>
                <a:gd name="T65" fmla="*/ 18222598 h 568"/>
                <a:gd name="T66" fmla="*/ 432890722 w 658"/>
                <a:gd name="T67" fmla="*/ 77445283 h 568"/>
                <a:gd name="T68" fmla="*/ 478218935 w 658"/>
                <a:gd name="T69" fmla="*/ 154892076 h 568"/>
                <a:gd name="T70" fmla="*/ 541680542 w 658"/>
                <a:gd name="T71" fmla="*/ 205003496 h 568"/>
                <a:gd name="T72" fmla="*/ 584743022 w 658"/>
                <a:gd name="T73" fmla="*/ 268782566 h 568"/>
                <a:gd name="T74" fmla="*/ 557545190 w 658"/>
                <a:gd name="T75" fmla="*/ 346227826 h 568"/>
                <a:gd name="T76" fmla="*/ 634604207 w 658"/>
                <a:gd name="T77" fmla="*/ 375839160 h 568"/>
                <a:gd name="T78" fmla="*/ 727527872 w 658"/>
                <a:gd name="T79" fmla="*/ 410006991 h 568"/>
                <a:gd name="T80" fmla="*/ 849916795 w 658"/>
                <a:gd name="T81" fmla="*/ 439618325 h 568"/>
                <a:gd name="T82" fmla="*/ 911109657 w 658"/>
                <a:gd name="T83" fmla="*/ 471507106 h 568"/>
                <a:gd name="T84" fmla="*/ 1019899477 w 658"/>
                <a:gd name="T85" fmla="*/ 489729698 h 568"/>
                <a:gd name="T86" fmla="*/ 1035764126 w 658"/>
                <a:gd name="T87" fmla="*/ 425950627 h 56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58"/>
                <a:gd name="T133" fmla="*/ 0 h 568"/>
                <a:gd name="T134" fmla="*/ 658 w 658"/>
                <a:gd name="T135" fmla="*/ 568 h 56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58" h="568">
                  <a:moveTo>
                    <a:pt x="590" y="220"/>
                  </a:moveTo>
                  <a:lnTo>
                    <a:pt x="590" y="229"/>
                  </a:lnTo>
                  <a:lnTo>
                    <a:pt x="607" y="229"/>
                  </a:lnTo>
                  <a:lnTo>
                    <a:pt x="624" y="237"/>
                  </a:lnTo>
                  <a:lnTo>
                    <a:pt x="624" y="254"/>
                  </a:lnTo>
                  <a:lnTo>
                    <a:pt x="641" y="254"/>
                  </a:lnTo>
                  <a:lnTo>
                    <a:pt x="649" y="263"/>
                  </a:lnTo>
                  <a:lnTo>
                    <a:pt x="658" y="280"/>
                  </a:lnTo>
                  <a:lnTo>
                    <a:pt x="641" y="280"/>
                  </a:lnTo>
                  <a:lnTo>
                    <a:pt x="607" y="322"/>
                  </a:lnTo>
                  <a:lnTo>
                    <a:pt x="582" y="356"/>
                  </a:lnTo>
                  <a:lnTo>
                    <a:pt x="590" y="364"/>
                  </a:lnTo>
                  <a:lnTo>
                    <a:pt x="582" y="381"/>
                  </a:lnTo>
                  <a:lnTo>
                    <a:pt x="557" y="390"/>
                  </a:lnTo>
                  <a:lnTo>
                    <a:pt x="548" y="398"/>
                  </a:lnTo>
                  <a:lnTo>
                    <a:pt x="540" y="415"/>
                  </a:lnTo>
                  <a:lnTo>
                    <a:pt x="540" y="424"/>
                  </a:lnTo>
                  <a:lnTo>
                    <a:pt x="531" y="424"/>
                  </a:lnTo>
                  <a:lnTo>
                    <a:pt x="514" y="398"/>
                  </a:lnTo>
                  <a:lnTo>
                    <a:pt x="497" y="415"/>
                  </a:lnTo>
                  <a:lnTo>
                    <a:pt x="497" y="449"/>
                  </a:lnTo>
                  <a:lnTo>
                    <a:pt x="497" y="483"/>
                  </a:lnTo>
                  <a:lnTo>
                    <a:pt x="472" y="492"/>
                  </a:lnTo>
                  <a:lnTo>
                    <a:pt x="472" y="483"/>
                  </a:lnTo>
                  <a:lnTo>
                    <a:pt x="430" y="492"/>
                  </a:lnTo>
                  <a:lnTo>
                    <a:pt x="396" y="492"/>
                  </a:lnTo>
                  <a:lnTo>
                    <a:pt x="371" y="475"/>
                  </a:lnTo>
                  <a:lnTo>
                    <a:pt x="371" y="449"/>
                  </a:lnTo>
                  <a:lnTo>
                    <a:pt x="363" y="449"/>
                  </a:lnTo>
                  <a:lnTo>
                    <a:pt x="329" y="466"/>
                  </a:lnTo>
                  <a:lnTo>
                    <a:pt x="337" y="475"/>
                  </a:lnTo>
                  <a:lnTo>
                    <a:pt x="337" y="509"/>
                  </a:lnTo>
                  <a:lnTo>
                    <a:pt x="337" y="534"/>
                  </a:lnTo>
                  <a:lnTo>
                    <a:pt x="329" y="543"/>
                  </a:lnTo>
                  <a:lnTo>
                    <a:pt x="320" y="543"/>
                  </a:lnTo>
                  <a:lnTo>
                    <a:pt x="304" y="534"/>
                  </a:lnTo>
                  <a:lnTo>
                    <a:pt x="304" y="526"/>
                  </a:lnTo>
                  <a:lnTo>
                    <a:pt x="304" y="517"/>
                  </a:lnTo>
                  <a:lnTo>
                    <a:pt x="278" y="509"/>
                  </a:lnTo>
                  <a:lnTo>
                    <a:pt x="261" y="517"/>
                  </a:lnTo>
                  <a:lnTo>
                    <a:pt x="261" y="500"/>
                  </a:lnTo>
                  <a:lnTo>
                    <a:pt x="228" y="500"/>
                  </a:lnTo>
                  <a:lnTo>
                    <a:pt x="211" y="509"/>
                  </a:lnTo>
                  <a:lnTo>
                    <a:pt x="202" y="509"/>
                  </a:lnTo>
                  <a:lnTo>
                    <a:pt x="194" y="517"/>
                  </a:lnTo>
                  <a:lnTo>
                    <a:pt x="202" y="526"/>
                  </a:lnTo>
                  <a:lnTo>
                    <a:pt x="236" y="543"/>
                  </a:lnTo>
                  <a:lnTo>
                    <a:pt x="236" y="551"/>
                  </a:lnTo>
                  <a:lnTo>
                    <a:pt x="211" y="560"/>
                  </a:lnTo>
                  <a:lnTo>
                    <a:pt x="202" y="568"/>
                  </a:lnTo>
                  <a:lnTo>
                    <a:pt x="194" y="568"/>
                  </a:lnTo>
                  <a:lnTo>
                    <a:pt x="169" y="551"/>
                  </a:lnTo>
                  <a:lnTo>
                    <a:pt x="169" y="534"/>
                  </a:lnTo>
                  <a:lnTo>
                    <a:pt x="160" y="517"/>
                  </a:lnTo>
                  <a:lnTo>
                    <a:pt x="143" y="500"/>
                  </a:lnTo>
                  <a:lnTo>
                    <a:pt x="126" y="492"/>
                  </a:lnTo>
                  <a:lnTo>
                    <a:pt x="110" y="475"/>
                  </a:lnTo>
                  <a:lnTo>
                    <a:pt x="76" y="441"/>
                  </a:lnTo>
                  <a:lnTo>
                    <a:pt x="67" y="441"/>
                  </a:lnTo>
                  <a:lnTo>
                    <a:pt x="59" y="432"/>
                  </a:lnTo>
                  <a:lnTo>
                    <a:pt x="42" y="449"/>
                  </a:lnTo>
                  <a:lnTo>
                    <a:pt x="42" y="432"/>
                  </a:lnTo>
                  <a:lnTo>
                    <a:pt x="42" y="407"/>
                  </a:lnTo>
                  <a:lnTo>
                    <a:pt x="42" y="398"/>
                  </a:lnTo>
                  <a:lnTo>
                    <a:pt x="25" y="398"/>
                  </a:lnTo>
                  <a:lnTo>
                    <a:pt x="8" y="407"/>
                  </a:lnTo>
                  <a:lnTo>
                    <a:pt x="0" y="407"/>
                  </a:lnTo>
                  <a:lnTo>
                    <a:pt x="8" y="381"/>
                  </a:lnTo>
                  <a:lnTo>
                    <a:pt x="17" y="339"/>
                  </a:lnTo>
                  <a:lnTo>
                    <a:pt x="42" y="322"/>
                  </a:lnTo>
                  <a:lnTo>
                    <a:pt x="42" y="314"/>
                  </a:lnTo>
                  <a:lnTo>
                    <a:pt x="17" y="297"/>
                  </a:lnTo>
                  <a:lnTo>
                    <a:pt x="42" y="280"/>
                  </a:lnTo>
                  <a:lnTo>
                    <a:pt x="42" y="263"/>
                  </a:lnTo>
                  <a:lnTo>
                    <a:pt x="67" y="263"/>
                  </a:lnTo>
                  <a:lnTo>
                    <a:pt x="76" y="254"/>
                  </a:lnTo>
                  <a:lnTo>
                    <a:pt x="59" y="237"/>
                  </a:lnTo>
                  <a:lnTo>
                    <a:pt x="67" y="220"/>
                  </a:lnTo>
                  <a:lnTo>
                    <a:pt x="76" y="220"/>
                  </a:lnTo>
                  <a:lnTo>
                    <a:pt x="84" y="212"/>
                  </a:lnTo>
                  <a:lnTo>
                    <a:pt x="76" y="186"/>
                  </a:lnTo>
                  <a:lnTo>
                    <a:pt x="59" y="186"/>
                  </a:lnTo>
                  <a:lnTo>
                    <a:pt x="42" y="178"/>
                  </a:lnTo>
                  <a:lnTo>
                    <a:pt x="42" y="169"/>
                  </a:lnTo>
                  <a:lnTo>
                    <a:pt x="17" y="152"/>
                  </a:lnTo>
                  <a:lnTo>
                    <a:pt x="0" y="127"/>
                  </a:lnTo>
                  <a:lnTo>
                    <a:pt x="34" y="110"/>
                  </a:lnTo>
                  <a:lnTo>
                    <a:pt x="59" y="101"/>
                  </a:lnTo>
                  <a:lnTo>
                    <a:pt x="101" y="76"/>
                  </a:lnTo>
                  <a:lnTo>
                    <a:pt x="110" y="67"/>
                  </a:lnTo>
                  <a:lnTo>
                    <a:pt x="118" y="50"/>
                  </a:lnTo>
                  <a:lnTo>
                    <a:pt x="126" y="33"/>
                  </a:lnTo>
                  <a:lnTo>
                    <a:pt x="152" y="50"/>
                  </a:lnTo>
                  <a:lnTo>
                    <a:pt x="169" y="42"/>
                  </a:lnTo>
                  <a:lnTo>
                    <a:pt x="185" y="42"/>
                  </a:lnTo>
                  <a:lnTo>
                    <a:pt x="185" y="33"/>
                  </a:lnTo>
                  <a:lnTo>
                    <a:pt x="194" y="16"/>
                  </a:lnTo>
                  <a:lnTo>
                    <a:pt x="185" y="0"/>
                  </a:lnTo>
                  <a:lnTo>
                    <a:pt x="211" y="8"/>
                  </a:lnTo>
                  <a:lnTo>
                    <a:pt x="211" y="16"/>
                  </a:lnTo>
                  <a:lnTo>
                    <a:pt x="228" y="33"/>
                  </a:lnTo>
                  <a:lnTo>
                    <a:pt x="236" y="42"/>
                  </a:lnTo>
                  <a:lnTo>
                    <a:pt x="236" y="50"/>
                  </a:lnTo>
                  <a:lnTo>
                    <a:pt x="244" y="76"/>
                  </a:lnTo>
                  <a:lnTo>
                    <a:pt x="261" y="84"/>
                  </a:lnTo>
                  <a:lnTo>
                    <a:pt x="270" y="93"/>
                  </a:lnTo>
                  <a:lnTo>
                    <a:pt x="287" y="110"/>
                  </a:lnTo>
                  <a:lnTo>
                    <a:pt x="295" y="110"/>
                  </a:lnTo>
                  <a:lnTo>
                    <a:pt x="312" y="118"/>
                  </a:lnTo>
                  <a:lnTo>
                    <a:pt x="320" y="127"/>
                  </a:lnTo>
                  <a:lnTo>
                    <a:pt x="320" y="144"/>
                  </a:lnTo>
                  <a:lnTo>
                    <a:pt x="278" y="152"/>
                  </a:lnTo>
                  <a:lnTo>
                    <a:pt x="295" y="169"/>
                  </a:lnTo>
                  <a:lnTo>
                    <a:pt x="304" y="186"/>
                  </a:lnTo>
                  <a:lnTo>
                    <a:pt x="312" y="212"/>
                  </a:lnTo>
                  <a:lnTo>
                    <a:pt x="320" y="203"/>
                  </a:lnTo>
                  <a:lnTo>
                    <a:pt x="346" y="203"/>
                  </a:lnTo>
                  <a:lnTo>
                    <a:pt x="371" y="203"/>
                  </a:lnTo>
                  <a:lnTo>
                    <a:pt x="371" y="212"/>
                  </a:lnTo>
                  <a:lnTo>
                    <a:pt x="396" y="220"/>
                  </a:lnTo>
                  <a:lnTo>
                    <a:pt x="455" y="229"/>
                  </a:lnTo>
                  <a:lnTo>
                    <a:pt x="464" y="229"/>
                  </a:lnTo>
                  <a:lnTo>
                    <a:pt x="464" y="237"/>
                  </a:lnTo>
                  <a:lnTo>
                    <a:pt x="472" y="246"/>
                  </a:lnTo>
                  <a:lnTo>
                    <a:pt x="481" y="254"/>
                  </a:lnTo>
                  <a:lnTo>
                    <a:pt x="497" y="254"/>
                  </a:lnTo>
                  <a:lnTo>
                    <a:pt x="514" y="271"/>
                  </a:lnTo>
                  <a:lnTo>
                    <a:pt x="540" y="263"/>
                  </a:lnTo>
                  <a:lnTo>
                    <a:pt x="557" y="263"/>
                  </a:lnTo>
                  <a:lnTo>
                    <a:pt x="565" y="254"/>
                  </a:lnTo>
                  <a:lnTo>
                    <a:pt x="565" y="237"/>
                  </a:lnTo>
                  <a:lnTo>
                    <a:pt x="565" y="229"/>
                  </a:lnTo>
                  <a:lnTo>
                    <a:pt x="590" y="220"/>
                  </a:lnTo>
                </a:path>
              </a:pathLst>
            </a:custGeom>
            <a:grpFill/>
            <a:ln w="9525" cmpd="sng" algn="ctr">
              <a:solidFill>
                <a:schemeClr val="bg1"/>
              </a:solidFill>
              <a:round/>
              <a:headEnd/>
              <a:tailEnd/>
            </a:ln>
          </p:spPr>
          <p:txBody>
            <a:bodyPr wrap="none" lIns="79747" tIns="39873" rIns="79747" bIns="39873" anchor="ctr"/>
            <a:ls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477" dirty="0"/>
            </a:p>
          </p:txBody>
        </p:sp>
        <p:sp>
          <p:nvSpPr>
            <p:cNvPr id="36" name="Schleswig-Holstein">
              <a:extLst>
                <a:ext uri="{FF2B5EF4-FFF2-40B4-BE49-F238E27FC236}">
                  <a16:creationId xmlns:a16="http://schemas.microsoft.com/office/drawing/2014/main" id="{F0338B1E-AEAF-4699-9B65-3099E0AE4C3D}"/>
                </a:ext>
              </a:extLst>
            </p:cNvPr>
            <p:cNvSpPr>
              <a:spLocks/>
            </p:cNvSpPr>
            <p:nvPr/>
          </p:nvSpPr>
          <p:spPr bwMode="auto">
            <a:xfrm>
              <a:off x="3964115" y="1553368"/>
              <a:ext cx="880696" cy="971550"/>
            </a:xfrm>
            <a:custGeom>
              <a:avLst/>
              <a:gdLst>
                <a:gd name="T0" fmla="*/ 279430205 w 633"/>
                <a:gd name="T1" fmla="*/ 796375844 h 645"/>
                <a:gd name="T2" fmla="*/ 233994231 w 633"/>
                <a:gd name="T3" fmla="*/ 698813998 h 645"/>
                <a:gd name="T4" fmla="*/ 297604595 w 633"/>
                <a:gd name="T5" fmla="*/ 698813998 h 645"/>
                <a:gd name="T6" fmla="*/ 279430205 w 633"/>
                <a:gd name="T7" fmla="*/ 623941412 h 645"/>
                <a:gd name="T8" fmla="*/ 218092770 w 633"/>
                <a:gd name="T9" fmla="*/ 610327667 h 645"/>
                <a:gd name="T10" fmla="*/ 233994231 w 633"/>
                <a:gd name="T11" fmla="*/ 560412610 h 645"/>
                <a:gd name="T12" fmla="*/ 233994231 w 633"/>
                <a:gd name="T13" fmla="*/ 528648209 h 645"/>
                <a:gd name="T14" fmla="*/ 188558210 w 633"/>
                <a:gd name="T15" fmla="*/ 528648209 h 645"/>
                <a:gd name="T16" fmla="*/ 140850813 w 633"/>
                <a:gd name="T17" fmla="*/ 499152264 h 645"/>
                <a:gd name="T18" fmla="*/ 140850813 w 633"/>
                <a:gd name="T19" fmla="*/ 451507169 h 645"/>
                <a:gd name="T20" fmla="*/ 249897199 w 633"/>
                <a:gd name="T21" fmla="*/ 451507169 h 645"/>
                <a:gd name="T22" fmla="*/ 297604595 w 633"/>
                <a:gd name="T23" fmla="*/ 376632983 h 645"/>
                <a:gd name="T24" fmla="*/ 156753781 w 633"/>
                <a:gd name="T25" fmla="*/ 140669890 h 645"/>
                <a:gd name="T26" fmla="*/ 95414816 w 633"/>
                <a:gd name="T27" fmla="*/ 127057651 h 645"/>
                <a:gd name="T28" fmla="*/ 61338966 w 633"/>
                <a:gd name="T29" fmla="*/ 127057651 h 645"/>
                <a:gd name="T30" fmla="*/ 20445817 w 633"/>
                <a:gd name="T31" fmla="*/ 127057651 h 645"/>
                <a:gd name="T32" fmla="*/ 20445817 w 633"/>
                <a:gd name="T33" fmla="*/ 170165835 h 645"/>
                <a:gd name="T34" fmla="*/ 0 w 633"/>
                <a:gd name="T35" fmla="*/ 140669890 h 645"/>
                <a:gd name="T36" fmla="*/ 29533018 w 633"/>
                <a:gd name="T37" fmla="*/ 77141064 h 645"/>
                <a:gd name="T38" fmla="*/ 61338966 w 633"/>
                <a:gd name="T39" fmla="*/ 0 h 645"/>
                <a:gd name="T40" fmla="*/ 49978842 w 633"/>
                <a:gd name="T41" fmla="*/ 47646613 h 645"/>
                <a:gd name="T42" fmla="*/ 77240426 w 633"/>
                <a:gd name="T43" fmla="*/ 106637033 h 645"/>
                <a:gd name="T44" fmla="*/ 156753781 w 633"/>
                <a:gd name="T45" fmla="*/ 95293227 h 645"/>
                <a:gd name="T46" fmla="*/ 233994231 w 633"/>
                <a:gd name="T47" fmla="*/ 95293227 h 645"/>
                <a:gd name="T48" fmla="*/ 345311991 w 633"/>
                <a:gd name="T49" fmla="*/ 127057651 h 645"/>
                <a:gd name="T50" fmla="*/ 404379605 w 633"/>
                <a:gd name="T51" fmla="*/ 170165835 h 645"/>
                <a:gd name="T52" fmla="*/ 483891430 w 633"/>
                <a:gd name="T53" fmla="*/ 140669890 h 645"/>
                <a:gd name="T54" fmla="*/ 515697365 w 633"/>
                <a:gd name="T55" fmla="*/ 127057651 h 645"/>
                <a:gd name="T56" fmla="*/ 606569314 w 633"/>
                <a:gd name="T57" fmla="*/ 170165835 h 645"/>
                <a:gd name="T58" fmla="*/ 670179677 w 633"/>
                <a:gd name="T59" fmla="*/ 201930284 h 645"/>
                <a:gd name="T60" fmla="*/ 683809716 w 633"/>
                <a:gd name="T61" fmla="*/ 170165835 h 645"/>
                <a:gd name="T62" fmla="*/ 683809716 w 633"/>
                <a:gd name="T63" fmla="*/ 249576885 h 645"/>
                <a:gd name="T64" fmla="*/ 713342722 w 633"/>
                <a:gd name="T65" fmla="*/ 326717926 h 645"/>
                <a:gd name="T66" fmla="*/ 654276710 w 633"/>
                <a:gd name="T67" fmla="*/ 406129022 h 645"/>
                <a:gd name="T68" fmla="*/ 747420080 w 633"/>
                <a:gd name="T69" fmla="*/ 390246728 h 645"/>
                <a:gd name="T70" fmla="*/ 781497437 w 633"/>
                <a:gd name="T71" fmla="*/ 451507169 h 645"/>
                <a:gd name="T72" fmla="*/ 781497437 w 633"/>
                <a:gd name="T73" fmla="*/ 499152264 h 645"/>
                <a:gd name="T74" fmla="*/ 826933600 w 633"/>
                <a:gd name="T75" fmla="*/ 437893423 h 645"/>
                <a:gd name="T76" fmla="*/ 1010948919 w 633"/>
                <a:gd name="T77" fmla="*/ 515034464 h 645"/>
                <a:gd name="T78" fmla="*/ 1090460743 w 633"/>
                <a:gd name="T79" fmla="*/ 467387863 h 645"/>
                <a:gd name="T80" fmla="*/ 1151799685 w 633"/>
                <a:gd name="T81" fmla="*/ 451507169 h 645"/>
                <a:gd name="T82" fmla="*/ 1151799685 w 633"/>
                <a:gd name="T83" fmla="*/ 499152264 h 645"/>
                <a:gd name="T84" fmla="*/ 1135896717 w 633"/>
                <a:gd name="T85" fmla="*/ 610327667 h 645"/>
                <a:gd name="T86" fmla="*/ 1029123308 w 633"/>
                <a:gd name="T87" fmla="*/ 669318052 h 645"/>
                <a:gd name="T88" fmla="*/ 1029123308 w 633"/>
                <a:gd name="T89" fmla="*/ 737385271 h 645"/>
                <a:gd name="T90" fmla="*/ 1074559283 w 633"/>
                <a:gd name="T91" fmla="*/ 746460599 h 645"/>
                <a:gd name="T92" fmla="*/ 1058656315 w 633"/>
                <a:gd name="T93" fmla="*/ 812258045 h 645"/>
                <a:gd name="T94" fmla="*/ 1029123308 w 633"/>
                <a:gd name="T95" fmla="*/ 905281286 h 645"/>
                <a:gd name="T96" fmla="*/ 1106363711 w 633"/>
                <a:gd name="T97" fmla="*/ 1016456690 h 645"/>
                <a:gd name="T98" fmla="*/ 1042753347 w 633"/>
                <a:gd name="T99" fmla="*/ 1077717036 h 645"/>
                <a:gd name="T100" fmla="*/ 981414405 w 633"/>
                <a:gd name="T101" fmla="*/ 1123093676 h 645"/>
                <a:gd name="T102" fmla="*/ 981414405 w 633"/>
                <a:gd name="T103" fmla="*/ 1186622478 h 645"/>
                <a:gd name="T104" fmla="*/ 840563639 w 633"/>
                <a:gd name="T105" fmla="*/ 1138975877 h 645"/>
                <a:gd name="T106" fmla="*/ 811030632 w 633"/>
                <a:gd name="T107" fmla="*/ 1077717036 h 645"/>
                <a:gd name="T108" fmla="*/ 811030632 w 633"/>
                <a:gd name="T109" fmla="*/ 998306034 h 645"/>
                <a:gd name="T110" fmla="*/ 781497437 w 633"/>
                <a:gd name="T111" fmla="*/ 937045687 h 645"/>
                <a:gd name="T112" fmla="*/ 733790041 w 633"/>
                <a:gd name="T113" fmla="*/ 966541633 h 645"/>
                <a:gd name="T114" fmla="*/ 683809716 w 633"/>
                <a:gd name="T115" fmla="*/ 984692289 h 645"/>
                <a:gd name="T116" fmla="*/ 624743703 w 633"/>
                <a:gd name="T117" fmla="*/ 998306034 h 645"/>
                <a:gd name="T118" fmla="*/ 545230372 w 633"/>
                <a:gd name="T119" fmla="*/ 1030070435 h 645"/>
                <a:gd name="T120" fmla="*/ 436184033 w 633"/>
                <a:gd name="T121" fmla="*/ 859904646 h 645"/>
                <a:gd name="T122" fmla="*/ 358943537 w 633"/>
                <a:gd name="T123" fmla="*/ 825871790 h 64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33"/>
                <a:gd name="T187" fmla="*/ 0 h 645"/>
                <a:gd name="T188" fmla="*/ 633 w 633"/>
                <a:gd name="T189" fmla="*/ 645 h 64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33" h="645">
                  <a:moveTo>
                    <a:pt x="177" y="441"/>
                  </a:moveTo>
                  <a:lnTo>
                    <a:pt x="152" y="433"/>
                  </a:lnTo>
                  <a:lnTo>
                    <a:pt x="127" y="399"/>
                  </a:lnTo>
                  <a:lnTo>
                    <a:pt x="127" y="382"/>
                  </a:lnTo>
                  <a:lnTo>
                    <a:pt x="152" y="390"/>
                  </a:lnTo>
                  <a:lnTo>
                    <a:pt x="161" y="382"/>
                  </a:lnTo>
                  <a:lnTo>
                    <a:pt x="161" y="348"/>
                  </a:lnTo>
                  <a:lnTo>
                    <a:pt x="152" y="339"/>
                  </a:lnTo>
                  <a:lnTo>
                    <a:pt x="127" y="348"/>
                  </a:lnTo>
                  <a:lnTo>
                    <a:pt x="118" y="331"/>
                  </a:lnTo>
                  <a:lnTo>
                    <a:pt x="127" y="314"/>
                  </a:lnTo>
                  <a:lnTo>
                    <a:pt x="127" y="305"/>
                  </a:lnTo>
                  <a:lnTo>
                    <a:pt x="144" y="288"/>
                  </a:lnTo>
                  <a:lnTo>
                    <a:pt x="127" y="288"/>
                  </a:lnTo>
                  <a:lnTo>
                    <a:pt x="118" y="288"/>
                  </a:lnTo>
                  <a:lnTo>
                    <a:pt x="102" y="288"/>
                  </a:lnTo>
                  <a:lnTo>
                    <a:pt x="85" y="288"/>
                  </a:lnTo>
                  <a:lnTo>
                    <a:pt x="76" y="271"/>
                  </a:lnTo>
                  <a:lnTo>
                    <a:pt x="93" y="263"/>
                  </a:lnTo>
                  <a:lnTo>
                    <a:pt x="76" y="246"/>
                  </a:lnTo>
                  <a:lnTo>
                    <a:pt x="102" y="246"/>
                  </a:lnTo>
                  <a:lnTo>
                    <a:pt x="135" y="246"/>
                  </a:lnTo>
                  <a:lnTo>
                    <a:pt x="161" y="221"/>
                  </a:lnTo>
                  <a:lnTo>
                    <a:pt x="161" y="204"/>
                  </a:lnTo>
                  <a:lnTo>
                    <a:pt x="102" y="119"/>
                  </a:lnTo>
                  <a:lnTo>
                    <a:pt x="85" y="76"/>
                  </a:lnTo>
                  <a:lnTo>
                    <a:pt x="85" y="68"/>
                  </a:lnTo>
                  <a:lnTo>
                    <a:pt x="51" y="68"/>
                  </a:lnTo>
                  <a:lnTo>
                    <a:pt x="42" y="76"/>
                  </a:lnTo>
                  <a:lnTo>
                    <a:pt x="34" y="68"/>
                  </a:lnTo>
                  <a:lnTo>
                    <a:pt x="26" y="68"/>
                  </a:lnTo>
                  <a:lnTo>
                    <a:pt x="9" y="68"/>
                  </a:lnTo>
                  <a:lnTo>
                    <a:pt x="9" y="85"/>
                  </a:lnTo>
                  <a:lnTo>
                    <a:pt x="9" y="93"/>
                  </a:lnTo>
                  <a:lnTo>
                    <a:pt x="0" y="85"/>
                  </a:lnTo>
                  <a:lnTo>
                    <a:pt x="0" y="76"/>
                  </a:lnTo>
                  <a:lnTo>
                    <a:pt x="9" y="59"/>
                  </a:lnTo>
                  <a:lnTo>
                    <a:pt x="17" y="42"/>
                  </a:lnTo>
                  <a:lnTo>
                    <a:pt x="26" y="8"/>
                  </a:lnTo>
                  <a:lnTo>
                    <a:pt x="34" y="0"/>
                  </a:lnTo>
                  <a:lnTo>
                    <a:pt x="42" y="8"/>
                  </a:lnTo>
                  <a:lnTo>
                    <a:pt x="26" y="25"/>
                  </a:lnTo>
                  <a:lnTo>
                    <a:pt x="26" y="51"/>
                  </a:lnTo>
                  <a:lnTo>
                    <a:pt x="42" y="59"/>
                  </a:lnTo>
                  <a:lnTo>
                    <a:pt x="85" y="59"/>
                  </a:lnTo>
                  <a:lnTo>
                    <a:pt x="85" y="51"/>
                  </a:lnTo>
                  <a:lnTo>
                    <a:pt x="102" y="51"/>
                  </a:lnTo>
                  <a:lnTo>
                    <a:pt x="127" y="51"/>
                  </a:lnTo>
                  <a:lnTo>
                    <a:pt x="152" y="51"/>
                  </a:lnTo>
                  <a:lnTo>
                    <a:pt x="186" y="68"/>
                  </a:lnTo>
                  <a:lnTo>
                    <a:pt x="211" y="76"/>
                  </a:lnTo>
                  <a:lnTo>
                    <a:pt x="220" y="93"/>
                  </a:lnTo>
                  <a:lnTo>
                    <a:pt x="245" y="93"/>
                  </a:lnTo>
                  <a:lnTo>
                    <a:pt x="262" y="76"/>
                  </a:lnTo>
                  <a:lnTo>
                    <a:pt x="270" y="85"/>
                  </a:lnTo>
                  <a:lnTo>
                    <a:pt x="279" y="68"/>
                  </a:lnTo>
                  <a:lnTo>
                    <a:pt x="295" y="76"/>
                  </a:lnTo>
                  <a:lnTo>
                    <a:pt x="329" y="93"/>
                  </a:lnTo>
                  <a:lnTo>
                    <a:pt x="346" y="110"/>
                  </a:lnTo>
                  <a:lnTo>
                    <a:pt x="363" y="110"/>
                  </a:lnTo>
                  <a:lnTo>
                    <a:pt x="363" y="93"/>
                  </a:lnTo>
                  <a:lnTo>
                    <a:pt x="371" y="93"/>
                  </a:lnTo>
                  <a:lnTo>
                    <a:pt x="380" y="136"/>
                  </a:lnTo>
                  <a:lnTo>
                    <a:pt x="371" y="136"/>
                  </a:lnTo>
                  <a:lnTo>
                    <a:pt x="388" y="144"/>
                  </a:lnTo>
                  <a:lnTo>
                    <a:pt x="388" y="178"/>
                  </a:lnTo>
                  <a:lnTo>
                    <a:pt x="380" y="195"/>
                  </a:lnTo>
                  <a:lnTo>
                    <a:pt x="354" y="221"/>
                  </a:lnTo>
                  <a:lnTo>
                    <a:pt x="363" y="229"/>
                  </a:lnTo>
                  <a:lnTo>
                    <a:pt x="405" y="212"/>
                  </a:lnTo>
                  <a:lnTo>
                    <a:pt x="422" y="229"/>
                  </a:lnTo>
                  <a:lnTo>
                    <a:pt x="422" y="246"/>
                  </a:lnTo>
                  <a:lnTo>
                    <a:pt x="414" y="263"/>
                  </a:lnTo>
                  <a:lnTo>
                    <a:pt x="422" y="271"/>
                  </a:lnTo>
                  <a:lnTo>
                    <a:pt x="430" y="246"/>
                  </a:lnTo>
                  <a:lnTo>
                    <a:pt x="447" y="238"/>
                  </a:lnTo>
                  <a:lnTo>
                    <a:pt x="464" y="229"/>
                  </a:lnTo>
                  <a:lnTo>
                    <a:pt x="548" y="280"/>
                  </a:lnTo>
                  <a:lnTo>
                    <a:pt x="565" y="271"/>
                  </a:lnTo>
                  <a:lnTo>
                    <a:pt x="591" y="254"/>
                  </a:lnTo>
                  <a:lnTo>
                    <a:pt x="607" y="254"/>
                  </a:lnTo>
                  <a:lnTo>
                    <a:pt x="624" y="246"/>
                  </a:lnTo>
                  <a:lnTo>
                    <a:pt x="633" y="246"/>
                  </a:lnTo>
                  <a:lnTo>
                    <a:pt x="624" y="271"/>
                  </a:lnTo>
                  <a:lnTo>
                    <a:pt x="624" y="314"/>
                  </a:lnTo>
                  <a:lnTo>
                    <a:pt x="616" y="331"/>
                  </a:lnTo>
                  <a:lnTo>
                    <a:pt x="574" y="365"/>
                  </a:lnTo>
                  <a:lnTo>
                    <a:pt x="557" y="365"/>
                  </a:lnTo>
                  <a:lnTo>
                    <a:pt x="557" y="382"/>
                  </a:lnTo>
                  <a:lnTo>
                    <a:pt x="557" y="399"/>
                  </a:lnTo>
                  <a:lnTo>
                    <a:pt x="582" y="399"/>
                  </a:lnTo>
                  <a:lnTo>
                    <a:pt x="582" y="407"/>
                  </a:lnTo>
                  <a:lnTo>
                    <a:pt x="582" y="424"/>
                  </a:lnTo>
                  <a:lnTo>
                    <a:pt x="574" y="441"/>
                  </a:lnTo>
                  <a:lnTo>
                    <a:pt x="557" y="441"/>
                  </a:lnTo>
                  <a:lnTo>
                    <a:pt x="557" y="492"/>
                  </a:lnTo>
                  <a:lnTo>
                    <a:pt x="599" y="518"/>
                  </a:lnTo>
                  <a:lnTo>
                    <a:pt x="599" y="552"/>
                  </a:lnTo>
                  <a:lnTo>
                    <a:pt x="574" y="569"/>
                  </a:lnTo>
                  <a:lnTo>
                    <a:pt x="565" y="586"/>
                  </a:lnTo>
                  <a:lnTo>
                    <a:pt x="557" y="594"/>
                  </a:lnTo>
                  <a:lnTo>
                    <a:pt x="532" y="611"/>
                  </a:lnTo>
                  <a:lnTo>
                    <a:pt x="532" y="619"/>
                  </a:lnTo>
                  <a:lnTo>
                    <a:pt x="532" y="645"/>
                  </a:lnTo>
                  <a:lnTo>
                    <a:pt x="489" y="636"/>
                  </a:lnTo>
                  <a:lnTo>
                    <a:pt x="456" y="619"/>
                  </a:lnTo>
                  <a:lnTo>
                    <a:pt x="456" y="611"/>
                  </a:lnTo>
                  <a:lnTo>
                    <a:pt x="439" y="586"/>
                  </a:lnTo>
                  <a:lnTo>
                    <a:pt x="422" y="577"/>
                  </a:lnTo>
                  <a:lnTo>
                    <a:pt x="439" y="543"/>
                  </a:lnTo>
                  <a:lnTo>
                    <a:pt x="422" y="526"/>
                  </a:lnTo>
                  <a:lnTo>
                    <a:pt x="422" y="509"/>
                  </a:lnTo>
                  <a:lnTo>
                    <a:pt x="414" y="509"/>
                  </a:lnTo>
                  <a:lnTo>
                    <a:pt x="397" y="526"/>
                  </a:lnTo>
                  <a:lnTo>
                    <a:pt x="380" y="535"/>
                  </a:lnTo>
                  <a:lnTo>
                    <a:pt x="371" y="535"/>
                  </a:lnTo>
                  <a:lnTo>
                    <a:pt x="346" y="552"/>
                  </a:lnTo>
                  <a:lnTo>
                    <a:pt x="338" y="543"/>
                  </a:lnTo>
                  <a:lnTo>
                    <a:pt x="329" y="569"/>
                  </a:lnTo>
                  <a:lnTo>
                    <a:pt x="295" y="560"/>
                  </a:lnTo>
                  <a:lnTo>
                    <a:pt x="270" y="535"/>
                  </a:lnTo>
                  <a:lnTo>
                    <a:pt x="236" y="467"/>
                  </a:lnTo>
                  <a:lnTo>
                    <a:pt x="211" y="450"/>
                  </a:lnTo>
                  <a:lnTo>
                    <a:pt x="194" y="450"/>
                  </a:lnTo>
                  <a:lnTo>
                    <a:pt x="177" y="441"/>
                  </a:lnTo>
                </a:path>
              </a:pathLst>
            </a:custGeom>
            <a:grpFill/>
            <a:ln w="9525" cmpd="sng" algn="ctr">
              <a:solidFill>
                <a:schemeClr val="bg1"/>
              </a:solidFill>
              <a:round/>
              <a:headEnd/>
              <a:tailEnd/>
            </a:ln>
          </p:spPr>
          <p:txBody>
            <a:bodyPr wrap="none" lIns="79747" tIns="39873" rIns="79747" bIns="39873" anchor="ctr"/>
            <a:ls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477" dirty="0"/>
            </a:p>
          </p:txBody>
        </p:sp>
        <p:sp>
          <p:nvSpPr>
            <p:cNvPr id="60" name="Saxony-Anhalt">
              <a:extLst>
                <a:ext uri="{FF2B5EF4-FFF2-40B4-BE49-F238E27FC236}">
                  <a16:creationId xmlns:a16="http://schemas.microsoft.com/office/drawing/2014/main" id="{37F16F11-4107-4BB9-839F-BA734D7D4C5F}"/>
                </a:ext>
              </a:extLst>
            </p:cNvPr>
            <p:cNvSpPr>
              <a:spLocks/>
            </p:cNvSpPr>
            <p:nvPr/>
          </p:nvSpPr>
          <p:spPr bwMode="auto">
            <a:xfrm>
              <a:off x="4690945" y="2717007"/>
              <a:ext cx="1069731" cy="1177925"/>
            </a:xfrm>
            <a:custGeom>
              <a:avLst/>
              <a:gdLst>
                <a:gd name="T0" fmla="*/ 532803363 w 768"/>
                <a:gd name="T1" fmla="*/ 50044476 h 781"/>
                <a:gd name="T2" fmla="*/ 626157656 w 768"/>
                <a:gd name="T3" fmla="*/ 143308681 h 781"/>
                <a:gd name="T4" fmla="*/ 753665553 w 768"/>
                <a:gd name="T5" fmla="*/ 268420612 h 781"/>
                <a:gd name="T6" fmla="*/ 783265143 w 768"/>
                <a:gd name="T7" fmla="*/ 391256584 h 781"/>
                <a:gd name="T8" fmla="*/ 812866430 w 768"/>
                <a:gd name="T9" fmla="*/ 489071178 h 781"/>
                <a:gd name="T10" fmla="*/ 831080982 w 768"/>
                <a:gd name="T11" fmla="*/ 566411507 h 781"/>
                <a:gd name="T12" fmla="*/ 735449493 w 768"/>
                <a:gd name="T13" fmla="*/ 630105406 h 781"/>
                <a:gd name="T14" fmla="*/ 985912970 w 768"/>
                <a:gd name="T15" fmla="*/ 691523392 h 781"/>
                <a:gd name="T16" fmla="*/ 1158959510 w 768"/>
                <a:gd name="T17" fmla="*/ 768865229 h 781"/>
                <a:gd name="T18" fmla="*/ 1300129453 w 768"/>
                <a:gd name="T19" fmla="*/ 882602261 h 781"/>
                <a:gd name="T20" fmla="*/ 1334284567 w 768"/>
                <a:gd name="T21" fmla="*/ 1007712637 h 781"/>
                <a:gd name="T22" fmla="*/ 1427638859 w 768"/>
                <a:gd name="T23" fmla="*/ 1037284428 h 781"/>
                <a:gd name="T24" fmla="*/ 1427638859 w 768"/>
                <a:gd name="T25" fmla="*/ 1130550117 h 781"/>
                <a:gd name="T26" fmla="*/ 1334284567 w 768"/>
                <a:gd name="T27" fmla="*/ 1148746866 h 781"/>
                <a:gd name="T28" fmla="*/ 1190837616 w 768"/>
                <a:gd name="T29" fmla="*/ 1130550117 h 781"/>
                <a:gd name="T30" fmla="*/ 972250925 w 768"/>
                <a:gd name="T31" fmla="*/ 1100978327 h 781"/>
                <a:gd name="T32" fmla="*/ 831080982 w 768"/>
                <a:gd name="T33" fmla="*/ 1116900670 h 781"/>
                <a:gd name="T34" fmla="*/ 735449493 w 768"/>
                <a:gd name="T35" fmla="*/ 1194242508 h 781"/>
                <a:gd name="T36" fmla="*/ 735449493 w 768"/>
                <a:gd name="T37" fmla="*/ 1319352884 h 781"/>
                <a:gd name="T38" fmla="*/ 753665553 w 768"/>
                <a:gd name="T39" fmla="*/ 1385321188 h 781"/>
                <a:gd name="T40" fmla="*/ 705849903 w 768"/>
                <a:gd name="T41" fmla="*/ 1430816830 h 781"/>
                <a:gd name="T42" fmla="*/ 596556557 w 768"/>
                <a:gd name="T43" fmla="*/ 1417167384 h 781"/>
                <a:gd name="T44" fmla="*/ 564679960 w 768"/>
                <a:gd name="T45" fmla="*/ 1369397336 h 781"/>
                <a:gd name="T46" fmla="*/ 393910334 w 768"/>
                <a:gd name="T47" fmla="*/ 1337551141 h 781"/>
                <a:gd name="T48" fmla="*/ 296002026 w 768"/>
                <a:gd name="T49" fmla="*/ 1319352884 h 781"/>
                <a:gd name="T50" fmla="*/ 250463383 w 768"/>
                <a:gd name="T51" fmla="*/ 1257934898 h 781"/>
                <a:gd name="T52" fmla="*/ 296002026 w 768"/>
                <a:gd name="T53" fmla="*/ 1180594569 h 781"/>
                <a:gd name="T54" fmla="*/ 236801338 w 768"/>
                <a:gd name="T55" fmla="*/ 1148746866 h 781"/>
                <a:gd name="T56" fmla="*/ 154832036 w 768"/>
                <a:gd name="T57" fmla="*/ 1087328880 h 781"/>
                <a:gd name="T58" fmla="*/ 127507945 w 768"/>
                <a:gd name="T59" fmla="*/ 1007712637 h 781"/>
                <a:gd name="T60" fmla="*/ 47815662 w 768"/>
                <a:gd name="T61" fmla="*/ 946294651 h 781"/>
                <a:gd name="T62" fmla="*/ 29599601 w 768"/>
                <a:gd name="T63" fmla="*/ 800711613 h 781"/>
                <a:gd name="T64" fmla="*/ 0 w 768"/>
                <a:gd name="T65" fmla="*/ 739293439 h 781"/>
                <a:gd name="T66" fmla="*/ 47815662 w 768"/>
                <a:gd name="T67" fmla="*/ 691523392 h 781"/>
                <a:gd name="T68" fmla="*/ 173046587 w 768"/>
                <a:gd name="T69" fmla="*/ 661951601 h 781"/>
                <a:gd name="T70" fmla="*/ 218585277 w 768"/>
                <a:gd name="T71" fmla="*/ 566411507 h 781"/>
                <a:gd name="T72" fmla="*/ 218585277 w 768"/>
                <a:gd name="T73" fmla="*/ 473147326 h 781"/>
                <a:gd name="T74" fmla="*/ 154832036 w 768"/>
                <a:gd name="T75" fmla="*/ 329838598 h 781"/>
                <a:gd name="T76" fmla="*/ 141169990 w 768"/>
                <a:gd name="T77" fmla="*/ 282068551 h 781"/>
                <a:gd name="T78" fmla="*/ 77415263 w 768"/>
                <a:gd name="T79" fmla="*/ 156958127 h 781"/>
                <a:gd name="T80" fmla="*/ 186708633 w 768"/>
                <a:gd name="T81" fmla="*/ 79616266 h 781"/>
                <a:gd name="T82" fmla="*/ 375694273 w 768"/>
                <a:gd name="T83" fmla="*/ 63692414 h 781"/>
                <a:gd name="T84" fmla="*/ 455386614 w 768"/>
                <a:gd name="T85" fmla="*/ 0 h 78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68"/>
                <a:gd name="T130" fmla="*/ 0 h 781"/>
                <a:gd name="T131" fmla="*/ 768 w 768"/>
                <a:gd name="T132" fmla="*/ 781 h 78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68" h="781">
                  <a:moveTo>
                    <a:pt x="245" y="0"/>
                  </a:moveTo>
                  <a:lnTo>
                    <a:pt x="262" y="17"/>
                  </a:lnTo>
                  <a:lnTo>
                    <a:pt x="287" y="26"/>
                  </a:lnTo>
                  <a:lnTo>
                    <a:pt x="295" y="43"/>
                  </a:lnTo>
                  <a:lnTo>
                    <a:pt x="329" y="60"/>
                  </a:lnTo>
                  <a:lnTo>
                    <a:pt x="337" y="77"/>
                  </a:lnTo>
                  <a:lnTo>
                    <a:pt x="371" y="85"/>
                  </a:lnTo>
                  <a:lnTo>
                    <a:pt x="371" y="111"/>
                  </a:lnTo>
                  <a:lnTo>
                    <a:pt x="405" y="145"/>
                  </a:lnTo>
                  <a:lnTo>
                    <a:pt x="397" y="178"/>
                  </a:lnTo>
                  <a:lnTo>
                    <a:pt x="422" y="195"/>
                  </a:lnTo>
                  <a:lnTo>
                    <a:pt x="422" y="212"/>
                  </a:lnTo>
                  <a:lnTo>
                    <a:pt x="413" y="229"/>
                  </a:lnTo>
                  <a:lnTo>
                    <a:pt x="422" y="246"/>
                  </a:lnTo>
                  <a:lnTo>
                    <a:pt x="439" y="263"/>
                  </a:lnTo>
                  <a:lnTo>
                    <a:pt x="447" y="263"/>
                  </a:lnTo>
                  <a:lnTo>
                    <a:pt x="439" y="280"/>
                  </a:lnTo>
                  <a:lnTo>
                    <a:pt x="447" y="306"/>
                  </a:lnTo>
                  <a:lnTo>
                    <a:pt x="430" y="323"/>
                  </a:lnTo>
                  <a:lnTo>
                    <a:pt x="405" y="331"/>
                  </a:lnTo>
                  <a:lnTo>
                    <a:pt x="397" y="340"/>
                  </a:lnTo>
                  <a:lnTo>
                    <a:pt x="422" y="374"/>
                  </a:lnTo>
                  <a:lnTo>
                    <a:pt x="464" y="382"/>
                  </a:lnTo>
                  <a:lnTo>
                    <a:pt x="531" y="374"/>
                  </a:lnTo>
                  <a:lnTo>
                    <a:pt x="548" y="374"/>
                  </a:lnTo>
                  <a:lnTo>
                    <a:pt x="599" y="416"/>
                  </a:lnTo>
                  <a:lnTo>
                    <a:pt x="624" y="416"/>
                  </a:lnTo>
                  <a:lnTo>
                    <a:pt x="633" y="433"/>
                  </a:lnTo>
                  <a:lnTo>
                    <a:pt x="683" y="442"/>
                  </a:lnTo>
                  <a:lnTo>
                    <a:pt x="700" y="476"/>
                  </a:lnTo>
                  <a:lnTo>
                    <a:pt x="666" y="510"/>
                  </a:lnTo>
                  <a:lnTo>
                    <a:pt x="692" y="543"/>
                  </a:lnTo>
                  <a:lnTo>
                    <a:pt x="717" y="543"/>
                  </a:lnTo>
                  <a:lnTo>
                    <a:pt x="751" y="543"/>
                  </a:lnTo>
                  <a:lnTo>
                    <a:pt x="759" y="543"/>
                  </a:lnTo>
                  <a:lnTo>
                    <a:pt x="768" y="560"/>
                  </a:lnTo>
                  <a:lnTo>
                    <a:pt x="759" y="577"/>
                  </a:lnTo>
                  <a:lnTo>
                    <a:pt x="759" y="586"/>
                  </a:lnTo>
                  <a:lnTo>
                    <a:pt x="768" y="611"/>
                  </a:lnTo>
                  <a:lnTo>
                    <a:pt x="759" y="620"/>
                  </a:lnTo>
                  <a:lnTo>
                    <a:pt x="742" y="628"/>
                  </a:lnTo>
                  <a:lnTo>
                    <a:pt x="717" y="620"/>
                  </a:lnTo>
                  <a:lnTo>
                    <a:pt x="683" y="611"/>
                  </a:lnTo>
                  <a:lnTo>
                    <a:pt x="666" y="603"/>
                  </a:lnTo>
                  <a:lnTo>
                    <a:pt x="641" y="611"/>
                  </a:lnTo>
                  <a:lnTo>
                    <a:pt x="607" y="594"/>
                  </a:lnTo>
                  <a:lnTo>
                    <a:pt x="574" y="594"/>
                  </a:lnTo>
                  <a:lnTo>
                    <a:pt x="523" y="594"/>
                  </a:lnTo>
                  <a:lnTo>
                    <a:pt x="506" y="594"/>
                  </a:lnTo>
                  <a:lnTo>
                    <a:pt x="489" y="611"/>
                  </a:lnTo>
                  <a:lnTo>
                    <a:pt x="447" y="603"/>
                  </a:lnTo>
                  <a:lnTo>
                    <a:pt x="422" y="611"/>
                  </a:lnTo>
                  <a:lnTo>
                    <a:pt x="405" y="620"/>
                  </a:lnTo>
                  <a:lnTo>
                    <a:pt x="397" y="645"/>
                  </a:lnTo>
                  <a:lnTo>
                    <a:pt x="405" y="679"/>
                  </a:lnTo>
                  <a:lnTo>
                    <a:pt x="388" y="713"/>
                  </a:lnTo>
                  <a:lnTo>
                    <a:pt x="397" y="713"/>
                  </a:lnTo>
                  <a:lnTo>
                    <a:pt x="405" y="730"/>
                  </a:lnTo>
                  <a:lnTo>
                    <a:pt x="405" y="739"/>
                  </a:lnTo>
                  <a:lnTo>
                    <a:pt x="405" y="747"/>
                  </a:lnTo>
                  <a:lnTo>
                    <a:pt x="405" y="764"/>
                  </a:lnTo>
                  <a:lnTo>
                    <a:pt x="397" y="773"/>
                  </a:lnTo>
                  <a:lnTo>
                    <a:pt x="380" y="773"/>
                  </a:lnTo>
                  <a:lnTo>
                    <a:pt x="354" y="781"/>
                  </a:lnTo>
                  <a:lnTo>
                    <a:pt x="337" y="764"/>
                  </a:lnTo>
                  <a:lnTo>
                    <a:pt x="321" y="764"/>
                  </a:lnTo>
                  <a:lnTo>
                    <a:pt x="312" y="756"/>
                  </a:lnTo>
                  <a:lnTo>
                    <a:pt x="304" y="747"/>
                  </a:lnTo>
                  <a:lnTo>
                    <a:pt x="304" y="739"/>
                  </a:lnTo>
                  <a:lnTo>
                    <a:pt x="295" y="739"/>
                  </a:lnTo>
                  <a:lnTo>
                    <a:pt x="236" y="730"/>
                  </a:lnTo>
                  <a:lnTo>
                    <a:pt x="211" y="722"/>
                  </a:lnTo>
                  <a:lnTo>
                    <a:pt x="211" y="713"/>
                  </a:lnTo>
                  <a:lnTo>
                    <a:pt x="186" y="713"/>
                  </a:lnTo>
                  <a:lnTo>
                    <a:pt x="160" y="713"/>
                  </a:lnTo>
                  <a:lnTo>
                    <a:pt x="152" y="722"/>
                  </a:lnTo>
                  <a:lnTo>
                    <a:pt x="144" y="696"/>
                  </a:lnTo>
                  <a:lnTo>
                    <a:pt x="135" y="679"/>
                  </a:lnTo>
                  <a:lnTo>
                    <a:pt x="118" y="662"/>
                  </a:lnTo>
                  <a:lnTo>
                    <a:pt x="160" y="654"/>
                  </a:lnTo>
                  <a:lnTo>
                    <a:pt x="160" y="637"/>
                  </a:lnTo>
                  <a:lnTo>
                    <a:pt x="152" y="628"/>
                  </a:lnTo>
                  <a:lnTo>
                    <a:pt x="135" y="620"/>
                  </a:lnTo>
                  <a:lnTo>
                    <a:pt x="127" y="620"/>
                  </a:lnTo>
                  <a:lnTo>
                    <a:pt x="110" y="603"/>
                  </a:lnTo>
                  <a:lnTo>
                    <a:pt x="101" y="594"/>
                  </a:lnTo>
                  <a:lnTo>
                    <a:pt x="84" y="586"/>
                  </a:lnTo>
                  <a:lnTo>
                    <a:pt x="76" y="560"/>
                  </a:lnTo>
                  <a:lnTo>
                    <a:pt x="76" y="552"/>
                  </a:lnTo>
                  <a:lnTo>
                    <a:pt x="68" y="543"/>
                  </a:lnTo>
                  <a:lnTo>
                    <a:pt x="51" y="526"/>
                  </a:lnTo>
                  <a:lnTo>
                    <a:pt x="51" y="518"/>
                  </a:lnTo>
                  <a:lnTo>
                    <a:pt x="25" y="510"/>
                  </a:lnTo>
                  <a:lnTo>
                    <a:pt x="9" y="493"/>
                  </a:lnTo>
                  <a:lnTo>
                    <a:pt x="0" y="459"/>
                  </a:lnTo>
                  <a:lnTo>
                    <a:pt x="17" y="433"/>
                  </a:lnTo>
                  <a:lnTo>
                    <a:pt x="9" y="416"/>
                  </a:lnTo>
                  <a:lnTo>
                    <a:pt x="9" y="408"/>
                  </a:lnTo>
                  <a:lnTo>
                    <a:pt x="0" y="399"/>
                  </a:lnTo>
                  <a:lnTo>
                    <a:pt x="0" y="391"/>
                  </a:lnTo>
                  <a:lnTo>
                    <a:pt x="17" y="382"/>
                  </a:lnTo>
                  <a:lnTo>
                    <a:pt x="25" y="374"/>
                  </a:lnTo>
                  <a:lnTo>
                    <a:pt x="76" y="374"/>
                  </a:lnTo>
                  <a:lnTo>
                    <a:pt x="93" y="365"/>
                  </a:lnTo>
                  <a:lnTo>
                    <a:pt x="93" y="357"/>
                  </a:lnTo>
                  <a:lnTo>
                    <a:pt x="110" y="340"/>
                  </a:lnTo>
                  <a:lnTo>
                    <a:pt x="101" y="314"/>
                  </a:lnTo>
                  <a:lnTo>
                    <a:pt x="118" y="306"/>
                  </a:lnTo>
                  <a:lnTo>
                    <a:pt x="101" y="280"/>
                  </a:lnTo>
                  <a:lnTo>
                    <a:pt x="101" y="263"/>
                  </a:lnTo>
                  <a:lnTo>
                    <a:pt x="118" y="255"/>
                  </a:lnTo>
                  <a:lnTo>
                    <a:pt x="84" y="221"/>
                  </a:lnTo>
                  <a:lnTo>
                    <a:pt x="101" y="204"/>
                  </a:lnTo>
                  <a:lnTo>
                    <a:pt x="84" y="178"/>
                  </a:lnTo>
                  <a:lnTo>
                    <a:pt x="93" y="153"/>
                  </a:lnTo>
                  <a:lnTo>
                    <a:pt x="84" y="153"/>
                  </a:lnTo>
                  <a:lnTo>
                    <a:pt x="76" y="153"/>
                  </a:lnTo>
                  <a:lnTo>
                    <a:pt x="76" y="145"/>
                  </a:lnTo>
                  <a:lnTo>
                    <a:pt x="51" y="111"/>
                  </a:lnTo>
                  <a:lnTo>
                    <a:pt x="42" y="85"/>
                  </a:lnTo>
                  <a:lnTo>
                    <a:pt x="51" y="68"/>
                  </a:lnTo>
                  <a:lnTo>
                    <a:pt x="76" y="68"/>
                  </a:lnTo>
                  <a:lnTo>
                    <a:pt x="101" y="43"/>
                  </a:lnTo>
                  <a:lnTo>
                    <a:pt x="127" y="43"/>
                  </a:lnTo>
                  <a:lnTo>
                    <a:pt x="152" y="51"/>
                  </a:lnTo>
                  <a:lnTo>
                    <a:pt x="203" y="34"/>
                  </a:lnTo>
                  <a:lnTo>
                    <a:pt x="211" y="9"/>
                  </a:lnTo>
                  <a:lnTo>
                    <a:pt x="228" y="0"/>
                  </a:lnTo>
                  <a:lnTo>
                    <a:pt x="245" y="0"/>
                  </a:lnTo>
                </a:path>
              </a:pathLst>
            </a:custGeom>
            <a:grpFill/>
            <a:ln w="9525" cmpd="sng" algn="ctr">
              <a:solidFill>
                <a:schemeClr val="bg1"/>
              </a:solidFill>
              <a:round/>
              <a:headEnd/>
              <a:tailEnd/>
            </a:ln>
          </p:spPr>
          <p:txBody>
            <a:bodyPr wrap="none" lIns="79747" tIns="39873" rIns="79747" bIns="39873" anchor="ctr"/>
            <a:ls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477" dirty="0"/>
            </a:p>
          </p:txBody>
        </p:sp>
        <p:sp>
          <p:nvSpPr>
            <p:cNvPr id="57" name="Saxony">
              <a:extLst>
                <a:ext uri="{FF2B5EF4-FFF2-40B4-BE49-F238E27FC236}">
                  <a16:creationId xmlns:a16="http://schemas.microsoft.com/office/drawing/2014/main" id="{EC848C32-A193-42CE-A258-EDAE550992C5}"/>
                </a:ext>
              </a:extLst>
            </p:cNvPr>
            <p:cNvSpPr>
              <a:spLocks/>
            </p:cNvSpPr>
            <p:nvPr/>
          </p:nvSpPr>
          <p:spPr bwMode="auto">
            <a:xfrm>
              <a:off x="5161334" y="3472656"/>
              <a:ext cx="1009650" cy="882650"/>
            </a:xfrm>
            <a:custGeom>
              <a:avLst/>
              <a:gdLst>
                <a:gd name="T0" fmla="*/ 127109805 w 726"/>
                <a:gd name="T1" fmla="*/ 984626166 h 586"/>
                <a:gd name="T2" fmla="*/ 140729407 w 726"/>
                <a:gd name="T3" fmla="*/ 1016387997 h 586"/>
                <a:gd name="T4" fmla="*/ 156617939 w 726"/>
                <a:gd name="T5" fmla="*/ 1077644785 h 586"/>
                <a:gd name="T6" fmla="*/ 188395002 w 726"/>
                <a:gd name="T7" fmla="*/ 1016387997 h 586"/>
                <a:gd name="T8" fmla="*/ 279188379 w 726"/>
                <a:gd name="T9" fmla="*/ 902952457 h 586"/>
                <a:gd name="T10" fmla="*/ 358632543 w 726"/>
                <a:gd name="T11" fmla="*/ 891609053 h 586"/>
                <a:gd name="T12" fmla="*/ 438076800 w 726"/>
                <a:gd name="T13" fmla="*/ 891609053 h 586"/>
                <a:gd name="T14" fmla="*/ 483471959 w 726"/>
                <a:gd name="T15" fmla="*/ 825815506 h 586"/>
                <a:gd name="T16" fmla="*/ 544757155 w 726"/>
                <a:gd name="T17" fmla="*/ 825815506 h 586"/>
                <a:gd name="T18" fmla="*/ 574265289 w 726"/>
                <a:gd name="T19" fmla="*/ 766828415 h 586"/>
                <a:gd name="T20" fmla="*/ 606043858 w 726"/>
                <a:gd name="T21" fmla="*/ 766828415 h 586"/>
                <a:gd name="T22" fmla="*/ 655979889 w 726"/>
                <a:gd name="T23" fmla="*/ 746409988 h 586"/>
                <a:gd name="T24" fmla="*/ 712724213 w 726"/>
                <a:gd name="T25" fmla="*/ 669273038 h 586"/>
                <a:gd name="T26" fmla="*/ 762660243 w 726"/>
                <a:gd name="T27" fmla="*/ 655661255 h 586"/>
                <a:gd name="T28" fmla="*/ 823947135 w 726"/>
                <a:gd name="T29" fmla="*/ 639779586 h 586"/>
                <a:gd name="T30" fmla="*/ 855724198 w 726"/>
                <a:gd name="T31" fmla="*/ 610287641 h 586"/>
                <a:gd name="T32" fmla="*/ 917009394 w 726"/>
                <a:gd name="T33" fmla="*/ 592137593 h 586"/>
                <a:gd name="T34" fmla="*/ 1039579787 w 726"/>
                <a:gd name="T35" fmla="*/ 530882311 h 586"/>
                <a:gd name="T36" fmla="*/ 1057738754 w 726"/>
                <a:gd name="T37" fmla="*/ 499118974 h 586"/>
                <a:gd name="T38" fmla="*/ 1025960185 w 726"/>
                <a:gd name="T39" fmla="*/ 451476981 h 586"/>
                <a:gd name="T40" fmla="*/ 1025960185 w 726"/>
                <a:gd name="T41" fmla="*/ 406101862 h 586"/>
                <a:gd name="T42" fmla="*/ 1103135419 w 726"/>
                <a:gd name="T43" fmla="*/ 419713644 h 586"/>
                <a:gd name="T44" fmla="*/ 1164420616 w 726"/>
                <a:gd name="T45" fmla="*/ 499118974 h 586"/>
                <a:gd name="T46" fmla="*/ 1180309147 w 726"/>
                <a:gd name="T47" fmla="*/ 499118974 h 586"/>
                <a:gd name="T48" fmla="*/ 1180309147 w 726"/>
                <a:gd name="T49" fmla="*/ 546762474 h 586"/>
                <a:gd name="T50" fmla="*/ 1243863273 w 726"/>
                <a:gd name="T51" fmla="*/ 546762474 h 586"/>
                <a:gd name="T52" fmla="*/ 1275641842 w 726"/>
                <a:gd name="T53" fmla="*/ 515000643 h 586"/>
                <a:gd name="T54" fmla="*/ 1336927039 w 726"/>
                <a:gd name="T55" fmla="*/ 249559487 h 586"/>
                <a:gd name="T56" fmla="*/ 1289259938 w 726"/>
                <a:gd name="T57" fmla="*/ 106630449 h 586"/>
                <a:gd name="T58" fmla="*/ 1180309147 w 726"/>
                <a:gd name="T59" fmla="*/ 47643511 h 586"/>
                <a:gd name="T60" fmla="*/ 1198466608 w 726"/>
                <a:gd name="T61" fmla="*/ 20418433 h 586"/>
                <a:gd name="T62" fmla="*/ 1150801014 w 726"/>
                <a:gd name="T63" fmla="*/ 29493463 h 586"/>
                <a:gd name="T64" fmla="*/ 1087245381 w 726"/>
                <a:gd name="T65" fmla="*/ 47643511 h 586"/>
                <a:gd name="T66" fmla="*/ 1025960185 w 726"/>
                <a:gd name="T67" fmla="*/ 61255306 h 586"/>
                <a:gd name="T68" fmla="*/ 962406059 w 726"/>
                <a:gd name="T69" fmla="*/ 47643511 h 586"/>
                <a:gd name="T70" fmla="*/ 932897926 w 726"/>
                <a:gd name="T71" fmla="*/ 106630449 h 586"/>
                <a:gd name="T72" fmla="*/ 869342293 w 726"/>
                <a:gd name="T73" fmla="*/ 77136974 h 586"/>
                <a:gd name="T74" fmla="*/ 778550281 w 726"/>
                <a:gd name="T75" fmla="*/ 156542327 h 586"/>
                <a:gd name="T76" fmla="*/ 778550281 w 726"/>
                <a:gd name="T77" fmla="*/ 220066036 h 586"/>
                <a:gd name="T78" fmla="*/ 701375047 w 726"/>
                <a:gd name="T79" fmla="*/ 220066036 h 586"/>
                <a:gd name="T80" fmla="*/ 606043858 w 726"/>
                <a:gd name="T81" fmla="*/ 188304158 h 586"/>
                <a:gd name="T82" fmla="*/ 497091561 w 726"/>
                <a:gd name="T83" fmla="*/ 170154110 h 586"/>
                <a:gd name="T84" fmla="*/ 342744011 w 726"/>
                <a:gd name="T85" fmla="*/ 170154110 h 586"/>
                <a:gd name="T86" fmla="*/ 279188379 w 726"/>
                <a:gd name="T87" fmla="*/ 201915988 h 586"/>
                <a:gd name="T88" fmla="*/ 156617939 w 726"/>
                <a:gd name="T89" fmla="*/ 201915988 h 586"/>
                <a:gd name="T90" fmla="*/ 108950838 w 726"/>
                <a:gd name="T91" fmla="*/ 265441156 h 586"/>
                <a:gd name="T92" fmla="*/ 95332719 w 726"/>
                <a:gd name="T93" fmla="*/ 390220099 h 586"/>
                <a:gd name="T94" fmla="*/ 127109805 w 726"/>
                <a:gd name="T95" fmla="*/ 419713644 h 586"/>
                <a:gd name="T96" fmla="*/ 172506470 w 726"/>
                <a:gd name="T97" fmla="*/ 419713644 h 586"/>
                <a:gd name="T98" fmla="*/ 202014651 w 726"/>
                <a:gd name="T99" fmla="*/ 437863692 h 586"/>
                <a:gd name="T100" fmla="*/ 233791714 w 726"/>
                <a:gd name="T101" fmla="*/ 483238812 h 586"/>
                <a:gd name="T102" fmla="*/ 279188379 w 726"/>
                <a:gd name="T103" fmla="*/ 499118974 h 586"/>
                <a:gd name="T104" fmla="*/ 265568777 w 726"/>
                <a:gd name="T105" fmla="*/ 530882311 h 586"/>
                <a:gd name="T106" fmla="*/ 156617939 w 726"/>
                <a:gd name="T107" fmla="*/ 669273038 h 586"/>
                <a:gd name="T108" fmla="*/ 156617939 w 726"/>
                <a:gd name="T109" fmla="*/ 716916537 h 586"/>
                <a:gd name="T110" fmla="*/ 95332719 w 726"/>
                <a:gd name="T111" fmla="*/ 746409988 h 586"/>
                <a:gd name="T112" fmla="*/ 79444187 w 726"/>
                <a:gd name="T113" fmla="*/ 796322055 h 586"/>
                <a:gd name="T114" fmla="*/ 29508145 w 726"/>
                <a:gd name="T115" fmla="*/ 746409988 h 586"/>
                <a:gd name="T116" fmla="*/ 0 w 726"/>
                <a:gd name="T117" fmla="*/ 843965554 h 586"/>
                <a:gd name="T118" fmla="*/ 29508145 w 726"/>
                <a:gd name="T119" fmla="*/ 950595956 h 586"/>
                <a:gd name="T120" fmla="*/ 95332719 w 726"/>
                <a:gd name="T121" fmla="*/ 966476118 h 58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26"/>
                <a:gd name="T184" fmla="*/ 0 h 586"/>
                <a:gd name="T185" fmla="*/ 726 w 726"/>
                <a:gd name="T186" fmla="*/ 586 h 58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26" h="586">
                  <a:moveTo>
                    <a:pt x="51" y="526"/>
                  </a:moveTo>
                  <a:lnTo>
                    <a:pt x="68" y="535"/>
                  </a:lnTo>
                  <a:lnTo>
                    <a:pt x="68" y="552"/>
                  </a:lnTo>
                  <a:lnTo>
                    <a:pt x="76" y="552"/>
                  </a:lnTo>
                  <a:lnTo>
                    <a:pt x="76" y="560"/>
                  </a:lnTo>
                  <a:lnTo>
                    <a:pt x="85" y="586"/>
                  </a:lnTo>
                  <a:lnTo>
                    <a:pt x="93" y="586"/>
                  </a:lnTo>
                  <a:lnTo>
                    <a:pt x="102" y="552"/>
                  </a:lnTo>
                  <a:lnTo>
                    <a:pt x="127" y="501"/>
                  </a:lnTo>
                  <a:lnTo>
                    <a:pt x="152" y="492"/>
                  </a:lnTo>
                  <a:lnTo>
                    <a:pt x="186" y="492"/>
                  </a:lnTo>
                  <a:lnTo>
                    <a:pt x="194" y="484"/>
                  </a:lnTo>
                  <a:lnTo>
                    <a:pt x="211" y="475"/>
                  </a:lnTo>
                  <a:lnTo>
                    <a:pt x="237" y="484"/>
                  </a:lnTo>
                  <a:lnTo>
                    <a:pt x="253" y="475"/>
                  </a:lnTo>
                  <a:lnTo>
                    <a:pt x="262" y="450"/>
                  </a:lnTo>
                  <a:lnTo>
                    <a:pt x="270" y="450"/>
                  </a:lnTo>
                  <a:lnTo>
                    <a:pt x="296" y="450"/>
                  </a:lnTo>
                  <a:lnTo>
                    <a:pt x="304" y="441"/>
                  </a:lnTo>
                  <a:lnTo>
                    <a:pt x="312" y="416"/>
                  </a:lnTo>
                  <a:lnTo>
                    <a:pt x="321" y="416"/>
                  </a:lnTo>
                  <a:lnTo>
                    <a:pt x="329" y="416"/>
                  </a:lnTo>
                  <a:lnTo>
                    <a:pt x="346" y="399"/>
                  </a:lnTo>
                  <a:lnTo>
                    <a:pt x="355" y="407"/>
                  </a:lnTo>
                  <a:lnTo>
                    <a:pt x="380" y="390"/>
                  </a:lnTo>
                  <a:lnTo>
                    <a:pt x="388" y="365"/>
                  </a:lnTo>
                  <a:lnTo>
                    <a:pt x="397" y="365"/>
                  </a:lnTo>
                  <a:lnTo>
                    <a:pt x="414" y="356"/>
                  </a:lnTo>
                  <a:lnTo>
                    <a:pt x="422" y="348"/>
                  </a:lnTo>
                  <a:lnTo>
                    <a:pt x="447" y="348"/>
                  </a:lnTo>
                  <a:lnTo>
                    <a:pt x="464" y="348"/>
                  </a:lnTo>
                  <a:lnTo>
                    <a:pt x="464" y="331"/>
                  </a:lnTo>
                  <a:lnTo>
                    <a:pt x="481" y="323"/>
                  </a:lnTo>
                  <a:lnTo>
                    <a:pt x="498" y="323"/>
                  </a:lnTo>
                  <a:lnTo>
                    <a:pt x="549" y="289"/>
                  </a:lnTo>
                  <a:lnTo>
                    <a:pt x="565" y="289"/>
                  </a:lnTo>
                  <a:lnTo>
                    <a:pt x="582" y="272"/>
                  </a:lnTo>
                  <a:lnTo>
                    <a:pt x="574" y="272"/>
                  </a:lnTo>
                  <a:lnTo>
                    <a:pt x="565" y="255"/>
                  </a:lnTo>
                  <a:lnTo>
                    <a:pt x="557" y="246"/>
                  </a:lnTo>
                  <a:lnTo>
                    <a:pt x="549" y="246"/>
                  </a:lnTo>
                  <a:lnTo>
                    <a:pt x="557" y="221"/>
                  </a:lnTo>
                  <a:lnTo>
                    <a:pt x="582" y="238"/>
                  </a:lnTo>
                  <a:lnTo>
                    <a:pt x="599" y="229"/>
                  </a:lnTo>
                  <a:lnTo>
                    <a:pt x="625" y="246"/>
                  </a:lnTo>
                  <a:lnTo>
                    <a:pt x="633" y="272"/>
                  </a:lnTo>
                  <a:lnTo>
                    <a:pt x="633" y="263"/>
                  </a:lnTo>
                  <a:lnTo>
                    <a:pt x="641" y="272"/>
                  </a:lnTo>
                  <a:lnTo>
                    <a:pt x="633" y="289"/>
                  </a:lnTo>
                  <a:lnTo>
                    <a:pt x="641" y="297"/>
                  </a:lnTo>
                  <a:lnTo>
                    <a:pt x="675" y="306"/>
                  </a:lnTo>
                  <a:lnTo>
                    <a:pt x="675" y="297"/>
                  </a:lnTo>
                  <a:lnTo>
                    <a:pt x="692" y="289"/>
                  </a:lnTo>
                  <a:lnTo>
                    <a:pt x="692" y="280"/>
                  </a:lnTo>
                  <a:lnTo>
                    <a:pt x="717" y="212"/>
                  </a:lnTo>
                  <a:lnTo>
                    <a:pt x="726" y="136"/>
                  </a:lnTo>
                  <a:lnTo>
                    <a:pt x="709" y="110"/>
                  </a:lnTo>
                  <a:lnTo>
                    <a:pt x="700" y="59"/>
                  </a:lnTo>
                  <a:lnTo>
                    <a:pt x="650" y="42"/>
                  </a:lnTo>
                  <a:lnTo>
                    <a:pt x="641" y="25"/>
                  </a:lnTo>
                  <a:lnTo>
                    <a:pt x="641" y="17"/>
                  </a:lnTo>
                  <a:lnTo>
                    <a:pt x="650" y="9"/>
                  </a:lnTo>
                  <a:lnTo>
                    <a:pt x="650" y="0"/>
                  </a:lnTo>
                  <a:lnTo>
                    <a:pt x="625" y="17"/>
                  </a:lnTo>
                  <a:lnTo>
                    <a:pt x="608" y="9"/>
                  </a:lnTo>
                  <a:lnTo>
                    <a:pt x="591" y="25"/>
                  </a:lnTo>
                  <a:lnTo>
                    <a:pt x="582" y="25"/>
                  </a:lnTo>
                  <a:lnTo>
                    <a:pt x="557" y="34"/>
                  </a:lnTo>
                  <a:lnTo>
                    <a:pt x="532" y="34"/>
                  </a:lnTo>
                  <a:lnTo>
                    <a:pt x="523" y="25"/>
                  </a:lnTo>
                  <a:lnTo>
                    <a:pt x="498" y="42"/>
                  </a:lnTo>
                  <a:lnTo>
                    <a:pt x="506" y="59"/>
                  </a:lnTo>
                  <a:lnTo>
                    <a:pt x="498" y="68"/>
                  </a:lnTo>
                  <a:lnTo>
                    <a:pt x="473" y="42"/>
                  </a:lnTo>
                  <a:lnTo>
                    <a:pt x="431" y="68"/>
                  </a:lnTo>
                  <a:lnTo>
                    <a:pt x="422" y="85"/>
                  </a:lnTo>
                  <a:lnTo>
                    <a:pt x="431" y="110"/>
                  </a:lnTo>
                  <a:lnTo>
                    <a:pt x="422" y="119"/>
                  </a:lnTo>
                  <a:lnTo>
                    <a:pt x="405" y="127"/>
                  </a:lnTo>
                  <a:lnTo>
                    <a:pt x="380" y="119"/>
                  </a:lnTo>
                  <a:lnTo>
                    <a:pt x="346" y="110"/>
                  </a:lnTo>
                  <a:lnTo>
                    <a:pt x="329" y="102"/>
                  </a:lnTo>
                  <a:lnTo>
                    <a:pt x="304" y="110"/>
                  </a:lnTo>
                  <a:lnTo>
                    <a:pt x="270" y="93"/>
                  </a:lnTo>
                  <a:lnTo>
                    <a:pt x="237" y="93"/>
                  </a:lnTo>
                  <a:lnTo>
                    <a:pt x="186" y="93"/>
                  </a:lnTo>
                  <a:lnTo>
                    <a:pt x="169" y="93"/>
                  </a:lnTo>
                  <a:lnTo>
                    <a:pt x="152" y="110"/>
                  </a:lnTo>
                  <a:lnTo>
                    <a:pt x="110" y="102"/>
                  </a:lnTo>
                  <a:lnTo>
                    <a:pt x="85" y="110"/>
                  </a:lnTo>
                  <a:lnTo>
                    <a:pt x="68" y="119"/>
                  </a:lnTo>
                  <a:lnTo>
                    <a:pt x="60" y="144"/>
                  </a:lnTo>
                  <a:lnTo>
                    <a:pt x="68" y="178"/>
                  </a:lnTo>
                  <a:lnTo>
                    <a:pt x="51" y="212"/>
                  </a:lnTo>
                  <a:lnTo>
                    <a:pt x="60" y="212"/>
                  </a:lnTo>
                  <a:lnTo>
                    <a:pt x="68" y="229"/>
                  </a:lnTo>
                  <a:lnTo>
                    <a:pt x="68" y="238"/>
                  </a:lnTo>
                  <a:lnTo>
                    <a:pt x="93" y="229"/>
                  </a:lnTo>
                  <a:lnTo>
                    <a:pt x="93" y="238"/>
                  </a:lnTo>
                  <a:lnTo>
                    <a:pt x="110" y="238"/>
                  </a:lnTo>
                  <a:lnTo>
                    <a:pt x="127" y="246"/>
                  </a:lnTo>
                  <a:lnTo>
                    <a:pt x="127" y="263"/>
                  </a:lnTo>
                  <a:lnTo>
                    <a:pt x="144" y="263"/>
                  </a:lnTo>
                  <a:lnTo>
                    <a:pt x="152" y="272"/>
                  </a:lnTo>
                  <a:lnTo>
                    <a:pt x="161" y="289"/>
                  </a:lnTo>
                  <a:lnTo>
                    <a:pt x="144" y="289"/>
                  </a:lnTo>
                  <a:lnTo>
                    <a:pt x="110" y="331"/>
                  </a:lnTo>
                  <a:lnTo>
                    <a:pt x="85" y="365"/>
                  </a:lnTo>
                  <a:lnTo>
                    <a:pt x="93" y="373"/>
                  </a:lnTo>
                  <a:lnTo>
                    <a:pt x="85" y="390"/>
                  </a:lnTo>
                  <a:lnTo>
                    <a:pt x="60" y="399"/>
                  </a:lnTo>
                  <a:lnTo>
                    <a:pt x="51" y="407"/>
                  </a:lnTo>
                  <a:lnTo>
                    <a:pt x="43" y="424"/>
                  </a:lnTo>
                  <a:lnTo>
                    <a:pt x="43" y="433"/>
                  </a:lnTo>
                  <a:lnTo>
                    <a:pt x="34" y="433"/>
                  </a:lnTo>
                  <a:lnTo>
                    <a:pt x="17" y="407"/>
                  </a:lnTo>
                  <a:lnTo>
                    <a:pt x="0" y="424"/>
                  </a:lnTo>
                  <a:lnTo>
                    <a:pt x="0" y="458"/>
                  </a:lnTo>
                  <a:lnTo>
                    <a:pt x="0" y="492"/>
                  </a:lnTo>
                  <a:lnTo>
                    <a:pt x="17" y="518"/>
                  </a:lnTo>
                  <a:lnTo>
                    <a:pt x="43" y="526"/>
                  </a:lnTo>
                  <a:lnTo>
                    <a:pt x="51" y="526"/>
                  </a:lnTo>
                </a:path>
              </a:pathLst>
            </a:custGeom>
            <a:grpFill/>
            <a:ln w="9525" cmpd="sng" algn="ctr">
              <a:solidFill>
                <a:schemeClr val="bg1"/>
              </a:solidFill>
              <a:round/>
              <a:headEnd/>
              <a:tailEnd/>
            </a:ln>
          </p:spPr>
          <p:txBody>
            <a:bodyPr wrap="none" lIns="79747" tIns="39873" rIns="79747" bIns="39873" anchor="ctr"/>
            <a:ls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477" dirty="0"/>
            </a:p>
          </p:txBody>
        </p:sp>
        <p:sp>
          <p:nvSpPr>
            <p:cNvPr id="46" name="Saarland">
              <a:extLst>
                <a:ext uri="{FF2B5EF4-FFF2-40B4-BE49-F238E27FC236}">
                  <a16:creationId xmlns:a16="http://schemas.microsoft.com/office/drawing/2014/main" id="{DD663D1E-8886-4DC4-AAE5-2687D372F7F5}"/>
                </a:ext>
              </a:extLst>
            </p:cNvPr>
            <p:cNvSpPr>
              <a:spLocks/>
            </p:cNvSpPr>
            <p:nvPr/>
          </p:nvSpPr>
          <p:spPr bwMode="auto">
            <a:xfrm>
              <a:off x="3272453" y="4661694"/>
              <a:ext cx="339969" cy="295275"/>
            </a:xfrm>
            <a:custGeom>
              <a:avLst/>
              <a:gdLst>
                <a:gd name="T0" fmla="*/ 0 w 244"/>
                <a:gd name="T1" fmla="*/ 61278606 h 196"/>
                <a:gd name="T2" fmla="*/ 95691585 w 244"/>
                <a:gd name="T3" fmla="*/ 61278606 h 196"/>
                <a:gd name="T4" fmla="*/ 173155343 w 244"/>
                <a:gd name="T5" fmla="*/ 49930107 h 196"/>
                <a:gd name="T6" fmla="*/ 250620635 w 244"/>
                <a:gd name="T7" fmla="*/ 0 h 196"/>
                <a:gd name="T8" fmla="*/ 284795545 w 244"/>
                <a:gd name="T9" fmla="*/ 0 h 196"/>
                <a:gd name="T10" fmla="*/ 359981556 w 244"/>
                <a:gd name="T11" fmla="*/ 49930107 h 196"/>
                <a:gd name="T12" fmla="*/ 407827431 w 244"/>
                <a:gd name="T13" fmla="*/ 49930107 h 196"/>
                <a:gd name="T14" fmla="*/ 421498301 w 244"/>
                <a:gd name="T15" fmla="*/ 108938410 h 196"/>
                <a:gd name="T16" fmla="*/ 394157976 w 244"/>
                <a:gd name="T17" fmla="*/ 127094804 h 196"/>
                <a:gd name="T18" fmla="*/ 421498301 w 244"/>
                <a:gd name="T19" fmla="*/ 172485789 h 196"/>
                <a:gd name="T20" fmla="*/ 439724618 w 244"/>
                <a:gd name="T21" fmla="*/ 188373386 h 196"/>
                <a:gd name="T22" fmla="*/ 455673212 w 244"/>
                <a:gd name="T23" fmla="*/ 204259525 h 196"/>
                <a:gd name="T24" fmla="*/ 455673212 w 244"/>
                <a:gd name="T25" fmla="*/ 233764418 h 196"/>
                <a:gd name="T26" fmla="*/ 407827431 w 244"/>
                <a:gd name="T27" fmla="*/ 281425705 h 196"/>
                <a:gd name="T28" fmla="*/ 439724618 w 244"/>
                <a:gd name="T29" fmla="*/ 329085486 h 196"/>
                <a:gd name="T30" fmla="*/ 407827431 w 244"/>
                <a:gd name="T31" fmla="*/ 360859175 h 196"/>
                <a:gd name="T32" fmla="*/ 330363602 w 244"/>
                <a:gd name="T33" fmla="*/ 342702781 h 196"/>
                <a:gd name="T34" fmla="*/ 298466415 w 244"/>
                <a:gd name="T35" fmla="*/ 360859175 h 196"/>
                <a:gd name="T36" fmla="*/ 298466415 w 244"/>
                <a:gd name="T37" fmla="*/ 313199394 h 196"/>
                <a:gd name="T38" fmla="*/ 266569228 w 244"/>
                <a:gd name="T39" fmla="*/ 281425705 h 196"/>
                <a:gd name="T40" fmla="*/ 202774854 w 244"/>
                <a:gd name="T41" fmla="*/ 299582099 h 196"/>
                <a:gd name="T42" fmla="*/ 218723447 w 244"/>
                <a:gd name="T43" fmla="*/ 313199394 h 196"/>
                <a:gd name="T44" fmla="*/ 202774854 w 244"/>
                <a:gd name="T45" fmla="*/ 329085486 h 196"/>
                <a:gd name="T46" fmla="*/ 173155343 w 244"/>
                <a:gd name="T47" fmla="*/ 329085486 h 196"/>
                <a:gd name="T48" fmla="*/ 141258156 w 244"/>
                <a:gd name="T49" fmla="*/ 313199394 h 196"/>
                <a:gd name="T50" fmla="*/ 154929026 w 244"/>
                <a:gd name="T51" fmla="*/ 281425705 h 196"/>
                <a:gd name="T52" fmla="*/ 141258156 w 244"/>
                <a:gd name="T53" fmla="*/ 281425705 h 196"/>
                <a:gd name="T54" fmla="*/ 95691585 w 244"/>
                <a:gd name="T55" fmla="*/ 204259525 h 196"/>
                <a:gd name="T56" fmla="*/ 95691585 w 244"/>
                <a:gd name="T57" fmla="*/ 188373386 h 196"/>
                <a:gd name="T58" fmla="*/ 77463758 w 244"/>
                <a:gd name="T59" fmla="*/ 140712099 h 196"/>
                <a:gd name="T60" fmla="*/ 47845792 w 244"/>
                <a:gd name="T61" fmla="*/ 108938410 h 196"/>
                <a:gd name="T62" fmla="*/ 0 w 244"/>
                <a:gd name="T63" fmla="*/ 108938410 h 196"/>
                <a:gd name="T64" fmla="*/ 0 w 244"/>
                <a:gd name="T65" fmla="*/ 61278606 h 19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4"/>
                <a:gd name="T100" fmla="*/ 0 h 196"/>
                <a:gd name="T101" fmla="*/ 244 w 244"/>
                <a:gd name="T102" fmla="*/ 196 h 19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4" h="196">
                  <a:moveTo>
                    <a:pt x="0" y="34"/>
                  </a:moveTo>
                  <a:lnTo>
                    <a:pt x="50" y="34"/>
                  </a:lnTo>
                  <a:lnTo>
                    <a:pt x="93" y="26"/>
                  </a:lnTo>
                  <a:lnTo>
                    <a:pt x="135" y="0"/>
                  </a:lnTo>
                  <a:lnTo>
                    <a:pt x="152" y="0"/>
                  </a:lnTo>
                  <a:lnTo>
                    <a:pt x="194" y="26"/>
                  </a:lnTo>
                  <a:lnTo>
                    <a:pt x="219" y="26"/>
                  </a:lnTo>
                  <a:lnTo>
                    <a:pt x="227" y="60"/>
                  </a:lnTo>
                  <a:lnTo>
                    <a:pt x="211" y="68"/>
                  </a:lnTo>
                  <a:lnTo>
                    <a:pt x="227" y="94"/>
                  </a:lnTo>
                  <a:lnTo>
                    <a:pt x="236" y="102"/>
                  </a:lnTo>
                  <a:lnTo>
                    <a:pt x="244" y="111"/>
                  </a:lnTo>
                  <a:lnTo>
                    <a:pt x="244" y="128"/>
                  </a:lnTo>
                  <a:lnTo>
                    <a:pt x="219" y="153"/>
                  </a:lnTo>
                  <a:lnTo>
                    <a:pt x="236" y="179"/>
                  </a:lnTo>
                  <a:lnTo>
                    <a:pt x="219" y="196"/>
                  </a:lnTo>
                  <a:lnTo>
                    <a:pt x="177" y="187"/>
                  </a:lnTo>
                  <a:lnTo>
                    <a:pt x="160" y="196"/>
                  </a:lnTo>
                  <a:lnTo>
                    <a:pt x="160" y="170"/>
                  </a:lnTo>
                  <a:lnTo>
                    <a:pt x="143" y="153"/>
                  </a:lnTo>
                  <a:lnTo>
                    <a:pt x="109" y="162"/>
                  </a:lnTo>
                  <a:lnTo>
                    <a:pt x="118" y="170"/>
                  </a:lnTo>
                  <a:lnTo>
                    <a:pt x="109" y="179"/>
                  </a:lnTo>
                  <a:lnTo>
                    <a:pt x="93" y="179"/>
                  </a:lnTo>
                  <a:lnTo>
                    <a:pt x="76" y="170"/>
                  </a:lnTo>
                  <a:lnTo>
                    <a:pt x="84" y="153"/>
                  </a:lnTo>
                  <a:lnTo>
                    <a:pt x="76" y="153"/>
                  </a:lnTo>
                  <a:lnTo>
                    <a:pt x="50" y="111"/>
                  </a:lnTo>
                  <a:lnTo>
                    <a:pt x="50" y="102"/>
                  </a:lnTo>
                  <a:lnTo>
                    <a:pt x="42" y="77"/>
                  </a:lnTo>
                  <a:lnTo>
                    <a:pt x="25" y="60"/>
                  </a:lnTo>
                  <a:lnTo>
                    <a:pt x="0" y="60"/>
                  </a:lnTo>
                  <a:lnTo>
                    <a:pt x="0" y="34"/>
                  </a:lnTo>
                </a:path>
              </a:pathLst>
            </a:custGeom>
            <a:grpFill/>
            <a:ln w="9525" cmpd="sng" algn="ctr">
              <a:solidFill>
                <a:schemeClr val="bg1"/>
              </a:solidFill>
              <a:round/>
              <a:headEnd/>
              <a:tailEnd/>
            </a:ln>
          </p:spPr>
          <p:txBody>
            <a:bodyPr wrap="none" lIns="79747" tIns="39873" rIns="79747" bIns="39873" anchor="ctr"/>
            <a:ls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477" dirty="0"/>
            </a:p>
          </p:txBody>
        </p:sp>
        <p:sp>
          <p:nvSpPr>
            <p:cNvPr id="45" name="Rhineland-Palatinate">
              <a:extLst>
                <a:ext uri="{FF2B5EF4-FFF2-40B4-BE49-F238E27FC236}">
                  <a16:creationId xmlns:a16="http://schemas.microsoft.com/office/drawing/2014/main" id="{C6818CCA-57C0-48F5-967A-CC916ECB265D}"/>
                </a:ext>
              </a:extLst>
            </p:cNvPr>
            <p:cNvSpPr>
              <a:spLocks/>
            </p:cNvSpPr>
            <p:nvPr/>
          </p:nvSpPr>
          <p:spPr bwMode="auto">
            <a:xfrm>
              <a:off x="3200650" y="3916188"/>
              <a:ext cx="786911" cy="1138237"/>
            </a:xfrm>
            <a:custGeom>
              <a:avLst/>
              <a:gdLst>
                <a:gd name="T0" fmla="*/ 546373205 w 565"/>
                <a:gd name="T1" fmla="*/ 1145518708 h 755"/>
                <a:gd name="T2" fmla="*/ 532713804 w 565"/>
                <a:gd name="T3" fmla="*/ 1097788149 h 755"/>
                <a:gd name="T4" fmla="*/ 487183474 w 565"/>
                <a:gd name="T5" fmla="*/ 1036421365 h 755"/>
                <a:gd name="T6" fmla="*/ 503119693 w 565"/>
                <a:gd name="T7" fmla="*/ 956871439 h 755"/>
                <a:gd name="T8" fmla="*/ 375631354 w 565"/>
                <a:gd name="T9" fmla="*/ 909140881 h 755"/>
                <a:gd name="T10" fmla="*/ 268634475 w 565"/>
                <a:gd name="T11" fmla="*/ 956871439 h 755"/>
                <a:gd name="T12" fmla="*/ 95615829 w 565"/>
                <a:gd name="T13" fmla="*/ 972781123 h 755"/>
                <a:gd name="T14" fmla="*/ 109275254 w 565"/>
                <a:gd name="T15" fmla="*/ 909140881 h 755"/>
                <a:gd name="T16" fmla="*/ 154805584 w 565"/>
                <a:gd name="T17" fmla="*/ 863683780 h 755"/>
                <a:gd name="T18" fmla="*/ 154805584 w 565"/>
                <a:gd name="T19" fmla="*/ 768223982 h 755"/>
                <a:gd name="T20" fmla="*/ 109275254 w 565"/>
                <a:gd name="T21" fmla="*/ 752314298 h 755"/>
                <a:gd name="T22" fmla="*/ 63743391 w 565"/>
                <a:gd name="T23" fmla="*/ 706857198 h 755"/>
                <a:gd name="T24" fmla="*/ 20488353 w 565"/>
                <a:gd name="T25" fmla="*/ 661400097 h 755"/>
                <a:gd name="T26" fmla="*/ 0 w 565"/>
                <a:gd name="T27" fmla="*/ 565940487 h 755"/>
                <a:gd name="T28" fmla="*/ 20488353 w 565"/>
                <a:gd name="T29" fmla="*/ 518209929 h 755"/>
                <a:gd name="T30" fmla="*/ 29595632 w 565"/>
                <a:gd name="T31" fmla="*/ 470480878 h 755"/>
                <a:gd name="T32" fmla="*/ 77402792 w 565"/>
                <a:gd name="T33" fmla="*/ 422750319 h 755"/>
                <a:gd name="T34" fmla="*/ 109275254 w 565"/>
                <a:gd name="T35" fmla="*/ 377293124 h 755"/>
                <a:gd name="T36" fmla="*/ 173018622 w 565"/>
                <a:gd name="T37" fmla="*/ 390930858 h 755"/>
                <a:gd name="T38" fmla="*/ 218548999 w 565"/>
                <a:gd name="T39" fmla="*/ 377293124 h 755"/>
                <a:gd name="T40" fmla="*/ 268634475 w 565"/>
                <a:gd name="T41" fmla="*/ 377293124 h 755"/>
                <a:gd name="T42" fmla="*/ 314164805 w 565"/>
                <a:gd name="T43" fmla="*/ 377293124 h 755"/>
                <a:gd name="T44" fmla="*/ 314164805 w 565"/>
                <a:gd name="T45" fmla="*/ 297743198 h 755"/>
                <a:gd name="T46" fmla="*/ 359696644 w 565"/>
                <a:gd name="T47" fmla="*/ 297743198 h 755"/>
                <a:gd name="T48" fmla="*/ 359696644 w 565"/>
                <a:gd name="T49" fmla="*/ 265923831 h 755"/>
                <a:gd name="T50" fmla="*/ 468970436 w 565"/>
                <a:gd name="T51" fmla="*/ 220466730 h 755"/>
                <a:gd name="T52" fmla="*/ 516779094 w 565"/>
                <a:gd name="T53" fmla="*/ 220466730 h 755"/>
                <a:gd name="T54" fmla="*/ 580522461 w 565"/>
                <a:gd name="T55" fmla="*/ 140916757 h 755"/>
                <a:gd name="T56" fmla="*/ 721668597 w 565"/>
                <a:gd name="T57" fmla="*/ 95459633 h 755"/>
                <a:gd name="T58" fmla="*/ 753541036 w 565"/>
                <a:gd name="T59" fmla="*/ 61366808 h 755"/>
                <a:gd name="T60" fmla="*/ 783135147 w 565"/>
                <a:gd name="T61" fmla="*/ 0 h 755"/>
                <a:gd name="T62" fmla="*/ 801348373 w 565"/>
                <a:gd name="T63" fmla="*/ 29547429 h 755"/>
                <a:gd name="T64" fmla="*/ 812730955 w 565"/>
                <a:gd name="T65" fmla="*/ 61366808 h 755"/>
                <a:gd name="T66" fmla="*/ 849155521 w 565"/>
                <a:gd name="T67" fmla="*/ 95459633 h 755"/>
                <a:gd name="T68" fmla="*/ 892410542 w 565"/>
                <a:gd name="T69" fmla="*/ 172736125 h 755"/>
                <a:gd name="T70" fmla="*/ 908346761 w 565"/>
                <a:gd name="T71" fmla="*/ 188647316 h 755"/>
                <a:gd name="T72" fmla="*/ 892410542 w 565"/>
                <a:gd name="T73" fmla="*/ 281833515 h 755"/>
                <a:gd name="T74" fmla="*/ 849155521 w 565"/>
                <a:gd name="T75" fmla="*/ 297743198 h 755"/>
                <a:gd name="T76" fmla="*/ 849155521 w 565"/>
                <a:gd name="T77" fmla="*/ 377293124 h 755"/>
                <a:gd name="T78" fmla="*/ 892410542 w 565"/>
                <a:gd name="T79" fmla="*/ 440933461 h 755"/>
                <a:gd name="T80" fmla="*/ 878751141 w 565"/>
                <a:gd name="T81" fmla="*/ 486390561 h 755"/>
                <a:gd name="T82" fmla="*/ 830943993 w 565"/>
                <a:gd name="T83" fmla="*/ 502300245 h 755"/>
                <a:gd name="T84" fmla="*/ 812730955 w 565"/>
                <a:gd name="T85" fmla="*/ 565940487 h 755"/>
                <a:gd name="T86" fmla="*/ 753541036 w 565"/>
                <a:gd name="T87" fmla="*/ 629580730 h 755"/>
                <a:gd name="T88" fmla="*/ 830943993 w 565"/>
                <a:gd name="T89" fmla="*/ 675037830 h 755"/>
                <a:gd name="T90" fmla="*/ 956153910 w 565"/>
                <a:gd name="T91" fmla="*/ 640945005 h 755"/>
                <a:gd name="T92" fmla="*/ 1003962567 w 565"/>
                <a:gd name="T93" fmla="*/ 752314298 h 755"/>
                <a:gd name="T94" fmla="*/ 1017620459 w 565"/>
                <a:gd name="T95" fmla="*/ 786407124 h 755"/>
                <a:gd name="T96" fmla="*/ 1003962567 w 565"/>
                <a:gd name="T97" fmla="*/ 895504655 h 755"/>
                <a:gd name="T98" fmla="*/ 1033556678 w 565"/>
                <a:gd name="T99" fmla="*/ 972781123 h 755"/>
                <a:gd name="T100" fmla="*/ 1033556678 w 565"/>
                <a:gd name="T101" fmla="*/ 1036421365 h 755"/>
                <a:gd name="T102" fmla="*/ 1049492897 w 565"/>
                <a:gd name="T103" fmla="*/ 1065968782 h 755"/>
                <a:gd name="T104" fmla="*/ 1033556678 w 565"/>
                <a:gd name="T105" fmla="*/ 1145518708 h 755"/>
                <a:gd name="T106" fmla="*/ 1003962567 w 565"/>
                <a:gd name="T107" fmla="*/ 1209157443 h 755"/>
                <a:gd name="T108" fmla="*/ 926558290 w 565"/>
                <a:gd name="T109" fmla="*/ 1395532761 h 755"/>
                <a:gd name="T110" fmla="*/ 849155521 w 565"/>
                <a:gd name="T111" fmla="*/ 1365985344 h 755"/>
                <a:gd name="T112" fmla="*/ 801348373 w 565"/>
                <a:gd name="T113" fmla="*/ 1334164469 h 755"/>
                <a:gd name="T114" fmla="*/ 753541036 w 565"/>
                <a:gd name="T115" fmla="*/ 1334164469 h 755"/>
                <a:gd name="T116" fmla="*/ 721668597 w 565"/>
                <a:gd name="T117" fmla="*/ 1334164469 h 755"/>
                <a:gd name="T118" fmla="*/ 655648411 w 565"/>
                <a:gd name="T119" fmla="*/ 1318254786 h 755"/>
                <a:gd name="T120" fmla="*/ 596458680 w 565"/>
                <a:gd name="T121" fmla="*/ 1270525735 h 755"/>
                <a:gd name="T122" fmla="*/ 546373205 w 565"/>
                <a:gd name="T123" fmla="*/ 1240978318 h 755"/>
                <a:gd name="T124" fmla="*/ 503119693 w 565"/>
                <a:gd name="T125" fmla="*/ 1193247759 h 7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5"/>
                <a:gd name="T190" fmla="*/ 0 h 755"/>
                <a:gd name="T191" fmla="*/ 565 w 565"/>
                <a:gd name="T192" fmla="*/ 755 h 7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5" h="755">
                  <a:moveTo>
                    <a:pt x="270" y="645"/>
                  </a:moveTo>
                  <a:lnTo>
                    <a:pt x="295" y="620"/>
                  </a:lnTo>
                  <a:lnTo>
                    <a:pt x="295" y="603"/>
                  </a:lnTo>
                  <a:lnTo>
                    <a:pt x="287" y="594"/>
                  </a:lnTo>
                  <a:lnTo>
                    <a:pt x="278" y="586"/>
                  </a:lnTo>
                  <a:lnTo>
                    <a:pt x="262" y="560"/>
                  </a:lnTo>
                  <a:lnTo>
                    <a:pt x="278" y="552"/>
                  </a:lnTo>
                  <a:lnTo>
                    <a:pt x="270" y="518"/>
                  </a:lnTo>
                  <a:lnTo>
                    <a:pt x="245" y="518"/>
                  </a:lnTo>
                  <a:lnTo>
                    <a:pt x="203" y="492"/>
                  </a:lnTo>
                  <a:lnTo>
                    <a:pt x="186" y="492"/>
                  </a:lnTo>
                  <a:lnTo>
                    <a:pt x="144" y="518"/>
                  </a:lnTo>
                  <a:lnTo>
                    <a:pt x="101" y="526"/>
                  </a:lnTo>
                  <a:lnTo>
                    <a:pt x="51" y="526"/>
                  </a:lnTo>
                  <a:lnTo>
                    <a:pt x="51" y="509"/>
                  </a:lnTo>
                  <a:lnTo>
                    <a:pt x="59" y="492"/>
                  </a:lnTo>
                  <a:lnTo>
                    <a:pt x="59" y="484"/>
                  </a:lnTo>
                  <a:lnTo>
                    <a:pt x="84" y="467"/>
                  </a:lnTo>
                  <a:lnTo>
                    <a:pt x="93" y="433"/>
                  </a:lnTo>
                  <a:lnTo>
                    <a:pt x="84" y="416"/>
                  </a:lnTo>
                  <a:lnTo>
                    <a:pt x="68" y="416"/>
                  </a:lnTo>
                  <a:lnTo>
                    <a:pt x="59" y="407"/>
                  </a:lnTo>
                  <a:lnTo>
                    <a:pt x="51" y="407"/>
                  </a:lnTo>
                  <a:lnTo>
                    <a:pt x="34" y="382"/>
                  </a:lnTo>
                  <a:lnTo>
                    <a:pt x="17" y="365"/>
                  </a:lnTo>
                  <a:lnTo>
                    <a:pt x="9" y="357"/>
                  </a:lnTo>
                  <a:lnTo>
                    <a:pt x="0" y="323"/>
                  </a:lnTo>
                  <a:lnTo>
                    <a:pt x="0" y="306"/>
                  </a:lnTo>
                  <a:lnTo>
                    <a:pt x="0" y="289"/>
                  </a:lnTo>
                  <a:lnTo>
                    <a:pt x="9" y="280"/>
                  </a:lnTo>
                  <a:lnTo>
                    <a:pt x="17" y="272"/>
                  </a:lnTo>
                  <a:lnTo>
                    <a:pt x="17" y="255"/>
                  </a:lnTo>
                  <a:lnTo>
                    <a:pt x="42" y="238"/>
                  </a:lnTo>
                  <a:lnTo>
                    <a:pt x="42" y="229"/>
                  </a:lnTo>
                  <a:lnTo>
                    <a:pt x="68" y="221"/>
                  </a:lnTo>
                  <a:lnTo>
                    <a:pt x="59" y="204"/>
                  </a:lnTo>
                  <a:lnTo>
                    <a:pt x="76" y="204"/>
                  </a:lnTo>
                  <a:lnTo>
                    <a:pt x="93" y="212"/>
                  </a:lnTo>
                  <a:lnTo>
                    <a:pt x="101" y="204"/>
                  </a:lnTo>
                  <a:lnTo>
                    <a:pt x="118" y="204"/>
                  </a:lnTo>
                  <a:lnTo>
                    <a:pt x="127" y="212"/>
                  </a:lnTo>
                  <a:lnTo>
                    <a:pt x="144" y="204"/>
                  </a:lnTo>
                  <a:lnTo>
                    <a:pt x="152" y="221"/>
                  </a:lnTo>
                  <a:lnTo>
                    <a:pt x="169" y="204"/>
                  </a:lnTo>
                  <a:lnTo>
                    <a:pt x="152" y="178"/>
                  </a:lnTo>
                  <a:lnTo>
                    <a:pt x="169" y="161"/>
                  </a:lnTo>
                  <a:lnTo>
                    <a:pt x="186" y="170"/>
                  </a:lnTo>
                  <a:lnTo>
                    <a:pt x="194" y="161"/>
                  </a:lnTo>
                  <a:lnTo>
                    <a:pt x="194" y="153"/>
                  </a:lnTo>
                  <a:lnTo>
                    <a:pt x="194" y="144"/>
                  </a:lnTo>
                  <a:lnTo>
                    <a:pt x="236" y="119"/>
                  </a:lnTo>
                  <a:lnTo>
                    <a:pt x="253" y="119"/>
                  </a:lnTo>
                  <a:lnTo>
                    <a:pt x="270" y="110"/>
                  </a:lnTo>
                  <a:lnTo>
                    <a:pt x="278" y="119"/>
                  </a:lnTo>
                  <a:lnTo>
                    <a:pt x="304" y="110"/>
                  </a:lnTo>
                  <a:lnTo>
                    <a:pt x="312" y="76"/>
                  </a:lnTo>
                  <a:lnTo>
                    <a:pt x="337" y="76"/>
                  </a:lnTo>
                  <a:lnTo>
                    <a:pt x="388" y="51"/>
                  </a:lnTo>
                  <a:lnTo>
                    <a:pt x="388" y="43"/>
                  </a:lnTo>
                  <a:lnTo>
                    <a:pt x="405" y="34"/>
                  </a:lnTo>
                  <a:lnTo>
                    <a:pt x="405" y="9"/>
                  </a:lnTo>
                  <a:lnTo>
                    <a:pt x="422" y="0"/>
                  </a:lnTo>
                  <a:lnTo>
                    <a:pt x="430" y="9"/>
                  </a:lnTo>
                  <a:lnTo>
                    <a:pt x="430" y="17"/>
                  </a:lnTo>
                  <a:lnTo>
                    <a:pt x="430" y="26"/>
                  </a:lnTo>
                  <a:lnTo>
                    <a:pt x="439" y="34"/>
                  </a:lnTo>
                  <a:lnTo>
                    <a:pt x="456" y="43"/>
                  </a:lnTo>
                  <a:lnTo>
                    <a:pt x="456" y="51"/>
                  </a:lnTo>
                  <a:lnTo>
                    <a:pt x="472" y="93"/>
                  </a:lnTo>
                  <a:lnTo>
                    <a:pt x="481" y="93"/>
                  </a:lnTo>
                  <a:lnTo>
                    <a:pt x="498" y="102"/>
                  </a:lnTo>
                  <a:lnTo>
                    <a:pt x="489" y="102"/>
                  </a:lnTo>
                  <a:lnTo>
                    <a:pt x="498" y="144"/>
                  </a:lnTo>
                  <a:lnTo>
                    <a:pt x="481" y="153"/>
                  </a:lnTo>
                  <a:lnTo>
                    <a:pt x="472" y="153"/>
                  </a:lnTo>
                  <a:lnTo>
                    <a:pt x="456" y="161"/>
                  </a:lnTo>
                  <a:lnTo>
                    <a:pt x="456" y="187"/>
                  </a:lnTo>
                  <a:lnTo>
                    <a:pt x="456" y="204"/>
                  </a:lnTo>
                  <a:lnTo>
                    <a:pt x="472" y="229"/>
                  </a:lnTo>
                  <a:lnTo>
                    <a:pt x="481" y="238"/>
                  </a:lnTo>
                  <a:lnTo>
                    <a:pt x="481" y="263"/>
                  </a:lnTo>
                  <a:lnTo>
                    <a:pt x="472" y="263"/>
                  </a:lnTo>
                  <a:lnTo>
                    <a:pt x="464" y="272"/>
                  </a:lnTo>
                  <a:lnTo>
                    <a:pt x="447" y="272"/>
                  </a:lnTo>
                  <a:lnTo>
                    <a:pt x="430" y="297"/>
                  </a:lnTo>
                  <a:lnTo>
                    <a:pt x="439" y="306"/>
                  </a:lnTo>
                  <a:lnTo>
                    <a:pt x="430" y="314"/>
                  </a:lnTo>
                  <a:lnTo>
                    <a:pt x="405" y="340"/>
                  </a:lnTo>
                  <a:lnTo>
                    <a:pt x="430" y="365"/>
                  </a:lnTo>
                  <a:lnTo>
                    <a:pt x="447" y="365"/>
                  </a:lnTo>
                  <a:lnTo>
                    <a:pt x="481" y="357"/>
                  </a:lnTo>
                  <a:lnTo>
                    <a:pt x="515" y="348"/>
                  </a:lnTo>
                  <a:lnTo>
                    <a:pt x="540" y="382"/>
                  </a:lnTo>
                  <a:lnTo>
                    <a:pt x="540" y="407"/>
                  </a:lnTo>
                  <a:lnTo>
                    <a:pt x="540" y="416"/>
                  </a:lnTo>
                  <a:lnTo>
                    <a:pt x="548" y="424"/>
                  </a:lnTo>
                  <a:lnTo>
                    <a:pt x="565" y="450"/>
                  </a:lnTo>
                  <a:lnTo>
                    <a:pt x="540" y="484"/>
                  </a:lnTo>
                  <a:lnTo>
                    <a:pt x="557" y="518"/>
                  </a:lnTo>
                  <a:lnTo>
                    <a:pt x="557" y="526"/>
                  </a:lnTo>
                  <a:lnTo>
                    <a:pt x="557" y="535"/>
                  </a:lnTo>
                  <a:lnTo>
                    <a:pt x="557" y="560"/>
                  </a:lnTo>
                  <a:lnTo>
                    <a:pt x="557" y="569"/>
                  </a:lnTo>
                  <a:lnTo>
                    <a:pt x="565" y="577"/>
                  </a:lnTo>
                  <a:lnTo>
                    <a:pt x="565" y="603"/>
                  </a:lnTo>
                  <a:lnTo>
                    <a:pt x="557" y="620"/>
                  </a:lnTo>
                  <a:lnTo>
                    <a:pt x="565" y="628"/>
                  </a:lnTo>
                  <a:lnTo>
                    <a:pt x="540" y="654"/>
                  </a:lnTo>
                  <a:lnTo>
                    <a:pt x="523" y="722"/>
                  </a:lnTo>
                  <a:lnTo>
                    <a:pt x="498" y="755"/>
                  </a:lnTo>
                  <a:lnTo>
                    <a:pt x="472" y="747"/>
                  </a:lnTo>
                  <a:lnTo>
                    <a:pt x="456" y="739"/>
                  </a:lnTo>
                  <a:lnTo>
                    <a:pt x="439" y="722"/>
                  </a:lnTo>
                  <a:lnTo>
                    <a:pt x="430" y="722"/>
                  </a:lnTo>
                  <a:lnTo>
                    <a:pt x="422" y="722"/>
                  </a:lnTo>
                  <a:lnTo>
                    <a:pt x="405" y="722"/>
                  </a:lnTo>
                  <a:lnTo>
                    <a:pt x="397" y="713"/>
                  </a:lnTo>
                  <a:lnTo>
                    <a:pt x="388" y="722"/>
                  </a:lnTo>
                  <a:lnTo>
                    <a:pt x="363" y="722"/>
                  </a:lnTo>
                  <a:lnTo>
                    <a:pt x="354" y="713"/>
                  </a:lnTo>
                  <a:lnTo>
                    <a:pt x="337" y="713"/>
                  </a:lnTo>
                  <a:lnTo>
                    <a:pt x="321" y="688"/>
                  </a:lnTo>
                  <a:lnTo>
                    <a:pt x="321" y="679"/>
                  </a:lnTo>
                  <a:lnTo>
                    <a:pt x="295" y="671"/>
                  </a:lnTo>
                  <a:lnTo>
                    <a:pt x="287" y="671"/>
                  </a:lnTo>
                  <a:lnTo>
                    <a:pt x="270" y="645"/>
                  </a:lnTo>
                </a:path>
              </a:pathLst>
            </a:custGeom>
            <a:grpFill/>
            <a:ln w="9525" cmpd="sng" algn="ctr">
              <a:solidFill>
                <a:schemeClr val="bg1"/>
              </a:solidFill>
              <a:round/>
              <a:headEnd/>
              <a:tailEnd/>
            </a:ln>
          </p:spPr>
          <p:txBody>
            <a:bodyPr wrap="none" lIns="79747" tIns="39873" rIns="79747" bIns="39873" anchor="ctr"/>
            <a:ls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477" dirty="0"/>
            </a:p>
          </p:txBody>
        </p:sp>
        <p:sp>
          <p:nvSpPr>
            <p:cNvPr id="44" name="North Rhine-Westphalia">
              <a:extLst>
                <a:ext uri="{FF2B5EF4-FFF2-40B4-BE49-F238E27FC236}">
                  <a16:creationId xmlns:a16="http://schemas.microsoft.com/office/drawing/2014/main" id="{2B09322C-3B48-4835-8920-E2EB7555191F}"/>
                </a:ext>
              </a:extLst>
            </p:cNvPr>
            <p:cNvSpPr>
              <a:spLocks/>
            </p:cNvSpPr>
            <p:nvPr/>
          </p:nvSpPr>
          <p:spPr bwMode="auto">
            <a:xfrm>
              <a:off x="3142034" y="3010693"/>
              <a:ext cx="1186962" cy="1243012"/>
            </a:xfrm>
            <a:custGeom>
              <a:avLst/>
              <a:gdLst>
                <a:gd name="T0" fmla="*/ 95667889 w 852"/>
                <a:gd name="T1" fmla="*/ 1103667371 h 824"/>
                <a:gd name="T2" fmla="*/ 0 w 852"/>
                <a:gd name="T3" fmla="*/ 1010367506 h 824"/>
                <a:gd name="T4" fmla="*/ 109335613 w 852"/>
                <a:gd name="T5" fmla="*/ 946651041 h 824"/>
                <a:gd name="T6" fmla="*/ 109335613 w 852"/>
                <a:gd name="T7" fmla="*/ 930721170 h 824"/>
                <a:gd name="T8" fmla="*/ 154892098 w 852"/>
                <a:gd name="T9" fmla="*/ 760051123 h 824"/>
                <a:gd name="T10" fmla="*/ 125279251 w 852"/>
                <a:gd name="T11" fmla="*/ 584830089 h 824"/>
                <a:gd name="T12" fmla="*/ 63779103 w 852"/>
                <a:gd name="T13" fmla="*/ 502908919 h 824"/>
                <a:gd name="T14" fmla="*/ 154892098 w 852"/>
                <a:gd name="T15" fmla="*/ 457395650 h 824"/>
                <a:gd name="T16" fmla="*/ 173113183 w 852"/>
                <a:gd name="T17" fmla="*/ 411883889 h 824"/>
                <a:gd name="T18" fmla="*/ 284726243 w 852"/>
                <a:gd name="T19" fmla="*/ 457395650 h 824"/>
                <a:gd name="T20" fmla="*/ 439618388 w 852"/>
                <a:gd name="T21" fmla="*/ 364097200 h 824"/>
                <a:gd name="T22" fmla="*/ 457840983 w 852"/>
                <a:gd name="T23" fmla="*/ 268520993 h 824"/>
                <a:gd name="T24" fmla="*/ 548953954 w 852"/>
                <a:gd name="T25" fmla="*/ 175221081 h 824"/>
                <a:gd name="T26" fmla="*/ 769901023 w 852"/>
                <a:gd name="T27" fmla="*/ 50062961 h 824"/>
                <a:gd name="T28" fmla="*/ 908848115 w 852"/>
                <a:gd name="T29" fmla="*/ 79646360 h 824"/>
                <a:gd name="T30" fmla="*/ 956682048 w 852"/>
                <a:gd name="T31" fmla="*/ 252592631 h 824"/>
                <a:gd name="T32" fmla="*/ 927070709 w 852"/>
                <a:gd name="T33" fmla="*/ 332237458 h 824"/>
                <a:gd name="T34" fmla="*/ 1081961251 w 852"/>
                <a:gd name="T35" fmla="*/ 268520993 h 824"/>
                <a:gd name="T36" fmla="*/ 1161685478 w 852"/>
                <a:gd name="T37" fmla="*/ 175221081 h 824"/>
                <a:gd name="T38" fmla="*/ 1161685478 w 852"/>
                <a:gd name="T39" fmla="*/ 50062961 h 824"/>
                <a:gd name="T40" fmla="*/ 1271021044 w 852"/>
                <a:gd name="T41" fmla="*/ 50062961 h 824"/>
                <a:gd name="T42" fmla="*/ 1380355100 w 852"/>
                <a:gd name="T43" fmla="*/ 79646360 h 824"/>
                <a:gd name="T44" fmla="*/ 1444134180 w 852"/>
                <a:gd name="T45" fmla="*/ 95574722 h 824"/>
                <a:gd name="T46" fmla="*/ 1412245395 w 852"/>
                <a:gd name="T47" fmla="*/ 204804527 h 824"/>
                <a:gd name="T48" fmla="*/ 1444134180 w 852"/>
                <a:gd name="T49" fmla="*/ 282174521 h 824"/>
                <a:gd name="T50" fmla="*/ 1489690666 w 852"/>
                <a:gd name="T51" fmla="*/ 364097200 h 824"/>
                <a:gd name="T52" fmla="*/ 1523858407 w 852"/>
                <a:gd name="T53" fmla="*/ 411883889 h 824"/>
                <a:gd name="T54" fmla="*/ 1585358908 w 852"/>
                <a:gd name="T55" fmla="*/ 473325520 h 824"/>
                <a:gd name="T56" fmla="*/ 1523858407 w 852"/>
                <a:gd name="T57" fmla="*/ 646271721 h 824"/>
                <a:gd name="T58" fmla="*/ 1412245395 w 852"/>
                <a:gd name="T59" fmla="*/ 739571585 h 824"/>
                <a:gd name="T60" fmla="*/ 1366688909 w 852"/>
                <a:gd name="T61" fmla="*/ 789634522 h 824"/>
                <a:gd name="T62" fmla="*/ 1239130749 w 852"/>
                <a:gd name="T63" fmla="*/ 819216601 h 824"/>
                <a:gd name="T64" fmla="*/ 1289243638 w 852"/>
                <a:gd name="T65" fmla="*/ 930721170 h 824"/>
                <a:gd name="T66" fmla="*/ 1239130749 w 852"/>
                <a:gd name="T67" fmla="*/ 1024021035 h 824"/>
                <a:gd name="T68" fmla="*/ 1161685478 w 852"/>
                <a:gd name="T69" fmla="*/ 1103667371 h 824"/>
                <a:gd name="T70" fmla="*/ 1052349913 w 852"/>
                <a:gd name="T71" fmla="*/ 1167383836 h 824"/>
                <a:gd name="T72" fmla="*/ 972627195 w 852"/>
                <a:gd name="T73" fmla="*/ 1290267099 h 824"/>
                <a:gd name="T74" fmla="*/ 895180415 w 852"/>
                <a:gd name="T75" fmla="*/ 1181038873 h 824"/>
                <a:gd name="T76" fmla="*/ 861014183 w 852"/>
                <a:gd name="T77" fmla="*/ 1117320899 h 824"/>
                <a:gd name="T78" fmla="*/ 801791506 w 852"/>
                <a:gd name="T79" fmla="*/ 1212897106 h 824"/>
                <a:gd name="T80" fmla="*/ 594508930 w 852"/>
                <a:gd name="T81" fmla="*/ 1340330037 h 824"/>
                <a:gd name="T82" fmla="*/ 439618388 w 852"/>
                <a:gd name="T83" fmla="*/ 1385841798 h 824"/>
                <a:gd name="T84" fmla="*/ 394061808 w 852"/>
                <a:gd name="T85" fmla="*/ 1417701539 h 824"/>
                <a:gd name="T86" fmla="*/ 346227876 w 852"/>
                <a:gd name="T87" fmla="*/ 1499622709 h 824"/>
                <a:gd name="T88" fmla="*/ 250560011 w 852"/>
                <a:gd name="T89" fmla="*/ 1508725061 h 824"/>
                <a:gd name="T90" fmla="*/ 205003525 w 852"/>
                <a:gd name="T91" fmla="*/ 1449559772 h 824"/>
                <a:gd name="T92" fmla="*/ 125279251 w 852"/>
                <a:gd name="T93" fmla="*/ 1353983565 h 824"/>
                <a:gd name="T94" fmla="*/ 95667889 w 852"/>
                <a:gd name="T95" fmla="*/ 1244755338 h 8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52"/>
                <a:gd name="T145" fmla="*/ 0 h 824"/>
                <a:gd name="T146" fmla="*/ 852 w 852"/>
                <a:gd name="T147" fmla="*/ 824 h 82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52" h="824">
                  <a:moveTo>
                    <a:pt x="25" y="637"/>
                  </a:moveTo>
                  <a:lnTo>
                    <a:pt x="34" y="620"/>
                  </a:lnTo>
                  <a:lnTo>
                    <a:pt x="42" y="612"/>
                  </a:lnTo>
                  <a:lnTo>
                    <a:pt x="51" y="595"/>
                  </a:lnTo>
                  <a:lnTo>
                    <a:pt x="34" y="586"/>
                  </a:lnTo>
                  <a:lnTo>
                    <a:pt x="34" y="569"/>
                  </a:lnTo>
                  <a:lnTo>
                    <a:pt x="0" y="569"/>
                  </a:lnTo>
                  <a:lnTo>
                    <a:pt x="0" y="544"/>
                  </a:lnTo>
                  <a:lnTo>
                    <a:pt x="8" y="535"/>
                  </a:lnTo>
                  <a:lnTo>
                    <a:pt x="17" y="544"/>
                  </a:lnTo>
                  <a:lnTo>
                    <a:pt x="17" y="552"/>
                  </a:lnTo>
                  <a:lnTo>
                    <a:pt x="59" y="510"/>
                  </a:lnTo>
                  <a:lnTo>
                    <a:pt x="67" y="501"/>
                  </a:lnTo>
                  <a:lnTo>
                    <a:pt x="76" y="501"/>
                  </a:lnTo>
                  <a:lnTo>
                    <a:pt x="67" y="493"/>
                  </a:lnTo>
                  <a:lnTo>
                    <a:pt x="59" y="501"/>
                  </a:lnTo>
                  <a:lnTo>
                    <a:pt x="51" y="484"/>
                  </a:lnTo>
                  <a:lnTo>
                    <a:pt x="59" y="459"/>
                  </a:lnTo>
                  <a:lnTo>
                    <a:pt x="84" y="416"/>
                  </a:lnTo>
                  <a:lnTo>
                    <a:pt x="84" y="408"/>
                  </a:lnTo>
                  <a:lnTo>
                    <a:pt x="93" y="391"/>
                  </a:lnTo>
                  <a:lnTo>
                    <a:pt x="93" y="382"/>
                  </a:lnTo>
                  <a:lnTo>
                    <a:pt x="59" y="331"/>
                  </a:lnTo>
                  <a:lnTo>
                    <a:pt x="67" y="315"/>
                  </a:lnTo>
                  <a:lnTo>
                    <a:pt x="51" y="306"/>
                  </a:lnTo>
                  <a:lnTo>
                    <a:pt x="51" y="298"/>
                  </a:lnTo>
                  <a:lnTo>
                    <a:pt x="51" y="289"/>
                  </a:lnTo>
                  <a:lnTo>
                    <a:pt x="34" y="272"/>
                  </a:lnTo>
                  <a:lnTo>
                    <a:pt x="42" y="264"/>
                  </a:lnTo>
                  <a:lnTo>
                    <a:pt x="34" y="247"/>
                  </a:lnTo>
                  <a:lnTo>
                    <a:pt x="59" y="238"/>
                  </a:lnTo>
                  <a:lnTo>
                    <a:pt x="84" y="247"/>
                  </a:lnTo>
                  <a:lnTo>
                    <a:pt x="84" y="230"/>
                  </a:lnTo>
                  <a:lnTo>
                    <a:pt x="76" y="221"/>
                  </a:lnTo>
                  <a:lnTo>
                    <a:pt x="84" y="221"/>
                  </a:lnTo>
                  <a:lnTo>
                    <a:pt x="93" y="221"/>
                  </a:lnTo>
                  <a:lnTo>
                    <a:pt x="118" y="238"/>
                  </a:lnTo>
                  <a:lnTo>
                    <a:pt x="126" y="247"/>
                  </a:lnTo>
                  <a:lnTo>
                    <a:pt x="143" y="238"/>
                  </a:lnTo>
                  <a:lnTo>
                    <a:pt x="152" y="247"/>
                  </a:lnTo>
                  <a:lnTo>
                    <a:pt x="202" y="221"/>
                  </a:lnTo>
                  <a:lnTo>
                    <a:pt x="211" y="221"/>
                  </a:lnTo>
                  <a:lnTo>
                    <a:pt x="236" y="213"/>
                  </a:lnTo>
                  <a:lnTo>
                    <a:pt x="236" y="196"/>
                  </a:lnTo>
                  <a:lnTo>
                    <a:pt x="211" y="170"/>
                  </a:lnTo>
                  <a:lnTo>
                    <a:pt x="211" y="162"/>
                  </a:lnTo>
                  <a:lnTo>
                    <a:pt x="228" y="145"/>
                  </a:lnTo>
                  <a:lnTo>
                    <a:pt x="245" y="145"/>
                  </a:lnTo>
                  <a:lnTo>
                    <a:pt x="261" y="119"/>
                  </a:lnTo>
                  <a:lnTo>
                    <a:pt x="270" y="119"/>
                  </a:lnTo>
                  <a:lnTo>
                    <a:pt x="278" y="102"/>
                  </a:lnTo>
                  <a:lnTo>
                    <a:pt x="295" y="94"/>
                  </a:lnTo>
                  <a:lnTo>
                    <a:pt x="346" y="85"/>
                  </a:lnTo>
                  <a:lnTo>
                    <a:pt x="405" y="60"/>
                  </a:lnTo>
                  <a:lnTo>
                    <a:pt x="422" y="43"/>
                  </a:lnTo>
                  <a:lnTo>
                    <a:pt x="413" y="26"/>
                  </a:lnTo>
                  <a:lnTo>
                    <a:pt x="430" y="17"/>
                  </a:lnTo>
                  <a:lnTo>
                    <a:pt x="439" y="26"/>
                  </a:lnTo>
                  <a:lnTo>
                    <a:pt x="455" y="43"/>
                  </a:lnTo>
                  <a:lnTo>
                    <a:pt x="489" y="43"/>
                  </a:lnTo>
                  <a:lnTo>
                    <a:pt x="514" y="77"/>
                  </a:lnTo>
                  <a:lnTo>
                    <a:pt x="498" y="85"/>
                  </a:lnTo>
                  <a:lnTo>
                    <a:pt x="498" y="119"/>
                  </a:lnTo>
                  <a:lnTo>
                    <a:pt x="514" y="136"/>
                  </a:lnTo>
                  <a:lnTo>
                    <a:pt x="514" y="145"/>
                  </a:lnTo>
                  <a:lnTo>
                    <a:pt x="498" y="153"/>
                  </a:lnTo>
                  <a:lnTo>
                    <a:pt x="489" y="162"/>
                  </a:lnTo>
                  <a:lnTo>
                    <a:pt x="498" y="179"/>
                  </a:lnTo>
                  <a:lnTo>
                    <a:pt x="514" y="179"/>
                  </a:lnTo>
                  <a:lnTo>
                    <a:pt x="523" y="170"/>
                  </a:lnTo>
                  <a:lnTo>
                    <a:pt x="557" y="170"/>
                  </a:lnTo>
                  <a:lnTo>
                    <a:pt x="582" y="145"/>
                  </a:lnTo>
                  <a:lnTo>
                    <a:pt x="599" y="153"/>
                  </a:lnTo>
                  <a:lnTo>
                    <a:pt x="632" y="128"/>
                  </a:lnTo>
                  <a:lnTo>
                    <a:pt x="624" y="111"/>
                  </a:lnTo>
                  <a:lnTo>
                    <a:pt x="624" y="94"/>
                  </a:lnTo>
                  <a:lnTo>
                    <a:pt x="616" y="68"/>
                  </a:lnTo>
                  <a:lnTo>
                    <a:pt x="590" y="43"/>
                  </a:lnTo>
                  <a:lnTo>
                    <a:pt x="590" y="26"/>
                  </a:lnTo>
                  <a:lnTo>
                    <a:pt x="624" y="26"/>
                  </a:lnTo>
                  <a:lnTo>
                    <a:pt x="632" y="9"/>
                  </a:lnTo>
                  <a:lnTo>
                    <a:pt x="658" y="0"/>
                  </a:lnTo>
                  <a:lnTo>
                    <a:pt x="675" y="0"/>
                  </a:lnTo>
                  <a:lnTo>
                    <a:pt x="683" y="26"/>
                  </a:lnTo>
                  <a:lnTo>
                    <a:pt x="683" y="43"/>
                  </a:lnTo>
                  <a:lnTo>
                    <a:pt x="692" y="43"/>
                  </a:lnTo>
                  <a:lnTo>
                    <a:pt x="734" y="43"/>
                  </a:lnTo>
                  <a:lnTo>
                    <a:pt x="742" y="43"/>
                  </a:lnTo>
                  <a:lnTo>
                    <a:pt x="751" y="26"/>
                  </a:lnTo>
                  <a:lnTo>
                    <a:pt x="776" y="9"/>
                  </a:lnTo>
                  <a:lnTo>
                    <a:pt x="776" y="17"/>
                  </a:lnTo>
                  <a:lnTo>
                    <a:pt x="776" y="51"/>
                  </a:lnTo>
                  <a:lnTo>
                    <a:pt x="751" y="68"/>
                  </a:lnTo>
                  <a:lnTo>
                    <a:pt x="742" y="85"/>
                  </a:lnTo>
                  <a:lnTo>
                    <a:pt x="742" y="94"/>
                  </a:lnTo>
                  <a:lnTo>
                    <a:pt x="759" y="111"/>
                  </a:lnTo>
                  <a:lnTo>
                    <a:pt x="751" y="119"/>
                  </a:lnTo>
                  <a:lnTo>
                    <a:pt x="742" y="128"/>
                  </a:lnTo>
                  <a:lnTo>
                    <a:pt x="751" y="145"/>
                  </a:lnTo>
                  <a:lnTo>
                    <a:pt x="776" y="153"/>
                  </a:lnTo>
                  <a:lnTo>
                    <a:pt x="793" y="170"/>
                  </a:lnTo>
                  <a:lnTo>
                    <a:pt x="793" y="179"/>
                  </a:lnTo>
                  <a:lnTo>
                    <a:pt x="793" y="196"/>
                  </a:lnTo>
                  <a:lnTo>
                    <a:pt x="801" y="196"/>
                  </a:lnTo>
                  <a:lnTo>
                    <a:pt x="793" y="204"/>
                  </a:lnTo>
                  <a:lnTo>
                    <a:pt x="801" y="213"/>
                  </a:lnTo>
                  <a:lnTo>
                    <a:pt x="810" y="213"/>
                  </a:lnTo>
                  <a:lnTo>
                    <a:pt x="818" y="221"/>
                  </a:lnTo>
                  <a:lnTo>
                    <a:pt x="810" y="230"/>
                  </a:lnTo>
                  <a:lnTo>
                    <a:pt x="818" y="247"/>
                  </a:lnTo>
                  <a:lnTo>
                    <a:pt x="843" y="255"/>
                  </a:lnTo>
                  <a:lnTo>
                    <a:pt x="852" y="255"/>
                  </a:lnTo>
                  <a:lnTo>
                    <a:pt x="852" y="289"/>
                  </a:lnTo>
                  <a:lnTo>
                    <a:pt x="835" y="306"/>
                  </a:lnTo>
                  <a:lnTo>
                    <a:pt x="835" y="340"/>
                  </a:lnTo>
                  <a:lnTo>
                    <a:pt x="818" y="348"/>
                  </a:lnTo>
                  <a:lnTo>
                    <a:pt x="826" y="374"/>
                  </a:lnTo>
                  <a:lnTo>
                    <a:pt x="776" y="416"/>
                  </a:lnTo>
                  <a:lnTo>
                    <a:pt x="767" y="416"/>
                  </a:lnTo>
                  <a:lnTo>
                    <a:pt x="759" y="399"/>
                  </a:lnTo>
                  <a:lnTo>
                    <a:pt x="742" y="391"/>
                  </a:lnTo>
                  <a:lnTo>
                    <a:pt x="725" y="399"/>
                  </a:lnTo>
                  <a:lnTo>
                    <a:pt x="725" y="416"/>
                  </a:lnTo>
                  <a:lnTo>
                    <a:pt x="734" y="425"/>
                  </a:lnTo>
                  <a:lnTo>
                    <a:pt x="734" y="433"/>
                  </a:lnTo>
                  <a:lnTo>
                    <a:pt x="708" y="433"/>
                  </a:lnTo>
                  <a:lnTo>
                    <a:pt x="683" y="442"/>
                  </a:lnTo>
                  <a:lnTo>
                    <a:pt x="666" y="442"/>
                  </a:lnTo>
                  <a:lnTo>
                    <a:pt x="649" y="476"/>
                  </a:lnTo>
                  <a:lnTo>
                    <a:pt x="649" y="484"/>
                  </a:lnTo>
                  <a:lnTo>
                    <a:pt x="675" y="484"/>
                  </a:lnTo>
                  <a:lnTo>
                    <a:pt x="692" y="501"/>
                  </a:lnTo>
                  <a:lnTo>
                    <a:pt x="683" y="518"/>
                  </a:lnTo>
                  <a:lnTo>
                    <a:pt x="675" y="527"/>
                  </a:lnTo>
                  <a:lnTo>
                    <a:pt x="666" y="544"/>
                  </a:lnTo>
                  <a:lnTo>
                    <a:pt x="666" y="552"/>
                  </a:lnTo>
                  <a:lnTo>
                    <a:pt x="632" y="552"/>
                  </a:lnTo>
                  <a:lnTo>
                    <a:pt x="632" y="561"/>
                  </a:lnTo>
                  <a:lnTo>
                    <a:pt x="632" y="578"/>
                  </a:lnTo>
                  <a:lnTo>
                    <a:pt x="624" y="595"/>
                  </a:lnTo>
                  <a:lnTo>
                    <a:pt x="607" y="620"/>
                  </a:lnTo>
                  <a:lnTo>
                    <a:pt x="590" y="637"/>
                  </a:lnTo>
                  <a:lnTo>
                    <a:pt x="573" y="629"/>
                  </a:lnTo>
                  <a:lnTo>
                    <a:pt x="565" y="629"/>
                  </a:lnTo>
                  <a:lnTo>
                    <a:pt x="540" y="662"/>
                  </a:lnTo>
                  <a:lnTo>
                    <a:pt x="548" y="679"/>
                  </a:lnTo>
                  <a:lnTo>
                    <a:pt x="540" y="705"/>
                  </a:lnTo>
                  <a:lnTo>
                    <a:pt x="523" y="696"/>
                  </a:lnTo>
                  <a:lnTo>
                    <a:pt x="514" y="696"/>
                  </a:lnTo>
                  <a:lnTo>
                    <a:pt x="498" y="654"/>
                  </a:lnTo>
                  <a:lnTo>
                    <a:pt x="498" y="646"/>
                  </a:lnTo>
                  <a:lnTo>
                    <a:pt x="481" y="637"/>
                  </a:lnTo>
                  <a:lnTo>
                    <a:pt x="472" y="629"/>
                  </a:lnTo>
                  <a:lnTo>
                    <a:pt x="472" y="620"/>
                  </a:lnTo>
                  <a:lnTo>
                    <a:pt x="472" y="612"/>
                  </a:lnTo>
                  <a:lnTo>
                    <a:pt x="464" y="603"/>
                  </a:lnTo>
                  <a:lnTo>
                    <a:pt x="447" y="612"/>
                  </a:lnTo>
                  <a:lnTo>
                    <a:pt x="447" y="637"/>
                  </a:lnTo>
                  <a:lnTo>
                    <a:pt x="430" y="646"/>
                  </a:lnTo>
                  <a:lnTo>
                    <a:pt x="430" y="654"/>
                  </a:lnTo>
                  <a:lnTo>
                    <a:pt x="379" y="679"/>
                  </a:lnTo>
                  <a:lnTo>
                    <a:pt x="354" y="679"/>
                  </a:lnTo>
                  <a:lnTo>
                    <a:pt x="346" y="713"/>
                  </a:lnTo>
                  <a:lnTo>
                    <a:pt x="320" y="722"/>
                  </a:lnTo>
                  <a:lnTo>
                    <a:pt x="312" y="713"/>
                  </a:lnTo>
                  <a:lnTo>
                    <a:pt x="295" y="722"/>
                  </a:lnTo>
                  <a:lnTo>
                    <a:pt x="278" y="722"/>
                  </a:lnTo>
                  <a:lnTo>
                    <a:pt x="236" y="747"/>
                  </a:lnTo>
                  <a:lnTo>
                    <a:pt x="236" y="756"/>
                  </a:lnTo>
                  <a:lnTo>
                    <a:pt x="236" y="764"/>
                  </a:lnTo>
                  <a:lnTo>
                    <a:pt x="228" y="773"/>
                  </a:lnTo>
                  <a:lnTo>
                    <a:pt x="211" y="764"/>
                  </a:lnTo>
                  <a:lnTo>
                    <a:pt x="194" y="781"/>
                  </a:lnTo>
                  <a:lnTo>
                    <a:pt x="211" y="807"/>
                  </a:lnTo>
                  <a:lnTo>
                    <a:pt x="194" y="824"/>
                  </a:lnTo>
                  <a:lnTo>
                    <a:pt x="186" y="807"/>
                  </a:lnTo>
                  <a:lnTo>
                    <a:pt x="169" y="815"/>
                  </a:lnTo>
                  <a:lnTo>
                    <a:pt x="160" y="807"/>
                  </a:lnTo>
                  <a:lnTo>
                    <a:pt x="143" y="807"/>
                  </a:lnTo>
                  <a:lnTo>
                    <a:pt x="135" y="815"/>
                  </a:lnTo>
                  <a:lnTo>
                    <a:pt x="118" y="807"/>
                  </a:lnTo>
                  <a:lnTo>
                    <a:pt x="101" y="807"/>
                  </a:lnTo>
                  <a:lnTo>
                    <a:pt x="101" y="798"/>
                  </a:lnTo>
                  <a:lnTo>
                    <a:pt x="110" y="781"/>
                  </a:lnTo>
                  <a:lnTo>
                    <a:pt x="101" y="764"/>
                  </a:lnTo>
                  <a:lnTo>
                    <a:pt x="84" y="756"/>
                  </a:lnTo>
                  <a:lnTo>
                    <a:pt x="59" y="739"/>
                  </a:lnTo>
                  <a:lnTo>
                    <a:pt x="67" y="730"/>
                  </a:lnTo>
                  <a:lnTo>
                    <a:pt x="84" y="713"/>
                  </a:lnTo>
                  <a:lnTo>
                    <a:pt x="59" y="705"/>
                  </a:lnTo>
                  <a:lnTo>
                    <a:pt x="59" y="688"/>
                  </a:lnTo>
                  <a:lnTo>
                    <a:pt x="51" y="671"/>
                  </a:lnTo>
                  <a:lnTo>
                    <a:pt x="34" y="671"/>
                  </a:lnTo>
                  <a:lnTo>
                    <a:pt x="25" y="654"/>
                  </a:lnTo>
                  <a:lnTo>
                    <a:pt x="25" y="637"/>
                  </a:lnTo>
                </a:path>
              </a:pathLst>
            </a:custGeom>
            <a:grpFill/>
            <a:ln w="9525" cmpd="sng" algn="ctr">
              <a:solidFill>
                <a:schemeClr val="bg1"/>
              </a:solidFill>
              <a:round/>
              <a:headEnd/>
              <a:tailEnd/>
            </a:ln>
          </p:spPr>
          <p:txBody>
            <a:bodyPr wrap="none" lIns="79747" tIns="39873" rIns="79747" bIns="39873" anchor="ctr"/>
            <a:ls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477" dirty="0"/>
            </a:p>
          </p:txBody>
        </p:sp>
        <p:sp>
          <p:nvSpPr>
            <p:cNvPr id="59" name="Mecklenburg-Vorpommern">
              <a:extLst>
                <a:ext uri="{FF2B5EF4-FFF2-40B4-BE49-F238E27FC236}">
                  <a16:creationId xmlns:a16="http://schemas.microsoft.com/office/drawing/2014/main" id="{678C3960-3BCA-4913-BE6B-6C0D0EA8A8F0}"/>
                </a:ext>
              </a:extLst>
            </p:cNvPr>
            <p:cNvSpPr>
              <a:spLocks/>
            </p:cNvSpPr>
            <p:nvPr/>
          </p:nvSpPr>
          <p:spPr bwMode="auto">
            <a:xfrm>
              <a:off x="4704134" y="1861343"/>
              <a:ext cx="1207477" cy="817562"/>
            </a:xfrm>
            <a:custGeom>
              <a:avLst/>
              <a:gdLst>
                <a:gd name="T0" fmla="*/ 1521659330 w 868"/>
                <a:gd name="T1" fmla="*/ 822903515 h 543"/>
                <a:gd name="T2" fmla="*/ 1521659330 w 868"/>
                <a:gd name="T3" fmla="*/ 729958651 h 543"/>
                <a:gd name="T4" fmla="*/ 1430812715 w 868"/>
                <a:gd name="T5" fmla="*/ 716356697 h 543"/>
                <a:gd name="T6" fmla="*/ 1292274716 w 868"/>
                <a:gd name="T7" fmla="*/ 698221261 h 543"/>
                <a:gd name="T8" fmla="*/ 1212785058 w 868"/>
                <a:gd name="T9" fmla="*/ 809301561 h 543"/>
                <a:gd name="T10" fmla="*/ 1087872092 w 868"/>
                <a:gd name="T11" fmla="*/ 841038951 h 543"/>
                <a:gd name="T12" fmla="*/ 1087872092 w 868"/>
                <a:gd name="T13" fmla="*/ 918115684 h 543"/>
                <a:gd name="T14" fmla="*/ 933434956 w 868"/>
                <a:gd name="T15" fmla="*/ 918115684 h 543"/>
                <a:gd name="T16" fmla="*/ 778997632 w 868"/>
                <a:gd name="T17" fmla="*/ 854640905 h 543"/>
                <a:gd name="T18" fmla="*/ 701780571 w 868"/>
                <a:gd name="T19" fmla="*/ 822903515 h 543"/>
                <a:gd name="T20" fmla="*/ 635917453 w 868"/>
                <a:gd name="T21" fmla="*/ 809301561 h 543"/>
                <a:gd name="T22" fmla="*/ 574596515 w 868"/>
                <a:gd name="T23" fmla="*/ 809301561 h 543"/>
                <a:gd name="T24" fmla="*/ 545072345 w 868"/>
                <a:gd name="T25" fmla="*/ 854640905 h 543"/>
                <a:gd name="T26" fmla="*/ 481480317 w 868"/>
                <a:gd name="T27" fmla="*/ 918115684 h 543"/>
                <a:gd name="T28" fmla="*/ 372466394 w 868"/>
                <a:gd name="T29" fmla="*/ 933983627 h 543"/>
                <a:gd name="T30" fmla="*/ 308874366 w 868"/>
                <a:gd name="T31" fmla="*/ 979322970 h 543"/>
                <a:gd name="T32" fmla="*/ 249824519 w 868"/>
                <a:gd name="T33" fmla="*/ 965721016 h 543"/>
                <a:gd name="T34" fmla="*/ 186232444 w 868"/>
                <a:gd name="T35" fmla="*/ 947585580 h 543"/>
                <a:gd name="T36" fmla="*/ 27253092 w 868"/>
                <a:gd name="T37" fmla="*/ 809301561 h 543"/>
                <a:gd name="T38" fmla="*/ 0 w 868"/>
                <a:gd name="T39" fmla="*/ 763962029 h 543"/>
                <a:gd name="T40" fmla="*/ 47694409 w 868"/>
                <a:gd name="T41" fmla="*/ 716356697 h 543"/>
                <a:gd name="T42" fmla="*/ 77218592 w 868"/>
                <a:gd name="T43" fmla="*/ 668751365 h 543"/>
                <a:gd name="T44" fmla="*/ 124913013 w 868"/>
                <a:gd name="T45" fmla="*/ 575805184 h 543"/>
                <a:gd name="T46" fmla="*/ 47694409 w 868"/>
                <a:gd name="T47" fmla="*/ 435255176 h 543"/>
                <a:gd name="T48" fmla="*/ 93116222 w 868"/>
                <a:gd name="T49" fmla="*/ 403517786 h 543"/>
                <a:gd name="T50" fmla="*/ 106742786 w 868"/>
                <a:gd name="T51" fmla="*/ 389915739 h 543"/>
                <a:gd name="T52" fmla="*/ 186232444 w 868"/>
                <a:gd name="T53" fmla="*/ 355910854 h 543"/>
                <a:gd name="T54" fmla="*/ 249824519 w 868"/>
                <a:gd name="T55" fmla="*/ 374046291 h 543"/>
                <a:gd name="T56" fmla="*/ 249824519 w 868"/>
                <a:gd name="T57" fmla="*/ 403517786 h 543"/>
                <a:gd name="T58" fmla="*/ 324771997 w 868"/>
                <a:gd name="T59" fmla="*/ 403517786 h 543"/>
                <a:gd name="T60" fmla="*/ 342940717 w 868"/>
                <a:gd name="T61" fmla="*/ 340042912 h 543"/>
                <a:gd name="T62" fmla="*/ 386092934 w 868"/>
                <a:gd name="T63" fmla="*/ 296971063 h 543"/>
                <a:gd name="T64" fmla="*/ 404261749 w 868"/>
                <a:gd name="T65" fmla="*/ 247098237 h 543"/>
                <a:gd name="T66" fmla="*/ 529173207 w 868"/>
                <a:gd name="T67" fmla="*/ 231228789 h 543"/>
                <a:gd name="T68" fmla="*/ 590494145 w 868"/>
                <a:gd name="T69" fmla="*/ 231228789 h 543"/>
                <a:gd name="T70" fmla="*/ 683610343 w 868"/>
                <a:gd name="T71" fmla="*/ 124682113 h 543"/>
                <a:gd name="T72" fmla="*/ 790354777 w 868"/>
                <a:gd name="T73" fmla="*/ 18135442 h 543"/>
                <a:gd name="T74" fmla="*/ 915266236 w 868"/>
                <a:gd name="T75" fmla="*/ 29469908 h 543"/>
                <a:gd name="T76" fmla="*/ 826692218 w 868"/>
                <a:gd name="T77" fmla="*/ 47605344 h 543"/>
                <a:gd name="T78" fmla="*/ 790354777 w 868"/>
                <a:gd name="T79" fmla="*/ 47605344 h 543"/>
                <a:gd name="T80" fmla="*/ 731304741 w 868"/>
                <a:gd name="T81" fmla="*/ 61207309 h 543"/>
                <a:gd name="T82" fmla="*/ 713136021 w 868"/>
                <a:gd name="T83" fmla="*/ 154152008 h 543"/>
                <a:gd name="T84" fmla="*/ 778997632 w 868"/>
                <a:gd name="T85" fmla="*/ 77076757 h 543"/>
                <a:gd name="T86" fmla="*/ 826692218 w 868"/>
                <a:gd name="T87" fmla="*/ 61207309 h 543"/>
                <a:gd name="T88" fmla="*/ 885742066 w 868"/>
                <a:gd name="T89" fmla="*/ 77076757 h 543"/>
                <a:gd name="T90" fmla="*/ 949334093 w 868"/>
                <a:gd name="T91" fmla="*/ 29469908 h 543"/>
                <a:gd name="T92" fmla="*/ 1010653524 w 868"/>
                <a:gd name="T93" fmla="*/ 124682113 h 543"/>
                <a:gd name="T94" fmla="*/ 1103769722 w 868"/>
                <a:gd name="T95" fmla="*/ 201758893 h 543"/>
                <a:gd name="T96" fmla="*/ 1167361750 w 868"/>
                <a:gd name="T97" fmla="*/ 265233673 h 543"/>
                <a:gd name="T98" fmla="*/ 1244580318 w 868"/>
                <a:gd name="T99" fmla="*/ 201758893 h 543"/>
                <a:gd name="T100" fmla="*/ 1292274716 w 868"/>
                <a:gd name="T101" fmla="*/ 310573017 h 543"/>
                <a:gd name="T102" fmla="*/ 1321798886 w 868"/>
                <a:gd name="T103" fmla="*/ 419385728 h 543"/>
                <a:gd name="T104" fmla="*/ 1367222194 w 868"/>
                <a:gd name="T105" fmla="*/ 466992566 h 543"/>
                <a:gd name="T106" fmla="*/ 1444440762 w 868"/>
                <a:gd name="T107" fmla="*/ 480593014 h 543"/>
                <a:gd name="T108" fmla="*/ 1510302373 w 868"/>
                <a:gd name="T109" fmla="*/ 480593014 h 543"/>
                <a:gd name="T110" fmla="*/ 1521659330 w 868"/>
                <a:gd name="T111" fmla="*/ 639279964 h 543"/>
                <a:gd name="T112" fmla="*/ 1569352221 w 868"/>
                <a:gd name="T113" fmla="*/ 716356697 h 543"/>
                <a:gd name="T114" fmla="*/ 1587521318 w 868"/>
                <a:gd name="T115" fmla="*/ 809301561 h 543"/>
                <a:gd name="T116" fmla="*/ 1569352221 w 868"/>
                <a:gd name="T117" fmla="*/ 886378294 h 54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68"/>
                <a:gd name="T178" fmla="*/ 0 h 543"/>
                <a:gd name="T179" fmla="*/ 868 w 868"/>
                <a:gd name="T180" fmla="*/ 543 h 54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68" h="543">
                  <a:moveTo>
                    <a:pt x="826" y="475"/>
                  </a:moveTo>
                  <a:lnTo>
                    <a:pt x="826" y="449"/>
                  </a:lnTo>
                  <a:lnTo>
                    <a:pt x="843" y="424"/>
                  </a:lnTo>
                  <a:lnTo>
                    <a:pt x="826" y="398"/>
                  </a:lnTo>
                  <a:lnTo>
                    <a:pt x="792" y="382"/>
                  </a:lnTo>
                  <a:lnTo>
                    <a:pt x="775" y="390"/>
                  </a:lnTo>
                  <a:lnTo>
                    <a:pt x="733" y="373"/>
                  </a:lnTo>
                  <a:lnTo>
                    <a:pt x="700" y="382"/>
                  </a:lnTo>
                  <a:lnTo>
                    <a:pt x="674" y="398"/>
                  </a:lnTo>
                  <a:lnTo>
                    <a:pt x="657" y="441"/>
                  </a:lnTo>
                  <a:lnTo>
                    <a:pt x="624" y="458"/>
                  </a:lnTo>
                  <a:lnTo>
                    <a:pt x="590" y="458"/>
                  </a:lnTo>
                  <a:lnTo>
                    <a:pt x="556" y="475"/>
                  </a:lnTo>
                  <a:lnTo>
                    <a:pt x="590" y="500"/>
                  </a:lnTo>
                  <a:lnTo>
                    <a:pt x="581" y="517"/>
                  </a:lnTo>
                  <a:lnTo>
                    <a:pt x="506" y="500"/>
                  </a:lnTo>
                  <a:lnTo>
                    <a:pt x="480" y="483"/>
                  </a:lnTo>
                  <a:lnTo>
                    <a:pt x="421" y="466"/>
                  </a:lnTo>
                  <a:lnTo>
                    <a:pt x="413" y="466"/>
                  </a:lnTo>
                  <a:lnTo>
                    <a:pt x="379" y="449"/>
                  </a:lnTo>
                  <a:lnTo>
                    <a:pt x="362" y="441"/>
                  </a:lnTo>
                  <a:lnTo>
                    <a:pt x="345" y="441"/>
                  </a:lnTo>
                  <a:lnTo>
                    <a:pt x="328" y="432"/>
                  </a:lnTo>
                  <a:lnTo>
                    <a:pt x="312" y="441"/>
                  </a:lnTo>
                  <a:lnTo>
                    <a:pt x="303" y="458"/>
                  </a:lnTo>
                  <a:lnTo>
                    <a:pt x="295" y="466"/>
                  </a:lnTo>
                  <a:lnTo>
                    <a:pt x="278" y="483"/>
                  </a:lnTo>
                  <a:lnTo>
                    <a:pt x="261" y="500"/>
                  </a:lnTo>
                  <a:lnTo>
                    <a:pt x="244" y="492"/>
                  </a:lnTo>
                  <a:lnTo>
                    <a:pt x="202" y="509"/>
                  </a:lnTo>
                  <a:lnTo>
                    <a:pt x="177" y="534"/>
                  </a:lnTo>
                  <a:lnTo>
                    <a:pt x="168" y="534"/>
                  </a:lnTo>
                  <a:lnTo>
                    <a:pt x="151" y="543"/>
                  </a:lnTo>
                  <a:lnTo>
                    <a:pt x="135" y="526"/>
                  </a:lnTo>
                  <a:lnTo>
                    <a:pt x="109" y="509"/>
                  </a:lnTo>
                  <a:lnTo>
                    <a:pt x="101" y="517"/>
                  </a:lnTo>
                  <a:lnTo>
                    <a:pt x="42" y="475"/>
                  </a:lnTo>
                  <a:lnTo>
                    <a:pt x="16" y="441"/>
                  </a:lnTo>
                  <a:lnTo>
                    <a:pt x="0" y="441"/>
                  </a:lnTo>
                  <a:lnTo>
                    <a:pt x="0" y="415"/>
                  </a:lnTo>
                  <a:lnTo>
                    <a:pt x="0" y="407"/>
                  </a:lnTo>
                  <a:lnTo>
                    <a:pt x="25" y="390"/>
                  </a:lnTo>
                  <a:lnTo>
                    <a:pt x="33" y="382"/>
                  </a:lnTo>
                  <a:lnTo>
                    <a:pt x="42" y="365"/>
                  </a:lnTo>
                  <a:lnTo>
                    <a:pt x="67" y="348"/>
                  </a:lnTo>
                  <a:lnTo>
                    <a:pt x="67" y="314"/>
                  </a:lnTo>
                  <a:lnTo>
                    <a:pt x="25" y="288"/>
                  </a:lnTo>
                  <a:lnTo>
                    <a:pt x="25" y="237"/>
                  </a:lnTo>
                  <a:lnTo>
                    <a:pt x="42" y="237"/>
                  </a:lnTo>
                  <a:lnTo>
                    <a:pt x="50" y="220"/>
                  </a:lnTo>
                  <a:lnTo>
                    <a:pt x="50" y="212"/>
                  </a:lnTo>
                  <a:lnTo>
                    <a:pt x="59" y="212"/>
                  </a:lnTo>
                  <a:lnTo>
                    <a:pt x="75" y="195"/>
                  </a:lnTo>
                  <a:lnTo>
                    <a:pt x="101" y="195"/>
                  </a:lnTo>
                  <a:lnTo>
                    <a:pt x="118" y="195"/>
                  </a:lnTo>
                  <a:lnTo>
                    <a:pt x="135" y="203"/>
                  </a:lnTo>
                  <a:lnTo>
                    <a:pt x="135" y="212"/>
                  </a:lnTo>
                  <a:lnTo>
                    <a:pt x="135" y="220"/>
                  </a:lnTo>
                  <a:lnTo>
                    <a:pt x="151" y="212"/>
                  </a:lnTo>
                  <a:lnTo>
                    <a:pt x="177" y="220"/>
                  </a:lnTo>
                  <a:lnTo>
                    <a:pt x="185" y="220"/>
                  </a:lnTo>
                  <a:lnTo>
                    <a:pt x="185" y="186"/>
                  </a:lnTo>
                  <a:lnTo>
                    <a:pt x="210" y="169"/>
                  </a:lnTo>
                  <a:lnTo>
                    <a:pt x="210" y="161"/>
                  </a:lnTo>
                  <a:lnTo>
                    <a:pt x="219" y="144"/>
                  </a:lnTo>
                  <a:lnTo>
                    <a:pt x="219" y="135"/>
                  </a:lnTo>
                  <a:lnTo>
                    <a:pt x="236" y="127"/>
                  </a:lnTo>
                  <a:lnTo>
                    <a:pt x="286" y="127"/>
                  </a:lnTo>
                  <a:lnTo>
                    <a:pt x="312" y="118"/>
                  </a:lnTo>
                  <a:lnTo>
                    <a:pt x="320" y="127"/>
                  </a:lnTo>
                  <a:lnTo>
                    <a:pt x="328" y="110"/>
                  </a:lnTo>
                  <a:lnTo>
                    <a:pt x="371" y="67"/>
                  </a:lnTo>
                  <a:lnTo>
                    <a:pt x="404" y="0"/>
                  </a:lnTo>
                  <a:lnTo>
                    <a:pt x="430" y="8"/>
                  </a:lnTo>
                  <a:lnTo>
                    <a:pt x="480" y="17"/>
                  </a:lnTo>
                  <a:lnTo>
                    <a:pt x="497" y="17"/>
                  </a:lnTo>
                  <a:lnTo>
                    <a:pt x="480" y="25"/>
                  </a:lnTo>
                  <a:lnTo>
                    <a:pt x="447" y="25"/>
                  </a:lnTo>
                  <a:lnTo>
                    <a:pt x="438" y="25"/>
                  </a:lnTo>
                  <a:lnTo>
                    <a:pt x="430" y="25"/>
                  </a:lnTo>
                  <a:lnTo>
                    <a:pt x="413" y="42"/>
                  </a:lnTo>
                  <a:lnTo>
                    <a:pt x="396" y="34"/>
                  </a:lnTo>
                  <a:lnTo>
                    <a:pt x="371" y="76"/>
                  </a:lnTo>
                  <a:lnTo>
                    <a:pt x="388" y="84"/>
                  </a:lnTo>
                  <a:lnTo>
                    <a:pt x="396" y="67"/>
                  </a:lnTo>
                  <a:lnTo>
                    <a:pt x="421" y="42"/>
                  </a:lnTo>
                  <a:lnTo>
                    <a:pt x="438" y="42"/>
                  </a:lnTo>
                  <a:lnTo>
                    <a:pt x="447" y="34"/>
                  </a:lnTo>
                  <a:lnTo>
                    <a:pt x="472" y="42"/>
                  </a:lnTo>
                  <a:lnTo>
                    <a:pt x="480" y="42"/>
                  </a:lnTo>
                  <a:lnTo>
                    <a:pt x="506" y="17"/>
                  </a:lnTo>
                  <a:lnTo>
                    <a:pt x="514" y="17"/>
                  </a:lnTo>
                  <a:lnTo>
                    <a:pt x="531" y="42"/>
                  </a:lnTo>
                  <a:lnTo>
                    <a:pt x="548" y="67"/>
                  </a:lnTo>
                  <a:lnTo>
                    <a:pt x="581" y="84"/>
                  </a:lnTo>
                  <a:lnTo>
                    <a:pt x="598" y="110"/>
                  </a:lnTo>
                  <a:lnTo>
                    <a:pt x="607" y="110"/>
                  </a:lnTo>
                  <a:lnTo>
                    <a:pt x="632" y="144"/>
                  </a:lnTo>
                  <a:lnTo>
                    <a:pt x="640" y="127"/>
                  </a:lnTo>
                  <a:lnTo>
                    <a:pt x="674" y="110"/>
                  </a:lnTo>
                  <a:lnTo>
                    <a:pt x="691" y="127"/>
                  </a:lnTo>
                  <a:lnTo>
                    <a:pt x="700" y="169"/>
                  </a:lnTo>
                  <a:lnTo>
                    <a:pt x="725" y="195"/>
                  </a:lnTo>
                  <a:lnTo>
                    <a:pt x="716" y="229"/>
                  </a:lnTo>
                  <a:lnTo>
                    <a:pt x="716" y="237"/>
                  </a:lnTo>
                  <a:lnTo>
                    <a:pt x="742" y="254"/>
                  </a:lnTo>
                  <a:lnTo>
                    <a:pt x="759" y="263"/>
                  </a:lnTo>
                  <a:lnTo>
                    <a:pt x="784" y="263"/>
                  </a:lnTo>
                  <a:lnTo>
                    <a:pt x="809" y="263"/>
                  </a:lnTo>
                  <a:lnTo>
                    <a:pt x="818" y="263"/>
                  </a:lnTo>
                  <a:lnTo>
                    <a:pt x="826" y="331"/>
                  </a:lnTo>
                  <a:lnTo>
                    <a:pt x="826" y="348"/>
                  </a:lnTo>
                  <a:lnTo>
                    <a:pt x="851" y="373"/>
                  </a:lnTo>
                  <a:lnTo>
                    <a:pt x="851" y="390"/>
                  </a:lnTo>
                  <a:lnTo>
                    <a:pt x="860" y="415"/>
                  </a:lnTo>
                  <a:lnTo>
                    <a:pt x="860" y="441"/>
                  </a:lnTo>
                  <a:lnTo>
                    <a:pt x="868" y="441"/>
                  </a:lnTo>
                  <a:lnTo>
                    <a:pt x="851" y="483"/>
                  </a:lnTo>
                  <a:lnTo>
                    <a:pt x="826" y="475"/>
                  </a:lnTo>
                </a:path>
              </a:pathLst>
            </a:custGeom>
            <a:grpFill/>
            <a:ln w="9525" cmpd="sng" algn="ctr">
              <a:solidFill>
                <a:schemeClr val="bg1"/>
              </a:solidFill>
              <a:round/>
              <a:headEnd/>
              <a:tailEnd/>
            </a:ln>
          </p:spPr>
          <p:txBody>
            <a:bodyPr wrap="none" lIns="79747" tIns="39873" rIns="79747" bIns="39873" anchor="ctr"/>
            <a:ls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477" dirty="0"/>
            </a:p>
          </p:txBody>
        </p:sp>
        <p:sp>
          <p:nvSpPr>
            <p:cNvPr id="52" name="Lower Saxony">
              <a:extLst>
                <a:ext uri="{FF2B5EF4-FFF2-40B4-BE49-F238E27FC236}">
                  <a16:creationId xmlns:a16="http://schemas.microsoft.com/office/drawing/2014/main" id="{6987452C-3597-4BDB-BB6F-6BD3665D0773}"/>
                </a:ext>
              </a:extLst>
            </p:cNvPr>
            <p:cNvSpPr>
              <a:spLocks/>
            </p:cNvSpPr>
            <p:nvPr/>
          </p:nvSpPr>
          <p:spPr bwMode="auto">
            <a:xfrm>
              <a:off x="3446834" y="2218531"/>
              <a:ext cx="1562100" cy="1509712"/>
            </a:xfrm>
            <a:custGeom>
              <a:avLst/>
              <a:gdLst>
                <a:gd name="T0" fmla="*/ 673360944 w 1122"/>
                <a:gd name="T1" fmla="*/ 204312895 h 1002"/>
                <a:gd name="T2" fmla="*/ 673360944 w 1122"/>
                <a:gd name="T3" fmla="*/ 326900877 h 1002"/>
                <a:gd name="T4" fmla="*/ 627864106 w 1122"/>
                <a:gd name="T5" fmla="*/ 249715740 h 1002"/>
                <a:gd name="T6" fmla="*/ 486821643 w 1122"/>
                <a:gd name="T7" fmla="*/ 127127711 h 1002"/>
                <a:gd name="T8" fmla="*/ 186539349 w 1122"/>
                <a:gd name="T9" fmla="*/ 204312895 h 1002"/>
                <a:gd name="T10" fmla="*/ 172889543 w 1122"/>
                <a:gd name="T11" fmla="*/ 376843403 h 1002"/>
                <a:gd name="T12" fmla="*/ 218387937 w 1122"/>
                <a:gd name="T13" fmla="*/ 451758040 h 1002"/>
                <a:gd name="T14" fmla="*/ 218387937 w 1122"/>
                <a:gd name="T15" fmla="*/ 578885704 h 1002"/>
                <a:gd name="T16" fmla="*/ 141042510 w 1122"/>
                <a:gd name="T17" fmla="*/ 876274977 h 1002"/>
                <a:gd name="T18" fmla="*/ 29572580 w 1122"/>
                <a:gd name="T19" fmla="*/ 860383830 h 1002"/>
                <a:gd name="T20" fmla="*/ 0 w 1122"/>
                <a:gd name="T21" fmla="*/ 969349754 h 1002"/>
                <a:gd name="T22" fmla="*/ 109193969 w 1122"/>
                <a:gd name="T23" fmla="*/ 998861452 h 1002"/>
                <a:gd name="T24" fmla="*/ 141042510 w 1122"/>
                <a:gd name="T25" fmla="*/ 1141880262 h 1002"/>
                <a:gd name="T26" fmla="*/ 359428892 w 1122"/>
                <a:gd name="T27" fmla="*/ 1017023192 h 1002"/>
                <a:gd name="T28" fmla="*/ 500471449 w 1122"/>
                <a:gd name="T29" fmla="*/ 1048805485 h 1002"/>
                <a:gd name="T30" fmla="*/ 545968287 w 1122"/>
                <a:gd name="T31" fmla="*/ 1219065399 h 1002"/>
                <a:gd name="T32" fmla="*/ 516394211 w 1122"/>
                <a:gd name="T33" fmla="*/ 1298521131 h 1002"/>
                <a:gd name="T34" fmla="*/ 673360944 w 1122"/>
                <a:gd name="T35" fmla="*/ 1237227140 h 1002"/>
                <a:gd name="T36" fmla="*/ 752980789 w 1122"/>
                <a:gd name="T37" fmla="*/ 1141880262 h 1002"/>
                <a:gd name="T38" fmla="*/ 752980789 w 1122"/>
                <a:gd name="T39" fmla="*/ 1017023192 h 1002"/>
                <a:gd name="T40" fmla="*/ 859900435 w 1122"/>
                <a:gd name="T41" fmla="*/ 1017023192 h 1002"/>
                <a:gd name="T42" fmla="*/ 969094356 w 1122"/>
                <a:gd name="T43" fmla="*/ 1048805485 h 1002"/>
                <a:gd name="T44" fmla="*/ 1032789930 w 1122"/>
                <a:gd name="T45" fmla="*/ 1064696631 h 1002"/>
                <a:gd name="T46" fmla="*/ 1000941389 w 1122"/>
                <a:gd name="T47" fmla="*/ 1173662554 h 1002"/>
                <a:gd name="T48" fmla="*/ 1032789930 w 1122"/>
                <a:gd name="T49" fmla="*/ 1248577097 h 1002"/>
                <a:gd name="T50" fmla="*/ 1078286769 w 1122"/>
                <a:gd name="T51" fmla="*/ 1330301916 h 1002"/>
                <a:gd name="T52" fmla="*/ 1110135310 w 1122"/>
                <a:gd name="T53" fmla="*/ 1375704761 h 1002"/>
                <a:gd name="T54" fmla="*/ 1173832393 w 1122"/>
                <a:gd name="T55" fmla="*/ 1436998752 h 1002"/>
                <a:gd name="T56" fmla="*/ 1173832393 w 1122"/>
                <a:gd name="T57" fmla="*/ 1580017939 h 1002"/>
                <a:gd name="T58" fmla="*/ 1235253503 w 1122"/>
                <a:gd name="T59" fmla="*/ 1659473670 h 1002"/>
                <a:gd name="T60" fmla="*/ 1219329232 w 1122"/>
                <a:gd name="T61" fmla="*/ 1784330739 h 1002"/>
                <a:gd name="T62" fmla="*/ 1267100536 w 1122"/>
                <a:gd name="T63" fmla="*/ 1813842438 h 1002"/>
                <a:gd name="T64" fmla="*/ 1296674612 w 1122"/>
                <a:gd name="T65" fmla="*/ 1797951291 h 1002"/>
                <a:gd name="T66" fmla="*/ 1467289643 w 1122"/>
                <a:gd name="T67" fmla="*/ 1734388213 h 1002"/>
                <a:gd name="T68" fmla="*/ 1592408212 w 1122"/>
                <a:gd name="T69" fmla="*/ 1611800231 h 1002"/>
                <a:gd name="T70" fmla="*/ 1703876598 w 1122"/>
                <a:gd name="T71" fmla="*/ 1611800231 h 1002"/>
                <a:gd name="T72" fmla="*/ 1658378251 w 1122"/>
                <a:gd name="T73" fmla="*/ 1457431087 h 1002"/>
                <a:gd name="T74" fmla="*/ 1658378251 w 1122"/>
                <a:gd name="T75" fmla="*/ 1346193063 h 1002"/>
                <a:gd name="T76" fmla="*/ 1797146249 w 1122"/>
                <a:gd name="T77" fmla="*/ 1298521131 h 1002"/>
                <a:gd name="T78" fmla="*/ 1842643088 w 1122"/>
                <a:gd name="T79" fmla="*/ 1187283106 h 1002"/>
                <a:gd name="T80" fmla="*/ 1874491629 w 1122"/>
                <a:gd name="T81" fmla="*/ 1080587778 h 1002"/>
                <a:gd name="T82" fmla="*/ 1831269255 w 1122"/>
                <a:gd name="T83" fmla="*/ 892166123 h 1002"/>
                <a:gd name="T84" fmla="*/ 1751647902 w 1122"/>
                <a:gd name="T85" fmla="*/ 817250073 h 1002"/>
                <a:gd name="T86" fmla="*/ 1842643088 w 1122"/>
                <a:gd name="T87" fmla="*/ 690122221 h 1002"/>
                <a:gd name="T88" fmla="*/ 2049655590 w 1122"/>
                <a:gd name="T89" fmla="*/ 626559143 h 1002"/>
                <a:gd name="T90" fmla="*/ 2033731319 w 1122"/>
                <a:gd name="T91" fmla="*/ 578885704 h 1002"/>
                <a:gd name="T92" fmla="*/ 1924537398 w 1122"/>
                <a:gd name="T93" fmla="*/ 531212265 h 1002"/>
                <a:gd name="T94" fmla="*/ 1703876598 w 1122"/>
                <a:gd name="T95" fmla="*/ 376843403 h 1002"/>
                <a:gd name="T96" fmla="*/ 1515060947 w 1122"/>
                <a:gd name="T97" fmla="*/ 326900877 h 1002"/>
                <a:gd name="T98" fmla="*/ 1392218728 w 1122"/>
                <a:gd name="T99" fmla="*/ 326900877 h 1002"/>
                <a:gd name="T100" fmla="*/ 1328523153 w 1122"/>
                <a:gd name="T101" fmla="*/ 281498032 h 1002"/>
                <a:gd name="T102" fmla="*/ 1189755155 w 1122"/>
                <a:gd name="T103" fmla="*/ 172530555 h 1002"/>
                <a:gd name="T104" fmla="*/ 1000941389 w 1122"/>
                <a:gd name="T105" fmla="*/ 29511710 h 1002"/>
                <a:gd name="T106" fmla="*/ 812127623 w 1122"/>
                <a:gd name="T107" fmla="*/ 20430834 h 1002"/>
                <a:gd name="T108" fmla="*/ 830326358 w 1122"/>
                <a:gd name="T109" fmla="*/ 267875973 h 1002"/>
                <a:gd name="T110" fmla="*/ 752980789 w 1122"/>
                <a:gd name="T111" fmla="*/ 233824593 h 10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22"/>
                <a:gd name="T169" fmla="*/ 0 h 1002"/>
                <a:gd name="T170" fmla="*/ 1122 w 1122"/>
                <a:gd name="T171" fmla="*/ 1002 h 100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22" h="1002">
                  <a:moveTo>
                    <a:pt x="405" y="128"/>
                  </a:moveTo>
                  <a:lnTo>
                    <a:pt x="380" y="111"/>
                  </a:lnTo>
                  <a:lnTo>
                    <a:pt x="371" y="111"/>
                  </a:lnTo>
                  <a:lnTo>
                    <a:pt x="363" y="111"/>
                  </a:lnTo>
                  <a:lnTo>
                    <a:pt x="363" y="136"/>
                  </a:lnTo>
                  <a:lnTo>
                    <a:pt x="380" y="145"/>
                  </a:lnTo>
                  <a:lnTo>
                    <a:pt x="380" y="153"/>
                  </a:lnTo>
                  <a:lnTo>
                    <a:pt x="363" y="178"/>
                  </a:lnTo>
                  <a:lnTo>
                    <a:pt x="338" y="178"/>
                  </a:lnTo>
                  <a:lnTo>
                    <a:pt x="329" y="170"/>
                  </a:lnTo>
                  <a:lnTo>
                    <a:pt x="321" y="153"/>
                  </a:lnTo>
                  <a:lnTo>
                    <a:pt x="338" y="136"/>
                  </a:lnTo>
                  <a:lnTo>
                    <a:pt x="321" y="111"/>
                  </a:lnTo>
                  <a:lnTo>
                    <a:pt x="312" y="68"/>
                  </a:lnTo>
                  <a:lnTo>
                    <a:pt x="295" y="68"/>
                  </a:lnTo>
                  <a:lnTo>
                    <a:pt x="262" y="68"/>
                  </a:lnTo>
                  <a:lnTo>
                    <a:pt x="211" y="68"/>
                  </a:lnTo>
                  <a:lnTo>
                    <a:pt x="160" y="77"/>
                  </a:lnTo>
                  <a:lnTo>
                    <a:pt x="144" y="77"/>
                  </a:lnTo>
                  <a:lnTo>
                    <a:pt x="101" y="111"/>
                  </a:lnTo>
                  <a:lnTo>
                    <a:pt x="110" y="128"/>
                  </a:lnTo>
                  <a:lnTo>
                    <a:pt x="93" y="136"/>
                  </a:lnTo>
                  <a:lnTo>
                    <a:pt x="76" y="187"/>
                  </a:lnTo>
                  <a:lnTo>
                    <a:pt x="93" y="204"/>
                  </a:lnTo>
                  <a:lnTo>
                    <a:pt x="118" y="204"/>
                  </a:lnTo>
                  <a:lnTo>
                    <a:pt x="127" y="212"/>
                  </a:lnTo>
                  <a:lnTo>
                    <a:pt x="127" y="221"/>
                  </a:lnTo>
                  <a:lnTo>
                    <a:pt x="118" y="246"/>
                  </a:lnTo>
                  <a:lnTo>
                    <a:pt x="127" y="246"/>
                  </a:lnTo>
                  <a:lnTo>
                    <a:pt x="118" y="280"/>
                  </a:lnTo>
                  <a:lnTo>
                    <a:pt x="118" y="289"/>
                  </a:lnTo>
                  <a:lnTo>
                    <a:pt x="118" y="314"/>
                  </a:lnTo>
                  <a:lnTo>
                    <a:pt x="118" y="340"/>
                  </a:lnTo>
                  <a:lnTo>
                    <a:pt x="93" y="391"/>
                  </a:lnTo>
                  <a:lnTo>
                    <a:pt x="85" y="442"/>
                  </a:lnTo>
                  <a:lnTo>
                    <a:pt x="76" y="476"/>
                  </a:lnTo>
                  <a:lnTo>
                    <a:pt x="68" y="476"/>
                  </a:lnTo>
                  <a:lnTo>
                    <a:pt x="51" y="467"/>
                  </a:lnTo>
                  <a:lnTo>
                    <a:pt x="42" y="467"/>
                  </a:lnTo>
                  <a:lnTo>
                    <a:pt x="17" y="467"/>
                  </a:lnTo>
                  <a:lnTo>
                    <a:pt x="9" y="484"/>
                  </a:lnTo>
                  <a:lnTo>
                    <a:pt x="17" y="501"/>
                  </a:lnTo>
                  <a:lnTo>
                    <a:pt x="0" y="509"/>
                  </a:lnTo>
                  <a:lnTo>
                    <a:pt x="0" y="526"/>
                  </a:lnTo>
                  <a:lnTo>
                    <a:pt x="9" y="535"/>
                  </a:lnTo>
                  <a:lnTo>
                    <a:pt x="17" y="535"/>
                  </a:lnTo>
                  <a:lnTo>
                    <a:pt x="51" y="552"/>
                  </a:lnTo>
                  <a:lnTo>
                    <a:pt x="59" y="543"/>
                  </a:lnTo>
                  <a:lnTo>
                    <a:pt x="76" y="560"/>
                  </a:lnTo>
                  <a:lnTo>
                    <a:pt x="76" y="577"/>
                  </a:lnTo>
                  <a:lnTo>
                    <a:pt x="76" y="603"/>
                  </a:lnTo>
                  <a:lnTo>
                    <a:pt x="76" y="620"/>
                  </a:lnTo>
                  <a:lnTo>
                    <a:pt x="127" y="611"/>
                  </a:lnTo>
                  <a:lnTo>
                    <a:pt x="186" y="586"/>
                  </a:lnTo>
                  <a:lnTo>
                    <a:pt x="203" y="569"/>
                  </a:lnTo>
                  <a:lnTo>
                    <a:pt x="194" y="552"/>
                  </a:lnTo>
                  <a:lnTo>
                    <a:pt x="211" y="543"/>
                  </a:lnTo>
                  <a:lnTo>
                    <a:pt x="220" y="552"/>
                  </a:lnTo>
                  <a:lnTo>
                    <a:pt x="236" y="569"/>
                  </a:lnTo>
                  <a:lnTo>
                    <a:pt x="270" y="569"/>
                  </a:lnTo>
                  <a:lnTo>
                    <a:pt x="295" y="603"/>
                  </a:lnTo>
                  <a:lnTo>
                    <a:pt x="279" y="611"/>
                  </a:lnTo>
                  <a:lnTo>
                    <a:pt x="279" y="645"/>
                  </a:lnTo>
                  <a:lnTo>
                    <a:pt x="295" y="662"/>
                  </a:lnTo>
                  <a:lnTo>
                    <a:pt x="295" y="671"/>
                  </a:lnTo>
                  <a:lnTo>
                    <a:pt x="279" y="679"/>
                  </a:lnTo>
                  <a:lnTo>
                    <a:pt x="270" y="688"/>
                  </a:lnTo>
                  <a:lnTo>
                    <a:pt x="279" y="705"/>
                  </a:lnTo>
                  <a:lnTo>
                    <a:pt x="295" y="705"/>
                  </a:lnTo>
                  <a:lnTo>
                    <a:pt x="304" y="696"/>
                  </a:lnTo>
                  <a:lnTo>
                    <a:pt x="338" y="696"/>
                  </a:lnTo>
                  <a:lnTo>
                    <a:pt x="363" y="671"/>
                  </a:lnTo>
                  <a:lnTo>
                    <a:pt x="380" y="679"/>
                  </a:lnTo>
                  <a:lnTo>
                    <a:pt x="413" y="654"/>
                  </a:lnTo>
                  <a:lnTo>
                    <a:pt x="405" y="637"/>
                  </a:lnTo>
                  <a:lnTo>
                    <a:pt x="405" y="620"/>
                  </a:lnTo>
                  <a:lnTo>
                    <a:pt x="397" y="594"/>
                  </a:lnTo>
                  <a:lnTo>
                    <a:pt x="371" y="569"/>
                  </a:lnTo>
                  <a:lnTo>
                    <a:pt x="371" y="552"/>
                  </a:lnTo>
                  <a:lnTo>
                    <a:pt x="405" y="552"/>
                  </a:lnTo>
                  <a:lnTo>
                    <a:pt x="413" y="535"/>
                  </a:lnTo>
                  <a:lnTo>
                    <a:pt x="439" y="526"/>
                  </a:lnTo>
                  <a:lnTo>
                    <a:pt x="456" y="526"/>
                  </a:lnTo>
                  <a:lnTo>
                    <a:pt x="464" y="552"/>
                  </a:lnTo>
                  <a:lnTo>
                    <a:pt x="464" y="569"/>
                  </a:lnTo>
                  <a:lnTo>
                    <a:pt x="473" y="569"/>
                  </a:lnTo>
                  <a:lnTo>
                    <a:pt x="515" y="569"/>
                  </a:lnTo>
                  <a:lnTo>
                    <a:pt x="523" y="569"/>
                  </a:lnTo>
                  <a:lnTo>
                    <a:pt x="532" y="552"/>
                  </a:lnTo>
                  <a:lnTo>
                    <a:pt x="557" y="535"/>
                  </a:lnTo>
                  <a:lnTo>
                    <a:pt x="557" y="543"/>
                  </a:lnTo>
                  <a:lnTo>
                    <a:pt x="557" y="577"/>
                  </a:lnTo>
                  <a:lnTo>
                    <a:pt x="532" y="594"/>
                  </a:lnTo>
                  <a:lnTo>
                    <a:pt x="523" y="611"/>
                  </a:lnTo>
                  <a:lnTo>
                    <a:pt x="523" y="620"/>
                  </a:lnTo>
                  <a:lnTo>
                    <a:pt x="540" y="637"/>
                  </a:lnTo>
                  <a:lnTo>
                    <a:pt x="532" y="645"/>
                  </a:lnTo>
                  <a:lnTo>
                    <a:pt x="523" y="654"/>
                  </a:lnTo>
                  <a:lnTo>
                    <a:pt x="532" y="671"/>
                  </a:lnTo>
                  <a:lnTo>
                    <a:pt x="557" y="679"/>
                  </a:lnTo>
                  <a:lnTo>
                    <a:pt x="574" y="696"/>
                  </a:lnTo>
                  <a:lnTo>
                    <a:pt x="574" y="705"/>
                  </a:lnTo>
                  <a:lnTo>
                    <a:pt x="574" y="722"/>
                  </a:lnTo>
                  <a:lnTo>
                    <a:pt x="582" y="722"/>
                  </a:lnTo>
                  <a:lnTo>
                    <a:pt x="574" y="730"/>
                  </a:lnTo>
                  <a:lnTo>
                    <a:pt x="582" y="739"/>
                  </a:lnTo>
                  <a:lnTo>
                    <a:pt x="591" y="739"/>
                  </a:lnTo>
                  <a:lnTo>
                    <a:pt x="599" y="747"/>
                  </a:lnTo>
                  <a:lnTo>
                    <a:pt x="591" y="756"/>
                  </a:lnTo>
                  <a:lnTo>
                    <a:pt x="599" y="773"/>
                  </a:lnTo>
                  <a:lnTo>
                    <a:pt x="624" y="781"/>
                  </a:lnTo>
                  <a:lnTo>
                    <a:pt x="633" y="781"/>
                  </a:lnTo>
                  <a:lnTo>
                    <a:pt x="633" y="815"/>
                  </a:lnTo>
                  <a:lnTo>
                    <a:pt x="616" y="832"/>
                  </a:lnTo>
                  <a:lnTo>
                    <a:pt x="616" y="866"/>
                  </a:lnTo>
                  <a:lnTo>
                    <a:pt x="633" y="857"/>
                  </a:lnTo>
                  <a:lnTo>
                    <a:pt x="650" y="866"/>
                  </a:lnTo>
                  <a:lnTo>
                    <a:pt x="666" y="866"/>
                  </a:lnTo>
                  <a:lnTo>
                    <a:pt x="683" y="883"/>
                  </a:lnTo>
                  <a:lnTo>
                    <a:pt x="666" y="900"/>
                  </a:lnTo>
                  <a:lnTo>
                    <a:pt x="666" y="917"/>
                  </a:lnTo>
                  <a:lnTo>
                    <a:pt x="675" y="942"/>
                  </a:lnTo>
                  <a:lnTo>
                    <a:pt x="675" y="951"/>
                  </a:lnTo>
                  <a:lnTo>
                    <a:pt x="658" y="968"/>
                  </a:lnTo>
                  <a:lnTo>
                    <a:pt x="658" y="976"/>
                  </a:lnTo>
                  <a:lnTo>
                    <a:pt x="666" y="976"/>
                  </a:lnTo>
                  <a:lnTo>
                    <a:pt x="675" y="985"/>
                  </a:lnTo>
                  <a:lnTo>
                    <a:pt x="683" y="985"/>
                  </a:lnTo>
                  <a:lnTo>
                    <a:pt x="692" y="1002"/>
                  </a:lnTo>
                  <a:lnTo>
                    <a:pt x="709" y="993"/>
                  </a:lnTo>
                  <a:lnTo>
                    <a:pt x="709" y="985"/>
                  </a:lnTo>
                  <a:lnTo>
                    <a:pt x="700" y="976"/>
                  </a:lnTo>
                  <a:lnTo>
                    <a:pt x="709" y="959"/>
                  </a:lnTo>
                  <a:lnTo>
                    <a:pt x="734" y="968"/>
                  </a:lnTo>
                  <a:lnTo>
                    <a:pt x="768" y="951"/>
                  </a:lnTo>
                  <a:lnTo>
                    <a:pt x="793" y="942"/>
                  </a:lnTo>
                  <a:lnTo>
                    <a:pt x="835" y="917"/>
                  </a:lnTo>
                  <a:lnTo>
                    <a:pt x="844" y="908"/>
                  </a:lnTo>
                  <a:lnTo>
                    <a:pt x="852" y="891"/>
                  </a:lnTo>
                  <a:lnTo>
                    <a:pt x="860" y="874"/>
                  </a:lnTo>
                  <a:lnTo>
                    <a:pt x="886" y="891"/>
                  </a:lnTo>
                  <a:lnTo>
                    <a:pt x="903" y="883"/>
                  </a:lnTo>
                  <a:lnTo>
                    <a:pt x="919" y="883"/>
                  </a:lnTo>
                  <a:lnTo>
                    <a:pt x="919" y="874"/>
                  </a:lnTo>
                  <a:lnTo>
                    <a:pt x="928" y="857"/>
                  </a:lnTo>
                  <a:lnTo>
                    <a:pt x="919" y="841"/>
                  </a:lnTo>
                  <a:lnTo>
                    <a:pt x="903" y="824"/>
                  </a:lnTo>
                  <a:lnTo>
                    <a:pt x="894" y="790"/>
                  </a:lnTo>
                  <a:lnTo>
                    <a:pt x="911" y="764"/>
                  </a:lnTo>
                  <a:lnTo>
                    <a:pt x="903" y="747"/>
                  </a:lnTo>
                  <a:lnTo>
                    <a:pt x="903" y="739"/>
                  </a:lnTo>
                  <a:lnTo>
                    <a:pt x="894" y="730"/>
                  </a:lnTo>
                  <a:lnTo>
                    <a:pt x="894" y="722"/>
                  </a:lnTo>
                  <a:lnTo>
                    <a:pt x="911" y="713"/>
                  </a:lnTo>
                  <a:lnTo>
                    <a:pt x="919" y="705"/>
                  </a:lnTo>
                  <a:lnTo>
                    <a:pt x="970" y="705"/>
                  </a:lnTo>
                  <a:lnTo>
                    <a:pt x="987" y="696"/>
                  </a:lnTo>
                  <a:lnTo>
                    <a:pt x="987" y="688"/>
                  </a:lnTo>
                  <a:lnTo>
                    <a:pt x="1004" y="671"/>
                  </a:lnTo>
                  <a:lnTo>
                    <a:pt x="995" y="645"/>
                  </a:lnTo>
                  <a:lnTo>
                    <a:pt x="1012" y="637"/>
                  </a:lnTo>
                  <a:lnTo>
                    <a:pt x="995" y="611"/>
                  </a:lnTo>
                  <a:lnTo>
                    <a:pt x="995" y="594"/>
                  </a:lnTo>
                  <a:lnTo>
                    <a:pt x="1012" y="586"/>
                  </a:lnTo>
                  <a:lnTo>
                    <a:pt x="978" y="552"/>
                  </a:lnTo>
                  <a:lnTo>
                    <a:pt x="995" y="535"/>
                  </a:lnTo>
                  <a:lnTo>
                    <a:pt x="978" y="509"/>
                  </a:lnTo>
                  <a:lnTo>
                    <a:pt x="987" y="484"/>
                  </a:lnTo>
                  <a:lnTo>
                    <a:pt x="978" y="484"/>
                  </a:lnTo>
                  <a:lnTo>
                    <a:pt x="970" y="484"/>
                  </a:lnTo>
                  <a:lnTo>
                    <a:pt x="970" y="476"/>
                  </a:lnTo>
                  <a:lnTo>
                    <a:pt x="945" y="442"/>
                  </a:lnTo>
                  <a:lnTo>
                    <a:pt x="936" y="416"/>
                  </a:lnTo>
                  <a:lnTo>
                    <a:pt x="945" y="399"/>
                  </a:lnTo>
                  <a:lnTo>
                    <a:pt x="970" y="399"/>
                  </a:lnTo>
                  <a:lnTo>
                    <a:pt x="995" y="374"/>
                  </a:lnTo>
                  <a:lnTo>
                    <a:pt x="1021" y="374"/>
                  </a:lnTo>
                  <a:lnTo>
                    <a:pt x="1046" y="382"/>
                  </a:lnTo>
                  <a:lnTo>
                    <a:pt x="1097" y="365"/>
                  </a:lnTo>
                  <a:lnTo>
                    <a:pt x="1105" y="340"/>
                  </a:lnTo>
                  <a:lnTo>
                    <a:pt x="1122" y="331"/>
                  </a:lnTo>
                  <a:lnTo>
                    <a:pt x="1122" y="323"/>
                  </a:lnTo>
                  <a:lnTo>
                    <a:pt x="1113" y="323"/>
                  </a:lnTo>
                  <a:lnTo>
                    <a:pt x="1097" y="314"/>
                  </a:lnTo>
                  <a:lnTo>
                    <a:pt x="1088" y="306"/>
                  </a:lnTo>
                  <a:lnTo>
                    <a:pt x="1063" y="314"/>
                  </a:lnTo>
                  <a:lnTo>
                    <a:pt x="1054" y="306"/>
                  </a:lnTo>
                  <a:lnTo>
                    <a:pt x="1038" y="289"/>
                  </a:lnTo>
                  <a:lnTo>
                    <a:pt x="1012" y="272"/>
                  </a:lnTo>
                  <a:lnTo>
                    <a:pt x="1004" y="280"/>
                  </a:lnTo>
                  <a:lnTo>
                    <a:pt x="945" y="238"/>
                  </a:lnTo>
                  <a:lnTo>
                    <a:pt x="919" y="204"/>
                  </a:lnTo>
                  <a:lnTo>
                    <a:pt x="903" y="204"/>
                  </a:lnTo>
                  <a:lnTo>
                    <a:pt x="860" y="195"/>
                  </a:lnTo>
                  <a:lnTo>
                    <a:pt x="827" y="178"/>
                  </a:lnTo>
                  <a:lnTo>
                    <a:pt x="818" y="178"/>
                  </a:lnTo>
                  <a:lnTo>
                    <a:pt x="801" y="187"/>
                  </a:lnTo>
                  <a:lnTo>
                    <a:pt x="793" y="187"/>
                  </a:lnTo>
                  <a:lnTo>
                    <a:pt x="776" y="170"/>
                  </a:lnTo>
                  <a:lnTo>
                    <a:pt x="751" y="178"/>
                  </a:lnTo>
                  <a:lnTo>
                    <a:pt x="742" y="178"/>
                  </a:lnTo>
                  <a:lnTo>
                    <a:pt x="734" y="178"/>
                  </a:lnTo>
                  <a:lnTo>
                    <a:pt x="725" y="178"/>
                  </a:lnTo>
                  <a:lnTo>
                    <a:pt x="717" y="153"/>
                  </a:lnTo>
                  <a:lnTo>
                    <a:pt x="700" y="136"/>
                  </a:lnTo>
                  <a:lnTo>
                    <a:pt x="700" y="128"/>
                  </a:lnTo>
                  <a:lnTo>
                    <a:pt x="666" y="119"/>
                  </a:lnTo>
                  <a:lnTo>
                    <a:pt x="641" y="94"/>
                  </a:lnTo>
                  <a:lnTo>
                    <a:pt x="607" y="26"/>
                  </a:lnTo>
                  <a:lnTo>
                    <a:pt x="582" y="9"/>
                  </a:lnTo>
                  <a:lnTo>
                    <a:pt x="565" y="9"/>
                  </a:lnTo>
                  <a:lnTo>
                    <a:pt x="540" y="17"/>
                  </a:lnTo>
                  <a:lnTo>
                    <a:pt x="489" y="26"/>
                  </a:lnTo>
                  <a:lnTo>
                    <a:pt x="464" y="0"/>
                  </a:lnTo>
                  <a:lnTo>
                    <a:pt x="447" y="0"/>
                  </a:lnTo>
                  <a:lnTo>
                    <a:pt x="439" y="9"/>
                  </a:lnTo>
                  <a:lnTo>
                    <a:pt x="413" y="85"/>
                  </a:lnTo>
                  <a:lnTo>
                    <a:pt x="430" y="111"/>
                  </a:lnTo>
                  <a:lnTo>
                    <a:pt x="447" y="111"/>
                  </a:lnTo>
                  <a:lnTo>
                    <a:pt x="447" y="145"/>
                  </a:lnTo>
                  <a:lnTo>
                    <a:pt x="439" y="153"/>
                  </a:lnTo>
                  <a:lnTo>
                    <a:pt x="430" y="145"/>
                  </a:lnTo>
                  <a:lnTo>
                    <a:pt x="430" y="128"/>
                  </a:lnTo>
                  <a:lnTo>
                    <a:pt x="405" y="128"/>
                  </a:lnTo>
                </a:path>
              </a:pathLst>
            </a:custGeom>
            <a:grpFill/>
            <a:ln w="9525" cmpd="sng" algn="ctr">
              <a:solidFill>
                <a:schemeClr val="bg1"/>
              </a:solidFill>
              <a:round/>
              <a:headEnd/>
              <a:tailEnd/>
            </a:ln>
          </p:spPr>
          <p:txBody>
            <a:bodyPr wrap="none" lIns="79747" tIns="39873" rIns="79747" bIns="39873" anchor="ctr"/>
            <a:ls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477" dirty="0"/>
            </a:p>
          </p:txBody>
        </p:sp>
        <p:sp>
          <p:nvSpPr>
            <p:cNvPr id="49" name="Hesse">
              <a:extLst>
                <a:ext uri="{FF2B5EF4-FFF2-40B4-BE49-F238E27FC236}">
                  <a16:creationId xmlns:a16="http://schemas.microsoft.com/office/drawing/2014/main" id="{FE05AC8F-26D9-4237-BE69-702DB60D2345}"/>
                </a:ext>
              </a:extLst>
            </p:cNvPr>
            <p:cNvSpPr>
              <a:spLocks/>
            </p:cNvSpPr>
            <p:nvPr/>
          </p:nvSpPr>
          <p:spPr bwMode="auto">
            <a:xfrm>
              <a:off x="3764822" y="3509168"/>
              <a:ext cx="820615" cy="1293812"/>
            </a:xfrm>
            <a:custGeom>
              <a:avLst/>
              <a:gdLst>
                <a:gd name="T0" fmla="*/ 574406959 w 590"/>
                <a:gd name="T1" fmla="*/ 1414354727 h 858"/>
                <a:gd name="T2" fmla="*/ 574406959 w 590"/>
                <a:gd name="T3" fmla="*/ 1289292204 h 858"/>
                <a:gd name="T4" fmla="*/ 560785677 w 590"/>
                <a:gd name="T5" fmla="*/ 1164228174 h 858"/>
                <a:gd name="T6" fmla="*/ 574406959 w 590"/>
                <a:gd name="T7" fmla="*/ 1084642110 h 858"/>
                <a:gd name="T8" fmla="*/ 622085968 w 590"/>
                <a:gd name="T9" fmla="*/ 1084642110 h 858"/>
                <a:gd name="T10" fmla="*/ 760578550 w 590"/>
                <a:gd name="T11" fmla="*/ 1084642110 h 858"/>
                <a:gd name="T12" fmla="*/ 760578550 w 590"/>
                <a:gd name="T13" fmla="*/ 1007330019 h 858"/>
                <a:gd name="T14" fmla="*/ 869558039 w 590"/>
                <a:gd name="T15" fmla="*/ 975495895 h 858"/>
                <a:gd name="T16" fmla="*/ 933127540 w 590"/>
                <a:gd name="T17" fmla="*/ 895909831 h 858"/>
                <a:gd name="T18" fmla="*/ 1010321337 w 590"/>
                <a:gd name="T19" fmla="*/ 768573146 h 858"/>
                <a:gd name="T20" fmla="*/ 978535833 w 590"/>
                <a:gd name="T21" fmla="*/ 709451337 h 858"/>
                <a:gd name="T22" fmla="*/ 946750329 w 590"/>
                <a:gd name="T23" fmla="*/ 675343239 h 858"/>
                <a:gd name="T24" fmla="*/ 1010321337 w 590"/>
                <a:gd name="T25" fmla="*/ 552553183 h 858"/>
                <a:gd name="T26" fmla="*/ 1010321337 w 590"/>
                <a:gd name="T27" fmla="*/ 457050810 h 858"/>
                <a:gd name="T28" fmla="*/ 1039836124 w 590"/>
                <a:gd name="T29" fmla="*/ 409298870 h 858"/>
                <a:gd name="T30" fmla="*/ 1087513627 w 590"/>
                <a:gd name="T31" fmla="*/ 363820809 h 858"/>
                <a:gd name="T32" fmla="*/ 1010321337 w 590"/>
                <a:gd name="T33" fmla="*/ 300152561 h 858"/>
                <a:gd name="T34" fmla="*/ 933127540 w 590"/>
                <a:gd name="T35" fmla="*/ 204650189 h 858"/>
                <a:gd name="T36" fmla="*/ 887720753 w 590"/>
                <a:gd name="T37" fmla="*/ 236484313 h 858"/>
                <a:gd name="T38" fmla="*/ 837772535 w 590"/>
                <a:gd name="T39" fmla="*/ 236484313 h 858"/>
                <a:gd name="T40" fmla="*/ 790093526 w 590"/>
                <a:gd name="T41" fmla="*/ 220566497 h 858"/>
                <a:gd name="T42" fmla="*/ 824149746 w 590"/>
                <a:gd name="T43" fmla="*/ 156898202 h 858"/>
                <a:gd name="T44" fmla="*/ 837772535 w 590"/>
                <a:gd name="T45" fmla="*/ 50025937 h 858"/>
                <a:gd name="T46" fmla="*/ 742415835 w 590"/>
                <a:gd name="T47" fmla="*/ 0 h 858"/>
                <a:gd name="T48" fmla="*/ 699278258 w 590"/>
                <a:gd name="T49" fmla="*/ 79586088 h 858"/>
                <a:gd name="T50" fmla="*/ 574406959 w 590"/>
                <a:gd name="T51" fmla="*/ 127338051 h 858"/>
                <a:gd name="T52" fmla="*/ 513106668 w 590"/>
                <a:gd name="T53" fmla="*/ 156898202 h 858"/>
                <a:gd name="T54" fmla="*/ 481321164 w 590"/>
                <a:gd name="T55" fmla="*/ 188732326 h 858"/>
                <a:gd name="T56" fmla="*/ 372343276 w 590"/>
                <a:gd name="T57" fmla="*/ 268318437 h 858"/>
                <a:gd name="T58" fmla="*/ 451806376 w 590"/>
                <a:gd name="T59" fmla="*/ 313796404 h 858"/>
                <a:gd name="T60" fmla="*/ 401858158 w 590"/>
                <a:gd name="T61" fmla="*/ 393382468 h 858"/>
                <a:gd name="T62" fmla="*/ 342828488 w 590"/>
                <a:gd name="T63" fmla="*/ 425216686 h 858"/>
                <a:gd name="T64" fmla="*/ 295149479 w 590"/>
                <a:gd name="T65" fmla="*/ 536636874 h 858"/>
                <a:gd name="T66" fmla="*/ 217957189 w 590"/>
                <a:gd name="T67" fmla="*/ 552553183 h 858"/>
                <a:gd name="T68" fmla="*/ 172548849 w 590"/>
                <a:gd name="T69" fmla="*/ 661699397 h 858"/>
                <a:gd name="T70" fmla="*/ 140763345 w 590"/>
                <a:gd name="T71" fmla="*/ 789037401 h 858"/>
                <a:gd name="T72" fmla="*/ 95356535 w 590"/>
                <a:gd name="T73" fmla="*/ 848157891 h 858"/>
                <a:gd name="T74" fmla="*/ 140763345 w 590"/>
                <a:gd name="T75" fmla="*/ 943661771 h 858"/>
                <a:gd name="T76" fmla="*/ 106708632 w 590"/>
                <a:gd name="T77" fmla="*/ 1007330019 h 858"/>
                <a:gd name="T78" fmla="*/ 61300315 w 590"/>
                <a:gd name="T79" fmla="*/ 1068725801 h 858"/>
                <a:gd name="T80" fmla="*/ 47677514 w 590"/>
                <a:gd name="T81" fmla="*/ 1180145990 h 858"/>
                <a:gd name="T82" fmla="*/ 202063683 w 590"/>
                <a:gd name="T83" fmla="*/ 1146036384 h 858"/>
                <a:gd name="T84" fmla="*/ 247471977 w 590"/>
                <a:gd name="T85" fmla="*/ 1273374388 h 858"/>
                <a:gd name="T86" fmla="*/ 247471977 w 590"/>
                <a:gd name="T87" fmla="*/ 1400712393 h 858"/>
                <a:gd name="T88" fmla="*/ 342828488 w 590"/>
                <a:gd name="T89" fmla="*/ 1493940791 h 858"/>
                <a:gd name="T90" fmla="*/ 388235274 w 590"/>
                <a:gd name="T91" fmla="*/ 1446188851 h 858"/>
                <a:gd name="T92" fmla="*/ 451806376 w 590"/>
                <a:gd name="T93" fmla="*/ 1507584633 h 858"/>
                <a:gd name="T94" fmla="*/ 465429165 w 590"/>
                <a:gd name="T95" fmla="*/ 1587171075 h 858"/>
                <a:gd name="T96" fmla="*/ 513106668 w 590"/>
                <a:gd name="T97" fmla="*/ 1537144784 h 858"/>
                <a:gd name="T98" fmla="*/ 560785677 w 590"/>
                <a:gd name="T99" fmla="*/ 1459832693 h 8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90"/>
                <a:gd name="T151" fmla="*/ 0 h 858"/>
                <a:gd name="T152" fmla="*/ 590 w 590"/>
                <a:gd name="T153" fmla="*/ 858 h 85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90" h="858">
                  <a:moveTo>
                    <a:pt x="304" y="790"/>
                  </a:moveTo>
                  <a:lnTo>
                    <a:pt x="312" y="773"/>
                  </a:lnTo>
                  <a:lnTo>
                    <a:pt x="312" y="764"/>
                  </a:lnTo>
                  <a:lnTo>
                    <a:pt x="329" y="747"/>
                  </a:lnTo>
                  <a:lnTo>
                    <a:pt x="329" y="722"/>
                  </a:lnTo>
                  <a:lnTo>
                    <a:pt x="312" y="696"/>
                  </a:lnTo>
                  <a:lnTo>
                    <a:pt x="304" y="696"/>
                  </a:lnTo>
                  <a:lnTo>
                    <a:pt x="295" y="663"/>
                  </a:lnTo>
                  <a:lnTo>
                    <a:pt x="304" y="629"/>
                  </a:lnTo>
                  <a:lnTo>
                    <a:pt x="287" y="612"/>
                  </a:lnTo>
                  <a:lnTo>
                    <a:pt x="304" y="595"/>
                  </a:lnTo>
                  <a:lnTo>
                    <a:pt x="312" y="586"/>
                  </a:lnTo>
                  <a:lnTo>
                    <a:pt x="320" y="586"/>
                  </a:lnTo>
                  <a:lnTo>
                    <a:pt x="329" y="586"/>
                  </a:lnTo>
                  <a:lnTo>
                    <a:pt x="337" y="586"/>
                  </a:lnTo>
                  <a:lnTo>
                    <a:pt x="371" y="578"/>
                  </a:lnTo>
                  <a:lnTo>
                    <a:pt x="396" y="603"/>
                  </a:lnTo>
                  <a:lnTo>
                    <a:pt x="413" y="586"/>
                  </a:lnTo>
                  <a:lnTo>
                    <a:pt x="422" y="578"/>
                  </a:lnTo>
                  <a:lnTo>
                    <a:pt x="413" y="561"/>
                  </a:lnTo>
                  <a:lnTo>
                    <a:pt x="413" y="544"/>
                  </a:lnTo>
                  <a:lnTo>
                    <a:pt x="447" y="544"/>
                  </a:lnTo>
                  <a:lnTo>
                    <a:pt x="455" y="527"/>
                  </a:lnTo>
                  <a:lnTo>
                    <a:pt x="472" y="527"/>
                  </a:lnTo>
                  <a:lnTo>
                    <a:pt x="481" y="493"/>
                  </a:lnTo>
                  <a:lnTo>
                    <a:pt x="481" y="476"/>
                  </a:lnTo>
                  <a:lnTo>
                    <a:pt x="506" y="484"/>
                  </a:lnTo>
                  <a:lnTo>
                    <a:pt x="523" y="476"/>
                  </a:lnTo>
                  <a:lnTo>
                    <a:pt x="548" y="433"/>
                  </a:lnTo>
                  <a:lnTo>
                    <a:pt x="548" y="416"/>
                  </a:lnTo>
                  <a:lnTo>
                    <a:pt x="548" y="391"/>
                  </a:lnTo>
                  <a:lnTo>
                    <a:pt x="548" y="382"/>
                  </a:lnTo>
                  <a:lnTo>
                    <a:pt x="531" y="382"/>
                  </a:lnTo>
                  <a:lnTo>
                    <a:pt x="514" y="391"/>
                  </a:lnTo>
                  <a:lnTo>
                    <a:pt x="506" y="391"/>
                  </a:lnTo>
                  <a:lnTo>
                    <a:pt x="514" y="365"/>
                  </a:lnTo>
                  <a:lnTo>
                    <a:pt x="523" y="323"/>
                  </a:lnTo>
                  <a:lnTo>
                    <a:pt x="548" y="306"/>
                  </a:lnTo>
                  <a:lnTo>
                    <a:pt x="548" y="298"/>
                  </a:lnTo>
                  <a:lnTo>
                    <a:pt x="523" y="281"/>
                  </a:lnTo>
                  <a:lnTo>
                    <a:pt x="548" y="264"/>
                  </a:lnTo>
                  <a:lnTo>
                    <a:pt x="548" y="247"/>
                  </a:lnTo>
                  <a:lnTo>
                    <a:pt x="573" y="247"/>
                  </a:lnTo>
                  <a:lnTo>
                    <a:pt x="582" y="238"/>
                  </a:lnTo>
                  <a:lnTo>
                    <a:pt x="565" y="221"/>
                  </a:lnTo>
                  <a:lnTo>
                    <a:pt x="573" y="204"/>
                  </a:lnTo>
                  <a:lnTo>
                    <a:pt x="582" y="204"/>
                  </a:lnTo>
                  <a:lnTo>
                    <a:pt x="590" y="196"/>
                  </a:lnTo>
                  <a:lnTo>
                    <a:pt x="582" y="170"/>
                  </a:lnTo>
                  <a:lnTo>
                    <a:pt x="565" y="170"/>
                  </a:lnTo>
                  <a:lnTo>
                    <a:pt x="548" y="162"/>
                  </a:lnTo>
                  <a:lnTo>
                    <a:pt x="548" y="153"/>
                  </a:lnTo>
                  <a:lnTo>
                    <a:pt x="523" y="136"/>
                  </a:lnTo>
                  <a:lnTo>
                    <a:pt x="506" y="111"/>
                  </a:lnTo>
                  <a:lnTo>
                    <a:pt x="481" y="102"/>
                  </a:lnTo>
                  <a:lnTo>
                    <a:pt x="472" y="119"/>
                  </a:lnTo>
                  <a:lnTo>
                    <a:pt x="481" y="128"/>
                  </a:lnTo>
                  <a:lnTo>
                    <a:pt x="481" y="136"/>
                  </a:lnTo>
                  <a:lnTo>
                    <a:pt x="464" y="145"/>
                  </a:lnTo>
                  <a:lnTo>
                    <a:pt x="455" y="128"/>
                  </a:lnTo>
                  <a:lnTo>
                    <a:pt x="447" y="128"/>
                  </a:lnTo>
                  <a:lnTo>
                    <a:pt x="438" y="119"/>
                  </a:lnTo>
                  <a:lnTo>
                    <a:pt x="430" y="119"/>
                  </a:lnTo>
                  <a:lnTo>
                    <a:pt x="430" y="111"/>
                  </a:lnTo>
                  <a:lnTo>
                    <a:pt x="447" y="94"/>
                  </a:lnTo>
                  <a:lnTo>
                    <a:pt x="447" y="85"/>
                  </a:lnTo>
                  <a:lnTo>
                    <a:pt x="438" y="60"/>
                  </a:lnTo>
                  <a:lnTo>
                    <a:pt x="438" y="43"/>
                  </a:lnTo>
                  <a:lnTo>
                    <a:pt x="455" y="26"/>
                  </a:lnTo>
                  <a:lnTo>
                    <a:pt x="438" y="9"/>
                  </a:lnTo>
                  <a:lnTo>
                    <a:pt x="422" y="9"/>
                  </a:lnTo>
                  <a:lnTo>
                    <a:pt x="405" y="0"/>
                  </a:lnTo>
                  <a:lnTo>
                    <a:pt x="388" y="9"/>
                  </a:lnTo>
                  <a:lnTo>
                    <a:pt x="371" y="17"/>
                  </a:lnTo>
                  <a:lnTo>
                    <a:pt x="379" y="43"/>
                  </a:lnTo>
                  <a:lnTo>
                    <a:pt x="329" y="85"/>
                  </a:lnTo>
                  <a:lnTo>
                    <a:pt x="320" y="85"/>
                  </a:lnTo>
                  <a:lnTo>
                    <a:pt x="312" y="68"/>
                  </a:lnTo>
                  <a:lnTo>
                    <a:pt x="295" y="60"/>
                  </a:lnTo>
                  <a:lnTo>
                    <a:pt x="278" y="68"/>
                  </a:lnTo>
                  <a:lnTo>
                    <a:pt x="278" y="85"/>
                  </a:lnTo>
                  <a:lnTo>
                    <a:pt x="287" y="94"/>
                  </a:lnTo>
                  <a:lnTo>
                    <a:pt x="287" y="102"/>
                  </a:lnTo>
                  <a:lnTo>
                    <a:pt x="261" y="102"/>
                  </a:lnTo>
                  <a:lnTo>
                    <a:pt x="236" y="111"/>
                  </a:lnTo>
                  <a:lnTo>
                    <a:pt x="219" y="111"/>
                  </a:lnTo>
                  <a:lnTo>
                    <a:pt x="202" y="145"/>
                  </a:lnTo>
                  <a:lnTo>
                    <a:pt x="202" y="153"/>
                  </a:lnTo>
                  <a:lnTo>
                    <a:pt x="228" y="153"/>
                  </a:lnTo>
                  <a:lnTo>
                    <a:pt x="245" y="170"/>
                  </a:lnTo>
                  <a:lnTo>
                    <a:pt x="236" y="187"/>
                  </a:lnTo>
                  <a:lnTo>
                    <a:pt x="228" y="196"/>
                  </a:lnTo>
                  <a:lnTo>
                    <a:pt x="219" y="213"/>
                  </a:lnTo>
                  <a:lnTo>
                    <a:pt x="219" y="221"/>
                  </a:lnTo>
                  <a:lnTo>
                    <a:pt x="185" y="221"/>
                  </a:lnTo>
                  <a:lnTo>
                    <a:pt x="185" y="230"/>
                  </a:lnTo>
                  <a:lnTo>
                    <a:pt x="185" y="247"/>
                  </a:lnTo>
                  <a:lnTo>
                    <a:pt x="177" y="264"/>
                  </a:lnTo>
                  <a:lnTo>
                    <a:pt x="160" y="289"/>
                  </a:lnTo>
                  <a:lnTo>
                    <a:pt x="143" y="306"/>
                  </a:lnTo>
                  <a:lnTo>
                    <a:pt x="126" y="298"/>
                  </a:lnTo>
                  <a:lnTo>
                    <a:pt x="118" y="298"/>
                  </a:lnTo>
                  <a:lnTo>
                    <a:pt x="93" y="331"/>
                  </a:lnTo>
                  <a:lnTo>
                    <a:pt x="101" y="348"/>
                  </a:lnTo>
                  <a:lnTo>
                    <a:pt x="93" y="357"/>
                  </a:lnTo>
                  <a:lnTo>
                    <a:pt x="84" y="374"/>
                  </a:lnTo>
                  <a:lnTo>
                    <a:pt x="93" y="416"/>
                  </a:lnTo>
                  <a:lnTo>
                    <a:pt x="76" y="425"/>
                  </a:lnTo>
                  <a:lnTo>
                    <a:pt x="67" y="425"/>
                  </a:lnTo>
                  <a:lnTo>
                    <a:pt x="51" y="433"/>
                  </a:lnTo>
                  <a:lnTo>
                    <a:pt x="51" y="459"/>
                  </a:lnTo>
                  <a:lnTo>
                    <a:pt x="51" y="476"/>
                  </a:lnTo>
                  <a:lnTo>
                    <a:pt x="67" y="501"/>
                  </a:lnTo>
                  <a:lnTo>
                    <a:pt x="76" y="510"/>
                  </a:lnTo>
                  <a:lnTo>
                    <a:pt x="76" y="535"/>
                  </a:lnTo>
                  <a:lnTo>
                    <a:pt x="67" y="535"/>
                  </a:lnTo>
                  <a:lnTo>
                    <a:pt x="59" y="544"/>
                  </a:lnTo>
                  <a:lnTo>
                    <a:pt x="42" y="544"/>
                  </a:lnTo>
                  <a:lnTo>
                    <a:pt x="25" y="569"/>
                  </a:lnTo>
                  <a:lnTo>
                    <a:pt x="34" y="578"/>
                  </a:lnTo>
                  <a:lnTo>
                    <a:pt x="25" y="586"/>
                  </a:lnTo>
                  <a:lnTo>
                    <a:pt x="0" y="612"/>
                  </a:lnTo>
                  <a:lnTo>
                    <a:pt x="25" y="637"/>
                  </a:lnTo>
                  <a:lnTo>
                    <a:pt x="42" y="637"/>
                  </a:lnTo>
                  <a:lnTo>
                    <a:pt x="76" y="629"/>
                  </a:lnTo>
                  <a:lnTo>
                    <a:pt x="110" y="620"/>
                  </a:lnTo>
                  <a:lnTo>
                    <a:pt x="135" y="654"/>
                  </a:lnTo>
                  <a:lnTo>
                    <a:pt x="135" y="679"/>
                  </a:lnTo>
                  <a:lnTo>
                    <a:pt x="135" y="688"/>
                  </a:lnTo>
                  <a:lnTo>
                    <a:pt x="143" y="696"/>
                  </a:lnTo>
                  <a:lnTo>
                    <a:pt x="160" y="722"/>
                  </a:lnTo>
                  <a:lnTo>
                    <a:pt x="135" y="756"/>
                  </a:lnTo>
                  <a:lnTo>
                    <a:pt x="152" y="790"/>
                  </a:lnTo>
                  <a:lnTo>
                    <a:pt x="160" y="790"/>
                  </a:lnTo>
                  <a:lnTo>
                    <a:pt x="185" y="807"/>
                  </a:lnTo>
                  <a:lnTo>
                    <a:pt x="194" y="807"/>
                  </a:lnTo>
                  <a:lnTo>
                    <a:pt x="194" y="790"/>
                  </a:lnTo>
                  <a:lnTo>
                    <a:pt x="211" y="781"/>
                  </a:lnTo>
                  <a:lnTo>
                    <a:pt x="219" y="798"/>
                  </a:lnTo>
                  <a:lnTo>
                    <a:pt x="236" y="815"/>
                  </a:lnTo>
                  <a:lnTo>
                    <a:pt x="245" y="815"/>
                  </a:lnTo>
                  <a:lnTo>
                    <a:pt x="261" y="832"/>
                  </a:lnTo>
                  <a:lnTo>
                    <a:pt x="245" y="849"/>
                  </a:lnTo>
                  <a:lnTo>
                    <a:pt x="253" y="858"/>
                  </a:lnTo>
                  <a:lnTo>
                    <a:pt x="261" y="849"/>
                  </a:lnTo>
                  <a:lnTo>
                    <a:pt x="278" y="841"/>
                  </a:lnTo>
                  <a:lnTo>
                    <a:pt x="278" y="832"/>
                  </a:lnTo>
                  <a:lnTo>
                    <a:pt x="320" y="824"/>
                  </a:lnTo>
                  <a:lnTo>
                    <a:pt x="320" y="798"/>
                  </a:lnTo>
                  <a:lnTo>
                    <a:pt x="304" y="790"/>
                  </a:lnTo>
                </a:path>
              </a:pathLst>
            </a:custGeom>
            <a:grpFill/>
            <a:ln w="9525" cmpd="sng" algn="ctr">
              <a:solidFill>
                <a:schemeClr val="bg1"/>
              </a:solidFill>
              <a:round/>
              <a:headEnd/>
              <a:tailEnd/>
            </a:ln>
          </p:spPr>
          <p:txBody>
            <a:bodyPr wrap="none" lIns="79747" tIns="39873" rIns="79747" bIns="39873" anchor="ctr"/>
            <a:ls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477" dirty="0"/>
            </a:p>
          </p:txBody>
        </p:sp>
        <p:sp>
          <p:nvSpPr>
            <p:cNvPr id="43" name="Hamburg">
              <a:extLst>
                <a:ext uri="{FF2B5EF4-FFF2-40B4-BE49-F238E27FC236}">
                  <a16:creationId xmlns:a16="http://schemas.microsoft.com/office/drawing/2014/main" id="{88444414-47A5-4C7B-B64A-D9B2D3F53F49}"/>
                </a:ext>
              </a:extLst>
            </p:cNvPr>
            <p:cNvSpPr>
              <a:spLocks/>
            </p:cNvSpPr>
            <p:nvPr/>
          </p:nvSpPr>
          <p:spPr bwMode="auto">
            <a:xfrm>
              <a:off x="4421316" y="2320132"/>
              <a:ext cx="177311" cy="179387"/>
            </a:xfrm>
            <a:custGeom>
              <a:avLst/>
              <a:gdLst>
                <a:gd name="T0" fmla="*/ 221902519 w 127"/>
                <a:gd name="T1" fmla="*/ 202244564 h 119"/>
                <a:gd name="T2" fmla="*/ 189875208 w 127"/>
                <a:gd name="T3" fmla="*/ 220424452 h 119"/>
                <a:gd name="T4" fmla="*/ 176149238 w 127"/>
                <a:gd name="T5" fmla="*/ 220424452 h 119"/>
                <a:gd name="T6" fmla="*/ 144121975 w 127"/>
                <a:gd name="T7" fmla="*/ 188611108 h 119"/>
                <a:gd name="T8" fmla="*/ 98368719 w 127"/>
                <a:gd name="T9" fmla="*/ 202244564 h 119"/>
                <a:gd name="T10" fmla="*/ 77780520 w 127"/>
                <a:gd name="T11" fmla="*/ 202244564 h 119"/>
                <a:gd name="T12" fmla="*/ 64054550 w 127"/>
                <a:gd name="T13" fmla="*/ 202244564 h 119"/>
                <a:gd name="T14" fmla="*/ 48040150 w 127"/>
                <a:gd name="T15" fmla="*/ 202244564 h 119"/>
                <a:gd name="T16" fmla="*/ 29738857 w 127"/>
                <a:gd name="T17" fmla="*/ 156796305 h 119"/>
                <a:gd name="T18" fmla="*/ 0 w 127"/>
                <a:gd name="T19" fmla="*/ 127254740 h 119"/>
                <a:gd name="T20" fmla="*/ 0 w 127"/>
                <a:gd name="T21" fmla="*/ 109076360 h 119"/>
                <a:gd name="T22" fmla="*/ 20588205 w 127"/>
                <a:gd name="T23" fmla="*/ 61354884 h 119"/>
                <a:gd name="T24" fmla="*/ 29738857 w 127"/>
                <a:gd name="T25" fmla="*/ 79534772 h 119"/>
                <a:gd name="T26" fmla="*/ 77780520 w 127"/>
                <a:gd name="T27" fmla="*/ 49993208 h 119"/>
                <a:gd name="T28" fmla="*/ 98368719 w 127"/>
                <a:gd name="T29" fmla="*/ 49993208 h 119"/>
                <a:gd name="T30" fmla="*/ 128109100 w 127"/>
                <a:gd name="T31" fmla="*/ 29541576 h 119"/>
                <a:gd name="T32" fmla="*/ 160136363 w 127"/>
                <a:gd name="T33" fmla="*/ 0 h 119"/>
                <a:gd name="T34" fmla="*/ 176149238 w 127"/>
                <a:gd name="T35" fmla="*/ 0 h 119"/>
                <a:gd name="T36" fmla="*/ 176149238 w 127"/>
                <a:gd name="T37" fmla="*/ 29541576 h 119"/>
                <a:gd name="T38" fmla="*/ 208176549 w 127"/>
                <a:gd name="T39" fmla="*/ 61354884 h 119"/>
                <a:gd name="T40" fmla="*/ 176149238 w 127"/>
                <a:gd name="T41" fmla="*/ 127254740 h 119"/>
                <a:gd name="T42" fmla="*/ 208176549 w 127"/>
                <a:gd name="T43" fmla="*/ 143162896 h 119"/>
                <a:gd name="T44" fmla="*/ 240203812 w 127"/>
                <a:gd name="T45" fmla="*/ 188611108 h 119"/>
                <a:gd name="T46" fmla="*/ 240203812 w 127"/>
                <a:gd name="T47" fmla="*/ 202244564 h 119"/>
                <a:gd name="T48" fmla="*/ 221902519 w 127"/>
                <a:gd name="T49" fmla="*/ 202244564 h 1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7"/>
                <a:gd name="T76" fmla="*/ 0 h 119"/>
                <a:gd name="T77" fmla="*/ 127 w 127"/>
                <a:gd name="T78" fmla="*/ 119 h 11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7" h="119">
                  <a:moveTo>
                    <a:pt x="118" y="110"/>
                  </a:moveTo>
                  <a:lnTo>
                    <a:pt x="101" y="119"/>
                  </a:lnTo>
                  <a:lnTo>
                    <a:pt x="93" y="119"/>
                  </a:lnTo>
                  <a:lnTo>
                    <a:pt x="76" y="102"/>
                  </a:lnTo>
                  <a:lnTo>
                    <a:pt x="51" y="110"/>
                  </a:lnTo>
                  <a:lnTo>
                    <a:pt x="42" y="110"/>
                  </a:lnTo>
                  <a:lnTo>
                    <a:pt x="34" y="110"/>
                  </a:lnTo>
                  <a:lnTo>
                    <a:pt x="25" y="110"/>
                  </a:lnTo>
                  <a:lnTo>
                    <a:pt x="17" y="85"/>
                  </a:lnTo>
                  <a:lnTo>
                    <a:pt x="0" y="68"/>
                  </a:lnTo>
                  <a:lnTo>
                    <a:pt x="0" y="60"/>
                  </a:lnTo>
                  <a:lnTo>
                    <a:pt x="9" y="34"/>
                  </a:lnTo>
                  <a:lnTo>
                    <a:pt x="17" y="43"/>
                  </a:lnTo>
                  <a:lnTo>
                    <a:pt x="42" y="26"/>
                  </a:lnTo>
                  <a:lnTo>
                    <a:pt x="51" y="26"/>
                  </a:lnTo>
                  <a:lnTo>
                    <a:pt x="68" y="17"/>
                  </a:lnTo>
                  <a:lnTo>
                    <a:pt x="85" y="0"/>
                  </a:lnTo>
                  <a:lnTo>
                    <a:pt x="93" y="0"/>
                  </a:lnTo>
                  <a:lnTo>
                    <a:pt x="93" y="17"/>
                  </a:lnTo>
                  <a:lnTo>
                    <a:pt x="110" y="34"/>
                  </a:lnTo>
                  <a:lnTo>
                    <a:pt x="93" y="68"/>
                  </a:lnTo>
                  <a:lnTo>
                    <a:pt x="110" y="77"/>
                  </a:lnTo>
                  <a:lnTo>
                    <a:pt x="127" y="102"/>
                  </a:lnTo>
                  <a:lnTo>
                    <a:pt x="127" y="110"/>
                  </a:lnTo>
                  <a:lnTo>
                    <a:pt x="118" y="110"/>
                  </a:lnTo>
                </a:path>
              </a:pathLst>
            </a:custGeom>
            <a:grpFill/>
            <a:ln w="9525" cmpd="sng" algn="ctr">
              <a:solidFill>
                <a:schemeClr val="bg1"/>
              </a:solidFill>
              <a:round/>
              <a:headEnd/>
              <a:tailEnd/>
            </a:ln>
          </p:spPr>
          <p:txBody>
            <a:bodyPr wrap="none" lIns="79747" tIns="39873" rIns="79747" bIns="39873" anchor="ctr"/>
            <a:ls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477" dirty="0"/>
            </a:p>
          </p:txBody>
        </p:sp>
        <p:sp>
          <p:nvSpPr>
            <p:cNvPr id="62" name="Bremen">
              <a:extLst>
                <a:ext uri="{FF2B5EF4-FFF2-40B4-BE49-F238E27FC236}">
                  <a16:creationId xmlns:a16="http://schemas.microsoft.com/office/drawing/2014/main" id="{FABDFD1C-09E6-4781-9F53-BB8263BC85BE}"/>
                </a:ext>
              </a:extLst>
            </p:cNvPr>
            <p:cNvSpPr>
              <a:spLocks/>
            </p:cNvSpPr>
            <p:nvPr/>
          </p:nvSpPr>
          <p:spPr bwMode="auto">
            <a:xfrm>
              <a:off x="4034453" y="2602706"/>
              <a:ext cx="140677" cy="114300"/>
            </a:xfrm>
            <a:custGeom>
              <a:avLst/>
              <a:gdLst>
                <a:gd name="T0" fmla="*/ 154823311 w 101"/>
                <a:gd name="T1" fmla="*/ 61070790 h 76"/>
                <a:gd name="T2" fmla="*/ 173037369 w 101"/>
                <a:gd name="T3" fmla="*/ 47499162 h 76"/>
                <a:gd name="T4" fmla="*/ 186699044 w 101"/>
                <a:gd name="T5" fmla="*/ 61070790 h 76"/>
                <a:gd name="T6" fmla="*/ 173037369 w 101"/>
                <a:gd name="T7" fmla="*/ 137973627 h 76"/>
                <a:gd name="T8" fmla="*/ 154823311 w 101"/>
                <a:gd name="T9" fmla="*/ 137973627 h 76"/>
                <a:gd name="T10" fmla="*/ 141161636 w 101"/>
                <a:gd name="T11" fmla="*/ 137973627 h 76"/>
                <a:gd name="T12" fmla="*/ 109287412 w 101"/>
                <a:gd name="T13" fmla="*/ 124402012 h 76"/>
                <a:gd name="T14" fmla="*/ 95625713 w 101"/>
                <a:gd name="T15" fmla="*/ 124402012 h 76"/>
                <a:gd name="T16" fmla="*/ 77411656 w 101"/>
                <a:gd name="T17" fmla="*/ 124402012 h 76"/>
                <a:gd name="T18" fmla="*/ 63751489 w 101"/>
                <a:gd name="T19" fmla="*/ 76902837 h 76"/>
                <a:gd name="T20" fmla="*/ 47812857 w 101"/>
                <a:gd name="T21" fmla="*/ 47499162 h 76"/>
                <a:gd name="T22" fmla="*/ 0 w 101"/>
                <a:gd name="T23" fmla="*/ 18095493 h 76"/>
                <a:gd name="T24" fmla="*/ 0 w 101"/>
                <a:gd name="T25" fmla="*/ 0 h 76"/>
                <a:gd name="T26" fmla="*/ 63751489 w 101"/>
                <a:gd name="T27" fmla="*/ 18095493 h 76"/>
                <a:gd name="T28" fmla="*/ 95625713 w 101"/>
                <a:gd name="T29" fmla="*/ 18095493 h 76"/>
                <a:gd name="T30" fmla="*/ 154823311 w 101"/>
                <a:gd name="T31" fmla="*/ 61070790 h 7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1"/>
                <a:gd name="T49" fmla="*/ 0 h 76"/>
                <a:gd name="T50" fmla="*/ 101 w 101"/>
                <a:gd name="T51" fmla="*/ 76 h 7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1" h="76">
                  <a:moveTo>
                    <a:pt x="84" y="34"/>
                  </a:moveTo>
                  <a:lnTo>
                    <a:pt x="93" y="25"/>
                  </a:lnTo>
                  <a:lnTo>
                    <a:pt x="101" y="34"/>
                  </a:lnTo>
                  <a:lnTo>
                    <a:pt x="93" y="76"/>
                  </a:lnTo>
                  <a:lnTo>
                    <a:pt x="84" y="76"/>
                  </a:lnTo>
                  <a:lnTo>
                    <a:pt x="76" y="76"/>
                  </a:lnTo>
                  <a:lnTo>
                    <a:pt x="59" y="68"/>
                  </a:lnTo>
                  <a:lnTo>
                    <a:pt x="51" y="68"/>
                  </a:lnTo>
                  <a:lnTo>
                    <a:pt x="42" y="68"/>
                  </a:lnTo>
                  <a:lnTo>
                    <a:pt x="34" y="42"/>
                  </a:lnTo>
                  <a:lnTo>
                    <a:pt x="25" y="25"/>
                  </a:lnTo>
                  <a:lnTo>
                    <a:pt x="0" y="8"/>
                  </a:lnTo>
                  <a:lnTo>
                    <a:pt x="0" y="0"/>
                  </a:lnTo>
                  <a:lnTo>
                    <a:pt x="34" y="8"/>
                  </a:lnTo>
                  <a:lnTo>
                    <a:pt x="51" y="8"/>
                  </a:lnTo>
                  <a:lnTo>
                    <a:pt x="84" y="34"/>
                  </a:lnTo>
                </a:path>
              </a:pathLst>
            </a:custGeom>
            <a:grpFill/>
            <a:ln w="9525" cmpd="sng" algn="ctr">
              <a:solidFill>
                <a:schemeClr val="bg1"/>
              </a:solidFill>
              <a:round/>
              <a:headEnd/>
              <a:tailEnd/>
            </a:ln>
          </p:spPr>
          <p:txBody>
            <a:bodyPr wrap="none" lIns="79747" tIns="39873" rIns="79747" bIns="39873" anchor="ctr"/>
            <a:ls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477" dirty="0"/>
            </a:p>
          </p:txBody>
        </p:sp>
        <p:sp>
          <p:nvSpPr>
            <p:cNvPr id="55" name="Brandenburg">
              <a:extLst>
                <a:ext uri="{FF2B5EF4-FFF2-40B4-BE49-F238E27FC236}">
                  <a16:creationId xmlns:a16="http://schemas.microsoft.com/office/drawing/2014/main" id="{48E9DD08-9145-48BD-A466-9AF8F35DBC6F}"/>
                </a:ext>
              </a:extLst>
            </p:cNvPr>
            <p:cNvSpPr>
              <a:spLocks/>
            </p:cNvSpPr>
            <p:nvPr/>
          </p:nvSpPr>
          <p:spPr bwMode="auto">
            <a:xfrm>
              <a:off x="4913684" y="2423320"/>
              <a:ext cx="1151792" cy="1150937"/>
            </a:xfrm>
            <a:custGeom>
              <a:avLst/>
              <a:gdLst>
                <a:gd name="T0" fmla="*/ 1267992881 w 827"/>
                <a:gd name="T1" fmla="*/ 297296022 h 764"/>
                <a:gd name="T2" fmla="*/ 1222463440 w 827"/>
                <a:gd name="T3" fmla="*/ 358569893 h 764"/>
                <a:gd name="T4" fmla="*/ 1222463440 w 827"/>
                <a:gd name="T5" fmla="*/ 437999748 h 764"/>
                <a:gd name="T6" fmla="*/ 1254333747 w 827"/>
                <a:gd name="T7" fmla="*/ 451616666 h 764"/>
                <a:gd name="T8" fmla="*/ 1377262934 w 827"/>
                <a:gd name="T9" fmla="*/ 562819236 h 764"/>
                <a:gd name="T10" fmla="*/ 1427345922 w 827"/>
                <a:gd name="T11" fmla="*/ 610476189 h 764"/>
                <a:gd name="T12" fmla="*/ 1441003548 w 827"/>
                <a:gd name="T13" fmla="*/ 669481326 h 764"/>
                <a:gd name="T14" fmla="*/ 1409133241 w 827"/>
                <a:gd name="T15" fmla="*/ 717139786 h 764"/>
                <a:gd name="T16" fmla="*/ 1427345922 w 827"/>
                <a:gd name="T17" fmla="*/ 812455386 h 764"/>
                <a:gd name="T18" fmla="*/ 1488809762 w 827"/>
                <a:gd name="T19" fmla="*/ 860113845 h 764"/>
                <a:gd name="T20" fmla="*/ 1472875363 w 827"/>
                <a:gd name="T21" fmla="*/ 921389223 h 764"/>
                <a:gd name="T22" fmla="*/ 1504745670 w 827"/>
                <a:gd name="T23" fmla="*/ 1046207204 h 764"/>
                <a:gd name="T24" fmla="*/ 1459216229 w 827"/>
                <a:gd name="T25" fmla="*/ 1141522616 h 764"/>
                <a:gd name="T26" fmla="*/ 1504745670 w 827"/>
                <a:gd name="T27" fmla="*/ 1218683644 h 764"/>
                <a:gd name="T28" fmla="*/ 1536615976 w 827"/>
                <a:gd name="T29" fmla="*/ 1279959021 h 764"/>
                <a:gd name="T30" fmla="*/ 1459216229 w 827"/>
                <a:gd name="T31" fmla="*/ 1298113405 h 764"/>
                <a:gd name="T32" fmla="*/ 1409133241 w 827"/>
                <a:gd name="T33" fmla="*/ 1327615974 h 764"/>
                <a:gd name="T34" fmla="*/ 1318074360 w 827"/>
                <a:gd name="T35" fmla="*/ 1343503132 h 764"/>
                <a:gd name="T36" fmla="*/ 1254333747 w 827"/>
                <a:gd name="T37" fmla="*/ 1357118543 h 764"/>
                <a:gd name="T38" fmla="*/ 1254333747 w 827"/>
                <a:gd name="T39" fmla="*/ 1407045735 h 764"/>
                <a:gd name="T40" fmla="*/ 1129127785 w 827"/>
                <a:gd name="T41" fmla="*/ 1407045735 h 764"/>
                <a:gd name="T42" fmla="*/ 1113193387 w 827"/>
                <a:gd name="T43" fmla="*/ 1357118543 h 764"/>
                <a:gd name="T44" fmla="*/ 1033516866 w 827"/>
                <a:gd name="T45" fmla="*/ 1357118543 h 764"/>
                <a:gd name="T46" fmla="*/ 937904437 w 827"/>
                <a:gd name="T47" fmla="*/ 1298113405 h 764"/>
                <a:gd name="T48" fmla="*/ 972051518 w 827"/>
                <a:gd name="T49" fmla="*/ 1171025185 h 764"/>
                <a:gd name="T50" fmla="*/ 860504690 w 827"/>
                <a:gd name="T51" fmla="*/ 1123368232 h 764"/>
                <a:gd name="T52" fmla="*/ 721640915 w 827"/>
                <a:gd name="T53" fmla="*/ 1046207204 h 764"/>
                <a:gd name="T54" fmla="*/ 564564647 w 827"/>
                <a:gd name="T55" fmla="*/ 1062092855 h 764"/>
                <a:gd name="T56" fmla="*/ 439358686 w 827"/>
                <a:gd name="T57" fmla="*/ 984933333 h 764"/>
                <a:gd name="T58" fmla="*/ 500822525 w 827"/>
                <a:gd name="T59" fmla="*/ 953160525 h 764"/>
                <a:gd name="T60" fmla="*/ 519035207 w 827"/>
                <a:gd name="T61" fmla="*/ 873730763 h 764"/>
                <a:gd name="T62" fmla="*/ 519035207 w 827"/>
                <a:gd name="T63" fmla="*/ 844228194 h 764"/>
                <a:gd name="T64" fmla="*/ 468952219 w 827"/>
                <a:gd name="T65" fmla="*/ 780683896 h 764"/>
                <a:gd name="T66" fmla="*/ 487164900 w 827"/>
                <a:gd name="T67" fmla="*/ 717139786 h 764"/>
                <a:gd name="T68" fmla="*/ 455293085 w 827"/>
                <a:gd name="T69" fmla="*/ 626363346 h 764"/>
                <a:gd name="T70" fmla="*/ 393829151 w 827"/>
                <a:gd name="T71" fmla="*/ 515160776 h 764"/>
                <a:gd name="T72" fmla="*/ 314152630 w 827"/>
                <a:gd name="T73" fmla="*/ 469772557 h 764"/>
                <a:gd name="T74" fmla="*/ 236752883 w 827"/>
                <a:gd name="T75" fmla="*/ 406228446 h 764"/>
                <a:gd name="T76" fmla="*/ 157076315 w 827"/>
                <a:gd name="T77" fmla="*/ 358569893 h 764"/>
                <a:gd name="T78" fmla="*/ 127482782 w 827"/>
                <a:gd name="T79" fmla="*/ 342684242 h 764"/>
                <a:gd name="T80" fmla="*/ 79676544 w 827"/>
                <a:gd name="T81" fmla="*/ 326798591 h 764"/>
                <a:gd name="T82" fmla="*/ 20487952 w 827"/>
                <a:gd name="T83" fmla="*/ 326798591 h 764"/>
                <a:gd name="T84" fmla="*/ 50083012 w 827"/>
                <a:gd name="T85" fmla="*/ 297296022 h 764"/>
                <a:gd name="T86" fmla="*/ 173012223 w 827"/>
                <a:gd name="T87" fmla="*/ 220134994 h 764"/>
                <a:gd name="T88" fmla="*/ 236752883 w 827"/>
                <a:gd name="T89" fmla="*/ 201979103 h 764"/>
                <a:gd name="T90" fmla="*/ 282282324 w 827"/>
                <a:gd name="T91" fmla="*/ 156590836 h 764"/>
                <a:gd name="T92" fmla="*/ 327811764 w 827"/>
                <a:gd name="T93" fmla="*/ 106663644 h 764"/>
                <a:gd name="T94" fmla="*/ 393829151 w 827"/>
                <a:gd name="T95" fmla="*/ 127088268 h 764"/>
                <a:gd name="T96" fmla="*/ 487164900 w 827"/>
                <a:gd name="T97" fmla="*/ 172476487 h 764"/>
                <a:gd name="T98" fmla="*/ 610094088 w 827"/>
                <a:gd name="T99" fmla="*/ 201979103 h 764"/>
                <a:gd name="T100" fmla="*/ 801316116 w 827"/>
                <a:gd name="T101" fmla="*/ 265523214 h 764"/>
                <a:gd name="T102" fmla="*/ 753511222 w 827"/>
                <a:gd name="T103" fmla="*/ 188362138 h 764"/>
                <a:gd name="T104" fmla="*/ 880992637 w 827"/>
                <a:gd name="T105" fmla="*/ 156590836 h 764"/>
                <a:gd name="T106" fmla="*/ 972051518 w 827"/>
                <a:gd name="T107" fmla="*/ 47658471 h 764"/>
                <a:gd name="T108" fmla="*/ 1081323080 w 827"/>
                <a:gd name="T109" fmla="*/ 0 h 764"/>
                <a:gd name="T110" fmla="*/ 1190593134 w 827"/>
                <a:gd name="T111" fmla="*/ 20424629 h 764"/>
                <a:gd name="T112" fmla="*/ 1286204053 w 827"/>
                <a:gd name="T113" fmla="*/ 95315436 h 764"/>
                <a:gd name="T114" fmla="*/ 1254333747 w 827"/>
                <a:gd name="T115" fmla="*/ 188362138 h 764"/>
                <a:gd name="T116" fmla="*/ 1299863187 w 827"/>
                <a:gd name="T117" fmla="*/ 281408865 h 7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27"/>
                <a:gd name="T178" fmla="*/ 0 h 764"/>
                <a:gd name="T179" fmla="*/ 827 w 827"/>
                <a:gd name="T180" fmla="*/ 764 h 7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27" h="764">
                  <a:moveTo>
                    <a:pt x="700" y="153"/>
                  </a:moveTo>
                  <a:lnTo>
                    <a:pt x="683" y="161"/>
                  </a:lnTo>
                  <a:lnTo>
                    <a:pt x="658" y="187"/>
                  </a:lnTo>
                  <a:lnTo>
                    <a:pt x="658" y="195"/>
                  </a:lnTo>
                  <a:lnTo>
                    <a:pt x="658" y="221"/>
                  </a:lnTo>
                  <a:lnTo>
                    <a:pt x="658" y="238"/>
                  </a:lnTo>
                  <a:lnTo>
                    <a:pt x="658" y="246"/>
                  </a:lnTo>
                  <a:lnTo>
                    <a:pt x="675" y="246"/>
                  </a:lnTo>
                  <a:lnTo>
                    <a:pt x="709" y="280"/>
                  </a:lnTo>
                  <a:lnTo>
                    <a:pt x="742" y="306"/>
                  </a:lnTo>
                  <a:lnTo>
                    <a:pt x="759" y="323"/>
                  </a:lnTo>
                  <a:lnTo>
                    <a:pt x="768" y="331"/>
                  </a:lnTo>
                  <a:lnTo>
                    <a:pt x="768" y="357"/>
                  </a:lnTo>
                  <a:lnTo>
                    <a:pt x="776" y="365"/>
                  </a:lnTo>
                  <a:lnTo>
                    <a:pt x="768" y="373"/>
                  </a:lnTo>
                  <a:lnTo>
                    <a:pt x="759" y="390"/>
                  </a:lnTo>
                  <a:lnTo>
                    <a:pt x="759" y="399"/>
                  </a:lnTo>
                  <a:lnTo>
                    <a:pt x="768" y="441"/>
                  </a:lnTo>
                  <a:lnTo>
                    <a:pt x="802" y="458"/>
                  </a:lnTo>
                  <a:lnTo>
                    <a:pt x="802" y="467"/>
                  </a:lnTo>
                  <a:lnTo>
                    <a:pt x="802" y="492"/>
                  </a:lnTo>
                  <a:lnTo>
                    <a:pt x="793" y="501"/>
                  </a:lnTo>
                  <a:lnTo>
                    <a:pt x="818" y="526"/>
                  </a:lnTo>
                  <a:lnTo>
                    <a:pt x="810" y="569"/>
                  </a:lnTo>
                  <a:lnTo>
                    <a:pt x="810" y="577"/>
                  </a:lnTo>
                  <a:lnTo>
                    <a:pt x="785" y="620"/>
                  </a:lnTo>
                  <a:lnTo>
                    <a:pt x="802" y="645"/>
                  </a:lnTo>
                  <a:lnTo>
                    <a:pt x="810" y="662"/>
                  </a:lnTo>
                  <a:lnTo>
                    <a:pt x="827" y="679"/>
                  </a:lnTo>
                  <a:lnTo>
                    <a:pt x="827" y="696"/>
                  </a:lnTo>
                  <a:lnTo>
                    <a:pt x="802" y="713"/>
                  </a:lnTo>
                  <a:lnTo>
                    <a:pt x="785" y="705"/>
                  </a:lnTo>
                  <a:lnTo>
                    <a:pt x="768" y="721"/>
                  </a:lnTo>
                  <a:lnTo>
                    <a:pt x="759" y="721"/>
                  </a:lnTo>
                  <a:lnTo>
                    <a:pt x="734" y="730"/>
                  </a:lnTo>
                  <a:lnTo>
                    <a:pt x="709" y="730"/>
                  </a:lnTo>
                  <a:lnTo>
                    <a:pt x="700" y="721"/>
                  </a:lnTo>
                  <a:lnTo>
                    <a:pt x="675" y="738"/>
                  </a:lnTo>
                  <a:lnTo>
                    <a:pt x="683" y="755"/>
                  </a:lnTo>
                  <a:lnTo>
                    <a:pt x="675" y="764"/>
                  </a:lnTo>
                  <a:lnTo>
                    <a:pt x="650" y="738"/>
                  </a:lnTo>
                  <a:lnTo>
                    <a:pt x="608" y="764"/>
                  </a:lnTo>
                  <a:lnTo>
                    <a:pt x="608" y="755"/>
                  </a:lnTo>
                  <a:lnTo>
                    <a:pt x="599" y="738"/>
                  </a:lnTo>
                  <a:lnTo>
                    <a:pt x="591" y="738"/>
                  </a:lnTo>
                  <a:lnTo>
                    <a:pt x="557" y="738"/>
                  </a:lnTo>
                  <a:lnTo>
                    <a:pt x="532" y="738"/>
                  </a:lnTo>
                  <a:lnTo>
                    <a:pt x="506" y="705"/>
                  </a:lnTo>
                  <a:lnTo>
                    <a:pt x="540" y="671"/>
                  </a:lnTo>
                  <a:lnTo>
                    <a:pt x="523" y="637"/>
                  </a:lnTo>
                  <a:lnTo>
                    <a:pt x="473" y="628"/>
                  </a:lnTo>
                  <a:lnTo>
                    <a:pt x="464" y="611"/>
                  </a:lnTo>
                  <a:lnTo>
                    <a:pt x="439" y="611"/>
                  </a:lnTo>
                  <a:lnTo>
                    <a:pt x="388" y="569"/>
                  </a:lnTo>
                  <a:lnTo>
                    <a:pt x="371" y="569"/>
                  </a:lnTo>
                  <a:lnTo>
                    <a:pt x="304" y="577"/>
                  </a:lnTo>
                  <a:lnTo>
                    <a:pt x="262" y="569"/>
                  </a:lnTo>
                  <a:lnTo>
                    <a:pt x="237" y="535"/>
                  </a:lnTo>
                  <a:lnTo>
                    <a:pt x="245" y="526"/>
                  </a:lnTo>
                  <a:lnTo>
                    <a:pt x="270" y="518"/>
                  </a:lnTo>
                  <a:lnTo>
                    <a:pt x="287" y="501"/>
                  </a:lnTo>
                  <a:lnTo>
                    <a:pt x="279" y="475"/>
                  </a:lnTo>
                  <a:lnTo>
                    <a:pt x="287" y="458"/>
                  </a:lnTo>
                  <a:lnTo>
                    <a:pt x="279" y="458"/>
                  </a:lnTo>
                  <a:lnTo>
                    <a:pt x="262" y="441"/>
                  </a:lnTo>
                  <a:lnTo>
                    <a:pt x="253" y="424"/>
                  </a:lnTo>
                  <a:lnTo>
                    <a:pt x="262" y="407"/>
                  </a:lnTo>
                  <a:lnTo>
                    <a:pt x="262" y="390"/>
                  </a:lnTo>
                  <a:lnTo>
                    <a:pt x="237" y="373"/>
                  </a:lnTo>
                  <a:lnTo>
                    <a:pt x="245" y="340"/>
                  </a:lnTo>
                  <a:lnTo>
                    <a:pt x="211" y="306"/>
                  </a:lnTo>
                  <a:lnTo>
                    <a:pt x="211" y="280"/>
                  </a:lnTo>
                  <a:lnTo>
                    <a:pt x="177" y="272"/>
                  </a:lnTo>
                  <a:lnTo>
                    <a:pt x="169" y="255"/>
                  </a:lnTo>
                  <a:lnTo>
                    <a:pt x="135" y="238"/>
                  </a:lnTo>
                  <a:lnTo>
                    <a:pt x="127" y="221"/>
                  </a:lnTo>
                  <a:lnTo>
                    <a:pt x="102" y="212"/>
                  </a:lnTo>
                  <a:lnTo>
                    <a:pt x="85" y="195"/>
                  </a:lnTo>
                  <a:lnTo>
                    <a:pt x="68" y="195"/>
                  </a:lnTo>
                  <a:lnTo>
                    <a:pt x="68" y="187"/>
                  </a:lnTo>
                  <a:lnTo>
                    <a:pt x="59" y="187"/>
                  </a:lnTo>
                  <a:lnTo>
                    <a:pt x="43" y="178"/>
                  </a:lnTo>
                  <a:lnTo>
                    <a:pt x="34" y="170"/>
                  </a:lnTo>
                  <a:lnTo>
                    <a:pt x="9" y="178"/>
                  </a:lnTo>
                  <a:lnTo>
                    <a:pt x="0" y="170"/>
                  </a:lnTo>
                  <a:lnTo>
                    <a:pt x="26" y="161"/>
                  </a:lnTo>
                  <a:lnTo>
                    <a:pt x="51" y="136"/>
                  </a:lnTo>
                  <a:lnTo>
                    <a:pt x="93" y="119"/>
                  </a:lnTo>
                  <a:lnTo>
                    <a:pt x="110" y="127"/>
                  </a:lnTo>
                  <a:lnTo>
                    <a:pt x="127" y="110"/>
                  </a:lnTo>
                  <a:lnTo>
                    <a:pt x="144" y="93"/>
                  </a:lnTo>
                  <a:lnTo>
                    <a:pt x="152" y="85"/>
                  </a:lnTo>
                  <a:lnTo>
                    <a:pt x="161" y="68"/>
                  </a:lnTo>
                  <a:lnTo>
                    <a:pt x="177" y="59"/>
                  </a:lnTo>
                  <a:lnTo>
                    <a:pt x="194" y="68"/>
                  </a:lnTo>
                  <a:lnTo>
                    <a:pt x="211" y="68"/>
                  </a:lnTo>
                  <a:lnTo>
                    <a:pt x="228" y="76"/>
                  </a:lnTo>
                  <a:lnTo>
                    <a:pt x="262" y="93"/>
                  </a:lnTo>
                  <a:lnTo>
                    <a:pt x="270" y="93"/>
                  </a:lnTo>
                  <a:lnTo>
                    <a:pt x="329" y="110"/>
                  </a:lnTo>
                  <a:lnTo>
                    <a:pt x="355" y="127"/>
                  </a:lnTo>
                  <a:lnTo>
                    <a:pt x="430" y="144"/>
                  </a:lnTo>
                  <a:lnTo>
                    <a:pt x="439" y="127"/>
                  </a:lnTo>
                  <a:lnTo>
                    <a:pt x="405" y="102"/>
                  </a:lnTo>
                  <a:lnTo>
                    <a:pt x="439" y="85"/>
                  </a:lnTo>
                  <a:lnTo>
                    <a:pt x="473" y="85"/>
                  </a:lnTo>
                  <a:lnTo>
                    <a:pt x="506" y="68"/>
                  </a:lnTo>
                  <a:lnTo>
                    <a:pt x="523" y="25"/>
                  </a:lnTo>
                  <a:lnTo>
                    <a:pt x="549" y="9"/>
                  </a:lnTo>
                  <a:lnTo>
                    <a:pt x="582" y="0"/>
                  </a:lnTo>
                  <a:lnTo>
                    <a:pt x="624" y="17"/>
                  </a:lnTo>
                  <a:lnTo>
                    <a:pt x="641" y="9"/>
                  </a:lnTo>
                  <a:lnTo>
                    <a:pt x="675" y="25"/>
                  </a:lnTo>
                  <a:lnTo>
                    <a:pt x="692" y="51"/>
                  </a:lnTo>
                  <a:lnTo>
                    <a:pt x="675" y="76"/>
                  </a:lnTo>
                  <a:lnTo>
                    <a:pt x="675" y="102"/>
                  </a:lnTo>
                  <a:lnTo>
                    <a:pt x="700" y="110"/>
                  </a:lnTo>
                  <a:lnTo>
                    <a:pt x="700" y="153"/>
                  </a:lnTo>
                </a:path>
              </a:pathLst>
            </a:custGeom>
            <a:grpFill/>
            <a:ln w="9525" cmpd="sng" algn="ctr">
              <a:solidFill>
                <a:schemeClr val="bg1"/>
              </a:solidFill>
              <a:round/>
              <a:headEnd/>
              <a:tailEnd/>
            </a:ln>
          </p:spPr>
          <p:txBody>
            <a:bodyPr wrap="none" lIns="79747" tIns="39873" rIns="79747" bIns="39873" anchor="ctr"/>
            <a:ls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477" dirty="0"/>
            </a:p>
          </p:txBody>
        </p:sp>
        <p:sp>
          <p:nvSpPr>
            <p:cNvPr id="56" name="Berlin">
              <a:extLst>
                <a:ext uri="{FF2B5EF4-FFF2-40B4-BE49-F238E27FC236}">
                  <a16:creationId xmlns:a16="http://schemas.microsoft.com/office/drawing/2014/main" id="{41C05D1B-1FC5-4FA6-BC2C-3FF02BB4856D}"/>
                </a:ext>
              </a:extLst>
            </p:cNvPr>
            <p:cNvSpPr>
              <a:spLocks/>
            </p:cNvSpPr>
            <p:nvPr/>
          </p:nvSpPr>
          <p:spPr bwMode="auto">
            <a:xfrm>
              <a:off x="5501303" y="2883695"/>
              <a:ext cx="212479" cy="192087"/>
            </a:xfrm>
            <a:custGeom>
              <a:avLst/>
              <a:gdLst>
                <a:gd name="T0" fmla="*/ 160535728 w 152"/>
                <a:gd name="T1" fmla="*/ 0 h 127"/>
                <a:gd name="T2" fmla="*/ 176589751 w 152"/>
                <a:gd name="T3" fmla="*/ 29738857 h 127"/>
                <a:gd name="T4" fmla="*/ 176589751 w 152"/>
                <a:gd name="T5" fmla="*/ 77780520 h 127"/>
                <a:gd name="T6" fmla="*/ 192643773 w 152"/>
                <a:gd name="T7" fmla="*/ 77780520 h 127"/>
                <a:gd name="T8" fmla="*/ 224750351 w 152"/>
                <a:gd name="T9" fmla="*/ 77780520 h 127"/>
                <a:gd name="T10" fmla="*/ 240804373 w 152"/>
                <a:gd name="T11" fmla="*/ 109807807 h 127"/>
                <a:gd name="T12" fmla="*/ 240804373 w 152"/>
                <a:gd name="T13" fmla="*/ 125820682 h 127"/>
                <a:gd name="T14" fmla="*/ 270618121 w 152"/>
                <a:gd name="T15" fmla="*/ 144121975 h 127"/>
                <a:gd name="T16" fmla="*/ 288964926 w 152"/>
                <a:gd name="T17" fmla="*/ 157847945 h 127"/>
                <a:gd name="T18" fmla="*/ 256856881 w 152"/>
                <a:gd name="T19" fmla="*/ 240203812 h 127"/>
                <a:gd name="T20" fmla="*/ 256856881 w 152"/>
                <a:gd name="T21" fmla="*/ 221902519 h 127"/>
                <a:gd name="T22" fmla="*/ 240804373 w 152"/>
                <a:gd name="T23" fmla="*/ 208176549 h 127"/>
                <a:gd name="T24" fmla="*/ 224750351 w 152"/>
                <a:gd name="T25" fmla="*/ 208176549 h 127"/>
                <a:gd name="T26" fmla="*/ 192643773 w 152"/>
                <a:gd name="T27" fmla="*/ 208176549 h 127"/>
                <a:gd name="T28" fmla="*/ 160535728 w 152"/>
                <a:gd name="T29" fmla="*/ 208176549 h 127"/>
                <a:gd name="T30" fmla="*/ 146776003 w 152"/>
                <a:gd name="T31" fmla="*/ 221902519 h 127"/>
                <a:gd name="T32" fmla="*/ 112375175 w 152"/>
                <a:gd name="T33" fmla="*/ 221902519 h 127"/>
                <a:gd name="T34" fmla="*/ 66507382 w 152"/>
                <a:gd name="T35" fmla="*/ 208176549 h 127"/>
                <a:gd name="T36" fmla="*/ 29813760 w 152"/>
                <a:gd name="T37" fmla="*/ 208176549 h 127"/>
                <a:gd name="T38" fmla="*/ 0 w 152"/>
                <a:gd name="T39" fmla="*/ 208176549 h 127"/>
                <a:gd name="T40" fmla="*/ 0 w 152"/>
                <a:gd name="T41" fmla="*/ 176149238 h 127"/>
                <a:gd name="T42" fmla="*/ 29813760 w 152"/>
                <a:gd name="T43" fmla="*/ 144121975 h 127"/>
                <a:gd name="T44" fmla="*/ 29813760 w 152"/>
                <a:gd name="T45" fmla="*/ 77780520 h 127"/>
                <a:gd name="T46" fmla="*/ 48160565 w 152"/>
                <a:gd name="T47" fmla="*/ 77780520 h 127"/>
                <a:gd name="T48" fmla="*/ 66507382 w 152"/>
                <a:gd name="T49" fmla="*/ 29738857 h 127"/>
                <a:gd name="T50" fmla="*/ 112375175 w 152"/>
                <a:gd name="T51" fmla="*/ 48040150 h 127"/>
                <a:gd name="T52" fmla="*/ 160535728 w 152"/>
                <a:gd name="T53" fmla="*/ 0 h 1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2"/>
                <a:gd name="T82" fmla="*/ 0 h 127"/>
                <a:gd name="T83" fmla="*/ 152 w 152"/>
                <a:gd name="T84" fmla="*/ 127 h 12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2" h="127">
                  <a:moveTo>
                    <a:pt x="84" y="0"/>
                  </a:moveTo>
                  <a:lnTo>
                    <a:pt x="93" y="17"/>
                  </a:lnTo>
                  <a:lnTo>
                    <a:pt x="93" y="42"/>
                  </a:lnTo>
                  <a:lnTo>
                    <a:pt x="101" y="42"/>
                  </a:lnTo>
                  <a:lnTo>
                    <a:pt x="118" y="42"/>
                  </a:lnTo>
                  <a:lnTo>
                    <a:pt x="127" y="59"/>
                  </a:lnTo>
                  <a:lnTo>
                    <a:pt x="127" y="67"/>
                  </a:lnTo>
                  <a:lnTo>
                    <a:pt x="143" y="76"/>
                  </a:lnTo>
                  <a:lnTo>
                    <a:pt x="152" y="84"/>
                  </a:lnTo>
                  <a:lnTo>
                    <a:pt x="135" y="127"/>
                  </a:lnTo>
                  <a:lnTo>
                    <a:pt x="135" y="118"/>
                  </a:lnTo>
                  <a:lnTo>
                    <a:pt x="127" y="110"/>
                  </a:lnTo>
                  <a:lnTo>
                    <a:pt x="118" y="110"/>
                  </a:lnTo>
                  <a:lnTo>
                    <a:pt x="101" y="110"/>
                  </a:lnTo>
                  <a:lnTo>
                    <a:pt x="84" y="110"/>
                  </a:lnTo>
                  <a:lnTo>
                    <a:pt x="76" y="118"/>
                  </a:lnTo>
                  <a:lnTo>
                    <a:pt x="59" y="118"/>
                  </a:lnTo>
                  <a:lnTo>
                    <a:pt x="34" y="110"/>
                  </a:lnTo>
                  <a:lnTo>
                    <a:pt x="17" y="110"/>
                  </a:lnTo>
                  <a:lnTo>
                    <a:pt x="0" y="110"/>
                  </a:lnTo>
                  <a:lnTo>
                    <a:pt x="0" y="93"/>
                  </a:lnTo>
                  <a:lnTo>
                    <a:pt x="17" y="76"/>
                  </a:lnTo>
                  <a:lnTo>
                    <a:pt x="17" y="42"/>
                  </a:lnTo>
                  <a:lnTo>
                    <a:pt x="25" y="42"/>
                  </a:lnTo>
                  <a:lnTo>
                    <a:pt x="34" y="17"/>
                  </a:lnTo>
                  <a:lnTo>
                    <a:pt x="59" y="25"/>
                  </a:lnTo>
                  <a:lnTo>
                    <a:pt x="84" y="0"/>
                  </a:lnTo>
                </a:path>
              </a:pathLst>
            </a:custGeom>
            <a:grpFill/>
            <a:ln w="9525" cmpd="sng" algn="ctr">
              <a:solidFill>
                <a:schemeClr val="bg1"/>
              </a:solidFill>
              <a:round/>
              <a:headEnd/>
              <a:tailEnd/>
            </a:ln>
          </p:spPr>
          <p:txBody>
            <a:bodyPr wrap="none" lIns="79747" tIns="39873" rIns="79747" bIns="39873" anchor="ctr"/>
            <a:ls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477" dirty="0"/>
            </a:p>
          </p:txBody>
        </p:sp>
        <p:sp>
          <p:nvSpPr>
            <p:cNvPr id="61" name="Berlin">
              <a:extLst>
                <a:ext uri="{FF2B5EF4-FFF2-40B4-BE49-F238E27FC236}">
                  <a16:creationId xmlns:a16="http://schemas.microsoft.com/office/drawing/2014/main" id="{6ABA4410-7ECC-4043-8567-10892EBECA2A}"/>
                </a:ext>
              </a:extLst>
            </p:cNvPr>
            <p:cNvSpPr>
              <a:spLocks/>
            </p:cNvSpPr>
            <p:nvPr/>
          </p:nvSpPr>
          <p:spPr bwMode="auto">
            <a:xfrm>
              <a:off x="5595088" y="2947193"/>
              <a:ext cx="46892" cy="52388"/>
            </a:xfrm>
            <a:custGeom>
              <a:avLst/>
              <a:gdLst>
                <a:gd name="T0" fmla="*/ 17859186 w 34"/>
                <a:gd name="T1" fmla="*/ 71223019 h 34"/>
                <a:gd name="T2" fmla="*/ 17859186 w 34"/>
                <a:gd name="T3" fmla="*/ 40360325 h 34"/>
                <a:gd name="T4" fmla="*/ 0 w 34"/>
                <a:gd name="T5" fmla="*/ 40360325 h 34"/>
                <a:gd name="T6" fmla="*/ 17859186 w 34"/>
                <a:gd name="T7" fmla="*/ 40360325 h 34"/>
                <a:gd name="T8" fmla="*/ 17859186 w 34"/>
                <a:gd name="T9" fmla="*/ 0 h 34"/>
                <a:gd name="T10" fmla="*/ 29021740 w 34"/>
                <a:gd name="T11" fmla="*/ 40360325 h 34"/>
                <a:gd name="T12" fmla="*/ 58041986 w 34"/>
                <a:gd name="T13" fmla="*/ 40360325 h 34"/>
                <a:gd name="T14" fmla="*/ 29021740 w 34"/>
                <a:gd name="T15" fmla="*/ 40360325 h 34"/>
                <a:gd name="T16" fmla="*/ 46879426 w 34"/>
                <a:gd name="T17" fmla="*/ 71223019 h 34"/>
                <a:gd name="T18" fmla="*/ 17859186 w 34"/>
                <a:gd name="T19" fmla="*/ 49856417 h 34"/>
                <a:gd name="T20" fmla="*/ 17859186 w 34"/>
                <a:gd name="T21" fmla="*/ 71223019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34"/>
                <a:gd name="T35" fmla="*/ 34 w 34"/>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34">
                  <a:moveTo>
                    <a:pt x="9" y="34"/>
                  </a:moveTo>
                  <a:lnTo>
                    <a:pt x="9" y="17"/>
                  </a:lnTo>
                  <a:lnTo>
                    <a:pt x="0" y="17"/>
                  </a:lnTo>
                  <a:lnTo>
                    <a:pt x="9" y="17"/>
                  </a:lnTo>
                  <a:lnTo>
                    <a:pt x="9" y="0"/>
                  </a:lnTo>
                  <a:lnTo>
                    <a:pt x="17" y="17"/>
                  </a:lnTo>
                  <a:lnTo>
                    <a:pt x="34" y="17"/>
                  </a:lnTo>
                  <a:lnTo>
                    <a:pt x="17" y="17"/>
                  </a:lnTo>
                  <a:lnTo>
                    <a:pt x="26" y="34"/>
                  </a:lnTo>
                  <a:lnTo>
                    <a:pt x="9" y="25"/>
                  </a:lnTo>
                  <a:lnTo>
                    <a:pt x="9" y="34"/>
                  </a:lnTo>
                  <a:close/>
                </a:path>
              </a:pathLst>
            </a:custGeom>
            <a:grpFill/>
            <a:ln w="9525" cmpd="sng" algn="ctr">
              <a:solidFill>
                <a:schemeClr val="bg1"/>
              </a:solidFill>
              <a:round/>
              <a:headEnd/>
              <a:tailEnd/>
            </a:ln>
          </p:spPr>
          <p:txBody>
            <a:bodyPr wrap="none" lIns="79747" tIns="39873" rIns="79747" bIns="39873" anchor="ctr"/>
            <a:ls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477" dirty="0"/>
            </a:p>
          </p:txBody>
        </p:sp>
        <p:sp>
          <p:nvSpPr>
            <p:cNvPr id="51" name="Bavaria">
              <a:extLst>
                <a:ext uri="{FF2B5EF4-FFF2-40B4-BE49-F238E27FC236}">
                  <a16:creationId xmlns:a16="http://schemas.microsoft.com/office/drawing/2014/main" id="{024C4ECC-77B1-44C2-BF2C-C4E6051E1CCF}"/>
                </a:ext>
              </a:extLst>
            </p:cNvPr>
            <p:cNvSpPr>
              <a:spLocks/>
            </p:cNvSpPr>
            <p:nvPr/>
          </p:nvSpPr>
          <p:spPr bwMode="auto">
            <a:xfrm>
              <a:off x="4164872" y="4136232"/>
              <a:ext cx="1688123" cy="1895475"/>
            </a:xfrm>
            <a:custGeom>
              <a:avLst/>
              <a:gdLst>
                <a:gd name="T0" fmla="*/ 481094909 w 1214"/>
                <a:gd name="T1" fmla="*/ 2057852472 h 1257"/>
                <a:gd name="T2" fmla="*/ 512865400 w 1214"/>
                <a:gd name="T3" fmla="*/ 1948706630 h 1257"/>
                <a:gd name="T4" fmla="*/ 496980154 w 1214"/>
                <a:gd name="T5" fmla="*/ 1634912902 h 1257"/>
                <a:gd name="T6" fmla="*/ 542367216 w 1214"/>
                <a:gd name="T7" fmla="*/ 1493932668 h 1257"/>
                <a:gd name="T8" fmla="*/ 633139833 w 1214"/>
                <a:gd name="T9" fmla="*/ 1337035050 h 1257"/>
                <a:gd name="T10" fmla="*/ 653562430 w 1214"/>
                <a:gd name="T11" fmla="*/ 1146030958 h 1257"/>
                <a:gd name="T12" fmla="*/ 526481971 w 1214"/>
                <a:gd name="T13" fmla="*/ 975489544 h 1257"/>
                <a:gd name="T14" fmla="*/ 512865400 w 1214"/>
                <a:gd name="T15" fmla="*/ 757199181 h 1257"/>
                <a:gd name="T16" fmla="*/ 435709353 w 1214"/>
                <a:gd name="T17" fmla="*/ 720817234 h 1257"/>
                <a:gd name="T18" fmla="*/ 372168277 w 1214"/>
                <a:gd name="T19" fmla="*/ 629861612 h 1257"/>
                <a:gd name="T20" fmla="*/ 295010723 w 1214"/>
                <a:gd name="T21" fmla="*/ 611671392 h 1257"/>
                <a:gd name="T22" fmla="*/ 154313647 w 1214"/>
                <a:gd name="T23" fmla="*/ 566193581 h 1257"/>
                <a:gd name="T24" fmla="*/ 154313647 w 1214"/>
                <a:gd name="T25" fmla="*/ 661695627 h 1257"/>
                <a:gd name="T26" fmla="*/ 47655749 w 1214"/>
                <a:gd name="T27" fmla="*/ 643505407 h 1257"/>
                <a:gd name="T28" fmla="*/ 18153927 w 1214"/>
                <a:gd name="T29" fmla="*/ 457047740 h 1257"/>
                <a:gd name="T30" fmla="*/ 61270825 w 1214"/>
                <a:gd name="T31" fmla="*/ 313793823 h 1257"/>
                <a:gd name="T32" fmla="*/ 231469741 w 1214"/>
                <a:gd name="T33" fmla="*/ 313793823 h 1257"/>
                <a:gd name="T34" fmla="*/ 308627294 w 1214"/>
                <a:gd name="T35" fmla="*/ 204647981 h 1257"/>
                <a:gd name="T36" fmla="*/ 435709353 w 1214"/>
                <a:gd name="T37" fmla="*/ 109145889 h 1257"/>
                <a:gd name="T38" fmla="*/ 605906693 w 1214"/>
                <a:gd name="T39" fmla="*/ 79585816 h 1257"/>
                <a:gd name="T40" fmla="*/ 712564555 w 1214"/>
                <a:gd name="T41" fmla="*/ 220565743 h 1257"/>
                <a:gd name="T42" fmla="*/ 837378034 w 1214"/>
                <a:gd name="T43" fmla="*/ 204647981 h 1257"/>
                <a:gd name="T44" fmla="*/ 821492788 w 1214"/>
                <a:gd name="T45" fmla="*/ 127336108 h 1257"/>
                <a:gd name="T46" fmla="*/ 962189818 w 1214"/>
                <a:gd name="T47" fmla="*/ 175087885 h 1257"/>
                <a:gd name="T48" fmla="*/ 1023462125 w 1214"/>
                <a:gd name="T49" fmla="*/ 143253870 h 1257"/>
                <a:gd name="T50" fmla="*/ 1084732926 w 1214"/>
                <a:gd name="T51" fmla="*/ 79585816 h 1257"/>
                <a:gd name="T52" fmla="*/ 1316204079 w 1214"/>
                <a:gd name="T53" fmla="*/ 95502069 h 1257"/>
                <a:gd name="T54" fmla="*/ 1443284538 w 1214"/>
                <a:gd name="T55" fmla="*/ 268316012 h 1257"/>
                <a:gd name="T56" fmla="*/ 1597598515 w 1214"/>
                <a:gd name="T57" fmla="*/ 441129978 h 1257"/>
                <a:gd name="T58" fmla="*/ 1597598515 w 1214"/>
                <a:gd name="T59" fmla="*/ 611671392 h 1257"/>
                <a:gd name="T60" fmla="*/ 1661139497 w 1214"/>
                <a:gd name="T61" fmla="*/ 768567502 h 1257"/>
                <a:gd name="T62" fmla="*/ 1908494390 w 1214"/>
                <a:gd name="T63" fmla="*/ 959573290 h 1257"/>
                <a:gd name="T64" fmla="*/ 2031037498 w 1214"/>
                <a:gd name="T65" fmla="*/ 1084635386 h 1257"/>
                <a:gd name="T66" fmla="*/ 2139965543 w 1214"/>
                <a:gd name="T67" fmla="*/ 1130113196 h 1257"/>
                <a:gd name="T68" fmla="*/ 2147483647 w 1214"/>
                <a:gd name="T69" fmla="*/ 1337035050 h 1257"/>
                <a:gd name="T70" fmla="*/ 2094578481 w 1214"/>
                <a:gd name="T71" fmla="*/ 1368869065 h 1257"/>
                <a:gd name="T72" fmla="*/ 2046922744 w 1214"/>
                <a:gd name="T73" fmla="*/ 1446180891 h 1257"/>
                <a:gd name="T74" fmla="*/ 1831338343 w 1214"/>
                <a:gd name="T75" fmla="*/ 1616721174 h 1257"/>
                <a:gd name="T76" fmla="*/ 1815453097 w 1214"/>
                <a:gd name="T77" fmla="*/ 1823643027 h 1257"/>
                <a:gd name="T78" fmla="*/ 1922110960 w 1214"/>
                <a:gd name="T79" fmla="*/ 2044208676 h 1257"/>
                <a:gd name="T80" fmla="*/ 1767797360 w 1214"/>
                <a:gd name="T81" fmla="*/ 2089686487 h 1257"/>
                <a:gd name="T82" fmla="*/ 1597598515 w 1214"/>
                <a:gd name="T83" fmla="*/ 2012374661 h 1257"/>
                <a:gd name="T84" fmla="*/ 1472786354 w 1214"/>
                <a:gd name="T85" fmla="*/ 2012374661 h 1257"/>
                <a:gd name="T86" fmla="*/ 1316204079 w 1214"/>
                <a:gd name="T87" fmla="*/ 2107876707 h 1257"/>
                <a:gd name="T88" fmla="*/ 1116503417 w 1214"/>
                <a:gd name="T89" fmla="*/ 2147483647 h 1257"/>
                <a:gd name="T90" fmla="*/ 1039347371 w 1214"/>
                <a:gd name="T91" fmla="*/ 2147483647 h 1257"/>
                <a:gd name="T92" fmla="*/ 882763589 w 1214"/>
                <a:gd name="T93" fmla="*/ 2147483647 h 1257"/>
                <a:gd name="T94" fmla="*/ 739797696 w 1214"/>
                <a:gd name="T95" fmla="*/ 2121520502 h 1257"/>
                <a:gd name="T96" fmla="*/ 664910325 w 1214"/>
                <a:gd name="T97" fmla="*/ 2147483647 h 1257"/>
                <a:gd name="T98" fmla="*/ 542367216 w 1214"/>
                <a:gd name="T99" fmla="*/ 2147483647 h 1257"/>
                <a:gd name="T100" fmla="*/ 512865400 w 1214"/>
                <a:gd name="T101" fmla="*/ 2147483647 h 1257"/>
                <a:gd name="T102" fmla="*/ 385783341 w 1214"/>
                <a:gd name="T103" fmla="*/ 2137436756 h 1257"/>
                <a:gd name="T104" fmla="*/ 276856803 w 1214"/>
                <a:gd name="T105" fmla="*/ 2107876707 h 125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14"/>
                <a:gd name="T160" fmla="*/ 0 h 1257"/>
                <a:gd name="T161" fmla="*/ 1214 w 1214"/>
                <a:gd name="T162" fmla="*/ 1257 h 125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14" h="1257">
                  <a:moveTo>
                    <a:pt x="151" y="1138"/>
                  </a:moveTo>
                  <a:lnTo>
                    <a:pt x="177" y="1138"/>
                  </a:lnTo>
                  <a:lnTo>
                    <a:pt x="210" y="1112"/>
                  </a:lnTo>
                  <a:lnTo>
                    <a:pt x="227" y="1112"/>
                  </a:lnTo>
                  <a:lnTo>
                    <a:pt x="261" y="1112"/>
                  </a:lnTo>
                  <a:lnTo>
                    <a:pt x="270" y="1112"/>
                  </a:lnTo>
                  <a:lnTo>
                    <a:pt x="278" y="1104"/>
                  </a:lnTo>
                  <a:lnTo>
                    <a:pt x="278" y="1087"/>
                  </a:lnTo>
                  <a:lnTo>
                    <a:pt x="278" y="1061"/>
                  </a:lnTo>
                  <a:lnTo>
                    <a:pt x="278" y="1053"/>
                  </a:lnTo>
                  <a:lnTo>
                    <a:pt x="278" y="1027"/>
                  </a:lnTo>
                  <a:lnTo>
                    <a:pt x="270" y="1002"/>
                  </a:lnTo>
                  <a:lnTo>
                    <a:pt x="286" y="959"/>
                  </a:lnTo>
                  <a:lnTo>
                    <a:pt x="286" y="951"/>
                  </a:lnTo>
                  <a:lnTo>
                    <a:pt x="270" y="883"/>
                  </a:lnTo>
                  <a:lnTo>
                    <a:pt x="253" y="841"/>
                  </a:lnTo>
                  <a:lnTo>
                    <a:pt x="261" y="824"/>
                  </a:lnTo>
                  <a:lnTo>
                    <a:pt x="261" y="807"/>
                  </a:lnTo>
                  <a:lnTo>
                    <a:pt x="278" y="798"/>
                  </a:lnTo>
                  <a:lnTo>
                    <a:pt x="295" y="807"/>
                  </a:lnTo>
                  <a:lnTo>
                    <a:pt x="329" y="764"/>
                  </a:lnTo>
                  <a:lnTo>
                    <a:pt x="329" y="747"/>
                  </a:lnTo>
                  <a:lnTo>
                    <a:pt x="320" y="730"/>
                  </a:lnTo>
                  <a:lnTo>
                    <a:pt x="329" y="722"/>
                  </a:lnTo>
                  <a:lnTo>
                    <a:pt x="345" y="722"/>
                  </a:lnTo>
                  <a:lnTo>
                    <a:pt x="354" y="722"/>
                  </a:lnTo>
                  <a:lnTo>
                    <a:pt x="371" y="722"/>
                  </a:lnTo>
                  <a:lnTo>
                    <a:pt x="371" y="713"/>
                  </a:lnTo>
                  <a:lnTo>
                    <a:pt x="354" y="688"/>
                  </a:lnTo>
                  <a:lnTo>
                    <a:pt x="354" y="620"/>
                  </a:lnTo>
                  <a:lnTo>
                    <a:pt x="345" y="595"/>
                  </a:lnTo>
                  <a:lnTo>
                    <a:pt x="329" y="586"/>
                  </a:lnTo>
                  <a:lnTo>
                    <a:pt x="303" y="561"/>
                  </a:lnTo>
                  <a:lnTo>
                    <a:pt x="312" y="544"/>
                  </a:lnTo>
                  <a:lnTo>
                    <a:pt x="286" y="527"/>
                  </a:lnTo>
                  <a:lnTo>
                    <a:pt x="286" y="501"/>
                  </a:lnTo>
                  <a:lnTo>
                    <a:pt x="278" y="476"/>
                  </a:lnTo>
                  <a:lnTo>
                    <a:pt x="286" y="450"/>
                  </a:lnTo>
                  <a:lnTo>
                    <a:pt x="278" y="433"/>
                  </a:lnTo>
                  <a:lnTo>
                    <a:pt x="278" y="408"/>
                  </a:lnTo>
                  <a:lnTo>
                    <a:pt x="270" y="391"/>
                  </a:lnTo>
                  <a:lnTo>
                    <a:pt x="261" y="416"/>
                  </a:lnTo>
                  <a:lnTo>
                    <a:pt x="244" y="416"/>
                  </a:lnTo>
                  <a:lnTo>
                    <a:pt x="236" y="416"/>
                  </a:lnTo>
                  <a:lnTo>
                    <a:pt x="236" y="391"/>
                  </a:lnTo>
                  <a:lnTo>
                    <a:pt x="227" y="382"/>
                  </a:lnTo>
                  <a:lnTo>
                    <a:pt x="219" y="382"/>
                  </a:lnTo>
                  <a:lnTo>
                    <a:pt x="219" y="374"/>
                  </a:lnTo>
                  <a:lnTo>
                    <a:pt x="219" y="357"/>
                  </a:lnTo>
                  <a:lnTo>
                    <a:pt x="202" y="340"/>
                  </a:lnTo>
                  <a:lnTo>
                    <a:pt x="194" y="331"/>
                  </a:lnTo>
                  <a:lnTo>
                    <a:pt x="185" y="340"/>
                  </a:lnTo>
                  <a:lnTo>
                    <a:pt x="177" y="331"/>
                  </a:lnTo>
                  <a:lnTo>
                    <a:pt x="168" y="340"/>
                  </a:lnTo>
                  <a:lnTo>
                    <a:pt x="160" y="331"/>
                  </a:lnTo>
                  <a:lnTo>
                    <a:pt x="168" y="314"/>
                  </a:lnTo>
                  <a:lnTo>
                    <a:pt x="160" y="306"/>
                  </a:lnTo>
                  <a:lnTo>
                    <a:pt x="143" y="306"/>
                  </a:lnTo>
                  <a:lnTo>
                    <a:pt x="126" y="306"/>
                  </a:lnTo>
                  <a:lnTo>
                    <a:pt x="84" y="306"/>
                  </a:lnTo>
                  <a:lnTo>
                    <a:pt x="84" y="323"/>
                  </a:lnTo>
                  <a:lnTo>
                    <a:pt x="109" y="331"/>
                  </a:lnTo>
                  <a:lnTo>
                    <a:pt x="109" y="340"/>
                  </a:lnTo>
                  <a:lnTo>
                    <a:pt x="101" y="357"/>
                  </a:lnTo>
                  <a:lnTo>
                    <a:pt x="84" y="357"/>
                  </a:lnTo>
                  <a:lnTo>
                    <a:pt x="67" y="374"/>
                  </a:lnTo>
                  <a:lnTo>
                    <a:pt x="33" y="382"/>
                  </a:lnTo>
                  <a:lnTo>
                    <a:pt x="17" y="374"/>
                  </a:lnTo>
                  <a:lnTo>
                    <a:pt x="25" y="357"/>
                  </a:lnTo>
                  <a:lnTo>
                    <a:pt x="25" y="348"/>
                  </a:lnTo>
                  <a:lnTo>
                    <a:pt x="42" y="331"/>
                  </a:lnTo>
                  <a:lnTo>
                    <a:pt x="42" y="306"/>
                  </a:lnTo>
                  <a:lnTo>
                    <a:pt x="25" y="280"/>
                  </a:lnTo>
                  <a:lnTo>
                    <a:pt x="17" y="280"/>
                  </a:lnTo>
                  <a:lnTo>
                    <a:pt x="8" y="247"/>
                  </a:lnTo>
                  <a:lnTo>
                    <a:pt x="17" y="213"/>
                  </a:lnTo>
                  <a:lnTo>
                    <a:pt x="0" y="196"/>
                  </a:lnTo>
                  <a:lnTo>
                    <a:pt x="17" y="179"/>
                  </a:lnTo>
                  <a:lnTo>
                    <a:pt x="25" y="170"/>
                  </a:lnTo>
                  <a:lnTo>
                    <a:pt x="33" y="170"/>
                  </a:lnTo>
                  <a:lnTo>
                    <a:pt x="42" y="170"/>
                  </a:lnTo>
                  <a:lnTo>
                    <a:pt x="50" y="170"/>
                  </a:lnTo>
                  <a:lnTo>
                    <a:pt x="84" y="162"/>
                  </a:lnTo>
                  <a:lnTo>
                    <a:pt x="109" y="187"/>
                  </a:lnTo>
                  <a:lnTo>
                    <a:pt x="126" y="170"/>
                  </a:lnTo>
                  <a:lnTo>
                    <a:pt x="135" y="162"/>
                  </a:lnTo>
                  <a:lnTo>
                    <a:pt x="126" y="145"/>
                  </a:lnTo>
                  <a:lnTo>
                    <a:pt x="126" y="128"/>
                  </a:lnTo>
                  <a:lnTo>
                    <a:pt x="160" y="128"/>
                  </a:lnTo>
                  <a:lnTo>
                    <a:pt x="168" y="111"/>
                  </a:lnTo>
                  <a:lnTo>
                    <a:pt x="185" y="111"/>
                  </a:lnTo>
                  <a:lnTo>
                    <a:pt x="194" y="77"/>
                  </a:lnTo>
                  <a:lnTo>
                    <a:pt x="194" y="60"/>
                  </a:lnTo>
                  <a:lnTo>
                    <a:pt x="219" y="68"/>
                  </a:lnTo>
                  <a:lnTo>
                    <a:pt x="236" y="60"/>
                  </a:lnTo>
                  <a:lnTo>
                    <a:pt x="261" y="17"/>
                  </a:lnTo>
                  <a:lnTo>
                    <a:pt x="278" y="0"/>
                  </a:lnTo>
                  <a:lnTo>
                    <a:pt x="286" y="9"/>
                  </a:lnTo>
                  <a:lnTo>
                    <a:pt x="295" y="9"/>
                  </a:lnTo>
                  <a:lnTo>
                    <a:pt x="329" y="43"/>
                  </a:lnTo>
                  <a:lnTo>
                    <a:pt x="345" y="60"/>
                  </a:lnTo>
                  <a:lnTo>
                    <a:pt x="362" y="68"/>
                  </a:lnTo>
                  <a:lnTo>
                    <a:pt x="379" y="85"/>
                  </a:lnTo>
                  <a:lnTo>
                    <a:pt x="388" y="102"/>
                  </a:lnTo>
                  <a:lnTo>
                    <a:pt x="388" y="119"/>
                  </a:lnTo>
                  <a:lnTo>
                    <a:pt x="413" y="136"/>
                  </a:lnTo>
                  <a:lnTo>
                    <a:pt x="421" y="136"/>
                  </a:lnTo>
                  <a:lnTo>
                    <a:pt x="430" y="128"/>
                  </a:lnTo>
                  <a:lnTo>
                    <a:pt x="455" y="119"/>
                  </a:lnTo>
                  <a:lnTo>
                    <a:pt x="455" y="111"/>
                  </a:lnTo>
                  <a:lnTo>
                    <a:pt x="421" y="94"/>
                  </a:lnTo>
                  <a:lnTo>
                    <a:pt x="413" y="85"/>
                  </a:lnTo>
                  <a:lnTo>
                    <a:pt x="421" y="77"/>
                  </a:lnTo>
                  <a:lnTo>
                    <a:pt x="430" y="77"/>
                  </a:lnTo>
                  <a:lnTo>
                    <a:pt x="447" y="68"/>
                  </a:lnTo>
                  <a:lnTo>
                    <a:pt x="480" y="68"/>
                  </a:lnTo>
                  <a:lnTo>
                    <a:pt x="480" y="85"/>
                  </a:lnTo>
                  <a:lnTo>
                    <a:pt x="497" y="77"/>
                  </a:lnTo>
                  <a:lnTo>
                    <a:pt x="523" y="85"/>
                  </a:lnTo>
                  <a:lnTo>
                    <a:pt x="523" y="94"/>
                  </a:lnTo>
                  <a:lnTo>
                    <a:pt x="523" y="102"/>
                  </a:lnTo>
                  <a:lnTo>
                    <a:pt x="539" y="111"/>
                  </a:lnTo>
                  <a:lnTo>
                    <a:pt x="548" y="111"/>
                  </a:lnTo>
                  <a:lnTo>
                    <a:pt x="556" y="102"/>
                  </a:lnTo>
                  <a:lnTo>
                    <a:pt x="556" y="77"/>
                  </a:lnTo>
                  <a:lnTo>
                    <a:pt x="556" y="43"/>
                  </a:lnTo>
                  <a:lnTo>
                    <a:pt x="548" y="34"/>
                  </a:lnTo>
                  <a:lnTo>
                    <a:pt x="582" y="17"/>
                  </a:lnTo>
                  <a:lnTo>
                    <a:pt x="590" y="17"/>
                  </a:lnTo>
                  <a:lnTo>
                    <a:pt x="590" y="43"/>
                  </a:lnTo>
                  <a:lnTo>
                    <a:pt x="615" y="60"/>
                  </a:lnTo>
                  <a:lnTo>
                    <a:pt x="649" y="60"/>
                  </a:lnTo>
                  <a:lnTo>
                    <a:pt x="691" y="51"/>
                  </a:lnTo>
                  <a:lnTo>
                    <a:pt x="691" y="60"/>
                  </a:lnTo>
                  <a:lnTo>
                    <a:pt x="716" y="51"/>
                  </a:lnTo>
                  <a:lnTo>
                    <a:pt x="733" y="77"/>
                  </a:lnTo>
                  <a:lnTo>
                    <a:pt x="759" y="85"/>
                  </a:lnTo>
                  <a:lnTo>
                    <a:pt x="759" y="111"/>
                  </a:lnTo>
                  <a:lnTo>
                    <a:pt x="759" y="119"/>
                  </a:lnTo>
                  <a:lnTo>
                    <a:pt x="784" y="145"/>
                  </a:lnTo>
                  <a:lnTo>
                    <a:pt x="784" y="162"/>
                  </a:lnTo>
                  <a:lnTo>
                    <a:pt x="818" y="196"/>
                  </a:lnTo>
                  <a:lnTo>
                    <a:pt x="843" y="213"/>
                  </a:lnTo>
                  <a:lnTo>
                    <a:pt x="860" y="230"/>
                  </a:lnTo>
                  <a:lnTo>
                    <a:pt x="868" y="238"/>
                  </a:lnTo>
                  <a:lnTo>
                    <a:pt x="860" y="263"/>
                  </a:lnTo>
                  <a:lnTo>
                    <a:pt x="843" y="272"/>
                  </a:lnTo>
                  <a:lnTo>
                    <a:pt x="851" y="280"/>
                  </a:lnTo>
                  <a:lnTo>
                    <a:pt x="835" y="306"/>
                  </a:lnTo>
                  <a:lnTo>
                    <a:pt x="868" y="331"/>
                  </a:lnTo>
                  <a:lnTo>
                    <a:pt x="868" y="348"/>
                  </a:lnTo>
                  <a:lnTo>
                    <a:pt x="885" y="357"/>
                  </a:lnTo>
                  <a:lnTo>
                    <a:pt x="885" y="374"/>
                  </a:lnTo>
                  <a:lnTo>
                    <a:pt x="902" y="391"/>
                  </a:lnTo>
                  <a:lnTo>
                    <a:pt x="902" y="416"/>
                  </a:lnTo>
                  <a:lnTo>
                    <a:pt x="919" y="433"/>
                  </a:lnTo>
                  <a:lnTo>
                    <a:pt x="936" y="450"/>
                  </a:lnTo>
                  <a:lnTo>
                    <a:pt x="978" y="459"/>
                  </a:lnTo>
                  <a:lnTo>
                    <a:pt x="995" y="476"/>
                  </a:lnTo>
                  <a:lnTo>
                    <a:pt x="1037" y="518"/>
                  </a:lnTo>
                  <a:lnTo>
                    <a:pt x="1037" y="527"/>
                  </a:lnTo>
                  <a:lnTo>
                    <a:pt x="1045" y="535"/>
                  </a:lnTo>
                  <a:lnTo>
                    <a:pt x="1071" y="544"/>
                  </a:lnTo>
                  <a:lnTo>
                    <a:pt x="1088" y="552"/>
                  </a:lnTo>
                  <a:lnTo>
                    <a:pt x="1104" y="586"/>
                  </a:lnTo>
                  <a:lnTo>
                    <a:pt x="1113" y="595"/>
                  </a:lnTo>
                  <a:lnTo>
                    <a:pt x="1121" y="595"/>
                  </a:lnTo>
                  <a:lnTo>
                    <a:pt x="1130" y="586"/>
                  </a:lnTo>
                  <a:lnTo>
                    <a:pt x="1147" y="595"/>
                  </a:lnTo>
                  <a:lnTo>
                    <a:pt x="1163" y="611"/>
                  </a:lnTo>
                  <a:lnTo>
                    <a:pt x="1189" y="628"/>
                  </a:lnTo>
                  <a:lnTo>
                    <a:pt x="1206" y="654"/>
                  </a:lnTo>
                  <a:lnTo>
                    <a:pt x="1197" y="679"/>
                  </a:lnTo>
                  <a:lnTo>
                    <a:pt x="1214" y="688"/>
                  </a:lnTo>
                  <a:lnTo>
                    <a:pt x="1206" y="722"/>
                  </a:lnTo>
                  <a:lnTo>
                    <a:pt x="1197" y="739"/>
                  </a:lnTo>
                  <a:lnTo>
                    <a:pt x="1180" y="756"/>
                  </a:lnTo>
                  <a:lnTo>
                    <a:pt x="1172" y="747"/>
                  </a:lnTo>
                  <a:lnTo>
                    <a:pt x="1163" y="747"/>
                  </a:lnTo>
                  <a:lnTo>
                    <a:pt x="1138" y="739"/>
                  </a:lnTo>
                  <a:lnTo>
                    <a:pt x="1130" y="739"/>
                  </a:lnTo>
                  <a:lnTo>
                    <a:pt x="1113" y="747"/>
                  </a:lnTo>
                  <a:lnTo>
                    <a:pt x="1113" y="764"/>
                  </a:lnTo>
                  <a:lnTo>
                    <a:pt x="1104" y="773"/>
                  </a:lnTo>
                  <a:lnTo>
                    <a:pt x="1113" y="781"/>
                  </a:lnTo>
                  <a:lnTo>
                    <a:pt x="1104" y="815"/>
                  </a:lnTo>
                  <a:lnTo>
                    <a:pt x="1088" y="832"/>
                  </a:lnTo>
                  <a:lnTo>
                    <a:pt x="1045" y="849"/>
                  </a:lnTo>
                  <a:lnTo>
                    <a:pt x="1012" y="866"/>
                  </a:lnTo>
                  <a:lnTo>
                    <a:pt x="995" y="875"/>
                  </a:lnTo>
                  <a:lnTo>
                    <a:pt x="978" y="892"/>
                  </a:lnTo>
                  <a:lnTo>
                    <a:pt x="944" y="917"/>
                  </a:lnTo>
                  <a:lnTo>
                    <a:pt x="969" y="959"/>
                  </a:lnTo>
                  <a:lnTo>
                    <a:pt x="978" y="976"/>
                  </a:lnTo>
                  <a:lnTo>
                    <a:pt x="986" y="985"/>
                  </a:lnTo>
                  <a:lnTo>
                    <a:pt x="1012" y="1010"/>
                  </a:lnTo>
                  <a:lnTo>
                    <a:pt x="995" y="1070"/>
                  </a:lnTo>
                  <a:lnTo>
                    <a:pt x="1012" y="1070"/>
                  </a:lnTo>
                  <a:lnTo>
                    <a:pt x="1020" y="1070"/>
                  </a:lnTo>
                  <a:lnTo>
                    <a:pt x="1045" y="1104"/>
                  </a:lnTo>
                  <a:lnTo>
                    <a:pt x="1028" y="1129"/>
                  </a:lnTo>
                  <a:lnTo>
                    <a:pt x="1037" y="1155"/>
                  </a:lnTo>
                  <a:lnTo>
                    <a:pt x="1020" y="1163"/>
                  </a:lnTo>
                  <a:lnTo>
                    <a:pt x="1012" y="1163"/>
                  </a:lnTo>
                  <a:lnTo>
                    <a:pt x="961" y="1129"/>
                  </a:lnTo>
                  <a:lnTo>
                    <a:pt x="969" y="1112"/>
                  </a:lnTo>
                  <a:lnTo>
                    <a:pt x="953" y="1095"/>
                  </a:lnTo>
                  <a:lnTo>
                    <a:pt x="936" y="1095"/>
                  </a:lnTo>
                  <a:lnTo>
                    <a:pt x="894" y="1112"/>
                  </a:lnTo>
                  <a:lnTo>
                    <a:pt x="868" y="1087"/>
                  </a:lnTo>
                  <a:lnTo>
                    <a:pt x="843" y="1087"/>
                  </a:lnTo>
                  <a:lnTo>
                    <a:pt x="826" y="1095"/>
                  </a:lnTo>
                  <a:lnTo>
                    <a:pt x="826" y="1087"/>
                  </a:lnTo>
                  <a:lnTo>
                    <a:pt x="826" y="1070"/>
                  </a:lnTo>
                  <a:lnTo>
                    <a:pt x="801" y="1087"/>
                  </a:lnTo>
                  <a:lnTo>
                    <a:pt x="809" y="1112"/>
                  </a:lnTo>
                  <a:lnTo>
                    <a:pt x="792" y="1121"/>
                  </a:lnTo>
                  <a:lnTo>
                    <a:pt x="750" y="1121"/>
                  </a:lnTo>
                  <a:lnTo>
                    <a:pt x="725" y="1121"/>
                  </a:lnTo>
                  <a:lnTo>
                    <a:pt x="716" y="1138"/>
                  </a:lnTo>
                  <a:lnTo>
                    <a:pt x="674" y="1138"/>
                  </a:lnTo>
                  <a:lnTo>
                    <a:pt x="666" y="1138"/>
                  </a:lnTo>
                  <a:lnTo>
                    <a:pt x="649" y="1163"/>
                  </a:lnTo>
                  <a:lnTo>
                    <a:pt x="632" y="1163"/>
                  </a:lnTo>
                  <a:lnTo>
                    <a:pt x="607" y="1172"/>
                  </a:lnTo>
                  <a:lnTo>
                    <a:pt x="607" y="1180"/>
                  </a:lnTo>
                  <a:lnTo>
                    <a:pt x="598" y="1189"/>
                  </a:lnTo>
                  <a:lnTo>
                    <a:pt x="582" y="1206"/>
                  </a:lnTo>
                  <a:lnTo>
                    <a:pt x="565" y="1206"/>
                  </a:lnTo>
                  <a:lnTo>
                    <a:pt x="565" y="1197"/>
                  </a:lnTo>
                  <a:lnTo>
                    <a:pt x="539" y="1206"/>
                  </a:lnTo>
                  <a:lnTo>
                    <a:pt x="497" y="1206"/>
                  </a:lnTo>
                  <a:lnTo>
                    <a:pt x="497" y="1197"/>
                  </a:lnTo>
                  <a:lnTo>
                    <a:pt x="497" y="1180"/>
                  </a:lnTo>
                  <a:lnTo>
                    <a:pt x="480" y="1180"/>
                  </a:lnTo>
                  <a:lnTo>
                    <a:pt x="480" y="1163"/>
                  </a:lnTo>
                  <a:lnTo>
                    <a:pt x="480" y="1155"/>
                  </a:lnTo>
                  <a:lnTo>
                    <a:pt x="472" y="1155"/>
                  </a:lnTo>
                  <a:lnTo>
                    <a:pt x="455" y="1163"/>
                  </a:lnTo>
                  <a:lnTo>
                    <a:pt x="404" y="1146"/>
                  </a:lnTo>
                  <a:lnTo>
                    <a:pt x="388" y="1155"/>
                  </a:lnTo>
                  <a:lnTo>
                    <a:pt x="379" y="1155"/>
                  </a:lnTo>
                  <a:lnTo>
                    <a:pt x="371" y="1138"/>
                  </a:lnTo>
                  <a:lnTo>
                    <a:pt x="371" y="1146"/>
                  </a:lnTo>
                  <a:lnTo>
                    <a:pt x="362" y="1172"/>
                  </a:lnTo>
                  <a:lnTo>
                    <a:pt x="371" y="1180"/>
                  </a:lnTo>
                  <a:lnTo>
                    <a:pt x="371" y="1197"/>
                  </a:lnTo>
                  <a:lnTo>
                    <a:pt x="329" y="1248"/>
                  </a:lnTo>
                  <a:lnTo>
                    <a:pt x="303" y="1257"/>
                  </a:lnTo>
                  <a:lnTo>
                    <a:pt x="295" y="1257"/>
                  </a:lnTo>
                  <a:lnTo>
                    <a:pt x="303" y="1248"/>
                  </a:lnTo>
                  <a:lnTo>
                    <a:pt x="303" y="1231"/>
                  </a:lnTo>
                  <a:lnTo>
                    <a:pt x="312" y="1223"/>
                  </a:lnTo>
                  <a:lnTo>
                    <a:pt x="303" y="1223"/>
                  </a:lnTo>
                  <a:lnTo>
                    <a:pt x="278" y="1223"/>
                  </a:lnTo>
                  <a:lnTo>
                    <a:pt x="270" y="1223"/>
                  </a:lnTo>
                  <a:lnTo>
                    <a:pt x="278" y="1197"/>
                  </a:lnTo>
                  <a:lnTo>
                    <a:pt x="261" y="1180"/>
                  </a:lnTo>
                  <a:lnTo>
                    <a:pt x="236" y="1155"/>
                  </a:lnTo>
                  <a:lnTo>
                    <a:pt x="210" y="1155"/>
                  </a:lnTo>
                  <a:lnTo>
                    <a:pt x="202" y="1138"/>
                  </a:lnTo>
                  <a:lnTo>
                    <a:pt x="194" y="1138"/>
                  </a:lnTo>
                  <a:lnTo>
                    <a:pt x="177" y="1155"/>
                  </a:lnTo>
                  <a:lnTo>
                    <a:pt x="151" y="1155"/>
                  </a:lnTo>
                  <a:lnTo>
                    <a:pt x="151" y="1138"/>
                  </a:lnTo>
                </a:path>
              </a:pathLst>
            </a:custGeom>
            <a:grpFill/>
            <a:ln w="9525" cmpd="sng" algn="ctr">
              <a:solidFill>
                <a:schemeClr val="bg1"/>
              </a:solidFill>
              <a:round/>
              <a:headEnd/>
              <a:tailEnd/>
            </a:ln>
          </p:spPr>
          <p:txBody>
            <a:bodyPr wrap="none" lIns="79747" tIns="39873" rIns="79747" bIns="39873" anchor="ctr"/>
            <a:ls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477" dirty="0"/>
            </a:p>
          </p:txBody>
        </p:sp>
        <p:sp>
          <p:nvSpPr>
            <p:cNvPr id="50" name="Baden-Württemberg">
              <a:extLst>
                <a:ext uri="{FF2B5EF4-FFF2-40B4-BE49-F238E27FC236}">
                  <a16:creationId xmlns:a16="http://schemas.microsoft.com/office/drawing/2014/main" id="{EDFD8913-3749-4D3B-997D-821A476D5452}"/>
                </a:ext>
              </a:extLst>
            </p:cNvPr>
            <p:cNvSpPr>
              <a:spLocks/>
            </p:cNvSpPr>
            <p:nvPr/>
          </p:nvSpPr>
          <p:spPr bwMode="auto">
            <a:xfrm>
              <a:off x="3635869" y="4598194"/>
              <a:ext cx="1044819" cy="1279525"/>
            </a:xfrm>
            <a:custGeom>
              <a:avLst/>
              <a:gdLst>
                <a:gd name="T0" fmla="*/ 888185518 w 751"/>
                <a:gd name="T1" fmla="*/ 95396196 h 849"/>
                <a:gd name="T2" fmla="*/ 858653952 w 751"/>
                <a:gd name="T3" fmla="*/ 29527040 h 849"/>
                <a:gd name="T4" fmla="*/ 965419140 w 751"/>
                <a:gd name="T5" fmla="*/ 0 h 849"/>
                <a:gd name="T6" fmla="*/ 997220510 w 751"/>
                <a:gd name="T7" fmla="*/ 47698098 h 849"/>
                <a:gd name="T8" fmla="*/ 1042651254 w 751"/>
                <a:gd name="T9" fmla="*/ 61326780 h 849"/>
                <a:gd name="T10" fmla="*/ 1106255502 w 751"/>
                <a:gd name="T11" fmla="*/ 95396196 h 849"/>
                <a:gd name="T12" fmla="*/ 1119884876 w 751"/>
                <a:gd name="T13" fmla="*/ 140823111 h 849"/>
                <a:gd name="T14" fmla="*/ 1151687753 w 751"/>
                <a:gd name="T15" fmla="*/ 202149915 h 849"/>
                <a:gd name="T16" fmla="*/ 1215292001 w 751"/>
                <a:gd name="T17" fmla="*/ 188521198 h 849"/>
                <a:gd name="T18" fmla="*/ 1215292001 w 751"/>
                <a:gd name="T19" fmla="*/ 313444445 h 849"/>
                <a:gd name="T20" fmla="*/ 1276623430 w 751"/>
                <a:gd name="T21" fmla="*/ 440640440 h 849"/>
                <a:gd name="T22" fmla="*/ 1337956366 w 751"/>
                <a:gd name="T23" fmla="*/ 531494224 h 849"/>
                <a:gd name="T24" fmla="*/ 1385659929 w 751"/>
                <a:gd name="T25" fmla="*/ 747271208 h 849"/>
                <a:gd name="T26" fmla="*/ 1337956366 w 751"/>
                <a:gd name="T27" fmla="*/ 767713461 h 849"/>
                <a:gd name="T28" fmla="*/ 1308426307 w 751"/>
                <a:gd name="T29" fmla="*/ 815411735 h 849"/>
                <a:gd name="T30" fmla="*/ 1215292001 w 751"/>
                <a:gd name="T31" fmla="*/ 908536713 h 849"/>
                <a:gd name="T32" fmla="*/ 1169859749 w 751"/>
                <a:gd name="T33" fmla="*/ 988033021 h 849"/>
                <a:gd name="T34" fmla="*/ 1228921375 w 751"/>
                <a:gd name="T35" fmla="*/ 1206081199 h 849"/>
                <a:gd name="T36" fmla="*/ 1215292001 w 751"/>
                <a:gd name="T37" fmla="*/ 1378703992 h 849"/>
                <a:gd name="T38" fmla="*/ 1215292001 w 751"/>
                <a:gd name="T39" fmla="*/ 1474100164 h 849"/>
                <a:gd name="T40" fmla="*/ 1119884876 w 751"/>
                <a:gd name="T41" fmla="*/ 1485456134 h 849"/>
                <a:gd name="T42" fmla="*/ 979048514 w 751"/>
                <a:gd name="T43" fmla="*/ 1535425414 h 849"/>
                <a:gd name="T44" fmla="*/ 810951896 w 751"/>
                <a:gd name="T45" fmla="*/ 1485456134 h 849"/>
                <a:gd name="T46" fmla="*/ 704188027 w 751"/>
                <a:gd name="T47" fmla="*/ 1474100164 h 849"/>
                <a:gd name="T48" fmla="*/ 624683095 w 751"/>
                <a:gd name="T49" fmla="*/ 1455929106 h 849"/>
                <a:gd name="T50" fmla="*/ 561078847 w 751"/>
                <a:gd name="T51" fmla="*/ 1455929106 h 849"/>
                <a:gd name="T52" fmla="*/ 497474599 w 751"/>
                <a:gd name="T53" fmla="*/ 1378703992 h 849"/>
                <a:gd name="T54" fmla="*/ 420240978 w 751"/>
                <a:gd name="T55" fmla="*/ 1437758048 h 849"/>
                <a:gd name="T56" fmla="*/ 497474599 w 751"/>
                <a:gd name="T57" fmla="*/ 1485456134 h 849"/>
                <a:gd name="T58" fmla="*/ 497474599 w 751"/>
                <a:gd name="T59" fmla="*/ 1535425414 h 849"/>
                <a:gd name="T60" fmla="*/ 420240978 w 751"/>
                <a:gd name="T61" fmla="*/ 1551325278 h 849"/>
                <a:gd name="T62" fmla="*/ 295305207 w 751"/>
                <a:gd name="T63" fmla="*/ 1514983162 h 849"/>
                <a:gd name="T64" fmla="*/ 172639287 w 751"/>
                <a:gd name="T65" fmla="*/ 1535425414 h 849"/>
                <a:gd name="T66" fmla="*/ 95405641 w 751"/>
                <a:gd name="T67" fmla="*/ 1551325278 h 849"/>
                <a:gd name="T68" fmla="*/ 61332960 w 751"/>
                <a:gd name="T69" fmla="*/ 1514983162 h 849"/>
                <a:gd name="T70" fmla="*/ 0 w 751"/>
                <a:gd name="T71" fmla="*/ 1474100164 h 849"/>
                <a:gd name="T72" fmla="*/ 20444820 w 751"/>
                <a:gd name="T73" fmla="*/ 1378703992 h 849"/>
                <a:gd name="T74" fmla="*/ 29530071 w 751"/>
                <a:gd name="T75" fmla="*/ 1299206177 h 849"/>
                <a:gd name="T76" fmla="*/ 47703574 w 751"/>
                <a:gd name="T77" fmla="*/ 1219709870 h 849"/>
                <a:gd name="T78" fmla="*/ 77233645 w 751"/>
                <a:gd name="T79" fmla="*/ 1081157999 h 849"/>
                <a:gd name="T80" fmla="*/ 127208542 w 751"/>
                <a:gd name="T81" fmla="*/ 999388991 h 849"/>
                <a:gd name="T82" fmla="*/ 140837916 w 751"/>
                <a:gd name="T83" fmla="*/ 874465791 h 849"/>
                <a:gd name="T84" fmla="*/ 218071585 w 751"/>
                <a:gd name="T85" fmla="*/ 717744181 h 849"/>
                <a:gd name="T86" fmla="*/ 279403014 w 751"/>
                <a:gd name="T87" fmla="*/ 672317288 h 849"/>
                <a:gd name="T88" fmla="*/ 388439513 w 751"/>
                <a:gd name="T89" fmla="*/ 501965689 h 849"/>
                <a:gd name="T90" fmla="*/ 452042348 w 751"/>
                <a:gd name="T91" fmla="*/ 313444445 h 849"/>
                <a:gd name="T92" fmla="*/ 452042348 w 751"/>
                <a:gd name="T93" fmla="*/ 220319466 h 849"/>
                <a:gd name="T94" fmla="*/ 452042348 w 751"/>
                <a:gd name="T95" fmla="*/ 140823111 h 849"/>
                <a:gd name="T96" fmla="*/ 513375284 w 751"/>
                <a:gd name="T97" fmla="*/ 156722976 h 849"/>
                <a:gd name="T98" fmla="*/ 561078847 w 751"/>
                <a:gd name="T99" fmla="*/ 106753696 h 849"/>
                <a:gd name="T100" fmla="*/ 624683095 w 751"/>
                <a:gd name="T101" fmla="*/ 172621333 h 849"/>
                <a:gd name="T102" fmla="*/ 636039650 w 751"/>
                <a:gd name="T103" fmla="*/ 249848001 h 849"/>
                <a:gd name="T104" fmla="*/ 683743213 w 751"/>
                <a:gd name="T105" fmla="*/ 202149915 h 849"/>
                <a:gd name="T106" fmla="*/ 826852581 w 751"/>
                <a:gd name="T107" fmla="*/ 127194441 h 84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51"/>
                <a:gd name="T163" fmla="*/ 0 h 849"/>
                <a:gd name="T164" fmla="*/ 751 w 751"/>
                <a:gd name="T165" fmla="*/ 849 h 84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51" h="849">
                  <a:moveTo>
                    <a:pt x="447" y="68"/>
                  </a:moveTo>
                  <a:lnTo>
                    <a:pt x="464" y="51"/>
                  </a:lnTo>
                  <a:lnTo>
                    <a:pt x="481" y="51"/>
                  </a:lnTo>
                  <a:lnTo>
                    <a:pt x="489" y="34"/>
                  </a:lnTo>
                  <a:lnTo>
                    <a:pt x="489" y="25"/>
                  </a:lnTo>
                  <a:lnTo>
                    <a:pt x="464" y="17"/>
                  </a:lnTo>
                  <a:lnTo>
                    <a:pt x="464" y="0"/>
                  </a:lnTo>
                  <a:lnTo>
                    <a:pt x="506" y="0"/>
                  </a:lnTo>
                  <a:lnTo>
                    <a:pt x="523" y="0"/>
                  </a:lnTo>
                  <a:lnTo>
                    <a:pt x="540" y="0"/>
                  </a:lnTo>
                  <a:lnTo>
                    <a:pt x="548" y="8"/>
                  </a:lnTo>
                  <a:lnTo>
                    <a:pt x="540" y="25"/>
                  </a:lnTo>
                  <a:lnTo>
                    <a:pt x="548" y="34"/>
                  </a:lnTo>
                  <a:lnTo>
                    <a:pt x="557" y="25"/>
                  </a:lnTo>
                  <a:lnTo>
                    <a:pt x="565" y="34"/>
                  </a:lnTo>
                  <a:lnTo>
                    <a:pt x="574" y="25"/>
                  </a:lnTo>
                  <a:lnTo>
                    <a:pt x="582" y="34"/>
                  </a:lnTo>
                  <a:lnTo>
                    <a:pt x="599" y="51"/>
                  </a:lnTo>
                  <a:lnTo>
                    <a:pt x="599" y="68"/>
                  </a:lnTo>
                  <a:lnTo>
                    <a:pt x="599" y="76"/>
                  </a:lnTo>
                  <a:lnTo>
                    <a:pt x="607" y="76"/>
                  </a:lnTo>
                  <a:lnTo>
                    <a:pt x="616" y="85"/>
                  </a:lnTo>
                  <a:lnTo>
                    <a:pt x="616" y="110"/>
                  </a:lnTo>
                  <a:lnTo>
                    <a:pt x="624" y="110"/>
                  </a:lnTo>
                  <a:lnTo>
                    <a:pt x="641" y="110"/>
                  </a:lnTo>
                  <a:lnTo>
                    <a:pt x="650" y="85"/>
                  </a:lnTo>
                  <a:lnTo>
                    <a:pt x="658" y="102"/>
                  </a:lnTo>
                  <a:lnTo>
                    <a:pt x="658" y="127"/>
                  </a:lnTo>
                  <a:lnTo>
                    <a:pt x="666" y="144"/>
                  </a:lnTo>
                  <a:lnTo>
                    <a:pt x="658" y="170"/>
                  </a:lnTo>
                  <a:lnTo>
                    <a:pt x="666" y="195"/>
                  </a:lnTo>
                  <a:lnTo>
                    <a:pt x="666" y="221"/>
                  </a:lnTo>
                  <a:lnTo>
                    <a:pt x="692" y="238"/>
                  </a:lnTo>
                  <a:lnTo>
                    <a:pt x="683" y="255"/>
                  </a:lnTo>
                  <a:lnTo>
                    <a:pt x="709" y="280"/>
                  </a:lnTo>
                  <a:lnTo>
                    <a:pt x="725" y="289"/>
                  </a:lnTo>
                  <a:lnTo>
                    <a:pt x="734" y="314"/>
                  </a:lnTo>
                  <a:lnTo>
                    <a:pt x="734" y="382"/>
                  </a:lnTo>
                  <a:lnTo>
                    <a:pt x="751" y="407"/>
                  </a:lnTo>
                  <a:lnTo>
                    <a:pt x="751" y="416"/>
                  </a:lnTo>
                  <a:lnTo>
                    <a:pt x="734" y="416"/>
                  </a:lnTo>
                  <a:lnTo>
                    <a:pt x="725" y="416"/>
                  </a:lnTo>
                  <a:lnTo>
                    <a:pt x="709" y="416"/>
                  </a:lnTo>
                  <a:lnTo>
                    <a:pt x="700" y="424"/>
                  </a:lnTo>
                  <a:lnTo>
                    <a:pt x="709" y="441"/>
                  </a:lnTo>
                  <a:lnTo>
                    <a:pt x="709" y="458"/>
                  </a:lnTo>
                  <a:lnTo>
                    <a:pt x="675" y="501"/>
                  </a:lnTo>
                  <a:lnTo>
                    <a:pt x="658" y="492"/>
                  </a:lnTo>
                  <a:lnTo>
                    <a:pt x="641" y="501"/>
                  </a:lnTo>
                  <a:lnTo>
                    <a:pt x="641" y="518"/>
                  </a:lnTo>
                  <a:lnTo>
                    <a:pt x="633" y="535"/>
                  </a:lnTo>
                  <a:lnTo>
                    <a:pt x="650" y="577"/>
                  </a:lnTo>
                  <a:lnTo>
                    <a:pt x="666" y="645"/>
                  </a:lnTo>
                  <a:lnTo>
                    <a:pt x="666" y="653"/>
                  </a:lnTo>
                  <a:lnTo>
                    <a:pt x="650" y="696"/>
                  </a:lnTo>
                  <a:lnTo>
                    <a:pt x="658" y="721"/>
                  </a:lnTo>
                  <a:lnTo>
                    <a:pt x="658" y="747"/>
                  </a:lnTo>
                  <a:lnTo>
                    <a:pt x="658" y="755"/>
                  </a:lnTo>
                  <a:lnTo>
                    <a:pt x="658" y="781"/>
                  </a:lnTo>
                  <a:lnTo>
                    <a:pt x="658" y="798"/>
                  </a:lnTo>
                  <a:lnTo>
                    <a:pt x="650" y="806"/>
                  </a:lnTo>
                  <a:lnTo>
                    <a:pt x="641" y="806"/>
                  </a:lnTo>
                  <a:lnTo>
                    <a:pt x="607" y="806"/>
                  </a:lnTo>
                  <a:lnTo>
                    <a:pt x="590" y="806"/>
                  </a:lnTo>
                  <a:lnTo>
                    <a:pt x="557" y="832"/>
                  </a:lnTo>
                  <a:lnTo>
                    <a:pt x="531" y="832"/>
                  </a:lnTo>
                  <a:lnTo>
                    <a:pt x="531" y="849"/>
                  </a:lnTo>
                  <a:lnTo>
                    <a:pt x="481" y="832"/>
                  </a:lnTo>
                  <a:lnTo>
                    <a:pt x="439" y="806"/>
                  </a:lnTo>
                  <a:lnTo>
                    <a:pt x="422" y="806"/>
                  </a:lnTo>
                  <a:lnTo>
                    <a:pt x="413" y="806"/>
                  </a:lnTo>
                  <a:lnTo>
                    <a:pt x="380" y="798"/>
                  </a:lnTo>
                  <a:lnTo>
                    <a:pt x="354" y="806"/>
                  </a:lnTo>
                  <a:lnTo>
                    <a:pt x="346" y="806"/>
                  </a:lnTo>
                  <a:lnTo>
                    <a:pt x="338" y="789"/>
                  </a:lnTo>
                  <a:lnTo>
                    <a:pt x="329" y="789"/>
                  </a:lnTo>
                  <a:lnTo>
                    <a:pt x="312" y="789"/>
                  </a:lnTo>
                  <a:lnTo>
                    <a:pt x="304" y="789"/>
                  </a:lnTo>
                  <a:lnTo>
                    <a:pt x="295" y="789"/>
                  </a:lnTo>
                  <a:lnTo>
                    <a:pt x="312" y="764"/>
                  </a:lnTo>
                  <a:lnTo>
                    <a:pt x="270" y="747"/>
                  </a:lnTo>
                  <a:lnTo>
                    <a:pt x="262" y="755"/>
                  </a:lnTo>
                  <a:lnTo>
                    <a:pt x="245" y="772"/>
                  </a:lnTo>
                  <a:lnTo>
                    <a:pt x="228" y="781"/>
                  </a:lnTo>
                  <a:lnTo>
                    <a:pt x="228" y="798"/>
                  </a:lnTo>
                  <a:lnTo>
                    <a:pt x="245" y="806"/>
                  </a:lnTo>
                  <a:lnTo>
                    <a:pt x="270" y="806"/>
                  </a:lnTo>
                  <a:lnTo>
                    <a:pt x="287" y="806"/>
                  </a:lnTo>
                  <a:lnTo>
                    <a:pt x="278" y="823"/>
                  </a:lnTo>
                  <a:lnTo>
                    <a:pt x="270" y="832"/>
                  </a:lnTo>
                  <a:lnTo>
                    <a:pt x="253" y="815"/>
                  </a:lnTo>
                  <a:lnTo>
                    <a:pt x="245" y="832"/>
                  </a:lnTo>
                  <a:lnTo>
                    <a:pt x="228" y="840"/>
                  </a:lnTo>
                  <a:lnTo>
                    <a:pt x="203" y="832"/>
                  </a:lnTo>
                  <a:lnTo>
                    <a:pt x="186" y="823"/>
                  </a:lnTo>
                  <a:lnTo>
                    <a:pt x="160" y="823"/>
                  </a:lnTo>
                  <a:lnTo>
                    <a:pt x="144" y="840"/>
                  </a:lnTo>
                  <a:lnTo>
                    <a:pt x="101" y="840"/>
                  </a:lnTo>
                  <a:lnTo>
                    <a:pt x="93" y="832"/>
                  </a:lnTo>
                  <a:lnTo>
                    <a:pt x="76" y="832"/>
                  </a:lnTo>
                  <a:lnTo>
                    <a:pt x="59" y="849"/>
                  </a:lnTo>
                  <a:lnTo>
                    <a:pt x="51" y="840"/>
                  </a:lnTo>
                  <a:lnTo>
                    <a:pt x="34" y="840"/>
                  </a:lnTo>
                  <a:lnTo>
                    <a:pt x="34" y="832"/>
                  </a:lnTo>
                  <a:lnTo>
                    <a:pt x="34" y="823"/>
                  </a:lnTo>
                  <a:lnTo>
                    <a:pt x="17" y="832"/>
                  </a:lnTo>
                  <a:lnTo>
                    <a:pt x="9" y="815"/>
                  </a:lnTo>
                  <a:lnTo>
                    <a:pt x="0" y="798"/>
                  </a:lnTo>
                  <a:lnTo>
                    <a:pt x="0" y="789"/>
                  </a:lnTo>
                  <a:lnTo>
                    <a:pt x="0" y="772"/>
                  </a:lnTo>
                  <a:lnTo>
                    <a:pt x="9" y="747"/>
                  </a:lnTo>
                  <a:lnTo>
                    <a:pt x="9" y="730"/>
                  </a:lnTo>
                  <a:lnTo>
                    <a:pt x="9" y="721"/>
                  </a:lnTo>
                  <a:lnTo>
                    <a:pt x="17" y="704"/>
                  </a:lnTo>
                  <a:lnTo>
                    <a:pt x="17" y="696"/>
                  </a:lnTo>
                  <a:lnTo>
                    <a:pt x="34" y="687"/>
                  </a:lnTo>
                  <a:lnTo>
                    <a:pt x="25" y="662"/>
                  </a:lnTo>
                  <a:lnTo>
                    <a:pt x="17" y="645"/>
                  </a:lnTo>
                  <a:lnTo>
                    <a:pt x="25" y="620"/>
                  </a:lnTo>
                  <a:lnTo>
                    <a:pt x="42" y="586"/>
                  </a:lnTo>
                  <a:lnTo>
                    <a:pt x="51" y="560"/>
                  </a:lnTo>
                  <a:lnTo>
                    <a:pt x="51" y="552"/>
                  </a:lnTo>
                  <a:lnTo>
                    <a:pt x="68" y="543"/>
                  </a:lnTo>
                  <a:lnTo>
                    <a:pt x="68" y="509"/>
                  </a:lnTo>
                  <a:lnTo>
                    <a:pt x="76" y="492"/>
                  </a:lnTo>
                  <a:lnTo>
                    <a:pt x="76" y="475"/>
                  </a:lnTo>
                  <a:lnTo>
                    <a:pt x="85" y="467"/>
                  </a:lnTo>
                  <a:lnTo>
                    <a:pt x="85" y="433"/>
                  </a:lnTo>
                  <a:lnTo>
                    <a:pt x="118" y="390"/>
                  </a:lnTo>
                  <a:lnTo>
                    <a:pt x="135" y="382"/>
                  </a:lnTo>
                  <a:lnTo>
                    <a:pt x="144" y="373"/>
                  </a:lnTo>
                  <a:lnTo>
                    <a:pt x="152" y="365"/>
                  </a:lnTo>
                  <a:lnTo>
                    <a:pt x="160" y="365"/>
                  </a:lnTo>
                  <a:lnTo>
                    <a:pt x="186" y="305"/>
                  </a:lnTo>
                  <a:lnTo>
                    <a:pt x="211" y="272"/>
                  </a:lnTo>
                  <a:lnTo>
                    <a:pt x="228" y="204"/>
                  </a:lnTo>
                  <a:lnTo>
                    <a:pt x="253" y="178"/>
                  </a:lnTo>
                  <a:lnTo>
                    <a:pt x="245" y="170"/>
                  </a:lnTo>
                  <a:lnTo>
                    <a:pt x="253" y="153"/>
                  </a:lnTo>
                  <a:lnTo>
                    <a:pt x="253" y="127"/>
                  </a:lnTo>
                  <a:lnTo>
                    <a:pt x="245" y="119"/>
                  </a:lnTo>
                  <a:lnTo>
                    <a:pt x="245" y="110"/>
                  </a:lnTo>
                  <a:lnTo>
                    <a:pt x="245" y="85"/>
                  </a:lnTo>
                  <a:lnTo>
                    <a:pt x="245" y="76"/>
                  </a:lnTo>
                  <a:lnTo>
                    <a:pt x="245" y="68"/>
                  </a:lnTo>
                  <a:lnTo>
                    <a:pt x="253" y="68"/>
                  </a:lnTo>
                  <a:lnTo>
                    <a:pt x="278" y="85"/>
                  </a:lnTo>
                  <a:lnTo>
                    <a:pt x="287" y="85"/>
                  </a:lnTo>
                  <a:lnTo>
                    <a:pt x="287" y="68"/>
                  </a:lnTo>
                  <a:lnTo>
                    <a:pt x="304" y="59"/>
                  </a:lnTo>
                  <a:lnTo>
                    <a:pt x="312" y="76"/>
                  </a:lnTo>
                  <a:lnTo>
                    <a:pt x="329" y="93"/>
                  </a:lnTo>
                  <a:lnTo>
                    <a:pt x="338" y="93"/>
                  </a:lnTo>
                  <a:lnTo>
                    <a:pt x="354" y="110"/>
                  </a:lnTo>
                  <a:lnTo>
                    <a:pt x="338" y="127"/>
                  </a:lnTo>
                  <a:lnTo>
                    <a:pt x="346" y="136"/>
                  </a:lnTo>
                  <a:lnTo>
                    <a:pt x="354" y="127"/>
                  </a:lnTo>
                  <a:lnTo>
                    <a:pt x="371" y="119"/>
                  </a:lnTo>
                  <a:lnTo>
                    <a:pt x="371" y="110"/>
                  </a:lnTo>
                  <a:lnTo>
                    <a:pt x="413" y="102"/>
                  </a:lnTo>
                  <a:lnTo>
                    <a:pt x="413" y="76"/>
                  </a:lnTo>
                  <a:lnTo>
                    <a:pt x="447" y="68"/>
                  </a:lnTo>
                </a:path>
              </a:pathLst>
            </a:custGeom>
            <a:grpFill/>
            <a:ln w="9525" cmpd="sng" algn="ctr">
              <a:solidFill>
                <a:schemeClr val="bg1"/>
              </a:solidFill>
              <a:round/>
              <a:headEnd/>
              <a:tailEnd/>
            </a:ln>
          </p:spPr>
          <p:txBody>
            <a:bodyPr wrap="none" lIns="79747" tIns="39873" rIns="79747" bIns="39873" anchor="ctr"/>
            <a:ls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477" dirty="0"/>
            </a:p>
          </p:txBody>
        </p:sp>
      </p:grpSp>
      <p:sp>
        <p:nvSpPr>
          <p:cNvPr id="2" name="Titel 1">
            <a:extLst>
              <a:ext uri="{FF2B5EF4-FFF2-40B4-BE49-F238E27FC236}">
                <a16:creationId xmlns:a16="http://schemas.microsoft.com/office/drawing/2014/main" id="{0648BB84-D328-4410-B0AF-878602E0C0BE}"/>
              </a:ext>
            </a:extLst>
          </p:cNvPr>
          <p:cNvSpPr>
            <a:spLocks noGrp="1"/>
          </p:cNvSpPr>
          <p:nvPr>
            <p:ph type="title"/>
          </p:nvPr>
        </p:nvSpPr>
        <p:spPr/>
        <p:txBody>
          <a:bodyPr/>
          <a:lstStyle/>
          <a:p>
            <a:r>
              <a:rPr lang="en-US" sz="3000" dirty="0"/>
              <a:t>Germany locations</a:t>
            </a:r>
          </a:p>
        </p:txBody>
      </p:sp>
      <p:pic>
        <p:nvPicPr>
          <p:cNvPr id="21" name="MIO_OBJECT1" descr="Markierung">
            <a:extLst>
              <a:ext uri="{FF2B5EF4-FFF2-40B4-BE49-F238E27FC236}">
                <a16:creationId xmlns:a16="http://schemas.microsoft.com/office/drawing/2014/main" id="{A7E54928-0F94-4E4E-8244-C2BEC0FC173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558083" y="2438019"/>
            <a:ext cx="900000" cy="900000"/>
          </a:xfrm>
          <a:prstGeom prst="rect">
            <a:avLst/>
          </a:prstGeom>
        </p:spPr>
      </p:pic>
      <p:pic>
        <p:nvPicPr>
          <p:cNvPr id="22" name="MIO_OBJECT2" descr="Markierung">
            <a:extLst>
              <a:ext uri="{FF2B5EF4-FFF2-40B4-BE49-F238E27FC236}">
                <a16:creationId xmlns:a16="http://schemas.microsoft.com/office/drawing/2014/main" id="{85EFA6D4-9B1D-400C-B4DD-F822E8648084}"/>
              </a:ext>
            </a:extLst>
          </p:cNvPr>
          <p:cNvPicPr>
            <a:picLocks noChangeAspect="1"/>
          </p:cNvPicPr>
          <p:nvPr>
            <p:custDataLst>
              <p:tags r:id="rId3"/>
            </p:custDataLst>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882742" y="778017"/>
            <a:ext cx="900000" cy="900000"/>
          </a:xfrm>
          <a:prstGeom prst="rect">
            <a:avLst/>
          </a:prstGeom>
        </p:spPr>
      </p:pic>
      <p:pic>
        <p:nvPicPr>
          <p:cNvPr id="23" name="MIO_OBJECT4" descr="Markierung">
            <a:extLst>
              <a:ext uri="{FF2B5EF4-FFF2-40B4-BE49-F238E27FC236}">
                <a16:creationId xmlns:a16="http://schemas.microsoft.com/office/drawing/2014/main" id="{AEEC7D47-BC01-43DE-BC47-336D9FDF80BF}"/>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795955" y="4998761"/>
            <a:ext cx="900000" cy="900000"/>
          </a:xfrm>
          <a:prstGeom prst="rect">
            <a:avLst/>
          </a:prstGeom>
        </p:spPr>
      </p:pic>
      <p:pic>
        <p:nvPicPr>
          <p:cNvPr id="24" name="MIO_OBJECT5" descr="Markierung">
            <a:extLst>
              <a:ext uri="{FF2B5EF4-FFF2-40B4-BE49-F238E27FC236}">
                <a16:creationId xmlns:a16="http://schemas.microsoft.com/office/drawing/2014/main" id="{49E2BFAD-B487-477F-B322-4A9D506F9916}"/>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8400040" y="1552355"/>
            <a:ext cx="900000" cy="900000"/>
          </a:xfrm>
          <a:prstGeom prst="rect">
            <a:avLst/>
          </a:prstGeom>
        </p:spPr>
      </p:pic>
      <p:sp>
        <p:nvSpPr>
          <p:cNvPr id="37" name="Textfeld 36">
            <a:extLst>
              <a:ext uri="{FF2B5EF4-FFF2-40B4-BE49-F238E27FC236}">
                <a16:creationId xmlns:a16="http://schemas.microsoft.com/office/drawing/2014/main" id="{401EB408-54E2-4492-BABB-0FC2A72EBB3B}"/>
              </a:ext>
            </a:extLst>
          </p:cNvPr>
          <p:cNvSpPr txBox="1"/>
          <p:nvPr/>
        </p:nvSpPr>
        <p:spPr>
          <a:xfrm>
            <a:off x="10596000" y="5481001"/>
            <a:ext cx="1260000" cy="360000"/>
          </a:xfrm>
          <a:prstGeom prst="rect">
            <a:avLst/>
          </a:prstGeom>
          <a:noFill/>
        </p:spPr>
        <p:txBody>
          <a:bodyPr vert="horz" wrap="none" lIns="0" tIns="0" rIns="0" bIns="0" rtlCol="0" anchor="ctr">
            <a:noAutofit/>
          </a:bodyPr>
          <a:lstStyle/>
          <a:p>
            <a:pPr algn="l" rtl="0" eaLnBrk="1" fontAlgn="auto" hangingPunct="1">
              <a:lnSpc>
                <a:spcPct val="100000"/>
              </a:lnSpc>
              <a:spcBef>
                <a:spcPts val="0"/>
              </a:spcBef>
              <a:spcAft>
                <a:spcPts val="0"/>
              </a:spcAft>
            </a:pPr>
            <a:r>
              <a:rPr lang="en-US" sz="1600" b="0" i="0" u="none" baseline="0" dirty="0">
                <a:solidFill>
                  <a:srgbClr val="000000"/>
                </a:solidFill>
                <a:latin typeface="Segoe UI Light" panose="020B0502040204020203" pitchFamily="34" charset="0"/>
                <a:cs typeface="Segoe UI Light" panose="020B0502040204020203" pitchFamily="34" charset="0"/>
              </a:rPr>
              <a:t>Hamburg</a:t>
            </a:r>
          </a:p>
        </p:txBody>
      </p:sp>
      <p:sp>
        <p:nvSpPr>
          <p:cNvPr id="38" name="Textfeld 37">
            <a:extLst>
              <a:ext uri="{FF2B5EF4-FFF2-40B4-BE49-F238E27FC236}">
                <a16:creationId xmlns:a16="http://schemas.microsoft.com/office/drawing/2014/main" id="{42CC9ACF-4D14-40EF-AA77-2CD89E427D24}"/>
              </a:ext>
            </a:extLst>
          </p:cNvPr>
          <p:cNvSpPr txBox="1"/>
          <p:nvPr/>
        </p:nvSpPr>
        <p:spPr>
          <a:xfrm>
            <a:off x="10596000" y="5013003"/>
            <a:ext cx="1260000" cy="360000"/>
          </a:xfrm>
          <a:prstGeom prst="rect">
            <a:avLst/>
          </a:prstGeom>
          <a:noFill/>
        </p:spPr>
        <p:txBody>
          <a:bodyPr vert="horz" wrap="none" lIns="0" tIns="0" rIns="0" bIns="0" rtlCol="0" anchor="ctr">
            <a:noAutofit/>
          </a:bodyPr>
          <a:lstStyle/>
          <a:p>
            <a:pPr algn="l" rtl="0" eaLnBrk="1" fontAlgn="auto" hangingPunct="1">
              <a:lnSpc>
                <a:spcPct val="100000"/>
              </a:lnSpc>
              <a:spcBef>
                <a:spcPts val="0"/>
              </a:spcBef>
              <a:spcAft>
                <a:spcPts val="0"/>
              </a:spcAft>
            </a:pPr>
            <a:r>
              <a:rPr lang="en-US" sz="1600" b="0" i="0" u="none" baseline="0" dirty="0">
                <a:solidFill>
                  <a:srgbClr val="000000"/>
                </a:solidFill>
                <a:latin typeface="Segoe UI Light" panose="020B0502040204020203" pitchFamily="34" charset="0"/>
                <a:cs typeface="Segoe UI Light" panose="020B0502040204020203" pitchFamily="34" charset="0"/>
              </a:rPr>
              <a:t>Köln</a:t>
            </a:r>
          </a:p>
        </p:txBody>
      </p:sp>
      <p:sp>
        <p:nvSpPr>
          <p:cNvPr id="39" name="Textfeld 38">
            <a:extLst>
              <a:ext uri="{FF2B5EF4-FFF2-40B4-BE49-F238E27FC236}">
                <a16:creationId xmlns:a16="http://schemas.microsoft.com/office/drawing/2014/main" id="{9343400C-58D1-4336-AE6C-7CFFABAC08C6}"/>
              </a:ext>
            </a:extLst>
          </p:cNvPr>
          <p:cNvSpPr txBox="1"/>
          <p:nvPr/>
        </p:nvSpPr>
        <p:spPr>
          <a:xfrm>
            <a:off x="10596000" y="4545000"/>
            <a:ext cx="1260000" cy="360000"/>
          </a:xfrm>
          <a:prstGeom prst="rect">
            <a:avLst/>
          </a:prstGeom>
          <a:noFill/>
        </p:spPr>
        <p:txBody>
          <a:bodyPr vert="horz" wrap="none" lIns="0" tIns="0" rIns="0" bIns="0" rtlCol="0" anchor="ctr">
            <a:noAutofit/>
          </a:bodyPr>
          <a:lstStyle/>
          <a:p>
            <a:pPr algn="l" rtl="0" eaLnBrk="1" fontAlgn="auto" hangingPunct="1">
              <a:lnSpc>
                <a:spcPct val="100000"/>
              </a:lnSpc>
              <a:spcBef>
                <a:spcPts val="0"/>
              </a:spcBef>
              <a:spcAft>
                <a:spcPts val="0"/>
              </a:spcAft>
            </a:pPr>
            <a:r>
              <a:rPr lang="en-US" sz="1600" b="0" i="0" u="none" baseline="0" dirty="0">
                <a:solidFill>
                  <a:srgbClr val="000000"/>
                </a:solidFill>
                <a:latin typeface="Segoe UI Light" panose="020B0502040204020203" pitchFamily="34" charset="0"/>
                <a:cs typeface="Segoe UI Light" panose="020B0502040204020203" pitchFamily="34" charset="0"/>
              </a:rPr>
              <a:t>Berlin</a:t>
            </a:r>
          </a:p>
        </p:txBody>
      </p:sp>
      <p:sp>
        <p:nvSpPr>
          <p:cNvPr id="40" name="MIO_OBJECT2">
            <a:extLst>
              <a:ext uri="{FF2B5EF4-FFF2-40B4-BE49-F238E27FC236}">
                <a16:creationId xmlns:a16="http://schemas.microsoft.com/office/drawing/2014/main" id="{130A37C5-AFBD-493C-82D5-90884D61A569}"/>
              </a:ext>
            </a:extLst>
          </p:cNvPr>
          <p:cNvSpPr/>
          <p:nvPr/>
        </p:nvSpPr>
        <p:spPr>
          <a:xfrm>
            <a:off x="10128000" y="5481001"/>
            <a:ext cx="360000" cy="360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a:solidFill>
                <a:schemeClr val="bg1"/>
              </a:solidFill>
              <a:latin typeface="Segoe UI Semibold" panose="020B0702040204020203" pitchFamily="34" charset="0"/>
              <a:cs typeface="Segoe UI Semibold" panose="020B0702040204020203" pitchFamily="34" charset="0"/>
            </a:endParaRPr>
          </a:p>
        </p:txBody>
      </p:sp>
      <p:sp>
        <p:nvSpPr>
          <p:cNvPr id="41" name="MIO_OBJECT1">
            <a:extLst>
              <a:ext uri="{FF2B5EF4-FFF2-40B4-BE49-F238E27FC236}">
                <a16:creationId xmlns:a16="http://schemas.microsoft.com/office/drawing/2014/main" id="{55309170-7F2E-4223-A58F-430F4D932D19}"/>
              </a:ext>
            </a:extLst>
          </p:cNvPr>
          <p:cNvSpPr/>
          <p:nvPr/>
        </p:nvSpPr>
        <p:spPr>
          <a:xfrm>
            <a:off x="10128000" y="5013001"/>
            <a:ext cx="360000" cy="360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a:solidFill>
                <a:schemeClr val="bg1"/>
              </a:solidFill>
              <a:latin typeface="Segoe UI Semibold" panose="020B0702040204020203" pitchFamily="34" charset="0"/>
              <a:cs typeface="Segoe UI Semibold" panose="020B0702040204020203" pitchFamily="34" charset="0"/>
            </a:endParaRPr>
          </a:p>
          <a:p>
            <a:pPr algn="ctr"/>
            <a:endParaRPr lang="en-US" dirty="0">
              <a:solidFill>
                <a:schemeClr val="bg1"/>
              </a:solidFill>
              <a:latin typeface="Segoe UI Semibold" panose="020B0702040204020203" pitchFamily="34" charset="0"/>
              <a:cs typeface="Segoe UI Semibold" panose="020B0702040204020203" pitchFamily="34" charset="0"/>
            </a:endParaRPr>
          </a:p>
        </p:txBody>
      </p:sp>
      <p:sp>
        <p:nvSpPr>
          <p:cNvPr id="42" name="MIO_OBJECT5">
            <a:extLst>
              <a:ext uri="{FF2B5EF4-FFF2-40B4-BE49-F238E27FC236}">
                <a16:creationId xmlns:a16="http://schemas.microsoft.com/office/drawing/2014/main" id="{D3DB978D-5F91-48E8-9AEF-BC5D117C2ED7}"/>
              </a:ext>
            </a:extLst>
          </p:cNvPr>
          <p:cNvSpPr/>
          <p:nvPr/>
        </p:nvSpPr>
        <p:spPr>
          <a:xfrm>
            <a:off x="10128000" y="4545000"/>
            <a:ext cx="360001" cy="3600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a:latin typeface="Segoe UI Semibold" panose="020B0702040204020203" pitchFamily="34" charset="0"/>
              <a:cs typeface="Segoe UI Semibold" panose="020B0702040204020203" pitchFamily="34" charset="0"/>
            </a:endParaRPr>
          </a:p>
        </p:txBody>
      </p:sp>
      <p:sp>
        <p:nvSpPr>
          <p:cNvPr id="47" name="Textfeld 46">
            <a:extLst>
              <a:ext uri="{FF2B5EF4-FFF2-40B4-BE49-F238E27FC236}">
                <a16:creationId xmlns:a16="http://schemas.microsoft.com/office/drawing/2014/main" id="{AE3152C6-AEFB-4F22-8F40-289341CC2FAA}"/>
              </a:ext>
            </a:extLst>
          </p:cNvPr>
          <p:cNvSpPr txBox="1"/>
          <p:nvPr/>
        </p:nvSpPr>
        <p:spPr>
          <a:xfrm>
            <a:off x="10596000" y="5949000"/>
            <a:ext cx="1260000" cy="360000"/>
          </a:xfrm>
          <a:prstGeom prst="rect">
            <a:avLst/>
          </a:prstGeom>
          <a:noFill/>
        </p:spPr>
        <p:txBody>
          <a:bodyPr vert="horz" wrap="none" lIns="0" tIns="0" rIns="0" bIns="0" rtlCol="0" anchor="ctr">
            <a:noAutofit/>
          </a:bodyPr>
          <a:lstStyle/>
          <a:p>
            <a:pPr algn="l" rtl="0" eaLnBrk="1" fontAlgn="auto" hangingPunct="1">
              <a:lnSpc>
                <a:spcPct val="100000"/>
              </a:lnSpc>
              <a:spcBef>
                <a:spcPts val="0"/>
              </a:spcBef>
              <a:spcAft>
                <a:spcPts val="0"/>
              </a:spcAft>
            </a:pPr>
            <a:r>
              <a:rPr lang="en-US" sz="1600" b="0" i="0" u="none" baseline="0" dirty="0">
                <a:solidFill>
                  <a:srgbClr val="000000"/>
                </a:solidFill>
                <a:latin typeface="Segoe UI Light" panose="020B0502040204020203" pitchFamily="34" charset="0"/>
                <a:cs typeface="Segoe UI Light" panose="020B0502040204020203" pitchFamily="34" charset="0"/>
              </a:rPr>
              <a:t>München</a:t>
            </a:r>
          </a:p>
        </p:txBody>
      </p:sp>
      <p:sp>
        <p:nvSpPr>
          <p:cNvPr id="48" name="MIO_OBJECT4">
            <a:extLst>
              <a:ext uri="{FF2B5EF4-FFF2-40B4-BE49-F238E27FC236}">
                <a16:creationId xmlns:a16="http://schemas.microsoft.com/office/drawing/2014/main" id="{329CCDCB-2B8E-419C-AB5F-8B377541AC8E}"/>
              </a:ext>
            </a:extLst>
          </p:cNvPr>
          <p:cNvSpPr/>
          <p:nvPr/>
        </p:nvSpPr>
        <p:spPr>
          <a:xfrm>
            <a:off x="10128000" y="5949000"/>
            <a:ext cx="360000" cy="360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a:latin typeface="Segoe UI Semibold" panose="020B0702040204020203" pitchFamily="34" charset="0"/>
              <a:cs typeface="Segoe UI Semibold" panose="020B0702040204020203" pitchFamily="34" charset="0"/>
            </a:endParaRPr>
          </a:p>
        </p:txBody>
      </p:sp>
      <p:sp>
        <p:nvSpPr>
          <p:cNvPr id="53" name="MIO_TEXTBOX_BODY">
            <a:extLst>
              <a:ext uri="{FF2B5EF4-FFF2-40B4-BE49-F238E27FC236}">
                <a16:creationId xmlns:a16="http://schemas.microsoft.com/office/drawing/2014/main" id="{2CF818B7-96A1-433B-99FC-C392E18106CA}"/>
              </a:ext>
            </a:extLst>
          </p:cNvPr>
          <p:cNvSpPr txBox="1"/>
          <p:nvPr/>
        </p:nvSpPr>
        <p:spPr>
          <a:xfrm>
            <a:off x="458788" y="2546908"/>
            <a:ext cx="4474208" cy="2927276"/>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dirty="0"/>
              <a:t>Lorem ipsum dolor sit amet, consectetuer adipiscing elit. Aenean commodo ligula eget dolor. Aenean massa. Cum sociis natoque penatibus et magnis dis parturient montes, nascetur ridiculus mus. </a:t>
            </a:r>
          </a:p>
          <a:p>
            <a:pPr marL="0" indent="0">
              <a:buSzPct val="100000"/>
              <a:buNone/>
            </a:pPr>
            <a:r>
              <a:rPr lang="en-US" dirty="0"/>
              <a:t>Donec quam felis, ultricies nec, pellentesque eu, pretium quis, sem. Nulla consequat massa quis enim. Donec pede justo, fringilla vel, aliquet nec, vulputate eget, arcu. In enim justo, rhoncus ut, impeded a, venenatis vitae, justo. </a:t>
            </a:r>
          </a:p>
        </p:txBody>
      </p:sp>
      <p:sp>
        <p:nvSpPr>
          <p:cNvPr id="54" name="MIO_TEXTBOX_HEADER">
            <a:extLst>
              <a:ext uri="{FF2B5EF4-FFF2-40B4-BE49-F238E27FC236}">
                <a16:creationId xmlns:a16="http://schemas.microsoft.com/office/drawing/2014/main" id="{797707D5-879F-4F57-9AB5-45659886367A}"/>
              </a:ext>
            </a:extLst>
          </p:cNvPr>
          <p:cNvSpPr txBox="1"/>
          <p:nvPr/>
        </p:nvSpPr>
        <p:spPr>
          <a:xfrm>
            <a:off x="458788" y="2103816"/>
            <a:ext cx="4474208" cy="335092"/>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800" dirty="0">
                <a:solidFill>
                  <a:schemeClr val="dk1"/>
                </a:solidFill>
              </a:rPr>
              <a:t>Lorem ipsum dolor sit amet</a:t>
            </a:r>
          </a:p>
        </p:txBody>
      </p:sp>
    </p:spTree>
    <p:custDataLst>
      <p:tags r:id="rId1"/>
    </p:custDataLst>
    <p:extLst>
      <p:ext uri="{BB962C8B-B14F-4D97-AF65-F5344CB8AC3E}">
        <p14:creationId xmlns:p14="http://schemas.microsoft.com/office/powerpoint/2010/main" val="476144200"/>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43AC98-C637-4454-9144-531F94627AE7}"/>
              </a:ext>
            </a:extLst>
          </p:cNvPr>
          <p:cNvSpPr>
            <a:spLocks noGrp="1"/>
          </p:cNvSpPr>
          <p:nvPr>
            <p:ph type="title"/>
          </p:nvPr>
        </p:nvSpPr>
        <p:spPr/>
        <p:txBody>
          <a:bodyPr/>
          <a:lstStyle/>
          <a:p>
            <a:r>
              <a:rPr lang="en-US" sz="3000" dirty="0"/>
              <a:t>North America with text</a:t>
            </a:r>
          </a:p>
        </p:txBody>
      </p:sp>
      <p:sp>
        <p:nvSpPr>
          <p:cNvPr id="10" name="MIO_TEXTBOX_BODY">
            <a:extLst>
              <a:ext uri="{FF2B5EF4-FFF2-40B4-BE49-F238E27FC236}">
                <a16:creationId xmlns:a16="http://schemas.microsoft.com/office/drawing/2014/main" id="{B652AD0F-C0CA-4672-B60E-EFE102C4A3BC}"/>
              </a:ext>
            </a:extLst>
          </p:cNvPr>
          <p:cNvSpPr txBox="1"/>
          <p:nvPr/>
        </p:nvSpPr>
        <p:spPr>
          <a:xfrm>
            <a:off x="458788" y="2546908"/>
            <a:ext cx="4474208" cy="2927276"/>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dirty="0"/>
              <a:t>Lorem ipsum dolor sit amet, consectetuer adipiscing elit. Aenean commodo ligula eget dolor. Aenean massa. Cum sociis natoque penatibus et magnis dis parturient montes, nascetur ridiculus mus. </a:t>
            </a:r>
          </a:p>
          <a:p>
            <a:pPr marL="0" indent="0">
              <a:buSzPct val="100000"/>
              <a:buNone/>
            </a:pPr>
            <a:r>
              <a:rPr lang="en-US" dirty="0"/>
              <a:t>Donec quam felis, ultricies nec, pellentesque eu, pretium quis, sem. Nulla consequat massa quis enim. Donec pede justo, fringilla vel, aliquet nec, vulputate eget, arcu. In enim justo, rhoncus ut, imperdiet a, venenatis vitae, justo. </a:t>
            </a:r>
          </a:p>
        </p:txBody>
      </p:sp>
      <p:sp>
        <p:nvSpPr>
          <p:cNvPr id="13" name="MIO_TEXTBOX_HEADER">
            <a:extLst>
              <a:ext uri="{FF2B5EF4-FFF2-40B4-BE49-F238E27FC236}">
                <a16:creationId xmlns:a16="http://schemas.microsoft.com/office/drawing/2014/main" id="{85ABF4DB-BDC3-4471-8C9F-333CBD5B429C}"/>
              </a:ext>
            </a:extLst>
          </p:cNvPr>
          <p:cNvSpPr txBox="1"/>
          <p:nvPr/>
        </p:nvSpPr>
        <p:spPr>
          <a:xfrm>
            <a:off x="458788" y="2103816"/>
            <a:ext cx="4474208" cy="335092"/>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800" dirty="0">
                <a:solidFill>
                  <a:schemeClr val="dk1"/>
                </a:solidFill>
              </a:rPr>
              <a:t>Lorem ipsum dolor sit amet</a:t>
            </a:r>
          </a:p>
        </p:txBody>
      </p:sp>
      <p:grpSp>
        <p:nvGrpSpPr>
          <p:cNvPr id="9" name="North America">
            <a:extLst>
              <a:ext uri="{FF2B5EF4-FFF2-40B4-BE49-F238E27FC236}">
                <a16:creationId xmlns:a16="http://schemas.microsoft.com/office/drawing/2014/main" id="{B2F89149-5BB0-473B-AF3C-5C20318D09E4}"/>
              </a:ext>
            </a:extLst>
          </p:cNvPr>
          <p:cNvGrpSpPr>
            <a:grpSpLocks/>
          </p:cNvGrpSpPr>
          <p:nvPr>
            <p:custDataLst>
              <p:tags r:id="rId2"/>
            </p:custDataLst>
          </p:nvPr>
        </p:nvGrpSpPr>
        <p:grpSpPr bwMode="gray">
          <a:xfrm>
            <a:off x="5059319" y="94112"/>
            <a:ext cx="7098978" cy="6763888"/>
            <a:chOff x="1837292" y="1744659"/>
            <a:chExt cx="2911978" cy="2126267"/>
          </a:xfrm>
          <a:solidFill>
            <a:schemeClr val="bg1">
              <a:lumMod val="85000"/>
            </a:schemeClr>
          </a:solidFill>
        </p:grpSpPr>
        <p:sp>
          <p:nvSpPr>
            <p:cNvPr id="28" name="United States">
              <a:extLst>
                <a:ext uri="{FF2B5EF4-FFF2-40B4-BE49-F238E27FC236}">
                  <a16:creationId xmlns:a16="http://schemas.microsoft.com/office/drawing/2014/main" id="{20F06C9A-6C4A-4E90-9ECD-34692CD90A62}"/>
                </a:ext>
              </a:extLst>
            </p:cNvPr>
            <p:cNvSpPr>
              <a:spLocks noEditPoints="1"/>
            </p:cNvSpPr>
            <p:nvPr/>
          </p:nvSpPr>
          <p:spPr bwMode="gray">
            <a:xfrm>
              <a:off x="2581957" y="2597547"/>
              <a:ext cx="1460754" cy="729912"/>
            </a:xfrm>
            <a:custGeom>
              <a:avLst/>
              <a:gdLst>
                <a:gd name="T0" fmla="*/ 2480 w 2609"/>
                <a:gd name="T1" fmla="*/ 201 h 1304"/>
                <a:gd name="T2" fmla="*/ 2188 w 2609"/>
                <a:gd name="T3" fmla="*/ 278 h 1304"/>
                <a:gd name="T4" fmla="*/ 2132 w 2609"/>
                <a:gd name="T5" fmla="*/ 324 h 1304"/>
                <a:gd name="T6" fmla="*/ 2049 w 2609"/>
                <a:gd name="T7" fmla="*/ 357 h 1304"/>
                <a:gd name="T8" fmla="*/ 1824 w 2609"/>
                <a:gd name="T9" fmla="*/ 413 h 1304"/>
                <a:gd name="T10" fmla="*/ 1906 w 2609"/>
                <a:gd name="T11" fmla="*/ 294 h 1304"/>
                <a:gd name="T12" fmla="*/ 1888 w 2609"/>
                <a:gd name="T13" fmla="*/ 211 h 1304"/>
                <a:gd name="T14" fmla="*/ 1909 w 2609"/>
                <a:gd name="T15" fmla="*/ 159 h 1304"/>
                <a:gd name="T16" fmla="*/ 1821 w 2609"/>
                <a:gd name="T17" fmla="*/ 151 h 1304"/>
                <a:gd name="T18" fmla="*/ 1700 w 2609"/>
                <a:gd name="T19" fmla="*/ 142 h 1304"/>
                <a:gd name="T20" fmla="*/ 1667 w 2609"/>
                <a:gd name="T21" fmla="*/ 101 h 1304"/>
                <a:gd name="T22" fmla="*/ 1627 w 2609"/>
                <a:gd name="T23" fmla="*/ 67 h 1304"/>
                <a:gd name="T24" fmla="*/ 1510 w 2609"/>
                <a:gd name="T25" fmla="*/ 35 h 1304"/>
                <a:gd name="T26" fmla="*/ 292 w 2609"/>
                <a:gd name="T27" fmla="*/ 130 h 1304"/>
                <a:gd name="T28" fmla="*/ 255 w 2609"/>
                <a:gd name="T29" fmla="*/ 78 h 1304"/>
                <a:gd name="T30" fmla="*/ 250 w 2609"/>
                <a:gd name="T31" fmla="*/ 177 h 1304"/>
                <a:gd name="T32" fmla="*/ 66 w 2609"/>
                <a:gd name="T33" fmla="*/ 387 h 1304"/>
                <a:gd name="T34" fmla="*/ 29 w 2609"/>
                <a:gd name="T35" fmla="*/ 605 h 1304"/>
                <a:gd name="T36" fmla="*/ 20 w 2609"/>
                <a:gd name="T37" fmla="*/ 688 h 1304"/>
                <a:gd name="T38" fmla="*/ 108 w 2609"/>
                <a:gd name="T39" fmla="*/ 822 h 1304"/>
                <a:gd name="T40" fmla="*/ 380 w 2609"/>
                <a:gd name="T41" fmla="*/ 973 h 1304"/>
                <a:gd name="T42" fmla="*/ 625 w 2609"/>
                <a:gd name="T43" fmla="*/ 975 h 1304"/>
                <a:gd name="T44" fmla="*/ 756 w 2609"/>
                <a:gd name="T45" fmla="*/ 1047 h 1304"/>
                <a:gd name="T46" fmla="*/ 851 w 2609"/>
                <a:gd name="T47" fmla="*/ 1169 h 1304"/>
                <a:gd name="T48" fmla="*/ 914 w 2609"/>
                <a:gd name="T49" fmla="*/ 1254 h 1304"/>
                <a:gd name="T50" fmla="*/ 950 w 2609"/>
                <a:gd name="T51" fmla="*/ 1180 h 1304"/>
                <a:gd name="T52" fmla="*/ 999 w 2609"/>
                <a:gd name="T53" fmla="*/ 1128 h 1304"/>
                <a:gd name="T54" fmla="*/ 1143 w 2609"/>
                <a:gd name="T55" fmla="*/ 1040 h 1304"/>
                <a:gd name="T56" fmla="*/ 1288 w 2609"/>
                <a:gd name="T57" fmla="*/ 1079 h 1304"/>
                <a:gd name="T58" fmla="*/ 1354 w 2609"/>
                <a:gd name="T59" fmla="*/ 1087 h 1304"/>
                <a:gd name="T60" fmla="*/ 1365 w 2609"/>
                <a:gd name="T61" fmla="*/ 1024 h 1304"/>
                <a:gd name="T62" fmla="*/ 1487 w 2609"/>
                <a:gd name="T63" fmla="*/ 1024 h 1304"/>
                <a:gd name="T64" fmla="*/ 1616 w 2609"/>
                <a:gd name="T65" fmla="*/ 1079 h 1304"/>
                <a:gd name="T66" fmla="*/ 1634 w 2609"/>
                <a:gd name="T67" fmla="*/ 1212 h 1304"/>
                <a:gd name="T68" fmla="*/ 1681 w 2609"/>
                <a:gd name="T69" fmla="*/ 1304 h 1304"/>
                <a:gd name="T70" fmla="*/ 1730 w 2609"/>
                <a:gd name="T71" fmla="*/ 1112 h 1304"/>
                <a:gd name="T72" fmla="*/ 1780 w 2609"/>
                <a:gd name="T73" fmla="*/ 919 h 1304"/>
                <a:gd name="T74" fmla="*/ 1864 w 2609"/>
                <a:gd name="T75" fmla="*/ 859 h 1304"/>
                <a:gd name="T76" fmla="*/ 2013 w 2609"/>
                <a:gd name="T77" fmla="*/ 773 h 1304"/>
                <a:gd name="T78" fmla="*/ 2015 w 2609"/>
                <a:gd name="T79" fmla="*/ 726 h 1304"/>
                <a:gd name="T80" fmla="*/ 2016 w 2609"/>
                <a:gd name="T81" fmla="*/ 647 h 1304"/>
                <a:gd name="T82" fmla="*/ 2025 w 2609"/>
                <a:gd name="T83" fmla="*/ 586 h 1304"/>
                <a:gd name="T84" fmla="*/ 2077 w 2609"/>
                <a:gd name="T85" fmla="*/ 596 h 1304"/>
                <a:gd name="T86" fmla="*/ 2136 w 2609"/>
                <a:gd name="T87" fmla="*/ 513 h 1304"/>
                <a:gd name="T88" fmla="*/ 2240 w 2609"/>
                <a:gd name="T89" fmla="*/ 475 h 1304"/>
                <a:gd name="T90" fmla="*/ 2355 w 2609"/>
                <a:gd name="T91" fmla="*/ 411 h 1304"/>
                <a:gd name="T92" fmla="*/ 2409 w 2609"/>
                <a:gd name="T93" fmla="*/ 388 h 1304"/>
                <a:gd name="T94" fmla="*/ 2423 w 2609"/>
                <a:gd name="T95" fmla="*/ 324 h 1304"/>
                <a:gd name="T96" fmla="*/ 2556 w 2609"/>
                <a:gd name="T97" fmla="*/ 260 h 1304"/>
                <a:gd name="T98" fmla="*/ 2582 w 2609"/>
                <a:gd name="T99" fmla="*/ 202 h 1304"/>
                <a:gd name="T100" fmla="*/ 1784 w 2609"/>
                <a:gd name="T101" fmla="*/ 255 h 1304"/>
                <a:gd name="T102" fmla="*/ 1734 w 2609"/>
                <a:gd name="T103" fmla="*/ 342 h 1304"/>
                <a:gd name="T104" fmla="*/ 1687 w 2609"/>
                <a:gd name="T105" fmla="*/ 307 h 1304"/>
                <a:gd name="T106" fmla="*/ 1772 w 2609"/>
                <a:gd name="T107" fmla="*/ 194 h 1304"/>
                <a:gd name="T108" fmla="*/ 1862 w 2609"/>
                <a:gd name="T109" fmla="*/ 199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09" h="1304">
                  <a:moveTo>
                    <a:pt x="2570" y="119"/>
                  </a:moveTo>
                  <a:cubicBezTo>
                    <a:pt x="2558" y="119"/>
                    <a:pt x="2567" y="110"/>
                    <a:pt x="2554" y="110"/>
                  </a:cubicBezTo>
                  <a:cubicBezTo>
                    <a:pt x="2541" y="110"/>
                    <a:pt x="2530" y="131"/>
                    <a:pt x="2530" y="131"/>
                  </a:cubicBezTo>
                  <a:cubicBezTo>
                    <a:pt x="2503" y="150"/>
                    <a:pt x="2503" y="150"/>
                    <a:pt x="2503" y="150"/>
                  </a:cubicBezTo>
                  <a:cubicBezTo>
                    <a:pt x="2503" y="164"/>
                    <a:pt x="2503" y="164"/>
                    <a:pt x="2503" y="164"/>
                  </a:cubicBezTo>
                  <a:cubicBezTo>
                    <a:pt x="2503" y="164"/>
                    <a:pt x="2495" y="172"/>
                    <a:pt x="2489" y="172"/>
                  </a:cubicBezTo>
                  <a:cubicBezTo>
                    <a:pt x="2483" y="172"/>
                    <a:pt x="2480" y="194"/>
                    <a:pt x="2480" y="201"/>
                  </a:cubicBezTo>
                  <a:cubicBezTo>
                    <a:pt x="2480" y="208"/>
                    <a:pt x="2473" y="201"/>
                    <a:pt x="2463" y="201"/>
                  </a:cubicBezTo>
                  <a:cubicBezTo>
                    <a:pt x="2454" y="201"/>
                    <a:pt x="2443" y="222"/>
                    <a:pt x="2443" y="222"/>
                  </a:cubicBezTo>
                  <a:cubicBezTo>
                    <a:pt x="2443" y="222"/>
                    <a:pt x="2435" y="223"/>
                    <a:pt x="2423" y="223"/>
                  </a:cubicBezTo>
                  <a:cubicBezTo>
                    <a:pt x="2411" y="223"/>
                    <a:pt x="2411" y="238"/>
                    <a:pt x="2411" y="238"/>
                  </a:cubicBezTo>
                  <a:cubicBezTo>
                    <a:pt x="2411" y="238"/>
                    <a:pt x="2280" y="238"/>
                    <a:pt x="2263" y="238"/>
                  </a:cubicBezTo>
                  <a:cubicBezTo>
                    <a:pt x="2246" y="238"/>
                    <a:pt x="2212" y="276"/>
                    <a:pt x="2204" y="276"/>
                  </a:cubicBezTo>
                  <a:cubicBezTo>
                    <a:pt x="2196" y="276"/>
                    <a:pt x="2194" y="278"/>
                    <a:pt x="2188" y="278"/>
                  </a:cubicBezTo>
                  <a:cubicBezTo>
                    <a:pt x="2187" y="278"/>
                    <a:pt x="2185" y="279"/>
                    <a:pt x="2183" y="280"/>
                  </a:cubicBezTo>
                  <a:cubicBezTo>
                    <a:pt x="2188" y="285"/>
                    <a:pt x="2189" y="291"/>
                    <a:pt x="2189" y="291"/>
                  </a:cubicBezTo>
                  <a:cubicBezTo>
                    <a:pt x="2189" y="291"/>
                    <a:pt x="2188" y="299"/>
                    <a:pt x="2181" y="305"/>
                  </a:cubicBezTo>
                  <a:cubicBezTo>
                    <a:pt x="2174" y="311"/>
                    <a:pt x="2174" y="321"/>
                    <a:pt x="2174" y="321"/>
                  </a:cubicBezTo>
                  <a:cubicBezTo>
                    <a:pt x="2162" y="320"/>
                    <a:pt x="2162" y="320"/>
                    <a:pt x="2162" y="320"/>
                  </a:cubicBezTo>
                  <a:cubicBezTo>
                    <a:pt x="2162" y="320"/>
                    <a:pt x="2162" y="324"/>
                    <a:pt x="2150" y="329"/>
                  </a:cubicBezTo>
                  <a:cubicBezTo>
                    <a:pt x="2138" y="334"/>
                    <a:pt x="2132" y="324"/>
                    <a:pt x="2132" y="324"/>
                  </a:cubicBezTo>
                  <a:cubicBezTo>
                    <a:pt x="2132" y="324"/>
                    <a:pt x="2127" y="332"/>
                    <a:pt x="2114" y="333"/>
                  </a:cubicBezTo>
                  <a:cubicBezTo>
                    <a:pt x="2101" y="334"/>
                    <a:pt x="2097" y="324"/>
                    <a:pt x="2088" y="323"/>
                  </a:cubicBezTo>
                  <a:cubicBezTo>
                    <a:pt x="2079" y="322"/>
                    <a:pt x="2072" y="330"/>
                    <a:pt x="2051" y="335"/>
                  </a:cubicBezTo>
                  <a:cubicBezTo>
                    <a:pt x="2050" y="335"/>
                    <a:pt x="2048" y="336"/>
                    <a:pt x="2047" y="336"/>
                  </a:cubicBezTo>
                  <a:cubicBezTo>
                    <a:pt x="2048" y="340"/>
                    <a:pt x="2048" y="344"/>
                    <a:pt x="2046" y="350"/>
                  </a:cubicBezTo>
                  <a:cubicBezTo>
                    <a:pt x="2045" y="352"/>
                    <a:pt x="2043" y="354"/>
                    <a:pt x="2040" y="357"/>
                  </a:cubicBezTo>
                  <a:cubicBezTo>
                    <a:pt x="2049" y="357"/>
                    <a:pt x="2049" y="357"/>
                    <a:pt x="2049" y="357"/>
                  </a:cubicBezTo>
                  <a:cubicBezTo>
                    <a:pt x="2049" y="357"/>
                    <a:pt x="1969" y="398"/>
                    <a:pt x="1961" y="401"/>
                  </a:cubicBezTo>
                  <a:cubicBezTo>
                    <a:pt x="1953" y="404"/>
                    <a:pt x="1945" y="407"/>
                    <a:pt x="1925" y="412"/>
                  </a:cubicBezTo>
                  <a:cubicBezTo>
                    <a:pt x="1905" y="417"/>
                    <a:pt x="1897" y="423"/>
                    <a:pt x="1890" y="426"/>
                  </a:cubicBezTo>
                  <a:cubicBezTo>
                    <a:pt x="1883" y="429"/>
                    <a:pt x="1871" y="427"/>
                    <a:pt x="1871" y="427"/>
                  </a:cubicBezTo>
                  <a:cubicBezTo>
                    <a:pt x="1871" y="427"/>
                    <a:pt x="1871" y="432"/>
                    <a:pt x="1859" y="433"/>
                  </a:cubicBezTo>
                  <a:cubicBezTo>
                    <a:pt x="1847" y="434"/>
                    <a:pt x="1846" y="423"/>
                    <a:pt x="1846" y="423"/>
                  </a:cubicBezTo>
                  <a:cubicBezTo>
                    <a:pt x="1846" y="423"/>
                    <a:pt x="1824" y="420"/>
                    <a:pt x="1824" y="413"/>
                  </a:cubicBezTo>
                  <a:cubicBezTo>
                    <a:pt x="1824" y="413"/>
                    <a:pt x="1837" y="407"/>
                    <a:pt x="1848" y="402"/>
                  </a:cubicBezTo>
                  <a:cubicBezTo>
                    <a:pt x="1847" y="401"/>
                    <a:pt x="1847" y="400"/>
                    <a:pt x="1846" y="400"/>
                  </a:cubicBezTo>
                  <a:cubicBezTo>
                    <a:pt x="1836" y="390"/>
                    <a:pt x="1881" y="368"/>
                    <a:pt x="1889" y="368"/>
                  </a:cubicBezTo>
                  <a:cubicBezTo>
                    <a:pt x="1897" y="368"/>
                    <a:pt x="1895" y="347"/>
                    <a:pt x="1895" y="347"/>
                  </a:cubicBezTo>
                  <a:cubicBezTo>
                    <a:pt x="1895" y="347"/>
                    <a:pt x="1898" y="343"/>
                    <a:pt x="1902" y="338"/>
                  </a:cubicBezTo>
                  <a:cubicBezTo>
                    <a:pt x="1902" y="337"/>
                    <a:pt x="1901" y="337"/>
                    <a:pt x="1901" y="337"/>
                  </a:cubicBezTo>
                  <a:cubicBezTo>
                    <a:pt x="1895" y="331"/>
                    <a:pt x="1908" y="302"/>
                    <a:pt x="1906" y="294"/>
                  </a:cubicBezTo>
                  <a:cubicBezTo>
                    <a:pt x="1904" y="286"/>
                    <a:pt x="1890" y="293"/>
                    <a:pt x="1884" y="298"/>
                  </a:cubicBezTo>
                  <a:cubicBezTo>
                    <a:pt x="1878" y="303"/>
                    <a:pt x="1850" y="321"/>
                    <a:pt x="1848" y="308"/>
                  </a:cubicBezTo>
                  <a:cubicBezTo>
                    <a:pt x="1847" y="302"/>
                    <a:pt x="1871" y="288"/>
                    <a:pt x="1874" y="283"/>
                  </a:cubicBezTo>
                  <a:cubicBezTo>
                    <a:pt x="1877" y="278"/>
                    <a:pt x="1888" y="275"/>
                    <a:pt x="1897" y="269"/>
                  </a:cubicBezTo>
                  <a:cubicBezTo>
                    <a:pt x="1906" y="263"/>
                    <a:pt x="1898" y="240"/>
                    <a:pt x="1898" y="240"/>
                  </a:cubicBezTo>
                  <a:cubicBezTo>
                    <a:pt x="1898" y="240"/>
                    <a:pt x="1901" y="245"/>
                    <a:pt x="1909" y="228"/>
                  </a:cubicBezTo>
                  <a:cubicBezTo>
                    <a:pt x="1917" y="211"/>
                    <a:pt x="1897" y="218"/>
                    <a:pt x="1888" y="211"/>
                  </a:cubicBezTo>
                  <a:cubicBezTo>
                    <a:pt x="1879" y="204"/>
                    <a:pt x="1879" y="198"/>
                    <a:pt x="1879" y="198"/>
                  </a:cubicBezTo>
                  <a:cubicBezTo>
                    <a:pt x="1879" y="198"/>
                    <a:pt x="1876" y="205"/>
                    <a:pt x="1871" y="200"/>
                  </a:cubicBezTo>
                  <a:cubicBezTo>
                    <a:pt x="1866" y="195"/>
                    <a:pt x="1872" y="185"/>
                    <a:pt x="1872" y="185"/>
                  </a:cubicBezTo>
                  <a:cubicBezTo>
                    <a:pt x="1896" y="189"/>
                    <a:pt x="1896" y="189"/>
                    <a:pt x="1896" y="189"/>
                  </a:cubicBezTo>
                  <a:cubicBezTo>
                    <a:pt x="1896" y="189"/>
                    <a:pt x="1900" y="186"/>
                    <a:pt x="1897" y="178"/>
                  </a:cubicBezTo>
                  <a:cubicBezTo>
                    <a:pt x="1896" y="174"/>
                    <a:pt x="1900" y="174"/>
                    <a:pt x="1905" y="174"/>
                  </a:cubicBezTo>
                  <a:cubicBezTo>
                    <a:pt x="1909" y="159"/>
                    <a:pt x="1909" y="159"/>
                    <a:pt x="1909" y="159"/>
                  </a:cubicBezTo>
                  <a:cubicBezTo>
                    <a:pt x="1896" y="159"/>
                    <a:pt x="1896" y="159"/>
                    <a:pt x="1896" y="159"/>
                  </a:cubicBezTo>
                  <a:cubicBezTo>
                    <a:pt x="1894" y="167"/>
                    <a:pt x="1894" y="167"/>
                    <a:pt x="1894" y="167"/>
                  </a:cubicBezTo>
                  <a:cubicBezTo>
                    <a:pt x="1878" y="161"/>
                    <a:pt x="1878" y="161"/>
                    <a:pt x="1878" y="161"/>
                  </a:cubicBezTo>
                  <a:cubicBezTo>
                    <a:pt x="1877" y="147"/>
                    <a:pt x="1877" y="147"/>
                    <a:pt x="1877" y="147"/>
                  </a:cubicBezTo>
                  <a:cubicBezTo>
                    <a:pt x="1868" y="149"/>
                    <a:pt x="1868" y="149"/>
                    <a:pt x="1868" y="149"/>
                  </a:cubicBezTo>
                  <a:cubicBezTo>
                    <a:pt x="1857" y="154"/>
                    <a:pt x="1857" y="154"/>
                    <a:pt x="1857" y="154"/>
                  </a:cubicBezTo>
                  <a:cubicBezTo>
                    <a:pt x="1821" y="151"/>
                    <a:pt x="1821" y="151"/>
                    <a:pt x="1821" y="151"/>
                  </a:cubicBezTo>
                  <a:cubicBezTo>
                    <a:pt x="1821" y="151"/>
                    <a:pt x="1808" y="162"/>
                    <a:pt x="1787" y="160"/>
                  </a:cubicBezTo>
                  <a:cubicBezTo>
                    <a:pt x="1766" y="158"/>
                    <a:pt x="1771" y="144"/>
                    <a:pt x="1767" y="139"/>
                  </a:cubicBezTo>
                  <a:cubicBezTo>
                    <a:pt x="1763" y="134"/>
                    <a:pt x="1743" y="145"/>
                    <a:pt x="1740" y="136"/>
                  </a:cubicBezTo>
                  <a:cubicBezTo>
                    <a:pt x="1777" y="115"/>
                    <a:pt x="1777" y="115"/>
                    <a:pt x="1777" y="115"/>
                  </a:cubicBezTo>
                  <a:cubicBezTo>
                    <a:pt x="1777" y="115"/>
                    <a:pt x="1772" y="110"/>
                    <a:pt x="1765" y="110"/>
                  </a:cubicBezTo>
                  <a:cubicBezTo>
                    <a:pt x="1758" y="110"/>
                    <a:pt x="1744" y="122"/>
                    <a:pt x="1740" y="123"/>
                  </a:cubicBezTo>
                  <a:cubicBezTo>
                    <a:pt x="1736" y="124"/>
                    <a:pt x="1714" y="137"/>
                    <a:pt x="1700" y="142"/>
                  </a:cubicBezTo>
                  <a:cubicBezTo>
                    <a:pt x="1686" y="147"/>
                    <a:pt x="1670" y="144"/>
                    <a:pt x="1670" y="144"/>
                  </a:cubicBezTo>
                  <a:cubicBezTo>
                    <a:pt x="1664" y="153"/>
                    <a:pt x="1664" y="153"/>
                    <a:pt x="1664" y="153"/>
                  </a:cubicBezTo>
                  <a:cubicBezTo>
                    <a:pt x="1664" y="153"/>
                    <a:pt x="1640" y="155"/>
                    <a:pt x="1631" y="154"/>
                  </a:cubicBezTo>
                  <a:cubicBezTo>
                    <a:pt x="1622" y="153"/>
                    <a:pt x="1646" y="136"/>
                    <a:pt x="1646" y="136"/>
                  </a:cubicBezTo>
                  <a:cubicBezTo>
                    <a:pt x="1646" y="136"/>
                    <a:pt x="1636" y="140"/>
                    <a:pt x="1617" y="141"/>
                  </a:cubicBezTo>
                  <a:cubicBezTo>
                    <a:pt x="1598" y="142"/>
                    <a:pt x="1596" y="154"/>
                    <a:pt x="1579" y="148"/>
                  </a:cubicBezTo>
                  <a:cubicBezTo>
                    <a:pt x="1562" y="142"/>
                    <a:pt x="1655" y="109"/>
                    <a:pt x="1667" y="101"/>
                  </a:cubicBezTo>
                  <a:cubicBezTo>
                    <a:pt x="1679" y="93"/>
                    <a:pt x="1694" y="90"/>
                    <a:pt x="1713" y="86"/>
                  </a:cubicBezTo>
                  <a:cubicBezTo>
                    <a:pt x="1718" y="85"/>
                    <a:pt x="1722" y="83"/>
                    <a:pt x="1726" y="80"/>
                  </a:cubicBezTo>
                  <a:cubicBezTo>
                    <a:pt x="1698" y="80"/>
                    <a:pt x="1701" y="74"/>
                    <a:pt x="1701" y="74"/>
                  </a:cubicBezTo>
                  <a:cubicBezTo>
                    <a:pt x="1671" y="75"/>
                    <a:pt x="1671" y="75"/>
                    <a:pt x="1671" y="75"/>
                  </a:cubicBezTo>
                  <a:cubicBezTo>
                    <a:pt x="1671" y="65"/>
                    <a:pt x="1671" y="65"/>
                    <a:pt x="1671" y="65"/>
                  </a:cubicBezTo>
                  <a:cubicBezTo>
                    <a:pt x="1671" y="65"/>
                    <a:pt x="1655" y="76"/>
                    <a:pt x="1649" y="82"/>
                  </a:cubicBezTo>
                  <a:cubicBezTo>
                    <a:pt x="1643" y="88"/>
                    <a:pt x="1630" y="64"/>
                    <a:pt x="1627" y="67"/>
                  </a:cubicBezTo>
                  <a:cubicBezTo>
                    <a:pt x="1624" y="70"/>
                    <a:pt x="1617" y="67"/>
                    <a:pt x="1611" y="67"/>
                  </a:cubicBezTo>
                  <a:cubicBezTo>
                    <a:pt x="1605" y="67"/>
                    <a:pt x="1602" y="47"/>
                    <a:pt x="1589" y="47"/>
                  </a:cubicBezTo>
                  <a:cubicBezTo>
                    <a:pt x="1576" y="47"/>
                    <a:pt x="1578" y="59"/>
                    <a:pt x="1570" y="59"/>
                  </a:cubicBezTo>
                  <a:cubicBezTo>
                    <a:pt x="1562" y="59"/>
                    <a:pt x="1555" y="49"/>
                    <a:pt x="1555" y="49"/>
                  </a:cubicBezTo>
                  <a:cubicBezTo>
                    <a:pt x="1555" y="49"/>
                    <a:pt x="1536" y="48"/>
                    <a:pt x="1528" y="40"/>
                  </a:cubicBezTo>
                  <a:cubicBezTo>
                    <a:pt x="1519" y="31"/>
                    <a:pt x="1544" y="21"/>
                    <a:pt x="1534" y="11"/>
                  </a:cubicBezTo>
                  <a:cubicBezTo>
                    <a:pt x="1524" y="0"/>
                    <a:pt x="1510" y="35"/>
                    <a:pt x="1510" y="35"/>
                  </a:cubicBezTo>
                  <a:cubicBezTo>
                    <a:pt x="368" y="35"/>
                    <a:pt x="368" y="35"/>
                    <a:pt x="368" y="35"/>
                  </a:cubicBezTo>
                  <a:cubicBezTo>
                    <a:pt x="367" y="42"/>
                    <a:pt x="365" y="48"/>
                    <a:pt x="364" y="50"/>
                  </a:cubicBezTo>
                  <a:cubicBezTo>
                    <a:pt x="360" y="56"/>
                    <a:pt x="359" y="80"/>
                    <a:pt x="359" y="80"/>
                  </a:cubicBezTo>
                  <a:cubicBezTo>
                    <a:pt x="337" y="92"/>
                    <a:pt x="337" y="92"/>
                    <a:pt x="337" y="92"/>
                  </a:cubicBezTo>
                  <a:cubicBezTo>
                    <a:pt x="335" y="104"/>
                    <a:pt x="335" y="104"/>
                    <a:pt x="335" y="104"/>
                  </a:cubicBezTo>
                  <a:cubicBezTo>
                    <a:pt x="324" y="119"/>
                    <a:pt x="324" y="119"/>
                    <a:pt x="324" y="119"/>
                  </a:cubicBezTo>
                  <a:cubicBezTo>
                    <a:pt x="292" y="130"/>
                    <a:pt x="292" y="130"/>
                    <a:pt x="292" y="130"/>
                  </a:cubicBezTo>
                  <a:cubicBezTo>
                    <a:pt x="315" y="117"/>
                    <a:pt x="315" y="117"/>
                    <a:pt x="315" y="117"/>
                  </a:cubicBezTo>
                  <a:cubicBezTo>
                    <a:pt x="300" y="115"/>
                    <a:pt x="300" y="115"/>
                    <a:pt x="300" y="115"/>
                  </a:cubicBezTo>
                  <a:cubicBezTo>
                    <a:pt x="300" y="115"/>
                    <a:pt x="314" y="95"/>
                    <a:pt x="318" y="92"/>
                  </a:cubicBezTo>
                  <a:cubicBezTo>
                    <a:pt x="322" y="89"/>
                    <a:pt x="342" y="75"/>
                    <a:pt x="332" y="75"/>
                  </a:cubicBezTo>
                  <a:cubicBezTo>
                    <a:pt x="322" y="75"/>
                    <a:pt x="313" y="77"/>
                    <a:pt x="303" y="76"/>
                  </a:cubicBezTo>
                  <a:cubicBezTo>
                    <a:pt x="293" y="75"/>
                    <a:pt x="284" y="57"/>
                    <a:pt x="275" y="61"/>
                  </a:cubicBezTo>
                  <a:cubicBezTo>
                    <a:pt x="266" y="65"/>
                    <a:pt x="257" y="57"/>
                    <a:pt x="255" y="78"/>
                  </a:cubicBezTo>
                  <a:cubicBezTo>
                    <a:pt x="253" y="99"/>
                    <a:pt x="255" y="111"/>
                    <a:pt x="252" y="113"/>
                  </a:cubicBezTo>
                  <a:cubicBezTo>
                    <a:pt x="249" y="115"/>
                    <a:pt x="239" y="130"/>
                    <a:pt x="239" y="130"/>
                  </a:cubicBezTo>
                  <a:cubicBezTo>
                    <a:pt x="257" y="134"/>
                    <a:pt x="257" y="134"/>
                    <a:pt x="257" y="134"/>
                  </a:cubicBezTo>
                  <a:cubicBezTo>
                    <a:pt x="238" y="137"/>
                    <a:pt x="238" y="137"/>
                    <a:pt x="238" y="137"/>
                  </a:cubicBezTo>
                  <a:cubicBezTo>
                    <a:pt x="241" y="148"/>
                    <a:pt x="241" y="148"/>
                    <a:pt x="241" y="148"/>
                  </a:cubicBezTo>
                  <a:cubicBezTo>
                    <a:pt x="230" y="165"/>
                    <a:pt x="230" y="165"/>
                    <a:pt x="230" y="165"/>
                  </a:cubicBezTo>
                  <a:cubicBezTo>
                    <a:pt x="230" y="165"/>
                    <a:pt x="251" y="173"/>
                    <a:pt x="250" y="177"/>
                  </a:cubicBezTo>
                  <a:cubicBezTo>
                    <a:pt x="249" y="181"/>
                    <a:pt x="218" y="175"/>
                    <a:pt x="218" y="175"/>
                  </a:cubicBezTo>
                  <a:cubicBezTo>
                    <a:pt x="218" y="175"/>
                    <a:pt x="179" y="235"/>
                    <a:pt x="169" y="247"/>
                  </a:cubicBezTo>
                  <a:cubicBezTo>
                    <a:pt x="159" y="259"/>
                    <a:pt x="112" y="315"/>
                    <a:pt x="112" y="315"/>
                  </a:cubicBezTo>
                  <a:cubicBezTo>
                    <a:pt x="114" y="330"/>
                    <a:pt x="114" y="330"/>
                    <a:pt x="114" y="330"/>
                  </a:cubicBezTo>
                  <a:cubicBezTo>
                    <a:pt x="114" y="330"/>
                    <a:pt x="101" y="332"/>
                    <a:pt x="90" y="344"/>
                  </a:cubicBezTo>
                  <a:cubicBezTo>
                    <a:pt x="79" y="356"/>
                    <a:pt x="79" y="374"/>
                    <a:pt x="79" y="374"/>
                  </a:cubicBezTo>
                  <a:cubicBezTo>
                    <a:pt x="66" y="387"/>
                    <a:pt x="66" y="387"/>
                    <a:pt x="66" y="387"/>
                  </a:cubicBezTo>
                  <a:cubicBezTo>
                    <a:pt x="63" y="421"/>
                    <a:pt x="63" y="421"/>
                    <a:pt x="63" y="421"/>
                  </a:cubicBezTo>
                  <a:cubicBezTo>
                    <a:pt x="63" y="421"/>
                    <a:pt x="39" y="453"/>
                    <a:pt x="33" y="459"/>
                  </a:cubicBezTo>
                  <a:cubicBezTo>
                    <a:pt x="27" y="465"/>
                    <a:pt x="6" y="477"/>
                    <a:pt x="8" y="488"/>
                  </a:cubicBezTo>
                  <a:cubicBezTo>
                    <a:pt x="10" y="499"/>
                    <a:pt x="26" y="506"/>
                    <a:pt x="23" y="516"/>
                  </a:cubicBezTo>
                  <a:cubicBezTo>
                    <a:pt x="20" y="526"/>
                    <a:pt x="0" y="550"/>
                    <a:pt x="0" y="562"/>
                  </a:cubicBezTo>
                  <a:cubicBezTo>
                    <a:pt x="0" y="574"/>
                    <a:pt x="13" y="615"/>
                    <a:pt x="13" y="615"/>
                  </a:cubicBezTo>
                  <a:cubicBezTo>
                    <a:pt x="29" y="605"/>
                    <a:pt x="29" y="605"/>
                    <a:pt x="29" y="605"/>
                  </a:cubicBezTo>
                  <a:cubicBezTo>
                    <a:pt x="74" y="609"/>
                    <a:pt x="74" y="609"/>
                    <a:pt x="74" y="609"/>
                  </a:cubicBezTo>
                  <a:cubicBezTo>
                    <a:pt x="74" y="609"/>
                    <a:pt x="36" y="609"/>
                    <a:pt x="33" y="615"/>
                  </a:cubicBezTo>
                  <a:cubicBezTo>
                    <a:pt x="30" y="621"/>
                    <a:pt x="31" y="635"/>
                    <a:pt x="31" y="635"/>
                  </a:cubicBezTo>
                  <a:cubicBezTo>
                    <a:pt x="31" y="635"/>
                    <a:pt x="20" y="620"/>
                    <a:pt x="16" y="626"/>
                  </a:cubicBezTo>
                  <a:cubicBezTo>
                    <a:pt x="12" y="632"/>
                    <a:pt x="2" y="651"/>
                    <a:pt x="7" y="659"/>
                  </a:cubicBezTo>
                  <a:cubicBezTo>
                    <a:pt x="12" y="667"/>
                    <a:pt x="25" y="667"/>
                    <a:pt x="25" y="667"/>
                  </a:cubicBezTo>
                  <a:cubicBezTo>
                    <a:pt x="25" y="667"/>
                    <a:pt x="23" y="688"/>
                    <a:pt x="20" y="688"/>
                  </a:cubicBezTo>
                  <a:cubicBezTo>
                    <a:pt x="17" y="688"/>
                    <a:pt x="7" y="700"/>
                    <a:pt x="7" y="709"/>
                  </a:cubicBezTo>
                  <a:cubicBezTo>
                    <a:pt x="7" y="718"/>
                    <a:pt x="20" y="733"/>
                    <a:pt x="20" y="733"/>
                  </a:cubicBezTo>
                  <a:cubicBezTo>
                    <a:pt x="20" y="733"/>
                    <a:pt x="40" y="763"/>
                    <a:pt x="39" y="770"/>
                  </a:cubicBezTo>
                  <a:cubicBezTo>
                    <a:pt x="38" y="777"/>
                    <a:pt x="16" y="799"/>
                    <a:pt x="28" y="803"/>
                  </a:cubicBezTo>
                  <a:cubicBezTo>
                    <a:pt x="40" y="807"/>
                    <a:pt x="65" y="807"/>
                    <a:pt x="65" y="807"/>
                  </a:cubicBezTo>
                  <a:cubicBezTo>
                    <a:pt x="65" y="807"/>
                    <a:pt x="67" y="828"/>
                    <a:pt x="79" y="828"/>
                  </a:cubicBezTo>
                  <a:cubicBezTo>
                    <a:pt x="91" y="828"/>
                    <a:pt x="108" y="822"/>
                    <a:pt x="108" y="822"/>
                  </a:cubicBezTo>
                  <a:cubicBezTo>
                    <a:pt x="111" y="841"/>
                    <a:pt x="111" y="841"/>
                    <a:pt x="111" y="841"/>
                  </a:cubicBezTo>
                  <a:cubicBezTo>
                    <a:pt x="111" y="841"/>
                    <a:pt x="143" y="852"/>
                    <a:pt x="143" y="867"/>
                  </a:cubicBezTo>
                  <a:cubicBezTo>
                    <a:pt x="143" y="875"/>
                    <a:pt x="140" y="889"/>
                    <a:pt x="138" y="901"/>
                  </a:cubicBezTo>
                  <a:cubicBezTo>
                    <a:pt x="141" y="903"/>
                    <a:pt x="141" y="903"/>
                    <a:pt x="141" y="903"/>
                  </a:cubicBezTo>
                  <a:cubicBezTo>
                    <a:pt x="240" y="899"/>
                    <a:pt x="240" y="899"/>
                    <a:pt x="240" y="899"/>
                  </a:cubicBezTo>
                  <a:cubicBezTo>
                    <a:pt x="230" y="909"/>
                    <a:pt x="240" y="909"/>
                    <a:pt x="240" y="909"/>
                  </a:cubicBezTo>
                  <a:cubicBezTo>
                    <a:pt x="380" y="973"/>
                    <a:pt x="380" y="973"/>
                    <a:pt x="380" y="973"/>
                  </a:cubicBezTo>
                  <a:cubicBezTo>
                    <a:pt x="512" y="971"/>
                    <a:pt x="512" y="971"/>
                    <a:pt x="512" y="971"/>
                  </a:cubicBezTo>
                  <a:cubicBezTo>
                    <a:pt x="512" y="971"/>
                    <a:pt x="512" y="971"/>
                    <a:pt x="516" y="968"/>
                  </a:cubicBezTo>
                  <a:cubicBezTo>
                    <a:pt x="519" y="964"/>
                    <a:pt x="517" y="960"/>
                    <a:pt x="517" y="954"/>
                  </a:cubicBezTo>
                  <a:cubicBezTo>
                    <a:pt x="517" y="948"/>
                    <a:pt x="524" y="944"/>
                    <a:pt x="524" y="944"/>
                  </a:cubicBezTo>
                  <a:cubicBezTo>
                    <a:pt x="597" y="944"/>
                    <a:pt x="597" y="944"/>
                    <a:pt x="597" y="944"/>
                  </a:cubicBezTo>
                  <a:cubicBezTo>
                    <a:pt x="612" y="959"/>
                    <a:pt x="607" y="967"/>
                    <a:pt x="607" y="967"/>
                  </a:cubicBezTo>
                  <a:cubicBezTo>
                    <a:pt x="625" y="975"/>
                    <a:pt x="625" y="975"/>
                    <a:pt x="625" y="975"/>
                  </a:cubicBezTo>
                  <a:cubicBezTo>
                    <a:pt x="631" y="996"/>
                    <a:pt x="631" y="996"/>
                    <a:pt x="631" y="996"/>
                  </a:cubicBezTo>
                  <a:cubicBezTo>
                    <a:pt x="631" y="996"/>
                    <a:pt x="642" y="997"/>
                    <a:pt x="653" y="1008"/>
                  </a:cubicBezTo>
                  <a:cubicBezTo>
                    <a:pt x="663" y="1018"/>
                    <a:pt x="653" y="1060"/>
                    <a:pt x="653" y="1060"/>
                  </a:cubicBezTo>
                  <a:cubicBezTo>
                    <a:pt x="653" y="1060"/>
                    <a:pt x="684" y="1094"/>
                    <a:pt x="703" y="1094"/>
                  </a:cubicBezTo>
                  <a:cubicBezTo>
                    <a:pt x="722" y="1094"/>
                    <a:pt x="735" y="1060"/>
                    <a:pt x="739" y="1056"/>
                  </a:cubicBezTo>
                  <a:cubicBezTo>
                    <a:pt x="743" y="1052"/>
                    <a:pt x="755" y="1053"/>
                    <a:pt x="755" y="1053"/>
                  </a:cubicBezTo>
                  <a:cubicBezTo>
                    <a:pt x="756" y="1047"/>
                    <a:pt x="756" y="1047"/>
                    <a:pt x="756" y="1047"/>
                  </a:cubicBezTo>
                  <a:cubicBezTo>
                    <a:pt x="766" y="1052"/>
                    <a:pt x="766" y="1052"/>
                    <a:pt x="766" y="1052"/>
                  </a:cubicBezTo>
                  <a:cubicBezTo>
                    <a:pt x="795" y="1053"/>
                    <a:pt x="795" y="1053"/>
                    <a:pt x="795" y="1053"/>
                  </a:cubicBezTo>
                  <a:cubicBezTo>
                    <a:pt x="795" y="1053"/>
                    <a:pt x="815" y="1084"/>
                    <a:pt x="823" y="1092"/>
                  </a:cubicBezTo>
                  <a:cubicBezTo>
                    <a:pt x="831" y="1100"/>
                    <a:pt x="823" y="1115"/>
                    <a:pt x="823" y="1124"/>
                  </a:cubicBezTo>
                  <a:cubicBezTo>
                    <a:pt x="823" y="1133"/>
                    <a:pt x="834" y="1140"/>
                    <a:pt x="834" y="1140"/>
                  </a:cubicBezTo>
                  <a:cubicBezTo>
                    <a:pt x="834" y="1140"/>
                    <a:pt x="835" y="1146"/>
                    <a:pt x="835" y="1153"/>
                  </a:cubicBezTo>
                  <a:cubicBezTo>
                    <a:pt x="835" y="1161"/>
                    <a:pt x="844" y="1162"/>
                    <a:pt x="851" y="1169"/>
                  </a:cubicBezTo>
                  <a:cubicBezTo>
                    <a:pt x="858" y="1176"/>
                    <a:pt x="848" y="1179"/>
                    <a:pt x="848" y="1179"/>
                  </a:cubicBezTo>
                  <a:cubicBezTo>
                    <a:pt x="848" y="1206"/>
                    <a:pt x="848" y="1206"/>
                    <a:pt x="848" y="1206"/>
                  </a:cubicBezTo>
                  <a:cubicBezTo>
                    <a:pt x="856" y="1212"/>
                    <a:pt x="856" y="1212"/>
                    <a:pt x="856" y="1212"/>
                  </a:cubicBezTo>
                  <a:cubicBezTo>
                    <a:pt x="856" y="1212"/>
                    <a:pt x="854" y="1220"/>
                    <a:pt x="854" y="1231"/>
                  </a:cubicBezTo>
                  <a:cubicBezTo>
                    <a:pt x="854" y="1242"/>
                    <a:pt x="884" y="1243"/>
                    <a:pt x="884" y="1243"/>
                  </a:cubicBezTo>
                  <a:cubicBezTo>
                    <a:pt x="890" y="1254"/>
                    <a:pt x="890" y="1254"/>
                    <a:pt x="890" y="1254"/>
                  </a:cubicBezTo>
                  <a:cubicBezTo>
                    <a:pt x="890" y="1254"/>
                    <a:pt x="909" y="1254"/>
                    <a:pt x="914" y="1254"/>
                  </a:cubicBezTo>
                  <a:cubicBezTo>
                    <a:pt x="919" y="1254"/>
                    <a:pt x="917" y="1264"/>
                    <a:pt x="928" y="1264"/>
                  </a:cubicBezTo>
                  <a:cubicBezTo>
                    <a:pt x="933" y="1264"/>
                    <a:pt x="937" y="1263"/>
                    <a:pt x="940" y="1262"/>
                  </a:cubicBezTo>
                  <a:cubicBezTo>
                    <a:pt x="930" y="1213"/>
                    <a:pt x="930" y="1213"/>
                    <a:pt x="930" y="1213"/>
                  </a:cubicBezTo>
                  <a:cubicBezTo>
                    <a:pt x="942" y="1202"/>
                    <a:pt x="942" y="1202"/>
                    <a:pt x="942" y="1202"/>
                  </a:cubicBezTo>
                  <a:cubicBezTo>
                    <a:pt x="929" y="1193"/>
                    <a:pt x="929" y="1193"/>
                    <a:pt x="929" y="1193"/>
                  </a:cubicBezTo>
                  <a:cubicBezTo>
                    <a:pt x="929" y="1180"/>
                    <a:pt x="929" y="1180"/>
                    <a:pt x="929" y="1180"/>
                  </a:cubicBezTo>
                  <a:cubicBezTo>
                    <a:pt x="929" y="1180"/>
                    <a:pt x="947" y="1192"/>
                    <a:pt x="950" y="1180"/>
                  </a:cubicBezTo>
                  <a:cubicBezTo>
                    <a:pt x="953" y="1168"/>
                    <a:pt x="950" y="1159"/>
                    <a:pt x="950" y="1159"/>
                  </a:cubicBezTo>
                  <a:cubicBezTo>
                    <a:pt x="966" y="1157"/>
                    <a:pt x="966" y="1157"/>
                    <a:pt x="966" y="1157"/>
                  </a:cubicBezTo>
                  <a:cubicBezTo>
                    <a:pt x="971" y="1139"/>
                    <a:pt x="971" y="1139"/>
                    <a:pt x="971" y="1139"/>
                  </a:cubicBezTo>
                  <a:cubicBezTo>
                    <a:pt x="981" y="1144"/>
                    <a:pt x="981" y="1144"/>
                    <a:pt x="981" y="1144"/>
                  </a:cubicBezTo>
                  <a:cubicBezTo>
                    <a:pt x="994" y="1137"/>
                    <a:pt x="994" y="1137"/>
                    <a:pt x="994" y="1137"/>
                  </a:cubicBezTo>
                  <a:cubicBezTo>
                    <a:pt x="989" y="1121"/>
                    <a:pt x="989" y="1121"/>
                    <a:pt x="989" y="1121"/>
                  </a:cubicBezTo>
                  <a:cubicBezTo>
                    <a:pt x="999" y="1128"/>
                    <a:pt x="999" y="1128"/>
                    <a:pt x="999" y="1128"/>
                  </a:cubicBezTo>
                  <a:cubicBezTo>
                    <a:pt x="999" y="1128"/>
                    <a:pt x="1003" y="1106"/>
                    <a:pt x="1009" y="1110"/>
                  </a:cubicBezTo>
                  <a:cubicBezTo>
                    <a:pt x="1015" y="1114"/>
                    <a:pt x="1016" y="1125"/>
                    <a:pt x="1022" y="1122"/>
                  </a:cubicBezTo>
                  <a:cubicBezTo>
                    <a:pt x="1028" y="1119"/>
                    <a:pt x="1056" y="1111"/>
                    <a:pt x="1064" y="1103"/>
                  </a:cubicBezTo>
                  <a:cubicBezTo>
                    <a:pt x="1072" y="1095"/>
                    <a:pt x="1086" y="1076"/>
                    <a:pt x="1086" y="1076"/>
                  </a:cubicBezTo>
                  <a:cubicBezTo>
                    <a:pt x="1086" y="1076"/>
                    <a:pt x="1078" y="1053"/>
                    <a:pt x="1088" y="1052"/>
                  </a:cubicBezTo>
                  <a:cubicBezTo>
                    <a:pt x="1098" y="1051"/>
                    <a:pt x="1109" y="1075"/>
                    <a:pt x="1121" y="1068"/>
                  </a:cubicBezTo>
                  <a:cubicBezTo>
                    <a:pt x="1133" y="1061"/>
                    <a:pt x="1137" y="1033"/>
                    <a:pt x="1143" y="1040"/>
                  </a:cubicBezTo>
                  <a:cubicBezTo>
                    <a:pt x="1149" y="1047"/>
                    <a:pt x="1152" y="1053"/>
                    <a:pt x="1157" y="1053"/>
                  </a:cubicBezTo>
                  <a:cubicBezTo>
                    <a:pt x="1162" y="1053"/>
                    <a:pt x="1173" y="1037"/>
                    <a:pt x="1173" y="1037"/>
                  </a:cubicBezTo>
                  <a:cubicBezTo>
                    <a:pt x="1173" y="1037"/>
                    <a:pt x="1192" y="1068"/>
                    <a:pt x="1206" y="1066"/>
                  </a:cubicBezTo>
                  <a:cubicBezTo>
                    <a:pt x="1220" y="1064"/>
                    <a:pt x="1222" y="1033"/>
                    <a:pt x="1238" y="1049"/>
                  </a:cubicBezTo>
                  <a:cubicBezTo>
                    <a:pt x="1254" y="1065"/>
                    <a:pt x="1246" y="1083"/>
                    <a:pt x="1256" y="1083"/>
                  </a:cubicBezTo>
                  <a:cubicBezTo>
                    <a:pt x="1266" y="1083"/>
                    <a:pt x="1282" y="1090"/>
                    <a:pt x="1282" y="1090"/>
                  </a:cubicBezTo>
                  <a:cubicBezTo>
                    <a:pt x="1282" y="1090"/>
                    <a:pt x="1281" y="1074"/>
                    <a:pt x="1288" y="1079"/>
                  </a:cubicBezTo>
                  <a:cubicBezTo>
                    <a:pt x="1295" y="1084"/>
                    <a:pt x="1303" y="1103"/>
                    <a:pt x="1308" y="1091"/>
                  </a:cubicBezTo>
                  <a:cubicBezTo>
                    <a:pt x="1313" y="1079"/>
                    <a:pt x="1306" y="1064"/>
                    <a:pt x="1306" y="1064"/>
                  </a:cubicBezTo>
                  <a:cubicBezTo>
                    <a:pt x="1320" y="1069"/>
                    <a:pt x="1320" y="1069"/>
                    <a:pt x="1320" y="1069"/>
                  </a:cubicBezTo>
                  <a:cubicBezTo>
                    <a:pt x="1325" y="1080"/>
                    <a:pt x="1325" y="1080"/>
                    <a:pt x="1325" y="1080"/>
                  </a:cubicBezTo>
                  <a:cubicBezTo>
                    <a:pt x="1335" y="1083"/>
                    <a:pt x="1335" y="1083"/>
                    <a:pt x="1335" y="1083"/>
                  </a:cubicBezTo>
                  <a:cubicBezTo>
                    <a:pt x="1335" y="1092"/>
                    <a:pt x="1335" y="1092"/>
                    <a:pt x="1335" y="1092"/>
                  </a:cubicBezTo>
                  <a:cubicBezTo>
                    <a:pt x="1335" y="1092"/>
                    <a:pt x="1359" y="1099"/>
                    <a:pt x="1354" y="1087"/>
                  </a:cubicBezTo>
                  <a:cubicBezTo>
                    <a:pt x="1349" y="1075"/>
                    <a:pt x="1335" y="1070"/>
                    <a:pt x="1335" y="1070"/>
                  </a:cubicBezTo>
                  <a:cubicBezTo>
                    <a:pt x="1329" y="1060"/>
                    <a:pt x="1329" y="1060"/>
                    <a:pt x="1329" y="1060"/>
                  </a:cubicBezTo>
                  <a:cubicBezTo>
                    <a:pt x="1329" y="1060"/>
                    <a:pt x="1349" y="1057"/>
                    <a:pt x="1347" y="1049"/>
                  </a:cubicBezTo>
                  <a:cubicBezTo>
                    <a:pt x="1345" y="1041"/>
                    <a:pt x="1343" y="1039"/>
                    <a:pt x="1334" y="1040"/>
                  </a:cubicBezTo>
                  <a:cubicBezTo>
                    <a:pt x="1325" y="1041"/>
                    <a:pt x="1298" y="1044"/>
                    <a:pt x="1307" y="1030"/>
                  </a:cubicBezTo>
                  <a:cubicBezTo>
                    <a:pt x="1316" y="1016"/>
                    <a:pt x="1325" y="1027"/>
                    <a:pt x="1336" y="1030"/>
                  </a:cubicBezTo>
                  <a:cubicBezTo>
                    <a:pt x="1347" y="1033"/>
                    <a:pt x="1355" y="1031"/>
                    <a:pt x="1365" y="1024"/>
                  </a:cubicBezTo>
                  <a:cubicBezTo>
                    <a:pt x="1375" y="1017"/>
                    <a:pt x="1386" y="1017"/>
                    <a:pt x="1386" y="1017"/>
                  </a:cubicBezTo>
                  <a:cubicBezTo>
                    <a:pt x="1387" y="1021"/>
                    <a:pt x="1387" y="1021"/>
                    <a:pt x="1387" y="1021"/>
                  </a:cubicBezTo>
                  <a:cubicBezTo>
                    <a:pt x="1387" y="1021"/>
                    <a:pt x="1417" y="1021"/>
                    <a:pt x="1417" y="1014"/>
                  </a:cubicBezTo>
                  <a:cubicBezTo>
                    <a:pt x="1417" y="1007"/>
                    <a:pt x="1423" y="992"/>
                    <a:pt x="1426" y="997"/>
                  </a:cubicBezTo>
                  <a:cubicBezTo>
                    <a:pt x="1429" y="1002"/>
                    <a:pt x="1429" y="1024"/>
                    <a:pt x="1429" y="1024"/>
                  </a:cubicBezTo>
                  <a:cubicBezTo>
                    <a:pt x="1429" y="1024"/>
                    <a:pt x="1462" y="1012"/>
                    <a:pt x="1471" y="1013"/>
                  </a:cubicBezTo>
                  <a:cubicBezTo>
                    <a:pt x="1480" y="1014"/>
                    <a:pt x="1487" y="1024"/>
                    <a:pt x="1487" y="1024"/>
                  </a:cubicBezTo>
                  <a:cubicBezTo>
                    <a:pt x="1487" y="1024"/>
                    <a:pt x="1484" y="1008"/>
                    <a:pt x="1494" y="1012"/>
                  </a:cubicBezTo>
                  <a:cubicBezTo>
                    <a:pt x="1504" y="1016"/>
                    <a:pt x="1504" y="1030"/>
                    <a:pt x="1504" y="1030"/>
                  </a:cubicBezTo>
                  <a:cubicBezTo>
                    <a:pt x="1524" y="1025"/>
                    <a:pt x="1524" y="1025"/>
                    <a:pt x="1524" y="1025"/>
                  </a:cubicBezTo>
                  <a:cubicBezTo>
                    <a:pt x="1520" y="1033"/>
                    <a:pt x="1520" y="1033"/>
                    <a:pt x="1520" y="1033"/>
                  </a:cubicBezTo>
                  <a:cubicBezTo>
                    <a:pt x="1520" y="1033"/>
                    <a:pt x="1521" y="1065"/>
                    <a:pt x="1539" y="1061"/>
                  </a:cubicBezTo>
                  <a:cubicBezTo>
                    <a:pt x="1557" y="1057"/>
                    <a:pt x="1570" y="1031"/>
                    <a:pt x="1588" y="1035"/>
                  </a:cubicBezTo>
                  <a:cubicBezTo>
                    <a:pt x="1606" y="1039"/>
                    <a:pt x="1607" y="1073"/>
                    <a:pt x="1616" y="1079"/>
                  </a:cubicBezTo>
                  <a:cubicBezTo>
                    <a:pt x="1625" y="1085"/>
                    <a:pt x="1643" y="1085"/>
                    <a:pt x="1643" y="1085"/>
                  </a:cubicBezTo>
                  <a:cubicBezTo>
                    <a:pt x="1640" y="1111"/>
                    <a:pt x="1640" y="1111"/>
                    <a:pt x="1640" y="1111"/>
                  </a:cubicBezTo>
                  <a:cubicBezTo>
                    <a:pt x="1640" y="1111"/>
                    <a:pt x="1621" y="1139"/>
                    <a:pt x="1623" y="1147"/>
                  </a:cubicBezTo>
                  <a:cubicBezTo>
                    <a:pt x="1625" y="1155"/>
                    <a:pt x="1635" y="1156"/>
                    <a:pt x="1635" y="1156"/>
                  </a:cubicBezTo>
                  <a:cubicBezTo>
                    <a:pt x="1640" y="1166"/>
                    <a:pt x="1640" y="1166"/>
                    <a:pt x="1640" y="1166"/>
                  </a:cubicBezTo>
                  <a:cubicBezTo>
                    <a:pt x="1621" y="1179"/>
                    <a:pt x="1621" y="1179"/>
                    <a:pt x="1621" y="1179"/>
                  </a:cubicBezTo>
                  <a:cubicBezTo>
                    <a:pt x="1634" y="1212"/>
                    <a:pt x="1634" y="1212"/>
                    <a:pt x="1634" y="1212"/>
                  </a:cubicBezTo>
                  <a:cubicBezTo>
                    <a:pt x="1634" y="1212"/>
                    <a:pt x="1649" y="1193"/>
                    <a:pt x="1650" y="1199"/>
                  </a:cubicBezTo>
                  <a:cubicBezTo>
                    <a:pt x="1651" y="1205"/>
                    <a:pt x="1639" y="1230"/>
                    <a:pt x="1639" y="1230"/>
                  </a:cubicBezTo>
                  <a:cubicBezTo>
                    <a:pt x="1649" y="1227"/>
                    <a:pt x="1649" y="1227"/>
                    <a:pt x="1649" y="1227"/>
                  </a:cubicBezTo>
                  <a:cubicBezTo>
                    <a:pt x="1652" y="1259"/>
                    <a:pt x="1652" y="1259"/>
                    <a:pt x="1652" y="1259"/>
                  </a:cubicBezTo>
                  <a:cubicBezTo>
                    <a:pt x="1652" y="1259"/>
                    <a:pt x="1669" y="1259"/>
                    <a:pt x="1669" y="1265"/>
                  </a:cubicBezTo>
                  <a:cubicBezTo>
                    <a:pt x="1669" y="1271"/>
                    <a:pt x="1666" y="1287"/>
                    <a:pt x="1666" y="1287"/>
                  </a:cubicBezTo>
                  <a:cubicBezTo>
                    <a:pt x="1681" y="1304"/>
                    <a:pt x="1681" y="1304"/>
                    <a:pt x="1681" y="1304"/>
                  </a:cubicBezTo>
                  <a:cubicBezTo>
                    <a:pt x="1681" y="1304"/>
                    <a:pt x="1705" y="1298"/>
                    <a:pt x="1707" y="1291"/>
                  </a:cubicBezTo>
                  <a:cubicBezTo>
                    <a:pt x="1709" y="1284"/>
                    <a:pt x="1711" y="1271"/>
                    <a:pt x="1711" y="1271"/>
                  </a:cubicBezTo>
                  <a:cubicBezTo>
                    <a:pt x="1723" y="1271"/>
                    <a:pt x="1723" y="1271"/>
                    <a:pt x="1723" y="1271"/>
                  </a:cubicBezTo>
                  <a:cubicBezTo>
                    <a:pt x="1723" y="1271"/>
                    <a:pt x="1722" y="1250"/>
                    <a:pt x="1729" y="1240"/>
                  </a:cubicBezTo>
                  <a:cubicBezTo>
                    <a:pt x="1736" y="1230"/>
                    <a:pt x="1740" y="1213"/>
                    <a:pt x="1737" y="1203"/>
                  </a:cubicBezTo>
                  <a:cubicBezTo>
                    <a:pt x="1734" y="1193"/>
                    <a:pt x="1724" y="1160"/>
                    <a:pt x="1724" y="1151"/>
                  </a:cubicBezTo>
                  <a:cubicBezTo>
                    <a:pt x="1724" y="1142"/>
                    <a:pt x="1730" y="1128"/>
                    <a:pt x="1730" y="1112"/>
                  </a:cubicBezTo>
                  <a:cubicBezTo>
                    <a:pt x="1730" y="1096"/>
                    <a:pt x="1710" y="1070"/>
                    <a:pt x="1714" y="1056"/>
                  </a:cubicBezTo>
                  <a:cubicBezTo>
                    <a:pt x="1718" y="1042"/>
                    <a:pt x="1710" y="1002"/>
                    <a:pt x="1722" y="987"/>
                  </a:cubicBezTo>
                  <a:cubicBezTo>
                    <a:pt x="1734" y="972"/>
                    <a:pt x="1742" y="948"/>
                    <a:pt x="1742" y="948"/>
                  </a:cubicBezTo>
                  <a:cubicBezTo>
                    <a:pt x="1752" y="942"/>
                    <a:pt x="1752" y="942"/>
                    <a:pt x="1752" y="942"/>
                  </a:cubicBezTo>
                  <a:cubicBezTo>
                    <a:pt x="1765" y="929"/>
                    <a:pt x="1765" y="929"/>
                    <a:pt x="1765" y="929"/>
                  </a:cubicBezTo>
                  <a:cubicBezTo>
                    <a:pt x="1771" y="913"/>
                    <a:pt x="1771" y="913"/>
                    <a:pt x="1771" y="913"/>
                  </a:cubicBezTo>
                  <a:cubicBezTo>
                    <a:pt x="1780" y="919"/>
                    <a:pt x="1780" y="919"/>
                    <a:pt x="1780" y="919"/>
                  </a:cubicBezTo>
                  <a:cubicBezTo>
                    <a:pt x="1783" y="905"/>
                    <a:pt x="1783" y="905"/>
                    <a:pt x="1783" y="905"/>
                  </a:cubicBezTo>
                  <a:cubicBezTo>
                    <a:pt x="1783" y="905"/>
                    <a:pt x="1813" y="909"/>
                    <a:pt x="1818" y="903"/>
                  </a:cubicBezTo>
                  <a:cubicBezTo>
                    <a:pt x="1823" y="897"/>
                    <a:pt x="1819" y="886"/>
                    <a:pt x="1819" y="886"/>
                  </a:cubicBezTo>
                  <a:cubicBezTo>
                    <a:pt x="1832" y="887"/>
                    <a:pt x="1832" y="887"/>
                    <a:pt x="1832" y="887"/>
                  </a:cubicBezTo>
                  <a:cubicBezTo>
                    <a:pt x="1836" y="881"/>
                    <a:pt x="1836" y="881"/>
                    <a:pt x="1836" y="881"/>
                  </a:cubicBezTo>
                  <a:cubicBezTo>
                    <a:pt x="1847" y="880"/>
                    <a:pt x="1847" y="880"/>
                    <a:pt x="1847" y="880"/>
                  </a:cubicBezTo>
                  <a:cubicBezTo>
                    <a:pt x="1864" y="859"/>
                    <a:pt x="1864" y="859"/>
                    <a:pt x="1864" y="859"/>
                  </a:cubicBezTo>
                  <a:cubicBezTo>
                    <a:pt x="1864" y="859"/>
                    <a:pt x="1868" y="839"/>
                    <a:pt x="1887" y="834"/>
                  </a:cubicBezTo>
                  <a:cubicBezTo>
                    <a:pt x="1906" y="829"/>
                    <a:pt x="1917" y="840"/>
                    <a:pt x="1926" y="831"/>
                  </a:cubicBezTo>
                  <a:cubicBezTo>
                    <a:pt x="1935" y="822"/>
                    <a:pt x="1941" y="805"/>
                    <a:pt x="1941" y="805"/>
                  </a:cubicBezTo>
                  <a:cubicBezTo>
                    <a:pt x="1951" y="807"/>
                    <a:pt x="1951" y="807"/>
                    <a:pt x="1951" y="807"/>
                  </a:cubicBezTo>
                  <a:cubicBezTo>
                    <a:pt x="1956" y="792"/>
                    <a:pt x="1956" y="792"/>
                    <a:pt x="1956" y="792"/>
                  </a:cubicBezTo>
                  <a:cubicBezTo>
                    <a:pt x="2010" y="789"/>
                    <a:pt x="2010" y="789"/>
                    <a:pt x="2010" y="789"/>
                  </a:cubicBezTo>
                  <a:cubicBezTo>
                    <a:pt x="2013" y="773"/>
                    <a:pt x="2013" y="773"/>
                    <a:pt x="2013" y="773"/>
                  </a:cubicBezTo>
                  <a:cubicBezTo>
                    <a:pt x="1988" y="775"/>
                    <a:pt x="1988" y="775"/>
                    <a:pt x="1988" y="775"/>
                  </a:cubicBezTo>
                  <a:cubicBezTo>
                    <a:pt x="1988" y="775"/>
                    <a:pt x="2002" y="770"/>
                    <a:pt x="2001" y="763"/>
                  </a:cubicBezTo>
                  <a:cubicBezTo>
                    <a:pt x="2000" y="756"/>
                    <a:pt x="1990" y="749"/>
                    <a:pt x="1990" y="749"/>
                  </a:cubicBezTo>
                  <a:cubicBezTo>
                    <a:pt x="2013" y="745"/>
                    <a:pt x="2013" y="745"/>
                    <a:pt x="2013" y="745"/>
                  </a:cubicBezTo>
                  <a:cubicBezTo>
                    <a:pt x="2029" y="751"/>
                    <a:pt x="2029" y="751"/>
                    <a:pt x="2029" y="751"/>
                  </a:cubicBezTo>
                  <a:cubicBezTo>
                    <a:pt x="2052" y="727"/>
                    <a:pt x="2052" y="727"/>
                    <a:pt x="2052" y="727"/>
                  </a:cubicBezTo>
                  <a:cubicBezTo>
                    <a:pt x="2015" y="726"/>
                    <a:pt x="2015" y="726"/>
                    <a:pt x="2015" y="726"/>
                  </a:cubicBezTo>
                  <a:cubicBezTo>
                    <a:pt x="2013" y="709"/>
                    <a:pt x="2013" y="709"/>
                    <a:pt x="2013" y="709"/>
                  </a:cubicBezTo>
                  <a:cubicBezTo>
                    <a:pt x="2022" y="718"/>
                    <a:pt x="2022" y="718"/>
                    <a:pt x="2022" y="718"/>
                  </a:cubicBezTo>
                  <a:cubicBezTo>
                    <a:pt x="2052" y="707"/>
                    <a:pt x="2052" y="707"/>
                    <a:pt x="2052" y="707"/>
                  </a:cubicBezTo>
                  <a:cubicBezTo>
                    <a:pt x="2055" y="668"/>
                    <a:pt x="2055" y="668"/>
                    <a:pt x="2055" y="668"/>
                  </a:cubicBezTo>
                  <a:cubicBezTo>
                    <a:pt x="2036" y="676"/>
                    <a:pt x="2036" y="676"/>
                    <a:pt x="2036" y="676"/>
                  </a:cubicBezTo>
                  <a:cubicBezTo>
                    <a:pt x="2032" y="658"/>
                    <a:pt x="2032" y="658"/>
                    <a:pt x="2032" y="658"/>
                  </a:cubicBezTo>
                  <a:cubicBezTo>
                    <a:pt x="2016" y="647"/>
                    <a:pt x="2016" y="647"/>
                    <a:pt x="2016" y="647"/>
                  </a:cubicBezTo>
                  <a:cubicBezTo>
                    <a:pt x="2045" y="662"/>
                    <a:pt x="2045" y="662"/>
                    <a:pt x="2045" y="662"/>
                  </a:cubicBezTo>
                  <a:cubicBezTo>
                    <a:pt x="2052" y="656"/>
                    <a:pt x="2052" y="656"/>
                    <a:pt x="2052" y="656"/>
                  </a:cubicBezTo>
                  <a:cubicBezTo>
                    <a:pt x="2039" y="646"/>
                    <a:pt x="2039" y="646"/>
                    <a:pt x="2039" y="646"/>
                  </a:cubicBezTo>
                  <a:cubicBezTo>
                    <a:pt x="2057" y="646"/>
                    <a:pt x="2057" y="646"/>
                    <a:pt x="2057" y="646"/>
                  </a:cubicBezTo>
                  <a:cubicBezTo>
                    <a:pt x="2057" y="646"/>
                    <a:pt x="2035" y="617"/>
                    <a:pt x="2035" y="610"/>
                  </a:cubicBezTo>
                  <a:cubicBezTo>
                    <a:pt x="2035" y="603"/>
                    <a:pt x="2040" y="600"/>
                    <a:pt x="2040" y="600"/>
                  </a:cubicBezTo>
                  <a:cubicBezTo>
                    <a:pt x="2040" y="600"/>
                    <a:pt x="2023" y="589"/>
                    <a:pt x="2025" y="586"/>
                  </a:cubicBezTo>
                  <a:cubicBezTo>
                    <a:pt x="2027" y="583"/>
                    <a:pt x="2046" y="571"/>
                    <a:pt x="2046" y="571"/>
                  </a:cubicBezTo>
                  <a:cubicBezTo>
                    <a:pt x="2041" y="589"/>
                    <a:pt x="2041" y="589"/>
                    <a:pt x="2041" y="589"/>
                  </a:cubicBezTo>
                  <a:cubicBezTo>
                    <a:pt x="2062" y="606"/>
                    <a:pt x="2062" y="606"/>
                    <a:pt x="2062" y="606"/>
                  </a:cubicBezTo>
                  <a:cubicBezTo>
                    <a:pt x="2062" y="606"/>
                    <a:pt x="2070" y="582"/>
                    <a:pt x="2070" y="569"/>
                  </a:cubicBezTo>
                  <a:cubicBezTo>
                    <a:pt x="2070" y="556"/>
                    <a:pt x="2108" y="525"/>
                    <a:pt x="2107" y="533"/>
                  </a:cubicBezTo>
                  <a:cubicBezTo>
                    <a:pt x="2106" y="541"/>
                    <a:pt x="2083" y="574"/>
                    <a:pt x="2083" y="574"/>
                  </a:cubicBezTo>
                  <a:cubicBezTo>
                    <a:pt x="2077" y="596"/>
                    <a:pt x="2077" y="596"/>
                    <a:pt x="2077" y="596"/>
                  </a:cubicBezTo>
                  <a:cubicBezTo>
                    <a:pt x="2090" y="597"/>
                    <a:pt x="2090" y="597"/>
                    <a:pt x="2090" y="597"/>
                  </a:cubicBezTo>
                  <a:cubicBezTo>
                    <a:pt x="2090" y="597"/>
                    <a:pt x="2087" y="619"/>
                    <a:pt x="2082" y="623"/>
                  </a:cubicBezTo>
                  <a:cubicBezTo>
                    <a:pt x="2077" y="627"/>
                    <a:pt x="2059" y="661"/>
                    <a:pt x="2066" y="661"/>
                  </a:cubicBezTo>
                  <a:cubicBezTo>
                    <a:pt x="2073" y="661"/>
                    <a:pt x="2083" y="637"/>
                    <a:pt x="2089" y="632"/>
                  </a:cubicBezTo>
                  <a:cubicBezTo>
                    <a:pt x="2095" y="627"/>
                    <a:pt x="2125" y="611"/>
                    <a:pt x="2127" y="598"/>
                  </a:cubicBezTo>
                  <a:cubicBezTo>
                    <a:pt x="2129" y="585"/>
                    <a:pt x="2125" y="564"/>
                    <a:pt x="2125" y="553"/>
                  </a:cubicBezTo>
                  <a:cubicBezTo>
                    <a:pt x="2125" y="542"/>
                    <a:pt x="2129" y="516"/>
                    <a:pt x="2136" y="513"/>
                  </a:cubicBezTo>
                  <a:cubicBezTo>
                    <a:pt x="2143" y="510"/>
                    <a:pt x="2138" y="515"/>
                    <a:pt x="2135" y="528"/>
                  </a:cubicBezTo>
                  <a:cubicBezTo>
                    <a:pt x="2132" y="541"/>
                    <a:pt x="2144" y="545"/>
                    <a:pt x="2144" y="545"/>
                  </a:cubicBezTo>
                  <a:cubicBezTo>
                    <a:pt x="2144" y="545"/>
                    <a:pt x="2138" y="570"/>
                    <a:pt x="2141" y="570"/>
                  </a:cubicBezTo>
                  <a:cubicBezTo>
                    <a:pt x="2144" y="570"/>
                    <a:pt x="2175" y="531"/>
                    <a:pt x="2185" y="521"/>
                  </a:cubicBezTo>
                  <a:cubicBezTo>
                    <a:pt x="2195" y="511"/>
                    <a:pt x="2217" y="495"/>
                    <a:pt x="2214" y="491"/>
                  </a:cubicBezTo>
                  <a:cubicBezTo>
                    <a:pt x="2211" y="487"/>
                    <a:pt x="2202" y="490"/>
                    <a:pt x="2202" y="480"/>
                  </a:cubicBezTo>
                  <a:cubicBezTo>
                    <a:pt x="2202" y="470"/>
                    <a:pt x="2220" y="475"/>
                    <a:pt x="2240" y="475"/>
                  </a:cubicBezTo>
                  <a:cubicBezTo>
                    <a:pt x="2260" y="475"/>
                    <a:pt x="2306" y="453"/>
                    <a:pt x="2306" y="453"/>
                  </a:cubicBezTo>
                  <a:cubicBezTo>
                    <a:pt x="2293" y="447"/>
                    <a:pt x="2293" y="447"/>
                    <a:pt x="2293" y="447"/>
                  </a:cubicBezTo>
                  <a:cubicBezTo>
                    <a:pt x="2293" y="447"/>
                    <a:pt x="2269" y="458"/>
                    <a:pt x="2257" y="459"/>
                  </a:cubicBezTo>
                  <a:cubicBezTo>
                    <a:pt x="2245" y="460"/>
                    <a:pt x="2225" y="468"/>
                    <a:pt x="2228" y="455"/>
                  </a:cubicBezTo>
                  <a:cubicBezTo>
                    <a:pt x="2231" y="442"/>
                    <a:pt x="2266" y="439"/>
                    <a:pt x="2266" y="439"/>
                  </a:cubicBezTo>
                  <a:cubicBezTo>
                    <a:pt x="2326" y="438"/>
                    <a:pt x="2326" y="438"/>
                    <a:pt x="2326" y="438"/>
                  </a:cubicBezTo>
                  <a:cubicBezTo>
                    <a:pt x="2355" y="411"/>
                    <a:pt x="2355" y="411"/>
                    <a:pt x="2355" y="411"/>
                  </a:cubicBezTo>
                  <a:cubicBezTo>
                    <a:pt x="2361" y="421"/>
                    <a:pt x="2361" y="421"/>
                    <a:pt x="2361" y="421"/>
                  </a:cubicBezTo>
                  <a:cubicBezTo>
                    <a:pt x="2379" y="412"/>
                    <a:pt x="2379" y="412"/>
                    <a:pt x="2379" y="412"/>
                  </a:cubicBezTo>
                  <a:cubicBezTo>
                    <a:pt x="2377" y="435"/>
                    <a:pt x="2377" y="435"/>
                    <a:pt x="2377" y="435"/>
                  </a:cubicBezTo>
                  <a:cubicBezTo>
                    <a:pt x="2397" y="422"/>
                    <a:pt x="2397" y="422"/>
                    <a:pt x="2397" y="422"/>
                  </a:cubicBezTo>
                  <a:cubicBezTo>
                    <a:pt x="2413" y="418"/>
                    <a:pt x="2413" y="418"/>
                    <a:pt x="2413" y="418"/>
                  </a:cubicBezTo>
                  <a:cubicBezTo>
                    <a:pt x="2418" y="396"/>
                    <a:pt x="2418" y="396"/>
                    <a:pt x="2418" y="396"/>
                  </a:cubicBezTo>
                  <a:cubicBezTo>
                    <a:pt x="2409" y="388"/>
                    <a:pt x="2409" y="388"/>
                    <a:pt x="2409" y="388"/>
                  </a:cubicBezTo>
                  <a:cubicBezTo>
                    <a:pt x="2407" y="407"/>
                    <a:pt x="2407" y="407"/>
                    <a:pt x="2407" y="407"/>
                  </a:cubicBezTo>
                  <a:cubicBezTo>
                    <a:pt x="2391" y="410"/>
                    <a:pt x="2391" y="410"/>
                    <a:pt x="2391" y="410"/>
                  </a:cubicBezTo>
                  <a:cubicBezTo>
                    <a:pt x="2391" y="391"/>
                    <a:pt x="2391" y="391"/>
                    <a:pt x="2391" y="391"/>
                  </a:cubicBezTo>
                  <a:cubicBezTo>
                    <a:pt x="2378" y="377"/>
                    <a:pt x="2378" y="377"/>
                    <a:pt x="2378" y="377"/>
                  </a:cubicBezTo>
                  <a:cubicBezTo>
                    <a:pt x="2394" y="369"/>
                    <a:pt x="2394" y="369"/>
                    <a:pt x="2394" y="369"/>
                  </a:cubicBezTo>
                  <a:cubicBezTo>
                    <a:pt x="2398" y="346"/>
                    <a:pt x="2398" y="346"/>
                    <a:pt x="2398" y="346"/>
                  </a:cubicBezTo>
                  <a:cubicBezTo>
                    <a:pt x="2398" y="346"/>
                    <a:pt x="2413" y="329"/>
                    <a:pt x="2423" y="324"/>
                  </a:cubicBezTo>
                  <a:cubicBezTo>
                    <a:pt x="2433" y="319"/>
                    <a:pt x="2438" y="301"/>
                    <a:pt x="2438" y="301"/>
                  </a:cubicBezTo>
                  <a:cubicBezTo>
                    <a:pt x="2457" y="306"/>
                    <a:pt x="2457" y="306"/>
                    <a:pt x="2457" y="306"/>
                  </a:cubicBezTo>
                  <a:cubicBezTo>
                    <a:pt x="2467" y="291"/>
                    <a:pt x="2467" y="291"/>
                    <a:pt x="2467" y="291"/>
                  </a:cubicBezTo>
                  <a:cubicBezTo>
                    <a:pt x="2467" y="291"/>
                    <a:pt x="2470" y="302"/>
                    <a:pt x="2479" y="296"/>
                  </a:cubicBezTo>
                  <a:cubicBezTo>
                    <a:pt x="2488" y="290"/>
                    <a:pt x="2515" y="266"/>
                    <a:pt x="2515" y="266"/>
                  </a:cubicBezTo>
                  <a:cubicBezTo>
                    <a:pt x="2516" y="284"/>
                    <a:pt x="2516" y="284"/>
                    <a:pt x="2516" y="284"/>
                  </a:cubicBezTo>
                  <a:cubicBezTo>
                    <a:pt x="2516" y="284"/>
                    <a:pt x="2547" y="265"/>
                    <a:pt x="2556" y="260"/>
                  </a:cubicBezTo>
                  <a:cubicBezTo>
                    <a:pt x="2565" y="255"/>
                    <a:pt x="2597" y="254"/>
                    <a:pt x="2597" y="254"/>
                  </a:cubicBezTo>
                  <a:cubicBezTo>
                    <a:pt x="2597" y="232"/>
                    <a:pt x="2597" y="232"/>
                    <a:pt x="2597" y="232"/>
                  </a:cubicBezTo>
                  <a:cubicBezTo>
                    <a:pt x="2597" y="232"/>
                    <a:pt x="2598" y="232"/>
                    <a:pt x="2598" y="233"/>
                  </a:cubicBezTo>
                  <a:cubicBezTo>
                    <a:pt x="2597" y="229"/>
                    <a:pt x="2597" y="229"/>
                    <a:pt x="2597" y="229"/>
                  </a:cubicBezTo>
                  <a:cubicBezTo>
                    <a:pt x="2597" y="229"/>
                    <a:pt x="2589" y="232"/>
                    <a:pt x="2584" y="227"/>
                  </a:cubicBezTo>
                  <a:cubicBezTo>
                    <a:pt x="2579" y="222"/>
                    <a:pt x="2593" y="209"/>
                    <a:pt x="2593" y="209"/>
                  </a:cubicBezTo>
                  <a:cubicBezTo>
                    <a:pt x="2593" y="209"/>
                    <a:pt x="2585" y="205"/>
                    <a:pt x="2582" y="202"/>
                  </a:cubicBezTo>
                  <a:cubicBezTo>
                    <a:pt x="2579" y="199"/>
                    <a:pt x="2609" y="142"/>
                    <a:pt x="2609" y="125"/>
                  </a:cubicBezTo>
                  <a:cubicBezTo>
                    <a:pt x="2609" y="108"/>
                    <a:pt x="2582" y="119"/>
                    <a:pt x="2570" y="119"/>
                  </a:cubicBezTo>
                  <a:close/>
                  <a:moveTo>
                    <a:pt x="1811" y="252"/>
                  </a:moveTo>
                  <a:cubicBezTo>
                    <a:pt x="1797" y="252"/>
                    <a:pt x="1817" y="235"/>
                    <a:pt x="1810" y="232"/>
                  </a:cubicBezTo>
                  <a:cubicBezTo>
                    <a:pt x="1803" y="229"/>
                    <a:pt x="1793" y="242"/>
                    <a:pt x="1793" y="242"/>
                  </a:cubicBezTo>
                  <a:cubicBezTo>
                    <a:pt x="1788" y="244"/>
                    <a:pt x="1788" y="244"/>
                    <a:pt x="1788" y="244"/>
                  </a:cubicBezTo>
                  <a:cubicBezTo>
                    <a:pt x="1784" y="255"/>
                    <a:pt x="1784" y="255"/>
                    <a:pt x="1784" y="255"/>
                  </a:cubicBezTo>
                  <a:cubicBezTo>
                    <a:pt x="1773" y="251"/>
                    <a:pt x="1773" y="251"/>
                    <a:pt x="1773" y="251"/>
                  </a:cubicBezTo>
                  <a:cubicBezTo>
                    <a:pt x="1773" y="251"/>
                    <a:pt x="1773" y="262"/>
                    <a:pt x="1770" y="269"/>
                  </a:cubicBezTo>
                  <a:cubicBezTo>
                    <a:pt x="1767" y="276"/>
                    <a:pt x="1757" y="279"/>
                    <a:pt x="1752" y="284"/>
                  </a:cubicBezTo>
                  <a:cubicBezTo>
                    <a:pt x="1747" y="289"/>
                    <a:pt x="1753" y="297"/>
                    <a:pt x="1753" y="297"/>
                  </a:cubicBezTo>
                  <a:cubicBezTo>
                    <a:pt x="1753" y="297"/>
                    <a:pt x="1749" y="297"/>
                    <a:pt x="1736" y="311"/>
                  </a:cubicBezTo>
                  <a:cubicBezTo>
                    <a:pt x="1723" y="325"/>
                    <a:pt x="1741" y="325"/>
                    <a:pt x="1741" y="333"/>
                  </a:cubicBezTo>
                  <a:cubicBezTo>
                    <a:pt x="1741" y="341"/>
                    <a:pt x="1734" y="342"/>
                    <a:pt x="1734" y="342"/>
                  </a:cubicBezTo>
                  <a:cubicBezTo>
                    <a:pt x="1734" y="342"/>
                    <a:pt x="1742" y="346"/>
                    <a:pt x="1719" y="378"/>
                  </a:cubicBezTo>
                  <a:cubicBezTo>
                    <a:pt x="1696" y="410"/>
                    <a:pt x="1651" y="420"/>
                    <a:pt x="1651" y="420"/>
                  </a:cubicBezTo>
                  <a:cubicBezTo>
                    <a:pt x="1654" y="400"/>
                    <a:pt x="1654" y="400"/>
                    <a:pt x="1654" y="400"/>
                  </a:cubicBezTo>
                  <a:cubicBezTo>
                    <a:pt x="1654" y="400"/>
                    <a:pt x="1650" y="393"/>
                    <a:pt x="1648" y="389"/>
                  </a:cubicBezTo>
                  <a:cubicBezTo>
                    <a:pt x="1646" y="385"/>
                    <a:pt x="1663" y="365"/>
                    <a:pt x="1665" y="358"/>
                  </a:cubicBezTo>
                  <a:cubicBezTo>
                    <a:pt x="1667" y="351"/>
                    <a:pt x="1661" y="350"/>
                    <a:pt x="1663" y="338"/>
                  </a:cubicBezTo>
                  <a:cubicBezTo>
                    <a:pt x="1665" y="326"/>
                    <a:pt x="1687" y="307"/>
                    <a:pt x="1687" y="307"/>
                  </a:cubicBezTo>
                  <a:cubicBezTo>
                    <a:pt x="1687" y="298"/>
                    <a:pt x="1687" y="298"/>
                    <a:pt x="1687" y="298"/>
                  </a:cubicBezTo>
                  <a:cubicBezTo>
                    <a:pt x="1687" y="298"/>
                    <a:pt x="1708" y="283"/>
                    <a:pt x="1711" y="277"/>
                  </a:cubicBezTo>
                  <a:cubicBezTo>
                    <a:pt x="1714" y="271"/>
                    <a:pt x="1746" y="240"/>
                    <a:pt x="1746" y="240"/>
                  </a:cubicBezTo>
                  <a:cubicBezTo>
                    <a:pt x="1725" y="246"/>
                    <a:pt x="1725" y="246"/>
                    <a:pt x="1725" y="246"/>
                  </a:cubicBezTo>
                  <a:cubicBezTo>
                    <a:pt x="1725" y="246"/>
                    <a:pt x="1702" y="265"/>
                    <a:pt x="1698" y="260"/>
                  </a:cubicBezTo>
                  <a:cubicBezTo>
                    <a:pt x="1694" y="255"/>
                    <a:pt x="1734" y="231"/>
                    <a:pt x="1739" y="223"/>
                  </a:cubicBezTo>
                  <a:cubicBezTo>
                    <a:pt x="1744" y="215"/>
                    <a:pt x="1772" y="194"/>
                    <a:pt x="1772" y="194"/>
                  </a:cubicBezTo>
                  <a:cubicBezTo>
                    <a:pt x="1777" y="200"/>
                    <a:pt x="1777" y="200"/>
                    <a:pt x="1777" y="200"/>
                  </a:cubicBezTo>
                  <a:cubicBezTo>
                    <a:pt x="1787" y="194"/>
                    <a:pt x="1787" y="194"/>
                    <a:pt x="1787" y="194"/>
                  </a:cubicBezTo>
                  <a:cubicBezTo>
                    <a:pt x="1787" y="194"/>
                    <a:pt x="1782" y="203"/>
                    <a:pt x="1792" y="202"/>
                  </a:cubicBezTo>
                  <a:cubicBezTo>
                    <a:pt x="1802" y="201"/>
                    <a:pt x="1799" y="187"/>
                    <a:pt x="1799" y="187"/>
                  </a:cubicBezTo>
                  <a:cubicBezTo>
                    <a:pt x="1815" y="192"/>
                    <a:pt x="1815" y="192"/>
                    <a:pt x="1815" y="192"/>
                  </a:cubicBezTo>
                  <a:cubicBezTo>
                    <a:pt x="1815" y="192"/>
                    <a:pt x="1837" y="181"/>
                    <a:pt x="1847" y="184"/>
                  </a:cubicBezTo>
                  <a:cubicBezTo>
                    <a:pt x="1857" y="187"/>
                    <a:pt x="1862" y="199"/>
                    <a:pt x="1862" y="199"/>
                  </a:cubicBezTo>
                  <a:cubicBezTo>
                    <a:pt x="1845" y="205"/>
                    <a:pt x="1845" y="205"/>
                    <a:pt x="1845" y="205"/>
                  </a:cubicBezTo>
                  <a:cubicBezTo>
                    <a:pt x="1847" y="222"/>
                    <a:pt x="1847" y="222"/>
                    <a:pt x="1847" y="222"/>
                  </a:cubicBezTo>
                  <a:cubicBezTo>
                    <a:pt x="1847" y="222"/>
                    <a:pt x="1835" y="220"/>
                    <a:pt x="1828" y="220"/>
                  </a:cubicBezTo>
                  <a:cubicBezTo>
                    <a:pt x="1821" y="220"/>
                    <a:pt x="1824" y="237"/>
                    <a:pt x="1824" y="237"/>
                  </a:cubicBezTo>
                  <a:cubicBezTo>
                    <a:pt x="1824" y="237"/>
                    <a:pt x="1825" y="252"/>
                    <a:pt x="1811" y="252"/>
                  </a:cubicBezTo>
                  <a:close/>
                </a:path>
              </a:pathLst>
            </a:custGeom>
            <a:solidFill>
              <a:schemeClr val="accent1"/>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5" name="Saint Pierre and Miquelon">
              <a:extLst>
                <a:ext uri="{FF2B5EF4-FFF2-40B4-BE49-F238E27FC236}">
                  <a16:creationId xmlns:a16="http://schemas.microsoft.com/office/drawing/2014/main" id="{B1C13369-822A-4AC4-96BF-6B2E0EF6EAF5}"/>
                </a:ext>
              </a:extLst>
            </p:cNvPr>
            <p:cNvSpPr>
              <a:spLocks/>
            </p:cNvSpPr>
            <p:nvPr/>
          </p:nvSpPr>
          <p:spPr bwMode="gray">
            <a:xfrm>
              <a:off x="4252297" y="2539629"/>
              <a:ext cx="163540" cy="145982"/>
            </a:xfrm>
            <a:custGeom>
              <a:avLst/>
              <a:gdLst>
                <a:gd name="T0" fmla="*/ 180 w 291"/>
                <a:gd name="T1" fmla="*/ 17 h 260"/>
                <a:gd name="T2" fmla="*/ 226 w 291"/>
                <a:gd name="T3" fmla="*/ 5 h 260"/>
                <a:gd name="T4" fmla="*/ 229 w 291"/>
                <a:gd name="T5" fmla="*/ 20 h 260"/>
                <a:gd name="T6" fmla="*/ 215 w 291"/>
                <a:gd name="T7" fmla="*/ 29 h 260"/>
                <a:gd name="T8" fmla="*/ 198 w 291"/>
                <a:gd name="T9" fmla="*/ 60 h 260"/>
                <a:gd name="T10" fmla="*/ 171 w 291"/>
                <a:gd name="T11" fmla="*/ 72 h 260"/>
                <a:gd name="T12" fmla="*/ 147 w 291"/>
                <a:gd name="T13" fmla="*/ 101 h 260"/>
                <a:gd name="T14" fmla="*/ 145 w 291"/>
                <a:gd name="T15" fmla="*/ 119 h 260"/>
                <a:gd name="T16" fmla="*/ 162 w 291"/>
                <a:gd name="T17" fmla="*/ 106 h 260"/>
                <a:gd name="T18" fmla="*/ 180 w 291"/>
                <a:gd name="T19" fmla="*/ 76 h 260"/>
                <a:gd name="T20" fmla="*/ 194 w 291"/>
                <a:gd name="T21" fmla="*/ 88 h 260"/>
                <a:gd name="T22" fmla="*/ 210 w 291"/>
                <a:gd name="T23" fmla="*/ 94 h 260"/>
                <a:gd name="T24" fmla="*/ 202 w 291"/>
                <a:gd name="T25" fmla="*/ 115 h 260"/>
                <a:gd name="T26" fmla="*/ 222 w 291"/>
                <a:gd name="T27" fmla="*/ 113 h 260"/>
                <a:gd name="T28" fmla="*/ 228 w 291"/>
                <a:gd name="T29" fmla="*/ 132 h 260"/>
                <a:gd name="T30" fmla="*/ 262 w 291"/>
                <a:gd name="T31" fmla="*/ 111 h 260"/>
                <a:gd name="T32" fmla="*/ 275 w 291"/>
                <a:gd name="T33" fmla="*/ 120 h 260"/>
                <a:gd name="T34" fmla="*/ 256 w 291"/>
                <a:gd name="T35" fmla="*/ 138 h 260"/>
                <a:gd name="T36" fmla="*/ 280 w 291"/>
                <a:gd name="T37" fmla="*/ 144 h 260"/>
                <a:gd name="T38" fmla="*/ 242 w 291"/>
                <a:gd name="T39" fmla="*/ 197 h 260"/>
                <a:gd name="T40" fmla="*/ 266 w 291"/>
                <a:gd name="T41" fmla="*/ 198 h 260"/>
                <a:gd name="T42" fmla="*/ 244 w 291"/>
                <a:gd name="T43" fmla="*/ 212 h 260"/>
                <a:gd name="T44" fmla="*/ 264 w 291"/>
                <a:gd name="T45" fmla="*/ 213 h 260"/>
                <a:gd name="T46" fmla="*/ 286 w 291"/>
                <a:gd name="T47" fmla="*/ 204 h 260"/>
                <a:gd name="T48" fmla="*/ 291 w 291"/>
                <a:gd name="T49" fmla="*/ 219 h 260"/>
                <a:gd name="T50" fmla="*/ 244 w 291"/>
                <a:gd name="T51" fmla="*/ 260 h 260"/>
                <a:gd name="T52" fmla="*/ 216 w 291"/>
                <a:gd name="T53" fmla="*/ 256 h 260"/>
                <a:gd name="T54" fmla="*/ 232 w 291"/>
                <a:gd name="T55" fmla="*/ 240 h 260"/>
                <a:gd name="T56" fmla="*/ 210 w 291"/>
                <a:gd name="T57" fmla="*/ 242 h 260"/>
                <a:gd name="T58" fmla="*/ 205 w 291"/>
                <a:gd name="T59" fmla="*/ 237 h 260"/>
                <a:gd name="T60" fmla="*/ 158 w 291"/>
                <a:gd name="T61" fmla="*/ 243 h 260"/>
                <a:gd name="T62" fmla="*/ 133 w 291"/>
                <a:gd name="T63" fmla="*/ 239 h 260"/>
                <a:gd name="T64" fmla="*/ 131 w 291"/>
                <a:gd name="T65" fmla="*/ 236 h 260"/>
                <a:gd name="T66" fmla="*/ 159 w 291"/>
                <a:gd name="T67" fmla="*/ 228 h 260"/>
                <a:gd name="T68" fmla="*/ 152 w 291"/>
                <a:gd name="T69" fmla="*/ 217 h 260"/>
                <a:gd name="T70" fmla="*/ 64 w 291"/>
                <a:gd name="T71" fmla="*/ 199 h 260"/>
                <a:gd name="T72" fmla="*/ 12 w 291"/>
                <a:gd name="T73" fmla="*/ 201 h 260"/>
                <a:gd name="T74" fmla="*/ 34 w 291"/>
                <a:gd name="T75" fmla="*/ 186 h 260"/>
                <a:gd name="T76" fmla="*/ 8 w 291"/>
                <a:gd name="T77" fmla="*/ 176 h 260"/>
                <a:gd name="T78" fmla="*/ 50 w 291"/>
                <a:gd name="T79" fmla="*/ 153 h 260"/>
                <a:gd name="T80" fmla="*/ 106 w 291"/>
                <a:gd name="T81" fmla="*/ 101 h 260"/>
                <a:gd name="T82" fmla="*/ 143 w 291"/>
                <a:gd name="T83" fmla="*/ 65 h 260"/>
                <a:gd name="T84" fmla="*/ 180 w 291"/>
                <a:gd name="T85" fmla="*/ 1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1" h="260">
                  <a:moveTo>
                    <a:pt x="180" y="17"/>
                  </a:moveTo>
                  <a:cubicBezTo>
                    <a:pt x="180" y="17"/>
                    <a:pt x="209" y="0"/>
                    <a:pt x="226" y="5"/>
                  </a:cubicBezTo>
                  <a:cubicBezTo>
                    <a:pt x="244" y="10"/>
                    <a:pt x="229" y="20"/>
                    <a:pt x="229" y="20"/>
                  </a:cubicBezTo>
                  <a:cubicBezTo>
                    <a:pt x="215" y="29"/>
                    <a:pt x="215" y="29"/>
                    <a:pt x="215" y="29"/>
                  </a:cubicBezTo>
                  <a:cubicBezTo>
                    <a:pt x="215" y="29"/>
                    <a:pt x="210" y="49"/>
                    <a:pt x="198" y="60"/>
                  </a:cubicBezTo>
                  <a:cubicBezTo>
                    <a:pt x="186" y="71"/>
                    <a:pt x="171" y="72"/>
                    <a:pt x="171" y="72"/>
                  </a:cubicBezTo>
                  <a:cubicBezTo>
                    <a:pt x="147" y="101"/>
                    <a:pt x="147" y="101"/>
                    <a:pt x="147" y="101"/>
                  </a:cubicBezTo>
                  <a:cubicBezTo>
                    <a:pt x="145" y="119"/>
                    <a:pt x="145" y="119"/>
                    <a:pt x="145" y="119"/>
                  </a:cubicBezTo>
                  <a:cubicBezTo>
                    <a:pt x="162" y="106"/>
                    <a:pt x="162" y="106"/>
                    <a:pt x="162" y="106"/>
                  </a:cubicBezTo>
                  <a:cubicBezTo>
                    <a:pt x="180" y="76"/>
                    <a:pt x="180" y="76"/>
                    <a:pt x="180" y="76"/>
                  </a:cubicBezTo>
                  <a:cubicBezTo>
                    <a:pt x="194" y="88"/>
                    <a:pt x="194" y="88"/>
                    <a:pt x="194" y="88"/>
                  </a:cubicBezTo>
                  <a:cubicBezTo>
                    <a:pt x="210" y="94"/>
                    <a:pt x="210" y="94"/>
                    <a:pt x="210" y="94"/>
                  </a:cubicBezTo>
                  <a:cubicBezTo>
                    <a:pt x="202" y="115"/>
                    <a:pt x="202" y="115"/>
                    <a:pt x="202" y="115"/>
                  </a:cubicBezTo>
                  <a:cubicBezTo>
                    <a:pt x="222" y="113"/>
                    <a:pt x="222" y="113"/>
                    <a:pt x="222" y="113"/>
                  </a:cubicBezTo>
                  <a:cubicBezTo>
                    <a:pt x="228" y="132"/>
                    <a:pt x="228" y="132"/>
                    <a:pt x="228" y="132"/>
                  </a:cubicBezTo>
                  <a:cubicBezTo>
                    <a:pt x="262" y="111"/>
                    <a:pt x="262" y="111"/>
                    <a:pt x="262" y="111"/>
                  </a:cubicBezTo>
                  <a:cubicBezTo>
                    <a:pt x="275" y="120"/>
                    <a:pt x="275" y="120"/>
                    <a:pt x="275" y="120"/>
                  </a:cubicBezTo>
                  <a:cubicBezTo>
                    <a:pt x="275" y="120"/>
                    <a:pt x="265" y="135"/>
                    <a:pt x="256" y="138"/>
                  </a:cubicBezTo>
                  <a:cubicBezTo>
                    <a:pt x="248" y="141"/>
                    <a:pt x="274" y="144"/>
                    <a:pt x="280" y="144"/>
                  </a:cubicBezTo>
                  <a:cubicBezTo>
                    <a:pt x="286" y="145"/>
                    <a:pt x="242" y="197"/>
                    <a:pt x="242" y="197"/>
                  </a:cubicBezTo>
                  <a:cubicBezTo>
                    <a:pt x="266" y="198"/>
                    <a:pt x="266" y="198"/>
                    <a:pt x="266" y="198"/>
                  </a:cubicBezTo>
                  <a:cubicBezTo>
                    <a:pt x="244" y="212"/>
                    <a:pt x="244" y="212"/>
                    <a:pt x="244" y="212"/>
                  </a:cubicBezTo>
                  <a:cubicBezTo>
                    <a:pt x="264" y="213"/>
                    <a:pt x="264" y="213"/>
                    <a:pt x="264" y="213"/>
                  </a:cubicBezTo>
                  <a:cubicBezTo>
                    <a:pt x="286" y="204"/>
                    <a:pt x="286" y="204"/>
                    <a:pt x="286" y="204"/>
                  </a:cubicBezTo>
                  <a:cubicBezTo>
                    <a:pt x="291" y="219"/>
                    <a:pt x="291" y="219"/>
                    <a:pt x="291" y="219"/>
                  </a:cubicBezTo>
                  <a:cubicBezTo>
                    <a:pt x="244" y="260"/>
                    <a:pt x="244" y="260"/>
                    <a:pt x="244" y="260"/>
                  </a:cubicBezTo>
                  <a:cubicBezTo>
                    <a:pt x="216" y="256"/>
                    <a:pt x="216" y="256"/>
                    <a:pt x="216" y="256"/>
                  </a:cubicBezTo>
                  <a:cubicBezTo>
                    <a:pt x="232" y="240"/>
                    <a:pt x="232" y="240"/>
                    <a:pt x="232" y="240"/>
                  </a:cubicBezTo>
                  <a:cubicBezTo>
                    <a:pt x="210" y="242"/>
                    <a:pt x="210" y="242"/>
                    <a:pt x="210" y="242"/>
                  </a:cubicBezTo>
                  <a:cubicBezTo>
                    <a:pt x="205" y="237"/>
                    <a:pt x="205" y="237"/>
                    <a:pt x="205" y="237"/>
                  </a:cubicBezTo>
                  <a:cubicBezTo>
                    <a:pt x="158" y="243"/>
                    <a:pt x="158" y="243"/>
                    <a:pt x="158" y="243"/>
                  </a:cubicBezTo>
                  <a:cubicBezTo>
                    <a:pt x="133" y="239"/>
                    <a:pt x="133" y="239"/>
                    <a:pt x="133" y="239"/>
                  </a:cubicBezTo>
                  <a:cubicBezTo>
                    <a:pt x="131" y="236"/>
                    <a:pt x="131" y="236"/>
                    <a:pt x="131" y="236"/>
                  </a:cubicBezTo>
                  <a:cubicBezTo>
                    <a:pt x="159" y="228"/>
                    <a:pt x="159" y="228"/>
                    <a:pt x="159" y="228"/>
                  </a:cubicBezTo>
                  <a:cubicBezTo>
                    <a:pt x="159" y="228"/>
                    <a:pt x="168" y="217"/>
                    <a:pt x="152" y="217"/>
                  </a:cubicBezTo>
                  <a:cubicBezTo>
                    <a:pt x="136" y="216"/>
                    <a:pt x="64" y="199"/>
                    <a:pt x="64" y="199"/>
                  </a:cubicBezTo>
                  <a:cubicBezTo>
                    <a:pt x="64" y="199"/>
                    <a:pt x="24" y="213"/>
                    <a:pt x="12" y="201"/>
                  </a:cubicBezTo>
                  <a:cubicBezTo>
                    <a:pt x="0" y="189"/>
                    <a:pt x="34" y="186"/>
                    <a:pt x="34" y="186"/>
                  </a:cubicBezTo>
                  <a:cubicBezTo>
                    <a:pt x="34" y="186"/>
                    <a:pt x="6" y="183"/>
                    <a:pt x="8" y="176"/>
                  </a:cubicBezTo>
                  <a:cubicBezTo>
                    <a:pt x="10" y="170"/>
                    <a:pt x="50" y="153"/>
                    <a:pt x="50" y="153"/>
                  </a:cubicBezTo>
                  <a:cubicBezTo>
                    <a:pt x="106" y="101"/>
                    <a:pt x="106" y="101"/>
                    <a:pt x="106" y="101"/>
                  </a:cubicBezTo>
                  <a:cubicBezTo>
                    <a:pt x="143" y="65"/>
                    <a:pt x="143" y="65"/>
                    <a:pt x="143" y="65"/>
                  </a:cubicBezTo>
                  <a:lnTo>
                    <a:pt x="180" y="17"/>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4" name="Puerto Rico">
              <a:extLst>
                <a:ext uri="{FF2B5EF4-FFF2-40B4-BE49-F238E27FC236}">
                  <a16:creationId xmlns:a16="http://schemas.microsoft.com/office/drawing/2014/main" id="{68C640FB-3E4F-42F5-9BCE-803CC870C0D1}"/>
                </a:ext>
              </a:extLst>
            </p:cNvPr>
            <p:cNvSpPr>
              <a:spLocks/>
            </p:cNvSpPr>
            <p:nvPr/>
          </p:nvSpPr>
          <p:spPr bwMode="gray">
            <a:xfrm>
              <a:off x="3858528" y="3528184"/>
              <a:ext cx="53984" cy="22215"/>
            </a:xfrm>
            <a:custGeom>
              <a:avLst/>
              <a:gdLst>
                <a:gd name="T0" fmla="*/ 60 w 97"/>
                <a:gd name="T1" fmla="*/ 9 h 40"/>
                <a:gd name="T2" fmla="*/ 15 w 97"/>
                <a:gd name="T3" fmla="*/ 0 h 40"/>
                <a:gd name="T4" fmla="*/ 2 w 97"/>
                <a:gd name="T5" fmla="*/ 32 h 40"/>
                <a:gd name="T6" fmla="*/ 27 w 97"/>
                <a:gd name="T7" fmla="*/ 40 h 40"/>
                <a:gd name="T8" fmla="*/ 33 w 97"/>
                <a:gd name="T9" fmla="*/ 34 h 40"/>
                <a:gd name="T10" fmla="*/ 64 w 97"/>
                <a:gd name="T11" fmla="*/ 34 h 40"/>
                <a:gd name="T12" fmla="*/ 95 w 97"/>
                <a:gd name="T13" fmla="*/ 10 h 40"/>
                <a:gd name="T14" fmla="*/ 60 w 97"/>
                <a:gd name="T15" fmla="*/ 9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40">
                  <a:moveTo>
                    <a:pt x="60" y="9"/>
                  </a:moveTo>
                  <a:cubicBezTo>
                    <a:pt x="52" y="9"/>
                    <a:pt x="29" y="0"/>
                    <a:pt x="15" y="0"/>
                  </a:cubicBezTo>
                  <a:cubicBezTo>
                    <a:pt x="0" y="0"/>
                    <a:pt x="2" y="32"/>
                    <a:pt x="2" y="32"/>
                  </a:cubicBezTo>
                  <a:cubicBezTo>
                    <a:pt x="27" y="40"/>
                    <a:pt x="27" y="40"/>
                    <a:pt x="27" y="40"/>
                  </a:cubicBezTo>
                  <a:cubicBezTo>
                    <a:pt x="33" y="34"/>
                    <a:pt x="33" y="34"/>
                    <a:pt x="33" y="34"/>
                  </a:cubicBezTo>
                  <a:cubicBezTo>
                    <a:pt x="33" y="34"/>
                    <a:pt x="48" y="36"/>
                    <a:pt x="64" y="34"/>
                  </a:cubicBezTo>
                  <a:cubicBezTo>
                    <a:pt x="81" y="32"/>
                    <a:pt x="97" y="17"/>
                    <a:pt x="95" y="10"/>
                  </a:cubicBezTo>
                  <a:cubicBezTo>
                    <a:pt x="93" y="2"/>
                    <a:pt x="68" y="10"/>
                    <a:pt x="60" y="9"/>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1" name="Panama">
              <a:extLst>
                <a:ext uri="{FF2B5EF4-FFF2-40B4-BE49-F238E27FC236}">
                  <a16:creationId xmlns:a16="http://schemas.microsoft.com/office/drawing/2014/main" id="{53FEB23B-DDAB-406E-9171-A8FCF48964EA}"/>
                </a:ext>
              </a:extLst>
            </p:cNvPr>
            <p:cNvSpPr>
              <a:spLocks/>
            </p:cNvSpPr>
            <p:nvPr/>
          </p:nvSpPr>
          <p:spPr bwMode="gray">
            <a:xfrm>
              <a:off x="3413951" y="3791588"/>
              <a:ext cx="155602" cy="79338"/>
            </a:xfrm>
            <a:custGeom>
              <a:avLst/>
              <a:gdLst>
                <a:gd name="T0" fmla="*/ 209 w 279"/>
                <a:gd name="T1" fmla="*/ 47 h 141"/>
                <a:gd name="T2" fmla="*/ 224 w 279"/>
                <a:gd name="T3" fmla="*/ 66 h 141"/>
                <a:gd name="T4" fmla="*/ 232 w 279"/>
                <a:gd name="T5" fmla="*/ 63 h 141"/>
                <a:gd name="T6" fmla="*/ 254 w 279"/>
                <a:gd name="T7" fmla="*/ 81 h 141"/>
                <a:gd name="T8" fmla="*/ 232 w 279"/>
                <a:gd name="T9" fmla="*/ 71 h 141"/>
                <a:gd name="T10" fmla="*/ 229 w 279"/>
                <a:gd name="T11" fmla="*/ 106 h 141"/>
                <a:gd name="T12" fmla="*/ 243 w 279"/>
                <a:gd name="T13" fmla="*/ 128 h 141"/>
                <a:gd name="T14" fmla="*/ 243 w 279"/>
                <a:gd name="T15" fmla="*/ 128 h 141"/>
                <a:gd name="T16" fmla="*/ 253 w 279"/>
                <a:gd name="T17" fmla="*/ 107 h 141"/>
                <a:gd name="T18" fmla="*/ 269 w 279"/>
                <a:gd name="T19" fmla="*/ 109 h 141"/>
                <a:gd name="T20" fmla="*/ 279 w 279"/>
                <a:gd name="T21" fmla="*/ 84 h 141"/>
                <a:gd name="T22" fmla="*/ 266 w 279"/>
                <a:gd name="T23" fmla="*/ 70 h 141"/>
                <a:gd name="T24" fmla="*/ 270 w 279"/>
                <a:gd name="T25" fmla="*/ 58 h 141"/>
                <a:gd name="T26" fmla="*/ 255 w 279"/>
                <a:gd name="T27" fmla="*/ 46 h 141"/>
                <a:gd name="T28" fmla="*/ 236 w 279"/>
                <a:gd name="T29" fmla="*/ 18 h 141"/>
                <a:gd name="T30" fmla="*/ 196 w 279"/>
                <a:gd name="T31" fmla="*/ 13 h 141"/>
                <a:gd name="T32" fmla="*/ 195 w 279"/>
                <a:gd name="T33" fmla="*/ 4 h 141"/>
                <a:gd name="T34" fmla="*/ 163 w 279"/>
                <a:gd name="T35" fmla="*/ 7 h 141"/>
                <a:gd name="T36" fmla="*/ 144 w 279"/>
                <a:gd name="T37" fmla="*/ 27 h 141"/>
                <a:gd name="T38" fmla="*/ 126 w 279"/>
                <a:gd name="T39" fmla="*/ 25 h 141"/>
                <a:gd name="T40" fmla="*/ 94 w 279"/>
                <a:gd name="T41" fmla="*/ 50 h 141"/>
                <a:gd name="T42" fmla="*/ 75 w 279"/>
                <a:gd name="T43" fmla="*/ 43 h 141"/>
                <a:gd name="T44" fmla="*/ 65 w 279"/>
                <a:gd name="T45" fmla="*/ 32 h 141"/>
                <a:gd name="T46" fmla="*/ 59 w 279"/>
                <a:gd name="T47" fmla="*/ 39 h 141"/>
                <a:gd name="T48" fmla="*/ 40 w 279"/>
                <a:gd name="T49" fmla="*/ 35 h 141"/>
                <a:gd name="T50" fmla="*/ 35 w 279"/>
                <a:gd name="T51" fmla="*/ 10 h 141"/>
                <a:gd name="T52" fmla="*/ 27 w 279"/>
                <a:gd name="T53" fmla="*/ 5 h 141"/>
                <a:gd name="T54" fmla="*/ 10 w 279"/>
                <a:gd name="T55" fmla="*/ 11 h 141"/>
                <a:gd name="T56" fmla="*/ 10 w 279"/>
                <a:gd name="T57" fmla="*/ 33 h 141"/>
                <a:gd name="T58" fmla="*/ 24 w 279"/>
                <a:gd name="T59" fmla="*/ 40 h 141"/>
                <a:gd name="T60" fmla="*/ 11 w 279"/>
                <a:gd name="T61" fmla="*/ 51 h 141"/>
                <a:gd name="T62" fmla="*/ 10 w 279"/>
                <a:gd name="T63" fmla="*/ 65 h 141"/>
                <a:gd name="T64" fmla="*/ 6 w 279"/>
                <a:gd name="T65" fmla="*/ 70 h 141"/>
                <a:gd name="T66" fmla="*/ 11 w 279"/>
                <a:gd name="T67" fmla="*/ 75 h 141"/>
                <a:gd name="T68" fmla="*/ 39 w 279"/>
                <a:gd name="T69" fmla="*/ 69 h 141"/>
                <a:gd name="T70" fmla="*/ 44 w 279"/>
                <a:gd name="T71" fmla="*/ 81 h 141"/>
                <a:gd name="T72" fmla="*/ 64 w 279"/>
                <a:gd name="T73" fmla="*/ 80 h 141"/>
                <a:gd name="T74" fmla="*/ 67 w 279"/>
                <a:gd name="T75" fmla="*/ 107 h 141"/>
                <a:gd name="T76" fmla="*/ 86 w 279"/>
                <a:gd name="T77" fmla="*/ 102 h 141"/>
                <a:gd name="T78" fmla="*/ 86 w 279"/>
                <a:gd name="T79" fmla="*/ 89 h 141"/>
                <a:gd name="T80" fmla="*/ 97 w 279"/>
                <a:gd name="T81" fmla="*/ 88 h 141"/>
                <a:gd name="T82" fmla="*/ 115 w 279"/>
                <a:gd name="T83" fmla="*/ 134 h 141"/>
                <a:gd name="T84" fmla="*/ 143 w 279"/>
                <a:gd name="T85" fmla="*/ 118 h 141"/>
                <a:gd name="T86" fmla="*/ 116 w 279"/>
                <a:gd name="T87" fmla="*/ 81 h 141"/>
                <a:gd name="T88" fmla="*/ 147 w 279"/>
                <a:gd name="T89" fmla="*/ 62 h 141"/>
                <a:gd name="T90" fmla="*/ 177 w 279"/>
                <a:gd name="T91" fmla="*/ 36 h 141"/>
                <a:gd name="T92" fmla="*/ 209 w 279"/>
                <a:gd name="T93" fmla="*/ 4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9" h="141">
                  <a:moveTo>
                    <a:pt x="209" y="47"/>
                  </a:moveTo>
                  <a:cubicBezTo>
                    <a:pt x="215" y="51"/>
                    <a:pt x="224" y="66"/>
                    <a:pt x="224" y="66"/>
                  </a:cubicBezTo>
                  <a:cubicBezTo>
                    <a:pt x="232" y="63"/>
                    <a:pt x="232" y="63"/>
                    <a:pt x="232" y="63"/>
                  </a:cubicBezTo>
                  <a:cubicBezTo>
                    <a:pt x="254" y="81"/>
                    <a:pt x="254" y="81"/>
                    <a:pt x="254" y="81"/>
                  </a:cubicBezTo>
                  <a:cubicBezTo>
                    <a:pt x="232" y="71"/>
                    <a:pt x="232" y="71"/>
                    <a:pt x="232" y="71"/>
                  </a:cubicBezTo>
                  <a:cubicBezTo>
                    <a:pt x="232" y="71"/>
                    <a:pt x="229" y="100"/>
                    <a:pt x="229" y="106"/>
                  </a:cubicBezTo>
                  <a:cubicBezTo>
                    <a:pt x="229" y="111"/>
                    <a:pt x="240" y="124"/>
                    <a:pt x="243" y="128"/>
                  </a:cubicBezTo>
                  <a:cubicBezTo>
                    <a:pt x="243" y="128"/>
                    <a:pt x="243" y="128"/>
                    <a:pt x="243" y="128"/>
                  </a:cubicBezTo>
                  <a:cubicBezTo>
                    <a:pt x="253" y="107"/>
                    <a:pt x="253" y="107"/>
                    <a:pt x="253" y="107"/>
                  </a:cubicBezTo>
                  <a:cubicBezTo>
                    <a:pt x="253" y="107"/>
                    <a:pt x="260" y="117"/>
                    <a:pt x="269" y="109"/>
                  </a:cubicBezTo>
                  <a:cubicBezTo>
                    <a:pt x="279" y="101"/>
                    <a:pt x="279" y="84"/>
                    <a:pt x="279" y="84"/>
                  </a:cubicBezTo>
                  <a:cubicBezTo>
                    <a:pt x="279" y="84"/>
                    <a:pt x="266" y="77"/>
                    <a:pt x="266" y="70"/>
                  </a:cubicBezTo>
                  <a:cubicBezTo>
                    <a:pt x="266" y="64"/>
                    <a:pt x="269" y="59"/>
                    <a:pt x="270" y="58"/>
                  </a:cubicBezTo>
                  <a:cubicBezTo>
                    <a:pt x="255" y="46"/>
                    <a:pt x="255" y="46"/>
                    <a:pt x="255" y="46"/>
                  </a:cubicBezTo>
                  <a:cubicBezTo>
                    <a:pt x="255" y="46"/>
                    <a:pt x="251" y="24"/>
                    <a:pt x="236" y="18"/>
                  </a:cubicBezTo>
                  <a:cubicBezTo>
                    <a:pt x="221" y="12"/>
                    <a:pt x="196" y="13"/>
                    <a:pt x="196" y="13"/>
                  </a:cubicBezTo>
                  <a:cubicBezTo>
                    <a:pt x="195" y="4"/>
                    <a:pt x="195" y="4"/>
                    <a:pt x="195" y="4"/>
                  </a:cubicBezTo>
                  <a:cubicBezTo>
                    <a:pt x="195" y="4"/>
                    <a:pt x="169" y="0"/>
                    <a:pt x="163" y="7"/>
                  </a:cubicBezTo>
                  <a:cubicBezTo>
                    <a:pt x="157" y="14"/>
                    <a:pt x="144" y="27"/>
                    <a:pt x="144" y="27"/>
                  </a:cubicBezTo>
                  <a:cubicBezTo>
                    <a:pt x="144" y="27"/>
                    <a:pt x="134" y="18"/>
                    <a:pt x="126" y="25"/>
                  </a:cubicBezTo>
                  <a:cubicBezTo>
                    <a:pt x="118" y="32"/>
                    <a:pt x="104" y="50"/>
                    <a:pt x="94" y="50"/>
                  </a:cubicBezTo>
                  <a:cubicBezTo>
                    <a:pt x="84" y="50"/>
                    <a:pt x="75" y="43"/>
                    <a:pt x="75" y="43"/>
                  </a:cubicBezTo>
                  <a:cubicBezTo>
                    <a:pt x="65" y="32"/>
                    <a:pt x="65" y="32"/>
                    <a:pt x="65" y="32"/>
                  </a:cubicBezTo>
                  <a:cubicBezTo>
                    <a:pt x="59" y="39"/>
                    <a:pt x="59" y="39"/>
                    <a:pt x="59" y="39"/>
                  </a:cubicBezTo>
                  <a:cubicBezTo>
                    <a:pt x="59" y="39"/>
                    <a:pt x="45" y="44"/>
                    <a:pt x="40" y="35"/>
                  </a:cubicBezTo>
                  <a:cubicBezTo>
                    <a:pt x="35" y="26"/>
                    <a:pt x="42" y="16"/>
                    <a:pt x="35" y="10"/>
                  </a:cubicBezTo>
                  <a:cubicBezTo>
                    <a:pt x="33" y="8"/>
                    <a:pt x="30" y="7"/>
                    <a:pt x="27" y="5"/>
                  </a:cubicBezTo>
                  <a:cubicBezTo>
                    <a:pt x="23" y="6"/>
                    <a:pt x="16" y="9"/>
                    <a:pt x="10" y="11"/>
                  </a:cubicBezTo>
                  <a:cubicBezTo>
                    <a:pt x="0" y="14"/>
                    <a:pt x="10" y="33"/>
                    <a:pt x="10" y="33"/>
                  </a:cubicBezTo>
                  <a:cubicBezTo>
                    <a:pt x="10" y="33"/>
                    <a:pt x="24" y="35"/>
                    <a:pt x="24" y="40"/>
                  </a:cubicBezTo>
                  <a:cubicBezTo>
                    <a:pt x="24" y="45"/>
                    <a:pt x="11" y="51"/>
                    <a:pt x="11" y="51"/>
                  </a:cubicBezTo>
                  <a:cubicBezTo>
                    <a:pt x="10" y="65"/>
                    <a:pt x="10" y="65"/>
                    <a:pt x="10" y="65"/>
                  </a:cubicBezTo>
                  <a:cubicBezTo>
                    <a:pt x="6" y="70"/>
                    <a:pt x="6" y="70"/>
                    <a:pt x="6" y="70"/>
                  </a:cubicBezTo>
                  <a:cubicBezTo>
                    <a:pt x="11" y="75"/>
                    <a:pt x="11" y="75"/>
                    <a:pt x="11" y="75"/>
                  </a:cubicBezTo>
                  <a:cubicBezTo>
                    <a:pt x="39" y="69"/>
                    <a:pt x="39" y="69"/>
                    <a:pt x="39" y="69"/>
                  </a:cubicBezTo>
                  <a:cubicBezTo>
                    <a:pt x="44" y="81"/>
                    <a:pt x="44" y="81"/>
                    <a:pt x="44" y="81"/>
                  </a:cubicBezTo>
                  <a:cubicBezTo>
                    <a:pt x="64" y="80"/>
                    <a:pt x="64" y="80"/>
                    <a:pt x="64" y="80"/>
                  </a:cubicBezTo>
                  <a:cubicBezTo>
                    <a:pt x="64" y="80"/>
                    <a:pt x="59" y="102"/>
                    <a:pt x="67" y="107"/>
                  </a:cubicBezTo>
                  <a:cubicBezTo>
                    <a:pt x="75" y="112"/>
                    <a:pt x="86" y="102"/>
                    <a:pt x="86" y="102"/>
                  </a:cubicBezTo>
                  <a:cubicBezTo>
                    <a:pt x="86" y="89"/>
                    <a:pt x="86" y="89"/>
                    <a:pt x="86" y="89"/>
                  </a:cubicBezTo>
                  <a:cubicBezTo>
                    <a:pt x="97" y="88"/>
                    <a:pt x="97" y="88"/>
                    <a:pt x="97" y="88"/>
                  </a:cubicBezTo>
                  <a:cubicBezTo>
                    <a:pt x="97" y="88"/>
                    <a:pt x="101" y="141"/>
                    <a:pt x="115" y="134"/>
                  </a:cubicBezTo>
                  <a:cubicBezTo>
                    <a:pt x="129" y="127"/>
                    <a:pt x="143" y="118"/>
                    <a:pt x="143" y="118"/>
                  </a:cubicBezTo>
                  <a:cubicBezTo>
                    <a:pt x="143" y="118"/>
                    <a:pt x="105" y="91"/>
                    <a:pt x="116" y="81"/>
                  </a:cubicBezTo>
                  <a:cubicBezTo>
                    <a:pt x="127" y="71"/>
                    <a:pt x="138" y="70"/>
                    <a:pt x="147" y="62"/>
                  </a:cubicBezTo>
                  <a:cubicBezTo>
                    <a:pt x="156" y="54"/>
                    <a:pt x="167" y="34"/>
                    <a:pt x="177" y="36"/>
                  </a:cubicBezTo>
                  <a:cubicBezTo>
                    <a:pt x="187" y="38"/>
                    <a:pt x="203" y="43"/>
                    <a:pt x="209" y="47"/>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5" name="Nicaragua">
              <a:extLst>
                <a:ext uri="{FF2B5EF4-FFF2-40B4-BE49-F238E27FC236}">
                  <a16:creationId xmlns:a16="http://schemas.microsoft.com/office/drawing/2014/main" id="{1A5F4780-9146-4354-92A0-A9C787EE5E72}"/>
                </a:ext>
              </a:extLst>
            </p:cNvPr>
            <p:cNvSpPr>
              <a:spLocks noEditPoints="1"/>
            </p:cNvSpPr>
            <p:nvPr/>
          </p:nvSpPr>
          <p:spPr bwMode="gray">
            <a:xfrm>
              <a:off x="3304396" y="3636083"/>
              <a:ext cx="122258" cy="123768"/>
            </a:xfrm>
            <a:custGeom>
              <a:avLst/>
              <a:gdLst>
                <a:gd name="T0" fmla="*/ 128 w 220"/>
                <a:gd name="T1" fmla="*/ 204 h 223"/>
                <a:gd name="T2" fmla="*/ 128 w 220"/>
                <a:gd name="T3" fmla="*/ 204 h 223"/>
                <a:gd name="T4" fmla="*/ 128 w 220"/>
                <a:gd name="T5" fmla="*/ 204 h 223"/>
                <a:gd name="T6" fmla="*/ 128 w 220"/>
                <a:gd name="T7" fmla="*/ 204 h 223"/>
                <a:gd name="T8" fmla="*/ 218 w 220"/>
                <a:gd name="T9" fmla="*/ 15 h 223"/>
                <a:gd name="T10" fmla="*/ 211 w 220"/>
                <a:gd name="T11" fmla="*/ 1 h 223"/>
                <a:gd name="T12" fmla="*/ 192 w 220"/>
                <a:gd name="T13" fmla="*/ 2 h 223"/>
                <a:gd name="T14" fmla="*/ 181 w 220"/>
                <a:gd name="T15" fmla="*/ 2 h 223"/>
                <a:gd name="T16" fmla="*/ 168 w 220"/>
                <a:gd name="T17" fmla="*/ 12 h 223"/>
                <a:gd name="T18" fmla="*/ 143 w 220"/>
                <a:gd name="T19" fmla="*/ 1 h 223"/>
                <a:gd name="T20" fmla="*/ 133 w 220"/>
                <a:gd name="T21" fmla="*/ 20 h 223"/>
                <a:gd name="T22" fmla="*/ 120 w 220"/>
                <a:gd name="T23" fmla="*/ 21 h 223"/>
                <a:gd name="T24" fmla="*/ 119 w 220"/>
                <a:gd name="T25" fmla="*/ 31 h 223"/>
                <a:gd name="T26" fmla="*/ 92 w 220"/>
                <a:gd name="T27" fmla="*/ 54 h 223"/>
                <a:gd name="T28" fmla="*/ 78 w 220"/>
                <a:gd name="T29" fmla="*/ 45 h 223"/>
                <a:gd name="T30" fmla="*/ 65 w 220"/>
                <a:gd name="T31" fmla="*/ 59 h 223"/>
                <a:gd name="T32" fmla="*/ 45 w 220"/>
                <a:gd name="T33" fmla="*/ 58 h 223"/>
                <a:gd name="T34" fmla="*/ 44 w 220"/>
                <a:gd name="T35" fmla="*/ 85 h 223"/>
                <a:gd name="T36" fmla="*/ 35 w 220"/>
                <a:gd name="T37" fmla="*/ 87 h 223"/>
                <a:gd name="T38" fmla="*/ 33 w 220"/>
                <a:gd name="T39" fmla="*/ 98 h 223"/>
                <a:gd name="T40" fmla="*/ 19 w 220"/>
                <a:gd name="T41" fmla="*/ 102 h 223"/>
                <a:gd name="T42" fmla="*/ 0 w 220"/>
                <a:gd name="T43" fmla="*/ 102 h 223"/>
                <a:gd name="T44" fmla="*/ 32 w 220"/>
                <a:gd name="T45" fmla="*/ 136 h 223"/>
                <a:gd name="T46" fmla="*/ 50 w 220"/>
                <a:gd name="T47" fmla="*/ 175 h 223"/>
                <a:gd name="T48" fmla="*/ 80 w 220"/>
                <a:gd name="T49" fmla="*/ 199 h 223"/>
                <a:gd name="T50" fmla="*/ 92 w 220"/>
                <a:gd name="T51" fmla="*/ 198 h 223"/>
                <a:gd name="T52" fmla="*/ 92 w 220"/>
                <a:gd name="T53" fmla="*/ 197 h 223"/>
                <a:gd name="T54" fmla="*/ 81 w 220"/>
                <a:gd name="T55" fmla="*/ 187 h 223"/>
                <a:gd name="T56" fmla="*/ 95 w 220"/>
                <a:gd name="T57" fmla="*/ 181 h 223"/>
                <a:gd name="T58" fmla="*/ 90 w 220"/>
                <a:gd name="T59" fmla="*/ 175 h 223"/>
                <a:gd name="T60" fmla="*/ 79 w 220"/>
                <a:gd name="T61" fmla="*/ 177 h 223"/>
                <a:gd name="T62" fmla="*/ 79 w 220"/>
                <a:gd name="T63" fmla="*/ 149 h 223"/>
                <a:gd name="T64" fmla="*/ 123 w 220"/>
                <a:gd name="T65" fmla="*/ 185 h 223"/>
                <a:gd name="T66" fmla="*/ 128 w 220"/>
                <a:gd name="T67" fmla="*/ 204 h 223"/>
                <a:gd name="T68" fmla="*/ 132 w 220"/>
                <a:gd name="T69" fmla="*/ 204 h 223"/>
                <a:gd name="T70" fmla="*/ 150 w 220"/>
                <a:gd name="T71" fmla="*/ 211 h 223"/>
                <a:gd name="T72" fmla="*/ 162 w 220"/>
                <a:gd name="T73" fmla="*/ 223 h 223"/>
                <a:gd name="T74" fmla="*/ 183 w 220"/>
                <a:gd name="T75" fmla="*/ 220 h 223"/>
                <a:gd name="T76" fmla="*/ 170 w 220"/>
                <a:gd name="T77" fmla="*/ 192 h 223"/>
                <a:gd name="T78" fmla="*/ 182 w 220"/>
                <a:gd name="T79" fmla="*/ 172 h 223"/>
                <a:gd name="T80" fmla="*/ 177 w 220"/>
                <a:gd name="T81" fmla="*/ 151 h 223"/>
                <a:gd name="T82" fmla="*/ 181 w 220"/>
                <a:gd name="T83" fmla="*/ 119 h 223"/>
                <a:gd name="T84" fmla="*/ 191 w 220"/>
                <a:gd name="T85" fmla="*/ 131 h 223"/>
                <a:gd name="T86" fmla="*/ 194 w 220"/>
                <a:gd name="T87" fmla="*/ 74 h 223"/>
                <a:gd name="T88" fmla="*/ 209 w 220"/>
                <a:gd name="T89" fmla="*/ 44 h 223"/>
                <a:gd name="T90" fmla="*/ 218 w 220"/>
                <a:gd name="T91" fmla="*/ 1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0" h="223">
                  <a:moveTo>
                    <a:pt x="128" y="204"/>
                  </a:moveTo>
                  <a:cubicBezTo>
                    <a:pt x="128" y="204"/>
                    <a:pt x="128" y="204"/>
                    <a:pt x="128" y="204"/>
                  </a:cubicBezTo>
                  <a:cubicBezTo>
                    <a:pt x="128" y="204"/>
                    <a:pt x="128" y="204"/>
                    <a:pt x="128" y="204"/>
                  </a:cubicBezTo>
                  <a:cubicBezTo>
                    <a:pt x="128" y="204"/>
                    <a:pt x="128" y="204"/>
                    <a:pt x="128" y="204"/>
                  </a:cubicBezTo>
                  <a:close/>
                  <a:moveTo>
                    <a:pt x="218" y="15"/>
                  </a:moveTo>
                  <a:cubicBezTo>
                    <a:pt x="216" y="10"/>
                    <a:pt x="210" y="5"/>
                    <a:pt x="211" y="1"/>
                  </a:cubicBezTo>
                  <a:cubicBezTo>
                    <a:pt x="192" y="2"/>
                    <a:pt x="192" y="2"/>
                    <a:pt x="192" y="2"/>
                  </a:cubicBezTo>
                  <a:cubicBezTo>
                    <a:pt x="192" y="2"/>
                    <a:pt x="185" y="2"/>
                    <a:pt x="181" y="2"/>
                  </a:cubicBezTo>
                  <a:cubicBezTo>
                    <a:pt x="177" y="2"/>
                    <a:pt x="178" y="11"/>
                    <a:pt x="168" y="12"/>
                  </a:cubicBezTo>
                  <a:cubicBezTo>
                    <a:pt x="158" y="13"/>
                    <a:pt x="152" y="2"/>
                    <a:pt x="143" y="1"/>
                  </a:cubicBezTo>
                  <a:cubicBezTo>
                    <a:pt x="134" y="0"/>
                    <a:pt x="133" y="20"/>
                    <a:pt x="133" y="20"/>
                  </a:cubicBezTo>
                  <a:cubicBezTo>
                    <a:pt x="120" y="21"/>
                    <a:pt x="120" y="21"/>
                    <a:pt x="120" y="21"/>
                  </a:cubicBezTo>
                  <a:cubicBezTo>
                    <a:pt x="119" y="31"/>
                    <a:pt x="119" y="31"/>
                    <a:pt x="119" y="31"/>
                  </a:cubicBezTo>
                  <a:cubicBezTo>
                    <a:pt x="119" y="31"/>
                    <a:pt x="107" y="54"/>
                    <a:pt x="92" y="54"/>
                  </a:cubicBezTo>
                  <a:cubicBezTo>
                    <a:pt x="77" y="54"/>
                    <a:pt x="86" y="46"/>
                    <a:pt x="78" y="45"/>
                  </a:cubicBezTo>
                  <a:cubicBezTo>
                    <a:pt x="70" y="44"/>
                    <a:pt x="65" y="59"/>
                    <a:pt x="65" y="59"/>
                  </a:cubicBezTo>
                  <a:cubicBezTo>
                    <a:pt x="65" y="59"/>
                    <a:pt x="60" y="58"/>
                    <a:pt x="45" y="58"/>
                  </a:cubicBezTo>
                  <a:cubicBezTo>
                    <a:pt x="30" y="58"/>
                    <a:pt x="44" y="85"/>
                    <a:pt x="44" y="85"/>
                  </a:cubicBezTo>
                  <a:cubicBezTo>
                    <a:pt x="35" y="87"/>
                    <a:pt x="35" y="87"/>
                    <a:pt x="35" y="87"/>
                  </a:cubicBezTo>
                  <a:cubicBezTo>
                    <a:pt x="35" y="87"/>
                    <a:pt x="39" y="96"/>
                    <a:pt x="33" y="98"/>
                  </a:cubicBezTo>
                  <a:cubicBezTo>
                    <a:pt x="27" y="100"/>
                    <a:pt x="19" y="102"/>
                    <a:pt x="19" y="102"/>
                  </a:cubicBezTo>
                  <a:cubicBezTo>
                    <a:pt x="0" y="102"/>
                    <a:pt x="0" y="102"/>
                    <a:pt x="0" y="102"/>
                  </a:cubicBezTo>
                  <a:cubicBezTo>
                    <a:pt x="32" y="136"/>
                    <a:pt x="32" y="136"/>
                    <a:pt x="32" y="136"/>
                  </a:cubicBezTo>
                  <a:cubicBezTo>
                    <a:pt x="32" y="136"/>
                    <a:pt x="40" y="167"/>
                    <a:pt x="50" y="175"/>
                  </a:cubicBezTo>
                  <a:cubicBezTo>
                    <a:pt x="59" y="182"/>
                    <a:pt x="77" y="196"/>
                    <a:pt x="80" y="199"/>
                  </a:cubicBezTo>
                  <a:cubicBezTo>
                    <a:pt x="83" y="198"/>
                    <a:pt x="89" y="197"/>
                    <a:pt x="92" y="198"/>
                  </a:cubicBezTo>
                  <a:cubicBezTo>
                    <a:pt x="92" y="197"/>
                    <a:pt x="92" y="197"/>
                    <a:pt x="92" y="197"/>
                  </a:cubicBezTo>
                  <a:cubicBezTo>
                    <a:pt x="89" y="195"/>
                    <a:pt x="78" y="191"/>
                    <a:pt x="81" y="187"/>
                  </a:cubicBezTo>
                  <a:cubicBezTo>
                    <a:pt x="84" y="183"/>
                    <a:pt x="99" y="188"/>
                    <a:pt x="95" y="181"/>
                  </a:cubicBezTo>
                  <a:cubicBezTo>
                    <a:pt x="91" y="175"/>
                    <a:pt x="90" y="175"/>
                    <a:pt x="90" y="175"/>
                  </a:cubicBezTo>
                  <a:cubicBezTo>
                    <a:pt x="90" y="175"/>
                    <a:pt x="79" y="179"/>
                    <a:pt x="79" y="177"/>
                  </a:cubicBezTo>
                  <a:cubicBezTo>
                    <a:pt x="78" y="175"/>
                    <a:pt x="72" y="147"/>
                    <a:pt x="79" y="149"/>
                  </a:cubicBezTo>
                  <a:cubicBezTo>
                    <a:pt x="86" y="151"/>
                    <a:pt x="119" y="177"/>
                    <a:pt x="123" y="185"/>
                  </a:cubicBezTo>
                  <a:cubicBezTo>
                    <a:pt x="126" y="189"/>
                    <a:pt x="127" y="197"/>
                    <a:pt x="128" y="204"/>
                  </a:cubicBezTo>
                  <a:cubicBezTo>
                    <a:pt x="129" y="204"/>
                    <a:pt x="131" y="204"/>
                    <a:pt x="132" y="204"/>
                  </a:cubicBezTo>
                  <a:cubicBezTo>
                    <a:pt x="145" y="205"/>
                    <a:pt x="150" y="211"/>
                    <a:pt x="150" y="211"/>
                  </a:cubicBezTo>
                  <a:cubicBezTo>
                    <a:pt x="150" y="211"/>
                    <a:pt x="150" y="223"/>
                    <a:pt x="162" y="223"/>
                  </a:cubicBezTo>
                  <a:cubicBezTo>
                    <a:pt x="168" y="223"/>
                    <a:pt x="176" y="222"/>
                    <a:pt x="183" y="220"/>
                  </a:cubicBezTo>
                  <a:cubicBezTo>
                    <a:pt x="180" y="218"/>
                    <a:pt x="170" y="205"/>
                    <a:pt x="170" y="192"/>
                  </a:cubicBezTo>
                  <a:cubicBezTo>
                    <a:pt x="170" y="177"/>
                    <a:pt x="182" y="181"/>
                    <a:pt x="182" y="172"/>
                  </a:cubicBezTo>
                  <a:cubicBezTo>
                    <a:pt x="182" y="163"/>
                    <a:pt x="177" y="151"/>
                    <a:pt x="177" y="151"/>
                  </a:cubicBezTo>
                  <a:cubicBezTo>
                    <a:pt x="181" y="119"/>
                    <a:pt x="181" y="119"/>
                    <a:pt x="181" y="119"/>
                  </a:cubicBezTo>
                  <a:cubicBezTo>
                    <a:pt x="191" y="131"/>
                    <a:pt x="191" y="131"/>
                    <a:pt x="191" y="131"/>
                  </a:cubicBezTo>
                  <a:cubicBezTo>
                    <a:pt x="194" y="74"/>
                    <a:pt x="194" y="74"/>
                    <a:pt x="194" y="74"/>
                  </a:cubicBezTo>
                  <a:cubicBezTo>
                    <a:pt x="194" y="74"/>
                    <a:pt x="200" y="53"/>
                    <a:pt x="209" y="44"/>
                  </a:cubicBezTo>
                  <a:cubicBezTo>
                    <a:pt x="218" y="35"/>
                    <a:pt x="220" y="20"/>
                    <a:pt x="218" y="15"/>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9" name="Mexico">
              <a:extLst>
                <a:ext uri="{FF2B5EF4-FFF2-40B4-BE49-F238E27FC236}">
                  <a16:creationId xmlns:a16="http://schemas.microsoft.com/office/drawing/2014/main" id="{BB7222AA-9ADF-4BEE-8310-DBE5A7B5BBAC}"/>
                </a:ext>
              </a:extLst>
            </p:cNvPr>
            <p:cNvSpPr>
              <a:spLocks/>
            </p:cNvSpPr>
            <p:nvPr/>
          </p:nvSpPr>
          <p:spPr bwMode="gray">
            <a:xfrm>
              <a:off x="2664522" y="3101344"/>
              <a:ext cx="697033" cy="545847"/>
            </a:xfrm>
            <a:custGeom>
              <a:avLst/>
              <a:gdLst>
                <a:gd name="T0" fmla="*/ 968 w 1247"/>
                <a:gd name="T1" fmla="*/ 891 h 976"/>
                <a:gd name="T2" fmla="*/ 1036 w 1247"/>
                <a:gd name="T3" fmla="*/ 874 h 976"/>
                <a:gd name="T4" fmla="*/ 1008 w 1247"/>
                <a:gd name="T5" fmla="*/ 851 h 976"/>
                <a:gd name="T6" fmla="*/ 1015 w 1247"/>
                <a:gd name="T7" fmla="*/ 825 h 976"/>
                <a:gd name="T8" fmla="*/ 1108 w 1247"/>
                <a:gd name="T9" fmla="*/ 786 h 976"/>
                <a:gd name="T10" fmla="*/ 1139 w 1247"/>
                <a:gd name="T11" fmla="*/ 771 h 976"/>
                <a:gd name="T12" fmla="*/ 1162 w 1247"/>
                <a:gd name="T13" fmla="*/ 767 h 976"/>
                <a:gd name="T14" fmla="*/ 1182 w 1247"/>
                <a:gd name="T15" fmla="*/ 717 h 976"/>
                <a:gd name="T16" fmla="*/ 1184 w 1247"/>
                <a:gd name="T17" fmla="*/ 701 h 976"/>
                <a:gd name="T18" fmla="*/ 1234 w 1247"/>
                <a:gd name="T19" fmla="*/ 632 h 976"/>
                <a:gd name="T20" fmla="*/ 1172 w 1247"/>
                <a:gd name="T21" fmla="*/ 594 h 976"/>
                <a:gd name="T22" fmla="*/ 1060 w 1247"/>
                <a:gd name="T23" fmla="*/ 655 h 976"/>
                <a:gd name="T24" fmla="*/ 1043 w 1247"/>
                <a:gd name="T25" fmla="*/ 716 h 976"/>
                <a:gd name="T26" fmla="*/ 974 w 1247"/>
                <a:gd name="T27" fmla="*/ 749 h 976"/>
                <a:gd name="T28" fmla="*/ 836 w 1247"/>
                <a:gd name="T29" fmla="*/ 753 h 976"/>
                <a:gd name="T30" fmla="*/ 777 w 1247"/>
                <a:gd name="T31" fmla="*/ 708 h 976"/>
                <a:gd name="T32" fmla="*/ 750 w 1247"/>
                <a:gd name="T33" fmla="*/ 616 h 976"/>
                <a:gd name="T34" fmla="*/ 752 w 1247"/>
                <a:gd name="T35" fmla="*/ 507 h 976"/>
                <a:gd name="T36" fmla="*/ 768 w 1247"/>
                <a:gd name="T37" fmla="*/ 434 h 976"/>
                <a:gd name="T38" fmla="*/ 806 w 1247"/>
                <a:gd name="T39" fmla="*/ 364 h 976"/>
                <a:gd name="T40" fmla="*/ 780 w 1247"/>
                <a:gd name="T41" fmla="*/ 355 h 976"/>
                <a:gd name="T42" fmla="*/ 720 w 1247"/>
                <a:gd name="T43" fmla="*/ 332 h 976"/>
                <a:gd name="T44" fmla="*/ 714 w 1247"/>
                <a:gd name="T45" fmla="*/ 280 h 976"/>
                <a:gd name="T46" fmla="*/ 700 w 1247"/>
                <a:gd name="T47" fmla="*/ 241 h 976"/>
                <a:gd name="T48" fmla="*/ 661 w 1247"/>
                <a:gd name="T49" fmla="*/ 154 h 976"/>
                <a:gd name="T50" fmla="*/ 621 w 1247"/>
                <a:gd name="T51" fmla="*/ 154 h 976"/>
                <a:gd name="T52" fmla="*/ 519 w 1247"/>
                <a:gd name="T53" fmla="*/ 161 h 976"/>
                <a:gd name="T54" fmla="*/ 491 w 1247"/>
                <a:gd name="T55" fmla="*/ 76 h 976"/>
                <a:gd name="T56" fmla="*/ 390 w 1247"/>
                <a:gd name="T57" fmla="*/ 45 h 976"/>
                <a:gd name="T58" fmla="*/ 378 w 1247"/>
                <a:gd name="T59" fmla="*/ 72 h 976"/>
                <a:gd name="T60" fmla="*/ 106 w 1247"/>
                <a:gd name="T61" fmla="*/ 0 h 976"/>
                <a:gd name="T62" fmla="*/ 0 w 1247"/>
                <a:gd name="T63" fmla="*/ 25 h 976"/>
                <a:gd name="T64" fmla="*/ 10 w 1247"/>
                <a:gd name="T65" fmla="*/ 76 h 976"/>
                <a:gd name="T66" fmla="*/ 5 w 1247"/>
                <a:gd name="T67" fmla="*/ 117 h 976"/>
                <a:gd name="T68" fmla="*/ 42 w 1247"/>
                <a:gd name="T69" fmla="*/ 176 h 976"/>
                <a:gd name="T70" fmla="*/ 58 w 1247"/>
                <a:gd name="T71" fmla="*/ 267 h 976"/>
                <a:gd name="T72" fmla="*/ 7 w 1247"/>
                <a:gd name="T73" fmla="*/ 261 h 976"/>
                <a:gd name="T74" fmla="*/ 43 w 1247"/>
                <a:gd name="T75" fmla="*/ 296 h 976"/>
                <a:gd name="T76" fmla="*/ 91 w 1247"/>
                <a:gd name="T77" fmla="*/ 337 h 976"/>
                <a:gd name="T78" fmla="*/ 142 w 1247"/>
                <a:gd name="T79" fmla="*/ 459 h 976"/>
                <a:gd name="T80" fmla="*/ 210 w 1247"/>
                <a:gd name="T81" fmla="*/ 506 h 976"/>
                <a:gd name="T82" fmla="*/ 172 w 1247"/>
                <a:gd name="T83" fmla="*/ 452 h 976"/>
                <a:gd name="T84" fmla="*/ 162 w 1247"/>
                <a:gd name="T85" fmla="*/ 387 h 976"/>
                <a:gd name="T86" fmla="*/ 131 w 1247"/>
                <a:gd name="T87" fmla="*/ 319 h 976"/>
                <a:gd name="T88" fmla="*/ 116 w 1247"/>
                <a:gd name="T89" fmla="*/ 227 h 976"/>
                <a:gd name="T90" fmla="*/ 66 w 1247"/>
                <a:gd name="T91" fmla="*/ 128 h 976"/>
                <a:gd name="T92" fmla="*/ 84 w 1247"/>
                <a:gd name="T93" fmla="*/ 42 h 976"/>
                <a:gd name="T94" fmla="*/ 138 w 1247"/>
                <a:gd name="T95" fmla="*/ 73 h 976"/>
                <a:gd name="T96" fmla="*/ 160 w 1247"/>
                <a:gd name="T97" fmla="*/ 180 h 976"/>
                <a:gd name="T98" fmla="*/ 208 w 1247"/>
                <a:gd name="T99" fmla="*/ 284 h 976"/>
                <a:gd name="T100" fmla="*/ 257 w 1247"/>
                <a:gd name="T101" fmla="*/ 318 h 976"/>
                <a:gd name="T102" fmla="*/ 255 w 1247"/>
                <a:gd name="T103" fmla="*/ 375 h 976"/>
                <a:gd name="T104" fmla="*/ 294 w 1247"/>
                <a:gd name="T105" fmla="*/ 418 h 976"/>
                <a:gd name="T106" fmla="*/ 313 w 1247"/>
                <a:gd name="T107" fmla="*/ 456 h 976"/>
                <a:gd name="T108" fmla="*/ 371 w 1247"/>
                <a:gd name="T109" fmla="*/ 575 h 976"/>
                <a:gd name="T110" fmla="*/ 375 w 1247"/>
                <a:gd name="T111" fmla="*/ 645 h 976"/>
                <a:gd name="T112" fmla="*/ 423 w 1247"/>
                <a:gd name="T113" fmla="*/ 740 h 976"/>
                <a:gd name="T114" fmla="*/ 556 w 1247"/>
                <a:gd name="T115" fmla="*/ 838 h 976"/>
                <a:gd name="T116" fmla="*/ 677 w 1247"/>
                <a:gd name="T117" fmla="*/ 899 h 976"/>
                <a:gd name="T118" fmla="*/ 840 w 1247"/>
                <a:gd name="T119" fmla="*/ 878 h 976"/>
                <a:gd name="T120" fmla="*/ 947 w 1247"/>
                <a:gd name="T121" fmla="*/ 96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47" h="976">
                  <a:moveTo>
                    <a:pt x="947" y="960"/>
                  </a:moveTo>
                  <a:cubicBezTo>
                    <a:pt x="947" y="944"/>
                    <a:pt x="947" y="922"/>
                    <a:pt x="947" y="922"/>
                  </a:cubicBezTo>
                  <a:cubicBezTo>
                    <a:pt x="968" y="891"/>
                    <a:pt x="968" y="891"/>
                    <a:pt x="968" y="891"/>
                  </a:cubicBezTo>
                  <a:cubicBezTo>
                    <a:pt x="1027" y="892"/>
                    <a:pt x="1027" y="892"/>
                    <a:pt x="1027" y="892"/>
                  </a:cubicBezTo>
                  <a:cubicBezTo>
                    <a:pt x="1027" y="881"/>
                    <a:pt x="1027" y="881"/>
                    <a:pt x="1027" y="881"/>
                  </a:cubicBezTo>
                  <a:cubicBezTo>
                    <a:pt x="1027" y="881"/>
                    <a:pt x="1036" y="884"/>
                    <a:pt x="1036" y="874"/>
                  </a:cubicBezTo>
                  <a:cubicBezTo>
                    <a:pt x="1036" y="864"/>
                    <a:pt x="1024" y="868"/>
                    <a:pt x="1024" y="868"/>
                  </a:cubicBezTo>
                  <a:cubicBezTo>
                    <a:pt x="1020" y="852"/>
                    <a:pt x="1020" y="852"/>
                    <a:pt x="1020" y="852"/>
                  </a:cubicBezTo>
                  <a:cubicBezTo>
                    <a:pt x="1020" y="852"/>
                    <a:pt x="1018" y="853"/>
                    <a:pt x="1008" y="851"/>
                  </a:cubicBezTo>
                  <a:cubicBezTo>
                    <a:pt x="998" y="849"/>
                    <a:pt x="997" y="833"/>
                    <a:pt x="997" y="833"/>
                  </a:cubicBezTo>
                  <a:cubicBezTo>
                    <a:pt x="987" y="829"/>
                    <a:pt x="987" y="829"/>
                    <a:pt x="987" y="829"/>
                  </a:cubicBezTo>
                  <a:cubicBezTo>
                    <a:pt x="987" y="829"/>
                    <a:pt x="1013" y="831"/>
                    <a:pt x="1015" y="825"/>
                  </a:cubicBezTo>
                  <a:cubicBezTo>
                    <a:pt x="1017" y="819"/>
                    <a:pt x="1014" y="795"/>
                    <a:pt x="1014" y="795"/>
                  </a:cubicBezTo>
                  <a:cubicBezTo>
                    <a:pt x="1101" y="796"/>
                    <a:pt x="1101" y="796"/>
                    <a:pt x="1101" y="796"/>
                  </a:cubicBezTo>
                  <a:cubicBezTo>
                    <a:pt x="1101" y="796"/>
                    <a:pt x="1103" y="786"/>
                    <a:pt x="1108" y="786"/>
                  </a:cubicBezTo>
                  <a:cubicBezTo>
                    <a:pt x="1113" y="786"/>
                    <a:pt x="1107" y="794"/>
                    <a:pt x="1118" y="793"/>
                  </a:cubicBezTo>
                  <a:cubicBezTo>
                    <a:pt x="1129" y="792"/>
                    <a:pt x="1136" y="760"/>
                    <a:pt x="1136" y="760"/>
                  </a:cubicBezTo>
                  <a:cubicBezTo>
                    <a:pt x="1139" y="771"/>
                    <a:pt x="1139" y="771"/>
                    <a:pt x="1139" y="771"/>
                  </a:cubicBezTo>
                  <a:cubicBezTo>
                    <a:pt x="1150" y="761"/>
                    <a:pt x="1150" y="761"/>
                    <a:pt x="1150" y="761"/>
                  </a:cubicBezTo>
                  <a:cubicBezTo>
                    <a:pt x="1164" y="745"/>
                    <a:pt x="1164" y="745"/>
                    <a:pt x="1164" y="745"/>
                  </a:cubicBezTo>
                  <a:cubicBezTo>
                    <a:pt x="1164" y="745"/>
                    <a:pt x="1158" y="764"/>
                    <a:pt x="1162" y="767"/>
                  </a:cubicBezTo>
                  <a:cubicBezTo>
                    <a:pt x="1166" y="770"/>
                    <a:pt x="1173" y="770"/>
                    <a:pt x="1173" y="770"/>
                  </a:cubicBezTo>
                  <a:cubicBezTo>
                    <a:pt x="1188" y="725"/>
                    <a:pt x="1188" y="725"/>
                    <a:pt x="1188" y="725"/>
                  </a:cubicBezTo>
                  <a:cubicBezTo>
                    <a:pt x="1182" y="717"/>
                    <a:pt x="1182" y="717"/>
                    <a:pt x="1182" y="717"/>
                  </a:cubicBezTo>
                  <a:cubicBezTo>
                    <a:pt x="1195" y="713"/>
                    <a:pt x="1195" y="713"/>
                    <a:pt x="1195" y="713"/>
                  </a:cubicBezTo>
                  <a:cubicBezTo>
                    <a:pt x="1196" y="705"/>
                    <a:pt x="1196" y="705"/>
                    <a:pt x="1196" y="705"/>
                  </a:cubicBezTo>
                  <a:cubicBezTo>
                    <a:pt x="1184" y="701"/>
                    <a:pt x="1184" y="701"/>
                    <a:pt x="1184" y="701"/>
                  </a:cubicBezTo>
                  <a:cubicBezTo>
                    <a:pt x="1196" y="688"/>
                    <a:pt x="1196" y="688"/>
                    <a:pt x="1196" y="688"/>
                  </a:cubicBezTo>
                  <a:cubicBezTo>
                    <a:pt x="1200" y="672"/>
                    <a:pt x="1200" y="672"/>
                    <a:pt x="1200" y="672"/>
                  </a:cubicBezTo>
                  <a:cubicBezTo>
                    <a:pt x="1200" y="672"/>
                    <a:pt x="1230" y="641"/>
                    <a:pt x="1234" y="632"/>
                  </a:cubicBezTo>
                  <a:cubicBezTo>
                    <a:pt x="1238" y="623"/>
                    <a:pt x="1247" y="600"/>
                    <a:pt x="1236" y="597"/>
                  </a:cubicBezTo>
                  <a:cubicBezTo>
                    <a:pt x="1225" y="594"/>
                    <a:pt x="1203" y="601"/>
                    <a:pt x="1203" y="601"/>
                  </a:cubicBezTo>
                  <a:cubicBezTo>
                    <a:pt x="1203" y="601"/>
                    <a:pt x="1179" y="594"/>
                    <a:pt x="1172" y="594"/>
                  </a:cubicBezTo>
                  <a:cubicBezTo>
                    <a:pt x="1165" y="594"/>
                    <a:pt x="1137" y="602"/>
                    <a:pt x="1123" y="606"/>
                  </a:cubicBezTo>
                  <a:cubicBezTo>
                    <a:pt x="1109" y="610"/>
                    <a:pt x="1084" y="606"/>
                    <a:pt x="1078" y="612"/>
                  </a:cubicBezTo>
                  <a:cubicBezTo>
                    <a:pt x="1072" y="618"/>
                    <a:pt x="1061" y="639"/>
                    <a:pt x="1060" y="655"/>
                  </a:cubicBezTo>
                  <a:cubicBezTo>
                    <a:pt x="1059" y="671"/>
                    <a:pt x="1059" y="686"/>
                    <a:pt x="1059" y="686"/>
                  </a:cubicBezTo>
                  <a:cubicBezTo>
                    <a:pt x="1049" y="690"/>
                    <a:pt x="1049" y="690"/>
                    <a:pt x="1049" y="690"/>
                  </a:cubicBezTo>
                  <a:cubicBezTo>
                    <a:pt x="1049" y="690"/>
                    <a:pt x="1049" y="710"/>
                    <a:pt x="1043" y="716"/>
                  </a:cubicBezTo>
                  <a:cubicBezTo>
                    <a:pt x="1037" y="722"/>
                    <a:pt x="1016" y="728"/>
                    <a:pt x="1011" y="737"/>
                  </a:cubicBezTo>
                  <a:cubicBezTo>
                    <a:pt x="1006" y="746"/>
                    <a:pt x="1009" y="765"/>
                    <a:pt x="996" y="766"/>
                  </a:cubicBezTo>
                  <a:cubicBezTo>
                    <a:pt x="983" y="767"/>
                    <a:pt x="990" y="749"/>
                    <a:pt x="974" y="749"/>
                  </a:cubicBezTo>
                  <a:cubicBezTo>
                    <a:pt x="958" y="749"/>
                    <a:pt x="932" y="761"/>
                    <a:pt x="912" y="761"/>
                  </a:cubicBezTo>
                  <a:cubicBezTo>
                    <a:pt x="892" y="761"/>
                    <a:pt x="864" y="784"/>
                    <a:pt x="855" y="780"/>
                  </a:cubicBezTo>
                  <a:cubicBezTo>
                    <a:pt x="846" y="776"/>
                    <a:pt x="847" y="755"/>
                    <a:pt x="836" y="753"/>
                  </a:cubicBezTo>
                  <a:cubicBezTo>
                    <a:pt x="825" y="751"/>
                    <a:pt x="797" y="748"/>
                    <a:pt x="797" y="748"/>
                  </a:cubicBezTo>
                  <a:cubicBezTo>
                    <a:pt x="797" y="748"/>
                    <a:pt x="795" y="731"/>
                    <a:pt x="790" y="724"/>
                  </a:cubicBezTo>
                  <a:cubicBezTo>
                    <a:pt x="785" y="717"/>
                    <a:pt x="777" y="708"/>
                    <a:pt x="777" y="708"/>
                  </a:cubicBezTo>
                  <a:cubicBezTo>
                    <a:pt x="777" y="685"/>
                    <a:pt x="777" y="685"/>
                    <a:pt x="777" y="685"/>
                  </a:cubicBezTo>
                  <a:cubicBezTo>
                    <a:pt x="751" y="644"/>
                    <a:pt x="751" y="644"/>
                    <a:pt x="751" y="644"/>
                  </a:cubicBezTo>
                  <a:cubicBezTo>
                    <a:pt x="750" y="616"/>
                    <a:pt x="750" y="616"/>
                    <a:pt x="750" y="616"/>
                  </a:cubicBezTo>
                  <a:cubicBezTo>
                    <a:pt x="739" y="596"/>
                    <a:pt x="739" y="596"/>
                    <a:pt x="739" y="596"/>
                  </a:cubicBezTo>
                  <a:cubicBezTo>
                    <a:pt x="736" y="539"/>
                    <a:pt x="736" y="539"/>
                    <a:pt x="736" y="539"/>
                  </a:cubicBezTo>
                  <a:cubicBezTo>
                    <a:pt x="736" y="539"/>
                    <a:pt x="752" y="518"/>
                    <a:pt x="752" y="507"/>
                  </a:cubicBezTo>
                  <a:cubicBezTo>
                    <a:pt x="752" y="496"/>
                    <a:pt x="754" y="466"/>
                    <a:pt x="754" y="466"/>
                  </a:cubicBezTo>
                  <a:cubicBezTo>
                    <a:pt x="752" y="439"/>
                    <a:pt x="752" y="439"/>
                    <a:pt x="752" y="439"/>
                  </a:cubicBezTo>
                  <a:cubicBezTo>
                    <a:pt x="768" y="434"/>
                    <a:pt x="768" y="434"/>
                    <a:pt x="768" y="434"/>
                  </a:cubicBezTo>
                  <a:cubicBezTo>
                    <a:pt x="768" y="434"/>
                    <a:pt x="767" y="394"/>
                    <a:pt x="775" y="392"/>
                  </a:cubicBezTo>
                  <a:cubicBezTo>
                    <a:pt x="783" y="390"/>
                    <a:pt x="791" y="401"/>
                    <a:pt x="793" y="392"/>
                  </a:cubicBezTo>
                  <a:cubicBezTo>
                    <a:pt x="795" y="383"/>
                    <a:pt x="806" y="364"/>
                    <a:pt x="806" y="364"/>
                  </a:cubicBezTo>
                  <a:cubicBezTo>
                    <a:pt x="806" y="363"/>
                    <a:pt x="806" y="363"/>
                    <a:pt x="806" y="363"/>
                  </a:cubicBezTo>
                  <a:cubicBezTo>
                    <a:pt x="803" y="364"/>
                    <a:pt x="799" y="365"/>
                    <a:pt x="794" y="365"/>
                  </a:cubicBezTo>
                  <a:cubicBezTo>
                    <a:pt x="783" y="365"/>
                    <a:pt x="785" y="355"/>
                    <a:pt x="780" y="355"/>
                  </a:cubicBezTo>
                  <a:cubicBezTo>
                    <a:pt x="775" y="355"/>
                    <a:pt x="756" y="355"/>
                    <a:pt x="756" y="355"/>
                  </a:cubicBezTo>
                  <a:cubicBezTo>
                    <a:pt x="750" y="344"/>
                    <a:pt x="750" y="344"/>
                    <a:pt x="750" y="344"/>
                  </a:cubicBezTo>
                  <a:cubicBezTo>
                    <a:pt x="750" y="344"/>
                    <a:pt x="720" y="343"/>
                    <a:pt x="720" y="332"/>
                  </a:cubicBezTo>
                  <a:cubicBezTo>
                    <a:pt x="720" y="321"/>
                    <a:pt x="722" y="313"/>
                    <a:pt x="722" y="313"/>
                  </a:cubicBezTo>
                  <a:cubicBezTo>
                    <a:pt x="714" y="307"/>
                    <a:pt x="714" y="307"/>
                    <a:pt x="714" y="307"/>
                  </a:cubicBezTo>
                  <a:cubicBezTo>
                    <a:pt x="714" y="280"/>
                    <a:pt x="714" y="280"/>
                    <a:pt x="714" y="280"/>
                  </a:cubicBezTo>
                  <a:cubicBezTo>
                    <a:pt x="714" y="280"/>
                    <a:pt x="724" y="277"/>
                    <a:pt x="717" y="270"/>
                  </a:cubicBezTo>
                  <a:cubicBezTo>
                    <a:pt x="710" y="263"/>
                    <a:pt x="701" y="262"/>
                    <a:pt x="701" y="254"/>
                  </a:cubicBezTo>
                  <a:cubicBezTo>
                    <a:pt x="701" y="247"/>
                    <a:pt x="700" y="241"/>
                    <a:pt x="700" y="241"/>
                  </a:cubicBezTo>
                  <a:cubicBezTo>
                    <a:pt x="700" y="241"/>
                    <a:pt x="689" y="234"/>
                    <a:pt x="689" y="225"/>
                  </a:cubicBezTo>
                  <a:cubicBezTo>
                    <a:pt x="689" y="216"/>
                    <a:pt x="697" y="201"/>
                    <a:pt x="689" y="193"/>
                  </a:cubicBezTo>
                  <a:cubicBezTo>
                    <a:pt x="681" y="185"/>
                    <a:pt x="661" y="154"/>
                    <a:pt x="661" y="154"/>
                  </a:cubicBezTo>
                  <a:cubicBezTo>
                    <a:pt x="632" y="153"/>
                    <a:pt x="632" y="153"/>
                    <a:pt x="632" y="153"/>
                  </a:cubicBezTo>
                  <a:cubicBezTo>
                    <a:pt x="622" y="148"/>
                    <a:pt x="622" y="148"/>
                    <a:pt x="622" y="148"/>
                  </a:cubicBezTo>
                  <a:cubicBezTo>
                    <a:pt x="621" y="154"/>
                    <a:pt x="621" y="154"/>
                    <a:pt x="621" y="154"/>
                  </a:cubicBezTo>
                  <a:cubicBezTo>
                    <a:pt x="621" y="154"/>
                    <a:pt x="609" y="153"/>
                    <a:pt x="605" y="157"/>
                  </a:cubicBezTo>
                  <a:cubicBezTo>
                    <a:pt x="601" y="161"/>
                    <a:pt x="588" y="195"/>
                    <a:pt x="569" y="195"/>
                  </a:cubicBezTo>
                  <a:cubicBezTo>
                    <a:pt x="550" y="195"/>
                    <a:pt x="519" y="161"/>
                    <a:pt x="519" y="161"/>
                  </a:cubicBezTo>
                  <a:cubicBezTo>
                    <a:pt x="519" y="161"/>
                    <a:pt x="529" y="119"/>
                    <a:pt x="519" y="109"/>
                  </a:cubicBezTo>
                  <a:cubicBezTo>
                    <a:pt x="508" y="98"/>
                    <a:pt x="497" y="97"/>
                    <a:pt x="497" y="97"/>
                  </a:cubicBezTo>
                  <a:cubicBezTo>
                    <a:pt x="491" y="76"/>
                    <a:pt x="491" y="76"/>
                    <a:pt x="491" y="76"/>
                  </a:cubicBezTo>
                  <a:cubicBezTo>
                    <a:pt x="473" y="68"/>
                    <a:pt x="473" y="68"/>
                    <a:pt x="473" y="68"/>
                  </a:cubicBezTo>
                  <a:cubicBezTo>
                    <a:pt x="473" y="68"/>
                    <a:pt x="478" y="60"/>
                    <a:pt x="463" y="45"/>
                  </a:cubicBezTo>
                  <a:cubicBezTo>
                    <a:pt x="390" y="45"/>
                    <a:pt x="390" y="45"/>
                    <a:pt x="390" y="45"/>
                  </a:cubicBezTo>
                  <a:cubicBezTo>
                    <a:pt x="390" y="45"/>
                    <a:pt x="383" y="49"/>
                    <a:pt x="383" y="55"/>
                  </a:cubicBezTo>
                  <a:cubicBezTo>
                    <a:pt x="383" y="61"/>
                    <a:pt x="385" y="65"/>
                    <a:pt x="382" y="69"/>
                  </a:cubicBezTo>
                  <a:cubicBezTo>
                    <a:pt x="378" y="72"/>
                    <a:pt x="378" y="72"/>
                    <a:pt x="378" y="72"/>
                  </a:cubicBezTo>
                  <a:cubicBezTo>
                    <a:pt x="246" y="74"/>
                    <a:pt x="246" y="74"/>
                    <a:pt x="246" y="74"/>
                  </a:cubicBezTo>
                  <a:cubicBezTo>
                    <a:pt x="106" y="10"/>
                    <a:pt x="106" y="10"/>
                    <a:pt x="106" y="10"/>
                  </a:cubicBezTo>
                  <a:cubicBezTo>
                    <a:pt x="106" y="10"/>
                    <a:pt x="96" y="10"/>
                    <a:pt x="106" y="0"/>
                  </a:cubicBezTo>
                  <a:cubicBezTo>
                    <a:pt x="7" y="4"/>
                    <a:pt x="7" y="4"/>
                    <a:pt x="7" y="4"/>
                  </a:cubicBezTo>
                  <a:cubicBezTo>
                    <a:pt x="4" y="2"/>
                    <a:pt x="4" y="2"/>
                    <a:pt x="4" y="2"/>
                  </a:cubicBezTo>
                  <a:cubicBezTo>
                    <a:pt x="2" y="12"/>
                    <a:pt x="0" y="20"/>
                    <a:pt x="0" y="25"/>
                  </a:cubicBezTo>
                  <a:cubicBezTo>
                    <a:pt x="0" y="36"/>
                    <a:pt x="13" y="54"/>
                    <a:pt x="13" y="54"/>
                  </a:cubicBezTo>
                  <a:cubicBezTo>
                    <a:pt x="2" y="61"/>
                    <a:pt x="2" y="61"/>
                    <a:pt x="2" y="61"/>
                  </a:cubicBezTo>
                  <a:cubicBezTo>
                    <a:pt x="10" y="76"/>
                    <a:pt x="10" y="76"/>
                    <a:pt x="10" y="76"/>
                  </a:cubicBezTo>
                  <a:cubicBezTo>
                    <a:pt x="3" y="86"/>
                    <a:pt x="3" y="86"/>
                    <a:pt x="3" y="86"/>
                  </a:cubicBezTo>
                  <a:cubicBezTo>
                    <a:pt x="16" y="97"/>
                    <a:pt x="16" y="97"/>
                    <a:pt x="16" y="97"/>
                  </a:cubicBezTo>
                  <a:cubicBezTo>
                    <a:pt x="5" y="117"/>
                    <a:pt x="5" y="117"/>
                    <a:pt x="5" y="117"/>
                  </a:cubicBezTo>
                  <a:cubicBezTo>
                    <a:pt x="14" y="121"/>
                    <a:pt x="14" y="121"/>
                    <a:pt x="14" y="121"/>
                  </a:cubicBezTo>
                  <a:cubicBezTo>
                    <a:pt x="14" y="121"/>
                    <a:pt x="11" y="162"/>
                    <a:pt x="20" y="171"/>
                  </a:cubicBezTo>
                  <a:cubicBezTo>
                    <a:pt x="29" y="180"/>
                    <a:pt x="42" y="176"/>
                    <a:pt x="42" y="176"/>
                  </a:cubicBezTo>
                  <a:cubicBezTo>
                    <a:pt x="42" y="176"/>
                    <a:pt x="66" y="219"/>
                    <a:pt x="66" y="227"/>
                  </a:cubicBezTo>
                  <a:cubicBezTo>
                    <a:pt x="66" y="235"/>
                    <a:pt x="47" y="260"/>
                    <a:pt x="47" y="260"/>
                  </a:cubicBezTo>
                  <a:cubicBezTo>
                    <a:pt x="58" y="267"/>
                    <a:pt x="58" y="267"/>
                    <a:pt x="58" y="267"/>
                  </a:cubicBezTo>
                  <a:cubicBezTo>
                    <a:pt x="50" y="276"/>
                    <a:pt x="50" y="276"/>
                    <a:pt x="50" y="276"/>
                  </a:cubicBezTo>
                  <a:cubicBezTo>
                    <a:pt x="41" y="264"/>
                    <a:pt x="41" y="264"/>
                    <a:pt x="41" y="264"/>
                  </a:cubicBezTo>
                  <a:cubicBezTo>
                    <a:pt x="7" y="261"/>
                    <a:pt x="7" y="261"/>
                    <a:pt x="7" y="261"/>
                  </a:cubicBezTo>
                  <a:cubicBezTo>
                    <a:pt x="23" y="279"/>
                    <a:pt x="23" y="279"/>
                    <a:pt x="23" y="279"/>
                  </a:cubicBezTo>
                  <a:cubicBezTo>
                    <a:pt x="29" y="295"/>
                    <a:pt x="29" y="295"/>
                    <a:pt x="29" y="295"/>
                  </a:cubicBezTo>
                  <a:cubicBezTo>
                    <a:pt x="43" y="296"/>
                    <a:pt x="43" y="296"/>
                    <a:pt x="43" y="296"/>
                  </a:cubicBezTo>
                  <a:cubicBezTo>
                    <a:pt x="43" y="296"/>
                    <a:pt x="60" y="319"/>
                    <a:pt x="65" y="317"/>
                  </a:cubicBezTo>
                  <a:cubicBezTo>
                    <a:pt x="70" y="315"/>
                    <a:pt x="85" y="305"/>
                    <a:pt x="85" y="305"/>
                  </a:cubicBezTo>
                  <a:cubicBezTo>
                    <a:pt x="85" y="305"/>
                    <a:pt x="84" y="328"/>
                    <a:pt x="91" y="337"/>
                  </a:cubicBezTo>
                  <a:cubicBezTo>
                    <a:pt x="98" y="346"/>
                    <a:pt x="113" y="358"/>
                    <a:pt x="113" y="368"/>
                  </a:cubicBezTo>
                  <a:cubicBezTo>
                    <a:pt x="113" y="378"/>
                    <a:pt x="96" y="398"/>
                    <a:pt x="102" y="412"/>
                  </a:cubicBezTo>
                  <a:cubicBezTo>
                    <a:pt x="108" y="426"/>
                    <a:pt x="128" y="442"/>
                    <a:pt x="142" y="459"/>
                  </a:cubicBezTo>
                  <a:cubicBezTo>
                    <a:pt x="156" y="476"/>
                    <a:pt x="175" y="497"/>
                    <a:pt x="175" y="497"/>
                  </a:cubicBezTo>
                  <a:cubicBezTo>
                    <a:pt x="175" y="497"/>
                    <a:pt x="162" y="524"/>
                    <a:pt x="178" y="525"/>
                  </a:cubicBezTo>
                  <a:cubicBezTo>
                    <a:pt x="194" y="526"/>
                    <a:pt x="210" y="506"/>
                    <a:pt x="210" y="506"/>
                  </a:cubicBezTo>
                  <a:cubicBezTo>
                    <a:pt x="206" y="493"/>
                    <a:pt x="206" y="493"/>
                    <a:pt x="206" y="493"/>
                  </a:cubicBezTo>
                  <a:cubicBezTo>
                    <a:pt x="206" y="493"/>
                    <a:pt x="198" y="457"/>
                    <a:pt x="190" y="453"/>
                  </a:cubicBezTo>
                  <a:cubicBezTo>
                    <a:pt x="182" y="449"/>
                    <a:pt x="172" y="452"/>
                    <a:pt x="172" y="452"/>
                  </a:cubicBezTo>
                  <a:cubicBezTo>
                    <a:pt x="160" y="435"/>
                    <a:pt x="160" y="435"/>
                    <a:pt x="160" y="435"/>
                  </a:cubicBezTo>
                  <a:cubicBezTo>
                    <a:pt x="160" y="435"/>
                    <a:pt x="164" y="422"/>
                    <a:pt x="162" y="414"/>
                  </a:cubicBezTo>
                  <a:cubicBezTo>
                    <a:pt x="160" y="406"/>
                    <a:pt x="162" y="387"/>
                    <a:pt x="162" y="387"/>
                  </a:cubicBezTo>
                  <a:cubicBezTo>
                    <a:pt x="150" y="365"/>
                    <a:pt x="150" y="365"/>
                    <a:pt x="150" y="365"/>
                  </a:cubicBezTo>
                  <a:cubicBezTo>
                    <a:pt x="150" y="365"/>
                    <a:pt x="160" y="341"/>
                    <a:pt x="156" y="329"/>
                  </a:cubicBezTo>
                  <a:cubicBezTo>
                    <a:pt x="152" y="317"/>
                    <a:pt x="131" y="319"/>
                    <a:pt x="131" y="319"/>
                  </a:cubicBezTo>
                  <a:cubicBezTo>
                    <a:pt x="131" y="288"/>
                    <a:pt x="131" y="288"/>
                    <a:pt x="131" y="288"/>
                  </a:cubicBezTo>
                  <a:cubicBezTo>
                    <a:pt x="114" y="267"/>
                    <a:pt x="114" y="267"/>
                    <a:pt x="114" y="267"/>
                  </a:cubicBezTo>
                  <a:cubicBezTo>
                    <a:pt x="116" y="227"/>
                    <a:pt x="116" y="227"/>
                    <a:pt x="116" y="227"/>
                  </a:cubicBezTo>
                  <a:cubicBezTo>
                    <a:pt x="116" y="227"/>
                    <a:pt x="102" y="207"/>
                    <a:pt x="97" y="201"/>
                  </a:cubicBezTo>
                  <a:cubicBezTo>
                    <a:pt x="92" y="195"/>
                    <a:pt x="89" y="170"/>
                    <a:pt x="89" y="170"/>
                  </a:cubicBezTo>
                  <a:cubicBezTo>
                    <a:pt x="89" y="170"/>
                    <a:pt x="63" y="132"/>
                    <a:pt x="66" y="128"/>
                  </a:cubicBezTo>
                  <a:cubicBezTo>
                    <a:pt x="69" y="124"/>
                    <a:pt x="79" y="107"/>
                    <a:pt x="75" y="95"/>
                  </a:cubicBezTo>
                  <a:cubicBezTo>
                    <a:pt x="71" y="83"/>
                    <a:pt x="85" y="67"/>
                    <a:pt x="85" y="67"/>
                  </a:cubicBezTo>
                  <a:cubicBezTo>
                    <a:pt x="84" y="42"/>
                    <a:pt x="84" y="42"/>
                    <a:pt x="84" y="42"/>
                  </a:cubicBezTo>
                  <a:cubicBezTo>
                    <a:pt x="84" y="42"/>
                    <a:pt x="104" y="62"/>
                    <a:pt x="113" y="62"/>
                  </a:cubicBezTo>
                  <a:cubicBezTo>
                    <a:pt x="122" y="62"/>
                    <a:pt x="134" y="58"/>
                    <a:pt x="134" y="58"/>
                  </a:cubicBezTo>
                  <a:cubicBezTo>
                    <a:pt x="134" y="58"/>
                    <a:pt x="131" y="69"/>
                    <a:pt x="138" y="73"/>
                  </a:cubicBezTo>
                  <a:cubicBezTo>
                    <a:pt x="145" y="77"/>
                    <a:pt x="155" y="77"/>
                    <a:pt x="155" y="77"/>
                  </a:cubicBezTo>
                  <a:cubicBezTo>
                    <a:pt x="155" y="77"/>
                    <a:pt x="152" y="88"/>
                    <a:pt x="152" y="106"/>
                  </a:cubicBezTo>
                  <a:cubicBezTo>
                    <a:pt x="152" y="124"/>
                    <a:pt x="160" y="180"/>
                    <a:pt x="160" y="180"/>
                  </a:cubicBezTo>
                  <a:cubicBezTo>
                    <a:pt x="160" y="180"/>
                    <a:pt x="181" y="255"/>
                    <a:pt x="189" y="257"/>
                  </a:cubicBezTo>
                  <a:cubicBezTo>
                    <a:pt x="197" y="259"/>
                    <a:pt x="217" y="257"/>
                    <a:pt x="217" y="257"/>
                  </a:cubicBezTo>
                  <a:cubicBezTo>
                    <a:pt x="217" y="257"/>
                    <a:pt x="199" y="268"/>
                    <a:pt x="208" y="284"/>
                  </a:cubicBezTo>
                  <a:cubicBezTo>
                    <a:pt x="217" y="300"/>
                    <a:pt x="234" y="302"/>
                    <a:pt x="234" y="302"/>
                  </a:cubicBezTo>
                  <a:cubicBezTo>
                    <a:pt x="236" y="317"/>
                    <a:pt x="236" y="317"/>
                    <a:pt x="236" y="317"/>
                  </a:cubicBezTo>
                  <a:cubicBezTo>
                    <a:pt x="257" y="318"/>
                    <a:pt x="257" y="318"/>
                    <a:pt x="257" y="318"/>
                  </a:cubicBezTo>
                  <a:cubicBezTo>
                    <a:pt x="260" y="346"/>
                    <a:pt x="260" y="346"/>
                    <a:pt x="260" y="346"/>
                  </a:cubicBezTo>
                  <a:cubicBezTo>
                    <a:pt x="260" y="346"/>
                    <a:pt x="228" y="359"/>
                    <a:pt x="238" y="374"/>
                  </a:cubicBezTo>
                  <a:cubicBezTo>
                    <a:pt x="248" y="389"/>
                    <a:pt x="255" y="375"/>
                    <a:pt x="255" y="375"/>
                  </a:cubicBezTo>
                  <a:cubicBezTo>
                    <a:pt x="255" y="375"/>
                    <a:pt x="264" y="395"/>
                    <a:pt x="270" y="397"/>
                  </a:cubicBezTo>
                  <a:cubicBezTo>
                    <a:pt x="276" y="399"/>
                    <a:pt x="294" y="401"/>
                    <a:pt x="294" y="404"/>
                  </a:cubicBezTo>
                  <a:cubicBezTo>
                    <a:pt x="294" y="407"/>
                    <a:pt x="294" y="418"/>
                    <a:pt x="294" y="418"/>
                  </a:cubicBezTo>
                  <a:cubicBezTo>
                    <a:pt x="294" y="418"/>
                    <a:pt x="279" y="437"/>
                    <a:pt x="290" y="438"/>
                  </a:cubicBezTo>
                  <a:cubicBezTo>
                    <a:pt x="301" y="439"/>
                    <a:pt x="313" y="437"/>
                    <a:pt x="313" y="437"/>
                  </a:cubicBezTo>
                  <a:cubicBezTo>
                    <a:pt x="313" y="456"/>
                    <a:pt x="313" y="456"/>
                    <a:pt x="313" y="456"/>
                  </a:cubicBezTo>
                  <a:cubicBezTo>
                    <a:pt x="313" y="456"/>
                    <a:pt x="335" y="481"/>
                    <a:pt x="345" y="495"/>
                  </a:cubicBezTo>
                  <a:cubicBezTo>
                    <a:pt x="355" y="509"/>
                    <a:pt x="373" y="538"/>
                    <a:pt x="373" y="547"/>
                  </a:cubicBezTo>
                  <a:cubicBezTo>
                    <a:pt x="373" y="556"/>
                    <a:pt x="370" y="562"/>
                    <a:pt x="371" y="575"/>
                  </a:cubicBezTo>
                  <a:cubicBezTo>
                    <a:pt x="372" y="588"/>
                    <a:pt x="386" y="595"/>
                    <a:pt x="384" y="606"/>
                  </a:cubicBezTo>
                  <a:cubicBezTo>
                    <a:pt x="382" y="617"/>
                    <a:pt x="364" y="625"/>
                    <a:pt x="364" y="632"/>
                  </a:cubicBezTo>
                  <a:cubicBezTo>
                    <a:pt x="364" y="639"/>
                    <a:pt x="375" y="645"/>
                    <a:pt x="375" y="645"/>
                  </a:cubicBezTo>
                  <a:cubicBezTo>
                    <a:pt x="375" y="645"/>
                    <a:pt x="351" y="642"/>
                    <a:pt x="351" y="659"/>
                  </a:cubicBezTo>
                  <a:cubicBezTo>
                    <a:pt x="351" y="676"/>
                    <a:pt x="350" y="717"/>
                    <a:pt x="373" y="719"/>
                  </a:cubicBezTo>
                  <a:cubicBezTo>
                    <a:pt x="396" y="721"/>
                    <a:pt x="416" y="727"/>
                    <a:pt x="423" y="740"/>
                  </a:cubicBezTo>
                  <a:cubicBezTo>
                    <a:pt x="430" y="753"/>
                    <a:pt x="437" y="779"/>
                    <a:pt x="453" y="781"/>
                  </a:cubicBezTo>
                  <a:cubicBezTo>
                    <a:pt x="469" y="783"/>
                    <a:pt x="496" y="777"/>
                    <a:pt x="507" y="788"/>
                  </a:cubicBezTo>
                  <a:cubicBezTo>
                    <a:pt x="518" y="799"/>
                    <a:pt x="525" y="825"/>
                    <a:pt x="556" y="838"/>
                  </a:cubicBezTo>
                  <a:cubicBezTo>
                    <a:pt x="587" y="851"/>
                    <a:pt x="632" y="851"/>
                    <a:pt x="639" y="861"/>
                  </a:cubicBezTo>
                  <a:cubicBezTo>
                    <a:pt x="646" y="871"/>
                    <a:pt x="649" y="881"/>
                    <a:pt x="659" y="881"/>
                  </a:cubicBezTo>
                  <a:cubicBezTo>
                    <a:pt x="669" y="881"/>
                    <a:pt x="677" y="899"/>
                    <a:pt x="677" y="899"/>
                  </a:cubicBezTo>
                  <a:cubicBezTo>
                    <a:pt x="677" y="899"/>
                    <a:pt x="720" y="894"/>
                    <a:pt x="722" y="897"/>
                  </a:cubicBezTo>
                  <a:cubicBezTo>
                    <a:pt x="724" y="900"/>
                    <a:pt x="731" y="921"/>
                    <a:pt x="745" y="917"/>
                  </a:cubicBezTo>
                  <a:cubicBezTo>
                    <a:pt x="759" y="913"/>
                    <a:pt x="829" y="875"/>
                    <a:pt x="840" y="878"/>
                  </a:cubicBezTo>
                  <a:cubicBezTo>
                    <a:pt x="851" y="881"/>
                    <a:pt x="921" y="938"/>
                    <a:pt x="924" y="946"/>
                  </a:cubicBezTo>
                  <a:cubicBezTo>
                    <a:pt x="926" y="951"/>
                    <a:pt x="927" y="964"/>
                    <a:pt x="933" y="974"/>
                  </a:cubicBezTo>
                  <a:cubicBezTo>
                    <a:pt x="933" y="974"/>
                    <a:pt x="947" y="976"/>
                    <a:pt x="947" y="960"/>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2" name="Jamaica">
              <a:extLst>
                <a:ext uri="{FF2B5EF4-FFF2-40B4-BE49-F238E27FC236}">
                  <a16:creationId xmlns:a16="http://schemas.microsoft.com/office/drawing/2014/main" id="{BB664F00-615F-409E-A321-631DB3559CC7}"/>
                </a:ext>
              </a:extLst>
            </p:cNvPr>
            <p:cNvSpPr>
              <a:spLocks/>
            </p:cNvSpPr>
            <p:nvPr/>
          </p:nvSpPr>
          <p:spPr bwMode="gray">
            <a:xfrm>
              <a:off x="3561614" y="3526597"/>
              <a:ext cx="60335" cy="23802"/>
            </a:xfrm>
            <a:custGeom>
              <a:avLst/>
              <a:gdLst>
                <a:gd name="T0" fmla="*/ 72 w 108"/>
                <a:gd name="T1" fmla="*/ 42 h 42"/>
                <a:gd name="T2" fmla="*/ 79 w 108"/>
                <a:gd name="T3" fmla="*/ 28 h 42"/>
                <a:gd name="T4" fmla="*/ 108 w 108"/>
                <a:gd name="T5" fmla="*/ 34 h 42"/>
                <a:gd name="T6" fmla="*/ 85 w 108"/>
                <a:gd name="T7" fmla="*/ 9 h 42"/>
                <a:gd name="T8" fmla="*/ 48 w 108"/>
                <a:gd name="T9" fmla="*/ 6 h 42"/>
                <a:gd name="T10" fmla="*/ 19 w 108"/>
                <a:gd name="T11" fmla="*/ 4 h 42"/>
                <a:gd name="T12" fmla="*/ 0 w 108"/>
                <a:gd name="T13" fmla="*/ 9 h 42"/>
                <a:gd name="T14" fmla="*/ 17 w 108"/>
                <a:gd name="T15" fmla="*/ 26 h 42"/>
                <a:gd name="T16" fmla="*/ 43 w 108"/>
                <a:gd name="T17" fmla="*/ 32 h 42"/>
                <a:gd name="T18" fmla="*/ 54 w 108"/>
                <a:gd name="T19" fmla="*/ 38 h 42"/>
                <a:gd name="T20" fmla="*/ 72 w 108"/>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42">
                  <a:moveTo>
                    <a:pt x="72" y="42"/>
                  </a:moveTo>
                  <a:cubicBezTo>
                    <a:pt x="79" y="28"/>
                    <a:pt x="79" y="28"/>
                    <a:pt x="79" y="28"/>
                  </a:cubicBezTo>
                  <a:cubicBezTo>
                    <a:pt x="108" y="34"/>
                    <a:pt x="108" y="34"/>
                    <a:pt x="108" y="34"/>
                  </a:cubicBezTo>
                  <a:cubicBezTo>
                    <a:pt x="108" y="34"/>
                    <a:pt x="95" y="9"/>
                    <a:pt x="85" y="9"/>
                  </a:cubicBezTo>
                  <a:cubicBezTo>
                    <a:pt x="75" y="9"/>
                    <a:pt x="58" y="7"/>
                    <a:pt x="48" y="6"/>
                  </a:cubicBezTo>
                  <a:cubicBezTo>
                    <a:pt x="37" y="4"/>
                    <a:pt x="27" y="0"/>
                    <a:pt x="19" y="4"/>
                  </a:cubicBezTo>
                  <a:cubicBezTo>
                    <a:pt x="11" y="7"/>
                    <a:pt x="0" y="9"/>
                    <a:pt x="0" y="9"/>
                  </a:cubicBezTo>
                  <a:cubicBezTo>
                    <a:pt x="0" y="9"/>
                    <a:pt x="8" y="20"/>
                    <a:pt x="17" y="26"/>
                  </a:cubicBezTo>
                  <a:cubicBezTo>
                    <a:pt x="25" y="32"/>
                    <a:pt x="43" y="32"/>
                    <a:pt x="43" y="32"/>
                  </a:cubicBezTo>
                  <a:cubicBezTo>
                    <a:pt x="54" y="38"/>
                    <a:pt x="54" y="38"/>
                    <a:pt x="54" y="38"/>
                  </a:cubicBezTo>
                  <a:lnTo>
                    <a:pt x="72" y="42"/>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0" name="Honduras">
              <a:extLst>
                <a:ext uri="{FF2B5EF4-FFF2-40B4-BE49-F238E27FC236}">
                  <a16:creationId xmlns:a16="http://schemas.microsoft.com/office/drawing/2014/main" id="{5454B846-100F-4916-8151-7D23ADE9CE35}"/>
                </a:ext>
              </a:extLst>
            </p:cNvPr>
            <p:cNvSpPr>
              <a:spLocks/>
            </p:cNvSpPr>
            <p:nvPr/>
          </p:nvSpPr>
          <p:spPr bwMode="gray">
            <a:xfrm>
              <a:off x="3264701" y="3599588"/>
              <a:ext cx="165129" cy="93620"/>
            </a:xfrm>
            <a:custGeom>
              <a:avLst/>
              <a:gdLst>
                <a:gd name="T0" fmla="*/ 103 w 296"/>
                <a:gd name="T1" fmla="*/ 162 h 166"/>
                <a:gd name="T2" fmla="*/ 105 w 296"/>
                <a:gd name="T3" fmla="*/ 151 h 166"/>
                <a:gd name="T4" fmla="*/ 114 w 296"/>
                <a:gd name="T5" fmla="*/ 149 h 166"/>
                <a:gd name="T6" fmla="*/ 115 w 296"/>
                <a:gd name="T7" fmla="*/ 122 h 166"/>
                <a:gd name="T8" fmla="*/ 135 w 296"/>
                <a:gd name="T9" fmla="*/ 123 h 166"/>
                <a:gd name="T10" fmla="*/ 148 w 296"/>
                <a:gd name="T11" fmla="*/ 109 h 166"/>
                <a:gd name="T12" fmla="*/ 162 w 296"/>
                <a:gd name="T13" fmla="*/ 118 h 166"/>
                <a:gd name="T14" fmla="*/ 189 w 296"/>
                <a:gd name="T15" fmla="*/ 95 h 166"/>
                <a:gd name="T16" fmla="*/ 190 w 296"/>
                <a:gd name="T17" fmla="*/ 85 h 166"/>
                <a:gd name="T18" fmla="*/ 203 w 296"/>
                <a:gd name="T19" fmla="*/ 84 h 166"/>
                <a:gd name="T20" fmla="*/ 213 w 296"/>
                <a:gd name="T21" fmla="*/ 65 h 166"/>
                <a:gd name="T22" fmla="*/ 238 w 296"/>
                <a:gd name="T23" fmla="*/ 76 h 166"/>
                <a:gd name="T24" fmla="*/ 251 w 296"/>
                <a:gd name="T25" fmla="*/ 66 h 166"/>
                <a:gd name="T26" fmla="*/ 262 w 296"/>
                <a:gd name="T27" fmla="*/ 66 h 166"/>
                <a:gd name="T28" fmla="*/ 281 w 296"/>
                <a:gd name="T29" fmla="*/ 65 h 166"/>
                <a:gd name="T30" fmla="*/ 294 w 296"/>
                <a:gd name="T31" fmla="*/ 55 h 166"/>
                <a:gd name="T32" fmla="*/ 283 w 296"/>
                <a:gd name="T33" fmla="*/ 41 h 166"/>
                <a:gd name="T34" fmla="*/ 268 w 296"/>
                <a:gd name="T35" fmla="*/ 35 h 166"/>
                <a:gd name="T36" fmla="*/ 248 w 296"/>
                <a:gd name="T37" fmla="*/ 18 h 166"/>
                <a:gd name="T38" fmla="*/ 230 w 296"/>
                <a:gd name="T39" fmla="*/ 13 h 166"/>
                <a:gd name="T40" fmla="*/ 214 w 296"/>
                <a:gd name="T41" fmla="*/ 1 h 166"/>
                <a:gd name="T42" fmla="*/ 192 w 296"/>
                <a:gd name="T43" fmla="*/ 9 h 166"/>
                <a:gd name="T44" fmla="*/ 171 w 296"/>
                <a:gd name="T45" fmla="*/ 0 h 166"/>
                <a:gd name="T46" fmla="*/ 148 w 296"/>
                <a:gd name="T47" fmla="*/ 18 h 166"/>
                <a:gd name="T48" fmla="*/ 125 w 296"/>
                <a:gd name="T49" fmla="*/ 17 h 166"/>
                <a:gd name="T50" fmla="*/ 109 w 296"/>
                <a:gd name="T51" fmla="*/ 11 h 166"/>
                <a:gd name="T52" fmla="*/ 89 w 296"/>
                <a:gd name="T53" fmla="*/ 16 h 166"/>
                <a:gd name="T54" fmla="*/ 81 w 296"/>
                <a:gd name="T55" fmla="*/ 2 h 166"/>
                <a:gd name="T56" fmla="*/ 59 w 296"/>
                <a:gd name="T57" fmla="*/ 15 h 166"/>
                <a:gd name="T58" fmla="*/ 39 w 296"/>
                <a:gd name="T59" fmla="*/ 34 h 166"/>
                <a:gd name="T60" fmla="*/ 11 w 296"/>
                <a:gd name="T61" fmla="*/ 58 h 166"/>
                <a:gd name="T62" fmla="*/ 9 w 296"/>
                <a:gd name="T63" fmla="*/ 79 h 166"/>
                <a:gd name="T64" fmla="*/ 0 w 296"/>
                <a:gd name="T65" fmla="*/ 86 h 166"/>
                <a:gd name="T66" fmla="*/ 13 w 296"/>
                <a:gd name="T67" fmla="*/ 102 h 166"/>
                <a:gd name="T68" fmla="*/ 28 w 296"/>
                <a:gd name="T69" fmla="*/ 102 h 166"/>
                <a:gd name="T70" fmla="*/ 36 w 296"/>
                <a:gd name="T71" fmla="*/ 118 h 166"/>
                <a:gd name="T72" fmla="*/ 52 w 296"/>
                <a:gd name="T73" fmla="*/ 112 h 166"/>
                <a:gd name="T74" fmla="*/ 67 w 296"/>
                <a:gd name="T75" fmla="*/ 114 h 166"/>
                <a:gd name="T76" fmla="*/ 68 w 296"/>
                <a:gd name="T77" fmla="*/ 143 h 166"/>
                <a:gd name="T78" fmla="*/ 85 w 296"/>
                <a:gd name="T79" fmla="*/ 148 h 166"/>
                <a:gd name="T80" fmla="*/ 89 w 296"/>
                <a:gd name="T81" fmla="*/ 166 h 166"/>
                <a:gd name="T82" fmla="*/ 103 w 296"/>
                <a:gd name="T83" fmla="*/ 1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6" h="166">
                  <a:moveTo>
                    <a:pt x="103" y="162"/>
                  </a:moveTo>
                  <a:cubicBezTo>
                    <a:pt x="109" y="160"/>
                    <a:pt x="105" y="151"/>
                    <a:pt x="105" y="151"/>
                  </a:cubicBezTo>
                  <a:cubicBezTo>
                    <a:pt x="114" y="149"/>
                    <a:pt x="114" y="149"/>
                    <a:pt x="114" y="149"/>
                  </a:cubicBezTo>
                  <a:cubicBezTo>
                    <a:pt x="114" y="149"/>
                    <a:pt x="100" y="122"/>
                    <a:pt x="115" y="122"/>
                  </a:cubicBezTo>
                  <a:cubicBezTo>
                    <a:pt x="130" y="122"/>
                    <a:pt x="135" y="123"/>
                    <a:pt x="135" y="123"/>
                  </a:cubicBezTo>
                  <a:cubicBezTo>
                    <a:pt x="135" y="123"/>
                    <a:pt x="140" y="108"/>
                    <a:pt x="148" y="109"/>
                  </a:cubicBezTo>
                  <a:cubicBezTo>
                    <a:pt x="156" y="110"/>
                    <a:pt x="147" y="118"/>
                    <a:pt x="162" y="118"/>
                  </a:cubicBezTo>
                  <a:cubicBezTo>
                    <a:pt x="177" y="118"/>
                    <a:pt x="189" y="95"/>
                    <a:pt x="189" y="95"/>
                  </a:cubicBezTo>
                  <a:cubicBezTo>
                    <a:pt x="190" y="85"/>
                    <a:pt x="190" y="85"/>
                    <a:pt x="190" y="85"/>
                  </a:cubicBezTo>
                  <a:cubicBezTo>
                    <a:pt x="203" y="84"/>
                    <a:pt x="203" y="84"/>
                    <a:pt x="203" y="84"/>
                  </a:cubicBezTo>
                  <a:cubicBezTo>
                    <a:pt x="203" y="84"/>
                    <a:pt x="204" y="64"/>
                    <a:pt x="213" y="65"/>
                  </a:cubicBezTo>
                  <a:cubicBezTo>
                    <a:pt x="222" y="66"/>
                    <a:pt x="228" y="77"/>
                    <a:pt x="238" y="76"/>
                  </a:cubicBezTo>
                  <a:cubicBezTo>
                    <a:pt x="248" y="75"/>
                    <a:pt x="247" y="66"/>
                    <a:pt x="251" y="66"/>
                  </a:cubicBezTo>
                  <a:cubicBezTo>
                    <a:pt x="255" y="66"/>
                    <a:pt x="262" y="66"/>
                    <a:pt x="262" y="66"/>
                  </a:cubicBezTo>
                  <a:cubicBezTo>
                    <a:pt x="281" y="65"/>
                    <a:pt x="281" y="65"/>
                    <a:pt x="281" y="65"/>
                  </a:cubicBezTo>
                  <a:cubicBezTo>
                    <a:pt x="282" y="61"/>
                    <a:pt x="296" y="62"/>
                    <a:pt x="294" y="55"/>
                  </a:cubicBezTo>
                  <a:cubicBezTo>
                    <a:pt x="292" y="48"/>
                    <a:pt x="283" y="41"/>
                    <a:pt x="283" y="41"/>
                  </a:cubicBezTo>
                  <a:cubicBezTo>
                    <a:pt x="268" y="35"/>
                    <a:pt x="268" y="35"/>
                    <a:pt x="268" y="35"/>
                  </a:cubicBezTo>
                  <a:cubicBezTo>
                    <a:pt x="268" y="35"/>
                    <a:pt x="257" y="27"/>
                    <a:pt x="248" y="18"/>
                  </a:cubicBezTo>
                  <a:cubicBezTo>
                    <a:pt x="239" y="9"/>
                    <a:pt x="230" y="13"/>
                    <a:pt x="230" y="13"/>
                  </a:cubicBezTo>
                  <a:cubicBezTo>
                    <a:pt x="230" y="13"/>
                    <a:pt x="226" y="1"/>
                    <a:pt x="214" y="1"/>
                  </a:cubicBezTo>
                  <a:cubicBezTo>
                    <a:pt x="202" y="1"/>
                    <a:pt x="192" y="9"/>
                    <a:pt x="192" y="9"/>
                  </a:cubicBezTo>
                  <a:cubicBezTo>
                    <a:pt x="192" y="9"/>
                    <a:pt x="178" y="0"/>
                    <a:pt x="171" y="0"/>
                  </a:cubicBezTo>
                  <a:cubicBezTo>
                    <a:pt x="164" y="0"/>
                    <a:pt x="148" y="18"/>
                    <a:pt x="148" y="18"/>
                  </a:cubicBezTo>
                  <a:cubicBezTo>
                    <a:pt x="125" y="17"/>
                    <a:pt x="125" y="17"/>
                    <a:pt x="125" y="17"/>
                  </a:cubicBezTo>
                  <a:cubicBezTo>
                    <a:pt x="125" y="17"/>
                    <a:pt x="112" y="11"/>
                    <a:pt x="109" y="11"/>
                  </a:cubicBezTo>
                  <a:cubicBezTo>
                    <a:pt x="106" y="11"/>
                    <a:pt x="89" y="16"/>
                    <a:pt x="89" y="16"/>
                  </a:cubicBezTo>
                  <a:cubicBezTo>
                    <a:pt x="89" y="16"/>
                    <a:pt x="84" y="2"/>
                    <a:pt x="81" y="2"/>
                  </a:cubicBezTo>
                  <a:cubicBezTo>
                    <a:pt x="78" y="2"/>
                    <a:pt x="59" y="15"/>
                    <a:pt x="59" y="15"/>
                  </a:cubicBezTo>
                  <a:cubicBezTo>
                    <a:pt x="59" y="15"/>
                    <a:pt x="54" y="26"/>
                    <a:pt x="39" y="34"/>
                  </a:cubicBezTo>
                  <a:cubicBezTo>
                    <a:pt x="24" y="42"/>
                    <a:pt x="11" y="58"/>
                    <a:pt x="11" y="58"/>
                  </a:cubicBezTo>
                  <a:cubicBezTo>
                    <a:pt x="11" y="58"/>
                    <a:pt x="12" y="70"/>
                    <a:pt x="9" y="79"/>
                  </a:cubicBezTo>
                  <a:cubicBezTo>
                    <a:pt x="8" y="82"/>
                    <a:pt x="4" y="85"/>
                    <a:pt x="0" y="86"/>
                  </a:cubicBezTo>
                  <a:cubicBezTo>
                    <a:pt x="2" y="91"/>
                    <a:pt x="6" y="102"/>
                    <a:pt x="13" y="102"/>
                  </a:cubicBezTo>
                  <a:cubicBezTo>
                    <a:pt x="22" y="102"/>
                    <a:pt x="28" y="102"/>
                    <a:pt x="28" y="102"/>
                  </a:cubicBezTo>
                  <a:cubicBezTo>
                    <a:pt x="28" y="102"/>
                    <a:pt x="27" y="120"/>
                    <a:pt x="36" y="118"/>
                  </a:cubicBezTo>
                  <a:cubicBezTo>
                    <a:pt x="45" y="116"/>
                    <a:pt x="47" y="111"/>
                    <a:pt x="52" y="112"/>
                  </a:cubicBezTo>
                  <a:cubicBezTo>
                    <a:pt x="57" y="113"/>
                    <a:pt x="67" y="114"/>
                    <a:pt x="67" y="114"/>
                  </a:cubicBezTo>
                  <a:cubicBezTo>
                    <a:pt x="68" y="143"/>
                    <a:pt x="68" y="143"/>
                    <a:pt x="68" y="143"/>
                  </a:cubicBezTo>
                  <a:cubicBezTo>
                    <a:pt x="85" y="148"/>
                    <a:pt x="85" y="148"/>
                    <a:pt x="85" y="148"/>
                  </a:cubicBezTo>
                  <a:cubicBezTo>
                    <a:pt x="92" y="158"/>
                    <a:pt x="89" y="166"/>
                    <a:pt x="89" y="166"/>
                  </a:cubicBezTo>
                  <a:cubicBezTo>
                    <a:pt x="89" y="166"/>
                    <a:pt x="97" y="164"/>
                    <a:pt x="103" y="162"/>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3" name="Haiti">
              <a:extLst>
                <a:ext uri="{FF2B5EF4-FFF2-40B4-BE49-F238E27FC236}">
                  <a16:creationId xmlns:a16="http://schemas.microsoft.com/office/drawing/2014/main" id="{620B6E01-26C1-4B84-8257-F741AE038B52}"/>
                </a:ext>
              </a:extLst>
            </p:cNvPr>
            <p:cNvSpPr>
              <a:spLocks/>
            </p:cNvSpPr>
            <p:nvPr/>
          </p:nvSpPr>
          <p:spPr bwMode="gray">
            <a:xfrm>
              <a:off x="3671170" y="3483756"/>
              <a:ext cx="74625" cy="60297"/>
            </a:xfrm>
            <a:custGeom>
              <a:avLst/>
              <a:gdLst>
                <a:gd name="T0" fmla="*/ 114 w 132"/>
                <a:gd name="T1" fmla="*/ 74 h 106"/>
                <a:gd name="T2" fmla="*/ 125 w 132"/>
                <a:gd name="T3" fmla="*/ 49 h 106"/>
                <a:gd name="T4" fmla="*/ 132 w 132"/>
                <a:gd name="T5" fmla="*/ 27 h 106"/>
                <a:gd name="T6" fmla="*/ 126 w 132"/>
                <a:gd name="T7" fmla="*/ 5 h 106"/>
                <a:gd name="T8" fmla="*/ 120 w 132"/>
                <a:gd name="T9" fmla="*/ 12 h 106"/>
                <a:gd name="T10" fmla="*/ 70 w 132"/>
                <a:gd name="T11" fmla="*/ 0 h 106"/>
                <a:gd name="T12" fmla="*/ 43 w 132"/>
                <a:gd name="T13" fmla="*/ 10 h 106"/>
                <a:gd name="T14" fmla="*/ 68 w 132"/>
                <a:gd name="T15" fmla="*/ 17 h 106"/>
                <a:gd name="T16" fmla="*/ 87 w 132"/>
                <a:gd name="T17" fmla="*/ 31 h 106"/>
                <a:gd name="T18" fmla="*/ 74 w 132"/>
                <a:gd name="T19" fmla="*/ 49 h 106"/>
                <a:gd name="T20" fmla="*/ 72 w 132"/>
                <a:gd name="T21" fmla="*/ 70 h 106"/>
                <a:gd name="T22" fmla="*/ 31 w 132"/>
                <a:gd name="T23" fmla="*/ 64 h 106"/>
                <a:gd name="T24" fmla="*/ 0 w 132"/>
                <a:gd name="T25" fmla="*/ 72 h 106"/>
                <a:gd name="T26" fmla="*/ 26 w 132"/>
                <a:gd name="T27" fmla="*/ 102 h 106"/>
                <a:gd name="T28" fmla="*/ 43 w 132"/>
                <a:gd name="T29" fmla="*/ 87 h 106"/>
                <a:gd name="T30" fmla="*/ 74 w 132"/>
                <a:gd name="T31" fmla="*/ 89 h 106"/>
                <a:gd name="T32" fmla="*/ 111 w 132"/>
                <a:gd name="T33" fmla="*/ 85 h 106"/>
                <a:gd name="T34" fmla="*/ 121 w 132"/>
                <a:gd name="T35" fmla="*/ 98 h 106"/>
                <a:gd name="T36" fmla="*/ 114 w 132"/>
                <a:gd name="T37" fmla="*/ 7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6">
                  <a:moveTo>
                    <a:pt x="114" y="74"/>
                  </a:moveTo>
                  <a:cubicBezTo>
                    <a:pt x="114" y="74"/>
                    <a:pt x="122" y="58"/>
                    <a:pt x="125" y="49"/>
                  </a:cubicBezTo>
                  <a:cubicBezTo>
                    <a:pt x="127" y="40"/>
                    <a:pt x="131" y="37"/>
                    <a:pt x="132" y="27"/>
                  </a:cubicBezTo>
                  <a:cubicBezTo>
                    <a:pt x="132" y="21"/>
                    <a:pt x="128" y="11"/>
                    <a:pt x="126" y="5"/>
                  </a:cubicBezTo>
                  <a:cubicBezTo>
                    <a:pt x="121" y="8"/>
                    <a:pt x="120" y="12"/>
                    <a:pt x="120" y="12"/>
                  </a:cubicBezTo>
                  <a:cubicBezTo>
                    <a:pt x="120" y="12"/>
                    <a:pt x="85" y="0"/>
                    <a:pt x="70" y="0"/>
                  </a:cubicBezTo>
                  <a:cubicBezTo>
                    <a:pt x="56" y="0"/>
                    <a:pt x="49" y="2"/>
                    <a:pt x="43" y="10"/>
                  </a:cubicBezTo>
                  <a:cubicBezTo>
                    <a:pt x="37" y="17"/>
                    <a:pt x="62" y="17"/>
                    <a:pt x="68" y="17"/>
                  </a:cubicBezTo>
                  <a:cubicBezTo>
                    <a:pt x="74" y="17"/>
                    <a:pt x="87" y="31"/>
                    <a:pt x="87" y="31"/>
                  </a:cubicBezTo>
                  <a:cubicBezTo>
                    <a:pt x="87" y="31"/>
                    <a:pt x="72" y="34"/>
                    <a:pt x="74" y="49"/>
                  </a:cubicBezTo>
                  <a:cubicBezTo>
                    <a:pt x="76" y="65"/>
                    <a:pt x="84" y="70"/>
                    <a:pt x="72" y="70"/>
                  </a:cubicBezTo>
                  <a:cubicBezTo>
                    <a:pt x="59" y="70"/>
                    <a:pt x="39" y="63"/>
                    <a:pt x="31" y="64"/>
                  </a:cubicBezTo>
                  <a:cubicBezTo>
                    <a:pt x="22" y="66"/>
                    <a:pt x="6" y="62"/>
                    <a:pt x="0" y="72"/>
                  </a:cubicBezTo>
                  <a:cubicBezTo>
                    <a:pt x="0" y="72"/>
                    <a:pt x="18" y="98"/>
                    <a:pt x="26" y="102"/>
                  </a:cubicBezTo>
                  <a:cubicBezTo>
                    <a:pt x="35" y="106"/>
                    <a:pt x="43" y="87"/>
                    <a:pt x="43" y="87"/>
                  </a:cubicBezTo>
                  <a:cubicBezTo>
                    <a:pt x="43" y="87"/>
                    <a:pt x="57" y="89"/>
                    <a:pt x="74" y="89"/>
                  </a:cubicBezTo>
                  <a:cubicBezTo>
                    <a:pt x="90" y="89"/>
                    <a:pt x="111" y="85"/>
                    <a:pt x="111" y="85"/>
                  </a:cubicBezTo>
                  <a:cubicBezTo>
                    <a:pt x="121" y="98"/>
                    <a:pt x="121" y="98"/>
                    <a:pt x="121" y="98"/>
                  </a:cubicBezTo>
                  <a:lnTo>
                    <a:pt x="114" y="74"/>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8" name="Guatemala">
              <a:extLst>
                <a:ext uri="{FF2B5EF4-FFF2-40B4-BE49-F238E27FC236}">
                  <a16:creationId xmlns:a16="http://schemas.microsoft.com/office/drawing/2014/main" id="{DE40C440-D936-452D-8661-75E97C419AED}"/>
                </a:ext>
              </a:extLst>
            </p:cNvPr>
            <p:cNvSpPr>
              <a:spLocks/>
            </p:cNvSpPr>
            <p:nvPr/>
          </p:nvSpPr>
          <p:spPr bwMode="gray">
            <a:xfrm>
              <a:off x="3186900" y="3545639"/>
              <a:ext cx="111144" cy="123768"/>
            </a:xfrm>
            <a:custGeom>
              <a:avLst/>
              <a:gdLst>
                <a:gd name="T0" fmla="*/ 190 w 199"/>
                <a:gd name="T1" fmla="*/ 103 h 222"/>
                <a:gd name="T2" fmla="*/ 179 w 199"/>
                <a:gd name="T3" fmla="*/ 110 h 222"/>
                <a:gd name="T4" fmla="*/ 170 w 199"/>
                <a:gd name="T5" fmla="*/ 105 h 222"/>
                <a:gd name="T6" fmla="*/ 152 w 199"/>
                <a:gd name="T7" fmla="*/ 105 h 222"/>
                <a:gd name="T8" fmla="*/ 168 w 199"/>
                <a:gd name="T9" fmla="*/ 1 h 222"/>
                <a:gd name="T10" fmla="*/ 81 w 199"/>
                <a:gd name="T11" fmla="*/ 0 h 222"/>
                <a:gd name="T12" fmla="*/ 82 w 199"/>
                <a:gd name="T13" fmla="*/ 30 h 222"/>
                <a:gd name="T14" fmla="*/ 54 w 199"/>
                <a:gd name="T15" fmla="*/ 34 h 222"/>
                <a:gd name="T16" fmla="*/ 64 w 199"/>
                <a:gd name="T17" fmla="*/ 38 h 222"/>
                <a:gd name="T18" fmla="*/ 75 w 199"/>
                <a:gd name="T19" fmla="*/ 56 h 222"/>
                <a:gd name="T20" fmla="*/ 87 w 199"/>
                <a:gd name="T21" fmla="*/ 57 h 222"/>
                <a:gd name="T22" fmla="*/ 91 w 199"/>
                <a:gd name="T23" fmla="*/ 73 h 222"/>
                <a:gd name="T24" fmla="*/ 103 w 199"/>
                <a:gd name="T25" fmla="*/ 79 h 222"/>
                <a:gd name="T26" fmla="*/ 94 w 199"/>
                <a:gd name="T27" fmla="*/ 86 h 222"/>
                <a:gd name="T28" fmla="*/ 94 w 199"/>
                <a:gd name="T29" fmla="*/ 97 h 222"/>
                <a:gd name="T30" fmla="*/ 35 w 199"/>
                <a:gd name="T31" fmla="*/ 96 h 222"/>
                <a:gd name="T32" fmla="*/ 14 w 199"/>
                <a:gd name="T33" fmla="*/ 127 h 222"/>
                <a:gd name="T34" fmla="*/ 14 w 199"/>
                <a:gd name="T35" fmla="*/ 165 h 222"/>
                <a:gd name="T36" fmla="*/ 0 w 199"/>
                <a:gd name="T37" fmla="*/ 179 h 222"/>
                <a:gd name="T38" fmla="*/ 14 w 199"/>
                <a:gd name="T39" fmla="*/ 192 h 222"/>
                <a:gd name="T40" fmla="*/ 47 w 199"/>
                <a:gd name="T41" fmla="*/ 213 h 222"/>
                <a:gd name="T42" fmla="*/ 80 w 199"/>
                <a:gd name="T43" fmla="*/ 213 h 222"/>
                <a:gd name="T44" fmla="*/ 92 w 199"/>
                <a:gd name="T45" fmla="*/ 222 h 222"/>
                <a:gd name="T46" fmla="*/ 111 w 199"/>
                <a:gd name="T47" fmla="*/ 207 h 222"/>
                <a:gd name="T48" fmla="*/ 124 w 199"/>
                <a:gd name="T49" fmla="*/ 195 h 222"/>
                <a:gd name="T50" fmla="*/ 125 w 199"/>
                <a:gd name="T51" fmla="*/ 187 h 222"/>
                <a:gd name="T52" fmla="*/ 149 w 199"/>
                <a:gd name="T53" fmla="*/ 176 h 222"/>
                <a:gd name="T54" fmla="*/ 151 w 199"/>
                <a:gd name="T55" fmla="*/ 155 h 222"/>
                <a:gd name="T56" fmla="*/ 179 w 199"/>
                <a:gd name="T57" fmla="*/ 131 h 222"/>
                <a:gd name="T58" fmla="*/ 199 w 199"/>
                <a:gd name="T59" fmla="*/ 112 h 222"/>
                <a:gd name="T60" fmla="*/ 190 w 199"/>
                <a:gd name="T61" fmla="*/ 10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9" h="222">
                  <a:moveTo>
                    <a:pt x="190" y="103"/>
                  </a:moveTo>
                  <a:cubicBezTo>
                    <a:pt x="179" y="110"/>
                    <a:pt x="179" y="110"/>
                    <a:pt x="179" y="110"/>
                  </a:cubicBezTo>
                  <a:cubicBezTo>
                    <a:pt x="170" y="105"/>
                    <a:pt x="170" y="105"/>
                    <a:pt x="170" y="105"/>
                  </a:cubicBezTo>
                  <a:cubicBezTo>
                    <a:pt x="152" y="105"/>
                    <a:pt x="152" y="105"/>
                    <a:pt x="152" y="105"/>
                  </a:cubicBezTo>
                  <a:cubicBezTo>
                    <a:pt x="168" y="1"/>
                    <a:pt x="168" y="1"/>
                    <a:pt x="168" y="1"/>
                  </a:cubicBezTo>
                  <a:cubicBezTo>
                    <a:pt x="81" y="0"/>
                    <a:pt x="81" y="0"/>
                    <a:pt x="81" y="0"/>
                  </a:cubicBezTo>
                  <a:cubicBezTo>
                    <a:pt x="81" y="0"/>
                    <a:pt x="84" y="24"/>
                    <a:pt x="82" y="30"/>
                  </a:cubicBezTo>
                  <a:cubicBezTo>
                    <a:pt x="80" y="36"/>
                    <a:pt x="54" y="34"/>
                    <a:pt x="54" y="34"/>
                  </a:cubicBezTo>
                  <a:cubicBezTo>
                    <a:pt x="64" y="38"/>
                    <a:pt x="64" y="38"/>
                    <a:pt x="64" y="38"/>
                  </a:cubicBezTo>
                  <a:cubicBezTo>
                    <a:pt x="64" y="38"/>
                    <a:pt x="65" y="54"/>
                    <a:pt x="75" y="56"/>
                  </a:cubicBezTo>
                  <a:cubicBezTo>
                    <a:pt x="85" y="58"/>
                    <a:pt x="87" y="57"/>
                    <a:pt x="87" y="57"/>
                  </a:cubicBezTo>
                  <a:cubicBezTo>
                    <a:pt x="91" y="73"/>
                    <a:pt x="91" y="73"/>
                    <a:pt x="91" y="73"/>
                  </a:cubicBezTo>
                  <a:cubicBezTo>
                    <a:pt x="91" y="73"/>
                    <a:pt x="103" y="69"/>
                    <a:pt x="103" y="79"/>
                  </a:cubicBezTo>
                  <a:cubicBezTo>
                    <a:pt x="103" y="89"/>
                    <a:pt x="94" y="86"/>
                    <a:pt x="94" y="86"/>
                  </a:cubicBezTo>
                  <a:cubicBezTo>
                    <a:pt x="94" y="97"/>
                    <a:pt x="94" y="97"/>
                    <a:pt x="94" y="97"/>
                  </a:cubicBezTo>
                  <a:cubicBezTo>
                    <a:pt x="35" y="96"/>
                    <a:pt x="35" y="96"/>
                    <a:pt x="35" y="96"/>
                  </a:cubicBezTo>
                  <a:cubicBezTo>
                    <a:pt x="14" y="127"/>
                    <a:pt x="14" y="127"/>
                    <a:pt x="14" y="127"/>
                  </a:cubicBezTo>
                  <a:cubicBezTo>
                    <a:pt x="14" y="127"/>
                    <a:pt x="14" y="149"/>
                    <a:pt x="14" y="165"/>
                  </a:cubicBezTo>
                  <a:cubicBezTo>
                    <a:pt x="14" y="181"/>
                    <a:pt x="0" y="179"/>
                    <a:pt x="0" y="179"/>
                  </a:cubicBezTo>
                  <a:cubicBezTo>
                    <a:pt x="3" y="185"/>
                    <a:pt x="7" y="189"/>
                    <a:pt x="14" y="192"/>
                  </a:cubicBezTo>
                  <a:cubicBezTo>
                    <a:pt x="33" y="199"/>
                    <a:pt x="36" y="209"/>
                    <a:pt x="47" y="213"/>
                  </a:cubicBezTo>
                  <a:cubicBezTo>
                    <a:pt x="58" y="217"/>
                    <a:pt x="80" y="213"/>
                    <a:pt x="80" y="213"/>
                  </a:cubicBezTo>
                  <a:cubicBezTo>
                    <a:pt x="80" y="213"/>
                    <a:pt x="86" y="217"/>
                    <a:pt x="92" y="222"/>
                  </a:cubicBezTo>
                  <a:cubicBezTo>
                    <a:pt x="97" y="217"/>
                    <a:pt x="105" y="208"/>
                    <a:pt x="111" y="207"/>
                  </a:cubicBezTo>
                  <a:cubicBezTo>
                    <a:pt x="119" y="205"/>
                    <a:pt x="124" y="195"/>
                    <a:pt x="124" y="195"/>
                  </a:cubicBezTo>
                  <a:cubicBezTo>
                    <a:pt x="125" y="187"/>
                    <a:pt x="125" y="187"/>
                    <a:pt x="125" y="187"/>
                  </a:cubicBezTo>
                  <a:cubicBezTo>
                    <a:pt x="125" y="187"/>
                    <a:pt x="146" y="185"/>
                    <a:pt x="149" y="176"/>
                  </a:cubicBezTo>
                  <a:cubicBezTo>
                    <a:pt x="152" y="167"/>
                    <a:pt x="151" y="155"/>
                    <a:pt x="151" y="155"/>
                  </a:cubicBezTo>
                  <a:cubicBezTo>
                    <a:pt x="151" y="155"/>
                    <a:pt x="164" y="139"/>
                    <a:pt x="179" y="131"/>
                  </a:cubicBezTo>
                  <a:cubicBezTo>
                    <a:pt x="194" y="123"/>
                    <a:pt x="199" y="112"/>
                    <a:pt x="199" y="112"/>
                  </a:cubicBezTo>
                  <a:lnTo>
                    <a:pt x="190" y="103"/>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6" name="El Salvador">
              <a:extLst>
                <a:ext uri="{FF2B5EF4-FFF2-40B4-BE49-F238E27FC236}">
                  <a16:creationId xmlns:a16="http://schemas.microsoft.com/office/drawing/2014/main" id="{B2C7808B-4049-4437-8929-E342EC7DD729}"/>
                </a:ext>
              </a:extLst>
            </p:cNvPr>
            <p:cNvSpPr>
              <a:spLocks/>
            </p:cNvSpPr>
            <p:nvPr/>
          </p:nvSpPr>
          <p:spPr bwMode="gray">
            <a:xfrm>
              <a:off x="3237709" y="3648778"/>
              <a:ext cx="65098" cy="41256"/>
            </a:xfrm>
            <a:custGeom>
              <a:avLst/>
              <a:gdLst>
                <a:gd name="T0" fmla="*/ 116 w 117"/>
                <a:gd name="T1" fmla="*/ 57 h 74"/>
                <a:gd name="T2" fmla="*/ 115 w 117"/>
                <a:gd name="T3" fmla="*/ 28 h 74"/>
                <a:gd name="T4" fmla="*/ 100 w 117"/>
                <a:gd name="T5" fmla="*/ 26 h 74"/>
                <a:gd name="T6" fmla="*/ 84 w 117"/>
                <a:gd name="T7" fmla="*/ 32 h 74"/>
                <a:gd name="T8" fmla="*/ 76 w 117"/>
                <a:gd name="T9" fmla="*/ 16 h 74"/>
                <a:gd name="T10" fmla="*/ 61 w 117"/>
                <a:gd name="T11" fmla="*/ 16 h 74"/>
                <a:gd name="T12" fmla="*/ 48 w 117"/>
                <a:gd name="T13" fmla="*/ 0 h 74"/>
                <a:gd name="T14" fmla="*/ 33 w 117"/>
                <a:gd name="T15" fmla="*/ 4 h 74"/>
                <a:gd name="T16" fmla="*/ 32 w 117"/>
                <a:gd name="T17" fmla="*/ 12 h 74"/>
                <a:gd name="T18" fmla="*/ 19 w 117"/>
                <a:gd name="T19" fmla="*/ 24 h 74"/>
                <a:gd name="T20" fmla="*/ 0 w 117"/>
                <a:gd name="T21" fmla="*/ 39 h 74"/>
                <a:gd name="T22" fmla="*/ 20 w 117"/>
                <a:gd name="T23" fmla="*/ 52 h 74"/>
                <a:gd name="T24" fmla="*/ 48 w 117"/>
                <a:gd name="T25" fmla="*/ 53 h 74"/>
                <a:gd name="T26" fmla="*/ 64 w 117"/>
                <a:gd name="T27" fmla="*/ 66 h 74"/>
                <a:gd name="T28" fmla="*/ 86 w 117"/>
                <a:gd name="T29" fmla="*/ 64 h 74"/>
                <a:gd name="T30" fmla="*/ 98 w 117"/>
                <a:gd name="T31" fmla="*/ 74 h 74"/>
                <a:gd name="T32" fmla="*/ 110 w 117"/>
                <a:gd name="T33" fmla="*/ 55 h 74"/>
                <a:gd name="T34" fmla="*/ 117 w 117"/>
                <a:gd name="T35" fmla="*/ 57 h 74"/>
                <a:gd name="T36" fmla="*/ 116 w 117"/>
                <a:gd name="T37" fmla="*/ 5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 h="74">
                  <a:moveTo>
                    <a:pt x="116" y="57"/>
                  </a:moveTo>
                  <a:cubicBezTo>
                    <a:pt x="115" y="28"/>
                    <a:pt x="115" y="28"/>
                    <a:pt x="115" y="28"/>
                  </a:cubicBezTo>
                  <a:cubicBezTo>
                    <a:pt x="115" y="28"/>
                    <a:pt x="105" y="27"/>
                    <a:pt x="100" y="26"/>
                  </a:cubicBezTo>
                  <a:cubicBezTo>
                    <a:pt x="95" y="25"/>
                    <a:pt x="93" y="30"/>
                    <a:pt x="84" y="32"/>
                  </a:cubicBezTo>
                  <a:cubicBezTo>
                    <a:pt x="75" y="34"/>
                    <a:pt x="76" y="16"/>
                    <a:pt x="76" y="16"/>
                  </a:cubicBezTo>
                  <a:cubicBezTo>
                    <a:pt x="76" y="16"/>
                    <a:pt x="70" y="16"/>
                    <a:pt x="61" y="16"/>
                  </a:cubicBezTo>
                  <a:cubicBezTo>
                    <a:pt x="54" y="16"/>
                    <a:pt x="50" y="5"/>
                    <a:pt x="48" y="0"/>
                  </a:cubicBezTo>
                  <a:cubicBezTo>
                    <a:pt x="41" y="3"/>
                    <a:pt x="33" y="4"/>
                    <a:pt x="33" y="4"/>
                  </a:cubicBezTo>
                  <a:cubicBezTo>
                    <a:pt x="32" y="12"/>
                    <a:pt x="32" y="12"/>
                    <a:pt x="32" y="12"/>
                  </a:cubicBezTo>
                  <a:cubicBezTo>
                    <a:pt x="32" y="12"/>
                    <a:pt x="27" y="22"/>
                    <a:pt x="19" y="24"/>
                  </a:cubicBezTo>
                  <a:cubicBezTo>
                    <a:pt x="13" y="25"/>
                    <a:pt x="5" y="34"/>
                    <a:pt x="0" y="39"/>
                  </a:cubicBezTo>
                  <a:cubicBezTo>
                    <a:pt x="7" y="44"/>
                    <a:pt x="16" y="50"/>
                    <a:pt x="20" y="52"/>
                  </a:cubicBezTo>
                  <a:cubicBezTo>
                    <a:pt x="28" y="55"/>
                    <a:pt x="48" y="53"/>
                    <a:pt x="48" y="53"/>
                  </a:cubicBezTo>
                  <a:cubicBezTo>
                    <a:pt x="64" y="66"/>
                    <a:pt x="64" y="66"/>
                    <a:pt x="64" y="66"/>
                  </a:cubicBezTo>
                  <a:cubicBezTo>
                    <a:pt x="86" y="64"/>
                    <a:pt x="86" y="64"/>
                    <a:pt x="86" y="64"/>
                  </a:cubicBezTo>
                  <a:cubicBezTo>
                    <a:pt x="98" y="74"/>
                    <a:pt x="98" y="74"/>
                    <a:pt x="98" y="74"/>
                  </a:cubicBezTo>
                  <a:cubicBezTo>
                    <a:pt x="110" y="55"/>
                    <a:pt x="110" y="55"/>
                    <a:pt x="110" y="55"/>
                  </a:cubicBezTo>
                  <a:cubicBezTo>
                    <a:pt x="117" y="57"/>
                    <a:pt x="117" y="57"/>
                    <a:pt x="117" y="57"/>
                  </a:cubicBezTo>
                  <a:lnTo>
                    <a:pt x="116" y="57"/>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2" name="Dominican Republic">
              <a:extLst>
                <a:ext uri="{FF2B5EF4-FFF2-40B4-BE49-F238E27FC236}">
                  <a16:creationId xmlns:a16="http://schemas.microsoft.com/office/drawing/2014/main" id="{4608A2D0-50F8-45F8-A1FF-F2CF9DE414BA}"/>
                </a:ext>
              </a:extLst>
            </p:cNvPr>
            <p:cNvSpPr>
              <a:spLocks/>
            </p:cNvSpPr>
            <p:nvPr/>
          </p:nvSpPr>
          <p:spPr bwMode="gray">
            <a:xfrm>
              <a:off x="3733094" y="3485342"/>
              <a:ext cx="96854" cy="61884"/>
            </a:xfrm>
            <a:custGeom>
              <a:avLst/>
              <a:gdLst>
                <a:gd name="T0" fmla="*/ 165 w 172"/>
                <a:gd name="T1" fmla="*/ 68 h 111"/>
                <a:gd name="T2" fmla="*/ 128 w 172"/>
                <a:gd name="T3" fmla="*/ 43 h 111"/>
                <a:gd name="T4" fmla="*/ 97 w 172"/>
                <a:gd name="T5" fmla="*/ 32 h 111"/>
                <a:gd name="T6" fmla="*/ 75 w 172"/>
                <a:gd name="T7" fmla="*/ 5 h 111"/>
                <a:gd name="T8" fmla="*/ 29 w 172"/>
                <a:gd name="T9" fmla="*/ 0 h 111"/>
                <a:gd name="T10" fmla="*/ 15 w 172"/>
                <a:gd name="T11" fmla="*/ 4 h 111"/>
                <a:gd name="T12" fmla="*/ 21 w 172"/>
                <a:gd name="T13" fmla="*/ 26 h 111"/>
                <a:gd name="T14" fmla="*/ 14 w 172"/>
                <a:gd name="T15" fmla="*/ 48 h 111"/>
                <a:gd name="T16" fmla="*/ 3 w 172"/>
                <a:gd name="T17" fmla="*/ 73 h 111"/>
                <a:gd name="T18" fmla="*/ 10 w 172"/>
                <a:gd name="T19" fmla="*/ 97 h 111"/>
                <a:gd name="T20" fmla="*/ 0 w 172"/>
                <a:gd name="T21" fmla="*/ 84 h 111"/>
                <a:gd name="T22" fmla="*/ 23 w 172"/>
                <a:gd name="T23" fmla="*/ 111 h 111"/>
                <a:gd name="T24" fmla="*/ 56 w 172"/>
                <a:gd name="T25" fmla="*/ 87 h 111"/>
                <a:gd name="T26" fmla="*/ 118 w 172"/>
                <a:gd name="T27" fmla="*/ 89 h 111"/>
                <a:gd name="T28" fmla="*/ 161 w 172"/>
                <a:gd name="T29" fmla="*/ 89 h 111"/>
                <a:gd name="T30" fmla="*/ 165 w 172"/>
                <a:gd name="T31" fmla="*/ 6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111">
                  <a:moveTo>
                    <a:pt x="165" y="68"/>
                  </a:moveTo>
                  <a:cubicBezTo>
                    <a:pt x="165" y="68"/>
                    <a:pt x="143" y="49"/>
                    <a:pt x="128" y="43"/>
                  </a:cubicBezTo>
                  <a:cubicBezTo>
                    <a:pt x="114" y="38"/>
                    <a:pt x="108" y="36"/>
                    <a:pt x="97" y="32"/>
                  </a:cubicBezTo>
                  <a:cubicBezTo>
                    <a:pt x="87" y="28"/>
                    <a:pt x="81" y="9"/>
                    <a:pt x="75" y="5"/>
                  </a:cubicBezTo>
                  <a:cubicBezTo>
                    <a:pt x="69" y="2"/>
                    <a:pt x="46" y="0"/>
                    <a:pt x="29" y="0"/>
                  </a:cubicBezTo>
                  <a:cubicBezTo>
                    <a:pt x="22" y="0"/>
                    <a:pt x="18" y="2"/>
                    <a:pt x="15" y="4"/>
                  </a:cubicBezTo>
                  <a:cubicBezTo>
                    <a:pt x="17" y="10"/>
                    <a:pt x="21" y="20"/>
                    <a:pt x="21" y="26"/>
                  </a:cubicBezTo>
                  <a:cubicBezTo>
                    <a:pt x="20" y="36"/>
                    <a:pt x="16" y="39"/>
                    <a:pt x="14" y="48"/>
                  </a:cubicBezTo>
                  <a:cubicBezTo>
                    <a:pt x="11" y="57"/>
                    <a:pt x="3" y="73"/>
                    <a:pt x="3" y="73"/>
                  </a:cubicBezTo>
                  <a:cubicBezTo>
                    <a:pt x="10" y="97"/>
                    <a:pt x="10" y="97"/>
                    <a:pt x="10" y="97"/>
                  </a:cubicBezTo>
                  <a:cubicBezTo>
                    <a:pt x="0" y="84"/>
                    <a:pt x="0" y="84"/>
                    <a:pt x="0" y="84"/>
                  </a:cubicBezTo>
                  <a:cubicBezTo>
                    <a:pt x="23" y="111"/>
                    <a:pt x="23" y="111"/>
                    <a:pt x="23" y="111"/>
                  </a:cubicBezTo>
                  <a:cubicBezTo>
                    <a:pt x="56" y="87"/>
                    <a:pt x="56" y="87"/>
                    <a:pt x="56" y="87"/>
                  </a:cubicBezTo>
                  <a:cubicBezTo>
                    <a:pt x="56" y="87"/>
                    <a:pt x="85" y="87"/>
                    <a:pt x="118" y="89"/>
                  </a:cubicBezTo>
                  <a:cubicBezTo>
                    <a:pt x="131" y="90"/>
                    <a:pt x="153" y="93"/>
                    <a:pt x="161" y="89"/>
                  </a:cubicBezTo>
                  <a:cubicBezTo>
                    <a:pt x="172" y="83"/>
                    <a:pt x="165" y="68"/>
                    <a:pt x="165" y="68"/>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1" name="Cuba">
              <a:extLst>
                <a:ext uri="{FF2B5EF4-FFF2-40B4-BE49-F238E27FC236}">
                  <a16:creationId xmlns:a16="http://schemas.microsoft.com/office/drawing/2014/main" id="{04DA1292-C268-4CA2-998B-C151A048BC56}"/>
                </a:ext>
              </a:extLst>
            </p:cNvPr>
            <p:cNvSpPr>
              <a:spLocks noEditPoints="1"/>
            </p:cNvSpPr>
            <p:nvPr/>
          </p:nvSpPr>
          <p:spPr bwMode="gray">
            <a:xfrm>
              <a:off x="3409189" y="3383788"/>
              <a:ext cx="276273" cy="103140"/>
            </a:xfrm>
            <a:custGeom>
              <a:avLst/>
              <a:gdLst>
                <a:gd name="T0" fmla="*/ 475 w 493"/>
                <a:gd name="T1" fmla="*/ 151 h 185"/>
                <a:gd name="T2" fmla="*/ 445 w 493"/>
                <a:gd name="T3" fmla="*/ 148 h 185"/>
                <a:gd name="T4" fmla="*/ 434 w 493"/>
                <a:gd name="T5" fmla="*/ 129 h 185"/>
                <a:gd name="T6" fmla="*/ 399 w 493"/>
                <a:gd name="T7" fmla="*/ 128 h 185"/>
                <a:gd name="T8" fmla="*/ 416 w 493"/>
                <a:gd name="T9" fmla="*/ 114 h 185"/>
                <a:gd name="T10" fmla="*/ 378 w 493"/>
                <a:gd name="T11" fmla="*/ 106 h 185"/>
                <a:gd name="T12" fmla="*/ 349 w 493"/>
                <a:gd name="T13" fmla="*/ 96 h 185"/>
                <a:gd name="T14" fmla="*/ 351 w 493"/>
                <a:gd name="T15" fmla="*/ 79 h 185"/>
                <a:gd name="T16" fmla="*/ 338 w 493"/>
                <a:gd name="T17" fmla="*/ 77 h 185"/>
                <a:gd name="T18" fmla="*/ 290 w 493"/>
                <a:gd name="T19" fmla="*/ 45 h 185"/>
                <a:gd name="T20" fmla="*/ 300 w 493"/>
                <a:gd name="T21" fmla="*/ 64 h 185"/>
                <a:gd name="T22" fmla="*/ 255 w 493"/>
                <a:gd name="T23" fmla="*/ 42 h 185"/>
                <a:gd name="T24" fmla="*/ 220 w 493"/>
                <a:gd name="T25" fmla="*/ 12 h 185"/>
                <a:gd name="T26" fmla="*/ 180 w 493"/>
                <a:gd name="T27" fmla="*/ 12 h 185"/>
                <a:gd name="T28" fmla="*/ 118 w 493"/>
                <a:gd name="T29" fmla="*/ 0 h 185"/>
                <a:gd name="T30" fmla="*/ 48 w 493"/>
                <a:gd name="T31" fmla="*/ 26 h 185"/>
                <a:gd name="T32" fmla="*/ 0 w 493"/>
                <a:gd name="T33" fmla="*/ 51 h 185"/>
                <a:gd name="T34" fmla="*/ 51 w 493"/>
                <a:gd name="T35" fmla="*/ 49 h 185"/>
                <a:gd name="T36" fmla="*/ 51 w 493"/>
                <a:gd name="T37" fmla="*/ 39 h 185"/>
                <a:gd name="T38" fmla="*/ 102 w 493"/>
                <a:gd name="T39" fmla="*/ 36 h 185"/>
                <a:gd name="T40" fmla="*/ 115 w 493"/>
                <a:gd name="T41" fmla="*/ 29 h 185"/>
                <a:gd name="T42" fmla="*/ 150 w 493"/>
                <a:gd name="T43" fmla="*/ 34 h 185"/>
                <a:gd name="T44" fmla="*/ 126 w 493"/>
                <a:gd name="T45" fmla="*/ 46 h 185"/>
                <a:gd name="T46" fmla="*/ 137 w 493"/>
                <a:gd name="T47" fmla="*/ 54 h 185"/>
                <a:gd name="T48" fmla="*/ 172 w 493"/>
                <a:gd name="T49" fmla="*/ 66 h 185"/>
                <a:gd name="T50" fmla="*/ 188 w 493"/>
                <a:gd name="T51" fmla="*/ 61 h 185"/>
                <a:gd name="T52" fmla="*/ 220 w 493"/>
                <a:gd name="T53" fmla="*/ 81 h 185"/>
                <a:gd name="T54" fmla="*/ 268 w 493"/>
                <a:gd name="T55" fmla="*/ 79 h 185"/>
                <a:gd name="T56" fmla="*/ 263 w 493"/>
                <a:gd name="T57" fmla="*/ 96 h 185"/>
                <a:gd name="T58" fmla="*/ 303 w 493"/>
                <a:gd name="T59" fmla="*/ 113 h 185"/>
                <a:gd name="T60" fmla="*/ 319 w 493"/>
                <a:gd name="T61" fmla="*/ 136 h 185"/>
                <a:gd name="T62" fmla="*/ 335 w 493"/>
                <a:gd name="T63" fmla="*/ 150 h 185"/>
                <a:gd name="T64" fmla="*/ 316 w 493"/>
                <a:gd name="T65" fmla="*/ 172 h 185"/>
                <a:gd name="T66" fmla="*/ 356 w 493"/>
                <a:gd name="T67" fmla="*/ 163 h 185"/>
                <a:gd name="T68" fmla="*/ 367 w 493"/>
                <a:gd name="T69" fmla="*/ 168 h 185"/>
                <a:gd name="T70" fmla="*/ 375 w 493"/>
                <a:gd name="T71" fmla="*/ 180 h 185"/>
                <a:gd name="T72" fmla="*/ 426 w 493"/>
                <a:gd name="T73" fmla="*/ 178 h 185"/>
                <a:gd name="T74" fmla="*/ 493 w 493"/>
                <a:gd name="T75" fmla="*/ 163 h 185"/>
                <a:gd name="T76" fmla="*/ 475 w 493"/>
                <a:gd name="T77" fmla="*/ 151 h 185"/>
                <a:gd name="T78" fmla="*/ 78 w 493"/>
                <a:gd name="T79" fmla="*/ 84 h 185"/>
                <a:gd name="T80" fmla="*/ 104 w 493"/>
                <a:gd name="T81" fmla="*/ 84 h 185"/>
                <a:gd name="T82" fmla="*/ 78 w 493"/>
                <a:gd name="T83" fmla="*/ 8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3" h="185">
                  <a:moveTo>
                    <a:pt x="475" y="151"/>
                  </a:moveTo>
                  <a:cubicBezTo>
                    <a:pt x="456" y="148"/>
                    <a:pt x="445" y="148"/>
                    <a:pt x="445" y="148"/>
                  </a:cubicBezTo>
                  <a:cubicBezTo>
                    <a:pt x="445" y="148"/>
                    <a:pt x="453" y="131"/>
                    <a:pt x="434" y="129"/>
                  </a:cubicBezTo>
                  <a:cubicBezTo>
                    <a:pt x="416" y="126"/>
                    <a:pt x="399" y="128"/>
                    <a:pt x="399" y="128"/>
                  </a:cubicBezTo>
                  <a:cubicBezTo>
                    <a:pt x="416" y="114"/>
                    <a:pt x="416" y="114"/>
                    <a:pt x="416" y="114"/>
                  </a:cubicBezTo>
                  <a:cubicBezTo>
                    <a:pt x="416" y="114"/>
                    <a:pt x="386" y="106"/>
                    <a:pt x="378" y="106"/>
                  </a:cubicBezTo>
                  <a:cubicBezTo>
                    <a:pt x="370" y="106"/>
                    <a:pt x="349" y="96"/>
                    <a:pt x="349" y="96"/>
                  </a:cubicBezTo>
                  <a:cubicBezTo>
                    <a:pt x="349" y="96"/>
                    <a:pt x="359" y="79"/>
                    <a:pt x="351" y="79"/>
                  </a:cubicBezTo>
                  <a:cubicBezTo>
                    <a:pt x="343" y="79"/>
                    <a:pt x="338" y="77"/>
                    <a:pt x="338" y="77"/>
                  </a:cubicBezTo>
                  <a:cubicBezTo>
                    <a:pt x="338" y="77"/>
                    <a:pt x="298" y="37"/>
                    <a:pt x="290" y="45"/>
                  </a:cubicBezTo>
                  <a:cubicBezTo>
                    <a:pt x="282" y="52"/>
                    <a:pt x="300" y="64"/>
                    <a:pt x="300" y="64"/>
                  </a:cubicBezTo>
                  <a:cubicBezTo>
                    <a:pt x="255" y="42"/>
                    <a:pt x="255" y="42"/>
                    <a:pt x="255" y="42"/>
                  </a:cubicBezTo>
                  <a:cubicBezTo>
                    <a:pt x="255" y="42"/>
                    <a:pt x="231" y="17"/>
                    <a:pt x="220" y="12"/>
                  </a:cubicBezTo>
                  <a:cubicBezTo>
                    <a:pt x="209" y="7"/>
                    <a:pt x="180" y="12"/>
                    <a:pt x="180" y="12"/>
                  </a:cubicBezTo>
                  <a:cubicBezTo>
                    <a:pt x="180" y="12"/>
                    <a:pt x="156" y="0"/>
                    <a:pt x="118" y="0"/>
                  </a:cubicBezTo>
                  <a:cubicBezTo>
                    <a:pt x="81" y="0"/>
                    <a:pt x="64" y="12"/>
                    <a:pt x="48" y="26"/>
                  </a:cubicBezTo>
                  <a:cubicBezTo>
                    <a:pt x="32" y="41"/>
                    <a:pt x="0" y="51"/>
                    <a:pt x="0" y="51"/>
                  </a:cubicBezTo>
                  <a:cubicBezTo>
                    <a:pt x="51" y="49"/>
                    <a:pt x="51" y="49"/>
                    <a:pt x="51" y="49"/>
                  </a:cubicBezTo>
                  <a:cubicBezTo>
                    <a:pt x="51" y="39"/>
                    <a:pt x="51" y="39"/>
                    <a:pt x="51" y="39"/>
                  </a:cubicBezTo>
                  <a:cubicBezTo>
                    <a:pt x="102" y="36"/>
                    <a:pt x="102" y="36"/>
                    <a:pt x="102" y="36"/>
                  </a:cubicBezTo>
                  <a:cubicBezTo>
                    <a:pt x="115" y="29"/>
                    <a:pt x="115" y="29"/>
                    <a:pt x="115" y="29"/>
                  </a:cubicBezTo>
                  <a:cubicBezTo>
                    <a:pt x="115" y="29"/>
                    <a:pt x="142" y="27"/>
                    <a:pt x="150" y="34"/>
                  </a:cubicBezTo>
                  <a:cubicBezTo>
                    <a:pt x="158" y="42"/>
                    <a:pt x="126" y="46"/>
                    <a:pt x="126" y="46"/>
                  </a:cubicBezTo>
                  <a:cubicBezTo>
                    <a:pt x="137" y="54"/>
                    <a:pt x="137" y="54"/>
                    <a:pt x="137" y="54"/>
                  </a:cubicBezTo>
                  <a:cubicBezTo>
                    <a:pt x="137" y="54"/>
                    <a:pt x="155" y="61"/>
                    <a:pt x="172" y="66"/>
                  </a:cubicBezTo>
                  <a:cubicBezTo>
                    <a:pt x="188" y="71"/>
                    <a:pt x="188" y="61"/>
                    <a:pt x="188" y="61"/>
                  </a:cubicBezTo>
                  <a:cubicBezTo>
                    <a:pt x="188" y="61"/>
                    <a:pt x="204" y="74"/>
                    <a:pt x="220" y="81"/>
                  </a:cubicBezTo>
                  <a:cubicBezTo>
                    <a:pt x="236" y="89"/>
                    <a:pt x="268" y="79"/>
                    <a:pt x="268" y="79"/>
                  </a:cubicBezTo>
                  <a:cubicBezTo>
                    <a:pt x="263" y="96"/>
                    <a:pt x="263" y="96"/>
                    <a:pt x="263" y="96"/>
                  </a:cubicBezTo>
                  <a:cubicBezTo>
                    <a:pt x="303" y="113"/>
                    <a:pt x="303" y="113"/>
                    <a:pt x="303" y="113"/>
                  </a:cubicBezTo>
                  <a:cubicBezTo>
                    <a:pt x="319" y="136"/>
                    <a:pt x="319" y="136"/>
                    <a:pt x="319" y="136"/>
                  </a:cubicBezTo>
                  <a:cubicBezTo>
                    <a:pt x="319" y="136"/>
                    <a:pt x="335" y="143"/>
                    <a:pt x="335" y="150"/>
                  </a:cubicBezTo>
                  <a:cubicBezTo>
                    <a:pt x="335" y="158"/>
                    <a:pt x="308" y="165"/>
                    <a:pt x="316" y="172"/>
                  </a:cubicBezTo>
                  <a:cubicBezTo>
                    <a:pt x="324" y="180"/>
                    <a:pt x="348" y="163"/>
                    <a:pt x="356" y="163"/>
                  </a:cubicBezTo>
                  <a:cubicBezTo>
                    <a:pt x="364" y="163"/>
                    <a:pt x="381" y="165"/>
                    <a:pt x="367" y="168"/>
                  </a:cubicBezTo>
                  <a:cubicBezTo>
                    <a:pt x="354" y="170"/>
                    <a:pt x="375" y="180"/>
                    <a:pt x="375" y="180"/>
                  </a:cubicBezTo>
                  <a:cubicBezTo>
                    <a:pt x="375" y="180"/>
                    <a:pt x="397" y="185"/>
                    <a:pt x="426" y="178"/>
                  </a:cubicBezTo>
                  <a:cubicBezTo>
                    <a:pt x="456" y="170"/>
                    <a:pt x="493" y="163"/>
                    <a:pt x="493" y="163"/>
                  </a:cubicBezTo>
                  <a:cubicBezTo>
                    <a:pt x="493" y="163"/>
                    <a:pt x="493" y="153"/>
                    <a:pt x="475" y="151"/>
                  </a:cubicBezTo>
                  <a:close/>
                  <a:moveTo>
                    <a:pt x="78" y="84"/>
                  </a:moveTo>
                  <a:cubicBezTo>
                    <a:pt x="75" y="97"/>
                    <a:pt x="102" y="99"/>
                    <a:pt x="104" y="84"/>
                  </a:cubicBezTo>
                  <a:cubicBezTo>
                    <a:pt x="107" y="70"/>
                    <a:pt x="78" y="84"/>
                    <a:pt x="78" y="84"/>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6" name="Costa Rica">
              <a:extLst>
                <a:ext uri="{FF2B5EF4-FFF2-40B4-BE49-F238E27FC236}">
                  <a16:creationId xmlns:a16="http://schemas.microsoft.com/office/drawing/2014/main" id="{0AF1E742-418F-4618-9C66-1D0AE090D3BE}"/>
                </a:ext>
              </a:extLst>
            </p:cNvPr>
            <p:cNvSpPr>
              <a:spLocks/>
            </p:cNvSpPr>
            <p:nvPr/>
          </p:nvSpPr>
          <p:spPr bwMode="gray">
            <a:xfrm>
              <a:off x="3337739" y="3745570"/>
              <a:ext cx="90503" cy="85685"/>
            </a:xfrm>
            <a:custGeom>
              <a:avLst/>
              <a:gdLst>
                <a:gd name="T0" fmla="*/ 146 w 162"/>
                <a:gd name="T1" fmla="*/ 133 h 152"/>
                <a:gd name="T2" fmla="*/ 159 w 162"/>
                <a:gd name="T3" fmla="*/ 122 h 152"/>
                <a:gd name="T4" fmla="*/ 145 w 162"/>
                <a:gd name="T5" fmla="*/ 115 h 152"/>
                <a:gd name="T6" fmla="*/ 145 w 162"/>
                <a:gd name="T7" fmla="*/ 93 h 152"/>
                <a:gd name="T8" fmla="*/ 162 w 162"/>
                <a:gd name="T9" fmla="*/ 87 h 152"/>
                <a:gd name="T10" fmla="*/ 140 w 162"/>
                <a:gd name="T11" fmla="*/ 66 h 152"/>
                <a:gd name="T12" fmla="*/ 124 w 162"/>
                <a:gd name="T13" fmla="*/ 39 h 152"/>
                <a:gd name="T14" fmla="*/ 122 w 162"/>
                <a:gd name="T15" fmla="*/ 24 h 152"/>
                <a:gd name="T16" fmla="*/ 122 w 162"/>
                <a:gd name="T17" fmla="*/ 23 h 152"/>
                <a:gd name="T18" fmla="*/ 122 w 162"/>
                <a:gd name="T19" fmla="*/ 23 h 152"/>
                <a:gd name="T20" fmla="*/ 101 w 162"/>
                <a:gd name="T21" fmla="*/ 26 h 152"/>
                <a:gd name="T22" fmla="*/ 89 w 162"/>
                <a:gd name="T23" fmla="*/ 14 h 152"/>
                <a:gd name="T24" fmla="*/ 71 w 162"/>
                <a:gd name="T25" fmla="*/ 7 h 152"/>
                <a:gd name="T26" fmla="*/ 59 w 162"/>
                <a:gd name="T27" fmla="*/ 12 h 152"/>
                <a:gd name="T28" fmla="*/ 33 w 162"/>
                <a:gd name="T29" fmla="*/ 1 h 152"/>
                <a:gd name="T30" fmla="*/ 19 w 162"/>
                <a:gd name="T31" fmla="*/ 2 h 152"/>
                <a:gd name="T32" fmla="*/ 19 w 162"/>
                <a:gd name="T33" fmla="*/ 2 h 152"/>
                <a:gd name="T34" fmla="*/ 10 w 162"/>
                <a:gd name="T35" fmla="*/ 19 h 152"/>
                <a:gd name="T36" fmla="*/ 20 w 162"/>
                <a:gd name="T37" fmla="*/ 32 h 152"/>
                <a:gd name="T38" fmla="*/ 9 w 162"/>
                <a:gd name="T39" fmla="*/ 60 h 152"/>
                <a:gd name="T40" fmla="*/ 33 w 162"/>
                <a:gd name="T41" fmla="*/ 72 h 152"/>
                <a:gd name="T42" fmla="*/ 53 w 162"/>
                <a:gd name="T43" fmla="*/ 85 h 152"/>
                <a:gd name="T44" fmla="*/ 51 w 162"/>
                <a:gd name="T45" fmla="*/ 67 h 152"/>
                <a:gd name="T46" fmla="*/ 33 w 162"/>
                <a:gd name="T47" fmla="*/ 49 h 152"/>
                <a:gd name="T48" fmla="*/ 67 w 162"/>
                <a:gd name="T49" fmla="*/ 70 h 152"/>
                <a:gd name="T50" fmla="*/ 68 w 162"/>
                <a:gd name="T51" fmla="*/ 89 h 152"/>
                <a:gd name="T52" fmla="*/ 95 w 162"/>
                <a:gd name="T53" fmla="*/ 94 h 152"/>
                <a:gd name="T54" fmla="*/ 108 w 162"/>
                <a:gd name="T55" fmla="*/ 121 h 152"/>
                <a:gd name="T56" fmla="*/ 108 w 162"/>
                <a:gd name="T57" fmla="*/ 138 h 152"/>
                <a:gd name="T58" fmla="*/ 131 w 162"/>
                <a:gd name="T59" fmla="*/ 150 h 152"/>
                <a:gd name="T60" fmla="*/ 122 w 162"/>
                <a:gd name="T61" fmla="*/ 133 h 152"/>
                <a:gd name="T62" fmla="*/ 141 w 162"/>
                <a:gd name="T63" fmla="*/ 152 h 152"/>
                <a:gd name="T64" fmla="*/ 145 w 162"/>
                <a:gd name="T65" fmla="*/ 147 h 152"/>
                <a:gd name="T66" fmla="*/ 146 w 162"/>
                <a:gd name="T67" fmla="*/ 13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2" h="152">
                  <a:moveTo>
                    <a:pt x="146" y="133"/>
                  </a:moveTo>
                  <a:cubicBezTo>
                    <a:pt x="146" y="133"/>
                    <a:pt x="159" y="127"/>
                    <a:pt x="159" y="122"/>
                  </a:cubicBezTo>
                  <a:cubicBezTo>
                    <a:pt x="159" y="117"/>
                    <a:pt x="145" y="115"/>
                    <a:pt x="145" y="115"/>
                  </a:cubicBezTo>
                  <a:cubicBezTo>
                    <a:pt x="145" y="115"/>
                    <a:pt x="135" y="96"/>
                    <a:pt x="145" y="93"/>
                  </a:cubicBezTo>
                  <a:cubicBezTo>
                    <a:pt x="151" y="91"/>
                    <a:pt x="158" y="88"/>
                    <a:pt x="162" y="87"/>
                  </a:cubicBezTo>
                  <a:cubicBezTo>
                    <a:pt x="154" y="82"/>
                    <a:pt x="143" y="75"/>
                    <a:pt x="140" y="66"/>
                  </a:cubicBezTo>
                  <a:cubicBezTo>
                    <a:pt x="136" y="53"/>
                    <a:pt x="124" y="39"/>
                    <a:pt x="124" y="39"/>
                  </a:cubicBezTo>
                  <a:cubicBezTo>
                    <a:pt x="122" y="24"/>
                    <a:pt x="122" y="24"/>
                    <a:pt x="122" y="24"/>
                  </a:cubicBezTo>
                  <a:cubicBezTo>
                    <a:pt x="122" y="24"/>
                    <a:pt x="122" y="24"/>
                    <a:pt x="122" y="23"/>
                  </a:cubicBezTo>
                  <a:cubicBezTo>
                    <a:pt x="122" y="23"/>
                    <a:pt x="122" y="23"/>
                    <a:pt x="122" y="23"/>
                  </a:cubicBezTo>
                  <a:cubicBezTo>
                    <a:pt x="115" y="25"/>
                    <a:pt x="107" y="26"/>
                    <a:pt x="101" y="26"/>
                  </a:cubicBezTo>
                  <a:cubicBezTo>
                    <a:pt x="89" y="26"/>
                    <a:pt x="89" y="14"/>
                    <a:pt x="89" y="14"/>
                  </a:cubicBezTo>
                  <a:cubicBezTo>
                    <a:pt x="89" y="14"/>
                    <a:pt x="84" y="8"/>
                    <a:pt x="71" y="7"/>
                  </a:cubicBezTo>
                  <a:cubicBezTo>
                    <a:pt x="58" y="6"/>
                    <a:pt x="59" y="12"/>
                    <a:pt x="59" y="12"/>
                  </a:cubicBezTo>
                  <a:cubicBezTo>
                    <a:pt x="59" y="12"/>
                    <a:pt x="39" y="3"/>
                    <a:pt x="33" y="1"/>
                  </a:cubicBezTo>
                  <a:cubicBezTo>
                    <a:pt x="29" y="0"/>
                    <a:pt x="23" y="1"/>
                    <a:pt x="19" y="2"/>
                  </a:cubicBezTo>
                  <a:cubicBezTo>
                    <a:pt x="19" y="2"/>
                    <a:pt x="19" y="2"/>
                    <a:pt x="19" y="2"/>
                  </a:cubicBezTo>
                  <a:cubicBezTo>
                    <a:pt x="10" y="19"/>
                    <a:pt x="10" y="19"/>
                    <a:pt x="10" y="19"/>
                  </a:cubicBezTo>
                  <a:cubicBezTo>
                    <a:pt x="10" y="19"/>
                    <a:pt x="26" y="28"/>
                    <a:pt x="20" y="32"/>
                  </a:cubicBezTo>
                  <a:cubicBezTo>
                    <a:pt x="14" y="36"/>
                    <a:pt x="0" y="46"/>
                    <a:pt x="9" y="60"/>
                  </a:cubicBezTo>
                  <a:cubicBezTo>
                    <a:pt x="18" y="74"/>
                    <a:pt x="33" y="72"/>
                    <a:pt x="33" y="72"/>
                  </a:cubicBezTo>
                  <a:cubicBezTo>
                    <a:pt x="33" y="72"/>
                    <a:pt x="50" y="92"/>
                    <a:pt x="53" y="85"/>
                  </a:cubicBezTo>
                  <a:cubicBezTo>
                    <a:pt x="56" y="78"/>
                    <a:pt x="51" y="67"/>
                    <a:pt x="51" y="67"/>
                  </a:cubicBezTo>
                  <a:cubicBezTo>
                    <a:pt x="51" y="67"/>
                    <a:pt x="24" y="49"/>
                    <a:pt x="33" y="49"/>
                  </a:cubicBezTo>
                  <a:cubicBezTo>
                    <a:pt x="42" y="49"/>
                    <a:pt x="67" y="70"/>
                    <a:pt x="67" y="70"/>
                  </a:cubicBezTo>
                  <a:cubicBezTo>
                    <a:pt x="67" y="70"/>
                    <a:pt x="64" y="89"/>
                    <a:pt x="68" y="89"/>
                  </a:cubicBezTo>
                  <a:cubicBezTo>
                    <a:pt x="72" y="89"/>
                    <a:pt x="95" y="94"/>
                    <a:pt x="95" y="94"/>
                  </a:cubicBezTo>
                  <a:cubicBezTo>
                    <a:pt x="108" y="121"/>
                    <a:pt x="108" y="121"/>
                    <a:pt x="108" y="121"/>
                  </a:cubicBezTo>
                  <a:cubicBezTo>
                    <a:pt x="108" y="121"/>
                    <a:pt x="99" y="129"/>
                    <a:pt x="108" y="138"/>
                  </a:cubicBezTo>
                  <a:cubicBezTo>
                    <a:pt x="117" y="147"/>
                    <a:pt x="131" y="150"/>
                    <a:pt x="131" y="150"/>
                  </a:cubicBezTo>
                  <a:cubicBezTo>
                    <a:pt x="122" y="133"/>
                    <a:pt x="122" y="133"/>
                    <a:pt x="122" y="133"/>
                  </a:cubicBezTo>
                  <a:cubicBezTo>
                    <a:pt x="141" y="152"/>
                    <a:pt x="141" y="152"/>
                    <a:pt x="141" y="152"/>
                  </a:cubicBezTo>
                  <a:cubicBezTo>
                    <a:pt x="145" y="147"/>
                    <a:pt x="145" y="147"/>
                    <a:pt x="145" y="147"/>
                  </a:cubicBezTo>
                  <a:lnTo>
                    <a:pt x="146" y="133"/>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4" name="Canada">
              <a:extLst>
                <a:ext uri="{FF2B5EF4-FFF2-40B4-BE49-F238E27FC236}">
                  <a16:creationId xmlns:a16="http://schemas.microsoft.com/office/drawing/2014/main" id="{D4FD437E-09C2-4C85-9B8E-9181C7E44211}"/>
                </a:ext>
              </a:extLst>
            </p:cNvPr>
            <p:cNvSpPr>
              <a:spLocks noEditPoints="1"/>
            </p:cNvSpPr>
            <p:nvPr/>
          </p:nvSpPr>
          <p:spPr bwMode="gray">
            <a:xfrm>
              <a:off x="2667696" y="1744659"/>
              <a:ext cx="2081574" cy="1077413"/>
            </a:xfrm>
            <a:custGeom>
              <a:avLst/>
              <a:gdLst>
                <a:gd name="T0" fmla="*/ 1824 w 3718"/>
                <a:gd name="T1" fmla="*/ 304 h 1928"/>
                <a:gd name="T2" fmla="*/ 1868 w 3718"/>
                <a:gd name="T3" fmla="*/ 216 h 1928"/>
                <a:gd name="T4" fmla="*/ 141 w 3718"/>
                <a:gd name="T5" fmla="*/ 1354 h 1928"/>
                <a:gd name="T6" fmla="*/ 138 w 3718"/>
                <a:gd name="T7" fmla="*/ 1561 h 1928"/>
                <a:gd name="T8" fmla="*/ 1554 w 3718"/>
                <a:gd name="T9" fmla="*/ 213 h 1928"/>
                <a:gd name="T10" fmla="*/ 34 w 3718"/>
                <a:gd name="T11" fmla="*/ 1340 h 1928"/>
                <a:gd name="T12" fmla="*/ 1227 w 3718"/>
                <a:gd name="T13" fmla="*/ 437 h 1928"/>
                <a:gd name="T14" fmla="*/ 2245 w 3718"/>
                <a:gd name="T15" fmla="*/ 414 h 1928"/>
                <a:gd name="T16" fmla="*/ 2627 w 3718"/>
                <a:gd name="T17" fmla="*/ 171 h 1928"/>
                <a:gd name="T18" fmla="*/ 2592 w 3718"/>
                <a:gd name="T19" fmla="*/ 114 h 1928"/>
                <a:gd name="T20" fmla="*/ 2731 w 3718"/>
                <a:gd name="T21" fmla="*/ 327 h 1928"/>
                <a:gd name="T22" fmla="*/ 2578 w 3718"/>
                <a:gd name="T23" fmla="*/ 240 h 1928"/>
                <a:gd name="T24" fmla="*/ 2488 w 3718"/>
                <a:gd name="T25" fmla="*/ 156 h 1928"/>
                <a:gd name="T26" fmla="*/ 1744 w 3718"/>
                <a:gd name="T27" fmla="*/ 405 h 1928"/>
                <a:gd name="T28" fmla="*/ 1851 w 3718"/>
                <a:gd name="T29" fmla="*/ 586 h 1928"/>
                <a:gd name="T30" fmla="*/ 2278 w 3718"/>
                <a:gd name="T31" fmla="*/ 144 h 1928"/>
                <a:gd name="T32" fmla="*/ 3024 w 3718"/>
                <a:gd name="T33" fmla="*/ 564 h 1928"/>
                <a:gd name="T34" fmla="*/ 2988 w 3718"/>
                <a:gd name="T35" fmla="*/ 474 h 1928"/>
                <a:gd name="T36" fmla="*/ 2753 w 3718"/>
                <a:gd name="T37" fmla="*/ 381 h 1928"/>
                <a:gd name="T38" fmla="*/ 2565 w 3718"/>
                <a:gd name="T39" fmla="*/ 358 h 1928"/>
                <a:gd name="T40" fmla="*/ 2816 w 3718"/>
                <a:gd name="T41" fmla="*/ 590 h 1928"/>
                <a:gd name="T42" fmla="*/ 2732 w 3718"/>
                <a:gd name="T43" fmla="*/ 829 h 1928"/>
                <a:gd name="T44" fmla="*/ 2995 w 3718"/>
                <a:gd name="T45" fmla="*/ 792 h 1928"/>
                <a:gd name="T46" fmla="*/ 3152 w 3718"/>
                <a:gd name="T47" fmla="*/ 694 h 1928"/>
                <a:gd name="T48" fmla="*/ 2821 w 3718"/>
                <a:gd name="T49" fmla="*/ 613 h 1928"/>
                <a:gd name="T50" fmla="*/ 3034 w 3718"/>
                <a:gd name="T51" fmla="*/ 25 h 1928"/>
                <a:gd name="T52" fmla="*/ 3027 w 3718"/>
                <a:gd name="T53" fmla="*/ 92 h 1928"/>
                <a:gd name="T54" fmla="*/ 2737 w 3718"/>
                <a:gd name="T55" fmla="*/ 191 h 1928"/>
                <a:gd name="T56" fmla="*/ 2975 w 3718"/>
                <a:gd name="T57" fmla="*/ 248 h 1928"/>
                <a:gd name="T58" fmla="*/ 3379 w 3718"/>
                <a:gd name="T59" fmla="*/ 91 h 1928"/>
                <a:gd name="T60" fmla="*/ 2747 w 3718"/>
                <a:gd name="T61" fmla="*/ 549 h 1928"/>
                <a:gd name="T62" fmla="*/ 2686 w 3718"/>
                <a:gd name="T63" fmla="*/ 1536 h 1928"/>
                <a:gd name="T64" fmla="*/ 2958 w 3718"/>
                <a:gd name="T65" fmla="*/ 1304 h 1928"/>
                <a:gd name="T66" fmla="*/ 2899 w 3718"/>
                <a:gd name="T67" fmla="*/ 1093 h 1928"/>
                <a:gd name="T68" fmla="*/ 2744 w 3718"/>
                <a:gd name="T69" fmla="*/ 1079 h 1928"/>
                <a:gd name="T70" fmla="*/ 2677 w 3718"/>
                <a:gd name="T71" fmla="*/ 900 h 1928"/>
                <a:gd name="T72" fmla="*/ 2180 w 3718"/>
                <a:gd name="T73" fmla="*/ 1298 h 1928"/>
                <a:gd name="T74" fmla="*/ 1908 w 3718"/>
                <a:gd name="T75" fmla="*/ 1200 h 1928"/>
                <a:gd name="T76" fmla="*/ 1986 w 3718"/>
                <a:gd name="T77" fmla="*/ 814 h 1928"/>
                <a:gd name="T78" fmla="*/ 2401 w 3718"/>
                <a:gd name="T79" fmla="*/ 658 h 1928"/>
                <a:gd name="T80" fmla="*/ 2262 w 3718"/>
                <a:gd name="T81" fmla="*/ 563 h 1928"/>
                <a:gd name="T82" fmla="*/ 2163 w 3718"/>
                <a:gd name="T83" fmla="*/ 561 h 1928"/>
                <a:gd name="T84" fmla="*/ 1863 w 3718"/>
                <a:gd name="T85" fmla="*/ 625 h 1928"/>
                <a:gd name="T86" fmla="*/ 1155 w 3718"/>
                <a:gd name="T87" fmla="*/ 554 h 1928"/>
                <a:gd name="T88" fmla="*/ 983 w 3718"/>
                <a:gd name="T89" fmla="*/ 514 h 1928"/>
                <a:gd name="T90" fmla="*/ 52 w 3718"/>
                <a:gd name="T91" fmla="*/ 964 h 1928"/>
                <a:gd name="T92" fmla="*/ 225 w 3718"/>
                <a:gd name="T93" fmla="*/ 1187 h 1928"/>
                <a:gd name="T94" fmla="*/ 184 w 3718"/>
                <a:gd name="T95" fmla="*/ 1387 h 1928"/>
                <a:gd name="T96" fmla="*/ 1394 w 3718"/>
                <a:gd name="T97" fmla="*/ 1537 h 1928"/>
                <a:gd name="T98" fmla="*/ 1727 w 3718"/>
                <a:gd name="T99" fmla="*/ 1604 h 1928"/>
                <a:gd name="T100" fmla="*/ 1868 w 3718"/>
                <a:gd name="T101" fmla="*/ 1783 h 1928"/>
                <a:gd name="T102" fmla="*/ 1928 w 3718"/>
                <a:gd name="T103" fmla="*/ 1826 h 1928"/>
                <a:gd name="T104" fmla="*/ 2453 w 3718"/>
                <a:gd name="T105" fmla="*/ 1735 h 1928"/>
                <a:gd name="T106" fmla="*/ 2655 w 3718"/>
                <a:gd name="T107" fmla="*/ 1772 h 1928"/>
                <a:gd name="T108" fmla="*/ 2574 w 3718"/>
                <a:gd name="T109" fmla="*/ 1597 h 1928"/>
                <a:gd name="T110" fmla="*/ 2967 w 3718"/>
                <a:gd name="T111" fmla="*/ 1436 h 1928"/>
                <a:gd name="T112" fmla="*/ 1119 w 3718"/>
                <a:gd name="T113" fmla="*/ 664 h 1928"/>
                <a:gd name="T114" fmla="*/ 990 w 3718"/>
                <a:gd name="T115" fmla="*/ 760 h 1928"/>
                <a:gd name="T116" fmla="*/ 985 w 3718"/>
                <a:gd name="T117" fmla="*/ 939 h 1928"/>
                <a:gd name="T118" fmla="*/ 1403 w 3718"/>
                <a:gd name="T119" fmla="*/ 1433 h 1928"/>
                <a:gd name="T120" fmla="*/ 2456 w 3718"/>
                <a:gd name="T121" fmla="*/ 825 h 1928"/>
                <a:gd name="T122" fmla="*/ 2386 w 3718"/>
                <a:gd name="T123" fmla="*/ 823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18" h="1928">
                  <a:moveTo>
                    <a:pt x="2074" y="170"/>
                  </a:moveTo>
                  <a:cubicBezTo>
                    <a:pt x="2084" y="169"/>
                    <a:pt x="2113" y="177"/>
                    <a:pt x="2115" y="169"/>
                  </a:cubicBezTo>
                  <a:cubicBezTo>
                    <a:pt x="2117" y="160"/>
                    <a:pt x="2107" y="154"/>
                    <a:pt x="2091" y="154"/>
                  </a:cubicBezTo>
                  <a:cubicBezTo>
                    <a:pt x="2074" y="154"/>
                    <a:pt x="2009" y="165"/>
                    <a:pt x="2009" y="165"/>
                  </a:cubicBezTo>
                  <a:cubicBezTo>
                    <a:pt x="2009" y="165"/>
                    <a:pt x="2065" y="171"/>
                    <a:pt x="2074" y="170"/>
                  </a:cubicBezTo>
                  <a:close/>
                  <a:moveTo>
                    <a:pt x="1990" y="214"/>
                  </a:moveTo>
                  <a:cubicBezTo>
                    <a:pt x="2052" y="218"/>
                    <a:pt x="2047" y="199"/>
                    <a:pt x="2047" y="199"/>
                  </a:cubicBezTo>
                  <a:cubicBezTo>
                    <a:pt x="2043" y="189"/>
                    <a:pt x="2043" y="189"/>
                    <a:pt x="2043" y="189"/>
                  </a:cubicBezTo>
                  <a:cubicBezTo>
                    <a:pt x="2089" y="184"/>
                    <a:pt x="2089" y="184"/>
                    <a:pt x="2089" y="184"/>
                  </a:cubicBezTo>
                  <a:cubicBezTo>
                    <a:pt x="2078" y="176"/>
                    <a:pt x="2078" y="176"/>
                    <a:pt x="2078" y="176"/>
                  </a:cubicBezTo>
                  <a:cubicBezTo>
                    <a:pt x="2033" y="178"/>
                    <a:pt x="2033" y="178"/>
                    <a:pt x="2033" y="178"/>
                  </a:cubicBezTo>
                  <a:cubicBezTo>
                    <a:pt x="2025" y="186"/>
                    <a:pt x="2025" y="186"/>
                    <a:pt x="2025" y="186"/>
                  </a:cubicBezTo>
                  <a:cubicBezTo>
                    <a:pt x="2025" y="186"/>
                    <a:pt x="1966" y="173"/>
                    <a:pt x="1959" y="189"/>
                  </a:cubicBezTo>
                  <a:cubicBezTo>
                    <a:pt x="1953" y="205"/>
                    <a:pt x="1990" y="214"/>
                    <a:pt x="1990" y="214"/>
                  </a:cubicBezTo>
                  <a:close/>
                  <a:moveTo>
                    <a:pt x="1785" y="257"/>
                  </a:moveTo>
                  <a:cubicBezTo>
                    <a:pt x="1749" y="275"/>
                    <a:pt x="1749" y="275"/>
                    <a:pt x="1749" y="275"/>
                  </a:cubicBezTo>
                  <a:cubicBezTo>
                    <a:pt x="1749" y="275"/>
                    <a:pt x="1784" y="281"/>
                    <a:pt x="1768" y="284"/>
                  </a:cubicBezTo>
                  <a:cubicBezTo>
                    <a:pt x="1752" y="288"/>
                    <a:pt x="1694" y="292"/>
                    <a:pt x="1694" y="292"/>
                  </a:cubicBezTo>
                  <a:cubicBezTo>
                    <a:pt x="1680" y="308"/>
                    <a:pt x="1680" y="308"/>
                    <a:pt x="1680" y="308"/>
                  </a:cubicBezTo>
                  <a:cubicBezTo>
                    <a:pt x="1717" y="303"/>
                    <a:pt x="1717" y="303"/>
                    <a:pt x="1717" y="303"/>
                  </a:cubicBezTo>
                  <a:cubicBezTo>
                    <a:pt x="1717" y="303"/>
                    <a:pt x="1732" y="308"/>
                    <a:pt x="1751" y="311"/>
                  </a:cubicBezTo>
                  <a:cubicBezTo>
                    <a:pt x="1770" y="314"/>
                    <a:pt x="1826" y="295"/>
                    <a:pt x="1826" y="295"/>
                  </a:cubicBezTo>
                  <a:cubicBezTo>
                    <a:pt x="1824" y="304"/>
                    <a:pt x="1824" y="304"/>
                    <a:pt x="1824" y="304"/>
                  </a:cubicBezTo>
                  <a:cubicBezTo>
                    <a:pt x="1824" y="304"/>
                    <a:pt x="1862" y="299"/>
                    <a:pt x="1892" y="297"/>
                  </a:cubicBezTo>
                  <a:cubicBezTo>
                    <a:pt x="1920" y="295"/>
                    <a:pt x="1895" y="302"/>
                    <a:pt x="1885" y="304"/>
                  </a:cubicBezTo>
                  <a:cubicBezTo>
                    <a:pt x="1875" y="305"/>
                    <a:pt x="1841" y="309"/>
                    <a:pt x="1816" y="312"/>
                  </a:cubicBezTo>
                  <a:cubicBezTo>
                    <a:pt x="1791" y="315"/>
                    <a:pt x="1760" y="326"/>
                    <a:pt x="1760" y="326"/>
                  </a:cubicBezTo>
                  <a:cubicBezTo>
                    <a:pt x="1760" y="326"/>
                    <a:pt x="1788" y="331"/>
                    <a:pt x="1838" y="333"/>
                  </a:cubicBezTo>
                  <a:cubicBezTo>
                    <a:pt x="1886" y="334"/>
                    <a:pt x="1920" y="313"/>
                    <a:pt x="1920" y="313"/>
                  </a:cubicBezTo>
                  <a:cubicBezTo>
                    <a:pt x="1970" y="300"/>
                    <a:pt x="1970" y="300"/>
                    <a:pt x="1970" y="300"/>
                  </a:cubicBezTo>
                  <a:cubicBezTo>
                    <a:pt x="1970" y="300"/>
                    <a:pt x="1987" y="306"/>
                    <a:pt x="2035" y="300"/>
                  </a:cubicBezTo>
                  <a:cubicBezTo>
                    <a:pt x="2081" y="294"/>
                    <a:pt x="2084" y="284"/>
                    <a:pt x="2103" y="279"/>
                  </a:cubicBezTo>
                  <a:cubicBezTo>
                    <a:pt x="2121" y="274"/>
                    <a:pt x="2106" y="254"/>
                    <a:pt x="2086" y="254"/>
                  </a:cubicBezTo>
                  <a:cubicBezTo>
                    <a:pt x="2066" y="255"/>
                    <a:pt x="2072" y="268"/>
                    <a:pt x="2072" y="268"/>
                  </a:cubicBezTo>
                  <a:cubicBezTo>
                    <a:pt x="2045" y="267"/>
                    <a:pt x="2045" y="267"/>
                    <a:pt x="2045" y="267"/>
                  </a:cubicBezTo>
                  <a:cubicBezTo>
                    <a:pt x="2045" y="267"/>
                    <a:pt x="2050" y="260"/>
                    <a:pt x="2055" y="252"/>
                  </a:cubicBezTo>
                  <a:cubicBezTo>
                    <a:pt x="2060" y="244"/>
                    <a:pt x="2073" y="229"/>
                    <a:pt x="2061" y="229"/>
                  </a:cubicBezTo>
                  <a:cubicBezTo>
                    <a:pt x="2049" y="228"/>
                    <a:pt x="2024" y="239"/>
                    <a:pt x="1991" y="249"/>
                  </a:cubicBezTo>
                  <a:cubicBezTo>
                    <a:pt x="1957" y="259"/>
                    <a:pt x="2012" y="256"/>
                    <a:pt x="2012" y="256"/>
                  </a:cubicBezTo>
                  <a:cubicBezTo>
                    <a:pt x="2009" y="272"/>
                    <a:pt x="2009" y="272"/>
                    <a:pt x="2009" y="272"/>
                  </a:cubicBezTo>
                  <a:cubicBezTo>
                    <a:pt x="1929" y="282"/>
                    <a:pt x="1929" y="282"/>
                    <a:pt x="1929" y="282"/>
                  </a:cubicBezTo>
                  <a:cubicBezTo>
                    <a:pt x="1929" y="282"/>
                    <a:pt x="1923" y="262"/>
                    <a:pt x="1928" y="253"/>
                  </a:cubicBezTo>
                  <a:cubicBezTo>
                    <a:pt x="1932" y="244"/>
                    <a:pt x="1875" y="240"/>
                    <a:pt x="1875" y="240"/>
                  </a:cubicBezTo>
                  <a:lnTo>
                    <a:pt x="1785" y="257"/>
                  </a:lnTo>
                  <a:close/>
                  <a:moveTo>
                    <a:pt x="1887" y="230"/>
                  </a:moveTo>
                  <a:cubicBezTo>
                    <a:pt x="1905" y="215"/>
                    <a:pt x="1886" y="206"/>
                    <a:pt x="1868" y="216"/>
                  </a:cubicBezTo>
                  <a:cubicBezTo>
                    <a:pt x="1849" y="226"/>
                    <a:pt x="1887" y="230"/>
                    <a:pt x="1887" y="230"/>
                  </a:cubicBezTo>
                  <a:close/>
                  <a:moveTo>
                    <a:pt x="2008" y="377"/>
                  </a:moveTo>
                  <a:cubicBezTo>
                    <a:pt x="1988" y="361"/>
                    <a:pt x="1988" y="361"/>
                    <a:pt x="1988" y="361"/>
                  </a:cubicBezTo>
                  <a:cubicBezTo>
                    <a:pt x="1969" y="363"/>
                    <a:pt x="1969" y="363"/>
                    <a:pt x="1969" y="363"/>
                  </a:cubicBezTo>
                  <a:cubicBezTo>
                    <a:pt x="1969" y="363"/>
                    <a:pt x="1957" y="348"/>
                    <a:pt x="1932" y="357"/>
                  </a:cubicBezTo>
                  <a:cubicBezTo>
                    <a:pt x="1906" y="365"/>
                    <a:pt x="1964" y="389"/>
                    <a:pt x="1964" y="389"/>
                  </a:cubicBezTo>
                  <a:lnTo>
                    <a:pt x="2008" y="377"/>
                  </a:lnTo>
                  <a:close/>
                  <a:moveTo>
                    <a:pt x="1638" y="280"/>
                  </a:moveTo>
                  <a:cubicBezTo>
                    <a:pt x="1598" y="290"/>
                    <a:pt x="1626" y="295"/>
                    <a:pt x="1626" y="295"/>
                  </a:cubicBezTo>
                  <a:cubicBezTo>
                    <a:pt x="1683" y="281"/>
                    <a:pt x="1679" y="269"/>
                    <a:pt x="1638" y="280"/>
                  </a:cubicBezTo>
                  <a:close/>
                  <a:moveTo>
                    <a:pt x="1978" y="572"/>
                  </a:moveTo>
                  <a:cubicBezTo>
                    <a:pt x="1997" y="574"/>
                    <a:pt x="2006" y="580"/>
                    <a:pt x="2022" y="588"/>
                  </a:cubicBezTo>
                  <a:cubicBezTo>
                    <a:pt x="2038" y="596"/>
                    <a:pt x="2092" y="587"/>
                    <a:pt x="2092" y="587"/>
                  </a:cubicBezTo>
                  <a:cubicBezTo>
                    <a:pt x="2078" y="542"/>
                    <a:pt x="2078" y="542"/>
                    <a:pt x="2078" y="542"/>
                  </a:cubicBezTo>
                  <a:cubicBezTo>
                    <a:pt x="2012" y="528"/>
                    <a:pt x="2012" y="528"/>
                    <a:pt x="2012" y="528"/>
                  </a:cubicBezTo>
                  <a:cubicBezTo>
                    <a:pt x="1990" y="553"/>
                    <a:pt x="1990" y="553"/>
                    <a:pt x="1990" y="553"/>
                  </a:cubicBezTo>
                  <a:cubicBezTo>
                    <a:pt x="1968" y="555"/>
                    <a:pt x="1968" y="555"/>
                    <a:pt x="1968" y="555"/>
                  </a:cubicBezTo>
                  <a:cubicBezTo>
                    <a:pt x="1968" y="555"/>
                    <a:pt x="1959" y="571"/>
                    <a:pt x="1978" y="572"/>
                  </a:cubicBezTo>
                  <a:close/>
                  <a:moveTo>
                    <a:pt x="109" y="1360"/>
                  </a:moveTo>
                  <a:cubicBezTo>
                    <a:pt x="109" y="1369"/>
                    <a:pt x="126" y="1366"/>
                    <a:pt x="126" y="1366"/>
                  </a:cubicBezTo>
                  <a:cubicBezTo>
                    <a:pt x="124" y="1383"/>
                    <a:pt x="124" y="1383"/>
                    <a:pt x="124" y="1383"/>
                  </a:cubicBezTo>
                  <a:cubicBezTo>
                    <a:pt x="143" y="1371"/>
                    <a:pt x="143" y="1371"/>
                    <a:pt x="143" y="1371"/>
                  </a:cubicBezTo>
                  <a:cubicBezTo>
                    <a:pt x="141" y="1354"/>
                    <a:pt x="141" y="1354"/>
                    <a:pt x="141" y="1354"/>
                  </a:cubicBezTo>
                  <a:cubicBezTo>
                    <a:pt x="141" y="1354"/>
                    <a:pt x="109" y="1351"/>
                    <a:pt x="109" y="1360"/>
                  </a:cubicBezTo>
                  <a:close/>
                  <a:moveTo>
                    <a:pt x="166" y="1535"/>
                  </a:moveTo>
                  <a:cubicBezTo>
                    <a:pt x="166" y="1535"/>
                    <a:pt x="163" y="1521"/>
                    <a:pt x="164" y="1514"/>
                  </a:cubicBezTo>
                  <a:cubicBezTo>
                    <a:pt x="165" y="1507"/>
                    <a:pt x="170" y="1495"/>
                    <a:pt x="162" y="1485"/>
                  </a:cubicBezTo>
                  <a:cubicBezTo>
                    <a:pt x="162" y="1485"/>
                    <a:pt x="136" y="1481"/>
                    <a:pt x="127" y="1479"/>
                  </a:cubicBezTo>
                  <a:cubicBezTo>
                    <a:pt x="118" y="1477"/>
                    <a:pt x="103" y="1453"/>
                    <a:pt x="91" y="1452"/>
                  </a:cubicBezTo>
                  <a:cubicBezTo>
                    <a:pt x="79" y="1451"/>
                    <a:pt x="59" y="1463"/>
                    <a:pt x="64" y="1471"/>
                  </a:cubicBezTo>
                  <a:cubicBezTo>
                    <a:pt x="69" y="1479"/>
                    <a:pt x="78" y="1477"/>
                    <a:pt x="78" y="1477"/>
                  </a:cubicBezTo>
                  <a:cubicBezTo>
                    <a:pt x="87" y="1471"/>
                    <a:pt x="87" y="1471"/>
                    <a:pt x="87" y="1471"/>
                  </a:cubicBezTo>
                  <a:cubicBezTo>
                    <a:pt x="94" y="1476"/>
                    <a:pt x="94" y="1476"/>
                    <a:pt x="94" y="1476"/>
                  </a:cubicBezTo>
                  <a:cubicBezTo>
                    <a:pt x="88" y="1483"/>
                    <a:pt x="88" y="1483"/>
                    <a:pt x="88" y="1483"/>
                  </a:cubicBezTo>
                  <a:cubicBezTo>
                    <a:pt x="88" y="1483"/>
                    <a:pt x="59" y="1488"/>
                    <a:pt x="67" y="1497"/>
                  </a:cubicBezTo>
                  <a:cubicBezTo>
                    <a:pt x="75" y="1506"/>
                    <a:pt x="90" y="1497"/>
                    <a:pt x="90" y="1497"/>
                  </a:cubicBezTo>
                  <a:cubicBezTo>
                    <a:pt x="85" y="1512"/>
                    <a:pt x="85" y="1512"/>
                    <a:pt x="85" y="1512"/>
                  </a:cubicBezTo>
                  <a:cubicBezTo>
                    <a:pt x="100" y="1511"/>
                    <a:pt x="100" y="1511"/>
                    <a:pt x="100" y="1511"/>
                  </a:cubicBezTo>
                  <a:cubicBezTo>
                    <a:pt x="86" y="1522"/>
                    <a:pt x="86" y="1522"/>
                    <a:pt x="86" y="1522"/>
                  </a:cubicBezTo>
                  <a:cubicBezTo>
                    <a:pt x="112" y="1520"/>
                    <a:pt x="112" y="1520"/>
                    <a:pt x="112" y="1520"/>
                  </a:cubicBezTo>
                  <a:cubicBezTo>
                    <a:pt x="112" y="1520"/>
                    <a:pt x="85" y="1531"/>
                    <a:pt x="91" y="1536"/>
                  </a:cubicBezTo>
                  <a:cubicBezTo>
                    <a:pt x="97" y="1541"/>
                    <a:pt x="109" y="1520"/>
                    <a:pt x="115" y="1531"/>
                  </a:cubicBezTo>
                  <a:cubicBezTo>
                    <a:pt x="121" y="1542"/>
                    <a:pt x="99" y="1546"/>
                    <a:pt x="105" y="1553"/>
                  </a:cubicBezTo>
                  <a:cubicBezTo>
                    <a:pt x="111" y="1560"/>
                    <a:pt x="137" y="1555"/>
                    <a:pt x="137" y="1555"/>
                  </a:cubicBezTo>
                  <a:cubicBezTo>
                    <a:pt x="150" y="1547"/>
                    <a:pt x="150" y="1547"/>
                    <a:pt x="150" y="1547"/>
                  </a:cubicBezTo>
                  <a:cubicBezTo>
                    <a:pt x="138" y="1561"/>
                    <a:pt x="138" y="1561"/>
                    <a:pt x="138" y="1561"/>
                  </a:cubicBezTo>
                  <a:cubicBezTo>
                    <a:pt x="138" y="1561"/>
                    <a:pt x="113" y="1561"/>
                    <a:pt x="124" y="1570"/>
                  </a:cubicBezTo>
                  <a:cubicBezTo>
                    <a:pt x="135" y="1579"/>
                    <a:pt x="144" y="1579"/>
                    <a:pt x="144" y="1579"/>
                  </a:cubicBezTo>
                  <a:cubicBezTo>
                    <a:pt x="144" y="1579"/>
                    <a:pt x="168" y="1596"/>
                    <a:pt x="180" y="1586"/>
                  </a:cubicBezTo>
                  <a:cubicBezTo>
                    <a:pt x="192" y="1576"/>
                    <a:pt x="201" y="1568"/>
                    <a:pt x="192" y="1557"/>
                  </a:cubicBezTo>
                  <a:cubicBezTo>
                    <a:pt x="183" y="1546"/>
                    <a:pt x="166" y="1535"/>
                    <a:pt x="166" y="1535"/>
                  </a:cubicBezTo>
                  <a:close/>
                  <a:moveTo>
                    <a:pt x="1536" y="249"/>
                  </a:moveTo>
                  <a:cubicBezTo>
                    <a:pt x="1536" y="249"/>
                    <a:pt x="1574" y="242"/>
                    <a:pt x="1583" y="248"/>
                  </a:cubicBezTo>
                  <a:cubicBezTo>
                    <a:pt x="1593" y="254"/>
                    <a:pt x="1587" y="264"/>
                    <a:pt x="1599" y="264"/>
                  </a:cubicBezTo>
                  <a:cubicBezTo>
                    <a:pt x="1612" y="264"/>
                    <a:pt x="1634" y="259"/>
                    <a:pt x="1634" y="259"/>
                  </a:cubicBezTo>
                  <a:cubicBezTo>
                    <a:pt x="1634" y="259"/>
                    <a:pt x="1650" y="268"/>
                    <a:pt x="1665" y="261"/>
                  </a:cubicBezTo>
                  <a:cubicBezTo>
                    <a:pt x="1681" y="255"/>
                    <a:pt x="1678" y="238"/>
                    <a:pt x="1678" y="238"/>
                  </a:cubicBezTo>
                  <a:cubicBezTo>
                    <a:pt x="1700" y="238"/>
                    <a:pt x="1700" y="238"/>
                    <a:pt x="1700" y="238"/>
                  </a:cubicBezTo>
                  <a:cubicBezTo>
                    <a:pt x="1744" y="224"/>
                    <a:pt x="1744" y="224"/>
                    <a:pt x="1744" y="224"/>
                  </a:cubicBezTo>
                  <a:cubicBezTo>
                    <a:pt x="1719" y="247"/>
                    <a:pt x="1719" y="247"/>
                    <a:pt x="1719" y="247"/>
                  </a:cubicBezTo>
                  <a:cubicBezTo>
                    <a:pt x="1754" y="253"/>
                    <a:pt x="1754" y="253"/>
                    <a:pt x="1754" y="253"/>
                  </a:cubicBezTo>
                  <a:cubicBezTo>
                    <a:pt x="1791" y="238"/>
                    <a:pt x="1791" y="238"/>
                    <a:pt x="1791" y="238"/>
                  </a:cubicBezTo>
                  <a:cubicBezTo>
                    <a:pt x="1854" y="209"/>
                    <a:pt x="1854" y="209"/>
                    <a:pt x="1854" y="209"/>
                  </a:cubicBezTo>
                  <a:cubicBezTo>
                    <a:pt x="1854" y="209"/>
                    <a:pt x="1806" y="194"/>
                    <a:pt x="1797" y="194"/>
                  </a:cubicBezTo>
                  <a:cubicBezTo>
                    <a:pt x="1787" y="194"/>
                    <a:pt x="1734" y="190"/>
                    <a:pt x="1734" y="190"/>
                  </a:cubicBezTo>
                  <a:cubicBezTo>
                    <a:pt x="1683" y="198"/>
                    <a:pt x="1683" y="198"/>
                    <a:pt x="1683" y="198"/>
                  </a:cubicBezTo>
                  <a:cubicBezTo>
                    <a:pt x="1680" y="212"/>
                    <a:pt x="1680" y="212"/>
                    <a:pt x="1680" y="212"/>
                  </a:cubicBezTo>
                  <a:cubicBezTo>
                    <a:pt x="1602" y="218"/>
                    <a:pt x="1602" y="218"/>
                    <a:pt x="1602" y="218"/>
                  </a:cubicBezTo>
                  <a:cubicBezTo>
                    <a:pt x="1602" y="218"/>
                    <a:pt x="1576" y="209"/>
                    <a:pt x="1554" y="213"/>
                  </a:cubicBezTo>
                  <a:cubicBezTo>
                    <a:pt x="1532" y="216"/>
                    <a:pt x="1535" y="224"/>
                    <a:pt x="1535" y="224"/>
                  </a:cubicBezTo>
                  <a:cubicBezTo>
                    <a:pt x="1535" y="229"/>
                    <a:pt x="1536" y="249"/>
                    <a:pt x="1536" y="249"/>
                  </a:cubicBezTo>
                  <a:close/>
                  <a:moveTo>
                    <a:pt x="100" y="1323"/>
                  </a:moveTo>
                  <a:cubicBezTo>
                    <a:pt x="102" y="1338"/>
                    <a:pt x="113" y="1344"/>
                    <a:pt x="113" y="1344"/>
                  </a:cubicBezTo>
                  <a:cubicBezTo>
                    <a:pt x="121" y="1323"/>
                    <a:pt x="121" y="1323"/>
                    <a:pt x="121" y="1323"/>
                  </a:cubicBezTo>
                  <a:cubicBezTo>
                    <a:pt x="121" y="1323"/>
                    <a:pt x="98" y="1308"/>
                    <a:pt x="100" y="1323"/>
                  </a:cubicBezTo>
                  <a:close/>
                  <a:moveTo>
                    <a:pt x="82" y="1291"/>
                  </a:moveTo>
                  <a:cubicBezTo>
                    <a:pt x="78" y="1290"/>
                    <a:pt x="62" y="1294"/>
                    <a:pt x="56" y="1297"/>
                  </a:cubicBezTo>
                  <a:cubicBezTo>
                    <a:pt x="50" y="1300"/>
                    <a:pt x="45" y="1315"/>
                    <a:pt x="35" y="1315"/>
                  </a:cubicBezTo>
                  <a:cubicBezTo>
                    <a:pt x="25" y="1315"/>
                    <a:pt x="24" y="1307"/>
                    <a:pt x="34" y="1307"/>
                  </a:cubicBezTo>
                  <a:cubicBezTo>
                    <a:pt x="44" y="1307"/>
                    <a:pt x="62" y="1294"/>
                    <a:pt x="48" y="1295"/>
                  </a:cubicBezTo>
                  <a:cubicBezTo>
                    <a:pt x="34" y="1296"/>
                    <a:pt x="32" y="1299"/>
                    <a:pt x="32" y="1299"/>
                  </a:cubicBezTo>
                  <a:cubicBezTo>
                    <a:pt x="32" y="1299"/>
                    <a:pt x="35" y="1285"/>
                    <a:pt x="24" y="1289"/>
                  </a:cubicBezTo>
                  <a:cubicBezTo>
                    <a:pt x="13" y="1293"/>
                    <a:pt x="11" y="1306"/>
                    <a:pt x="11" y="1306"/>
                  </a:cubicBezTo>
                  <a:cubicBezTo>
                    <a:pt x="3" y="1324"/>
                    <a:pt x="3" y="1324"/>
                    <a:pt x="3" y="1324"/>
                  </a:cubicBezTo>
                  <a:cubicBezTo>
                    <a:pt x="3" y="1324"/>
                    <a:pt x="0" y="1336"/>
                    <a:pt x="3" y="1337"/>
                  </a:cubicBezTo>
                  <a:cubicBezTo>
                    <a:pt x="6" y="1338"/>
                    <a:pt x="9" y="1347"/>
                    <a:pt x="9" y="1347"/>
                  </a:cubicBezTo>
                  <a:cubicBezTo>
                    <a:pt x="0" y="1351"/>
                    <a:pt x="0" y="1351"/>
                    <a:pt x="0" y="1351"/>
                  </a:cubicBezTo>
                  <a:cubicBezTo>
                    <a:pt x="5" y="1386"/>
                    <a:pt x="5" y="1386"/>
                    <a:pt x="5" y="1386"/>
                  </a:cubicBezTo>
                  <a:cubicBezTo>
                    <a:pt x="5" y="1386"/>
                    <a:pt x="0" y="1398"/>
                    <a:pt x="16" y="1397"/>
                  </a:cubicBezTo>
                  <a:cubicBezTo>
                    <a:pt x="27" y="1396"/>
                    <a:pt x="16" y="1379"/>
                    <a:pt x="13" y="1372"/>
                  </a:cubicBezTo>
                  <a:cubicBezTo>
                    <a:pt x="10" y="1365"/>
                    <a:pt x="18" y="1359"/>
                    <a:pt x="23" y="1356"/>
                  </a:cubicBezTo>
                  <a:cubicBezTo>
                    <a:pt x="28" y="1353"/>
                    <a:pt x="36" y="1344"/>
                    <a:pt x="34" y="1340"/>
                  </a:cubicBezTo>
                  <a:cubicBezTo>
                    <a:pt x="34" y="1340"/>
                    <a:pt x="32" y="1329"/>
                    <a:pt x="38" y="1324"/>
                  </a:cubicBezTo>
                  <a:cubicBezTo>
                    <a:pt x="44" y="1319"/>
                    <a:pt x="55" y="1308"/>
                    <a:pt x="64" y="1303"/>
                  </a:cubicBezTo>
                  <a:cubicBezTo>
                    <a:pt x="73" y="1298"/>
                    <a:pt x="86" y="1292"/>
                    <a:pt x="82" y="1291"/>
                  </a:cubicBezTo>
                  <a:close/>
                  <a:moveTo>
                    <a:pt x="1263" y="454"/>
                  </a:moveTo>
                  <a:cubicBezTo>
                    <a:pt x="1268" y="466"/>
                    <a:pt x="1238" y="482"/>
                    <a:pt x="1266" y="478"/>
                  </a:cubicBezTo>
                  <a:cubicBezTo>
                    <a:pt x="1294" y="474"/>
                    <a:pt x="1328" y="462"/>
                    <a:pt x="1328" y="462"/>
                  </a:cubicBezTo>
                  <a:cubicBezTo>
                    <a:pt x="1354" y="468"/>
                    <a:pt x="1354" y="468"/>
                    <a:pt x="1354" y="468"/>
                  </a:cubicBezTo>
                  <a:cubicBezTo>
                    <a:pt x="1405" y="430"/>
                    <a:pt x="1405" y="430"/>
                    <a:pt x="1405" y="430"/>
                  </a:cubicBezTo>
                  <a:cubicBezTo>
                    <a:pt x="1493" y="402"/>
                    <a:pt x="1493" y="402"/>
                    <a:pt x="1493" y="402"/>
                  </a:cubicBezTo>
                  <a:cubicBezTo>
                    <a:pt x="1576" y="379"/>
                    <a:pt x="1576" y="379"/>
                    <a:pt x="1576" y="379"/>
                  </a:cubicBezTo>
                  <a:cubicBezTo>
                    <a:pt x="1642" y="366"/>
                    <a:pt x="1642" y="366"/>
                    <a:pt x="1642" y="366"/>
                  </a:cubicBezTo>
                  <a:cubicBezTo>
                    <a:pt x="1642" y="366"/>
                    <a:pt x="1603" y="334"/>
                    <a:pt x="1600" y="330"/>
                  </a:cubicBezTo>
                  <a:cubicBezTo>
                    <a:pt x="1596" y="327"/>
                    <a:pt x="1549" y="333"/>
                    <a:pt x="1549" y="333"/>
                  </a:cubicBezTo>
                  <a:cubicBezTo>
                    <a:pt x="1505" y="339"/>
                    <a:pt x="1505" y="339"/>
                    <a:pt x="1505" y="339"/>
                  </a:cubicBezTo>
                  <a:cubicBezTo>
                    <a:pt x="1481" y="321"/>
                    <a:pt x="1481" y="321"/>
                    <a:pt x="1481" y="321"/>
                  </a:cubicBezTo>
                  <a:cubicBezTo>
                    <a:pt x="1427" y="328"/>
                    <a:pt x="1427" y="328"/>
                    <a:pt x="1427" y="328"/>
                  </a:cubicBezTo>
                  <a:cubicBezTo>
                    <a:pt x="1393" y="338"/>
                    <a:pt x="1393" y="338"/>
                    <a:pt x="1393" y="338"/>
                  </a:cubicBezTo>
                  <a:cubicBezTo>
                    <a:pt x="1383" y="351"/>
                    <a:pt x="1383" y="351"/>
                    <a:pt x="1383" y="351"/>
                  </a:cubicBezTo>
                  <a:cubicBezTo>
                    <a:pt x="1372" y="371"/>
                    <a:pt x="1372" y="371"/>
                    <a:pt x="1372" y="371"/>
                  </a:cubicBezTo>
                  <a:cubicBezTo>
                    <a:pt x="1340" y="380"/>
                    <a:pt x="1340" y="380"/>
                    <a:pt x="1340" y="380"/>
                  </a:cubicBezTo>
                  <a:cubicBezTo>
                    <a:pt x="1294" y="393"/>
                    <a:pt x="1294" y="393"/>
                    <a:pt x="1294" y="393"/>
                  </a:cubicBezTo>
                  <a:cubicBezTo>
                    <a:pt x="1307" y="401"/>
                    <a:pt x="1307" y="401"/>
                    <a:pt x="1307" y="401"/>
                  </a:cubicBezTo>
                  <a:cubicBezTo>
                    <a:pt x="1227" y="437"/>
                    <a:pt x="1227" y="437"/>
                    <a:pt x="1227" y="437"/>
                  </a:cubicBezTo>
                  <a:cubicBezTo>
                    <a:pt x="1227" y="437"/>
                    <a:pt x="1259" y="442"/>
                    <a:pt x="1263" y="454"/>
                  </a:cubicBezTo>
                  <a:close/>
                  <a:moveTo>
                    <a:pt x="132" y="1313"/>
                  </a:moveTo>
                  <a:cubicBezTo>
                    <a:pt x="125" y="1331"/>
                    <a:pt x="125" y="1331"/>
                    <a:pt x="125" y="1331"/>
                  </a:cubicBezTo>
                  <a:cubicBezTo>
                    <a:pt x="127" y="1343"/>
                    <a:pt x="127" y="1343"/>
                    <a:pt x="127" y="1343"/>
                  </a:cubicBezTo>
                  <a:cubicBezTo>
                    <a:pt x="143" y="1333"/>
                    <a:pt x="143" y="1333"/>
                    <a:pt x="143" y="1333"/>
                  </a:cubicBezTo>
                  <a:lnTo>
                    <a:pt x="132" y="1313"/>
                  </a:lnTo>
                  <a:close/>
                  <a:moveTo>
                    <a:pt x="2786" y="403"/>
                  </a:moveTo>
                  <a:cubicBezTo>
                    <a:pt x="2802" y="409"/>
                    <a:pt x="2824" y="395"/>
                    <a:pt x="2824" y="395"/>
                  </a:cubicBezTo>
                  <a:cubicBezTo>
                    <a:pt x="2865" y="394"/>
                    <a:pt x="2865" y="394"/>
                    <a:pt x="2865" y="394"/>
                  </a:cubicBezTo>
                  <a:cubicBezTo>
                    <a:pt x="2865" y="394"/>
                    <a:pt x="2891" y="404"/>
                    <a:pt x="2899" y="398"/>
                  </a:cubicBezTo>
                  <a:cubicBezTo>
                    <a:pt x="2906" y="393"/>
                    <a:pt x="2900" y="370"/>
                    <a:pt x="2883" y="366"/>
                  </a:cubicBezTo>
                  <a:cubicBezTo>
                    <a:pt x="2865" y="362"/>
                    <a:pt x="2849" y="367"/>
                    <a:pt x="2849" y="367"/>
                  </a:cubicBezTo>
                  <a:cubicBezTo>
                    <a:pt x="2823" y="367"/>
                    <a:pt x="2823" y="367"/>
                    <a:pt x="2823" y="367"/>
                  </a:cubicBezTo>
                  <a:cubicBezTo>
                    <a:pt x="2823" y="367"/>
                    <a:pt x="2793" y="355"/>
                    <a:pt x="2782" y="364"/>
                  </a:cubicBezTo>
                  <a:cubicBezTo>
                    <a:pt x="2772" y="372"/>
                    <a:pt x="2768" y="378"/>
                    <a:pt x="2768" y="378"/>
                  </a:cubicBezTo>
                  <a:cubicBezTo>
                    <a:pt x="2781" y="385"/>
                    <a:pt x="2781" y="385"/>
                    <a:pt x="2781" y="385"/>
                  </a:cubicBezTo>
                  <a:cubicBezTo>
                    <a:pt x="2781" y="385"/>
                    <a:pt x="2772" y="397"/>
                    <a:pt x="2786" y="403"/>
                  </a:cubicBezTo>
                  <a:close/>
                  <a:moveTo>
                    <a:pt x="2471" y="347"/>
                  </a:moveTo>
                  <a:cubicBezTo>
                    <a:pt x="2457" y="346"/>
                    <a:pt x="2380" y="337"/>
                    <a:pt x="2339" y="339"/>
                  </a:cubicBezTo>
                  <a:cubicBezTo>
                    <a:pt x="2300" y="340"/>
                    <a:pt x="2311" y="339"/>
                    <a:pt x="2310" y="347"/>
                  </a:cubicBezTo>
                  <a:cubicBezTo>
                    <a:pt x="2308" y="356"/>
                    <a:pt x="2294" y="359"/>
                    <a:pt x="2260" y="367"/>
                  </a:cubicBezTo>
                  <a:cubicBezTo>
                    <a:pt x="2227" y="374"/>
                    <a:pt x="2259" y="375"/>
                    <a:pt x="2257" y="397"/>
                  </a:cubicBezTo>
                  <a:cubicBezTo>
                    <a:pt x="2245" y="414"/>
                    <a:pt x="2245" y="414"/>
                    <a:pt x="2245" y="414"/>
                  </a:cubicBezTo>
                  <a:cubicBezTo>
                    <a:pt x="2265" y="426"/>
                    <a:pt x="2265" y="426"/>
                    <a:pt x="2265" y="426"/>
                  </a:cubicBezTo>
                  <a:cubicBezTo>
                    <a:pt x="2318" y="404"/>
                    <a:pt x="2318" y="404"/>
                    <a:pt x="2318" y="404"/>
                  </a:cubicBezTo>
                  <a:cubicBezTo>
                    <a:pt x="2318" y="404"/>
                    <a:pt x="2299" y="397"/>
                    <a:pt x="2323" y="390"/>
                  </a:cubicBezTo>
                  <a:cubicBezTo>
                    <a:pt x="2348" y="383"/>
                    <a:pt x="2365" y="403"/>
                    <a:pt x="2365" y="403"/>
                  </a:cubicBezTo>
                  <a:cubicBezTo>
                    <a:pt x="2403" y="398"/>
                    <a:pt x="2403" y="398"/>
                    <a:pt x="2403" y="398"/>
                  </a:cubicBezTo>
                  <a:cubicBezTo>
                    <a:pt x="2398" y="383"/>
                    <a:pt x="2398" y="383"/>
                    <a:pt x="2398" y="383"/>
                  </a:cubicBezTo>
                  <a:cubicBezTo>
                    <a:pt x="2398" y="383"/>
                    <a:pt x="2447" y="381"/>
                    <a:pt x="2457" y="369"/>
                  </a:cubicBezTo>
                  <a:cubicBezTo>
                    <a:pt x="2467" y="358"/>
                    <a:pt x="2484" y="347"/>
                    <a:pt x="2471" y="347"/>
                  </a:cubicBezTo>
                  <a:close/>
                  <a:moveTo>
                    <a:pt x="2526" y="101"/>
                  </a:moveTo>
                  <a:cubicBezTo>
                    <a:pt x="2489" y="105"/>
                    <a:pt x="2489" y="105"/>
                    <a:pt x="2489" y="105"/>
                  </a:cubicBezTo>
                  <a:cubicBezTo>
                    <a:pt x="2503" y="123"/>
                    <a:pt x="2503" y="123"/>
                    <a:pt x="2503" y="123"/>
                  </a:cubicBezTo>
                  <a:lnTo>
                    <a:pt x="2526" y="101"/>
                  </a:lnTo>
                  <a:close/>
                  <a:moveTo>
                    <a:pt x="2406" y="324"/>
                  </a:moveTo>
                  <a:cubicBezTo>
                    <a:pt x="2417" y="317"/>
                    <a:pt x="2442" y="298"/>
                    <a:pt x="2438" y="290"/>
                  </a:cubicBezTo>
                  <a:cubicBezTo>
                    <a:pt x="2434" y="281"/>
                    <a:pt x="2400" y="283"/>
                    <a:pt x="2389" y="284"/>
                  </a:cubicBezTo>
                  <a:cubicBezTo>
                    <a:pt x="2366" y="286"/>
                    <a:pt x="2322" y="301"/>
                    <a:pt x="2334" y="309"/>
                  </a:cubicBezTo>
                  <a:cubicBezTo>
                    <a:pt x="2346" y="316"/>
                    <a:pt x="2406" y="324"/>
                    <a:pt x="2406" y="324"/>
                  </a:cubicBezTo>
                  <a:close/>
                  <a:moveTo>
                    <a:pt x="2634" y="123"/>
                  </a:moveTo>
                  <a:cubicBezTo>
                    <a:pt x="2598" y="131"/>
                    <a:pt x="2598" y="131"/>
                    <a:pt x="2598" y="131"/>
                  </a:cubicBezTo>
                  <a:cubicBezTo>
                    <a:pt x="2623" y="142"/>
                    <a:pt x="2623" y="142"/>
                    <a:pt x="2623" y="142"/>
                  </a:cubicBezTo>
                  <a:cubicBezTo>
                    <a:pt x="2623" y="142"/>
                    <a:pt x="2609" y="146"/>
                    <a:pt x="2611" y="156"/>
                  </a:cubicBezTo>
                  <a:cubicBezTo>
                    <a:pt x="2613" y="165"/>
                    <a:pt x="2640" y="162"/>
                    <a:pt x="2640" y="162"/>
                  </a:cubicBezTo>
                  <a:cubicBezTo>
                    <a:pt x="2627" y="171"/>
                    <a:pt x="2627" y="171"/>
                    <a:pt x="2627" y="171"/>
                  </a:cubicBezTo>
                  <a:cubicBezTo>
                    <a:pt x="2627" y="171"/>
                    <a:pt x="2645" y="175"/>
                    <a:pt x="2659" y="184"/>
                  </a:cubicBezTo>
                  <a:cubicBezTo>
                    <a:pt x="2673" y="192"/>
                    <a:pt x="2698" y="172"/>
                    <a:pt x="2698" y="172"/>
                  </a:cubicBezTo>
                  <a:cubicBezTo>
                    <a:pt x="2714" y="164"/>
                    <a:pt x="2714" y="164"/>
                    <a:pt x="2714" y="164"/>
                  </a:cubicBezTo>
                  <a:cubicBezTo>
                    <a:pt x="2714" y="164"/>
                    <a:pt x="2719" y="170"/>
                    <a:pt x="2725" y="181"/>
                  </a:cubicBezTo>
                  <a:cubicBezTo>
                    <a:pt x="2732" y="191"/>
                    <a:pt x="2756" y="173"/>
                    <a:pt x="2765" y="171"/>
                  </a:cubicBezTo>
                  <a:cubicBezTo>
                    <a:pt x="2774" y="169"/>
                    <a:pt x="2787" y="155"/>
                    <a:pt x="2787" y="155"/>
                  </a:cubicBezTo>
                  <a:cubicBezTo>
                    <a:pt x="2795" y="164"/>
                    <a:pt x="2795" y="164"/>
                    <a:pt x="2795" y="164"/>
                  </a:cubicBezTo>
                  <a:cubicBezTo>
                    <a:pt x="2795" y="164"/>
                    <a:pt x="2808" y="151"/>
                    <a:pt x="2810" y="146"/>
                  </a:cubicBezTo>
                  <a:cubicBezTo>
                    <a:pt x="2812" y="141"/>
                    <a:pt x="2865" y="143"/>
                    <a:pt x="2877" y="143"/>
                  </a:cubicBezTo>
                  <a:cubicBezTo>
                    <a:pt x="2889" y="143"/>
                    <a:pt x="2886" y="129"/>
                    <a:pt x="2886" y="129"/>
                  </a:cubicBezTo>
                  <a:cubicBezTo>
                    <a:pt x="2844" y="128"/>
                    <a:pt x="2844" y="128"/>
                    <a:pt x="2844" y="128"/>
                  </a:cubicBezTo>
                  <a:cubicBezTo>
                    <a:pt x="2864" y="117"/>
                    <a:pt x="2864" y="117"/>
                    <a:pt x="2864" y="117"/>
                  </a:cubicBezTo>
                  <a:cubicBezTo>
                    <a:pt x="2864" y="117"/>
                    <a:pt x="2872" y="97"/>
                    <a:pt x="2867" y="90"/>
                  </a:cubicBezTo>
                  <a:cubicBezTo>
                    <a:pt x="2863" y="84"/>
                    <a:pt x="2829" y="102"/>
                    <a:pt x="2829" y="102"/>
                  </a:cubicBezTo>
                  <a:cubicBezTo>
                    <a:pt x="2826" y="85"/>
                    <a:pt x="2826" y="85"/>
                    <a:pt x="2826" y="85"/>
                  </a:cubicBezTo>
                  <a:cubicBezTo>
                    <a:pt x="2794" y="91"/>
                    <a:pt x="2794" y="91"/>
                    <a:pt x="2794" y="91"/>
                  </a:cubicBezTo>
                  <a:cubicBezTo>
                    <a:pt x="2794" y="91"/>
                    <a:pt x="2791" y="71"/>
                    <a:pt x="2781" y="60"/>
                  </a:cubicBezTo>
                  <a:cubicBezTo>
                    <a:pt x="2772" y="49"/>
                    <a:pt x="2730" y="72"/>
                    <a:pt x="2730" y="72"/>
                  </a:cubicBezTo>
                  <a:cubicBezTo>
                    <a:pt x="2678" y="75"/>
                    <a:pt x="2678" y="75"/>
                    <a:pt x="2678" y="75"/>
                  </a:cubicBezTo>
                  <a:cubicBezTo>
                    <a:pt x="2695" y="88"/>
                    <a:pt x="2695" y="88"/>
                    <a:pt x="2695" y="88"/>
                  </a:cubicBezTo>
                  <a:cubicBezTo>
                    <a:pt x="2695" y="88"/>
                    <a:pt x="2658" y="85"/>
                    <a:pt x="2645" y="89"/>
                  </a:cubicBezTo>
                  <a:cubicBezTo>
                    <a:pt x="2633" y="93"/>
                    <a:pt x="2653" y="106"/>
                    <a:pt x="2653" y="106"/>
                  </a:cubicBezTo>
                  <a:cubicBezTo>
                    <a:pt x="2653" y="106"/>
                    <a:pt x="2596" y="100"/>
                    <a:pt x="2592" y="114"/>
                  </a:cubicBezTo>
                  <a:cubicBezTo>
                    <a:pt x="2587" y="128"/>
                    <a:pt x="2634" y="123"/>
                    <a:pt x="2634" y="123"/>
                  </a:cubicBezTo>
                  <a:close/>
                  <a:moveTo>
                    <a:pt x="2644" y="199"/>
                  </a:moveTo>
                  <a:cubicBezTo>
                    <a:pt x="2622" y="203"/>
                    <a:pt x="2622" y="213"/>
                    <a:pt x="2622" y="213"/>
                  </a:cubicBezTo>
                  <a:cubicBezTo>
                    <a:pt x="2640" y="216"/>
                    <a:pt x="2640" y="216"/>
                    <a:pt x="2640" y="216"/>
                  </a:cubicBezTo>
                  <a:cubicBezTo>
                    <a:pt x="2655" y="216"/>
                    <a:pt x="2667" y="195"/>
                    <a:pt x="2644" y="199"/>
                  </a:cubicBezTo>
                  <a:close/>
                  <a:moveTo>
                    <a:pt x="2488" y="226"/>
                  </a:moveTo>
                  <a:cubicBezTo>
                    <a:pt x="2484" y="226"/>
                    <a:pt x="2476" y="222"/>
                    <a:pt x="2476" y="222"/>
                  </a:cubicBezTo>
                  <a:cubicBezTo>
                    <a:pt x="2476" y="222"/>
                    <a:pt x="2416" y="222"/>
                    <a:pt x="2416" y="230"/>
                  </a:cubicBezTo>
                  <a:cubicBezTo>
                    <a:pt x="2416" y="239"/>
                    <a:pt x="2435" y="241"/>
                    <a:pt x="2435" y="241"/>
                  </a:cubicBezTo>
                  <a:cubicBezTo>
                    <a:pt x="2436" y="253"/>
                    <a:pt x="2436" y="253"/>
                    <a:pt x="2436" y="253"/>
                  </a:cubicBezTo>
                  <a:cubicBezTo>
                    <a:pt x="2436" y="253"/>
                    <a:pt x="2486" y="258"/>
                    <a:pt x="2490" y="256"/>
                  </a:cubicBezTo>
                  <a:cubicBezTo>
                    <a:pt x="2494" y="254"/>
                    <a:pt x="2506" y="255"/>
                    <a:pt x="2512" y="255"/>
                  </a:cubicBezTo>
                  <a:cubicBezTo>
                    <a:pt x="2510" y="263"/>
                    <a:pt x="2508" y="274"/>
                    <a:pt x="2508" y="274"/>
                  </a:cubicBezTo>
                  <a:cubicBezTo>
                    <a:pt x="2471" y="301"/>
                    <a:pt x="2471" y="301"/>
                    <a:pt x="2471" y="301"/>
                  </a:cubicBezTo>
                  <a:cubicBezTo>
                    <a:pt x="2485" y="307"/>
                    <a:pt x="2485" y="307"/>
                    <a:pt x="2485" y="307"/>
                  </a:cubicBezTo>
                  <a:cubicBezTo>
                    <a:pt x="2485" y="307"/>
                    <a:pt x="2461" y="322"/>
                    <a:pt x="2473" y="322"/>
                  </a:cubicBezTo>
                  <a:cubicBezTo>
                    <a:pt x="2485" y="322"/>
                    <a:pt x="2503" y="312"/>
                    <a:pt x="2503" y="312"/>
                  </a:cubicBezTo>
                  <a:cubicBezTo>
                    <a:pt x="2503" y="312"/>
                    <a:pt x="2494" y="325"/>
                    <a:pt x="2513" y="324"/>
                  </a:cubicBezTo>
                  <a:cubicBezTo>
                    <a:pt x="2532" y="323"/>
                    <a:pt x="2568" y="311"/>
                    <a:pt x="2568" y="311"/>
                  </a:cubicBezTo>
                  <a:cubicBezTo>
                    <a:pt x="2569" y="325"/>
                    <a:pt x="2569" y="325"/>
                    <a:pt x="2569" y="325"/>
                  </a:cubicBezTo>
                  <a:cubicBezTo>
                    <a:pt x="2614" y="322"/>
                    <a:pt x="2614" y="322"/>
                    <a:pt x="2614" y="322"/>
                  </a:cubicBezTo>
                  <a:cubicBezTo>
                    <a:pt x="2667" y="332"/>
                    <a:pt x="2667" y="332"/>
                    <a:pt x="2667" y="332"/>
                  </a:cubicBezTo>
                  <a:cubicBezTo>
                    <a:pt x="2731" y="327"/>
                    <a:pt x="2731" y="327"/>
                    <a:pt x="2731" y="327"/>
                  </a:cubicBezTo>
                  <a:cubicBezTo>
                    <a:pt x="2749" y="312"/>
                    <a:pt x="2749" y="312"/>
                    <a:pt x="2749" y="312"/>
                  </a:cubicBezTo>
                  <a:cubicBezTo>
                    <a:pt x="2749" y="312"/>
                    <a:pt x="2738" y="326"/>
                    <a:pt x="2751" y="327"/>
                  </a:cubicBezTo>
                  <a:cubicBezTo>
                    <a:pt x="2764" y="328"/>
                    <a:pt x="2839" y="326"/>
                    <a:pt x="2839" y="326"/>
                  </a:cubicBezTo>
                  <a:cubicBezTo>
                    <a:pt x="2846" y="312"/>
                    <a:pt x="2846" y="312"/>
                    <a:pt x="2846" y="312"/>
                  </a:cubicBezTo>
                  <a:cubicBezTo>
                    <a:pt x="2890" y="294"/>
                    <a:pt x="2890" y="294"/>
                    <a:pt x="2890" y="294"/>
                  </a:cubicBezTo>
                  <a:cubicBezTo>
                    <a:pt x="2879" y="290"/>
                    <a:pt x="2879" y="290"/>
                    <a:pt x="2879" y="290"/>
                  </a:cubicBezTo>
                  <a:cubicBezTo>
                    <a:pt x="2879" y="281"/>
                    <a:pt x="2879" y="281"/>
                    <a:pt x="2879" y="281"/>
                  </a:cubicBezTo>
                  <a:cubicBezTo>
                    <a:pt x="2879" y="281"/>
                    <a:pt x="2834" y="270"/>
                    <a:pt x="2818" y="270"/>
                  </a:cubicBezTo>
                  <a:cubicBezTo>
                    <a:pt x="2802" y="270"/>
                    <a:pt x="2681" y="294"/>
                    <a:pt x="2681" y="294"/>
                  </a:cubicBezTo>
                  <a:cubicBezTo>
                    <a:pt x="2681" y="294"/>
                    <a:pt x="2666" y="283"/>
                    <a:pt x="2658" y="282"/>
                  </a:cubicBezTo>
                  <a:cubicBezTo>
                    <a:pt x="2651" y="281"/>
                    <a:pt x="2621" y="294"/>
                    <a:pt x="2621" y="294"/>
                  </a:cubicBezTo>
                  <a:cubicBezTo>
                    <a:pt x="2608" y="280"/>
                    <a:pt x="2608" y="280"/>
                    <a:pt x="2608" y="280"/>
                  </a:cubicBezTo>
                  <a:cubicBezTo>
                    <a:pt x="2596" y="286"/>
                    <a:pt x="2596" y="286"/>
                    <a:pt x="2596" y="286"/>
                  </a:cubicBezTo>
                  <a:cubicBezTo>
                    <a:pt x="2574" y="282"/>
                    <a:pt x="2574" y="282"/>
                    <a:pt x="2574" y="282"/>
                  </a:cubicBezTo>
                  <a:cubicBezTo>
                    <a:pt x="2596" y="274"/>
                    <a:pt x="2596" y="274"/>
                    <a:pt x="2596" y="274"/>
                  </a:cubicBezTo>
                  <a:cubicBezTo>
                    <a:pt x="2583" y="268"/>
                    <a:pt x="2583" y="268"/>
                    <a:pt x="2583" y="268"/>
                  </a:cubicBezTo>
                  <a:cubicBezTo>
                    <a:pt x="2546" y="272"/>
                    <a:pt x="2546" y="272"/>
                    <a:pt x="2546" y="272"/>
                  </a:cubicBezTo>
                  <a:cubicBezTo>
                    <a:pt x="2570" y="265"/>
                    <a:pt x="2570" y="265"/>
                    <a:pt x="2570" y="265"/>
                  </a:cubicBezTo>
                  <a:cubicBezTo>
                    <a:pt x="2569" y="260"/>
                    <a:pt x="2569" y="260"/>
                    <a:pt x="2569" y="260"/>
                  </a:cubicBezTo>
                  <a:cubicBezTo>
                    <a:pt x="2615" y="259"/>
                    <a:pt x="2615" y="259"/>
                    <a:pt x="2615" y="259"/>
                  </a:cubicBezTo>
                  <a:cubicBezTo>
                    <a:pt x="2592" y="251"/>
                    <a:pt x="2592" y="251"/>
                    <a:pt x="2592" y="251"/>
                  </a:cubicBezTo>
                  <a:cubicBezTo>
                    <a:pt x="2576" y="251"/>
                    <a:pt x="2576" y="251"/>
                    <a:pt x="2576" y="251"/>
                  </a:cubicBezTo>
                  <a:cubicBezTo>
                    <a:pt x="2576" y="251"/>
                    <a:pt x="2588" y="241"/>
                    <a:pt x="2578" y="240"/>
                  </a:cubicBezTo>
                  <a:cubicBezTo>
                    <a:pt x="2570" y="239"/>
                    <a:pt x="2539" y="241"/>
                    <a:pt x="2523" y="244"/>
                  </a:cubicBezTo>
                  <a:cubicBezTo>
                    <a:pt x="2521" y="237"/>
                    <a:pt x="2492" y="226"/>
                    <a:pt x="2488" y="226"/>
                  </a:cubicBezTo>
                  <a:close/>
                  <a:moveTo>
                    <a:pt x="2173" y="281"/>
                  </a:moveTo>
                  <a:cubicBezTo>
                    <a:pt x="2182" y="281"/>
                    <a:pt x="2226" y="288"/>
                    <a:pt x="2226" y="288"/>
                  </a:cubicBezTo>
                  <a:cubicBezTo>
                    <a:pt x="2226" y="288"/>
                    <a:pt x="2202" y="308"/>
                    <a:pt x="2217" y="308"/>
                  </a:cubicBezTo>
                  <a:cubicBezTo>
                    <a:pt x="2232" y="308"/>
                    <a:pt x="2270" y="308"/>
                    <a:pt x="2270" y="308"/>
                  </a:cubicBezTo>
                  <a:cubicBezTo>
                    <a:pt x="2284" y="308"/>
                    <a:pt x="2309" y="302"/>
                    <a:pt x="2305" y="294"/>
                  </a:cubicBezTo>
                  <a:cubicBezTo>
                    <a:pt x="2301" y="285"/>
                    <a:pt x="2341" y="282"/>
                    <a:pt x="2339" y="273"/>
                  </a:cubicBezTo>
                  <a:cubicBezTo>
                    <a:pt x="2338" y="265"/>
                    <a:pt x="2376" y="259"/>
                    <a:pt x="2362" y="247"/>
                  </a:cubicBezTo>
                  <a:cubicBezTo>
                    <a:pt x="2348" y="236"/>
                    <a:pt x="2329" y="244"/>
                    <a:pt x="2329" y="244"/>
                  </a:cubicBezTo>
                  <a:cubicBezTo>
                    <a:pt x="2329" y="244"/>
                    <a:pt x="2282" y="229"/>
                    <a:pt x="2279" y="238"/>
                  </a:cubicBezTo>
                  <a:cubicBezTo>
                    <a:pt x="2276" y="246"/>
                    <a:pt x="2276" y="267"/>
                    <a:pt x="2276" y="267"/>
                  </a:cubicBezTo>
                  <a:cubicBezTo>
                    <a:pt x="2276" y="267"/>
                    <a:pt x="2255" y="242"/>
                    <a:pt x="2244" y="251"/>
                  </a:cubicBezTo>
                  <a:cubicBezTo>
                    <a:pt x="2232" y="259"/>
                    <a:pt x="2222" y="283"/>
                    <a:pt x="2213" y="276"/>
                  </a:cubicBezTo>
                  <a:cubicBezTo>
                    <a:pt x="2205" y="270"/>
                    <a:pt x="2200" y="245"/>
                    <a:pt x="2191" y="243"/>
                  </a:cubicBezTo>
                  <a:cubicBezTo>
                    <a:pt x="2181" y="241"/>
                    <a:pt x="2155" y="243"/>
                    <a:pt x="2156" y="256"/>
                  </a:cubicBezTo>
                  <a:cubicBezTo>
                    <a:pt x="2157" y="269"/>
                    <a:pt x="2165" y="281"/>
                    <a:pt x="2173" y="281"/>
                  </a:cubicBezTo>
                  <a:close/>
                  <a:moveTo>
                    <a:pt x="2477" y="192"/>
                  </a:moveTo>
                  <a:cubicBezTo>
                    <a:pt x="2487" y="195"/>
                    <a:pt x="2490" y="205"/>
                    <a:pt x="2490" y="205"/>
                  </a:cubicBezTo>
                  <a:cubicBezTo>
                    <a:pt x="2490" y="205"/>
                    <a:pt x="2532" y="202"/>
                    <a:pt x="2552" y="201"/>
                  </a:cubicBezTo>
                  <a:cubicBezTo>
                    <a:pt x="2571" y="200"/>
                    <a:pt x="2528" y="189"/>
                    <a:pt x="2528" y="189"/>
                  </a:cubicBezTo>
                  <a:cubicBezTo>
                    <a:pt x="2528" y="189"/>
                    <a:pt x="2537" y="179"/>
                    <a:pt x="2547" y="177"/>
                  </a:cubicBezTo>
                  <a:cubicBezTo>
                    <a:pt x="2558" y="175"/>
                    <a:pt x="2518" y="162"/>
                    <a:pt x="2488" y="156"/>
                  </a:cubicBezTo>
                  <a:cubicBezTo>
                    <a:pt x="2488" y="156"/>
                    <a:pt x="2464" y="160"/>
                    <a:pt x="2460" y="164"/>
                  </a:cubicBezTo>
                  <a:cubicBezTo>
                    <a:pt x="2456" y="169"/>
                    <a:pt x="2468" y="190"/>
                    <a:pt x="2477" y="192"/>
                  </a:cubicBezTo>
                  <a:close/>
                  <a:moveTo>
                    <a:pt x="2188" y="339"/>
                  </a:moveTo>
                  <a:cubicBezTo>
                    <a:pt x="2188" y="339"/>
                    <a:pt x="2127" y="341"/>
                    <a:pt x="2093" y="352"/>
                  </a:cubicBezTo>
                  <a:cubicBezTo>
                    <a:pt x="2060" y="363"/>
                    <a:pt x="2112" y="372"/>
                    <a:pt x="2101" y="385"/>
                  </a:cubicBezTo>
                  <a:cubicBezTo>
                    <a:pt x="2090" y="399"/>
                    <a:pt x="2068" y="364"/>
                    <a:pt x="2030" y="380"/>
                  </a:cubicBezTo>
                  <a:cubicBezTo>
                    <a:pt x="2042" y="405"/>
                    <a:pt x="2042" y="405"/>
                    <a:pt x="2042" y="405"/>
                  </a:cubicBezTo>
                  <a:cubicBezTo>
                    <a:pt x="2042" y="405"/>
                    <a:pt x="2048" y="415"/>
                    <a:pt x="2065" y="418"/>
                  </a:cubicBezTo>
                  <a:cubicBezTo>
                    <a:pt x="2083" y="421"/>
                    <a:pt x="2082" y="456"/>
                    <a:pt x="2082" y="456"/>
                  </a:cubicBezTo>
                  <a:cubicBezTo>
                    <a:pt x="2082" y="456"/>
                    <a:pt x="2152" y="447"/>
                    <a:pt x="2174" y="442"/>
                  </a:cubicBezTo>
                  <a:cubicBezTo>
                    <a:pt x="2196" y="436"/>
                    <a:pt x="2196" y="395"/>
                    <a:pt x="2196" y="395"/>
                  </a:cubicBezTo>
                  <a:cubicBezTo>
                    <a:pt x="2152" y="385"/>
                    <a:pt x="2152" y="385"/>
                    <a:pt x="2152" y="385"/>
                  </a:cubicBezTo>
                  <a:cubicBezTo>
                    <a:pt x="2152" y="385"/>
                    <a:pt x="2205" y="367"/>
                    <a:pt x="2232" y="358"/>
                  </a:cubicBezTo>
                  <a:cubicBezTo>
                    <a:pt x="2258" y="348"/>
                    <a:pt x="2188" y="339"/>
                    <a:pt x="2188" y="339"/>
                  </a:cubicBezTo>
                  <a:close/>
                  <a:moveTo>
                    <a:pt x="1929" y="499"/>
                  </a:moveTo>
                  <a:cubicBezTo>
                    <a:pt x="1927" y="493"/>
                    <a:pt x="1862" y="494"/>
                    <a:pt x="1862" y="494"/>
                  </a:cubicBezTo>
                  <a:cubicBezTo>
                    <a:pt x="1915" y="466"/>
                    <a:pt x="1915" y="466"/>
                    <a:pt x="1915" y="466"/>
                  </a:cubicBezTo>
                  <a:cubicBezTo>
                    <a:pt x="1915" y="466"/>
                    <a:pt x="1947" y="392"/>
                    <a:pt x="1918" y="383"/>
                  </a:cubicBezTo>
                  <a:cubicBezTo>
                    <a:pt x="1891" y="375"/>
                    <a:pt x="1852" y="393"/>
                    <a:pt x="1852" y="393"/>
                  </a:cubicBezTo>
                  <a:cubicBezTo>
                    <a:pt x="1852" y="393"/>
                    <a:pt x="1826" y="447"/>
                    <a:pt x="1802" y="450"/>
                  </a:cubicBezTo>
                  <a:cubicBezTo>
                    <a:pt x="1778" y="453"/>
                    <a:pt x="1818" y="413"/>
                    <a:pt x="1816" y="403"/>
                  </a:cubicBezTo>
                  <a:cubicBezTo>
                    <a:pt x="1814" y="393"/>
                    <a:pt x="1750" y="392"/>
                    <a:pt x="1750" y="392"/>
                  </a:cubicBezTo>
                  <a:cubicBezTo>
                    <a:pt x="1744" y="405"/>
                    <a:pt x="1744" y="405"/>
                    <a:pt x="1744" y="405"/>
                  </a:cubicBezTo>
                  <a:cubicBezTo>
                    <a:pt x="1744" y="405"/>
                    <a:pt x="1708" y="420"/>
                    <a:pt x="1671" y="423"/>
                  </a:cubicBezTo>
                  <a:cubicBezTo>
                    <a:pt x="1635" y="425"/>
                    <a:pt x="1687" y="412"/>
                    <a:pt x="1723" y="400"/>
                  </a:cubicBezTo>
                  <a:cubicBezTo>
                    <a:pt x="1761" y="388"/>
                    <a:pt x="1704" y="386"/>
                    <a:pt x="1704" y="386"/>
                  </a:cubicBezTo>
                  <a:cubicBezTo>
                    <a:pt x="1664" y="398"/>
                    <a:pt x="1664" y="398"/>
                    <a:pt x="1664" y="398"/>
                  </a:cubicBezTo>
                  <a:cubicBezTo>
                    <a:pt x="1636" y="401"/>
                    <a:pt x="1636" y="401"/>
                    <a:pt x="1636" y="401"/>
                  </a:cubicBezTo>
                  <a:cubicBezTo>
                    <a:pt x="1636" y="401"/>
                    <a:pt x="1651" y="391"/>
                    <a:pt x="1667" y="380"/>
                  </a:cubicBezTo>
                  <a:cubicBezTo>
                    <a:pt x="1682" y="369"/>
                    <a:pt x="1663" y="371"/>
                    <a:pt x="1663" y="371"/>
                  </a:cubicBezTo>
                  <a:cubicBezTo>
                    <a:pt x="1564" y="402"/>
                    <a:pt x="1564" y="402"/>
                    <a:pt x="1564" y="402"/>
                  </a:cubicBezTo>
                  <a:cubicBezTo>
                    <a:pt x="1550" y="403"/>
                    <a:pt x="1550" y="403"/>
                    <a:pt x="1550" y="403"/>
                  </a:cubicBezTo>
                  <a:cubicBezTo>
                    <a:pt x="1494" y="420"/>
                    <a:pt x="1494" y="420"/>
                    <a:pt x="1494" y="420"/>
                  </a:cubicBezTo>
                  <a:cubicBezTo>
                    <a:pt x="1496" y="428"/>
                    <a:pt x="1496" y="428"/>
                    <a:pt x="1496" y="428"/>
                  </a:cubicBezTo>
                  <a:cubicBezTo>
                    <a:pt x="1456" y="443"/>
                    <a:pt x="1456" y="443"/>
                    <a:pt x="1456" y="443"/>
                  </a:cubicBezTo>
                  <a:cubicBezTo>
                    <a:pt x="1447" y="453"/>
                    <a:pt x="1447" y="453"/>
                    <a:pt x="1447" y="453"/>
                  </a:cubicBezTo>
                  <a:cubicBezTo>
                    <a:pt x="1465" y="461"/>
                    <a:pt x="1465" y="461"/>
                    <a:pt x="1465" y="461"/>
                  </a:cubicBezTo>
                  <a:cubicBezTo>
                    <a:pt x="1465" y="461"/>
                    <a:pt x="1487" y="446"/>
                    <a:pt x="1492" y="458"/>
                  </a:cubicBezTo>
                  <a:cubicBezTo>
                    <a:pt x="1497" y="470"/>
                    <a:pt x="1451" y="464"/>
                    <a:pt x="1440" y="483"/>
                  </a:cubicBezTo>
                  <a:cubicBezTo>
                    <a:pt x="1428" y="503"/>
                    <a:pt x="1587" y="484"/>
                    <a:pt x="1565" y="502"/>
                  </a:cubicBezTo>
                  <a:cubicBezTo>
                    <a:pt x="1544" y="519"/>
                    <a:pt x="1417" y="508"/>
                    <a:pt x="1406" y="525"/>
                  </a:cubicBezTo>
                  <a:cubicBezTo>
                    <a:pt x="1395" y="542"/>
                    <a:pt x="1427" y="540"/>
                    <a:pt x="1450" y="552"/>
                  </a:cubicBezTo>
                  <a:cubicBezTo>
                    <a:pt x="1473" y="564"/>
                    <a:pt x="1438" y="557"/>
                    <a:pt x="1434" y="574"/>
                  </a:cubicBezTo>
                  <a:cubicBezTo>
                    <a:pt x="1430" y="590"/>
                    <a:pt x="1533" y="582"/>
                    <a:pt x="1533" y="582"/>
                  </a:cubicBezTo>
                  <a:cubicBezTo>
                    <a:pt x="1533" y="582"/>
                    <a:pt x="1702" y="566"/>
                    <a:pt x="1741" y="554"/>
                  </a:cubicBezTo>
                  <a:cubicBezTo>
                    <a:pt x="1768" y="545"/>
                    <a:pt x="1819" y="583"/>
                    <a:pt x="1851" y="586"/>
                  </a:cubicBezTo>
                  <a:cubicBezTo>
                    <a:pt x="1884" y="588"/>
                    <a:pt x="1895" y="551"/>
                    <a:pt x="1895" y="551"/>
                  </a:cubicBezTo>
                  <a:cubicBezTo>
                    <a:pt x="1843" y="550"/>
                    <a:pt x="1843" y="550"/>
                    <a:pt x="1843" y="550"/>
                  </a:cubicBezTo>
                  <a:cubicBezTo>
                    <a:pt x="1865" y="533"/>
                    <a:pt x="1865" y="533"/>
                    <a:pt x="1865" y="533"/>
                  </a:cubicBezTo>
                  <a:cubicBezTo>
                    <a:pt x="1865" y="533"/>
                    <a:pt x="1897" y="539"/>
                    <a:pt x="1929" y="532"/>
                  </a:cubicBezTo>
                  <a:cubicBezTo>
                    <a:pt x="1962" y="525"/>
                    <a:pt x="1931" y="506"/>
                    <a:pt x="1929" y="499"/>
                  </a:cubicBezTo>
                  <a:close/>
                  <a:moveTo>
                    <a:pt x="1909" y="590"/>
                  </a:moveTo>
                  <a:cubicBezTo>
                    <a:pt x="1941" y="591"/>
                    <a:pt x="1947" y="573"/>
                    <a:pt x="1925" y="574"/>
                  </a:cubicBezTo>
                  <a:cubicBezTo>
                    <a:pt x="1903" y="574"/>
                    <a:pt x="1909" y="590"/>
                    <a:pt x="1909" y="590"/>
                  </a:cubicBezTo>
                  <a:close/>
                  <a:moveTo>
                    <a:pt x="2183" y="224"/>
                  </a:moveTo>
                  <a:cubicBezTo>
                    <a:pt x="2201" y="221"/>
                    <a:pt x="2202" y="193"/>
                    <a:pt x="2187" y="193"/>
                  </a:cubicBezTo>
                  <a:cubicBezTo>
                    <a:pt x="2173" y="193"/>
                    <a:pt x="2166" y="226"/>
                    <a:pt x="2183" y="224"/>
                  </a:cubicBezTo>
                  <a:close/>
                  <a:moveTo>
                    <a:pt x="2307" y="155"/>
                  </a:moveTo>
                  <a:cubicBezTo>
                    <a:pt x="2307" y="155"/>
                    <a:pt x="2289" y="172"/>
                    <a:pt x="2303" y="173"/>
                  </a:cubicBezTo>
                  <a:cubicBezTo>
                    <a:pt x="2317" y="174"/>
                    <a:pt x="2349" y="175"/>
                    <a:pt x="2349" y="175"/>
                  </a:cubicBezTo>
                  <a:cubicBezTo>
                    <a:pt x="2349" y="175"/>
                    <a:pt x="2363" y="191"/>
                    <a:pt x="2380" y="191"/>
                  </a:cubicBezTo>
                  <a:cubicBezTo>
                    <a:pt x="2398" y="191"/>
                    <a:pt x="2411" y="177"/>
                    <a:pt x="2411" y="177"/>
                  </a:cubicBezTo>
                  <a:cubicBezTo>
                    <a:pt x="2402" y="169"/>
                    <a:pt x="2402" y="169"/>
                    <a:pt x="2402" y="169"/>
                  </a:cubicBezTo>
                  <a:cubicBezTo>
                    <a:pt x="2423" y="165"/>
                    <a:pt x="2423" y="165"/>
                    <a:pt x="2423" y="165"/>
                  </a:cubicBezTo>
                  <a:cubicBezTo>
                    <a:pt x="2393" y="143"/>
                    <a:pt x="2393" y="143"/>
                    <a:pt x="2393" y="143"/>
                  </a:cubicBezTo>
                  <a:cubicBezTo>
                    <a:pt x="2365" y="147"/>
                    <a:pt x="2365" y="147"/>
                    <a:pt x="2365" y="147"/>
                  </a:cubicBezTo>
                  <a:cubicBezTo>
                    <a:pt x="2355" y="132"/>
                    <a:pt x="2355" y="132"/>
                    <a:pt x="2355" y="132"/>
                  </a:cubicBezTo>
                  <a:cubicBezTo>
                    <a:pt x="2336" y="132"/>
                    <a:pt x="2336" y="132"/>
                    <a:pt x="2336" y="132"/>
                  </a:cubicBezTo>
                  <a:cubicBezTo>
                    <a:pt x="2314" y="132"/>
                    <a:pt x="2279" y="132"/>
                    <a:pt x="2278" y="144"/>
                  </a:cubicBezTo>
                  <a:cubicBezTo>
                    <a:pt x="2277" y="156"/>
                    <a:pt x="2307" y="155"/>
                    <a:pt x="2307" y="155"/>
                  </a:cubicBezTo>
                  <a:close/>
                  <a:moveTo>
                    <a:pt x="2285" y="872"/>
                  </a:moveTo>
                  <a:cubicBezTo>
                    <a:pt x="2230" y="922"/>
                    <a:pt x="2320" y="886"/>
                    <a:pt x="2320" y="886"/>
                  </a:cubicBezTo>
                  <a:cubicBezTo>
                    <a:pt x="2366" y="843"/>
                    <a:pt x="2339" y="821"/>
                    <a:pt x="2285" y="872"/>
                  </a:cubicBezTo>
                  <a:close/>
                  <a:moveTo>
                    <a:pt x="2943" y="929"/>
                  </a:moveTo>
                  <a:cubicBezTo>
                    <a:pt x="2953" y="921"/>
                    <a:pt x="2946" y="918"/>
                    <a:pt x="2946" y="918"/>
                  </a:cubicBezTo>
                  <a:cubicBezTo>
                    <a:pt x="2946" y="918"/>
                    <a:pt x="2924" y="913"/>
                    <a:pt x="2921" y="922"/>
                  </a:cubicBezTo>
                  <a:cubicBezTo>
                    <a:pt x="2921" y="922"/>
                    <a:pt x="2932" y="936"/>
                    <a:pt x="2943" y="929"/>
                  </a:cubicBezTo>
                  <a:close/>
                  <a:moveTo>
                    <a:pt x="2077" y="1360"/>
                  </a:moveTo>
                  <a:cubicBezTo>
                    <a:pt x="2105" y="1356"/>
                    <a:pt x="2070" y="1342"/>
                    <a:pt x="2070" y="1342"/>
                  </a:cubicBezTo>
                  <a:cubicBezTo>
                    <a:pt x="2026" y="1351"/>
                    <a:pt x="2048" y="1363"/>
                    <a:pt x="2077" y="1360"/>
                  </a:cubicBezTo>
                  <a:close/>
                  <a:moveTo>
                    <a:pt x="3172" y="665"/>
                  </a:moveTo>
                  <a:cubicBezTo>
                    <a:pt x="3167" y="669"/>
                    <a:pt x="3155" y="660"/>
                    <a:pt x="3155" y="660"/>
                  </a:cubicBezTo>
                  <a:cubicBezTo>
                    <a:pt x="3133" y="673"/>
                    <a:pt x="3133" y="673"/>
                    <a:pt x="3133" y="673"/>
                  </a:cubicBezTo>
                  <a:cubicBezTo>
                    <a:pt x="3135" y="656"/>
                    <a:pt x="3135" y="656"/>
                    <a:pt x="3135" y="656"/>
                  </a:cubicBezTo>
                  <a:cubicBezTo>
                    <a:pt x="3107" y="656"/>
                    <a:pt x="3107" y="656"/>
                    <a:pt x="3107" y="656"/>
                  </a:cubicBezTo>
                  <a:cubicBezTo>
                    <a:pt x="3107" y="656"/>
                    <a:pt x="3139" y="646"/>
                    <a:pt x="3133" y="636"/>
                  </a:cubicBezTo>
                  <a:cubicBezTo>
                    <a:pt x="3128" y="625"/>
                    <a:pt x="3079" y="624"/>
                    <a:pt x="3079" y="624"/>
                  </a:cubicBezTo>
                  <a:cubicBezTo>
                    <a:pt x="3073" y="613"/>
                    <a:pt x="3073" y="613"/>
                    <a:pt x="3073" y="613"/>
                  </a:cubicBezTo>
                  <a:cubicBezTo>
                    <a:pt x="3041" y="612"/>
                    <a:pt x="3041" y="612"/>
                    <a:pt x="3041" y="612"/>
                  </a:cubicBezTo>
                  <a:cubicBezTo>
                    <a:pt x="2997" y="581"/>
                    <a:pt x="2997" y="581"/>
                    <a:pt x="2997" y="581"/>
                  </a:cubicBezTo>
                  <a:cubicBezTo>
                    <a:pt x="3044" y="578"/>
                    <a:pt x="3044" y="578"/>
                    <a:pt x="3044" y="578"/>
                  </a:cubicBezTo>
                  <a:cubicBezTo>
                    <a:pt x="3024" y="564"/>
                    <a:pt x="3024" y="564"/>
                    <a:pt x="3024" y="564"/>
                  </a:cubicBezTo>
                  <a:cubicBezTo>
                    <a:pt x="3024" y="564"/>
                    <a:pt x="3037" y="560"/>
                    <a:pt x="3041" y="560"/>
                  </a:cubicBezTo>
                  <a:cubicBezTo>
                    <a:pt x="3045" y="560"/>
                    <a:pt x="3097" y="572"/>
                    <a:pt x="3091" y="558"/>
                  </a:cubicBezTo>
                  <a:cubicBezTo>
                    <a:pt x="3084" y="545"/>
                    <a:pt x="3029" y="548"/>
                    <a:pt x="3029" y="548"/>
                  </a:cubicBezTo>
                  <a:cubicBezTo>
                    <a:pt x="3011" y="546"/>
                    <a:pt x="3011" y="546"/>
                    <a:pt x="3011" y="546"/>
                  </a:cubicBezTo>
                  <a:cubicBezTo>
                    <a:pt x="3011" y="546"/>
                    <a:pt x="3088" y="544"/>
                    <a:pt x="3091" y="534"/>
                  </a:cubicBezTo>
                  <a:cubicBezTo>
                    <a:pt x="3093" y="525"/>
                    <a:pt x="3069" y="525"/>
                    <a:pt x="3069" y="525"/>
                  </a:cubicBezTo>
                  <a:cubicBezTo>
                    <a:pt x="3000" y="536"/>
                    <a:pt x="3000" y="536"/>
                    <a:pt x="3000" y="536"/>
                  </a:cubicBezTo>
                  <a:cubicBezTo>
                    <a:pt x="3040" y="512"/>
                    <a:pt x="3040" y="512"/>
                    <a:pt x="3040" y="512"/>
                  </a:cubicBezTo>
                  <a:cubicBezTo>
                    <a:pt x="3040" y="512"/>
                    <a:pt x="3093" y="518"/>
                    <a:pt x="3077" y="504"/>
                  </a:cubicBezTo>
                  <a:cubicBezTo>
                    <a:pt x="3061" y="489"/>
                    <a:pt x="3035" y="489"/>
                    <a:pt x="3035" y="489"/>
                  </a:cubicBezTo>
                  <a:cubicBezTo>
                    <a:pt x="3009" y="504"/>
                    <a:pt x="3009" y="504"/>
                    <a:pt x="3009" y="504"/>
                  </a:cubicBezTo>
                  <a:cubicBezTo>
                    <a:pt x="2999" y="500"/>
                    <a:pt x="2999" y="500"/>
                    <a:pt x="2999" y="500"/>
                  </a:cubicBezTo>
                  <a:cubicBezTo>
                    <a:pt x="2971" y="520"/>
                    <a:pt x="2971" y="520"/>
                    <a:pt x="2971" y="520"/>
                  </a:cubicBezTo>
                  <a:cubicBezTo>
                    <a:pt x="2973" y="505"/>
                    <a:pt x="2973" y="505"/>
                    <a:pt x="2973" y="505"/>
                  </a:cubicBezTo>
                  <a:cubicBezTo>
                    <a:pt x="2959" y="517"/>
                    <a:pt x="2959" y="517"/>
                    <a:pt x="2959" y="517"/>
                  </a:cubicBezTo>
                  <a:cubicBezTo>
                    <a:pt x="2973" y="497"/>
                    <a:pt x="2973" y="497"/>
                    <a:pt x="2973" y="497"/>
                  </a:cubicBezTo>
                  <a:cubicBezTo>
                    <a:pt x="2973" y="497"/>
                    <a:pt x="2993" y="502"/>
                    <a:pt x="3003" y="493"/>
                  </a:cubicBezTo>
                  <a:cubicBezTo>
                    <a:pt x="3012" y="484"/>
                    <a:pt x="3012" y="470"/>
                    <a:pt x="3005" y="472"/>
                  </a:cubicBezTo>
                  <a:cubicBezTo>
                    <a:pt x="2999" y="473"/>
                    <a:pt x="2991" y="485"/>
                    <a:pt x="2991" y="485"/>
                  </a:cubicBezTo>
                  <a:cubicBezTo>
                    <a:pt x="2967" y="486"/>
                    <a:pt x="2967" y="486"/>
                    <a:pt x="2967" y="486"/>
                  </a:cubicBezTo>
                  <a:cubicBezTo>
                    <a:pt x="2952" y="493"/>
                    <a:pt x="2952" y="493"/>
                    <a:pt x="2952" y="493"/>
                  </a:cubicBezTo>
                  <a:cubicBezTo>
                    <a:pt x="2968" y="474"/>
                    <a:pt x="2968" y="474"/>
                    <a:pt x="2968" y="474"/>
                  </a:cubicBezTo>
                  <a:cubicBezTo>
                    <a:pt x="2988" y="474"/>
                    <a:pt x="2988" y="474"/>
                    <a:pt x="2988" y="474"/>
                  </a:cubicBezTo>
                  <a:cubicBezTo>
                    <a:pt x="2988" y="474"/>
                    <a:pt x="3012" y="465"/>
                    <a:pt x="2999" y="457"/>
                  </a:cubicBezTo>
                  <a:cubicBezTo>
                    <a:pt x="2985" y="449"/>
                    <a:pt x="2941" y="469"/>
                    <a:pt x="2941" y="469"/>
                  </a:cubicBezTo>
                  <a:cubicBezTo>
                    <a:pt x="2933" y="460"/>
                    <a:pt x="2933" y="460"/>
                    <a:pt x="2933" y="460"/>
                  </a:cubicBezTo>
                  <a:cubicBezTo>
                    <a:pt x="2917" y="472"/>
                    <a:pt x="2917" y="472"/>
                    <a:pt x="2917" y="472"/>
                  </a:cubicBezTo>
                  <a:cubicBezTo>
                    <a:pt x="2932" y="452"/>
                    <a:pt x="2932" y="452"/>
                    <a:pt x="2932" y="452"/>
                  </a:cubicBezTo>
                  <a:cubicBezTo>
                    <a:pt x="2895" y="465"/>
                    <a:pt x="2895" y="465"/>
                    <a:pt x="2895" y="465"/>
                  </a:cubicBezTo>
                  <a:cubicBezTo>
                    <a:pt x="2895" y="450"/>
                    <a:pt x="2895" y="450"/>
                    <a:pt x="2895" y="450"/>
                  </a:cubicBezTo>
                  <a:cubicBezTo>
                    <a:pt x="2895" y="450"/>
                    <a:pt x="2931" y="441"/>
                    <a:pt x="2931" y="437"/>
                  </a:cubicBezTo>
                  <a:cubicBezTo>
                    <a:pt x="2931" y="433"/>
                    <a:pt x="2881" y="442"/>
                    <a:pt x="2881" y="442"/>
                  </a:cubicBezTo>
                  <a:cubicBezTo>
                    <a:pt x="2880" y="434"/>
                    <a:pt x="2880" y="434"/>
                    <a:pt x="2880" y="434"/>
                  </a:cubicBezTo>
                  <a:cubicBezTo>
                    <a:pt x="2880" y="434"/>
                    <a:pt x="2928" y="424"/>
                    <a:pt x="2923" y="417"/>
                  </a:cubicBezTo>
                  <a:cubicBezTo>
                    <a:pt x="2917" y="410"/>
                    <a:pt x="2852" y="409"/>
                    <a:pt x="2844" y="406"/>
                  </a:cubicBezTo>
                  <a:cubicBezTo>
                    <a:pt x="2836" y="404"/>
                    <a:pt x="2820" y="406"/>
                    <a:pt x="2819" y="410"/>
                  </a:cubicBezTo>
                  <a:cubicBezTo>
                    <a:pt x="2817" y="414"/>
                    <a:pt x="2828" y="428"/>
                    <a:pt x="2828" y="428"/>
                  </a:cubicBezTo>
                  <a:cubicBezTo>
                    <a:pt x="2804" y="424"/>
                    <a:pt x="2804" y="424"/>
                    <a:pt x="2804" y="424"/>
                  </a:cubicBezTo>
                  <a:cubicBezTo>
                    <a:pt x="2807" y="442"/>
                    <a:pt x="2807" y="442"/>
                    <a:pt x="2807" y="442"/>
                  </a:cubicBezTo>
                  <a:cubicBezTo>
                    <a:pt x="2793" y="425"/>
                    <a:pt x="2793" y="425"/>
                    <a:pt x="2793" y="425"/>
                  </a:cubicBezTo>
                  <a:cubicBezTo>
                    <a:pt x="2768" y="441"/>
                    <a:pt x="2768" y="441"/>
                    <a:pt x="2768" y="441"/>
                  </a:cubicBezTo>
                  <a:cubicBezTo>
                    <a:pt x="2768" y="441"/>
                    <a:pt x="2773" y="426"/>
                    <a:pt x="2768" y="422"/>
                  </a:cubicBezTo>
                  <a:cubicBezTo>
                    <a:pt x="2763" y="418"/>
                    <a:pt x="2715" y="438"/>
                    <a:pt x="2715" y="438"/>
                  </a:cubicBezTo>
                  <a:cubicBezTo>
                    <a:pt x="2727" y="413"/>
                    <a:pt x="2727" y="413"/>
                    <a:pt x="2727" y="413"/>
                  </a:cubicBezTo>
                  <a:cubicBezTo>
                    <a:pt x="2727" y="413"/>
                    <a:pt x="2767" y="412"/>
                    <a:pt x="2767" y="402"/>
                  </a:cubicBezTo>
                  <a:cubicBezTo>
                    <a:pt x="2767" y="393"/>
                    <a:pt x="2753" y="381"/>
                    <a:pt x="2753" y="381"/>
                  </a:cubicBezTo>
                  <a:cubicBezTo>
                    <a:pt x="2753" y="381"/>
                    <a:pt x="2777" y="364"/>
                    <a:pt x="2761" y="361"/>
                  </a:cubicBezTo>
                  <a:cubicBezTo>
                    <a:pt x="2745" y="358"/>
                    <a:pt x="2699" y="362"/>
                    <a:pt x="2699" y="362"/>
                  </a:cubicBezTo>
                  <a:cubicBezTo>
                    <a:pt x="2684" y="373"/>
                    <a:pt x="2684" y="373"/>
                    <a:pt x="2684" y="373"/>
                  </a:cubicBezTo>
                  <a:cubicBezTo>
                    <a:pt x="2625" y="374"/>
                    <a:pt x="2625" y="374"/>
                    <a:pt x="2625" y="374"/>
                  </a:cubicBezTo>
                  <a:cubicBezTo>
                    <a:pt x="2632" y="385"/>
                    <a:pt x="2632" y="385"/>
                    <a:pt x="2632" y="385"/>
                  </a:cubicBezTo>
                  <a:cubicBezTo>
                    <a:pt x="2652" y="393"/>
                    <a:pt x="2652" y="393"/>
                    <a:pt x="2652" y="393"/>
                  </a:cubicBezTo>
                  <a:cubicBezTo>
                    <a:pt x="2623" y="385"/>
                    <a:pt x="2623" y="385"/>
                    <a:pt x="2623" y="385"/>
                  </a:cubicBezTo>
                  <a:cubicBezTo>
                    <a:pt x="2629" y="401"/>
                    <a:pt x="2629" y="401"/>
                    <a:pt x="2629" y="401"/>
                  </a:cubicBezTo>
                  <a:cubicBezTo>
                    <a:pt x="2629" y="401"/>
                    <a:pt x="2597" y="388"/>
                    <a:pt x="2588" y="400"/>
                  </a:cubicBezTo>
                  <a:cubicBezTo>
                    <a:pt x="2579" y="412"/>
                    <a:pt x="2596" y="424"/>
                    <a:pt x="2596" y="424"/>
                  </a:cubicBezTo>
                  <a:cubicBezTo>
                    <a:pt x="2599" y="441"/>
                    <a:pt x="2599" y="441"/>
                    <a:pt x="2599" y="441"/>
                  </a:cubicBezTo>
                  <a:cubicBezTo>
                    <a:pt x="2599" y="441"/>
                    <a:pt x="2579" y="429"/>
                    <a:pt x="2568" y="432"/>
                  </a:cubicBezTo>
                  <a:cubicBezTo>
                    <a:pt x="2557" y="434"/>
                    <a:pt x="2543" y="453"/>
                    <a:pt x="2555" y="454"/>
                  </a:cubicBezTo>
                  <a:cubicBezTo>
                    <a:pt x="2567" y="456"/>
                    <a:pt x="2571" y="462"/>
                    <a:pt x="2571" y="462"/>
                  </a:cubicBezTo>
                  <a:cubicBezTo>
                    <a:pt x="2540" y="477"/>
                    <a:pt x="2540" y="477"/>
                    <a:pt x="2540" y="477"/>
                  </a:cubicBezTo>
                  <a:cubicBezTo>
                    <a:pt x="2500" y="481"/>
                    <a:pt x="2500" y="481"/>
                    <a:pt x="2500" y="481"/>
                  </a:cubicBezTo>
                  <a:cubicBezTo>
                    <a:pt x="2500" y="481"/>
                    <a:pt x="2539" y="473"/>
                    <a:pt x="2539" y="464"/>
                  </a:cubicBezTo>
                  <a:cubicBezTo>
                    <a:pt x="2539" y="454"/>
                    <a:pt x="2515" y="453"/>
                    <a:pt x="2525" y="440"/>
                  </a:cubicBezTo>
                  <a:cubicBezTo>
                    <a:pt x="2536" y="426"/>
                    <a:pt x="2549" y="425"/>
                    <a:pt x="2549" y="425"/>
                  </a:cubicBezTo>
                  <a:cubicBezTo>
                    <a:pt x="2549" y="406"/>
                    <a:pt x="2549" y="406"/>
                    <a:pt x="2549" y="406"/>
                  </a:cubicBezTo>
                  <a:cubicBezTo>
                    <a:pt x="2549" y="406"/>
                    <a:pt x="2584" y="384"/>
                    <a:pt x="2596" y="378"/>
                  </a:cubicBezTo>
                  <a:cubicBezTo>
                    <a:pt x="2608" y="373"/>
                    <a:pt x="2653" y="366"/>
                    <a:pt x="2645" y="362"/>
                  </a:cubicBezTo>
                  <a:cubicBezTo>
                    <a:pt x="2637" y="358"/>
                    <a:pt x="2591" y="357"/>
                    <a:pt x="2565" y="358"/>
                  </a:cubicBezTo>
                  <a:cubicBezTo>
                    <a:pt x="2540" y="360"/>
                    <a:pt x="2472" y="401"/>
                    <a:pt x="2472" y="401"/>
                  </a:cubicBezTo>
                  <a:cubicBezTo>
                    <a:pt x="2472" y="401"/>
                    <a:pt x="2443" y="414"/>
                    <a:pt x="2433" y="416"/>
                  </a:cubicBezTo>
                  <a:cubicBezTo>
                    <a:pt x="2424" y="417"/>
                    <a:pt x="2420" y="428"/>
                    <a:pt x="2420" y="428"/>
                  </a:cubicBezTo>
                  <a:cubicBezTo>
                    <a:pt x="2420" y="428"/>
                    <a:pt x="2373" y="454"/>
                    <a:pt x="2391" y="461"/>
                  </a:cubicBezTo>
                  <a:cubicBezTo>
                    <a:pt x="2408" y="468"/>
                    <a:pt x="2460" y="464"/>
                    <a:pt x="2453" y="473"/>
                  </a:cubicBezTo>
                  <a:cubicBezTo>
                    <a:pt x="2447" y="482"/>
                    <a:pt x="2360" y="481"/>
                    <a:pt x="2381" y="496"/>
                  </a:cubicBezTo>
                  <a:cubicBezTo>
                    <a:pt x="2403" y="510"/>
                    <a:pt x="2429" y="513"/>
                    <a:pt x="2429" y="513"/>
                  </a:cubicBezTo>
                  <a:cubicBezTo>
                    <a:pt x="2460" y="501"/>
                    <a:pt x="2460" y="501"/>
                    <a:pt x="2460" y="501"/>
                  </a:cubicBezTo>
                  <a:cubicBezTo>
                    <a:pt x="2460" y="501"/>
                    <a:pt x="2451" y="517"/>
                    <a:pt x="2473" y="517"/>
                  </a:cubicBezTo>
                  <a:cubicBezTo>
                    <a:pt x="2496" y="517"/>
                    <a:pt x="2584" y="536"/>
                    <a:pt x="2595" y="530"/>
                  </a:cubicBezTo>
                  <a:cubicBezTo>
                    <a:pt x="2605" y="525"/>
                    <a:pt x="2581" y="513"/>
                    <a:pt x="2581" y="513"/>
                  </a:cubicBezTo>
                  <a:cubicBezTo>
                    <a:pt x="2581" y="513"/>
                    <a:pt x="2648" y="520"/>
                    <a:pt x="2659" y="521"/>
                  </a:cubicBezTo>
                  <a:cubicBezTo>
                    <a:pt x="2669" y="522"/>
                    <a:pt x="2696" y="533"/>
                    <a:pt x="2705" y="528"/>
                  </a:cubicBezTo>
                  <a:cubicBezTo>
                    <a:pt x="2715" y="522"/>
                    <a:pt x="2696" y="502"/>
                    <a:pt x="2696" y="502"/>
                  </a:cubicBezTo>
                  <a:cubicBezTo>
                    <a:pt x="2727" y="496"/>
                    <a:pt x="2727" y="496"/>
                    <a:pt x="2727" y="496"/>
                  </a:cubicBezTo>
                  <a:cubicBezTo>
                    <a:pt x="2727" y="496"/>
                    <a:pt x="2735" y="518"/>
                    <a:pt x="2739" y="517"/>
                  </a:cubicBezTo>
                  <a:cubicBezTo>
                    <a:pt x="2743" y="516"/>
                    <a:pt x="2757" y="532"/>
                    <a:pt x="2757" y="532"/>
                  </a:cubicBezTo>
                  <a:cubicBezTo>
                    <a:pt x="2777" y="525"/>
                    <a:pt x="2777" y="525"/>
                    <a:pt x="2777" y="525"/>
                  </a:cubicBezTo>
                  <a:cubicBezTo>
                    <a:pt x="2777" y="525"/>
                    <a:pt x="2769" y="545"/>
                    <a:pt x="2773" y="546"/>
                  </a:cubicBezTo>
                  <a:cubicBezTo>
                    <a:pt x="2777" y="548"/>
                    <a:pt x="2807" y="554"/>
                    <a:pt x="2807" y="554"/>
                  </a:cubicBezTo>
                  <a:cubicBezTo>
                    <a:pt x="2807" y="554"/>
                    <a:pt x="2785" y="573"/>
                    <a:pt x="2793" y="573"/>
                  </a:cubicBezTo>
                  <a:cubicBezTo>
                    <a:pt x="2801" y="573"/>
                    <a:pt x="2820" y="573"/>
                    <a:pt x="2820" y="573"/>
                  </a:cubicBezTo>
                  <a:cubicBezTo>
                    <a:pt x="2816" y="590"/>
                    <a:pt x="2816" y="590"/>
                    <a:pt x="2816" y="590"/>
                  </a:cubicBezTo>
                  <a:cubicBezTo>
                    <a:pt x="2816" y="590"/>
                    <a:pt x="2849" y="594"/>
                    <a:pt x="2849" y="610"/>
                  </a:cubicBezTo>
                  <a:cubicBezTo>
                    <a:pt x="2849" y="626"/>
                    <a:pt x="2827" y="660"/>
                    <a:pt x="2821" y="661"/>
                  </a:cubicBezTo>
                  <a:cubicBezTo>
                    <a:pt x="2816" y="662"/>
                    <a:pt x="2728" y="701"/>
                    <a:pt x="2728" y="701"/>
                  </a:cubicBezTo>
                  <a:cubicBezTo>
                    <a:pt x="2728" y="701"/>
                    <a:pt x="2756" y="720"/>
                    <a:pt x="2741" y="726"/>
                  </a:cubicBezTo>
                  <a:cubicBezTo>
                    <a:pt x="2727" y="733"/>
                    <a:pt x="2707" y="734"/>
                    <a:pt x="2707" y="734"/>
                  </a:cubicBezTo>
                  <a:cubicBezTo>
                    <a:pt x="2655" y="741"/>
                    <a:pt x="2655" y="741"/>
                    <a:pt x="2655" y="741"/>
                  </a:cubicBezTo>
                  <a:cubicBezTo>
                    <a:pt x="2649" y="756"/>
                    <a:pt x="2649" y="756"/>
                    <a:pt x="2649" y="756"/>
                  </a:cubicBezTo>
                  <a:cubicBezTo>
                    <a:pt x="2640" y="742"/>
                    <a:pt x="2640" y="742"/>
                    <a:pt x="2640" y="742"/>
                  </a:cubicBezTo>
                  <a:cubicBezTo>
                    <a:pt x="2640" y="742"/>
                    <a:pt x="2613" y="733"/>
                    <a:pt x="2600" y="736"/>
                  </a:cubicBezTo>
                  <a:cubicBezTo>
                    <a:pt x="2587" y="738"/>
                    <a:pt x="2588" y="750"/>
                    <a:pt x="2588" y="750"/>
                  </a:cubicBezTo>
                  <a:cubicBezTo>
                    <a:pt x="2588" y="750"/>
                    <a:pt x="2543" y="760"/>
                    <a:pt x="2543" y="776"/>
                  </a:cubicBezTo>
                  <a:cubicBezTo>
                    <a:pt x="2543" y="800"/>
                    <a:pt x="2577" y="794"/>
                    <a:pt x="2604" y="785"/>
                  </a:cubicBezTo>
                  <a:cubicBezTo>
                    <a:pt x="2631" y="776"/>
                    <a:pt x="2637" y="777"/>
                    <a:pt x="2637" y="777"/>
                  </a:cubicBezTo>
                  <a:cubicBezTo>
                    <a:pt x="2637" y="777"/>
                    <a:pt x="2656" y="790"/>
                    <a:pt x="2663" y="785"/>
                  </a:cubicBezTo>
                  <a:cubicBezTo>
                    <a:pt x="2669" y="780"/>
                    <a:pt x="2665" y="769"/>
                    <a:pt x="2665" y="769"/>
                  </a:cubicBezTo>
                  <a:cubicBezTo>
                    <a:pt x="2681" y="754"/>
                    <a:pt x="2681" y="754"/>
                    <a:pt x="2681" y="754"/>
                  </a:cubicBezTo>
                  <a:cubicBezTo>
                    <a:pt x="2681" y="754"/>
                    <a:pt x="2668" y="766"/>
                    <a:pt x="2677" y="769"/>
                  </a:cubicBezTo>
                  <a:cubicBezTo>
                    <a:pt x="2687" y="772"/>
                    <a:pt x="2721" y="772"/>
                    <a:pt x="2721" y="772"/>
                  </a:cubicBezTo>
                  <a:cubicBezTo>
                    <a:pt x="2721" y="772"/>
                    <a:pt x="2707" y="778"/>
                    <a:pt x="2708" y="785"/>
                  </a:cubicBezTo>
                  <a:cubicBezTo>
                    <a:pt x="2709" y="792"/>
                    <a:pt x="2731" y="796"/>
                    <a:pt x="2731" y="796"/>
                  </a:cubicBezTo>
                  <a:cubicBezTo>
                    <a:pt x="2731" y="796"/>
                    <a:pt x="2717" y="805"/>
                    <a:pt x="2728" y="812"/>
                  </a:cubicBezTo>
                  <a:cubicBezTo>
                    <a:pt x="2739" y="818"/>
                    <a:pt x="2763" y="818"/>
                    <a:pt x="2763" y="818"/>
                  </a:cubicBezTo>
                  <a:cubicBezTo>
                    <a:pt x="2732" y="829"/>
                    <a:pt x="2732" y="829"/>
                    <a:pt x="2732" y="829"/>
                  </a:cubicBezTo>
                  <a:cubicBezTo>
                    <a:pt x="2732" y="829"/>
                    <a:pt x="2737" y="850"/>
                    <a:pt x="2743" y="849"/>
                  </a:cubicBezTo>
                  <a:cubicBezTo>
                    <a:pt x="2748" y="848"/>
                    <a:pt x="2759" y="841"/>
                    <a:pt x="2759" y="841"/>
                  </a:cubicBezTo>
                  <a:cubicBezTo>
                    <a:pt x="2759" y="841"/>
                    <a:pt x="2761" y="856"/>
                    <a:pt x="2771" y="857"/>
                  </a:cubicBezTo>
                  <a:cubicBezTo>
                    <a:pt x="2780" y="858"/>
                    <a:pt x="2801" y="861"/>
                    <a:pt x="2801" y="861"/>
                  </a:cubicBezTo>
                  <a:cubicBezTo>
                    <a:pt x="2801" y="861"/>
                    <a:pt x="2800" y="878"/>
                    <a:pt x="2816" y="882"/>
                  </a:cubicBezTo>
                  <a:cubicBezTo>
                    <a:pt x="2832" y="886"/>
                    <a:pt x="2843" y="878"/>
                    <a:pt x="2857" y="886"/>
                  </a:cubicBezTo>
                  <a:cubicBezTo>
                    <a:pt x="2872" y="894"/>
                    <a:pt x="2908" y="909"/>
                    <a:pt x="2908" y="909"/>
                  </a:cubicBezTo>
                  <a:cubicBezTo>
                    <a:pt x="2908" y="909"/>
                    <a:pt x="2919" y="889"/>
                    <a:pt x="2907" y="876"/>
                  </a:cubicBezTo>
                  <a:cubicBezTo>
                    <a:pt x="2895" y="862"/>
                    <a:pt x="2875" y="850"/>
                    <a:pt x="2875" y="850"/>
                  </a:cubicBezTo>
                  <a:cubicBezTo>
                    <a:pt x="2875" y="850"/>
                    <a:pt x="2855" y="825"/>
                    <a:pt x="2860" y="817"/>
                  </a:cubicBezTo>
                  <a:cubicBezTo>
                    <a:pt x="2865" y="809"/>
                    <a:pt x="2888" y="832"/>
                    <a:pt x="2888" y="832"/>
                  </a:cubicBezTo>
                  <a:cubicBezTo>
                    <a:pt x="2888" y="812"/>
                    <a:pt x="2888" y="812"/>
                    <a:pt x="2888" y="812"/>
                  </a:cubicBezTo>
                  <a:cubicBezTo>
                    <a:pt x="2888" y="812"/>
                    <a:pt x="2897" y="837"/>
                    <a:pt x="2907" y="837"/>
                  </a:cubicBezTo>
                  <a:cubicBezTo>
                    <a:pt x="2916" y="837"/>
                    <a:pt x="2931" y="833"/>
                    <a:pt x="2931" y="833"/>
                  </a:cubicBezTo>
                  <a:cubicBezTo>
                    <a:pt x="2931" y="833"/>
                    <a:pt x="2927" y="854"/>
                    <a:pt x="2937" y="853"/>
                  </a:cubicBezTo>
                  <a:cubicBezTo>
                    <a:pt x="2948" y="852"/>
                    <a:pt x="2952" y="864"/>
                    <a:pt x="2952" y="864"/>
                  </a:cubicBezTo>
                  <a:cubicBezTo>
                    <a:pt x="2965" y="849"/>
                    <a:pt x="2965" y="849"/>
                    <a:pt x="2965" y="849"/>
                  </a:cubicBezTo>
                  <a:cubicBezTo>
                    <a:pt x="2965" y="849"/>
                    <a:pt x="2975" y="861"/>
                    <a:pt x="2980" y="858"/>
                  </a:cubicBezTo>
                  <a:cubicBezTo>
                    <a:pt x="2985" y="856"/>
                    <a:pt x="2979" y="840"/>
                    <a:pt x="2979" y="840"/>
                  </a:cubicBezTo>
                  <a:cubicBezTo>
                    <a:pt x="2989" y="809"/>
                    <a:pt x="2989" y="809"/>
                    <a:pt x="2989" y="809"/>
                  </a:cubicBezTo>
                  <a:cubicBezTo>
                    <a:pt x="2989" y="809"/>
                    <a:pt x="2989" y="836"/>
                    <a:pt x="2997" y="836"/>
                  </a:cubicBezTo>
                  <a:cubicBezTo>
                    <a:pt x="3005" y="836"/>
                    <a:pt x="3009" y="808"/>
                    <a:pt x="3009" y="808"/>
                  </a:cubicBezTo>
                  <a:cubicBezTo>
                    <a:pt x="2995" y="792"/>
                    <a:pt x="2995" y="792"/>
                    <a:pt x="2995" y="792"/>
                  </a:cubicBezTo>
                  <a:cubicBezTo>
                    <a:pt x="3009" y="788"/>
                    <a:pt x="3009" y="788"/>
                    <a:pt x="3009" y="788"/>
                  </a:cubicBezTo>
                  <a:cubicBezTo>
                    <a:pt x="2997" y="778"/>
                    <a:pt x="2997" y="778"/>
                    <a:pt x="2997" y="778"/>
                  </a:cubicBezTo>
                  <a:cubicBezTo>
                    <a:pt x="2999" y="765"/>
                    <a:pt x="2999" y="765"/>
                    <a:pt x="2999" y="765"/>
                  </a:cubicBezTo>
                  <a:cubicBezTo>
                    <a:pt x="2979" y="768"/>
                    <a:pt x="2979" y="768"/>
                    <a:pt x="2979" y="768"/>
                  </a:cubicBezTo>
                  <a:cubicBezTo>
                    <a:pt x="2979" y="757"/>
                    <a:pt x="2979" y="757"/>
                    <a:pt x="2979" y="757"/>
                  </a:cubicBezTo>
                  <a:cubicBezTo>
                    <a:pt x="2964" y="757"/>
                    <a:pt x="2964" y="757"/>
                    <a:pt x="2964" y="757"/>
                  </a:cubicBezTo>
                  <a:cubicBezTo>
                    <a:pt x="2963" y="724"/>
                    <a:pt x="2963" y="724"/>
                    <a:pt x="2963" y="724"/>
                  </a:cubicBezTo>
                  <a:cubicBezTo>
                    <a:pt x="2941" y="725"/>
                    <a:pt x="2941" y="725"/>
                    <a:pt x="2941" y="725"/>
                  </a:cubicBezTo>
                  <a:cubicBezTo>
                    <a:pt x="2941" y="725"/>
                    <a:pt x="2929" y="705"/>
                    <a:pt x="2941" y="702"/>
                  </a:cubicBezTo>
                  <a:cubicBezTo>
                    <a:pt x="2953" y="700"/>
                    <a:pt x="2961" y="717"/>
                    <a:pt x="2969" y="714"/>
                  </a:cubicBezTo>
                  <a:cubicBezTo>
                    <a:pt x="2977" y="712"/>
                    <a:pt x="2976" y="686"/>
                    <a:pt x="2976" y="686"/>
                  </a:cubicBezTo>
                  <a:cubicBezTo>
                    <a:pt x="2991" y="690"/>
                    <a:pt x="2991" y="690"/>
                    <a:pt x="2991" y="690"/>
                  </a:cubicBezTo>
                  <a:cubicBezTo>
                    <a:pt x="3016" y="678"/>
                    <a:pt x="3016" y="678"/>
                    <a:pt x="3016" y="678"/>
                  </a:cubicBezTo>
                  <a:cubicBezTo>
                    <a:pt x="3016" y="678"/>
                    <a:pt x="3017" y="710"/>
                    <a:pt x="3024" y="704"/>
                  </a:cubicBezTo>
                  <a:cubicBezTo>
                    <a:pt x="3031" y="697"/>
                    <a:pt x="3044" y="697"/>
                    <a:pt x="3044" y="697"/>
                  </a:cubicBezTo>
                  <a:cubicBezTo>
                    <a:pt x="3036" y="709"/>
                    <a:pt x="3036" y="709"/>
                    <a:pt x="3036" y="709"/>
                  </a:cubicBezTo>
                  <a:cubicBezTo>
                    <a:pt x="3051" y="710"/>
                    <a:pt x="3051" y="710"/>
                    <a:pt x="3051" y="710"/>
                  </a:cubicBezTo>
                  <a:cubicBezTo>
                    <a:pt x="3044" y="729"/>
                    <a:pt x="3044" y="729"/>
                    <a:pt x="3044" y="729"/>
                  </a:cubicBezTo>
                  <a:cubicBezTo>
                    <a:pt x="3044" y="729"/>
                    <a:pt x="3067" y="770"/>
                    <a:pt x="3083" y="760"/>
                  </a:cubicBezTo>
                  <a:cubicBezTo>
                    <a:pt x="3099" y="749"/>
                    <a:pt x="3101" y="724"/>
                    <a:pt x="3101" y="724"/>
                  </a:cubicBezTo>
                  <a:cubicBezTo>
                    <a:pt x="3108" y="714"/>
                    <a:pt x="3108" y="714"/>
                    <a:pt x="3108" y="714"/>
                  </a:cubicBezTo>
                  <a:cubicBezTo>
                    <a:pt x="3108" y="714"/>
                    <a:pt x="3127" y="730"/>
                    <a:pt x="3140" y="721"/>
                  </a:cubicBezTo>
                  <a:cubicBezTo>
                    <a:pt x="3153" y="712"/>
                    <a:pt x="3152" y="694"/>
                    <a:pt x="3152" y="694"/>
                  </a:cubicBezTo>
                  <a:cubicBezTo>
                    <a:pt x="3152" y="694"/>
                    <a:pt x="3187" y="704"/>
                    <a:pt x="3201" y="688"/>
                  </a:cubicBezTo>
                  <a:cubicBezTo>
                    <a:pt x="3216" y="672"/>
                    <a:pt x="3177" y="661"/>
                    <a:pt x="3172" y="665"/>
                  </a:cubicBezTo>
                  <a:close/>
                  <a:moveTo>
                    <a:pt x="2983" y="872"/>
                  </a:moveTo>
                  <a:cubicBezTo>
                    <a:pt x="2963" y="876"/>
                    <a:pt x="2963" y="876"/>
                    <a:pt x="2963" y="876"/>
                  </a:cubicBezTo>
                  <a:cubicBezTo>
                    <a:pt x="2960" y="885"/>
                    <a:pt x="2960" y="885"/>
                    <a:pt x="2960" y="885"/>
                  </a:cubicBezTo>
                  <a:cubicBezTo>
                    <a:pt x="2983" y="882"/>
                    <a:pt x="2983" y="882"/>
                    <a:pt x="2983" y="882"/>
                  </a:cubicBezTo>
                  <a:lnTo>
                    <a:pt x="2983" y="872"/>
                  </a:lnTo>
                  <a:close/>
                  <a:moveTo>
                    <a:pt x="2758" y="861"/>
                  </a:moveTo>
                  <a:cubicBezTo>
                    <a:pt x="2746" y="862"/>
                    <a:pt x="2747" y="878"/>
                    <a:pt x="2761" y="878"/>
                  </a:cubicBezTo>
                  <a:cubicBezTo>
                    <a:pt x="2785" y="878"/>
                    <a:pt x="2771" y="859"/>
                    <a:pt x="2758" y="861"/>
                  </a:cubicBezTo>
                  <a:close/>
                  <a:moveTo>
                    <a:pt x="2555" y="832"/>
                  </a:moveTo>
                  <a:cubicBezTo>
                    <a:pt x="2565" y="822"/>
                    <a:pt x="2540" y="818"/>
                    <a:pt x="2540" y="818"/>
                  </a:cubicBezTo>
                  <a:cubicBezTo>
                    <a:pt x="2540" y="818"/>
                    <a:pt x="2540" y="847"/>
                    <a:pt x="2555" y="832"/>
                  </a:cubicBezTo>
                  <a:close/>
                  <a:moveTo>
                    <a:pt x="2800" y="969"/>
                  </a:moveTo>
                  <a:cubicBezTo>
                    <a:pt x="2777" y="971"/>
                    <a:pt x="2777" y="971"/>
                    <a:pt x="2777" y="971"/>
                  </a:cubicBezTo>
                  <a:cubicBezTo>
                    <a:pt x="2801" y="987"/>
                    <a:pt x="2801" y="987"/>
                    <a:pt x="2801" y="987"/>
                  </a:cubicBezTo>
                  <a:cubicBezTo>
                    <a:pt x="2820" y="978"/>
                    <a:pt x="2800" y="969"/>
                    <a:pt x="2800" y="969"/>
                  </a:cubicBezTo>
                  <a:close/>
                  <a:moveTo>
                    <a:pt x="2779" y="582"/>
                  </a:moveTo>
                  <a:cubicBezTo>
                    <a:pt x="2752" y="576"/>
                    <a:pt x="2779" y="594"/>
                    <a:pt x="2779" y="594"/>
                  </a:cubicBezTo>
                  <a:cubicBezTo>
                    <a:pt x="2795" y="592"/>
                    <a:pt x="2807" y="588"/>
                    <a:pt x="2779" y="582"/>
                  </a:cubicBezTo>
                  <a:close/>
                  <a:moveTo>
                    <a:pt x="2779" y="626"/>
                  </a:moveTo>
                  <a:cubicBezTo>
                    <a:pt x="2821" y="624"/>
                    <a:pt x="2821" y="624"/>
                    <a:pt x="2821" y="624"/>
                  </a:cubicBezTo>
                  <a:cubicBezTo>
                    <a:pt x="2821" y="613"/>
                    <a:pt x="2821" y="613"/>
                    <a:pt x="2821" y="613"/>
                  </a:cubicBezTo>
                  <a:cubicBezTo>
                    <a:pt x="2791" y="615"/>
                    <a:pt x="2791" y="615"/>
                    <a:pt x="2791" y="615"/>
                  </a:cubicBezTo>
                  <a:lnTo>
                    <a:pt x="2779" y="626"/>
                  </a:lnTo>
                  <a:close/>
                  <a:moveTo>
                    <a:pt x="3715" y="26"/>
                  </a:moveTo>
                  <a:cubicBezTo>
                    <a:pt x="3713" y="23"/>
                    <a:pt x="3658" y="28"/>
                    <a:pt x="3658" y="28"/>
                  </a:cubicBezTo>
                  <a:cubicBezTo>
                    <a:pt x="3660" y="18"/>
                    <a:pt x="3660" y="18"/>
                    <a:pt x="3660" y="18"/>
                  </a:cubicBezTo>
                  <a:cubicBezTo>
                    <a:pt x="3660" y="18"/>
                    <a:pt x="3625" y="10"/>
                    <a:pt x="3612" y="10"/>
                  </a:cubicBezTo>
                  <a:cubicBezTo>
                    <a:pt x="3599" y="10"/>
                    <a:pt x="3527" y="25"/>
                    <a:pt x="3527" y="25"/>
                  </a:cubicBezTo>
                  <a:cubicBezTo>
                    <a:pt x="3560" y="10"/>
                    <a:pt x="3560" y="10"/>
                    <a:pt x="3560" y="10"/>
                  </a:cubicBezTo>
                  <a:cubicBezTo>
                    <a:pt x="3515" y="12"/>
                    <a:pt x="3515" y="12"/>
                    <a:pt x="3515" y="12"/>
                  </a:cubicBezTo>
                  <a:cubicBezTo>
                    <a:pt x="3515" y="12"/>
                    <a:pt x="3479" y="0"/>
                    <a:pt x="3469" y="2"/>
                  </a:cubicBezTo>
                  <a:cubicBezTo>
                    <a:pt x="3458" y="4"/>
                    <a:pt x="3453" y="15"/>
                    <a:pt x="3453" y="15"/>
                  </a:cubicBezTo>
                  <a:cubicBezTo>
                    <a:pt x="3453" y="15"/>
                    <a:pt x="3427" y="3"/>
                    <a:pt x="3418" y="3"/>
                  </a:cubicBezTo>
                  <a:cubicBezTo>
                    <a:pt x="3409" y="3"/>
                    <a:pt x="3389" y="18"/>
                    <a:pt x="3389" y="18"/>
                  </a:cubicBezTo>
                  <a:cubicBezTo>
                    <a:pt x="3363" y="10"/>
                    <a:pt x="3363" y="10"/>
                    <a:pt x="3363" y="10"/>
                  </a:cubicBezTo>
                  <a:cubicBezTo>
                    <a:pt x="3290" y="7"/>
                    <a:pt x="3290" y="7"/>
                    <a:pt x="3290" y="7"/>
                  </a:cubicBezTo>
                  <a:cubicBezTo>
                    <a:pt x="3308" y="25"/>
                    <a:pt x="3308" y="25"/>
                    <a:pt x="3308" y="25"/>
                  </a:cubicBezTo>
                  <a:cubicBezTo>
                    <a:pt x="3266" y="11"/>
                    <a:pt x="3266" y="11"/>
                    <a:pt x="3266" y="11"/>
                  </a:cubicBezTo>
                  <a:cubicBezTo>
                    <a:pt x="3225" y="18"/>
                    <a:pt x="3225" y="18"/>
                    <a:pt x="3225" y="18"/>
                  </a:cubicBezTo>
                  <a:cubicBezTo>
                    <a:pt x="3225" y="18"/>
                    <a:pt x="3195" y="12"/>
                    <a:pt x="3179" y="12"/>
                  </a:cubicBezTo>
                  <a:cubicBezTo>
                    <a:pt x="3163" y="12"/>
                    <a:pt x="3114" y="24"/>
                    <a:pt x="3114" y="24"/>
                  </a:cubicBezTo>
                  <a:cubicBezTo>
                    <a:pt x="3172" y="42"/>
                    <a:pt x="3172" y="42"/>
                    <a:pt x="3172" y="42"/>
                  </a:cubicBezTo>
                  <a:cubicBezTo>
                    <a:pt x="3114" y="34"/>
                    <a:pt x="3114" y="34"/>
                    <a:pt x="3114" y="34"/>
                  </a:cubicBezTo>
                  <a:cubicBezTo>
                    <a:pt x="3114" y="34"/>
                    <a:pt x="3059" y="23"/>
                    <a:pt x="3034" y="25"/>
                  </a:cubicBezTo>
                  <a:cubicBezTo>
                    <a:pt x="3010" y="28"/>
                    <a:pt x="3018" y="42"/>
                    <a:pt x="3018" y="42"/>
                  </a:cubicBezTo>
                  <a:cubicBezTo>
                    <a:pt x="3018" y="42"/>
                    <a:pt x="2956" y="36"/>
                    <a:pt x="2943" y="36"/>
                  </a:cubicBezTo>
                  <a:cubicBezTo>
                    <a:pt x="2930" y="36"/>
                    <a:pt x="2830" y="46"/>
                    <a:pt x="2826" y="48"/>
                  </a:cubicBezTo>
                  <a:cubicBezTo>
                    <a:pt x="2823" y="50"/>
                    <a:pt x="2849" y="56"/>
                    <a:pt x="2849" y="56"/>
                  </a:cubicBezTo>
                  <a:cubicBezTo>
                    <a:pt x="2905" y="59"/>
                    <a:pt x="2905" y="59"/>
                    <a:pt x="2905" y="59"/>
                  </a:cubicBezTo>
                  <a:cubicBezTo>
                    <a:pt x="2850" y="67"/>
                    <a:pt x="2850" y="67"/>
                    <a:pt x="2850" y="67"/>
                  </a:cubicBezTo>
                  <a:cubicBezTo>
                    <a:pt x="2850" y="67"/>
                    <a:pt x="2870" y="76"/>
                    <a:pt x="2884" y="76"/>
                  </a:cubicBezTo>
                  <a:cubicBezTo>
                    <a:pt x="2898" y="76"/>
                    <a:pt x="2935" y="70"/>
                    <a:pt x="2935" y="70"/>
                  </a:cubicBezTo>
                  <a:cubicBezTo>
                    <a:pt x="2935" y="70"/>
                    <a:pt x="2960" y="62"/>
                    <a:pt x="2978" y="62"/>
                  </a:cubicBezTo>
                  <a:cubicBezTo>
                    <a:pt x="2997" y="62"/>
                    <a:pt x="3040" y="71"/>
                    <a:pt x="3040" y="71"/>
                  </a:cubicBezTo>
                  <a:cubicBezTo>
                    <a:pt x="3040" y="71"/>
                    <a:pt x="2989" y="72"/>
                    <a:pt x="2977" y="73"/>
                  </a:cubicBezTo>
                  <a:cubicBezTo>
                    <a:pt x="2965" y="74"/>
                    <a:pt x="2930" y="87"/>
                    <a:pt x="2930" y="87"/>
                  </a:cubicBezTo>
                  <a:cubicBezTo>
                    <a:pt x="2930" y="87"/>
                    <a:pt x="2958" y="87"/>
                    <a:pt x="2979" y="89"/>
                  </a:cubicBezTo>
                  <a:cubicBezTo>
                    <a:pt x="3001" y="91"/>
                    <a:pt x="3006" y="83"/>
                    <a:pt x="3006" y="83"/>
                  </a:cubicBezTo>
                  <a:cubicBezTo>
                    <a:pt x="3050" y="83"/>
                    <a:pt x="3050" y="83"/>
                    <a:pt x="3050" y="83"/>
                  </a:cubicBezTo>
                  <a:cubicBezTo>
                    <a:pt x="3050" y="83"/>
                    <a:pt x="3064" y="84"/>
                    <a:pt x="3081" y="84"/>
                  </a:cubicBezTo>
                  <a:cubicBezTo>
                    <a:pt x="3098" y="84"/>
                    <a:pt x="3138" y="73"/>
                    <a:pt x="3142" y="70"/>
                  </a:cubicBezTo>
                  <a:cubicBezTo>
                    <a:pt x="3147" y="66"/>
                    <a:pt x="3173" y="63"/>
                    <a:pt x="3186" y="59"/>
                  </a:cubicBezTo>
                  <a:cubicBezTo>
                    <a:pt x="3199" y="54"/>
                    <a:pt x="3220" y="59"/>
                    <a:pt x="3220" y="59"/>
                  </a:cubicBezTo>
                  <a:cubicBezTo>
                    <a:pt x="3162" y="76"/>
                    <a:pt x="3162" y="76"/>
                    <a:pt x="3162" y="76"/>
                  </a:cubicBezTo>
                  <a:cubicBezTo>
                    <a:pt x="3185" y="77"/>
                    <a:pt x="3185" y="77"/>
                    <a:pt x="3185" y="77"/>
                  </a:cubicBezTo>
                  <a:cubicBezTo>
                    <a:pt x="3153" y="87"/>
                    <a:pt x="3153" y="87"/>
                    <a:pt x="3153" y="87"/>
                  </a:cubicBezTo>
                  <a:cubicBezTo>
                    <a:pt x="3153" y="87"/>
                    <a:pt x="3040" y="92"/>
                    <a:pt x="3027" y="92"/>
                  </a:cubicBezTo>
                  <a:cubicBezTo>
                    <a:pt x="3014" y="92"/>
                    <a:pt x="3014" y="104"/>
                    <a:pt x="3014" y="104"/>
                  </a:cubicBezTo>
                  <a:cubicBezTo>
                    <a:pt x="3065" y="119"/>
                    <a:pt x="3065" y="119"/>
                    <a:pt x="3065" y="119"/>
                  </a:cubicBezTo>
                  <a:cubicBezTo>
                    <a:pt x="3065" y="119"/>
                    <a:pt x="3045" y="125"/>
                    <a:pt x="3033" y="125"/>
                  </a:cubicBezTo>
                  <a:cubicBezTo>
                    <a:pt x="3022" y="125"/>
                    <a:pt x="2974" y="99"/>
                    <a:pt x="2974" y="99"/>
                  </a:cubicBezTo>
                  <a:cubicBezTo>
                    <a:pt x="2974" y="99"/>
                    <a:pt x="2925" y="100"/>
                    <a:pt x="2912" y="100"/>
                  </a:cubicBezTo>
                  <a:cubicBezTo>
                    <a:pt x="2899" y="100"/>
                    <a:pt x="2891" y="115"/>
                    <a:pt x="2891" y="115"/>
                  </a:cubicBezTo>
                  <a:cubicBezTo>
                    <a:pt x="2912" y="126"/>
                    <a:pt x="2912" y="126"/>
                    <a:pt x="2912" y="126"/>
                  </a:cubicBezTo>
                  <a:cubicBezTo>
                    <a:pt x="2912" y="126"/>
                    <a:pt x="2923" y="142"/>
                    <a:pt x="2940" y="145"/>
                  </a:cubicBezTo>
                  <a:cubicBezTo>
                    <a:pt x="2956" y="148"/>
                    <a:pt x="2989" y="144"/>
                    <a:pt x="2989" y="144"/>
                  </a:cubicBezTo>
                  <a:cubicBezTo>
                    <a:pt x="2989" y="144"/>
                    <a:pt x="2981" y="153"/>
                    <a:pt x="2964" y="155"/>
                  </a:cubicBezTo>
                  <a:cubicBezTo>
                    <a:pt x="2948" y="157"/>
                    <a:pt x="2917" y="151"/>
                    <a:pt x="2909" y="149"/>
                  </a:cubicBezTo>
                  <a:cubicBezTo>
                    <a:pt x="2902" y="147"/>
                    <a:pt x="2846" y="157"/>
                    <a:pt x="2828" y="157"/>
                  </a:cubicBezTo>
                  <a:cubicBezTo>
                    <a:pt x="2809" y="157"/>
                    <a:pt x="2774" y="182"/>
                    <a:pt x="2774" y="182"/>
                  </a:cubicBezTo>
                  <a:cubicBezTo>
                    <a:pt x="2823" y="174"/>
                    <a:pt x="2823" y="174"/>
                    <a:pt x="2823" y="174"/>
                  </a:cubicBezTo>
                  <a:cubicBezTo>
                    <a:pt x="2821" y="186"/>
                    <a:pt x="2821" y="186"/>
                    <a:pt x="2821" y="186"/>
                  </a:cubicBezTo>
                  <a:cubicBezTo>
                    <a:pt x="2863" y="174"/>
                    <a:pt x="2863" y="174"/>
                    <a:pt x="2863" y="174"/>
                  </a:cubicBezTo>
                  <a:cubicBezTo>
                    <a:pt x="2816" y="192"/>
                    <a:pt x="2816" y="192"/>
                    <a:pt x="2816" y="192"/>
                  </a:cubicBezTo>
                  <a:cubicBezTo>
                    <a:pt x="2816" y="192"/>
                    <a:pt x="2824" y="203"/>
                    <a:pt x="2840" y="203"/>
                  </a:cubicBezTo>
                  <a:cubicBezTo>
                    <a:pt x="2857" y="203"/>
                    <a:pt x="2902" y="186"/>
                    <a:pt x="2902" y="186"/>
                  </a:cubicBezTo>
                  <a:cubicBezTo>
                    <a:pt x="2834" y="212"/>
                    <a:pt x="2834" y="212"/>
                    <a:pt x="2834" y="212"/>
                  </a:cubicBezTo>
                  <a:cubicBezTo>
                    <a:pt x="2789" y="209"/>
                    <a:pt x="2789" y="209"/>
                    <a:pt x="2789" y="209"/>
                  </a:cubicBezTo>
                  <a:cubicBezTo>
                    <a:pt x="2780" y="192"/>
                    <a:pt x="2780" y="192"/>
                    <a:pt x="2780" y="192"/>
                  </a:cubicBezTo>
                  <a:cubicBezTo>
                    <a:pt x="2780" y="192"/>
                    <a:pt x="2747" y="189"/>
                    <a:pt x="2737" y="191"/>
                  </a:cubicBezTo>
                  <a:cubicBezTo>
                    <a:pt x="2727" y="193"/>
                    <a:pt x="2741" y="218"/>
                    <a:pt x="2741" y="218"/>
                  </a:cubicBezTo>
                  <a:cubicBezTo>
                    <a:pt x="2741" y="218"/>
                    <a:pt x="2697" y="222"/>
                    <a:pt x="2691" y="222"/>
                  </a:cubicBezTo>
                  <a:cubicBezTo>
                    <a:pt x="2684" y="222"/>
                    <a:pt x="2654" y="237"/>
                    <a:pt x="2634" y="239"/>
                  </a:cubicBezTo>
                  <a:cubicBezTo>
                    <a:pt x="2622" y="240"/>
                    <a:pt x="2613" y="241"/>
                    <a:pt x="2610" y="241"/>
                  </a:cubicBezTo>
                  <a:cubicBezTo>
                    <a:pt x="2607" y="241"/>
                    <a:pt x="2626" y="247"/>
                    <a:pt x="2641" y="247"/>
                  </a:cubicBezTo>
                  <a:cubicBezTo>
                    <a:pt x="2656" y="247"/>
                    <a:pt x="2663" y="240"/>
                    <a:pt x="2663" y="240"/>
                  </a:cubicBezTo>
                  <a:cubicBezTo>
                    <a:pt x="2655" y="252"/>
                    <a:pt x="2655" y="252"/>
                    <a:pt x="2655" y="252"/>
                  </a:cubicBezTo>
                  <a:cubicBezTo>
                    <a:pt x="2680" y="247"/>
                    <a:pt x="2680" y="247"/>
                    <a:pt x="2680" y="247"/>
                  </a:cubicBezTo>
                  <a:cubicBezTo>
                    <a:pt x="2695" y="240"/>
                    <a:pt x="2695" y="240"/>
                    <a:pt x="2695" y="240"/>
                  </a:cubicBezTo>
                  <a:cubicBezTo>
                    <a:pt x="2695" y="248"/>
                    <a:pt x="2695" y="248"/>
                    <a:pt x="2695" y="248"/>
                  </a:cubicBezTo>
                  <a:cubicBezTo>
                    <a:pt x="2712" y="246"/>
                    <a:pt x="2712" y="246"/>
                    <a:pt x="2712" y="246"/>
                  </a:cubicBezTo>
                  <a:cubicBezTo>
                    <a:pt x="2728" y="244"/>
                    <a:pt x="2728" y="244"/>
                    <a:pt x="2728" y="244"/>
                  </a:cubicBezTo>
                  <a:cubicBezTo>
                    <a:pt x="2728" y="244"/>
                    <a:pt x="2729" y="253"/>
                    <a:pt x="2740" y="254"/>
                  </a:cubicBezTo>
                  <a:cubicBezTo>
                    <a:pt x="2751" y="255"/>
                    <a:pt x="2773" y="241"/>
                    <a:pt x="2773" y="241"/>
                  </a:cubicBezTo>
                  <a:cubicBezTo>
                    <a:pt x="2778" y="250"/>
                    <a:pt x="2778" y="250"/>
                    <a:pt x="2778" y="250"/>
                  </a:cubicBezTo>
                  <a:cubicBezTo>
                    <a:pt x="2796" y="240"/>
                    <a:pt x="2796" y="240"/>
                    <a:pt x="2796" y="240"/>
                  </a:cubicBezTo>
                  <a:cubicBezTo>
                    <a:pt x="2796" y="240"/>
                    <a:pt x="2802" y="248"/>
                    <a:pt x="2810" y="251"/>
                  </a:cubicBezTo>
                  <a:cubicBezTo>
                    <a:pt x="2819" y="253"/>
                    <a:pt x="2828" y="242"/>
                    <a:pt x="2828" y="242"/>
                  </a:cubicBezTo>
                  <a:cubicBezTo>
                    <a:pt x="2828" y="242"/>
                    <a:pt x="2837" y="250"/>
                    <a:pt x="2850" y="250"/>
                  </a:cubicBezTo>
                  <a:cubicBezTo>
                    <a:pt x="2863" y="250"/>
                    <a:pt x="2853" y="238"/>
                    <a:pt x="2853" y="238"/>
                  </a:cubicBezTo>
                  <a:cubicBezTo>
                    <a:pt x="2891" y="252"/>
                    <a:pt x="2891" y="252"/>
                    <a:pt x="2891" y="252"/>
                  </a:cubicBezTo>
                  <a:cubicBezTo>
                    <a:pt x="2891" y="252"/>
                    <a:pt x="2898" y="261"/>
                    <a:pt x="2902" y="261"/>
                  </a:cubicBezTo>
                  <a:cubicBezTo>
                    <a:pt x="2906" y="261"/>
                    <a:pt x="2964" y="248"/>
                    <a:pt x="2975" y="248"/>
                  </a:cubicBezTo>
                  <a:cubicBezTo>
                    <a:pt x="2986" y="248"/>
                    <a:pt x="3011" y="238"/>
                    <a:pt x="3015" y="231"/>
                  </a:cubicBezTo>
                  <a:cubicBezTo>
                    <a:pt x="3019" y="225"/>
                    <a:pt x="2973" y="230"/>
                    <a:pt x="2973" y="230"/>
                  </a:cubicBezTo>
                  <a:cubicBezTo>
                    <a:pt x="2973" y="230"/>
                    <a:pt x="2982" y="223"/>
                    <a:pt x="2975" y="220"/>
                  </a:cubicBezTo>
                  <a:cubicBezTo>
                    <a:pt x="2969" y="218"/>
                    <a:pt x="2943" y="220"/>
                    <a:pt x="2943" y="220"/>
                  </a:cubicBezTo>
                  <a:cubicBezTo>
                    <a:pt x="2905" y="214"/>
                    <a:pt x="2905" y="214"/>
                    <a:pt x="2905" y="214"/>
                  </a:cubicBezTo>
                  <a:cubicBezTo>
                    <a:pt x="2917" y="201"/>
                    <a:pt x="2917" y="201"/>
                    <a:pt x="2917" y="201"/>
                  </a:cubicBezTo>
                  <a:cubicBezTo>
                    <a:pt x="2959" y="215"/>
                    <a:pt x="2959" y="215"/>
                    <a:pt x="2959" y="215"/>
                  </a:cubicBezTo>
                  <a:cubicBezTo>
                    <a:pt x="2959" y="215"/>
                    <a:pt x="3014" y="212"/>
                    <a:pt x="3034" y="211"/>
                  </a:cubicBezTo>
                  <a:cubicBezTo>
                    <a:pt x="3055" y="210"/>
                    <a:pt x="3050" y="192"/>
                    <a:pt x="3050" y="192"/>
                  </a:cubicBezTo>
                  <a:cubicBezTo>
                    <a:pt x="3050" y="192"/>
                    <a:pt x="3075" y="187"/>
                    <a:pt x="3094" y="187"/>
                  </a:cubicBezTo>
                  <a:cubicBezTo>
                    <a:pt x="3112" y="187"/>
                    <a:pt x="3150" y="178"/>
                    <a:pt x="3150" y="178"/>
                  </a:cubicBezTo>
                  <a:cubicBezTo>
                    <a:pt x="3132" y="167"/>
                    <a:pt x="3132" y="167"/>
                    <a:pt x="3132" y="167"/>
                  </a:cubicBezTo>
                  <a:cubicBezTo>
                    <a:pt x="3132" y="167"/>
                    <a:pt x="3155" y="167"/>
                    <a:pt x="3180" y="161"/>
                  </a:cubicBezTo>
                  <a:cubicBezTo>
                    <a:pt x="3205" y="156"/>
                    <a:pt x="3147" y="146"/>
                    <a:pt x="3147" y="146"/>
                  </a:cubicBezTo>
                  <a:cubicBezTo>
                    <a:pt x="3147" y="146"/>
                    <a:pt x="3115" y="147"/>
                    <a:pt x="3104" y="143"/>
                  </a:cubicBezTo>
                  <a:cubicBezTo>
                    <a:pt x="3094" y="139"/>
                    <a:pt x="3152" y="125"/>
                    <a:pt x="3155" y="126"/>
                  </a:cubicBezTo>
                  <a:cubicBezTo>
                    <a:pt x="3158" y="127"/>
                    <a:pt x="3200" y="131"/>
                    <a:pt x="3200" y="131"/>
                  </a:cubicBezTo>
                  <a:cubicBezTo>
                    <a:pt x="3200" y="131"/>
                    <a:pt x="3248" y="129"/>
                    <a:pt x="3263" y="126"/>
                  </a:cubicBezTo>
                  <a:cubicBezTo>
                    <a:pt x="3278" y="122"/>
                    <a:pt x="3229" y="120"/>
                    <a:pt x="3247" y="113"/>
                  </a:cubicBezTo>
                  <a:cubicBezTo>
                    <a:pt x="3264" y="105"/>
                    <a:pt x="3296" y="119"/>
                    <a:pt x="3316" y="119"/>
                  </a:cubicBezTo>
                  <a:cubicBezTo>
                    <a:pt x="3335" y="119"/>
                    <a:pt x="3328" y="102"/>
                    <a:pt x="3328" y="102"/>
                  </a:cubicBezTo>
                  <a:cubicBezTo>
                    <a:pt x="3376" y="105"/>
                    <a:pt x="3376" y="105"/>
                    <a:pt x="3376" y="105"/>
                  </a:cubicBezTo>
                  <a:cubicBezTo>
                    <a:pt x="3379" y="91"/>
                    <a:pt x="3379" y="91"/>
                    <a:pt x="3379" y="91"/>
                  </a:cubicBezTo>
                  <a:cubicBezTo>
                    <a:pt x="3379" y="91"/>
                    <a:pt x="3392" y="95"/>
                    <a:pt x="3401" y="95"/>
                  </a:cubicBezTo>
                  <a:cubicBezTo>
                    <a:pt x="3409" y="95"/>
                    <a:pt x="3440" y="83"/>
                    <a:pt x="3440" y="83"/>
                  </a:cubicBezTo>
                  <a:cubicBezTo>
                    <a:pt x="3440" y="83"/>
                    <a:pt x="3499" y="73"/>
                    <a:pt x="3531" y="67"/>
                  </a:cubicBezTo>
                  <a:cubicBezTo>
                    <a:pt x="3564" y="62"/>
                    <a:pt x="3567" y="57"/>
                    <a:pt x="3562" y="57"/>
                  </a:cubicBezTo>
                  <a:cubicBezTo>
                    <a:pt x="3558" y="57"/>
                    <a:pt x="3491" y="60"/>
                    <a:pt x="3491" y="60"/>
                  </a:cubicBezTo>
                  <a:cubicBezTo>
                    <a:pt x="3474" y="67"/>
                    <a:pt x="3474" y="67"/>
                    <a:pt x="3474" y="67"/>
                  </a:cubicBezTo>
                  <a:cubicBezTo>
                    <a:pt x="3428" y="64"/>
                    <a:pt x="3428" y="64"/>
                    <a:pt x="3428" y="64"/>
                  </a:cubicBezTo>
                  <a:cubicBezTo>
                    <a:pt x="3481" y="61"/>
                    <a:pt x="3481" y="61"/>
                    <a:pt x="3481" y="61"/>
                  </a:cubicBezTo>
                  <a:cubicBezTo>
                    <a:pt x="3479" y="52"/>
                    <a:pt x="3479" y="52"/>
                    <a:pt x="3479" y="52"/>
                  </a:cubicBezTo>
                  <a:cubicBezTo>
                    <a:pt x="3512" y="57"/>
                    <a:pt x="3512" y="57"/>
                    <a:pt x="3512" y="57"/>
                  </a:cubicBezTo>
                  <a:cubicBezTo>
                    <a:pt x="3512" y="57"/>
                    <a:pt x="3517" y="49"/>
                    <a:pt x="3526" y="49"/>
                  </a:cubicBezTo>
                  <a:cubicBezTo>
                    <a:pt x="3534" y="49"/>
                    <a:pt x="3635" y="45"/>
                    <a:pt x="3653" y="44"/>
                  </a:cubicBezTo>
                  <a:cubicBezTo>
                    <a:pt x="3671" y="43"/>
                    <a:pt x="3718" y="30"/>
                    <a:pt x="3715" y="26"/>
                  </a:cubicBezTo>
                  <a:close/>
                  <a:moveTo>
                    <a:pt x="2687" y="644"/>
                  </a:moveTo>
                  <a:cubicBezTo>
                    <a:pt x="2722" y="650"/>
                    <a:pt x="2732" y="643"/>
                    <a:pt x="2747" y="633"/>
                  </a:cubicBezTo>
                  <a:cubicBezTo>
                    <a:pt x="2763" y="624"/>
                    <a:pt x="2759" y="608"/>
                    <a:pt x="2745" y="604"/>
                  </a:cubicBezTo>
                  <a:cubicBezTo>
                    <a:pt x="2731" y="601"/>
                    <a:pt x="2698" y="610"/>
                    <a:pt x="2698" y="610"/>
                  </a:cubicBezTo>
                  <a:cubicBezTo>
                    <a:pt x="2660" y="634"/>
                    <a:pt x="2652" y="639"/>
                    <a:pt x="2687" y="644"/>
                  </a:cubicBezTo>
                  <a:close/>
                  <a:moveTo>
                    <a:pt x="2674" y="560"/>
                  </a:moveTo>
                  <a:cubicBezTo>
                    <a:pt x="2658" y="565"/>
                    <a:pt x="2633" y="576"/>
                    <a:pt x="2657" y="571"/>
                  </a:cubicBezTo>
                  <a:cubicBezTo>
                    <a:pt x="2680" y="566"/>
                    <a:pt x="2700" y="558"/>
                    <a:pt x="2700" y="558"/>
                  </a:cubicBezTo>
                  <a:cubicBezTo>
                    <a:pt x="2724" y="540"/>
                    <a:pt x="2690" y="555"/>
                    <a:pt x="2674" y="560"/>
                  </a:cubicBezTo>
                  <a:close/>
                  <a:moveTo>
                    <a:pt x="2747" y="549"/>
                  </a:moveTo>
                  <a:cubicBezTo>
                    <a:pt x="2733" y="543"/>
                    <a:pt x="2722" y="562"/>
                    <a:pt x="2735" y="566"/>
                  </a:cubicBezTo>
                  <a:cubicBezTo>
                    <a:pt x="2735" y="566"/>
                    <a:pt x="2761" y="555"/>
                    <a:pt x="2747" y="549"/>
                  </a:cubicBezTo>
                  <a:close/>
                  <a:moveTo>
                    <a:pt x="2349" y="710"/>
                  </a:moveTo>
                  <a:cubicBezTo>
                    <a:pt x="2337" y="712"/>
                    <a:pt x="2327" y="729"/>
                    <a:pt x="2346" y="729"/>
                  </a:cubicBezTo>
                  <a:cubicBezTo>
                    <a:pt x="2357" y="729"/>
                    <a:pt x="2362" y="708"/>
                    <a:pt x="2349" y="710"/>
                  </a:cubicBezTo>
                  <a:close/>
                  <a:moveTo>
                    <a:pt x="2390" y="712"/>
                  </a:moveTo>
                  <a:cubicBezTo>
                    <a:pt x="2374" y="710"/>
                    <a:pt x="2385" y="727"/>
                    <a:pt x="2385" y="727"/>
                  </a:cubicBezTo>
                  <a:cubicBezTo>
                    <a:pt x="2396" y="726"/>
                    <a:pt x="2405" y="713"/>
                    <a:pt x="2390" y="712"/>
                  </a:cubicBezTo>
                  <a:close/>
                  <a:moveTo>
                    <a:pt x="2500" y="829"/>
                  </a:moveTo>
                  <a:cubicBezTo>
                    <a:pt x="2477" y="841"/>
                    <a:pt x="2509" y="849"/>
                    <a:pt x="2509" y="849"/>
                  </a:cubicBezTo>
                  <a:cubicBezTo>
                    <a:pt x="2532" y="836"/>
                    <a:pt x="2524" y="816"/>
                    <a:pt x="2500" y="829"/>
                  </a:cubicBezTo>
                  <a:close/>
                  <a:moveTo>
                    <a:pt x="2653" y="1691"/>
                  </a:moveTo>
                  <a:cubicBezTo>
                    <a:pt x="2633" y="1687"/>
                    <a:pt x="2622" y="1678"/>
                    <a:pt x="2622" y="1678"/>
                  </a:cubicBezTo>
                  <a:cubicBezTo>
                    <a:pt x="2612" y="1687"/>
                    <a:pt x="2612" y="1687"/>
                    <a:pt x="2612" y="1687"/>
                  </a:cubicBezTo>
                  <a:cubicBezTo>
                    <a:pt x="2612" y="1687"/>
                    <a:pt x="2629" y="1696"/>
                    <a:pt x="2633" y="1699"/>
                  </a:cubicBezTo>
                  <a:cubicBezTo>
                    <a:pt x="2637" y="1702"/>
                    <a:pt x="2656" y="1701"/>
                    <a:pt x="2656" y="1701"/>
                  </a:cubicBezTo>
                  <a:cubicBezTo>
                    <a:pt x="2656" y="1701"/>
                    <a:pt x="2666" y="1706"/>
                    <a:pt x="2676" y="1705"/>
                  </a:cubicBezTo>
                  <a:cubicBezTo>
                    <a:pt x="2687" y="1704"/>
                    <a:pt x="2691" y="1693"/>
                    <a:pt x="2691" y="1693"/>
                  </a:cubicBezTo>
                  <a:cubicBezTo>
                    <a:pt x="2691" y="1693"/>
                    <a:pt x="2674" y="1695"/>
                    <a:pt x="2653" y="1691"/>
                  </a:cubicBezTo>
                  <a:close/>
                  <a:moveTo>
                    <a:pt x="2731" y="1524"/>
                  </a:moveTo>
                  <a:cubicBezTo>
                    <a:pt x="2731" y="1524"/>
                    <a:pt x="2698" y="1516"/>
                    <a:pt x="2671" y="1515"/>
                  </a:cubicBezTo>
                  <a:cubicBezTo>
                    <a:pt x="2644" y="1514"/>
                    <a:pt x="2686" y="1526"/>
                    <a:pt x="2686" y="1526"/>
                  </a:cubicBezTo>
                  <a:cubicBezTo>
                    <a:pt x="2686" y="1536"/>
                    <a:pt x="2686" y="1536"/>
                    <a:pt x="2686" y="1536"/>
                  </a:cubicBezTo>
                  <a:cubicBezTo>
                    <a:pt x="2686" y="1536"/>
                    <a:pt x="2719" y="1541"/>
                    <a:pt x="2748" y="1546"/>
                  </a:cubicBezTo>
                  <a:cubicBezTo>
                    <a:pt x="2777" y="1551"/>
                    <a:pt x="2804" y="1540"/>
                    <a:pt x="2731" y="1524"/>
                  </a:cubicBezTo>
                  <a:close/>
                  <a:moveTo>
                    <a:pt x="2793" y="1702"/>
                  </a:moveTo>
                  <a:cubicBezTo>
                    <a:pt x="2780" y="1699"/>
                    <a:pt x="2766" y="1706"/>
                    <a:pt x="2761" y="1709"/>
                  </a:cubicBezTo>
                  <a:cubicBezTo>
                    <a:pt x="2765" y="1706"/>
                    <a:pt x="2774" y="1700"/>
                    <a:pt x="2783" y="1690"/>
                  </a:cubicBezTo>
                  <a:cubicBezTo>
                    <a:pt x="2795" y="1677"/>
                    <a:pt x="2764" y="1676"/>
                    <a:pt x="2750" y="1692"/>
                  </a:cubicBezTo>
                  <a:cubicBezTo>
                    <a:pt x="2744" y="1706"/>
                    <a:pt x="2744" y="1706"/>
                    <a:pt x="2744" y="1706"/>
                  </a:cubicBezTo>
                  <a:cubicBezTo>
                    <a:pt x="2736" y="1720"/>
                    <a:pt x="2736" y="1720"/>
                    <a:pt x="2736" y="1720"/>
                  </a:cubicBezTo>
                  <a:cubicBezTo>
                    <a:pt x="2773" y="1715"/>
                    <a:pt x="2773" y="1715"/>
                    <a:pt x="2773" y="1715"/>
                  </a:cubicBezTo>
                  <a:cubicBezTo>
                    <a:pt x="2773" y="1715"/>
                    <a:pt x="2810" y="1706"/>
                    <a:pt x="2793" y="1702"/>
                  </a:cubicBezTo>
                  <a:close/>
                  <a:moveTo>
                    <a:pt x="3058" y="1312"/>
                  </a:moveTo>
                  <a:cubicBezTo>
                    <a:pt x="3051" y="1320"/>
                    <a:pt x="3052" y="1335"/>
                    <a:pt x="3037" y="1324"/>
                  </a:cubicBezTo>
                  <a:cubicBezTo>
                    <a:pt x="3022" y="1313"/>
                    <a:pt x="3046" y="1306"/>
                    <a:pt x="3046" y="1306"/>
                  </a:cubicBezTo>
                  <a:cubicBezTo>
                    <a:pt x="3043" y="1289"/>
                    <a:pt x="3043" y="1289"/>
                    <a:pt x="3043" y="1289"/>
                  </a:cubicBezTo>
                  <a:cubicBezTo>
                    <a:pt x="3023" y="1288"/>
                    <a:pt x="3023" y="1288"/>
                    <a:pt x="3023" y="1288"/>
                  </a:cubicBezTo>
                  <a:cubicBezTo>
                    <a:pt x="3023" y="1288"/>
                    <a:pt x="2977" y="1308"/>
                    <a:pt x="2974" y="1312"/>
                  </a:cubicBezTo>
                  <a:cubicBezTo>
                    <a:pt x="2971" y="1316"/>
                    <a:pt x="2935" y="1320"/>
                    <a:pt x="2935" y="1320"/>
                  </a:cubicBezTo>
                  <a:cubicBezTo>
                    <a:pt x="2914" y="1334"/>
                    <a:pt x="2914" y="1334"/>
                    <a:pt x="2914" y="1334"/>
                  </a:cubicBezTo>
                  <a:cubicBezTo>
                    <a:pt x="2922" y="1319"/>
                    <a:pt x="2922" y="1319"/>
                    <a:pt x="2922" y="1319"/>
                  </a:cubicBezTo>
                  <a:cubicBezTo>
                    <a:pt x="2907" y="1308"/>
                    <a:pt x="2907" y="1308"/>
                    <a:pt x="2907" y="1308"/>
                  </a:cubicBezTo>
                  <a:cubicBezTo>
                    <a:pt x="2930" y="1313"/>
                    <a:pt x="2930" y="1313"/>
                    <a:pt x="2930" y="1313"/>
                  </a:cubicBezTo>
                  <a:cubicBezTo>
                    <a:pt x="2940" y="1305"/>
                    <a:pt x="2940" y="1305"/>
                    <a:pt x="2940" y="1305"/>
                  </a:cubicBezTo>
                  <a:cubicBezTo>
                    <a:pt x="2958" y="1304"/>
                    <a:pt x="2958" y="1304"/>
                    <a:pt x="2958" y="1304"/>
                  </a:cubicBezTo>
                  <a:cubicBezTo>
                    <a:pt x="2960" y="1291"/>
                    <a:pt x="2960" y="1291"/>
                    <a:pt x="2960" y="1291"/>
                  </a:cubicBezTo>
                  <a:cubicBezTo>
                    <a:pt x="2960" y="1291"/>
                    <a:pt x="2981" y="1294"/>
                    <a:pt x="2993" y="1289"/>
                  </a:cubicBezTo>
                  <a:cubicBezTo>
                    <a:pt x="3005" y="1284"/>
                    <a:pt x="3022" y="1275"/>
                    <a:pt x="3022" y="1275"/>
                  </a:cubicBezTo>
                  <a:cubicBezTo>
                    <a:pt x="3022" y="1275"/>
                    <a:pt x="3070" y="1280"/>
                    <a:pt x="3069" y="1275"/>
                  </a:cubicBezTo>
                  <a:cubicBezTo>
                    <a:pt x="3068" y="1270"/>
                    <a:pt x="3050" y="1262"/>
                    <a:pt x="3050" y="1262"/>
                  </a:cubicBezTo>
                  <a:cubicBezTo>
                    <a:pt x="3049" y="1246"/>
                    <a:pt x="3049" y="1246"/>
                    <a:pt x="3049" y="1246"/>
                  </a:cubicBezTo>
                  <a:cubicBezTo>
                    <a:pt x="3049" y="1246"/>
                    <a:pt x="3021" y="1255"/>
                    <a:pt x="3015" y="1254"/>
                  </a:cubicBezTo>
                  <a:cubicBezTo>
                    <a:pt x="3009" y="1253"/>
                    <a:pt x="3007" y="1241"/>
                    <a:pt x="3007" y="1241"/>
                  </a:cubicBezTo>
                  <a:cubicBezTo>
                    <a:pt x="2967" y="1253"/>
                    <a:pt x="2967" y="1253"/>
                    <a:pt x="2967" y="1253"/>
                  </a:cubicBezTo>
                  <a:cubicBezTo>
                    <a:pt x="2969" y="1233"/>
                    <a:pt x="2969" y="1233"/>
                    <a:pt x="2969" y="1233"/>
                  </a:cubicBezTo>
                  <a:cubicBezTo>
                    <a:pt x="2940" y="1243"/>
                    <a:pt x="2940" y="1243"/>
                    <a:pt x="2940" y="1243"/>
                  </a:cubicBezTo>
                  <a:cubicBezTo>
                    <a:pt x="2940" y="1243"/>
                    <a:pt x="2971" y="1208"/>
                    <a:pt x="2963" y="1204"/>
                  </a:cubicBezTo>
                  <a:cubicBezTo>
                    <a:pt x="2955" y="1200"/>
                    <a:pt x="2930" y="1200"/>
                    <a:pt x="2930" y="1200"/>
                  </a:cubicBezTo>
                  <a:cubicBezTo>
                    <a:pt x="2933" y="1184"/>
                    <a:pt x="2933" y="1184"/>
                    <a:pt x="2933" y="1184"/>
                  </a:cubicBezTo>
                  <a:cubicBezTo>
                    <a:pt x="2911" y="1184"/>
                    <a:pt x="2911" y="1184"/>
                    <a:pt x="2911" y="1184"/>
                  </a:cubicBezTo>
                  <a:cubicBezTo>
                    <a:pt x="2920" y="1170"/>
                    <a:pt x="2920" y="1170"/>
                    <a:pt x="2920" y="1170"/>
                  </a:cubicBezTo>
                  <a:cubicBezTo>
                    <a:pt x="2902" y="1154"/>
                    <a:pt x="2902" y="1154"/>
                    <a:pt x="2902" y="1154"/>
                  </a:cubicBezTo>
                  <a:cubicBezTo>
                    <a:pt x="2902" y="1154"/>
                    <a:pt x="2932" y="1161"/>
                    <a:pt x="2940" y="1155"/>
                  </a:cubicBezTo>
                  <a:cubicBezTo>
                    <a:pt x="2948" y="1149"/>
                    <a:pt x="2959" y="1144"/>
                    <a:pt x="2959" y="1144"/>
                  </a:cubicBezTo>
                  <a:cubicBezTo>
                    <a:pt x="2929" y="1126"/>
                    <a:pt x="2929" y="1126"/>
                    <a:pt x="2929" y="1126"/>
                  </a:cubicBezTo>
                  <a:cubicBezTo>
                    <a:pt x="2962" y="1107"/>
                    <a:pt x="2962" y="1107"/>
                    <a:pt x="2962" y="1107"/>
                  </a:cubicBezTo>
                  <a:cubicBezTo>
                    <a:pt x="2929" y="1092"/>
                    <a:pt x="2929" y="1092"/>
                    <a:pt x="2929" y="1092"/>
                  </a:cubicBezTo>
                  <a:cubicBezTo>
                    <a:pt x="2899" y="1093"/>
                    <a:pt x="2899" y="1093"/>
                    <a:pt x="2899" y="1093"/>
                  </a:cubicBezTo>
                  <a:cubicBezTo>
                    <a:pt x="2935" y="1080"/>
                    <a:pt x="2935" y="1080"/>
                    <a:pt x="2935" y="1080"/>
                  </a:cubicBezTo>
                  <a:cubicBezTo>
                    <a:pt x="2910" y="1074"/>
                    <a:pt x="2910" y="1074"/>
                    <a:pt x="2910" y="1074"/>
                  </a:cubicBezTo>
                  <a:cubicBezTo>
                    <a:pt x="2940" y="1060"/>
                    <a:pt x="2940" y="1060"/>
                    <a:pt x="2940" y="1060"/>
                  </a:cubicBezTo>
                  <a:cubicBezTo>
                    <a:pt x="2935" y="1044"/>
                    <a:pt x="2935" y="1044"/>
                    <a:pt x="2935" y="1044"/>
                  </a:cubicBezTo>
                  <a:cubicBezTo>
                    <a:pt x="2913" y="1042"/>
                    <a:pt x="2913" y="1042"/>
                    <a:pt x="2913" y="1042"/>
                  </a:cubicBezTo>
                  <a:cubicBezTo>
                    <a:pt x="2913" y="1042"/>
                    <a:pt x="2931" y="1032"/>
                    <a:pt x="2923" y="1013"/>
                  </a:cubicBezTo>
                  <a:cubicBezTo>
                    <a:pt x="2915" y="994"/>
                    <a:pt x="2907" y="997"/>
                    <a:pt x="2907" y="997"/>
                  </a:cubicBezTo>
                  <a:cubicBezTo>
                    <a:pt x="2916" y="983"/>
                    <a:pt x="2916" y="983"/>
                    <a:pt x="2916" y="983"/>
                  </a:cubicBezTo>
                  <a:cubicBezTo>
                    <a:pt x="2916" y="983"/>
                    <a:pt x="2892" y="994"/>
                    <a:pt x="2887" y="1001"/>
                  </a:cubicBezTo>
                  <a:cubicBezTo>
                    <a:pt x="2882" y="1008"/>
                    <a:pt x="2886" y="1014"/>
                    <a:pt x="2886" y="1014"/>
                  </a:cubicBezTo>
                  <a:cubicBezTo>
                    <a:pt x="2867" y="1008"/>
                    <a:pt x="2867" y="1008"/>
                    <a:pt x="2867" y="1008"/>
                  </a:cubicBezTo>
                  <a:cubicBezTo>
                    <a:pt x="2871" y="1030"/>
                    <a:pt x="2871" y="1030"/>
                    <a:pt x="2871" y="1030"/>
                  </a:cubicBezTo>
                  <a:cubicBezTo>
                    <a:pt x="2853" y="1029"/>
                    <a:pt x="2853" y="1029"/>
                    <a:pt x="2853" y="1029"/>
                  </a:cubicBezTo>
                  <a:cubicBezTo>
                    <a:pt x="2845" y="1043"/>
                    <a:pt x="2845" y="1043"/>
                    <a:pt x="2845" y="1043"/>
                  </a:cubicBezTo>
                  <a:cubicBezTo>
                    <a:pt x="2850" y="1049"/>
                    <a:pt x="2850" y="1049"/>
                    <a:pt x="2850" y="1049"/>
                  </a:cubicBezTo>
                  <a:cubicBezTo>
                    <a:pt x="2834" y="1050"/>
                    <a:pt x="2834" y="1050"/>
                    <a:pt x="2834" y="1050"/>
                  </a:cubicBezTo>
                  <a:cubicBezTo>
                    <a:pt x="2819" y="1080"/>
                    <a:pt x="2819" y="1080"/>
                    <a:pt x="2819" y="1080"/>
                  </a:cubicBezTo>
                  <a:cubicBezTo>
                    <a:pt x="2811" y="1080"/>
                    <a:pt x="2811" y="1080"/>
                    <a:pt x="2811" y="1080"/>
                  </a:cubicBezTo>
                  <a:cubicBezTo>
                    <a:pt x="2821" y="1055"/>
                    <a:pt x="2821" y="1055"/>
                    <a:pt x="2821" y="1055"/>
                  </a:cubicBezTo>
                  <a:cubicBezTo>
                    <a:pt x="2821" y="1055"/>
                    <a:pt x="2811" y="1040"/>
                    <a:pt x="2802" y="1049"/>
                  </a:cubicBezTo>
                  <a:cubicBezTo>
                    <a:pt x="2793" y="1058"/>
                    <a:pt x="2781" y="1071"/>
                    <a:pt x="2774" y="1072"/>
                  </a:cubicBezTo>
                  <a:cubicBezTo>
                    <a:pt x="2767" y="1073"/>
                    <a:pt x="2739" y="1094"/>
                    <a:pt x="2739" y="1094"/>
                  </a:cubicBezTo>
                  <a:cubicBezTo>
                    <a:pt x="2744" y="1079"/>
                    <a:pt x="2744" y="1079"/>
                    <a:pt x="2744" y="1079"/>
                  </a:cubicBezTo>
                  <a:cubicBezTo>
                    <a:pt x="2743" y="1068"/>
                    <a:pt x="2743" y="1068"/>
                    <a:pt x="2743" y="1068"/>
                  </a:cubicBezTo>
                  <a:cubicBezTo>
                    <a:pt x="2718" y="1089"/>
                    <a:pt x="2718" y="1089"/>
                    <a:pt x="2718" y="1089"/>
                  </a:cubicBezTo>
                  <a:cubicBezTo>
                    <a:pt x="2674" y="1099"/>
                    <a:pt x="2674" y="1099"/>
                    <a:pt x="2674" y="1099"/>
                  </a:cubicBezTo>
                  <a:cubicBezTo>
                    <a:pt x="2715" y="1085"/>
                    <a:pt x="2715" y="1085"/>
                    <a:pt x="2715" y="1085"/>
                  </a:cubicBezTo>
                  <a:cubicBezTo>
                    <a:pt x="2715" y="1085"/>
                    <a:pt x="2739" y="1058"/>
                    <a:pt x="2726" y="1052"/>
                  </a:cubicBezTo>
                  <a:cubicBezTo>
                    <a:pt x="2713" y="1046"/>
                    <a:pt x="2698" y="1052"/>
                    <a:pt x="2698" y="1052"/>
                  </a:cubicBezTo>
                  <a:cubicBezTo>
                    <a:pt x="2698" y="1052"/>
                    <a:pt x="2665" y="1067"/>
                    <a:pt x="2667" y="1056"/>
                  </a:cubicBezTo>
                  <a:cubicBezTo>
                    <a:pt x="2669" y="1045"/>
                    <a:pt x="2686" y="1042"/>
                    <a:pt x="2686" y="1042"/>
                  </a:cubicBezTo>
                  <a:cubicBezTo>
                    <a:pt x="2685" y="1049"/>
                    <a:pt x="2685" y="1049"/>
                    <a:pt x="2685" y="1049"/>
                  </a:cubicBezTo>
                  <a:cubicBezTo>
                    <a:pt x="2699" y="1044"/>
                    <a:pt x="2699" y="1044"/>
                    <a:pt x="2699" y="1044"/>
                  </a:cubicBezTo>
                  <a:cubicBezTo>
                    <a:pt x="2696" y="1025"/>
                    <a:pt x="2696" y="1025"/>
                    <a:pt x="2696" y="1025"/>
                  </a:cubicBezTo>
                  <a:cubicBezTo>
                    <a:pt x="2696" y="1025"/>
                    <a:pt x="2721" y="1011"/>
                    <a:pt x="2712" y="1004"/>
                  </a:cubicBezTo>
                  <a:cubicBezTo>
                    <a:pt x="2703" y="997"/>
                    <a:pt x="2676" y="993"/>
                    <a:pt x="2676" y="993"/>
                  </a:cubicBezTo>
                  <a:cubicBezTo>
                    <a:pt x="2676" y="993"/>
                    <a:pt x="2721" y="995"/>
                    <a:pt x="2724" y="983"/>
                  </a:cubicBezTo>
                  <a:cubicBezTo>
                    <a:pt x="2727" y="971"/>
                    <a:pt x="2730" y="968"/>
                    <a:pt x="2736" y="964"/>
                  </a:cubicBezTo>
                  <a:cubicBezTo>
                    <a:pt x="2742" y="960"/>
                    <a:pt x="2762" y="959"/>
                    <a:pt x="2752" y="950"/>
                  </a:cubicBezTo>
                  <a:cubicBezTo>
                    <a:pt x="2742" y="941"/>
                    <a:pt x="2732" y="957"/>
                    <a:pt x="2732" y="957"/>
                  </a:cubicBezTo>
                  <a:cubicBezTo>
                    <a:pt x="2726" y="940"/>
                    <a:pt x="2726" y="940"/>
                    <a:pt x="2726" y="940"/>
                  </a:cubicBezTo>
                  <a:cubicBezTo>
                    <a:pt x="2726" y="940"/>
                    <a:pt x="2695" y="941"/>
                    <a:pt x="2686" y="941"/>
                  </a:cubicBezTo>
                  <a:cubicBezTo>
                    <a:pt x="2677" y="941"/>
                    <a:pt x="2675" y="926"/>
                    <a:pt x="2683" y="923"/>
                  </a:cubicBezTo>
                  <a:cubicBezTo>
                    <a:pt x="2691" y="920"/>
                    <a:pt x="2692" y="913"/>
                    <a:pt x="2685" y="911"/>
                  </a:cubicBezTo>
                  <a:cubicBezTo>
                    <a:pt x="2678" y="909"/>
                    <a:pt x="2672" y="916"/>
                    <a:pt x="2672" y="916"/>
                  </a:cubicBezTo>
                  <a:cubicBezTo>
                    <a:pt x="2677" y="900"/>
                    <a:pt x="2677" y="900"/>
                    <a:pt x="2677" y="900"/>
                  </a:cubicBezTo>
                  <a:cubicBezTo>
                    <a:pt x="2653" y="904"/>
                    <a:pt x="2653" y="904"/>
                    <a:pt x="2653" y="904"/>
                  </a:cubicBezTo>
                  <a:cubicBezTo>
                    <a:pt x="2653" y="904"/>
                    <a:pt x="2657" y="875"/>
                    <a:pt x="2640" y="875"/>
                  </a:cubicBezTo>
                  <a:cubicBezTo>
                    <a:pt x="2623" y="875"/>
                    <a:pt x="2595" y="892"/>
                    <a:pt x="2595" y="892"/>
                  </a:cubicBezTo>
                  <a:cubicBezTo>
                    <a:pt x="2595" y="892"/>
                    <a:pt x="2587" y="881"/>
                    <a:pt x="2579" y="881"/>
                  </a:cubicBezTo>
                  <a:cubicBezTo>
                    <a:pt x="2571" y="881"/>
                    <a:pt x="2554" y="890"/>
                    <a:pt x="2554" y="890"/>
                  </a:cubicBezTo>
                  <a:cubicBezTo>
                    <a:pt x="2554" y="890"/>
                    <a:pt x="2508" y="868"/>
                    <a:pt x="2492" y="871"/>
                  </a:cubicBezTo>
                  <a:cubicBezTo>
                    <a:pt x="2476" y="874"/>
                    <a:pt x="2470" y="886"/>
                    <a:pt x="2470" y="886"/>
                  </a:cubicBezTo>
                  <a:cubicBezTo>
                    <a:pt x="2470" y="886"/>
                    <a:pt x="2449" y="896"/>
                    <a:pt x="2456" y="904"/>
                  </a:cubicBezTo>
                  <a:cubicBezTo>
                    <a:pt x="2463" y="912"/>
                    <a:pt x="2476" y="913"/>
                    <a:pt x="2470" y="921"/>
                  </a:cubicBezTo>
                  <a:cubicBezTo>
                    <a:pt x="2464" y="929"/>
                    <a:pt x="2439" y="945"/>
                    <a:pt x="2439" y="945"/>
                  </a:cubicBezTo>
                  <a:cubicBezTo>
                    <a:pt x="2421" y="952"/>
                    <a:pt x="2421" y="952"/>
                    <a:pt x="2421" y="952"/>
                  </a:cubicBezTo>
                  <a:cubicBezTo>
                    <a:pt x="2438" y="961"/>
                    <a:pt x="2438" y="961"/>
                    <a:pt x="2438" y="961"/>
                  </a:cubicBezTo>
                  <a:cubicBezTo>
                    <a:pt x="2438" y="961"/>
                    <a:pt x="2423" y="968"/>
                    <a:pt x="2422" y="977"/>
                  </a:cubicBezTo>
                  <a:cubicBezTo>
                    <a:pt x="2421" y="986"/>
                    <a:pt x="2429" y="993"/>
                    <a:pt x="2421" y="1003"/>
                  </a:cubicBezTo>
                  <a:cubicBezTo>
                    <a:pt x="2413" y="1013"/>
                    <a:pt x="2406" y="1005"/>
                    <a:pt x="2393" y="1013"/>
                  </a:cubicBezTo>
                  <a:cubicBezTo>
                    <a:pt x="2380" y="1021"/>
                    <a:pt x="2382" y="1034"/>
                    <a:pt x="2382" y="1034"/>
                  </a:cubicBezTo>
                  <a:cubicBezTo>
                    <a:pt x="2382" y="1034"/>
                    <a:pt x="2366" y="1037"/>
                    <a:pt x="2360" y="1043"/>
                  </a:cubicBezTo>
                  <a:cubicBezTo>
                    <a:pt x="2354" y="1049"/>
                    <a:pt x="2334" y="1054"/>
                    <a:pt x="2336" y="1062"/>
                  </a:cubicBezTo>
                  <a:cubicBezTo>
                    <a:pt x="2338" y="1070"/>
                    <a:pt x="2375" y="1084"/>
                    <a:pt x="2375" y="1093"/>
                  </a:cubicBezTo>
                  <a:cubicBezTo>
                    <a:pt x="2375" y="1102"/>
                    <a:pt x="2374" y="1167"/>
                    <a:pt x="2339" y="1187"/>
                  </a:cubicBezTo>
                  <a:cubicBezTo>
                    <a:pt x="2304" y="1207"/>
                    <a:pt x="2259" y="1242"/>
                    <a:pt x="2241" y="1243"/>
                  </a:cubicBezTo>
                  <a:cubicBezTo>
                    <a:pt x="2223" y="1244"/>
                    <a:pt x="2174" y="1247"/>
                    <a:pt x="2171" y="1256"/>
                  </a:cubicBezTo>
                  <a:cubicBezTo>
                    <a:pt x="2168" y="1265"/>
                    <a:pt x="2180" y="1293"/>
                    <a:pt x="2180" y="1298"/>
                  </a:cubicBezTo>
                  <a:cubicBezTo>
                    <a:pt x="2180" y="1303"/>
                    <a:pt x="2159" y="1324"/>
                    <a:pt x="2155" y="1339"/>
                  </a:cubicBezTo>
                  <a:cubicBezTo>
                    <a:pt x="2151" y="1354"/>
                    <a:pt x="2154" y="1387"/>
                    <a:pt x="2154" y="1387"/>
                  </a:cubicBezTo>
                  <a:cubicBezTo>
                    <a:pt x="2154" y="1387"/>
                    <a:pt x="2120" y="1404"/>
                    <a:pt x="2119" y="1409"/>
                  </a:cubicBezTo>
                  <a:cubicBezTo>
                    <a:pt x="2118" y="1414"/>
                    <a:pt x="2117" y="1431"/>
                    <a:pt x="2117" y="1431"/>
                  </a:cubicBezTo>
                  <a:cubicBezTo>
                    <a:pt x="2104" y="1447"/>
                    <a:pt x="2104" y="1447"/>
                    <a:pt x="2104" y="1447"/>
                  </a:cubicBezTo>
                  <a:cubicBezTo>
                    <a:pt x="2104" y="1447"/>
                    <a:pt x="2111" y="1423"/>
                    <a:pt x="2100" y="1422"/>
                  </a:cubicBezTo>
                  <a:cubicBezTo>
                    <a:pt x="2089" y="1421"/>
                    <a:pt x="2067" y="1435"/>
                    <a:pt x="2072" y="1446"/>
                  </a:cubicBezTo>
                  <a:cubicBezTo>
                    <a:pt x="2077" y="1457"/>
                    <a:pt x="2071" y="1466"/>
                    <a:pt x="2071" y="1466"/>
                  </a:cubicBezTo>
                  <a:cubicBezTo>
                    <a:pt x="2071" y="1466"/>
                    <a:pt x="2069" y="1446"/>
                    <a:pt x="2063" y="1441"/>
                  </a:cubicBezTo>
                  <a:cubicBezTo>
                    <a:pt x="2057" y="1436"/>
                    <a:pt x="2019" y="1447"/>
                    <a:pt x="2019" y="1447"/>
                  </a:cubicBezTo>
                  <a:cubicBezTo>
                    <a:pt x="2019" y="1447"/>
                    <a:pt x="2055" y="1426"/>
                    <a:pt x="2051" y="1413"/>
                  </a:cubicBezTo>
                  <a:cubicBezTo>
                    <a:pt x="2047" y="1400"/>
                    <a:pt x="2011" y="1389"/>
                    <a:pt x="2011" y="1389"/>
                  </a:cubicBezTo>
                  <a:cubicBezTo>
                    <a:pt x="2011" y="1389"/>
                    <a:pt x="2028" y="1386"/>
                    <a:pt x="2028" y="1379"/>
                  </a:cubicBezTo>
                  <a:cubicBezTo>
                    <a:pt x="2028" y="1372"/>
                    <a:pt x="2016" y="1346"/>
                    <a:pt x="2016" y="1346"/>
                  </a:cubicBezTo>
                  <a:cubicBezTo>
                    <a:pt x="2038" y="1331"/>
                    <a:pt x="2038" y="1331"/>
                    <a:pt x="2038" y="1331"/>
                  </a:cubicBezTo>
                  <a:cubicBezTo>
                    <a:pt x="2037" y="1316"/>
                    <a:pt x="2037" y="1316"/>
                    <a:pt x="2037" y="1316"/>
                  </a:cubicBezTo>
                  <a:cubicBezTo>
                    <a:pt x="2054" y="1305"/>
                    <a:pt x="2054" y="1305"/>
                    <a:pt x="2054" y="1305"/>
                  </a:cubicBezTo>
                  <a:cubicBezTo>
                    <a:pt x="2053" y="1280"/>
                    <a:pt x="2053" y="1280"/>
                    <a:pt x="2053" y="1280"/>
                  </a:cubicBezTo>
                  <a:cubicBezTo>
                    <a:pt x="2053" y="1280"/>
                    <a:pt x="2102" y="1253"/>
                    <a:pt x="2078" y="1241"/>
                  </a:cubicBezTo>
                  <a:cubicBezTo>
                    <a:pt x="2054" y="1229"/>
                    <a:pt x="1982" y="1233"/>
                    <a:pt x="1982" y="1233"/>
                  </a:cubicBezTo>
                  <a:cubicBezTo>
                    <a:pt x="1958" y="1241"/>
                    <a:pt x="1958" y="1241"/>
                    <a:pt x="1958" y="1241"/>
                  </a:cubicBezTo>
                  <a:cubicBezTo>
                    <a:pt x="1958" y="1241"/>
                    <a:pt x="1976" y="1220"/>
                    <a:pt x="1966" y="1215"/>
                  </a:cubicBezTo>
                  <a:cubicBezTo>
                    <a:pt x="1956" y="1210"/>
                    <a:pt x="1908" y="1200"/>
                    <a:pt x="1908" y="1200"/>
                  </a:cubicBezTo>
                  <a:cubicBezTo>
                    <a:pt x="1908" y="1200"/>
                    <a:pt x="1913" y="1178"/>
                    <a:pt x="1894" y="1164"/>
                  </a:cubicBezTo>
                  <a:cubicBezTo>
                    <a:pt x="1875" y="1150"/>
                    <a:pt x="1850" y="1149"/>
                    <a:pt x="1850" y="1149"/>
                  </a:cubicBezTo>
                  <a:cubicBezTo>
                    <a:pt x="1850" y="1149"/>
                    <a:pt x="1851" y="1137"/>
                    <a:pt x="1823" y="1136"/>
                  </a:cubicBezTo>
                  <a:cubicBezTo>
                    <a:pt x="1795" y="1135"/>
                    <a:pt x="1726" y="1147"/>
                    <a:pt x="1726" y="1147"/>
                  </a:cubicBezTo>
                  <a:cubicBezTo>
                    <a:pt x="1726" y="1147"/>
                    <a:pt x="1759" y="1137"/>
                    <a:pt x="1760" y="1125"/>
                  </a:cubicBezTo>
                  <a:cubicBezTo>
                    <a:pt x="1761" y="1113"/>
                    <a:pt x="1779" y="1061"/>
                    <a:pt x="1779" y="1061"/>
                  </a:cubicBezTo>
                  <a:cubicBezTo>
                    <a:pt x="1779" y="1061"/>
                    <a:pt x="1749" y="1055"/>
                    <a:pt x="1746" y="1057"/>
                  </a:cubicBezTo>
                  <a:cubicBezTo>
                    <a:pt x="1743" y="1059"/>
                    <a:pt x="1720" y="1075"/>
                    <a:pt x="1720" y="1075"/>
                  </a:cubicBezTo>
                  <a:cubicBezTo>
                    <a:pt x="1730" y="1056"/>
                    <a:pt x="1730" y="1056"/>
                    <a:pt x="1730" y="1056"/>
                  </a:cubicBezTo>
                  <a:cubicBezTo>
                    <a:pt x="1726" y="1041"/>
                    <a:pt x="1726" y="1041"/>
                    <a:pt x="1726" y="1041"/>
                  </a:cubicBezTo>
                  <a:cubicBezTo>
                    <a:pt x="1726" y="1041"/>
                    <a:pt x="1752" y="1019"/>
                    <a:pt x="1764" y="998"/>
                  </a:cubicBezTo>
                  <a:cubicBezTo>
                    <a:pt x="1776" y="977"/>
                    <a:pt x="1844" y="940"/>
                    <a:pt x="1844" y="940"/>
                  </a:cubicBezTo>
                  <a:cubicBezTo>
                    <a:pt x="1838" y="929"/>
                    <a:pt x="1838" y="929"/>
                    <a:pt x="1838" y="929"/>
                  </a:cubicBezTo>
                  <a:cubicBezTo>
                    <a:pt x="1881" y="915"/>
                    <a:pt x="1881" y="915"/>
                    <a:pt x="1881" y="915"/>
                  </a:cubicBezTo>
                  <a:cubicBezTo>
                    <a:pt x="1882" y="904"/>
                    <a:pt x="1882" y="904"/>
                    <a:pt x="1882" y="904"/>
                  </a:cubicBezTo>
                  <a:cubicBezTo>
                    <a:pt x="1909" y="900"/>
                    <a:pt x="1909" y="900"/>
                    <a:pt x="1909" y="900"/>
                  </a:cubicBezTo>
                  <a:cubicBezTo>
                    <a:pt x="1911" y="887"/>
                    <a:pt x="1911" y="887"/>
                    <a:pt x="1911" y="887"/>
                  </a:cubicBezTo>
                  <a:cubicBezTo>
                    <a:pt x="1932" y="884"/>
                    <a:pt x="1932" y="884"/>
                    <a:pt x="1932" y="884"/>
                  </a:cubicBezTo>
                  <a:cubicBezTo>
                    <a:pt x="1966" y="857"/>
                    <a:pt x="1966" y="857"/>
                    <a:pt x="1966" y="857"/>
                  </a:cubicBezTo>
                  <a:cubicBezTo>
                    <a:pt x="1966" y="857"/>
                    <a:pt x="2040" y="860"/>
                    <a:pt x="2040" y="847"/>
                  </a:cubicBezTo>
                  <a:cubicBezTo>
                    <a:pt x="2040" y="834"/>
                    <a:pt x="2020" y="819"/>
                    <a:pt x="2020" y="819"/>
                  </a:cubicBezTo>
                  <a:cubicBezTo>
                    <a:pt x="1980" y="824"/>
                    <a:pt x="1980" y="824"/>
                    <a:pt x="1980" y="824"/>
                  </a:cubicBezTo>
                  <a:cubicBezTo>
                    <a:pt x="1986" y="814"/>
                    <a:pt x="1986" y="814"/>
                    <a:pt x="1986" y="814"/>
                  </a:cubicBezTo>
                  <a:cubicBezTo>
                    <a:pt x="1950" y="800"/>
                    <a:pt x="1950" y="800"/>
                    <a:pt x="1950" y="800"/>
                  </a:cubicBezTo>
                  <a:cubicBezTo>
                    <a:pt x="1966" y="795"/>
                    <a:pt x="1966" y="795"/>
                    <a:pt x="1966" y="795"/>
                  </a:cubicBezTo>
                  <a:cubicBezTo>
                    <a:pt x="2021" y="811"/>
                    <a:pt x="2021" y="811"/>
                    <a:pt x="2021" y="811"/>
                  </a:cubicBezTo>
                  <a:cubicBezTo>
                    <a:pt x="2021" y="811"/>
                    <a:pt x="2042" y="833"/>
                    <a:pt x="2061" y="825"/>
                  </a:cubicBezTo>
                  <a:cubicBezTo>
                    <a:pt x="2080" y="817"/>
                    <a:pt x="2096" y="784"/>
                    <a:pt x="2103" y="789"/>
                  </a:cubicBezTo>
                  <a:cubicBezTo>
                    <a:pt x="2110" y="794"/>
                    <a:pt x="2131" y="804"/>
                    <a:pt x="2140" y="802"/>
                  </a:cubicBezTo>
                  <a:cubicBezTo>
                    <a:pt x="2140" y="802"/>
                    <a:pt x="2185" y="783"/>
                    <a:pt x="2203" y="776"/>
                  </a:cubicBezTo>
                  <a:cubicBezTo>
                    <a:pt x="2221" y="769"/>
                    <a:pt x="2255" y="750"/>
                    <a:pt x="2243" y="747"/>
                  </a:cubicBezTo>
                  <a:cubicBezTo>
                    <a:pt x="2231" y="744"/>
                    <a:pt x="2175" y="744"/>
                    <a:pt x="2175" y="744"/>
                  </a:cubicBezTo>
                  <a:cubicBezTo>
                    <a:pt x="2171" y="728"/>
                    <a:pt x="2171" y="728"/>
                    <a:pt x="2171" y="728"/>
                  </a:cubicBezTo>
                  <a:cubicBezTo>
                    <a:pt x="2115" y="708"/>
                    <a:pt x="2115" y="708"/>
                    <a:pt x="2115" y="708"/>
                  </a:cubicBezTo>
                  <a:cubicBezTo>
                    <a:pt x="2115" y="708"/>
                    <a:pt x="2171" y="700"/>
                    <a:pt x="2186" y="706"/>
                  </a:cubicBezTo>
                  <a:cubicBezTo>
                    <a:pt x="2201" y="712"/>
                    <a:pt x="2215" y="738"/>
                    <a:pt x="2230" y="738"/>
                  </a:cubicBezTo>
                  <a:cubicBezTo>
                    <a:pt x="2245" y="738"/>
                    <a:pt x="2324" y="700"/>
                    <a:pt x="2324" y="700"/>
                  </a:cubicBezTo>
                  <a:cubicBezTo>
                    <a:pt x="2305" y="692"/>
                    <a:pt x="2305" y="692"/>
                    <a:pt x="2305" y="692"/>
                  </a:cubicBezTo>
                  <a:cubicBezTo>
                    <a:pt x="2305" y="692"/>
                    <a:pt x="2319" y="680"/>
                    <a:pt x="2337" y="680"/>
                  </a:cubicBezTo>
                  <a:cubicBezTo>
                    <a:pt x="2355" y="680"/>
                    <a:pt x="2360" y="694"/>
                    <a:pt x="2360" y="694"/>
                  </a:cubicBezTo>
                  <a:cubicBezTo>
                    <a:pt x="2380" y="701"/>
                    <a:pt x="2380" y="701"/>
                    <a:pt x="2380" y="701"/>
                  </a:cubicBezTo>
                  <a:cubicBezTo>
                    <a:pt x="2381" y="688"/>
                    <a:pt x="2381" y="688"/>
                    <a:pt x="2381" y="688"/>
                  </a:cubicBezTo>
                  <a:cubicBezTo>
                    <a:pt x="2381" y="688"/>
                    <a:pt x="2395" y="705"/>
                    <a:pt x="2400" y="696"/>
                  </a:cubicBezTo>
                  <a:cubicBezTo>
                    <a:pt x="2405" y="687"/>
                    <a:pt x="2388" y="669"/>
                    <a:pt x="2388" y="669"/>
                  </a:cubicBezTo>
                  <a:cubicBezTo>
                    <a:pt x="2374" y="663"/>
                    <a:pt x="2374" y="663"/>
                    <a:pt x="2374" y="663"/>
                  </a:cubicBezTo>
                  <a:cubicBezTo>
                    <a:pt x="2401" y="658"/>
                    <a:pt x="2401" y="658"/>
                    <a:pt x="2401" y="658"/>
                  </a:cubicBezTo>
                  <a:cubicBezTo>
                    <a:pt x="2401" y="658"/>
                    <a:pt x="2415" y="697"/>
                    <a:pt x="2424" y="695"/>
                  </a:cubicBezTo>
                  <a:cubicBezTo>
                    <a:pt x="2433" y="693"/>
                    <a:pt x="2546" y="660"/>
                    <a:pt x="2532" y="641"/>
                  </a:cubicBezTo>
                  <a:cubicBezTo>
                    <a:pt x="2518" y="622"/>
                    <a:pt x="2507" y="607"/>
                    <a:pt x="2518" y="600"/>
                  </a:cubicBezTo>
                  <a:cubicBezTo>
                    <a:pt x="2529" y="593"/>
                    <a:pt x="2579" y="591"/>
                    <a:pt x="2580" y="585"/>
                  </a:cubicBezTo>
                  <a:cubicBezTo>
                    <a:pt x="2581" y="579"/>
                    <a:pt x="2570" y="553"/>
                    <a:pt x="2570" y="553"/>
                  </a:cubicBezTo>
                  <a:cubicBezTo>
                    <a:pt x="2558" y="538"/>
                    <a:pt x="2558" y="538"/>
                    <a:pt x="2558" y="538"/>
                  </a:cubicBezTo>
                  <a:cubicBezTo>
                    <a:pt x="2558" y="538"/>
                    <a:pt x="2496" y="520"/>
                    <a:pt x="2470" y="538"/>
                  </a:cubicBezTo>
                  <a:cubicBezTo>
                    <a:pt x="2444" y="556"/>
                    <a:pt x="2466" y="568"/>
                    <a:pt x="2466" y="568"/>
                  </a:cubicBezTo>
                  <a:cubicBezTo>
                    <a:pt x="2442" y="583"/>
                    <a:pt x="2442" y="583"/>
                    <a:pt x="2442" y="583"/>
                  </a:cubicBezTo>
                  <a:cubicBezTo>
                    <a:pt x="2428" y="583"/>
                    <a:pt x="2428" y="583"/>
                    <a:pt x="2428" y="583"/>
                  </a:cubicBezTo>
                  <a:cubicBezTo>
                    <a:pt x="2383" y="614"/>
                    <a:pt x="2383" y="614"/>
                    <a:pt x="2383" y="614"/>
                  </a:cubicBezTo>
                  <a:cubicBezTo>
                    <a:pt x="2366" y="621"/>
                    <a:pt x="2366" y="621"/>
                    <a:pt x="2366" y="621"/>
                  </a:cubicBezTo>
                  <a:cubicBezTo>
                    <a:pt x="2366" y="621"/>
                    <a:pt x="2354" y="639"/>
                    <a:pt x="2350" y="642"/>
                  </a:cubicBezTo>
                  <a:cubicBezTo>
                    <a:pt x="2346" y="645"/>
                    <a:pt x="2327" y="646"/>
                    <a:pt x="2327" y="646"/>
                  </a:cubicBezTo>
                  <a:cubicBezTo>
                    <a:pt x="2304" y="658"/>
                    <a:pt x="2304" y="658"/>
                    <a:pt x="2304" y="658"/>
                  </a:cubicBezTo>
                  <a:cubicBezTo>
                    <a:pt x="2304" y="658"/>
                    <a:pt x="2293" y="624"/>
                    <a:pt x="2299" y="613"/>
                  </a:cubicBezTo>
                  <a:cubicBezTo>
                    <a:pt x="2305" y="602"/>
                    <a:pt x="2336" y="607"/>
                    <a:pt x="2341" y="591"/>
                  </a:cubicBezTo>
                  <a:cubicBezTo>
                    <a:pt x="2346" y="575"/>
                    <a:pt x="2330" y="558"/>
                    <a:pt x="2327" y="558"/>
                  </a:cubicBezTo>
                  <a:cubicBezTo>
                    <a:pt x="2324" y="558"/>
                    <a:pt x="2271" y="582"/>
                    <a:pt x="2271" y="582"/>
                  </a:cubicBezTo>
                  <a:cubicBezTo>
                    <a:pt x="2252" y="603"/>
                    <a:pt x="2252" y="603"/>
                    <a:pt x="2252" y="603"/>
                  </a:cubicBezTo>
                  <a:cubicBezTo>
                    <a:pt x="2246" y="594"/>
                    <a:pt x="2246" y="594"/>
                    <a:pt x="2246" y="594"/>
                  </a:cubicBezTo>
                  <a:cubicBezTo>
                    <a:pt x="2264" y="576"/>
                    <a:pt x="2264" y="576"/>
                    <a:pt x="2264" y="576"/>
                  </a:cubicBezTo>
                  <a:cubicBezTo>
                    <a:pt x="2262" y="563"/>
                    <a:pt x="2262" y="563"/>
                    <a:pt x="2262" y="563"/>
                  </a:cubicBezTo>
                  <a:cubicBezTo>
                    <a:pt x="2292" y="552"/>
                    <a:pt x="2292" y="552"/>
                    <a:pt x="2292" y="552"/>
                  </a:cubicBezTo>
                  <a:cubicBezTo>
                    <a:pt x="2265" y="547"/>
                    <a:pt x="2265" y="547"/>
                    <a:pt x="2265" y="547"/>
                  </a:cubicBezTo>
                  <a:cubicBezTo>
                    <a:pt x="2270" y="537"/>
                    <a:pt x="2270" y="537"/>
                    <a:pt x="2270" y="537"/>
                  </a:cubicBezTo>
                  <a:cubicBezTo>
                    <a:pt x="2238" y="547"/>
                    <a:pt x="2238" y="547"/>
                    <a:pt x="2238" y="547"/>
                  </a:cubicBezTo>
                  <a:cubicBezTo>
                    <a:pt x="2224" y="539"/>
                    <a:pt x="2224" y="539"/>
                    <a:pt x="2224" y="539"/>
                  </a:cubicBezTo>
                  <a:cubicBezTo>
                    <a:pt x="2249" y="530"/>
                    <a:pt x="2249" y="530"/>
                    <a:pt x="2249" y="530"/>
                  </a:cubicBezTo>
                  <a:cubicBezTo>
                    <a:pt x="2250" y="520"/>
                    <a:pt x="2250" y="520"/>
                    <a:pt x="2250" y="520"/>
                  </a:cubicBezTo>
                  <a:cubicBezTo>
                    <a:pt x="2250" y="520"/>
                    <a:pt x="2286" y="528"/>
                    <a:pt x="2284" y="515"/>
                  </a:cubicBezTo>
                  <a:cubicBezTo>
                    <a:pt x="2282" y="502"/>
                    <a:pt x="2254" y="505"/>
                    <a:pt x="2266" y="488"/>
                  </a:cubicBezTo>
                  <a:cubicBezTo>
                    <a:pt x="2278" y="471"/>
                    <a:pt x="2289" y="446"/>
                    <a:pt x="2273" y="445"/>
                  </a:cubicBezTo>
                  <a:cubicBezTo>
                    <a:pt x="2248" y="435"/>
                    <a:pt x="2248" y="435"/>
                    <a:pt x="2248" y="435"/>
                  </a:cubicBezTo>
                  <a:cubicBezTo>
                    <a:pt x="2229" y="443"/>
                    <a:pt x="2229" y="443"/>
                    <a:pt x="2229" y="443"/>
                  </a:cubicBezTo>
                  <a:cubicBezTo>
                    <a:pt x="2229" y="443"/>
                    <a:pt x="2202" y="445"/>
                    <a:pt x="2201" y="449"/>
                  </a:cubicBezTo>
                  <a:cubicBezTo>
                    <a:pt x="2200" y="453"/>
                    <a:pt x="2208" y="462"/>
                    <a:pt x="2202" y="463"/>
                  </a:cubicBezTo>
                  <a:cubicBezTo>
                    <a:pt x="2196" y="464"/>
                    <a:pt x="2160" y="457"/>
                    <a:pt x="2152" y="466"/>
                  </a:cubicBezTo>
                  <a:cubicBezTo>
                    <a:pt x="2144" y="475"/>
                    <a:pt x="2127" y="484"/>
                    <a:pt x="2136" y="488"/>
                  </a:cubicBezTo>
                  <a:cubicBezTo>
                    <a:pt x="2145" y="492"/>
                    <a:pt x="2156" y="494"/>
                    <a:pt x="2156" y="494"/>
                  </a:cubicBezTo>
                  <a:cubicBezTo>
                    <a:pt x="2156" y="494"/>
                    <a:pt x="2107" y="507"/>
                    <a:pt x="2109" y="520"/>
                  </a:cubicBezTo>
                  <a:cubicBezTo>
                    <a:pt x="2111" y="533"/>
                    <a:pt x="2138" y="543"/>
                    <a:pt x="2138" y="543"/>
                  </a:cubicBezTo>
                  <a:cubicBezTo>
                    <a:pt x="2154" y="536"/>
                    <a:pt x="2154" y="536"/>
                    <a:pt x="2154" y="536"/>
                  </a:cubicBezTo>
                  <a:cubicBezTo>
                    <a:pt x="2154" y="536"/>
                    <a:pt x="2153" y="557"/>
                    <a:pt x="2159" y="554"/>
                  </a:cubicBezTo>
                  <a:cubicBezTo>
                    <a:pt x="2165" y="551"/>
                    <a:pt x="2194" y="546"/>
                    <a:pt x="2183" y="554"/>
                  </a:cubicBezTo>
                  <a:cubicBezTo>
                    <a:pt x="2172" y="562"/>
                    <a:pt x="2163" y="561"/>
                    <a:pt x="2163" y="561"/>
                  </a:cubicBezTo>
                  <a:cubicBezTo>
                    <a:pt x="2150" y="556"/>
                    <a:pt x="2150" y="556"/>
                    <a:pt x="2150" y="556"/>
                  </a:cubicBezTo>
                  <a:cubicBezTo>
                    <a:pt x="2148" y="565"/>
                    <a:pt x="2148" y="565"/>
                    <a:pt x="2148" y="565"/>
                  </a:cubicBezTo>
                  <a:cubicBezTo>
                    <a:pt x="2148" y="565"/>
                    <a:pt x="2112" y="571"/>
                    <a:pt x="2124" y="575"/>
                  </a:cubicBezTo>
                  <a:cubicBezTo>
                    <a:pt x="2136" y="579"/>
                    <a:pt x="2163" y="559"/>
                    <a:pt x="2157" y="572"/>
                  </a:cubicBezTo>
                  <a:cubicBezTo>
                    <a:pt x="2151" y="585"/>
                    <a:pt x="2132" y="594"/>
                    <a:pt x="2119" y="598"/>
                  </a:cubicBezTo>
                  <a:cubicBezTo>
                    <a:pt x="2106" y="602"/>
                    <a:pt x="2086" y="617"/>
                    <a:pt x="2086" y="617"/>
                  </a:cubicBezTo>
                  <a:cubicBezTo>
                    <a:pt x="2086" y="617"/>
                    <a:pt x="2064" y="605"/>
                    <a:pt x="2060" y="612"/>
                  </a:cubicBezTo>
                  <a:cubicBezTo>
                    <a:pt x="2056" y="619"/>
                    <a:pt x="2035" y="625"/>
                    <a:pt x="2036" y="635"/>
                  </a:cubicBezTo>
                  <a:cubicBezTo>
                    <a:pt x="2037" y="645"/>
                    <a:pt x="2030" y="654"/>
                    <a:pt x="2030" y="654"/>
                  </a:cubicBezTo>
                  <a:cubicBezTo>
                    <a:pt x="2026" y="645"/>
                    <a:pt x="2026" y="645"/>
                    <a:pt x="2026" y="645"/>
                  </a:cubicBezTo>
                  <a:cubicBezTo>
                    <a:pt x="2026" y="645"/>
                    <a:pt x="2001" y="644"/>
                    <a:pt x="2003" y="638"/>
                  </a:cubicBezTo>
                  <a:cubicBezTo>
                    <a:pt x="2005" y="632"/>
                    <a:pt x="2047" y="604"/>
                    <a:pt x="2047" y="604"/>
                  </a:cubicBezTo>
                  <a:cubicBezTo>
                    <a:pt x="2022" y="604"/>
                    <a:pt x="2022" y="604"/>
                    <a:pt x="2022" y="604"/>
                  </a:cubicBezTo>
                  <a:cubicBezTo>
                    <a:pt x="2022" y="604"/>
                    <a:pt x="2015" y="590"/>
                    <a:pt x="2008" y="590"/>
                  </a:cubicBezTo>
                  <a:cubicBezTo>
                    <a:pt x="2001" y="590"/>
                    <a:pt x="1985" y="596"/>
                    <a:pt x="1985" y="596"/>
                  </a:cubicBezTo>
                  <a:cubicBezTo>
                    <a:pt x="1985" y="596"/>
                    <a:pt x="1964" y="589"/>
                    <a:pt x="1961" y="597"/>
                  </a:cubicBezTo>
                  <a:cubicBezTo>
                    <a:pt x="1958" y="605"/>
                    <a:pt x="1956" y="612"/>
                    <a:pt x="1960" y="613"/>
                  </a:cubicBezTo>
                  <a:cubicBezTo>
                    <a:pt x="1964" y="614"/>
                    <a:pt x="1993" y="627"/>
                    <a:pt x="1983" y="630"/>
                  </a:cubicBezTo>
                  <a:cubicBezTo>
                    <a:pt x="1973" y="633"/>
                    <a:pt x="1955" y="618"/>
                    <a:pt x="1955" y="618"/>
                  </a:cubicBezTo>
                  <a:cubicBezTo>
                    <a:pt x="1941" y="609"/>
                    <a:pt x="1941" y="609"/>
                    <a:pt x="1941" y="609"/>
                  </a:cubicBezTo>
                  <a:cubicBezTo>
                    <a:pt x="1940" y="629"/>
                    <a:pt x="1940" y="629"/>
                    <a:pt x="1940" y="629"/>
                  </a:cubicBezTo>
                  <a:cubicBezTo>
                    <a:pt x="1940" y="629"/>
                    <a:pt x="1925" y="638"/>
                    <a:pt x="1916" y="636"/>
                  </a:cubicBezTo>
                  <a:cubicBezTo>
                    <a:pt x="1907" y="634"/>
                    <a:pt x="1874" y="625"/>
                    <a:pt x="1863" y="625"/>
                  </a:cubicBezTo>
                  <a:cubicBezTo>
                    <a:pt x="1852" y="625"/>
                    <a:pt x="1830" y="629"/>
                    <a:pt x="1819" y="628"/>
                  </a:cubicBezTo>
                  <a:cubicBezTo>
                    <a:pt x="1808" y="627"/>
                    <a:pt x="1791" y="610"/>
                    <a:pt x="1791" y="610"/>
                  </a:cubicBezTo>
                  <a:cubicBezTo>
                    <a:pt x="1752" y="613"/>
                    <a:pt x="1752" y="613"/>
                    <a:pt x="1752" y="613"/>
                  </a:cubicBezTo>
                  <a:cubicBezTo>
                    <a:pt x="1752" y="613"/>
                    <a:pt x="1737" y="599"/>
                    <a:pt x="1729" y="597"/>
                  </a:cubicBezTo>
                  <a:cubicBezTo>
                    <a:pt x="1721" y="595"/>
                    <a:pt x="1704" y="595"/>
                    <a:pt x="1692" y="601"/>
                  </a:cubicBezTo>
                  <a:cubicBezTo>
                    <a:pt x="1680" y="607"/>
                    <a:pt x="1685" y="609"/>
                    <a:pt x="1672" y="609"/>
                  </a:cubicBezTo>
                  <a:cubicBezTo>
                    <a:pt x="1659" y="609"/>
                    <a:pt x="1631" y="602"/>
                    <a:pt x="1624" y="611"/>
                  </a:cubicBezTo>
                  <a:cubicBezTo>
                    <a:pt x="1617" y="620"/>
                    <a:pt x="1605" y="646"/>
                    <a:pt x="1605" y="646"/>
                  </a:cubicBezTo>
                  <a:cubicBezTo>
                    <a:pt x="1597" y="666"/>
                    <a:pt x="1597" y="666"/>
                    <a:pt x="1597" y="666"/>
                  </a:cubicBezTo>
                  <a:cubicBezTo>
                    <a:pt x="1576" y="668"/>
                    <a:pt x="1576" y="668"/>
                    <a:pt x="1576" y="668"/>
                  </a:cubicBezTo>
                  <a:cubicBezTo>
                    <a:pt x="1571" y="687"/>
                    <a:pt x="1571" y="687"/>
                    <a:pt x="1571" y="687"/>
                  </a:cubicBezTo>
                  <a:cubicBezTo>
                    <a:pt x="1556" y="654"/>
                    <a:pt x="1556" y="654"/>
                    <a:pt x="1556" y="654"/>
                  </a:cubicBezTo>
                  <a:cubicBezTo>
                    <a:pt x="1556" y="654"/>
                    <a:pt x="1598" y="665"/>
                    <a:pt x="1587" y="646"/>
                  </a:cubicBezTo>
                  <a:cubicBezTo>
                    <a:pt x="1576" y="627"/>
                    <a:pt x="1544" y="625"/>
                    <a:pt x="1544" y="625"/>
                  </a:cubicBezTo>
                  <a:cubicBezTo>
                    <a:pt x="1546" y="616"/>
                    <a:pt x="1546" y="616"/>
                    <a:pt x="1546" y="616"/>
                  </a:cubicBezTo>
                  <a:cubicBezTo>
                    <a:pt x="1546" y="616"/>
                    <a:pt x="1477" y="629"/>
                    <a:pt x="1440" y="629"/>
                  </a:cubicBezTo>
                  <a:cubicBezTo>
                    <a:pt x="1403" y="629"/>
                    <a:pt x="1337" y="625"/>
                    <a:pt x="1350" y="619"/>
                  </a:cubicBezTo>
                  <a:cubicBezTo>
                    <a:pt x="1363" y="613"/>
                    <a:pt x="1447" y="616"/>
                    <a:pt x="1427" y="594"/>
                  </a:cubicBezTo>
                  <a:cubicBezTo>
                    <a:pt x="1407" y="572"/>
                    <a:pt x="1388" y="570"/>
                    <a:pt x="1364" y="572"/>
                  </a:cubicBezTo>
                  <a:cubicBezTo>
                    <a:pt x="1340" y="574"/>
                    <a:pt x="1301" y="560"/>
                    <a:pt x="1295" y="557"/>
                  </a:cubicBezTo>
                  <a:cubicBezTo>
                    <a:pt x="1289" y="554"/>
                    <a:pt x="1271" y="554"/>
                    <a:pt x="1271" y="554"/>
                  </a:cubicBezTo>
                  <a:cubicBezTo>
                    <a:pt x="1271" y="554"/>
                    <a:pt x="1223" y="527"/>
                    <a:pt x="1205" y="528"/>
                  </a:cubicBezTo>
                  <a:cubicBezTo>
                    <a:pt x="1187" y="529"/>
                    <a:pt x="1155" y="554"/>
                    <a:pt x="1155" y="554"/>
                  </a:cubicBezTo>
                  <a:cubicBezTo>
                    <a:pt x="1119" y="554"/>
                    <a:pt x="1119" y="554"/>
                    <a:pt x="1119" y="554"/>
                  </a:cubicBezTo>
                  <a:cubicBezTo>
                    <a:pt x="1139" y="542"/>
                    <a:pt x="1139" y="542"/>
                    <a:pt x="1139" y="542"/>
                  </a:cubicBezTo>
                  <a:cubicBezTo>
                    <a:pt x="1139" y="534"/>
                    <a:pt x="1139" y="534"/>
                    <a:pt x="1139" y="534"/>
                  </a:cubicBezTo>
                  <a:cubicBezTo>
                    <a:pt x="1156" y="514"/>
                    <a:pt x="1156" y="514"/>
                    <a:pt x="1156" y="514"/>
                  </a:cubicBezTo>
                  <a:cubicBezTo>
                    <a:pt x="1156" y="514"/>
                    <a:pt x="1117" y="532"/>
                    <a:pt x="1110" y="539"/>
                  </a:cubicBezTo>
                  <a:cubicBezTo>
                    <a:pt x="1103" y="546"/>
                    <a:pt x="1087" y="568"/>
                    <a:pt x="1072" y="553"/>
                  </a:cubicBezTo>
                  <a:cubicBezTo>
                    <a:pt x="1057" y="538"/>
                    <a:pt x="1078" y="522"/>
                    <a:pt x="1075" y="511"/>
                  </a:cubicBezTo>
                  <a:cubicBezTo>
                    <a:pt x="1072" y="500"/>
                    <a:pt x="1049" y="489"/>
                    <a:pt x="1046" y="498"/>
                  </a:cubicBezTo>
                  <a:cubicBezTo>
                    <a:pt x="1043" y="507"/>
                    <a:pt x="1056" y="513"/>
                    <a:pt x="1056" y="513"/>
                  </a:cubicBezTo>
                  <a:cubicBezTo>
                    <a:pt x="1056" y="513"/>
                    <a:pt x="1036" y="511"/>
                    <a:pt x="1025" y="515"/>
                  </a:cubicBezTo>
                  <a:cubicBezTo>
                    <a:pt x="1014" y="519"/>
                    <a:pt x="998" y="530"/>
                    <a:pt x="993" y="534"/>
                  </a:cubicBezTo>
                  <a:cubicBezTo>
                    <a:pt x="988" y="538"/>
                    <a:pt x="970" y="533"/>
                    <a:pt x="970" y="533"/>
                  </a:cubicBezTo>
                  <a:cubicBezTo>
                    <a:pt x="970" y="533"/>
                    <a:pt x="923" y="543"/>
                    <a:pt x="919" y="544"/>
                  </a:cubicBezTo>
                  <a:cubicBezTo>
                    <a:pt x="915" y="545"/>
                    <a:pt x="890" y="560"/>
                    <a:pt x="890" y="560"/>
                  </a:cubicBezTo>
                  <a:cubicBezTo>
                    <a:pt x="876" y="547"/>
                    <a:pt x="876" y="547"/>
                    <a:pt x="876" y="547"/>
                  </a:cubicBezTo>
                  <a:cubicBezTo>
                    <a:pt x="876" y="547"/>
                    <a:pt x="843" y="564"/>
                    <a:pt x="833" y="565"/>
                  </a:cubicBezTo>
                  <a:cubicBezTo>
                    <a:pt x="823" y="566"/>
                    <a:pt x="805" y="578"/>
                    <a:pt x="805" y="578"/>
                  </a:cubicBezTo>
                  <a:cubicBezTo>
                    <a:pt x="783" y="580"/>
                    <a:pt x="783" y="580"/>
                    <a:pt x="783" y="580"/>
                  </a:cubicBezTo>
                  <a:cubicBezTo>
                    <a:pt x="783" y="580"/>
                    <a:pt x="800" y="562"/>
                    <a:pt x="815" y="559"/>
                  </a:cubicBezTo>
                  <a:cubicBezTo>
                    <a:pt x="830" y="556"/>
                    <a:pt x="864" y="543"/>
                    <a:pt x="864" y="543"/>
                  </a:cubicBezTo>
                  <a:cubicBezTo>
                    <a:pt x="864" y="543"/>
                    <a:pt x="895" y="546"/>
                    <a:pt x="906" y="541"/>
                  </a:cubicBezTo>
                  <a:cubicBezTo>
                    <a:pt x="917" y="536"/>
                    <a:pt x="978" y="522"/>
                    <a:pt x="978" y="522"/>
                  </a:cubicBezTo>
                  <a:cubicBezTo>
                    <a:pt x="978" y="522"/>
                    <a:pt x="990" y="519"/>
                    <a:pt x="983" y="514"/>
                  </a:cubicBezTo>
                  <a:cubicBezTo>
                    <a:pt x="976" y="509"/>
                    <a:pt x="955" y="516"/>
                    <a:pt x="955" y="516"/>
                  </a:cubicBezTo>
                  <a:cubicBezTo>
                    <a:pt x="955" y="516"/>
                    <a:pt x="937" y="515"/>
                    <a:pt x="930" y="517"/>
                  </a:cubicBezTo>
                  <a:cubicBezTo>
                    <a:pt x="923" y="519"/>
                    <a:pt x="916" y="527"/>
                    <a:pt x="911" y="528"/>
                  </a:cubicBezTo>
                  <a:cubicBezTo>
                    <a:pt x="906" y="529"/>
                    <a:pt x="887" y="529"/>
                    <a:pt x="887" y="529"/>
                  </a:cubicBezTo>
                  <a:cubicBezTo>
                    <a:pt x="872" y="532"/>
                    <a:pt x="872" y="532"/>
                    <a:pt x="872" y="532"/>
                  </a:cubicBezTo>
                  <a:cubicBezTo>
                    <a:pt x="872" y="532"/>
                    <a:pt x="855" y="532"/>
                    <a:pt x="843" y="535"/>
                  </a:cubicBezTo>
                  <a:cubicBezTo>
                    <a:pt x="831" y="538"/>
                    <a:pt x="820" y="550"/>
                    <a:pt x="820" y="550"/>
                  </a:cubicBezTo>
                  <a:cubicBezTo>
                    <a:pt x="806" y="552"/>
                    <a:pt x="806" y="552"/>
                    <a:pt x="806" y="552"/>
                  </a:cubicBezTo>
                  <a:cubicBezTo>
                    <a:pt x="771" y="565"/>
                    <a:pt x="771" y="565"/>
                    <a:pt x="771" y="565"/>
                  </a:cubicBezTo>
                  <a:cubicBezTo>
                    <a:pt x="771" y="565"/>
                    <a:pt x="756" y="568"/>
                    <a:pt x="753" y="571"/>
                  </a:cubicBezTo>
                  <a:cubicBezTo>
                    <a:pt x="750" y="574"/>
                    <a:pt x="748" y="590"/>
                    <a:pt x="741" y="586"/>
                  </a:cubicBezTo>
                  <a:cubicBezTo>
                    <a:pt x="734" y="582"/>
                    <a:pt x="733" y="567"/>
                    <a:pt x="744" y="565"/>
                  </a:cubicBezTo>
                  <a:cubicBezTo>
                    <a:pt x="755" y="563"/>
                    <a:pt x="784" y="553"/>
                    <a:pt x="793" y="547"/>
                  </a:cubicBezTo>
                  <a:cubicBezTo>
                    <a:pt x="802" y="541"/>
                    <a:pt x="760" y="535"/>
                    <a:pt x="753" y="544"/>
                  </a:cubicBezTo>
                  <a:cubicBezTo>
                    <a:pt x="746" y="553"/>
                    <a:pt x="719" y="558"/>
                    <a:pt x="712" y="558"/>
                  </a:cubicBezTo>
                  <a:cubicBezTo>
                    <a:pt x="705" y="558"/>
                    <a:pt x="705" y="585"/>
                    <a:pt x="705" y="585"/>
                  </a:cubicBezTo>
                  <a:cubicBezTo>
                    <a:pt x="689" y="576"/>
                    <a:pt x="689" y="576"/>
                    <a:pt x="689" y="576"/>
                  </a:cubicBezTo>
                  <a:cubicBezTo>
                    <a:pt x="647" y="570"/>
                    <a:pt x="647" y="570"/>
                    <a:pt x="647" y="570"/>
                  </a:cubicBezTo>
                  <a:cubicBezTo>
                    <a:pt x="647" y="570"/>
                    <a:pt x="621" y="558"/>
                    <a:pt x="623" y="553"/>
                  </a:cubicBezTo>
                  <a:cubicBezTo>
                    <a:pt x="625" y="548"/>
                    <a:pt x="629" y="539"/>
                    <a:pt x="629" y="539"/>
                  </a:cubicBezTo>
                  <a:cubicBezTo>
                    <a:pt x="555" y="540"/>
                    <a:pt x="555" y="540"/>
                    <a:pt x="555" y="540"/>
                  </a:cubicBezTo>
                  <a:cubicBezTo>
                    <a:pt x="567" y="540"/>
                    <a:pt x="567" y="540"/>
                    <a:pt x="567" y="540"/>
                  </a:cubicBezTo>
                  <a:cubicBezTo>
                    <a:pt x="52" y="964"/>
                    <a:pt x="52" y="964"/>
                    <a:pt x="52" y="964"/>
                  </a:cubicBezTo>
                  <a:cubicBezTo>
                    <a:pt x="52" y="964"/>
                    <a:pt x="26" y="978"/>
                    <a:pt x="32" y="984"/>
                  </a:cubicBezTo>
                  <a:cubicBezTo>
                    <a:pt x="38" y="990"/>
                    <a:pt x="67" y="984"/>
                    <a:pt x="67" y="984"/>
                  </a:cubicBezTo>
                  <a:cubicBezTo>
                    <a:pt x="70" y="984"/>
                    <a:pt x="79" y="979"/>
                    <a:pt x="79" y="979"/>
                  </a:cubicBezTo>
                  <a:cubicBezTo>
                    <a:pt x="103" y="979"/>
                    <a:pt x="103" y="979"/>
                    <a:pt x="103" y="979"/>
                  </a:cubicBezTo>
                  <a:cubicBezTo>
                    <a:pt x="88" y="994"/>
                    <a:pt x="88" y="994"/>
                    <a:pt x="88" y="994"/>
                  </a:cubicBezTo>
                  <a:cubicBezTo>
                    <a:pt x="88" y="994"/>
                    <a:pt x="88" y="1003"/>
                    <a:pt x="88" y="1013"/>
                  </a:cubicBezTo>
                  <a:cubicBezTo>
                    <a:pt x="88" y="1024"/>
                    <a:pt x="107" y="1032"/>
                    <a:pt x="107" y="1032"/>
                  </a:cubicBezTo>
                  <a:cubicBezTo>
                    <a:pt x="107" y="1032"/>
                    <a:pt x="88" y="1051"/>
                    <a:pt x="93" y="1051"/>
                  </a:cubicBezTo>
                  <a:cubicBezTo>
                    <a:pt x="99" y="1051"/>
                    <a:pt x="115" y="1038"/>
                    <a:pt x="115" y="1038"/>
                  </a:cubicBezTo>
                  <a:cubicBezTo>
                    <a:pt x="115" y="1038"/>
                    <a:pt x="136" y="1031"/>
                    <a:pt x="143" y="1031"/>
                  </a:cubicBezTo>
                  <a:cubicBezTo>
                    <a:pt x="151" y="1031"/>
                    <a:pt x="157" y="1021"/>
                    <a:pt x="157" y="1021"/>
                  </a:cubicBezTo>
                  <a:cubicBezTo>
                    <a:pt x="169" y="1021"/>
                    <a:pt x="169" y="1021"/>
                    <a:pt x="169" y="1021"/>
                  </a:cubicBezTo>
                  <a:cubicBezTo>
                    <a:pt x="171" y="1013"/>
                    <a:pt x="171" y="1013"/>
                    <a:pt x="171" y="1013"/>
                  </a:cubicBezTo>
                  <a:cubicBezTo>
                    <a:pt x="171" y="1013"/>
                    <a:pt x="199" y="1003"/>
                    <a:pt x="217" y="1008"/>
                  </a:cubicBezTo>
                  <a:cubicBezTo>
                    <a:pt x="236" y="1014"/>
                    <a:pt x="209" y="1024"/>
                    <a:pt x="209" y="1024"/>
                  </a:cubicBezTo>
                  <a:cubicBezTo>
                    <a:pt x="209" y="1041"/>
                    <a:pt x="209" y="1041"/>
                    <a:pt x="209" y="1041"/>
                  </a:cubicBezTo>
                  <a:cubicBezTo>
                    <a:pt x="203" y="1052"/>
                    <a:pt x="203" y="1052"/>
                    <a:pt x="203" y="1052"/>
                  </a:cubicBezTo>
                  <a:cubicBezTo>
                    <a:pt x="203" y="1052"/>
                    <a:pt x="210" y="1054"/>
                    <a:pt x="216" y="1072"/>
                  </a:cubicBezTo>
                  <a:cubicBezTo>
                    <a:pt x="223" y="1089"/>
                    <a:pt x="206" y="1108"/>
                    <a:pt x="206" y="1108"/>
                  </a:cubicBezTo>
                  <a:cubicBezTo>
                    <a:pt x="206" y="1132"/>
                    <a:pt x="206" y="1132"/>
                    <a:pt x="206" y="1132"/>
                  </a:cubicBezTo>
                  <a:cubicBezTo>
                    <a:pt x="206" y="1132"/>
                    <a:pt x="200" y="1149"/>
                    <a:pt x="195" y="1162"/>
                  </a:cubicBezTo>
                  <a:cubicBezTo>
                    <a:pt x="190" y="1175"/>
                    <a:pt x="218" y="1176"/>
                    <a:pt x="218" y="1180"/>
                  </a:cubicBezTo>
                  <a:cubicBezTo>
                    <a:pt x="218" y="1185"/>
                    <a:pt x="225" y="1187"/>
                    <a:pt x="225" y="1187"/>
                  </a:cubicBezTo>
                  <a:cubicBezTo>
                    <a:pt x="225" y="1187"/>
                    <a:pt x="235" y="1186"/>
                    <a:pt x="235" y="1194"/>
                  </a:cubicBezTo>
                  <a:cubicBezTo>
                    <a:pt x="235" y="1202"/>
                    <a:pt x="208" y="1213"/>
                    <a:pt x="208" y="1213"/>
                  </a:cubicBezTo>
                  <a:cubicBezTo>
                    <a:pt x="208" y="1213"/>
                    <a:pt x="208" y="1229"/>
                    <a:pt x="198" y="1239"/>
                  </a:cubicBezTo>
                  <a:cubicBezTo>
                    <a:pt x="194" y="1243"/>
                    <a:pt x="173" y="1254"/>
                    <a:pt x="152" y="1264"/>
                  </a:cubicBezTo>
                  <a:cubicBezTo>
                    <a:pt x="150" y="1269"/>
                    <a:pt x="149" y="1274"/>
                    <a:pt x="148" y="1278"/>
                  </a:cubicBezTo>
                  <a:cubicBezTo>
                    <a:pt x="147" y="1285"/>
                    <a:pt x="142" y="1299"/>
                    <a:pt x="142" y="1299"/>
                  </a:cubicBezTo>
                  <a:cubicBezTo>
                    <a:pt x="133" y="1305"/>
                    <a:pt x="133" y="1305"/>
                    <a:pt x="133" y="1305"/>
                  </a:cubicBezTo>
                  <a:cubicBezTo>
                    <a:pt x="133" y="1305"/>
                    <a:pt x="142" y="1309"/>
                    <a:pt x="143" y="1316"/>
                  </a:cubicBezTo>
                  <a:cubicBezTo>
                    <a:pt x="144" y="1323"/>
                    <a:pt x="151" y="1326"/>
                    <a:pt x="151" y="1326"/>
                  </a:cubicBezTo>
                  <a:cubicBezTo>
                    <a:pt x="151" y="1326"/>
                    <a:pt x="201" y="1287"/>
                    <a:pt x="201" y="1296"/>
                  </a:cubicBezTo>
                  <a:cubicBezTo>
                    <a:pt x="201" y="1305"/>
                    <a:pt x="185" y="1306"/>
                    <a:pt x="183" y="1311"/>
                  </a:cubicBezTo>
                  <a:cubicBezTo>
                    <a:pt x="181" y="1316"/>
                    <a:pt x="185" y="1326"/>
                    <a:pt x="185" y="1326"/>
                  </a:cubicBezTo>
                  <a:cubicBezTo>
                    <a:pt x="194" y="1333"/>
                    <a:pt x="194" y="1333"/>
                    <a:pt x="194" y="1333"/>
                  </a:cubicBezTo>
                  <a:cubicBezTo>
                    <a:pt x="165" y="1332"/>
                    <a:pt x="165" y="1332"/>
                    <a:pt x="165" y="1332"/>
                  </a:cubicBezTo>
                  <a:cubicBezTo>
                    <a:pt x="165" y="1332"/>
                    <a:pt x="143" y="1359"/>
                    <a:pt x="153" y="1360"/>
                  </a:cubicBezTo>
                  <a:cubicBezTo>
                    <a:pt x="163" y="1361"/>
                    <a:pt x="169" y="1367"/>
                    <a:pt x="169" y="1367"/>
                  </a:cubicBezTo>
                  <a:cubicBezTo>
                    <a:pt x="169" y="1367"/>
                    <a:pt x="157" y="1388"/>
                    <a:pt x="164" y="1385"/>
                  </a:cubicBezTo>
                  <a:cubicBezTo>
                    <a:pt x="171" y="1382"/>
                    <a:pt x="212" y="1354"/>
                    <a:pt x="212" y="1354"/>
                  </a:cubicBezTo>
                  <a:cubicBezTo>
                    <a:pt x="211" y="1363"/>
                    <a:pt x="211" y="1363"/>
                    <a:pt x="211" y="1363"/>
                  </a:cubicBezTo>
                  <a:cubicBezTo>
                    <a:pt x="192" y="1374"/>
                    <a:pt x="192" y="1374"/>
                    <a:pt x="192" y="1374"/>
                  </a:cubicBezTo>
                  <a:cubicBezTo>
                    <a:pt x="207" y="1380"/>
                    <a:pt x="207" y="1380"/>
                    <a:pt x="207" y="1380"/>
                  </a:cubicBezTo>
                  <a:cubicBezTo>
                    <a:pt x="207" y="1380"/>
                    <a:pt x="202" y="1400"/>
                    <a:pt x="194" y="1398"/>
                  </a:cubicBezTo>
                  <a:cubicBezTo>
                    <a:pt x="186" y="1396"/>
                    <a:pt x="184" y="1387"/>
                    <a:pt x="184" y="1387"/>
                  </a:cubicBezTo>
                  <a:cubicBezTo>
                    <a:pt x="184" y="1387"/>
                    <a:pt x="151" y="1397"/>
                    <a:pt x="145" y="1403"/>
                  </a:cubicBezTo>
                  <a:cubicBezTo>
                    <a:pt x="139" y="1409"/>
                    <a:pt x="133" y="1417"/>
                    <a:pt x="133" y="1417"/>
                  </a:cubicBezTo>
                  <a:cubicBezTo>
                    <a:pt x="133" y="1417"/>
                    <a:pt x="151" y="1412"/>
                    <a:pt x="156" y="1412"/>
                  </a:cubicBezTo>
                  <a:cubicBezTo>
                    <a:pt x="161" y="1412"/>
                    <a:pt x="182" y="1412"/>
                    <a:pt x="182" y="1412"/>
                  </a:cubicBezTo>
                  <a:cubicBezTo>
                    <a:pt x="182" y="1412"/>
                    <a:pt x="146" y="1421"/>
                    <a:pt x="140" y="1424"/>
                  </a:cubicBezTo>
                  <a:cubicBezTo>
                    <a:pt x="134" y="1427"/>
                    <a:pt x="138" y="1435"/>
                    <a:pt x="138" y="1435"/>
                  </a:cubicBezTo>
                  <a:cubicBezTo>
                    <a:pt x="138" y="1435"/>
                    <a:pt x="105" y="1423"/>
                    <a:pt x="114" y="1437"/>
                  </a:cubicBezTo>
                  <a:cubicBezTo>
                    <a:pt x="123" y="1451"/>
                    <a:pt x="132" y="1455"/>
                    <a:pt x="132" y="1455"/>
                  </a:cubicBezTo>
                  <a:cubicBezTo>
                    <a:pt x="164" y="1444"/>
                    <a:pt x="164" y="1444"/>
                    <a:pt x="164" y="1444"/>
                  </a:cubicBezTo>
                  <a:cubicBezTo>
                    <a:pt x="173" y="1459"/>
                    <a:pt x="173" y="1459"/>
                    <a:pt x="173" y="1459"/>
                  </a:cubicBezTo>
                  <a:cubicBezTo>
                    <a:pt x="198" y="1445"/>
                    <a:pt x="198" y="1445"/>
                    <a:pt x="198" y="1445"/>
                  </a:cubicBezTo>
                  <a:cubicBezTo>
                    <a:pt x="198" y="1445"/>
                    <a:pt x="165" y="1479"/>
                    <a:pt x="176" y="1478"/>
                  </a:cubicBezTo>
                  <a:cubicBezTo>
                    <a:pt x="187" y="1477"/>
                    <a:pt x="217" y="1454"/>
                    <a:pt x="217" y="1454"/>
                  </a:cubicBezTo>
                  <a:cubicBezTo>
                    <a:pt x="217" y="1454"/>
                    <a:pt x="190" y="1484"/>
                    <a:pt x="194" y="1484"/>
                  </a:cubicBezTo>
                  <a:cubicBezTo>
                    <a:pt x="198" y="1484"/>
                    <a:pt x="216" y="1479"/>
                    <a:pt x="216" y="1479"/>
                  </a:cubicBezTo>
                  <a:cubicBezTo>
                    <a:pt x="216" y="1479"/>
                    <a:pt x="178" y="1508"/>
                    <a:pt x="190" y="1509"/>
                  </a:cubicBezTo>
                  <a:cubicBezTo>
                    <a:pt x="202" y="1510"/>
                    <a:pt x="229" y="1490"/>
                    <a:pt x="229" y="1490"/>
                  </a:cubicBezTo>
                  <a:cubicBezTo>
                    <a:pt x="229" y="1490"/>
                    <a:pt x="203" y="1518"/>
                    <a:pt x="210" y="1520"/>
                  </a:cubicBezTo>
                  <a:cubicBezTo>
                    <a:pt x="217" y="1522"/>
                    <a:pt x="233" y="1526"/>
                    <a:pt x="233" y="1529"/>
                  </a:cubicBezTo>
                  <a:cubicBezTo>
                    <a:pt x="233" y="1531"/>
                    <a:pt x="231" y="1548"/>
                    <a:pt x="228" y="1561"/>
                  </a:cubicBezTo>
                  <a:cubicBezTo>
                    <a:pt x="228" y="1561"/>
                    <a:pt x="228" y="1561"/>
                    <a:pt x="228" y="1561"/>
                  </a:cubicBezTo>
                  <a:cubicBezTo>
                    <a:pt x="1370" y="1561"/>
                    <a:pt x="1370" y="1561"/>
                    <a:pt x="1370" y="1561"/>
                  </a:cubicBezTo>
                  <a:cubicBezTo>
                    <a:pt x="1370" y="1561"/>
                    <a:pt x="1384" y="1526"/>
                    <a:pt x="1394" y="1537"/>
                  </a:cubicBezTo>
                  <a:cubicBezTo>
                    <a:pt x="1404" y="1547"/>
                    <a:pt x="1379" y="1557"/>
                    <a:pt x="1388" y="1566"/>
                  </a:cubicBezTo>
                  <a:cubicBezTo>
                    <a:pt x="1396" y="1574"/>
                    <a:pt x="1415" y="1575"/>
                    <a:pt x="1415" y="1575"/>
                  </a:cubicBezTo>
                  <a:cubicBezTo>
                    <a:pt x="1415" y="1575"/>
                    <a:pt x="1422" y="1585"/>
                    <a:pt x="1430" y="1585"/>
                  </a:cubicBezTo>
                  <a:cubicBezTo>
                    <a:pt x="1438" y="1585"/>
                    <a:pt x="1436" y="1573"/>
                    <a:pt x="1449" y="1573"/>
                  </a:cubicBezTo>
                  <a:cubicBezTo>
                    <a:pt x="1462" y="1573"/>
                    <a:pt x="1465" y="1593"/>
                    <a:pt x="1471" y="1593"/>
                  </a:cubicBezTo>
                  <a:cubicBezTo>
                    <a:pt x="1477" y="1593"/>
                    <a:pt x="1484" y="1596"/>
                    <a:pt x="1487" y="1593"/>
                  </a:cubicBezTo>
                  <a:cubicBezTo>
                    <a:pt x="1490" y="1590"/>
                    <a:pt x="1503" y="1614"/>
                    <a:pt x="1509" y="1608"/>
                  </a:cubicBezTo>
                  <a:cubicBezTo>
                    <a:pt x="1515" y="1602"/>
                    <a:pt x="1531" y="1591"/>
                    <a:pt x="1531" y="1591"/>
                  </a:cubicBezTo>
                  <a:cubicBezTo>
                    <a:pt x="1531" y="1601"/>
                    <a:pt x="1531" y="1601"/>
                    <a:pt x="1531" y="1601"/>
                  </a:cubicBezTo>
                  <a:cubicBezTo>
                    <a:pt x="1561" y="1600"/>
                    <a:pt x="1561" y="1600"/>
                    <a:pt x="1561" y="1600"/>
                  </a:cubicBezTo>
                  <a:cubicBezTo>
                    <a:pt x="1561" y="1600"/>
                    <a:pt x="1558" y="1606"/>
                    <a:pt x="1586" y="1606"/>
                  </a:cubicBezTo>
                  <a:cubicBezTo>
                    <a:pt x="1598" y="1598"/>
                    <a:pt x="1605" y="1585"/>
                    <a:pt x="1606" y="1582"/>
                  </a:cubicBezTo>
                  <a:cubicBezTo>
                    <a:pt x="1607" y="1578"/>
                    <a:pt x="1626" y="1586"/>
                    <a:pt x="1626" y="1586"/>
                  </a:cubicBezTo>
                  <a:cubicBezTo>
                    <a:pt x="1634" y="1580"/>
                    <a:pt x="1634" y="1580"/>
                    <a:pt x="1634" y="1580"/>
                  </a:cubicBezTo>
                  <a:cubicBezTo>
                    <a:pt x="1634" y="1580"/>
                    <a:pt x="1641" y="1568"/>
                    <a:pt x="1642" y="1565"/>
                  </a:cubicBezTo>
                  <a:cubicBezTo>
                    <a:pt x="1643" y="1562"/>
                    <a:pt x="1651" y="1575"/>
                    <a:pt x="1651" y="1575"/>
                  </a:cubicBezTo>
                  <a:cubicBezTo>
                    <a:pt x="1668" y="1572"/>
                    <a:pt x="1668" y="1572"/>
                    <a:pt x="1668" y="1572"/>
                  </a:cubicBezTo>
                  <a:cubicBezTo>
                    <a:pt x="1668" y="1572"/>
                    <a:pt x="1659" y="1562"/>
                    <a:pt x="1668" y="1555"/>
                  </a:cubicBezTo>
                  <a:cubicBezTo>
                    <a:pt x="1677" y="1548"/>
                    <a:pt x="1686" y="1563"/>
                    <a:pt x="1686" y="1563"/>
                  </a:cubicBezTo>
                  <a:cubicBezTo>
                    <a:pt x="1704" y="1563"/>
                    <a:pt x="1704" y="1563"/>
                    <a:pt x="1704" y="1563"/>
                  </a:cubicBezTo>
                  <a:cubicBezTo>
                    <a:pt x="1708" y="1567"/>
                    <a:pt x="1708" y="1567"/>
                    <a:pt x="1708" y="1567"/>
                  </a:cubicBezTo>
                  <a:cubicBezTo>
                    <a:pt x="1708" y="1567"/>
                    <a:pt x="1728" y="1568"/>
                    <a:pt x="1733" y="1573"/>
                  </a:cubicBezTo>
                  <a:cubicBezTo>
                    <a:pt x="1738" y="1578"/>
                    <a:pt x="1727" y="1604"/>
                    <a:pt x="1727" y="1604"/>
                  </a:cubicBezTo>
                  <a:cubicBezTo>
                    <a:pt x="1733" y="1611"/>
                    <a:pt x="1733" y="1611"/>
                    <a:pt x="1733" y="1611"/>
                  </a:cubicBezTo>
                  <a:cubicBezTo>
                    <a:pt x="1727" y="1626"/>
                    <a:pt x="1727" y="1626"/>
                    <a:pt x="1727" y="1626"/>
                  </a:cubicBezTo>
                  <a:cubicBezTo>
                    <a:pt x="1727" y="1626"/>
                    <a:pt x="1766" y="1603"/>
                    <a:pt x="1777" y="1610"/>
                  </a:cubicBezTo>
                  <a:cubicBezTo>
                    <a:pt x="1788" y="1617"/>
                    <a:pt x="1760" y="1627"/>
                    <a:pt x="1759" y="1631"/>
                  </a:cubicBezTo>
                  <a:cubicBezTo>
                    <a:pt x="1758" y="1635"/>
                    <a:pt x="1773" y="1638"/>
                    <a:pt x="1773" y="1643"/>
                  </a:cubicBezTo>
                  <a:cubicBezTo>
                    <a:pt x="1773" y="1648"/>
                    <a:pt x="1757" y="1654"/>
                    <a:pt x="1757" y="1659"/>
                  </a:cubicBezTo>
                  <a:cubicBezTo>
                    <a:pt x="1757" y="1664"/>
                    <a:pt x="1770" y="1664"/>
                    <a:pt x="1767" y="1671"/>
                  </a:cubicBezTo>
                  <a:cubicBezTo>
                    <a:pt x="1764" y="1678"/>
                    <a:pt x="1758" y="1679"/>
                    <a:pt x="1758" y="1679"/>
                  </a:cubicBezTo>
                  <a:cubicBezTo>
                    <a:pt x="1756" y="1685"/>
                    <a:pt x="1756" y="1685"/>
                    <a:pt x="1756" y="1685"/>
                  </a:cubicBezTo>
                  <a:cubicBezTo>
                    <a:pt x="1769" y="1685"/>
                    <a:pt x="1769" y="1685"/>
                    <a:pt x="1769" y="1685"/>
                  </a:cubicBezTo>
                  <a:cubicBezTo>
                    <a:pt x="1765" y="1700"/>
                    <a:pt x="1765" y="1700"/>
                    <a:pt x="1765" y="1700"/>
                  </a:cubicBezTo>
                  <a:cubicBezTo>
                    <a:pt x="1771" y="1700"/>
                    <a:pt x="1778" y="1701"/>
                    <a:pt x="1781" y="1701"/>
                  </a:cubicBezTo>
                  <a:cubicBezTo>
                    <a:pt x="1786" y="1700"/>
                    <a:pt x="1794" y="1703"/>
                    <a:pt x="1806" y="1704"/>
                  </a:cubicBezTo>
                  <a:cubicBezTo>
                    <a:pt x="1818" y="1705"/>
                    <a:pt x="1825" y="1703"/>
                    <a:pt x="1825" y="1703"/>
                  </a:cubicBezTo>
                  <a:cubicBezTo>
                    <a:pt x="1837" y="1703"/>
                    <a:pt x="1852" y="1715"/>
                    <a:pt x="1863" y="1715"/>
                  </a:cubicBezTo>
                  <a:cubicBezTo>
                    <a:pt x="1874" y="1715"/>
                    <a:pt x="1884" y="1715"/>
                    <a:pt x="1884" y="1715"/>
                  </a:cubicBezTo>
                  <a:cubicBezTo>
                    <a:pt x="1906" y="1715"/>
                    <a:pt x="1904" y="1729"/>
                    <a:pt x="1904" y="1738"/>
                  </a:cubicBezTo>
                  <a:cubicBezTo>
                    <a:pt x="1904" y="1747"/>
                    <a:pt x="1914" y="1736"/>
                    <a:pt x="1914" y="1746"/>
                  </a:cubicBezTo>
                  <a:cubicBezTo>
                    <a:pt x="1914" y="1756"/>
                    <a:pt x="1910" y="1759"/>
                    <a:pt x="1905" y="1764"/>
                  </a:cubicBezTo>
                  <a:cubicBezTo>
                    <a:pt x="1900" y="1769"/>
                    <a:pt x="1918" y="1777"/>
                    <a:pt x="1918" y="1777"/>
                  </a:cubicBezTo>
                  <a:cubicBezTo>
                    <a:pt x="1903" y="1776"/>
                    <a:pt x="1903" y="1776"/>
                    <a:pt x="1903" y="1776"/>
                  </a:cubicBezTo>
                  <a:cubicBezTo>
                    <a:pt x="1903" y="1776"/>
                    <a:pt x="1903" y="1785"/>
                    <a:pt x="1896" y="1793"/>
                  </a:cubicBezTo>
                  <a:cubicBezTo>
                    <a:pt x="1888" y="1800"/>
                    <a:pt x="1887" y="1793"/>
                    <a:pt x="1868" y="1783"/>
                  </a:cubicBezTo>
                  <a:cubicBezTo>
                    <a:pt x="1849" y="1773"/>
                    <a:pt x="1855" y="1754"/>
                    <a:pt x="1855" y="1754"/>
                  </a:cubicBezTo>
                  <a:cubicBezTo>
                    <a:pt x="1844" y="1749"/>
                    <a:pt x="1844" y="1749"/>
                    <a:pt x="1844" y="1749"/>
                  </a:cubicBezTo>
                  <a:cubicBezTo>
                    <a:pt x="1846" y="1761"/>
                    <a:pt x="1846" y="1761"/>
                    <a:pt x="1846" y="1761"/>
                  </a:cubicBezTo>
                  <a:cubicBezTo>
                    <a:pt x="1846" y="1761"/>
                    <a:pt x="1854" y="1774"/>
                    <a:pt x="1846" y="1788"/>
                  </a:cubicBezTo>
                  <a:cubicBezTo>
                    <a:pt x="1838" y="1802"/>
                    <a:pt x="1820" y="1806"/>
                    <a:pt x="1812" y="1819"/>
                  </a:cubicBezTo>
                  <a:cubicBezTo>
                    <a:pt x="1804" y="1832"/>
                    <a:pt x="1801" y="1844"/>
                    <a:pt x="1793" y="1853"/>
                  </a:cubicBezTo>
                  <a:cubicBezTo>
                    <a:pt x="1785" y="1861"/>
                    <a:pt x="1769" y="1868"/>
                    <a:pt x="1762" y="1864"/>
                  </a:cubicBezTo>
                  <a:cubicBezTo>
                    <a:pt x="1758" y="1869"/>
                    <a:pt x="1755" y="1873"/>
                    <a:pt x="1755" y="1873"/>
                  </a:cubicBezTo>
                  <a:cubicBezTo>
                    <a:pt x="1755" y="1873"/>
                    <a:pt x="1757" y="1894"/>
                    <a:pt x="1749" y="1894"/>
                  </a:cubicBezTo>
                  <a:cubicBezTo>
                    <a:pt x="1741" y="1894"/>
                    <a:pt x="1696" y="1916"/>
                    <a:pt x="1706" y="1926"/>
                  </a:cubicBezTo>
                  <a:cubicBezTo>
                    <a:pt x="1707" y="1926"/>
                    <a:pt x="1707" y="1927"/>
                    <a:pt x="1708" y="1928"/>
                  </a:cubicBezTo>
                  <a:cubicBezTo>
                    <a:pt x="1716" y="1924"/>
                    <a:pt x="1723" y="1921"/>
                    <a:pt x="1724" y="1921"/>
                  </a:cubicBezTo>
                  <a:cubicBezTo>
                    <a:pt x="1727" y="1921"/>
                    <a:pt x="1731" y="1926"/>
                    <a:pt x="1731" y="1926"/>
                  </a:cubicBezTo>
                  <a:cubicBezTo>
                    <a:pt x="1731" y="1926"/>
                    <a:pt x="1746" y="1912"/>
                    <a:pt x="1754" y="1910"/>
                  </a:cubicBezTo>
                  <a:cubicBezTo>
                    <a:pt x="1762" y="1908"/>
                    <a:pt x="1770" y="1911"/>
                    <a:pt x="1770" y="1911"/>
                  </a:cubicBezTo>
                  <a:cubicBezTo>
                    <a:pt x="1770" y="1911"/>
                    <a:pt x="1775" y="1890"/>
                    <a:pt x="1800" y="1889"/>
                  </a:cubicBezTo>
                  <a:cubicBezTo>
                    <a:pt x="1825" y="1888"/>
                    <a:pt x="1842" y="1895"/>
                    <a:pt x="1842" y="1895"/>
                  </a:cubicBezTo>
                  <a:cubicBezTo>
                    <a:pt x="1858" y="1881"/>
                    <a:pt x="1858" y="1881"/>
                    <a:pt x="1858" y="1881"/>
                  </a:cubicBezTo>
                  <a:cubicBezTo>
                    <a:pt x="1900" y="1883"/>
                    <a:pt x="1900" y="1883"/>
                    <a:pt x="1900" y="1883"/>
                  </a:cubicBezTo>
                  <a:cubicBezTo>
                    <a:pt x="1903" y="1880"/>
                    <a:pt x="1905" y="1878"/>
                    <a:pt x="1906" y="1876"/>
                  </a:cubicBezTo>
                  <a:cubicBezTo>
                    <a:pt x="1908" y="1870"/>
                    <a:pt x="1908" y="1866"/>
                    <a:pt x="1907" y="1862"/>
                  </a:cubicBezTo>
                  <a:cubicBezTo>
                    <a:pt x="1889" y="1866"/>
                    <a:pt x="1883" y="1865"/>
                    <a:pt x="1882" y="1858"/>
                  </a:cubicBezTo>
                  <a:cubicBezTo>
                    <a:pt x="1881" y="1848"/>
                    <a:pt x="1915" y="1826"/>
                    <a:pt x="1928" y="1826"/>
                  </a:cubicBezTo>
                  <a:cubicBezTo>
                    <a:pt x="1941" y="1826"/>
                    <a:pt x="1960" y="1821"/>
                    <a:pt x="1964" y="1821"/>
                  </a:cubicBezTo>
                  <a:cubicBezTo>
                    <a:pt x="1968" y="1821"/>
                    <a:pt x="1985" y="1815"/>
                    <a:pt x="1985" y="1815"/>
                  </a:cubicBezTo>
                  <a:cubicBezTo>
                    <a:pt x="1985" y="1815"/>
                    <a:pt x="2012" y="1825"/>
                    <a:pt x="2016" y="1825"/>
                  </a:cubicBezTo>
                  <a:cubicBezTo>
                    <a:pt x="2020" y="1825"/>
                    <a:pt x="2020" y="1809"/>
                    <a:pt x="2020" y="1809"/>
                  </a:cubicBezTo>
                  <a:cubicBezTo>
                    <a:pt x="2020" y="1809"/>
                    <a:pt x="2027" y="1800"/>
                    <a:pt x="2037" y="1803"/>
                  </a:cubicBezTo>
                  <a:cubicBezTo>
                    <a:pt x="2040" y="1804"/>
                    <a:pt x="2042" y="1805"/>
                    <a:pt x="2043" y="1806"/>
                  </a:cubicBezTo>
                  <a:cubicBezTo>
                    <a:pt x="2045" y="1805"/>
                    <a:pt x="2047" y="1804"/>
                    <a:pt x="2048" y="1804"/>
                  </a:cubicBezTo>
                  <a:cubicBezTo>
                    <a:pt x="2054" y="1804"/>
                    <a:pt x="2056" y="1802"/>
                    <a:pt x="2064" y="1802"/>
                  </a:cubicBezTo>
                  <a:cubicBezTo>
                    <a:pt x="2072" y="1802"/>
                    <a:pt x="2106" y="1764"/>
                    <a:pt x="2123" y="1764"/>
                  </a:cubicBezTo>
                  <a:cubicBezTo>
                    <a:pt x="2140" y="1764"/>
                    <a:pt x="2271" y="1764"/>
                    <a:pt x="2271" y="1764"/>
                  </a:cubicBezTo>
                  <a:cubicBezTo>
                    <a:pt x="2271" y="1764"/>
                    <a:pt x="2271" y="1749"/>
                    <a:pt x="2283" y="1749"/>
                  </a:cubicBezTo>
                  <a:cubicBezTo>
                    <a:pt x="2295" y="1749"/>
                    <a:pt x="2303" y="1748"/>
                    <a:pt x="2303" y="1748"/>
                  </a:cubicBezTo>
                  <a:cubicBezTo>
                    <a:pt x="2303" y="1748"/>
                    <a:pt x="2314" y="1727"/>
                    <a:pt x="2323" y="1727"/>
                  </a:cubicBezTo>
                  <a:cubicBezTo>
                    <a:pt x="2333" y="1727"/>
                    <a:pt x="2340" y="1734"/>
                    <a:pt x="2340" y="1727"/>
                  </a:cubicBezTo>
                  <a:cubicBezTo>
                    <a:pt x="2340" y="1720"/>
                    <a:pt x="2343" y="1698"/>
                    <a:pt x="2349" y="1698"/>
                  </a:cubicBezTo>
                  <a:cubicBezTo>
                    <a:pt x="2355" y="1698"/>
                    <a:pt x="2363" y="1690"/>
                    <a:pt x="2363" y="1690"/>
                  </a:cubicBezTo>
                  <a:cubicBezTo>
                    <a:pt x="2363" y="1676"/>
                    <a:pt x="2363" y="1676"/>
                    <a:pt x="2363" y="1676"/>
                  </a:cubicBezTo>
                  <a:cubicBezTo>
                    <a:pt x="2390" y="1657"/>
                    <a:pt x="2390" y="1657"/>
                    <a:pt x="2390" y="1657"/>
                  </a:cubicBezTo>
                  <a:cubicBezTo>
                    <a:pt x="2390" y="1657"/>
                    <a:pt x="2401" y="1636"/>
                    <a:pt x="2414" y="1636"/>
                  </a:cubicBezTo>
                  <a:cubicBezTo>
                    <a:pt x="2427" y="1636"/>
                    <a:pt x="2418" y="1645"/>
                    <a:pt x="2430" y="1645"/>
                  </a:cubicBezTo>
                  <a:cubicBezTo>
                    <a:pt x="2442" y="1645"/>
                    <a:pt x="2469" y="1634"/>
                    <a:pt x="2469" y="1651"/>
                  </a:cubicBezTo>
                  <a:cubicBezTo>
                    <a:pt x="2469" y="1668"/>
                    <a:pt x="2439" y="1725"/>
                    <a:pt x="2442" y="1728"/>
                  </a:cubicBezTo>
                  <a:cubicBezTo>
                    <a:pt x="2445" y="1731"/>
                    <a:pt x="2453" y="1735"/>
                    <a:pt x="2453" y="1735"/>
                  </a:cubicBezTo>
                  <a:cubicBezTo>
                    <a:pt x="2453" y="1735"/>
                    <a:pt x="2439" y="1748"/>
                    <a:pt x="2444" y="1753"/>
                  </a:cubicBezTo>
                  <a:cubicBezTo>
                    <a:pt x="2449" y="1758"/>
                    <a:pt x="2457" y="1755"/>
                    <a:pt x="2457" y="1755"/>
                  </a:cubicBezTo>
                  <a:cubicBezTo>
                    <a:pt x="2458" y="1759"/>
                    <a:pt x="2458" y="1759"/>
                    <a:pt x="2458" y="1759"/>
                  </a:cubicBezTo>
                  <a:cubicBezTo>
                    <a:pt x="2462" y="1761"/>
                    <a:pt x="2472" y="1765"/>
                    <a:pt x="2484" y="1760"/>
                  </a:cubicBezTo>
                  <a:cubicBezTo>
                    <a:pt x="2499" y="1754"/>
                    <a:pt x="2511" y="1738"/>
                    <a:pt x="2511" y="1738"/>
                  </a:cubicBezTo>
                  <a:cubicBezTo>
                    <a:pt x="2517" y="1752"/>
                    <a:pt x="2517" y="1752"/>
                    <a:pt x="2517" y="1752"/>
                  </a:cubicBezTo>
                  <a:cubicBezTo>
                    <a:pt x="2517" y="1752"/>
                    <a:pt x="2549" y="1738"/>
                    <a:pt x="2554" y="1734"/>
                  </a:cubicBezTo>
                  <a:cubicBezTo>
                    <a:pt x="2559" y="1730"/>
                    <a:pt x="2580" y="1724"/>
                    <a:pt x="2580" y="1724"/>
                  </a:cubicBezTo>
                  <a:cubicBezTo>
                    <a:pt x="2590" y="1725"/>
                    <a:pt x="2590" y="1725"/>
                    <a:pt x="2590" y="1725"/>
                  </a:cubicBezTo>
                  <a:cubicBezTo>
                    <a:pt x="2561" y="1748"/>
                    <a:pt x="2561" y="1748"/>
                    <a:pt x="2561" y="1748"/>
                  </a:cubicBezTo>
                  <a:cubicBezTo>
                    <a:pt x="2622" y="1742"/>
                    <a:pt x="2622" y="1742"/>
                    <a:pt x="2622" y="1742"/>
                  </a:cubicBezTo>
                  <a:cubicBezTo>
                    <a:pt x="2622" y="1742"/>
                    <a:pt x="2593" y="1745"/>
                    <a:pt x="2592" y="1751"/>
                  </a:cubicBezTo>
                  <a:cubicBezTo>
                    <a:pt x="2591" y="1757"/>
                    <a:pt x="2587" y="1764"/>
                    <a:pt x="2587" y="1764"/>
                  </a:cubicBezTo>
                  <a:cubicBezTo>
                    <a:pt x="2587" y="1764"/>
                    <a:pt x="2568" y="1753"/>
                    <a:pt x="2561" y="1756"/>
                  </a:cubicBezTo>
                  <a:cubicBezTo>
                    <a:pt x="2554" y="1759"/>
                    <a:pt x="2486" y="1793"/>
                    <a:pt x="2483" y="1801"/>
                  </a:cubicBezTo>
                  <a:cubicBezTo>
                    <a:pt x="2480" y="1809"/>
                    <a:pt x="2474" y="1833"/>
                    <a:pt x="2479" y="1834"/>
                  </a:cubicBezTo>
                  <a:cubicBezTo>
                    <a:pt x="2484" y="1835"/>
                    <a:pt x="2491" y="1829"/>
                    <a:pt x="2491" y="1829"/>
                  </a:cubicBezTo>
                  <a:cubicBezTo>
                    <a:pt x="2491" y="1829"/>
                    <a:pt x="2489" y="1845"/>
                    <a:pt x="2498" y="1843"/>
                  </a:cubicBezTo>
                  <a:cubicBezTo>
                    <a:pt x="2507" y="1841"/>
                    <a:pt x="2513" y="1828"/>
                    <a:pt x="2513" y="1828"/>
                  </a:cubicBezTo>
                  <a:cubicBezTo>
                    <a:pt x="2513" y="1828"/>
                    <a:pt x="2539" y="1825"/>
                    <a:pt x="2553" y="1813"/>
                  </a:cubicBezTo>
                  <a:cubicBezTo>
                    <a:pt x="2567" y="1801"/>
                    <a:pt x="2582" y="1780"/>
                    <a:pt x="2582" y="1780"/>
                  </a:cubicBezTo>
                  <a:cubicBezTo>
                    <a:pt x="2582" y="1780"/>
                    <a:pt x="2582" y="1796"/>
                    <a:pt x="2596" y="1793"/>
                  </a:cubicBezTo>
                  <a:cubicBezTo>
                    <a:pt x="2610" y="1790"/>
                    <a:pt x="2644" y="1775"/>
                    <a:pt x="2655" y="1772"/>
                  </a:cubicBezTo>
                  <a:cubicBezTo>
                    <a:pt x="2666" y="1769"/>
                    <a:pt x="2718" y="1756"/>
                    <a:pt x="2718" y="1756"/>
                  </a:cubicBezTo>
                  <a:cubicBezTo>
                    <a:pt x="2709" y="1746"/>
                    <a:pt x="2709" y="1746"/>
                    <a:pt x="2709" y="1746"/>
                  </a:cubicBezTo>
                  <a:cubicBezTo>
                    <a:pt x="2713" y="1733"/>
                    <a:pt x="2713" y="1733"/>
                    <a:pt x="2713" y="1733"/>
                  </a:cubicBezTo>
                  <a:cubicBezTo>
                    <a:pt x="2692" y="1737"/>
                    <a:pt x="2692" y="1737"/>
                    <a:pt x="2692" y="1737"/>
                  </a:cubicBezTo>
                  <a:cubicBezTo>
                    <a:pt x="2691" y="1721"/>
                    <a:pt x="2691" y="1721"/>
                    <a:pt x="2691" y="1721"/>
                  </a:cubicBezTo>
                  <a:cubicBezTo>
                    <a:pt x="2691" y="1721"/>
                    <a:pt x="2667" y="1735"/>
                    <a:pt x="2661" y="1734"/>
                  </a:cubicBezTo>
                  <a:cubicBezTo>
                    <a:pt x="2655" y="1733"/>
                    <a:pt x="2657" y="1724"/>
                    <a:pt x="2657" y="1724"/>
                  </a:cubicBezTo>
                  <a:cubicBezTo>
                    <a:pt x="2657" y="1724"/>
                    <a:pt x="2625" y="1727"/>
                    <a:pt x="2619" y="1722"/>
                  </a:cubicBezTo>
                  <a:cubicBezTo>
                    <a:pt x="2613" y="1717"/>
                    <a:pt x="2605" y="1707"/>
                    <a:pt x="2614" y="1707"/>
                  </a:cubicBezTo>
                  <a:cubicBezTo>
                    <a:pt x="2623" y="1707"/>
                    <a:pt x="2610" y="1694"/>
                    <a:pt x="2599" y="1697"/>
                  </a:cubicBezTo>
                  <a:cubicBezTo>
                    <a:pt x="2588" y="1700"/>
                    <a:pt x="2584" y="1681"/>
                    <a:pt x="2584" y="1676"/>
                  </a:cubicBezTo>
                  <a:cubicBezTo>
                    <a:pt x="2584" y="1671"/>
                    <a:pt x="2596" y="1658"/>
                    <a:pt x="2596" y="1658"/>
                  </a:cubicBezTo>
                  <a:cubicBezTo>
                    <a:pt x="2580" y="1657"/>
                    <a:pt x="2580" y="1657"/>
                    <a:pt x="2580" y="1657"/>
                  </a:cubicBezTo>
                  <a:cubicBezTo>
                    <a:pt x="2580" y="1657"/>
                    <a:pt x="2599" y="1642"/>
                    <a:pt x="2606" y="1634"/>
                  </a:cubicBezTo>
                  <a:cubicBezTo>
                    <a:pt x="2613" y="1626"/>
                    <a:pt x="2632" y="1607"/>
                    <a:pt x="2632" y="1607"/>
                  </a:cubicBezTo>
                  <a:cubicBezTo>
                    <a:pt x="2622" y="1604"/>
                    <a:pt x="2622" y="1604"/>
                    <a:pt x="2622" y="1604"/>
                  </a:cubicBezTo>
                  <a:cubicBezTo>
                    <a:pt x="2608" y="1622"/>
                    <a:pt x="2608" y="1622"/>
                    <a:pt x="2608" y="1622"/>
                  </a:cubicBezTo>
                  <a:cubicBezTo>
                    <a:pt x="2593" y="1614"/>
                    <a:pt x="2593" y="1614"/>
                    <a:pt x="2593" y="1614"/>
                  </a:cubicBezTo>
                  <a:cubicBezTo>
                    <a:pt x="2574" y="1628"/>
                    <a:pt x="2574" y="1628"/>
                    <a:pt x="2574" y="1628"/>
                  </a:cubicBezTo>
                  <a:cubicBezTo>
                    <a:pt x="2571" y="1615"/>
                    <a:pt x="2571" y="1615"/>
                    <a:pt x="2571" y="1615"/>
                  </a:cubicBezTo>
                  <a:cubicBezTo>
                    <a:pt x="2552" y="1608"/>
                    <a:pt x="2552" y="1608"/>
                    <a:pt x="2552" y="1608"/>
                  </a:cubicBezTo>
                  <a:cubicBezTo>
                    <a:pt x="2537" y="1610"/>
                    <a:pt x="2537" y="1610"/>
                    <a:pt x="2537" y="1610"/>
                  </a:cubicBezTo>
                  <a:cubicBezTo>
                    <a:pt x="2574" y="1597"/>
                    <a:pt x="2574" y="1597"/>
                    <a:pt x="2574" y="1597"/>
                  </a:cubicBezTo>
                  <a:cubicBezTo>
                    <a:pt x="2574" y="1597"/>
                    <a:pt x="2581" y="1607"/>
                    <a:pt x="2591" y="1606"/>
                  </a:cubicBezTo>
                  <a:cubicBezTo>
                    <a:pt x="2601" y="1605"/>
                    <a:pt x="2624" y="1587"/>
                    <a:pt x="2624" y="1587"/>
                  </a:cubicBezTo>
                  <a:cubicBezTo>
                    <a:pt x="2624" y="1587"/>
                    <a:pt x="2650" y="1592"/>
                    <a:pt x="2651" y="1585"/>
                  </a:cubicBezTo>
                  <a:cubicBezTo>
                    <a:pt x="2652" y="1578"/>
                    <a:pt x="2644" y="1567"/>
                    <a:pt x="2644" y="1567"/>
                  </a:cubicBezTo>
                  <a:cubicBezTo>
                    <a:pt x="2660" y="1566"/>
                    <a:pt x="2660" y="1566"/>
                    <a:pt x="2660" y="1566"/>
                  </a:cubicBezTo>
                  <a:cubicBezTo>
                    <a:pt x="2660" y="1566"/>
                    <a:pt x="2651" y="1543"/>
                    <a:pt x="2609" y="1543"/>
                  </a:cubicBezTo>
                  <a:cubicBezTo>
                    <a:pt x="2567" y="1543"/>
                    <a:pt x="2517" y="1564"/>
                    <a:pt x="2494" y="1569"/>
                  </a:cubicBezTo>
                  <a:cubicBezTo>
                    <a:pt x="2471" y="1574"/>
                    <a:pt x="2434" y="1597"/>
                    <a:pt x="2427" y="1603"/>
                  </a:cubicBezTo>
                  <a:cubicBezTo>
                    <a:pt x="2420" y="1609"/>
                    <a:pt x="2378" y="1642"/>
                    <a:pt x="2368" y="1650"/>
                  </a:cubicBezTo>
                  <a:cubicBezTo>
                    <a:pt x="2358" y="1658"/>
                    <a:pt x="2322" y="1663"/>
                    <a:pt x="2322" y="1663"/>
                  </a:cubicBezTo>
                  <a:cubicBezTo>
                    <a:pt x="2322" y="1663"/>
                    <a:pt x="2372" y="1635"/>
                    <a:pt x="2381" y="1626"/>
                  </a:cubicBezTo>
                  <a:cubicBezTo>
                    <a:pt x="2390" y="1617"/>
                    <a:pt x="2403" y="1603"/>
                    <a:pt x="2403" y="1603"/>
                  </a:cubicBezTo>
                  <a:cubicBezTo>
                    <a:pt x="2388" y="1594"/>
                    <a:pt x="2388" y="1594"/>
                    <a:pt x="2388" y="1594"/>
                  </a:cubicBezTo>
                  <a:cubicBezTo>
                    <a:pt x="2388" y="1594"/>
                    <a:pt x="2409" y="1602"/>
                    <a:pt x="2414" y="1597"/>
                  </a:cubicBezTo>
                  <a:cubicBezTo>
                    <a:pt x="2419" y="1592"/>
                    <a:pt x="2469" y="1559"/>
                    <a:pt x="2481" y="1550"/>
                  </a:cubicBezTo>
                  <a:cubicBezTo>
                    <a:pt x="2493" y="1541"/>
                    <a:pt x="2531" y="1535"/>
                    <a:pt x="2535" y="1537"/>
                  </a:cubicBezTo>
                  <a:cubicBezTo>
                    <a:pt x="2539" y="1539"/>
                    <a:pt x="2561" y="1501"/>
                    <a:pt x="2591" y="1496"/>
                  </a:cubicBezTo>
                  <a:cubicBezTo>
                    <a:pt x="2621" y="1491"/>
                    <a:pt x="2697" y="1487"/>
                    <a:pt x="2713" y="1487"/>
                  </a:cubicBezTo>
                  <a:cubicBezTo>
                    <a:pt x="2729" y="1487"/>
                    <a:pt x="2788" y="1504"/>
                    <a:pt x="2798" y="1502"/>
                  </a:cubicBezTo>
                  <a:cubicBezTo>
                    <a:pt x="2808" y="1500"/>
                    <a:pt x="2829" y="1489"/>
                    <a:pt x="2839" y="1488"/>
                  </a:cubicBezTo>
                  <a:cubicBezTo>
                    <a:pt x="2849" y="1487"/>
                    <a:pt x="2880" y="1482"/>
                    <a:pt x="2892" y="1473"/>
                  </a:cubicBezTo>
                  <a:cubicBezTo>
                    <a:pt x="2904" y="1464"/>
                    <a:pt x="2930" y="1439"/>
                    <a:pt x="2940" y="1437"/>
                  </a:cubicBezTo>
                  <a:cubicBezTo>
                    <a:pt x="2950" y="1435"/>
                    <a:pt x="2967" y="1436"/>
                    <a:pt x="2967" y="1436"/>
                  </a:cubicBezTo>
                  <a:cubicBezTo>
                    <a:pt x="2967" y="1436"/>
                    <a:pt x="2980" y="1424"/>
                    <a:pt x="2990" y="1424"/>
                  </a:cubicBezTo>
                  <a:cubicBezTo>
                    <a:pt x="3000" y="1424"/>
                    <a:pt x="3001" y="1429"/>
                    <a:pt x="3018" y="1421"/>
                  </a:cubicBezTo>
                  <a:cubicBezTo>
                    <a:pt x="3018" y="1421"/>
                    <a:pt x="3083" y="1404"/>
                    <a:pt x="3077" y="1394"/>
                  </a:cubicBezTo>
                  <a:cubicBezTo>
                    <a:pt x="3071" y="1384"/>
                    <a:pt x="3052" y="1371"/>
                    <a:pt x="3052" y="1371"/>
                  </a:cubicBezTo>
                  <a:cubicBezTo>
                    <a:pt x="3052" y="1371"/>
                    <a:pt x="3076" y="1373"/>
                    <a:pt x="3076" y="1364"/>
                  </a:cubicBezTo>
                  <a:cubicBezTo>
                    <a:pt x="3076" y="1355"/>
                    <a:pt x="3072" y="1343"/>
                    <a:pt x="3072" y="1343"/>
                  </a:cubicBezTo>
                  <a:cubicBezTo>
                    <a:pt x="3072" y="1343"/>
                    <a:pt x="3100" y="1347"/>
                    <a:pt x="3094" y="1331"/>
                  </a:cubicBezTo>
                  <a:cubicBezTo>
                    <a:pt x="3088" y="1315"/>
                    <a:pt x="3065" y="1304"/>
                    <a:pt x="3058" y="1312"/>
                  </a:cubicBezTo>
                  <a:close/>
                  <a:moveTo>
                    <a:pt x="969" y="735"/>
                  </a:moveTo>
                  <a:cubicBezTo>
                    <a:pt x="976" y="730"/>
                    <a:pt x="1004" y="720"/>
                    <a:pt x="1004" y="720"/>
                  </a:cubicBezTo>
                  <a:cubicBezTo>
                    <a:pt x="1004" y="720"/>
                    <a:pt x="999" y="712"/>
                    <a:pt x="1005" y="709"/>
                  </a:cubicBezTo>
                  <a:cubicBezTo>
                    <a:pt x="1011" y="706"/>
                    <a:pt x="1029" y="715"/>
                    <a:pt x="1051" y="709"/>
                  </a:cubicBezTo>
                  <a:cubicBezTo>
                    <a:pt x="1073" y="703"/>
                    <a:pt x="1053" y="691"/>
                    <a:pt x="1034" y="691"/>
                  </a:cubicBezTo>
                  <a:cubicBezTo>
                    <a:pt x="1015" y="691"/>
                    <a:pt x="1010" y="698"/>
                    <a:pt x="999" y="703"/>
                  </a:cubicBezTo>
                  <a:cubicBezTo>
                    <a:pt x="988" y="708"/>
                    <a:pt x="989" y="698"/>
                    <a:pt x="989" y="698"/>
                  </a:cubicBezTo>
                  <a:cubicBezTo>
                    <a:pt x="977" y="703"/>
                    <a:pt x="977" y="703"/>
                    <a:pt x="977" y="703"/>
                  </a:cubicBezTo>
                  <a:cubicBezTo>
                    <a:pt x="954" y="700"/>
                    <a:pt x="954" y="700"/>
                    <a:pt x="954" y="700"/>
                  </a:cubicBezTo>
                  <a:cubicBezTo>
                    <a:pt x="954" y="700"/>
                    <a:pt x="933" y="710"/>
                    <a:pt x="924" y="707"/>
                  </a:cubicBezTo>
                  <a:cubicBezTo>
                    <a:pt x="915" y="704"/>
                    <a:pt x="950" y="694"/>
                    <a:pt x="960" y="689"/>
                  </a:cubicBezTo>
                  <a:cubicBezTo>
                    <a:pt x="970" y="684"/>
                    <a:pt x="979" y="690"/>
                    <a:pt x="992" y="690"/>
                  </a:cubicBezTo>
                  <a:cubicBezTo>
                    <a:pt x="1005" y="690"/>
                    <a:pt x="1001" y="681"/>
                    <a:pt x="1001" y="681"/>
                  </a:cubicBezTo>
                  <a:cubicBezTo>
                    <a:pt x="1071" y="676"/>
                    <a:pt x="1071" y="676"/>
                    <a:pt x="1071" y="676"/>
                  </a:cubicBezTo>
                  <a:cubicBezTo>
                    <a:pt x="1071" y="676"/>
                    <a:pt x="1106" y="666"/>
                    <a:pt x="1119" y="664"/>
                  </a:cubicBezTo>
                  <a:cubicBezTo>
                    <a:pt x="1132" y="662"/>
                    <a:pt x="1140" y="669"/>
                    <a:pt x="1140" y="669"/>
                  </a:cubicBezTo>
                  <a:cubicBezTo>
                    <a:pt x="1140" y="669"/>
                    <a:pt x="1143" y="663"/>
                    <a:pt x="1150" y="660"/>
                  </a:cubicBezTo>
                  <a:cubicBezTo>
                    <a:pt x="1157" y="657"/>
                    <a:pt x="1179" y="667"/>
                    <a:pt x="1179" y="667"/>
                  </a:cubicBezTo>
                  <a:cubicBezTo>
                    <a:pt x="1179" y="667"/>
                    <a:pt x="1157" y="673"/>
                    <a:pt x="1149" y="677"/>
                  </a:cubicBezTo>
                  <a:cubicBezTo>
                    <a:pt x="1141" y="681"/>
                    <a:pt x="1107" y="683"/>
                    <a:pt x="1107" y="683"/>
                  </a:cubicBezTo>
                  <a:cubicBezTo>
                    <a:pt x="1105" y="691"/>
                    <a:pt x="1105" y="691"/>
                    <a:pt x="1105" y="691"/>
                  </a:cubicBezTo>
                  <a:cubicBezTo>
                    <a:pt x="1123" y="691"/>
                    <a:pt x="1123" y="691"/>
                    <a:pt x="1123" y="691"/>
                  </a:cubicBezTo>
                  <a:cubicBezTo>
                    <a:pt x="1123" y="691"/>
                    <a:pt x="1134" y="694"/>
                    <a:pt x="1138" y="694"/>
                  </a:cubicBezTo>
                  <a:cubicBezTo>
                    <a:pt x="1142" y="694"/>
                    <a:pt x="1168" y="691"/>
                    <a:pt x="1182" y="690"/>
                  </a:cubicBezTo>
                  <a:cubicBezTo>
                    <a:pt x="1196" y="689"/>
                    <a:pt x="1176" y="680"/>
                    <a:pt x="1176" y="680"/>
                  </a:cubicBezTo>
                  <a:cubicBezTo>
                    <a:pt x="1213" y="679"/>
                    <a:pt x="1213" y="679"/>
                    <a:pt x="1213" y="679"/>
                  </a:cubicBezTo>
                  <a:cubicBezTo>
                    <a:pt x="1213" y="679"/>
                    <a:pt x="1208" y="692"/>
                    <a:pt x="1189" y="698"/>
                  </a:cubicBezTo>
                  <a:cubicBezTo>
                    <a:pt x="1170" y="704"/>
                    <a:pt x="1158" y="711"/>
                    <a:pt x="1158" y="711"/>
                  </a:cubicBezTo>
                  <a:cubicBezTo>
                    <a:pt x="1158" y="711"/>
                    <a:pt x="1157" y="723"/>
                    <a:pt x="1149" y="725"/>
                  </a:cubicBezTo>
                  <a:cubicBezTo>
                    <a:pt x="1141" y="727"/>
                    <a:pt x="1119" y="716"/>
                    <a:pt x="1119" y="716"/>
                  </a:cubicBezTo>
                  <a:cubicBezTo>
                    <a:pt x="1114" y="723"/>
                    <a:pt x="1114" y="723"/>
                    <a:pt x="1114" y="723"/>
                  </a:cubicBezTo>
                  <a:cubicBezTo>
                    <a:pt x="1104" y="714"/>
                    <a:pt x="1104" y="714"/>
                    <a:pt x="1104" y="714"/>
                  </a:cubicBezTo>
                  <a:cubicBezTo>
                    <a:pt x="1094" y="724"/>
                    <a:pt x="1094" y="724"/>
                    <a:pt x="1094" y="724"/>
                  </a:cubicBezTo>
                  <a:cubicBezTo>
                    <a:pt x="1094" y="724"/>
                    <a:pt x="1086" y="718"/>
                    <a:pt x="1080" y="725"/>
                  </a:cubicBezTo>
                  <a:cubicBezTo>
                    <a:pt x="1074" y="732"/>
                    <a:pt x="1086" y="738"/>
                    <a:pt x="1086" y="738"/>
                  </a:cubicBezTo>
                  <a:cubicBezTo>
                    <a:pt x="1065" y="741"/>
                    <a:pt x="1065" y="741"/>
                    <a:pt x="1065" y="741"/>
                  </a:cubicBezTo>
                  <a:cubicBezTo>
                    <a:pt x="1065" y="741"/>
                    <a:pt x="1050" y="751"/>
                    <a:pt x="1047" y="751"/>
                  </a:cubicBezTo>
                  <a:cubicBezTo>
                    <a:pt x="1044" y="751"/>
                    <a:pt x="1001" y="764"/>
                    <a:pt x="990" y="760"/>
                  </a:cubicBezTo>
                  <a:cubicBezTo>
                    <a:pt x="979" y="756"/>
                    <a:pt x="1018" y="749"/>
                    <a:pt x="1033" y="746"/>
                  </a:cubicBezTo>
                  <a:cubicBezTo>
                    <a:pt x="1048" y="743"/>
                    <a:pt x="1070" y="726"/>
                    <a:pt x="1057" y="724"/>
                  </a:cubicBezTo>
                  <a:cubicBezTo>
                    <a:pt x="1044" y="722"/>
                    <a:pt x="992" y="751"/>
                    <a:pt x="979" y="753"/>
                  </a:cubicBezTo>
                  <a:cubicBezTo>
                    <a:pt x="966" y="755"/>
                    <a:pt x="940" y="751"/>
                    <a:pt x="931" y="746"/>
                  </a:cubicBezTo>
                  <a:cubicBezTo>
                    <a:pt x="922" y="741"/>
                    <a:pt x="962" y="740"/>
                    <a:pt x="969" y="735"/>
                  </a:cubicBezTo>
                  <a:close/>
                  <a:moveTo>
                    <a:pt x="1324" y="872"/>
                  </a:moveTo>
                  <a:cubicBezTo>
                    <a:pt x="1324" y="869"/>
                    <a:pt x="1312" y="855"/>
                    <a:pt x="1308" y="862"/>
                  </a:cubicBezTo>
                  <a:cubicBezTo>
                    <a:pt x="1304" y="869"/>
                    <a:pt x="1305" y="876"/>
                    <a:pt x="1305" y="876"/>
                  </a:cubicBezTo>
                  <a:cubicBezTo>
                    <a:pt x="1305" y="876"/>
                    <a:pt x="1291" y="868"/>
                    <a:pt x="1285" y="870"/>
                  </a:cubicBezTo>
                  <a:cubicBezTo>
                    <a:pt x="1279" y="872"/>
                    <a:pt x="1283" y="879"/>
                    <a:pt x="1283" y="879"/>
                  </a:cubicBezTo>
                  <a:cubicBezTo>
                    <a:pt x="1266" y="881"/>
                    <a:pt x="1266" y="881"/>
                    <a:pt x="1266" y="881"/>
                  </a:cubicBezTo>
                  <a:cubicBezTo>
                    <a:pt x="1266" y="881"/>
                    <a:pt x="1254" y="877"/>
                    <a:pt x="1239" y="887"/>
                  </a:cubicBezTo>
                  <a:cubicBezTo>
                    <a:pt x="1224" y="897"/>
                    <a:pt x="1195" y="916"/>
                    <a:pt x="1181" y="919"/>
                  </a:cubicBezTo>
                  <a:cubicBezTo>
                    <a:pt x="1167" y="922"/>
                    <a:pt x="1147" y="928"/>
                    <a:pt x="1147" y="928"/>
                  </a:cubicBezTo>
                  <a:cubicBezTo>
                    <a:pt x="1147" y="928"/>
                    <a:pt x="1116" y="920"/>
                    <a:pt x="1108" y="928"/>
                  </a:cubicBezTo>
                  <a:cubicBezTo>
                    <a:pt x="1100" y="936"/>
                    <a:pt x="1094" y="947"/>
                    <a:pt x="1094" y="947"/>
                  </a:cubicBezTo>
                  <a:cubicBezTo>
                    <a:pt x="1065" y="947"/>
                    <a:pt x="1065" y="947"/>
                    <a:pt x="1065" y="947"/>
                  </a:cubicBezTo>
                  <a:cubicBezTo>
                    <a:pt x="1059" y="953"/>
                    <a:pt x="1059" y="953"/>
                    <a:pt x="1059" y="953"/>
                  </a:cubicBezTo>
                  <a:cubicBezTo>
                    <a:pt x="1059" y="953"/>
                    <a:pt x="1045" y="950"/>
                    <a:pt x="1038" y="952"/>
                  </a:cubicBezTo>
                  <a:cubicBezTo>
                    <a:pt x="1031" y="954"/>
                    <a:pt x="1012" y="957"/>
                    <a:pt x="1005" y="956"/>
                  </a:cubicBezTo>
                  <a:cubicBezTo>
                    <a:pt x="998" y="955"/>
                    <a:pt x="987" y="947"/>
                    <a:pt x="984" y="948"/>
                  </a:cubicBezTo>
                  <a:cubicBezTo>
                    <a:pt x="981" y="949"/>
                    <a:pt x="963" y="946"/>
                    <a:pt x="963" y="942"/>
                  </a:cubicBezTo>
                  <a:cubicBezTo>
                    <a:pt x="963" y="938"/>
                    <a:pt x="985" y="939"/>
                    <a:pt x="985" y="939"/>
                  </a:cubicBezTo>
                  <a:cubicBezTo>
                    <a:pt x="985" y="939"/>
                    <a:pt x="994" y="929"/>
                    <a:pt x="997" y="929"/>
                  </a:cubicBezTo>
                  <a:cubicBezTo>
                    <a:pt x="1000" y="929"/>
                    <a:pt x="1008" y="937"/>
                    <a:pt x="1018" y="937"/>
                  </a:cubicBezTo>
                  <a:cubicBezTo>
                    <a:pt x="1028" y="937"/>
                    <a:pt x="1028" y="929"/>
                    <a:pt x="1028" y="929"/>
                  </a:cubicBezTo>
                  <a:cubicBezTo>
                    <a:pt x="1039" y="929"/>
                    <a:pt x="1039" y="929"/>
                    <a:pt x="1039" y="929"/>
                  </a:cubicBezTo>
                  <a:cubicBezTo>
                    <a:pt x="1039" y="929"/>
                    <a:pt x="1049" y="911"/>
                    <a:pt x="1059" y="910"/>
                  </a:cubicBezTo>
                  <a:cubicBezTo>
                    <a:pt x="1069" y="909"/>
                    <a:pt x="1072" y="918"/>
                    <a:pt x="1090" y="911"/>
                  </a:cubicBezTo>
                  <a:cubicBezTo>
                    <a:pt x="1108" y="904"/>
                    <a:pt x="1093" y="882"/>
                    <a:pt x="1093" y="882"/>
                  </a:cubicBezTo>
                  <a:cubicBezTo>
                    <a:pt x="1093" y="882"/>
                    <a:pt x="1071" y="868"/>
                    <a:pt x="1085" y="862"/>
                  </a:cubicBezTo>
                  <a:cubicBezTo>
                    <a:pt x="1091" y="859"/>
                    <a:pt x="1099" y="872"/>
                    <a:pt x="1099" y="872"/>
                  </a:cubicBezTo>
                  <a:cubicBezTo>
                    <a:pt x="1107" y="871"/>
                    <a:pt x="1107" y="871"/>
                    <a:pt x="1107" y="871"/>
                  </a:cubicBezTo>
                  <a:cubicBezTo>
                    <a:pt x="1119" y="882"/>
                    <a:pt x="1119" y="882"/>
                    <a:pt x="1119" y="882"/>
                  </a:cubicBezTo>
                  <a:cubicBezTo>
                    <a:pt x="1119" y="882"/>
                    <a:pt x="1133" y="881"/>
                    <a:pt x="1137" y="884"/>
                  </a:cubicBezTo>
                  <a:cubicBezTo>
                    <a:pt x="1141" y="887"/>
                    <a:pt x="1130" y="902"/>
                    <a:pt x="1153" y="901"/>
                  </a:cubicBezTo>
                  <a:cubicBezTo>
                    <a:pt x="1176" y="900"/>
                    <a:pt x="1176" y="895"/>
                    <a:pt x="1176" y="895"/>
                  </a:cubicBezTo>
                  <a:cubicBezTo>
                    <a:pt x="1187" y="896"/>
                    <a:pt x="1187" y="896"/>
                    <a:pt x="1187" y="896"/>
                  </a:cubicBezTo>
                  <a:cubicBezTo>
                    <a:pt x="1187" y="896"/>
                    <a:pt x="1227" y="880"/>
                    <a:pt x="1241" y="871"/>
                  </a:cubicBezTo>
                  <a:cubicBezTo>
                    <a:pt x="1255" y="862"/>
                    <a:pt x="1277" y="855"/>
                    <a:pt x="1295" y="854"/>
                  </a:cubicBezTo>
                  <a:cubicBezTo>
                    <a:pt x="1313" y="853"/>
                    <a:pt x="1351" y="857"/>
                    <a:pt x="1348" y="861"/>
                  </a:cubicBezTo>
                  <a:cubicBezTo>
                    <a:pt x="1345" y="865"/>
                    <a:pt x="1324" y="875"/>
                    <a:pt x="1324" y="872"/>
                  </a:cubicBezTo>
                  <a:close/>
                  <a:moveTo>
                    <a:pt x="1405" y="1355"/>
                  </a:moveTo>
                  <a:cubicBezTo>
                    <a:pt x="1405" y="1355"/>
                    <a:pt x="1402" y="1384"/>
                    <a:pt x="1403" y="1393"/>
                  </a:cubicBezTo>
                  <a:cubicBezTo>
                    <a:pt x="1404" y="1402"/>
                    <a:pt x="1399" y="1411"/>
                    <a:pt x="1396" y="1416"/>
                  </a:cubicBezTo>
                  <a:cubicBezTo>
                    <a:pt x="1393" y="1421"/>
                    <a:pt x="1400" y="1422"/>
                    <a:pt x="1403" y="1433"/>
                  </a:cubicBezTo>
                  <a:cubicBezTo>
                    <a:pt x="1406" y="1444"/>
                    <a:pt x="1382" y="1471"/>
                    <a:pt x="1382" y="1471"/>
                  </a:cubicBezTo>
                  <a:cubicBezTo>
                    <a:pt x="1368" y="1466"/>
                    <a:pt x="1368" y="1466"/>
                    <a:pt x="1368" y="1466"/>
                  </a:cubicBezTo>
                  <a:cubicBezTo>
                    <a:pt x="1368" y="1466"/>
                    <a:pt x="1365" y="1485"/>
                    <a:pt x="1348" y="1482"/>
                  </a:cubicBezTo>
                  <a:cubicBezTo>
                    <a:pt x="1331" y="1479"/>
                    <a:pt x="1387" y="1431"/>
                    <a:pt x="1387" y="1419"/>
                  </a:cubicBezTo>
                  <a:cubicBezTo>
                    <a:pt x="1387" y="1407"/>
                    <a:pt x="1366" y="1427"/>
                    <a:pt x="1366" y="1427"/>
                  </a:cubicBezTo>
                  <a:cubicBezTo>
                    <a:pt x="1379" y="1406"/>
                    <a:pt x="1379" y="1406"/>
                    <a:pt x="1379" y="1406"/>
                  </a:cubicBezTo>
                  <a:cubicBezTo>
                    <a:pt x="1379" y="1406"/>
                    <a:pt x="1383" y="1393"/>
                    <a:pt x="1372" y="1390"/>
                  </a:cubicBezTo>
                  <a:cubicBezTo>
                    <a:pt x="1361" y="1387"/>
                    <a:pt x="1367" y="1407"/>
                    <a:pt x="1354" y="1407"/>
                  </a:cubicBezTo>
                  <a:cubicBezTo>
                    <a:pt x="1341" y="1407"/>
                    <a:pt x="1351" y="1376"/>
                    <a:pt x="1351" y="1376"/>
                  </a:cubicBezTo>
                  <a:cubicBezTo>
                    <a:pt x="1351" y="1376"/>
                    <a:pt x="1345" y="1370"/>
                    <a:pt x="1343" y="1361"/>
                  </a:cubicBezTo>
                  <a:cubicBezTo>
                    <a:pt x="1341" y="1352"/>
                    <a:pt x="1365" y="1352"/>
                    <a:pt x="1367" y="1346"/>
                  </a:cubicBezTo>
                  <a:cubicBezTo>
                    <a:pt x="1369" y="1340"/>
                    <a:pt x="1347" y="1349"/>
                    <a:pt x="1343" y="1340"/>
                  </a:cubicBezTo>
                  <a:cubicBezTo>
                    <a:pt x="1342" y="1338"/>
                    <a:pt x="1372" y="1307"/>
                    <a:pt x="1382" y="1303"/>
                  </a:cubicBezTo>
                  <a:cubicBezTo>
                    <a:pt x="1392" y="1299"/>
                    <a:pt x="1391" y="1306"/>
                    <a:pt x="1395" y="1307"/>
                  </a:cubicBezTo>
                  <a:cubicBezTo>
                    <a:pt x="1399" y="1308"/>
                    <a:pt x="1410" y="1305"/>
                    <a:pt x="1418" y="1322"/>
                  </a:cubicBezTo>
                  <a:cubicBezTo>
                    <a:pt x="1426" y="1339"/>
                    <a:pt x="1405" y="1355"/>
                    <a:pt x="1405" y="1355"/>
                  </a:cubicBezTo>
                  <a:close/>
                  <a:moveTo>
                    <a:pt x="156" y="1459"/>
                  </a:moveTo>
                  <a:cubicBezTo>
                    <a:pt x="146" y="1456"/>
                    <a:pt x="147" y="1473"/>
                    <a:pt x="147" y="1473"/>
                  </a:cubicBezTo>
                  <a:cubicBezTo>
                    <a:pt x="155" y="1473"/>
                    <a:pt x="166" y="1462"/>
                    <a:pt x="156" y="1459"/>
                  </a:cubicBezTo>
                  <a:close/>
                  <a:moveTo>
                    <a:pt x="2216" y="1197"/>
                  </a:moveTo>
                  <a:cubicBezTo>
                    <a:pt x="2248" y="1196"/>
                    <a:pt x="2259" y="1170"/>
                    <a:pt x="2228" y="1170"/>
                  </a:cubicBezTo>
                  <a:cubicBezTo>
                    <a:pt x="2196" y="1171"/>
                    <a:pt x="2216" y="1197"/>
                    <a:pt x="2216" y="1197"/>
                  </a:cubicBezTo>
                  <a:close/>
                  <a:moveTo>
                    <a:pt x="2456" y="825"/>
                  </a:moveTo>
                  <a:cubicBezTo>
                    <a:pt x="2456" y="825"/>
                    <a:pt x="2433" y="822"/>
                    <a:pt x="2423" y="814"/>
                  </a:cubicBezTo>
                  <a:cubicBezTo>
                    <a:pt x="2413" y="806"/>
                    <a:pt x="2418" y="785"/>
                    <a:pt x="2418" y="785"/>
                  </a:cubicBezTo>
                  <a:cubicBezTo>
                    <a:pt x="2397" y="769"/>
                    <a:pt x="2397" y="769"/>
                    <a:pt x="2397" y="769"/>
                  </a:cubicBezTo>
                  <a:cubicBezTo>
                    <a:pt x="2370" y="772"/>
                    <a:pt x="2370" y="772"/>
                    <a:pt x="2370" y="772"/>
                  </a:cubicBezTo>
                  <a:cubicBezTo>
                    <a:pt x="2366" y="763"/>
                    <a:pt x="2366" y="763"/>
                    <a:pt x="2366" y="763"/>
                  </a:cubicBezTo>
                  <a:cubicBezTo>
                    <a:pt x="2353" y="741"/>
                    <a:pt x="2353" y="741"/>
                    <a:pt x="2353" y="741"/>
                  </a:cubicBezTo>
                  <a:cubicBezTo>
                    <a:pt x="2330" y="745"/>
                    <a:pt x="2330" y="745"/>
                    <a:pt x="2330" y="745"/>
                  </a:cubicBezTo>
                  <a:cubicBezTo>
                    <a:pt x="2317" y="738"/>
                    <a:pt x="2317" y="738"/>
                    <a:pt x="2317" y="738"/>
                  </a:cubicBezTo>
                  <a:cubicBezTo>
                    <a:pt x="2329" y="727"/>
                    <a:pt x="2329" y="727"/>
                    <a:pt x="2329" y="727"/>
                  </a:cubicBezTo>
                  <a:cubicBezTo>
                    <a:pt x="2327" y="710"/>
                    <a:pt x="2327" y="710"/>
                    <a:pt x="2327" y="710"/>
                  </a:cubicBezTo>
                  <a:cubicBezTo>
                    <a:pt x="2293" y="728"/>
                    <a:pt x="2293" y="728"/>
                    <a:pt x="2293" y="728"/>
                  </a:cubicBezTo>
                  <a:cubicBezTo>
                    <a:pt x="2276" y="736"/>
                    <a:pt x="2276" y="736"/>
                    <a:pt x="2276" y="736"/>
                  </a:cubicBezTo>
                  <a:cubicBezTo>
                    <a:pt x="2257" y="764"/>
                    <a:pt x="2257" y="764"/>
                    <a:pt x="2257" y="764"/>
                  </a:cubicBezTo>
                  <a:cubicBezTo>
                    <a:pt x="2257" y="764"/>
                    <a:pt x="2226" y="771"/>
                    <a:pt x="2224" y="777"/>
                  </a:cubicBezTo>
                  <a:cubicBezTo>
                    <a:pt x="2222" y="783"/>
                    <a:pt x="2234" y="790"/>
                    <a:pt x="2224" y="793"/>
                  </a:cubicBezTo>
                  <a:cubicBezTo>
                    <a:pt x="2215" y="797"/>
                    <a:pt x="2186" y="807"/>
                    <a:pt x="2186" y="807"/>
                  </a:cubicBezTo>
                  <a:cubicBezTo>
                    <a:pt x="2203" y="815"/>
                    <a:pt x="2203" y="815"/>
                    <a:pt x="2203" y="815"/>
                  </a:cubicBezTo>
                  <a:cubicBezTo>
                    <a:pt x="2203" y="815"/>
                    <a:pt x="2230" y="811"/>
                    <a:pt x="2231" y="814"/>
                  </a:cubicBezTo>
                  <a:cubicBezTo>
                    <a:pt x="2231" y="817"/>
                    <a:pt x="2225" y="822"/>
                    <a:pt x="2225" y="833"/>
                  </a:cubicBezTo>
                  <a:cubicBezTo>
                    <a:pt x="2225" y="844"/>
                    <a:pt x="2268" y="845"/>
                    <a:pt x="2287" y="835"/>
                  </a:cubicBezTo>
                  <a:cubicBezTo>
                    <a:pt x="2306" y="826"/>
                    <a:pt x="2296" y="808"/>
                    <a:pt x="2324" y="809"/>
                  </a:cubicBezTo>
                  <a:cubicBezTo>
                    <a:pt x="2351" y="809"/>
                    <a:pt x="2355" y="818"/>
                    <a:pt x="2355" y="818"/>
                  </a:cubicBezTo>
                  <a:cubicBezTo>
                    <a:pt x="2386" y="823"/>
                    <a:pt x="2386" y="823"/>
                    <a:pt x="2386" y="823"/>
                  </a:cubicBezTo>
                  <a:cubicBezTo>
                    <a:pt x="2390" y="834"/>
                    <a:pt x="2390" y="834"/>
                    <a:pt x="2390" y="834"/>
                  </a:cubicBezTo>
                  <a:cubicBezTo>
                    <a:pt x="2452" y="838"/>
                    <a:pt x="2452" y="838"/>
                    <a:pt x="2452" y="838"/>
                  </a:cubicBezTo>
                  <a:lnTo>
                    <a:pt x="2456" y="825"/>
                  </a:lnTo>
                  <a:close/>
                  <a:moveTo>
                    <a:pt x="2393" y="886"/>
                  </a:moveTo>
                  <a:cubicBezTo>
                    <a:pt x="2352" y="899"/>
                    <a:pt x="2393" y="913"/>
                    <a:pt x="2393" y="913"/>
                  </a:cubicBezTo>
                  <a:cubicBezTo>
                    <a:pt x="2415" y="897"/>
                    <a:pt x="2434" y="872"/>
                    <a:pt x="2393" y="886"/>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7" name="Belize">
              <a:extLst>
                <a:ext uri="{FF2B5EF4-FFF2-40B4-BE49-F238E27FC236}">
                  <a16:creationId xmlns:a16="http://schemas.microsoft.com/office/drawing/2014/main" id="{F148F33A-7313-47E6-8540-77D3544F55AC}"/>
                </a:ext>
              </a:extLst>
            </p:cNvPr>
            <p:cNvSpPr>
              <a:spLocks/>
            </p:cNvSpPr>
            <p:nvPr/>
          </p:nvSpPr>
          <p:spPr bwMode="gray">
            <a:xfrm>
              <a:off x="3271052" y="3526597"/>
              <a:ext cx="41282" cy="77752"/>
            </a:xfrm>
            <a:custGeom>
              <a:avLst/>
              <a:gdLst>
                <a:gd name="T0" fmla="*/ 72 w 72"/>
                <a:gd name="T1" fmla="*/ 22 h 140"/>
                <a:gd name="T2" fmla="*/ 54 w 72"/>
                <a:gd name="T3" fmla="*/ 11 h 140"/>
                <a:gd name="T4" fmla="*/ 51 w 72"/>
                <a:gd name="T5" fmla="*/ 0 h 140"/>
                <a:gd name="T6" fmla="*/ 33 w 72"/>
                <a:gd name="T7" fmla="*/ 33 h 140"/>
                <a:gd name="T8" fmla="*/ 23 w 72"/>
                <a:gd name="T9" fmla="*/ 26 h 140"/>
                <a:gd name="T10" fmla="*/ 16 w 72"/>
                <a:gd name="T11" fmla="*/ 36 h 140"/>
                <a:gd name="T12" fmla="*/ 0 w 72"/>
                <a:gd name="T13" fmla="*/ 140 h 140"/>
                <a:gd name="T14" fmla="*/ 18 w 72"/>
                <a:gd name="T15" fmla="*/ 140 h 140"/>
                <a:gd name="T16" fmla="*/ 28 w 72"/>
                <a:gd name="T17" fmla="*/ 114 h 140"/>
                <a:gd name="T18" fmla="*/ 39 w 72"/>
                <a:gd name="T19" fmla="*/ 118 h 140"/>
                <a:gd name="T20" fmla="*/ 55 w 72"/>
                <a:gd name="T21" fmla="*/ 93 h 140"/>
                <a:gd name="T22" fmla="*/ 55 w 72"/>
                <a:gd name="T23" fmla="*/ 60 h 140"/>
                <a:gd name="T24" fmla="*/ 72 w 72"/>
                <a:gd name="T25" fmla="*/ 2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0">
                  <a:moveTo>
                    <a:pt x="72" y="22"/>
                  </a:moveTo>
                  <a:cubicBezTo>
                    <a:pt x="72" y="17"/>
                    <a:pt x="54" y="11"/>
                    <a:pt x="54" y="11"/>
                  </a:cubicBezTo>
                  <a:cubicBezTo>
                    <a:pt x="51" y="0"/>
                    <a:pt x="51" y="0"/>
                    <a:pt x="51" y="0"/>
                  </a:cubicBezTo>
                  <a:cubicBezTo>
                    <a:pt x="51" y="0"/>
                    <a:pt x="44" y="32"/>
                    <a:pt x="33" y="33"/>
                  </a:cubicBezTo>
                  <a:cubicBezTo>
                    <a:pt x="22" y="34"/>
                    <a:pt x="28" y="26"/>
                    <a:pt x="23" y="26"/>
                  </a:cubicBezTo>
                  <a:cubicBezTo>
                    <a:pt x="18" y="26"/>
                    <a:pt x="16" y="36"/>
                    <a:pt x="16" y="36"/>
                  </a:cubicBezTo>
                  <a:cubicBezTo>
                    <a:pt x="0" y="140"/>
                    <a:pt x="0" y="140"/>
                    <a:pt x="0" y="140"/>
                  </a:cubicBezTo>
                  <a:cubicBezTo>
                    <a:pt x="18" y="140"/>
                    <a:pt x="18" y="140"/>
                    <a:pt x="18" y="140"/>
                  </a:cubicBezTo>
                  <a:cubicBezTo>
                    <a:pt x="28" y="114"/>
                    <a:pt x="28" y="114"/>
                    <a:pt x="28" y="114"/>
                  </a:cubicBezTo>
                  <a:cubicBezTo>
                    <a:pt x="39" y="118"/>
                    <a:pt x="39" y="118"/>
                    <a:pt x="39" y="118"/>
                  </a:cubicBezTo>
                  <a:cubicBezTo>
                    <a:pt x="39" y="118"/>
                    <a:pt x="55" y="104"/>
                    <a:pt x="55" y="93"/>
                  </a:cubicBezTo>
                  <a:cubicBezTo>
                    <a:pt x="55" y="82"/>
                    <a:pt x="51" y="70"/>
                    <a:pt x="55" y="60"/>
                  </a:cubicBezTo>
                  <a:cubicBezTo>
                    <a:pt x="59" y="50"/>
                    <a:pt x="72" y="27"/>
                    <a:pt x="72" y="22"/>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7" name="Alaska">
              <a:extLst>
                <a:ext uri="{FF2B5EF4-FFF2-40B4-BE49-F238E27FC236}">
                  <a16:creationId xmlns:a16="http://schemas.microsoft.com/office/drawing/2014/main" id="{804A8DE0-569E-4B58-9EB1-26DD80007C2E}"/>
                </a:ext>
              </a:extLst>
            </p:cNvPr>
            <p:cNvSpPr>
              <a:spLocks noEditPoints="1"/>
            </p:cNvSpPr>
            <p:nvPr/>
          </p:nvSpPr>
          <p:spPr bwMode="gray">
            <a:xfrm>
              <a:off x="1837292" y="2004890"/>
              <a:ext cx="1147961" cy="495070"/>
            </a:xfrm>
            <a:custGeom>
              <a:avLst/>
              <a:gdLst>
                <a:gd name="T0" fmla="*/ 1650 w 2049"/>
                <a:gd name="T1" fmla="*/ 628 h 886"/>
                <a:gd name="T2" fmla="*/ 1600 w 2049"/>
                <a:gd name="T3" fmla="*/ 619 h 886"/>
                <a:gd name="T4" fmla="*/ 1594 w 2049"/>
                <a:gd name="T5" fmla="*/ 717 h 886"/>
                <a:gd name="T6" fmla="*/ 1594 w 2049"/>
                <a:gd name="T7" fmla="*/ 777 h 886"/>
                <a:gd name="T8" fmla="*/ 1677 w 2049"/>
                <a:gd name="T9" fmla="*/ 696 h 886"/>
                <a:gd name="T10" fmla="*/ 1691 w 2049"/>
                <a:gd name="T11" fmla="*/ 558 h 886"/>
                <a:gd name="T12" fmla="*/ 1597 w 2049"/>
                <a:gd name="T13" fmla="*/ 572 h 886"/>
                <a:gd name="T14" fmla="*/ 1561 w 2049"/>
                <a:gd name="T15" fmla="*/ 513 h 886"/>
                <a:gd name="T16" fmla="*/ 2008 w 2049"/>
                <a:gd name="T17" fmla="*/ 53 h 886"/>
                <a:gd name="T18" fmla="*/ 1735 w 2049"/>
                <a:gd name="T19" fmla="*/ 24 h 886"/>
                <a:gd name="T20" fmla="*/ 1622 w 2049"/>
                <a:gd name="T21" fmla="*/ 0 h 886"/>
                <a:gd name="T22" fmla="*/ 1141 w 2049"/>
                <a:gd name="T23" fmla="*/ 107 h 886"/>
                <a:gd name="T24" fmla="*/ 1138 w 2049"/>
                <a:gd name="T25" fmla="*/ 211 h 886"/>
                <a:gd name="T26" fmla="*/ 1051 w 2049"/>
                <a:gd name="T27" fmla="*/ 238 h 886"/>
                <a:gd name="T28" fmla="*/ 837 w 2049"/>
                <a:gd name="T29" fmla="*/ 261 h 886"/>
                <a:gd name="T30" fmla="*/ 939 w 2049"/>
                <a:gd name="T31" fmla="*/ 316 h 886"/>
                <a:gd name="T32" fmla="*/ 1037 w 2049"/>
                <a:gd name="T33" fmla="*/ 311 h 886"/>
                <a:gd name="T34" fmla="*/ 898 w 2049"/>
                <a:gd name="T35" fmla="*/ 357 h 886"/>
                <a:gd name="T36" fmla="*/ 745 w 2049"/>
                <a:gd name="T37" fmla="*/ 404 h 886"/>
                <a:gd name="T38" fmla="*/ 643 w 2049"/>
                <a:gd name="T39" fmla="*/ 462 h 886"/>
                <a:gd name="T40" fmla="*/ 689 w 2049"/>
                <a:gd name="T41" fmla="*/ 491 h 886"/>
                <a:gd name="T42" fmla="*/ 619 w 2049"/>
                <a:gd name="T43" fmla="*/ 510 h 886"/>
                <a:gd name="T44" fmla="*/ 678 w 2049"/>
                <a:gd name="T45" fmla="*/ 554 h 886"/>
                <a:gd name="T46" fmla="*/ 694 w 2049"/>
                <a:gd name="T47" fmla="*/ 576 h 886"/>
                <a:gd name="T48" fmla="*/ 785 w 2049"/>
                <a:gd name="T49" fmla="*/ 580 h 886"/>
                <a:gd name="T50" fmla="*/ 815 w 2049"/>
                <a:gd name="T51" fmla="*/ 598 h 886"/>
                <a:gd name="T52" fmla="*/ 697 w 2049"/>
                <a:gd name="T53" fmla="*/ 654 h 886"/>
                <a:gd name="T54" fmla="*/ 491 w 2049"/>
                <a:gd name="T55" fmla="*/ 747 h 886"/>
                <a:gd name="T56" fmla="*/ 385 w 2049"/>
                <a:gd name="T57" fmla="*/ 763 h 886"/>
                <a:gd name="T58" fmla="*/ 373 w 2049"/>
                <a:gd name="T59" fmla="*/ 783 h 886"/>
                <a:gd name="T60" fmla="*/ 514 w 2049"/>
                <a:gd name="T61" fmla="*/ 746 h 886"/>
                <a:gd name="T62" fmla="*/ 653 w 2049"/>
                <a:gd name="T63" fmla="*/ 697 h 886"/>
                <a:gd name="T64" fmla="*/ 841 w 2049"/>
                <a:gd name="T65" fmla="*/ 628 h 886"/>
                <a:gd name="T66" fmla="*/ 1015 w 2049"/>
                <a:gd name="T67" fmla="*/ 545 h 886"/>
                <a:gd name="T68" fmla="*/ 1234 w 2049"/>
                <a:gd name="T69" fmla="*/ 485 h 886"/>
                <a:gd name="T70" fmla="*/ 1075 w 2049"/>
                <a:gd name="T71" fmla="*/ 536 h 886"/>
                <a:gd name="T72" fmla="*/ 1211 w 2049"/>
                <a:gd name="T73" fmla="*/ 530 h 886"/>
                <a:gd name="T74" fmla="*/ 1336 w 2049"/>
                <a:gd name="T75" fmla="*/ 492 h 886"/>
                <a:gd name="T76" fmla="*/ 1472 w 2049"/>
                <a:gd name="T77" fmla="*/ 532 h 886"/>
                <a:gd name="T78" fmla="*/ 1541 w 2049"/>
                <a:gd name="T79" fmla="*/ 573 h 886"/>
                <a:gd name="T80" fmla="*/ 1630 w 2049"/>
                <a:gd name="T81" fmla="*/ 585 h 886"/>
                <a:gd name="T82" fmla="*/ 1679 w 2049"/>
                <a:gd name="T83" fmla="*/ 607 h 886"/>
                <a:gd name="T84" fmla="*/ 1636 w 2049"/>
                <a:gd name="T85" fmla="*/ 670 h 886"/>
                <a:gd name="T86" fmla="*/ 1660 w 2049"/>
                <a:gd name="T87" fmla="*/ 733 h 886"/>
                <a:gd name="T88" fmla="*/ 1623 w 2049"/>
                <a:gd name="T89" fmla="*/ 785 h 886"/>
                <a:gd name="T90" fmla="*/ 1707 w 2049"/>
                <a:gd name="T91" fmla="*/ 721 h 886"/>
                <a:gd name="T92" fmla="*/ 1598 w 2049"/>
                <a:gd name="T93" fmla="*/ 704 h 886"/>
                <a:gd name="T94" fmla="*/ 1546 w 2049"/>
                <a:gd name="T95" fmla="*/ 720 h 886"/>
                <a:gd name="T96" fmla="*/ 510 w 2049"/>
                <a:gd name="T97" fmla="*/ 517 h 886"/>
                <a:gd name="T98" fmla="*/ 76 w 2049"/>
                <a:gd name="T99" fmla="*/ 849 h 886"/>
                <a:gd name="T100" fmla="*/ 859 w 2049"/>
                <a:gd name="T101" fmla="*/ 663 h 886"/>
                <a:gd name="T102" fmla="*/ 881 w 2049"/>
                <a:gd name="T103" fmla="*/ 664 h 886"/>
                <a:gd name="T104" fmla="*/ 908 w 2049"/>
                <a:gd name="T105" fmla="*/ 635 h 886"/>
                <a:gd name="T106" fmla="*/ 1646 w 2049"/>
                <a:gd name="T107" fmla="*/ 762 h 886"/>
                <a:gd name="T108" fmla="*/ 923 w 2049"/>
                <a:gd name="T109" fmla="*/ 630 h 886"/>
                <a:gd name="T110" fmla="*/ 290 w 2049"/>
                <a:gd name="T111" fmla="*/ 788 h 886"/>
                <a:gd name="T112" fmla="*/ 221 w 2049"/>
                <a:gd name="T113" fmla="*/ 814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9" h="886">
                  <a:moveTo>
                    <a:pt x="1636" y="622"/>
                  </a:moveTo>
                  <a:cubicBezTo>
                    <a:pt x="1628" y="629"/>
                    <a:pt x="1614" y="645"/>
                    <a:pt x="1614" y="645"/>
                  </a:cubicBezTo>
                  <a:cubicBezTo>
                    <a:pt x="1602" y="669"/>
                    <a:pt x="1602" y="669"/>
                    <a:pt x="1602" y="669"/>
                  </a:cubicBezTo>
                  <a:cubicBezTo>
                    <a:pt x="1602" y="669"/>
                    <a:pt x="1623" y="665"/>
                    <a:pt x="1633" y="656"/>
                  </a:cubicBezTo>
                  <a:cubicBezTo>
                    <a:pt x="1643" y="647"/>
                    <a:pt x="1640" y="638"/>
                    <a:pt x="1640" y="638"/>
                  </a:cubicBezTo>
                  <a:cubicBezTo>
                    <a:pt x="1650" y="628"/>
                    <a:pt x="1650" y="628"/>
                    <a:pt x="1650" y="628"/>
                  </a:cubicBezTo>
                  <a:cubicBezTo>
                    <a:pt x="1650" y="628"/>
                    <a:pt x="1644" y="615"/>
                    <a:pt x="1636" y="622"/>
                  </a:cubicBezTo>
                  <a:close/>
                  <a:moveTo>
                    <a:pt x="1600" y="619"/>
                  </a:moveTo>
                  <a:cubicBezTo>
                    <a:pt x="1600" y="619"/>
                    <a:pt x="1575" y="626"/>
                    <a:pt x="1576" y="633"/>
                  </a:cubicBezTo>
                  <a:cubicBezTo>
                    <a:pt x="1577" y="640"/>
                    <a:pt x="1586" y="650"/>
                    <a:pt x="1586" y="650"/>
                  </a:cubicBezTo>
                  <a:cubicBezTo>
                    <a:pt x="1597" y="654"/>
                    <a:pt x="1614" y="646"/>
                    <a:pt x="1614" y="636"/>
                  </a:cubicBezTo>
                  <a:cubicBezTo>
                    <a:pt x="1614" y="626"/>
                    <a:pt x="1600" y="619"/>
                    <a:pt x="1600" y="619"/>
                  </a:cubicBezTo>
                  <a:close/>
                  <a:moveTo>
                    <a:pt x="1544" y="792"/>
                  </a:moveTo>
                  <a:cubicBezTo>
                    <a:pt x="1553" y="793"/>
                    <a:pt x="1553" y="793"/>
                    <a:pt x="1553" y="793"/>
                  </a:cubicBezTo>
                  <a:cubicBezTo>
                    <a:pt x="1559" y="768"/>
                    <a:pt x="1559" y="768"/>
                    <a:pt x="1559" y="768"/>
                  </a:cubicBezTo>
                  <a:cubicBezTo>
                    <a:pt x="1548" y="773"/>
                    <a:pt x="1548" y="773"/>
                    <a:pt x="1548" y="773"/>
                  </a:cubicBezTo>
                  <a:lnTo>
                    <a:pt x="1544" y="792"/>
                  </a:lnTo>
                  <a:close/>
                  <a:moveTo>
                    <a:pt x="1594" y="717"/>
                  </a:moveTo>
                  <a:cubicBezTo>
                    <a:pt x="1581" y="726"/>
                    <a:pt x="1581" y="726"/>
                    <a:pt x="1581" y="726"/>
                  </a:cubicBezTo>
                  <a:cubicBezTo>
                    <a:pt x="1581" y="726"/>
                    <a:pt x="1587" y="732"/>
                    <a:pt x="1591" y="733"/>
                  </a:cubicBezTo>
                  <a:cubicBezTo>
                    <a:pt x="1595" y="734"/>
                    <a:pt x="1577" y="743"/>
                    <a:pt x="1573" y="745"/>
                  </a:cubicBezTo>
                  <a:cubicBezTo>
                    <a:pt x="1569" y="747"/>
                    <a:pt x="1563" y="758"/>
                    <a:pt x="1568" y="767"/>
                  </a:cubicBezTo>
                  <a:cubicBezTo>
                    <a:pt x="1573" y="776"/>
                    <a:pt x="1572" y="794"/>
                    <a:pt x="1572" y="794"/>
                  </a:cubicBezTo>
                  <a:cubicBezTo>
                    <a:pt x="1572" y="794"/>
                    <a:pt x="1586" y="786"/>
                    <a:pt x="1594" y="777"/>
                  </a:cubicBezTo>
                  <a:cubicBezTo>
                    <a:pt x="1602" y="768"/>
                    <a:pt x="1590" y="756"/>
                    <a:pt x="1590" y="756"/>
                  </a:cubicBezTo>
                  <a:cubicBezTo>
                    <a:pt x="1590" y="756"/>
                    <a:pt x="1600" y="755"/>
                    <a:pt x="1609" y="745"/>
                  </a:cubicBezTo>
                  <a:cubicBezTo>
                    <a:pt x="1618" y="735"/>
                    <a:pt x="1594" y="717"/>
                    <a:pt x="1594" y="717"/>
                  </a:cubicBezTo>
                  <a:close/>
                  <a:moveTo>
                    <a:pt x="1707" y="721"/>
                  </a:moveTo>
                  <a:cubicBezTo>
                    <a:pt x="1707" y="721"/>
                    <a:pt x="1700" y="719"/>
                    <a:pt x="1700" y="714"/>
                  </a:cubicBezTo>
                  <a:cubicBezTo>
                    <a:pt x="1700" y="710"/>
                    <a:pt x="1672" y="709"/>
                    <a:pt x="1677" y="696"/>
                  </a:cubicBezTo>
                  <a:cubicBezTo>
                    <a:pt x="1682" y="683"/>
                    <a:pt x="1688" y="666"/>
                    <a:pt x="1688" y="666"/>
                  </a:cubicBezTo>
                  <a:cubicBezTo>
                    <a:pt x="1688" y="642"/>
                    <a:pt x="1688" y="642"/>
                    <a:pt x="1688" y="642"/>
                  </a:cubicBezTo>
                  <a:cubicBezTo>
                    <a:pt x="1688" y="642"/>
                    <a:pt x="1705" y="623"/>
                    <a:pt x="1698" y="606"/>
                  </a:cubicBezTo>
                  <a:cubicBezTo>
                    <a:pt x="1692" y="588"/>
                    <a:pt x="1685" y="586"/>
                    <a:pt x="1685" y="586"/>
                  </a:cubicBezTo>
                  <a:cubicBezTo>
                    <a:pt x="1691" y="575"/>
                    <a:pt x="1691" y="575"/>
                    <a:pt x="1691" y="575"/>
                  </a:cubicBezTo>
                  <a:cubicBezTo>
                    <a:pt x="1691" y="558"/>
                    <a:pt x="1691" y="558"/>
                    <a:pt x="1691" y="558"/>
                  </a:cubicBezTo>
                  <a:cubicBezTo>
                    <a:pt x="1691" y="558"/>
                    <a:pt x="1718" y="548"/>
                    <a:pt x="1699" y="542"/>
                  </a:cubicBezTo>
                  <a:cubicBezTo>
                    <a:pt x="1681" y="537"/>
                    <a:pt x="1653" y="547"/>
                    <a:pt x="1653" y="547"/>
                  </a:cubicBezTo>
                  <a:cubicBezTo>
                    <a:pt x="1651" y="555"/>
                    <a:pt x="1651" y="555"/>
                    <a:pt x="1651" y="555"/>
                  </a:cubicBezTo>
                  <a:cubicBezTo>
                    <a:pt x="1639" y="555"/>
                    <a:pt x="1639" y="555"/>
                    <a:pt x="1639" y="555"/>
                  </a:cubicBezTo>
                  <a:cubicBezTo>
                    <a:pt x="1639" y="555"/>
                    <a:pt x="1633" y="565"/>
                    <a:pt x="1625" y="565"/>
                  </a:cubicBezTo>
                  <a:cubicBezTo>
                    <a:pt x="1618" y="565"/>
                    <a:pt x="1597" y="572"/>
                    <a:pt x="1597" y="572"/>
                  </a:cubicBezTo>
                  <a:cubicBezTo>
                    <a:pt x="1597" y="572"/>
                    <a:pt x="1581" y="585"/>
                    <a:pt x="1575" y="585"/>
                  </a:cubicBezTo>
                  <a:cubicBezTo>
                    <a:pt x="1570" y="585"/>
                    <a:pt x="1589" y="566"/>
                    <a:pt x="1589" y="566"/>
                  </a:cubicBezTo>
                  <a:cubicBezTo>
                    <a:pt x="1589" y="566"/>
                    <a:pt x="1570" y="558"/>
                    <a:pt x="1570" y="547"/>
                  </a:cubicBezTo>
                  <a:cubicBezTo>
                    <a:pt x="1570" y="537"/>
                    <a:pt x="1570" y="528"/>
                    <a:pt x="1570" y="528"/>
                  </a:cubicBezTo>
                  <a:cubicBezTo>
                    <a:pt x="1585" y="513"/>
                    <a:pt x="1585" y="513"/>
                    <a:pt x="1585" y="513"/>
                  </a:cubicBezTo>
                  <a:cubicBezTo>
                    <a:pt x="1561" y="513"/>
                    <a:pt x="1561" y="513"/>
                    <a:pt x="1561" y="513"/>
                  </a:cubicBezTo>
                  <a:cubicBezTo>
                    <a:pt x="1561" y="513"/>
                    <a:pt x="1552" y="518"/>
                    <a:pt x="1549" y="518"/>
                  </a:cubicBezTo>
                  <a:cubicBezTo>
                    <a:pt x="1549" y="518"/>
                    <a:pt x="1520" y="524"/>
                    <a:pt x="1514" y="518"/>
                  </a:cubicBezTo>
                  <a:cubicBezTo>
                    <a:pt x="1508" y="512"/>
                    <a:pt x="1534" y="498"/>
                    <a:pt x="1534" y="498"/>
                  </a:cubicBezTo>
                  <a:cubicBezTo>
                    <a:pt x="2049" y="74"/>
                    <a:pt x="2049" y="74"/>
                    <a:pt x="2049" y="74"/>
                  </a:cubicBezTo>
                  <a:cubicBezTo>
                    <a:pt x="2037" y="74"/>
                    <a:pt x="2037" y="74"/>
                    <a:pt x="2037" y="74"/>
                  </a:cubicBezTo>
                  <a:cubicBezTo>
                    <a:pt x="2037" y="74"/>
                    <a:pt x="2034" y="51"/>
                    <a:pt x="2008" y="53"/>
                  </a:cubicBezTo>
                  <a:cubicBezTo>
                    <a:pt x="1982" y="55"/>
                    <a:pt x="1951" y="64"/>
                    <a:pt x="1947" y="64"/>
                  </a:cubicBezTo>
                  <a:cubicBezTo>
                    <a:pt x="1943" y="64"/>
                    <a:pt x="1916" y="50"/>
                    <a:pt x="1912" y="48"/>
                  </a:cubicBezTo>
                  <a:cubicBezTo>
                    <a:pt x="1908" y="46"/>
                    <a:pt x="1858" y="47"/>
                    <a:pt x="1858" y="47"/>
                  </a:cubicBezTo>
                  <a:cubicBezTo>
                    <a:pt x="1858" y="47"/>
                    <a:pt x="1842" y="39"/>
                    <a:pt x="1824" y="37"/>
                  </a:cubicBezTo>
                  <a:cubicBezTo>
                    <a:pt x="1806" y="35"/>
                    <a:pt x="1735" y="38"/>
                    <a:pt x="1732" y="38"/>
                  </a:cubicBezTo>
                  <a:cubicBezTo>
                    <a:pt x="1729" y="38"/>
                    <a:pt x="1735" y="24"/>
                    <a:pt x="1735" y="24"/>
                  </a:cubicBezTo>
                  <a:cubicBezTo>
                    <a:pt x="1735" y="24"/>
                    <a:pt x="1699" y="19"/>
                    <a:pt x="1694" y="18"/>
                  </a:cubicBezTo>
                  <a:cubicBezTo>
                    <a:pt x="1689" y="17"/>
                    <a:pt x="1656" y="24"/>
                    <a:pt x="1656" y="24"/>
                  </a:cubicBezTo>
                  <a:cubicBezTo>
                    <a:pt x="1676" y="2"/>
                    <a:pt x="1676" y="2"/>
                    <a:pt x="1676" y="2"/>
                  </a:cubicBezTo>
                  <a:cubicBezTo>
                    <a:pt x="1621" y="24"/>
                    <a:pt x="1621" y="24"/>
                    <a:pt x="1621" y="24"/>
                  </a:cubicBezTo>
                  <a:cubicBezTo>
                    <a:pt x="1642" y="2"/>
                    <a:pt x="1642" y="2"/>
                    <a:pt x="1642" y="2"/>
                  </a:cubicBezTo>
                  <a:cubicBezTo>
                    <a:pt x="1622" y="0"/>
                    <a:pt x="1622" y="0"/>
                    <a:pt x="1622" y="0"/>
                  </a:cubicBezTo>
                  <a:cubicBezTo>
                    <a:pt x="1622" y="0"/>
                    <a:pt x="1591" y="22"/>
                    <a:pt x="1561" y="22"/>
                  </a:cubicBezTo>
                  <a:cubicBezTo>
                    <a:pt x="1531" y="22"/>
                    <a:pt x="1485" y="16"/>
                    <a:pt x="1477" y="24"/>
                  </a:cubicBezTo>
                  <a:cubicBezTo>
                    <a:pt x="1469" y="32"/>
                    <a:pt x="1439" y="39"/>
                    <a:pt x="1439" y="39"/>
                  </a:cubicBezTo>
                  <a:cubicBezTo>
                    <a:pt x="1439" y="39"/>
                    <a:pt x="1390" y="39"/>
                    <a:pt x="1364" y="42"/>
                  </a:cubicBezTo>
                  <a:cubicBezTo>
                    <a:pt x="1338" y="45"/>
                    <a:pt x="1277" y="91"/>
                    <a:pt x="1235" y="97"/>
                  </a:cubicBezTo>
                  <a:cubicBezTo>
                    <a:pt x="1193" y="103"/>
                    <a:pt x="1141" y="107"/>
                    <a:pt x="1141" y="107"/>
                  </a:cubicBezTo>
                  <a:cubicBezTo>
                    <a:pt x="1141" y="107"/>
                    <a:pt x="1078" y="128"/>
                    <a:pt x="1081" y="133"/>
                  </a:cubicBezTo>
                  <a:cubicBezTo>
                    <a:pt x="1084" y="138"/>
                    <a:pt x="1105" y="149"/>
                    <a:pt x="1105" y="149"/>
                  </a:cubicBezTo>
                  <a:cubicBezTo>
                    <a:pt x="1105" y="149"/>
                    <a:pt x="1118" y="172"/>
                    <a:pt x="1112" y="175"/>
                  </a:cubicBezTo>
                  <a:cubicBezTo>
                    <a:pt x="1106" y="178"/>
                    <a:pt x="1097" y="187"/>
                    <a:pt x="1097" y="187"/>
                  </a:cubicBezTo>
                  <a:cubicBezTo>
                    <a:pt x="1157" y="188"/>
                    <a:pt x="1157" y="188"/>
                    <a:pt x="1157" y="188"/>
                  </a:cubicBezTo>
                  <a:cubicBezTo>
                    <a:pt x="1138" y="211"/>
                    <a:pt x="1138" y="211"/>
                    <a:pt x="1138" y="211"/>
                  </a:cubicBezTo>
                  <a:cubicBezTo>
                    <a:pt x="1182" y="213"/>
                    <a:pt x="1182" y="213"/>
                    <a:pt x="1182" y="213"/>
                  </a:cubicBezTo>
                  <a:cubicBezTo>
                    <a:pt x="1175" y="225"/>
                    <a:pt x="1175" y="225"/>
                    <a:pt x="1175" y="225"/>
                  </a:cubicBezTo>
                  <a:cubicBezTo>
                    <a:pt x="1139" y="224"/>
                    <a:pt x="1139" y="224"/>
                    <a:pt x="1139" y="224"/>
                  </a:cubicBezTo>
                  <a:cubicBezTo>
                    <a:pt x="1132" y="232"/>
                    <a:pt x="1132" y="232"/>
                    <a:pt x="1132" y="232"/>
                  </a:cubicBezTo>
                  <a:cubicBezTo>
                    <a:pt x="1110" y="232"/>
                    <a:pt x="1110" y="232"/>
                    <a:pt x="1110" y="232"/>
                  </a:cubicBezTo>
                  <a:cubicBezTo>
                    <a:pt x="1110" y="232"/>
                    <a:pt x="1076" y="238"/>
                    <a:pt x="1051" y="238"/>
                  </a:cubicBezTo>
                  <a:cubicBezTo>
                    <a:pt x="1026" y="238"/>
                    <a:pt x="1031" y="228"/>
                    <a:pt x="1045" y="223"/>
                  </a:cubicBezTo>
                  <a:cubicBezTo>
                    <a:pt x="1059" y="218"/>
                    <a:pt x="1017" y="215"/>
                    <a:pt x="1017" y="215"/>
                  </a:cubicBezTo>
                  <a:cubicBezTo>
                    <a:pt x="1017" y="215"/>
                    <a:pt x="969" y="213"/>
                    <a:pt x="967" y="221"/>
                  </a:cubicBezTo>
                  <a:cubicBezTo>
                    <a:pt x="965" y="229"/>
                    <a:pt x="969" y="234"/>
                    <a:pt x="969" y="234"/>
                  </a:cubicBezTo>
                  <a:cubicBezTo>
                    <a:pt x="969" y="234"/>
                    <a:pt x="934" y="236"/>
                    <a:pt x="911" y="239"/>
                  </a:cubicBezTo>
                  <a:cubicBezTo>
                    <a:pt x="888" y="242"/>
                    <a:pt x="820" y="255"/>
                    <a:pt x="837" y="261"/>
                  </a:cubicBezTo>
                  <a:cubicBezTo>
                    <a:pt x="854" y="267"/>
                    <a:pt x="877" y="270"/>
                    <a:pt x="877" y="270"/>
                  </a:cubicBezTo>
                  <a:cubicBezTo>
                    <a:pt x="848" y="280"/>
                    <a:pt x="848" y="280"/>
                    <a:pt x="848" y="280"/>
                  </a:cubicBezTo>
                  <a:cubicBezTo>
                    <a:pt x="840" y="307"/>
                    <a:pt x="840" y="307"/>
                    <a:pt x="840" y="307"/>
                  </a:cubicBezTo>
                  <a:cubicBezTo>
                    <a:pt x="840" y="307"/>
                    <a:pt x="864" y="311"/>
                    <a:pt x="880" y="311"/>
                  </a:cubicBezTo>
                  <a:cubicBezTo>
                    <a:pt x="896" y="311"/>
                    <a:pt x="910" y="308"/>
                    <a:pt x="910" y="308"/>
                  </a:cubicBezTo>
                  <a:cubicBezTo>
                    <a:pt x="939" y="316"/>
                    <a:pt x="939" y="316"/>
                    <a:pt x="939" y="316"/>
                  </a:cubicBezTo>
                  <a:cubicBezTo>
                    <a:pt x="948" y="304"/>
                    <a:pt x="948" y="304"/>
                    <a:pt x="948" y="304"/>
                  </a:cubicBezTo>
                  <a:cubicBezTo>
                    <a:pt x="957" y="315"/>
                    <a:pt x="957" y="315"/>
                    <a:pt x="957" y="315"/>
                  </a:cubicBezTo>
                  <a:cubicBezTo>
                    <a:pt x="957" y="315"/>
                    <a:pt x="989" y="297"/>
                    <a:pt x="994" y="297"/>
                  </a:cubicBezTo>
                  <a:cubicBezTo>
                    <a:pt x="999" y="297"/>
                    <a:pt x="1007" y="303"/>
                    <a:pt x="1017" y="299"/>
                  </a:cubicBezTo>
                  <a:cubicBezTo>
                    <a:pt x="1027" y="295"/>
                    <a:pt x="1045" y="281"/>
                    <a:pt x="1046" y="290"/>
                  </a:cubicBezTo>
                  <a:cubicBezTo>
                    <a:pt x="1047" y="299"/>
                    <a:pt x="1037" y="311"/>
                    <a:pt x="1037" y="311"/>
                  </a:cubicBezTo>
                  <a:cubicBezTo>
                    <a:pt x="999" y="312"/>
                    <a:pt x="999" y="312"/>
                    <a:pt x="999" y="312"/>
                  </a:cubicBezTo>
                  <a:cubicBezTo>
                    <a:pt x="1004" y="333"/>
                    <a:pt x="1004" y="333"/>
                    <a:pt x="1004" y="333"/>
                  </a:cubicBezTo>
                  <a:cubicBezTo>
                    <a:pt x="1004" y="333"/>
                    <a:pt x="976" y="360"/>
                    <a:pt x="958" y="361"/>
                  </a:cubicBezTo>
                  <a:cubicBezTo>
                    <a:pt x="940" y="362"/>
                    <a:pt x="920" y="362"/>
                    <a:pt x="920" y="362"/>
                  </a:cubicBezTo>
                  <a:cubicBezTo>
                    <a:pt x="910" y="350"/>
                    <a:pt x="910" y="350"/>
                    <a:pt x="910" y="350"/>
                  </a:cubicBezTo>
                  <a:cubicBezTo>
                    <a:pt x="898" y="357"/>
                    <a:pt x="898" y="357"/>
                    <a:pt x="898" y="357"/>
                  </a:cubicBezTo>
                  <a:cubicBezTo>
                    <a:pt x="898" y="365"/>
                    <a:pt x="898" y="365"/>
                    <a:pt x="898" y="365"/>
                  </a:cubicBezTo>
                  <a:cubicBezTo>
                    <a:pt x="898" y="365"/>
                    <a:pt x="857" y="389"/>
                    <a:pt x="844" y="381"/>
                  </a:cubicBezTo>
                  <a:cubicBezTo>
                    <a:pt x="831" y="373"/>
                    <a:pt x="824" y="371"/>
                    <a:pt x="824" y="371"/>
                  </a:cubicBezTo>
                  <a:cubicBezTo>
                    <a:pt x="762" y="406"/>
                    <a:pt x="762" y="406"/>
                    <a:pt x="762" y="406"/>
                  </a:cubicBezTo>
                  <a:cubicBezTo>
                    <a:pt x="748" y="418"/>
                    <a:pt x="748" y="418"/>
                    <a:pt x="748" y="418"/>
                  </a:cubicBezTo>
                  <a:cubicBezTo>
                    <a:pt x="745" y="404"/>
                    <a:pt x="745" y="404"/>
                    <a:pt x="745" y="404"/>
                  </a:cubicBezTo>
                  <a:cubicBezTo>
                    <a:pt x="745" y="404"/>
                    <a:pt x="720" y="415"/>
                    <a:pt x="706" y="420"/>
                  </a:cubicBezTo>
                  <a:cubicBezTo>
                    <a:pt x="692" y="425"/>
                    <a:pt x="682" y="440"/>
                    <a:pt x="682" y="440"/>
                  </a:cubicBezTo>
                  <a:cubicBezTo>
                    <a:pt x="662" y="434"/>
                    <a:pt x="662" y="434"/>
                    <a:pt x="662" y="434"/>
                  </a:cubicBezTo>
                  <a:cubicBezTo>
                    <a:pt x="662" y="447"/>
                    <a:pt x="662" y="447"/>
                    <a:pt x="662" y="447"/>
                  </a:cubicBezTo>
                  <a:cubicBezTo>
                    <a:pt x="662" y="447"/>
                    <a:pt x="649" y="441"/>
                    <a:pt x="646" y="447"/>
                  </a:cubicBezTo>
                  <a:cubicBezTo>
                    <a:pt x="643" y="453"/>
                    <a:pt x="643" y="462"/>
                    <a:pt x="643" y="462"/>
                  </a:cubicBezTo>
                  <a:cubicBezTo>
                    <a:pt x="636" y="471"/>
                    <a:pt x="636" y="471"/>
                    <a:pt x="636" y="471"/>
                  </a:cubicBezTo>
                  <a:cubicBezTo>
                    <a:pt x="676" y="457"/>
                    <a:pt x="676" y="457"/>
                    <a:pt x="676" y="457"/>
                  </a:cubicBezTo>
                  <a:cubicBezTo>
                    <a:pt x="661" y="469"/>
                    <a:pt x="661" y="469"/>
                    <a:pt x="661" y="469"/>
                  </a:cubicBezTo>
                  <a:cubicBezTo>
                    <a:pt x="661" y="475"/>
                    <a:pt x="661" y="475"/>
                    <a:pt x="661" y="475"/>
                  </a:cubicBezTo>
                  <a:cubicBezTo>
                    <a:pt x="648" y="483"/>
                    <a:pt x="648" y="483"/>
                    <a:pt x="648" y="483"/>
                  </a:cubicBezTo>
                  <a:cubicBezTo>
                    <a:pt x="648" y="483"/>
                    <a:pt x="698" y="482"/>
                    <a:pt x="689" y="491"/>
                  </a:cubicBezTo>
                  <a:cubicBezTo>
                    <a:pt x="680" y="500"/>
                    <a:pt x="658" y="498"/>
                    <a:pt x="658" y="498"/>
                  </a:cubicBezTo>
                  <a:cubicBezTo>
                    <a:pt x="641" y="502"/>
                    <a:pt x="641" y="502"/>
                    <a:pt x="641" y="502"/>
                  </a:cubicBezTo>
                  <a:cubicBezTo>
                    <a:pt x="649" y="494"/>
                    <a:pt x="649" y="494"/>
                    <a:pt x="649" y="494"/>
                  </a:cubicBezTo>
                  <a:cubicBezTo>
                    <a:pt x="640" y="489"/>
                    <a:pt x="640" y="489"/>
                    <a:pt x="640" y="489"/>
                  </a:cubicBezTo>
                  <a:cubicBezTo>
                    <a:pt x="640" y="489"/>
                    <a:pt x="611" y="500"/>
                    <a:pt x="612" y="503"/>
                  </a:cubicBezTo>
                  <a:cubicBezTo>
                    <a:pt x="613" y="506"/>
                    <a:pt x="619" y="510"/>
                    <a:pt x="619" y="510"/>
                  </a:cubicBezTo>
                  <a:cubicBezTo>
                    <a:pt x="619" y="510"/>
                    <a:pt x="608" y="537"/>
                    <a:pt x="612" y="538"/>
                  </a:cubicBezTo>
                  <a:cubicBezTo>
                    <a:pt x="616" y="539"/>
                    <a:pt x="659" y="536"/>
                    <a:pt x="659" y="536"/>
                  </a:cubicBezTo>
                  <a:cubicBezTo>
                    <a:pt x="691" y="518"/>
                    <a:pt x="691" y="518"/>
                    <a:pt x="691" y="518"/>
                  </a:cubicBezTo>
                  <a:cubicBezTo>
                    <a:pt x="738" y="499"/>
                    <a:pt x="738" y="499"/>
                    <a:pt x="738" y="499"/>
                  </a:cubicBezTo>
                  <a:cubicBezTo>
                    <a:pt x="738" y="499"/>
                    <a:pt x="694" y="520"/>
                    <a:pt x="689" y="528"/>
                  </a:cubicBezTo>
                  <a:cubicBezTo>
                    <a:pt x="684" y="536"/>
                    <a:pt x="685" y="552"/>
                    <a:pt x="678" y="554"/>
                  </a:cubicBezTo>
                  <a:cubicBezTo>
                    <a:pt x="671" y="556"/>
                    <a:pt x="659" y="549"/>
                    <a:pt x="653" y="558"/>
                  </a:cubicBezTo>
                  <a:cubicBezTo>
                    <a:pt x="647" y="567"/>
                    <a:pt x="643" y="577"/>
                    <a:pt x="638" y="582"/>
                  </a:cubicBezTo>
                  <a:cubicBezTo>
                    <a:pt x="633" y="587"/>
                    <a:pt x="618" y="596"/>
                    <a:pt x="618" y="596"/>
                  </a:cubicBezTo>
                  <a:cubicBezTo>
                    <a:pt x="654" y="592"/>
                    <a:pt x="654" y="592"/>
                    <a:pt x="654" y="592"/>
                  </a:cubicBezTo>
                  <a:cubicBezTo>
                    <a:pt x="647" y="604"/>
                    <a:pt x="647" y="604"/>
                    <a:pt x="647" y="604"/>
                  </a:cubicBezTo>
                  <a:cubicBezTo>
                    <a:pt x="647" y="604"/>
                    <a:pt x="677" y="573"/>
                    <a:pt x="694" y="576"/>
                  </a:cubicBezTo>
                  <a:cubicBezTo>
                    <a:pt x="711" y="579"/>
                    <a:pt x="702" y="584"/>
                    <a:pt x="702" y="584"/>
                  </a:cubicBezTo>
                  <a:cubicBezTo>
                    <a:pt x="718" y="582"/>
                    <a:pt x="718" y="582"/>
                    <a:pt x="718" y="582"/>
                  </a:cubicBezTo>
                  <a:cubicBezTo>
                    <a:pt x="718" y="582"/>
                    <a:pt x="705" y="607"/>
                    <a:pt x="719" y="607"/>
                  </a:cubicBezTo>
                  <a:cubicBezTo>
                    <a:pt x="733" y="607"/>
                    <a:pt x="750" y="585"/>
                    <a:pt x="750" y="585"/>
                  </a:cubicBezTo>
                  <a:cubicBezTo>
                    <a:pt x="778" y="572"/>
                    <a:pt x="778" y="572"/>
                    <a:pt x="778" y="572"/>
                  </a:cubicBezTo>
                  <a:cubicBezTo>
                    <a:pt x="785" y="580"/>
                    <a:pt x="785" y="580"/>
                    <a:pt x="785" y="580"/>
                  </a:cubicBezTo>
                  <a:cubicBezTo>
                    <a:pt x="765" y="582"/>
                    <a:pt x="765" y="582"/>
                    <a:pt x="765" y="582"/>
                  </a:cubicBezTo>
                  <a:cubicBezTo>
                    <a:pt x="765" y="582"/>
                    <a:pt x="751" y="596"/>
                    <a:pt x="762" y="596"/>
                  </a:cubicBezTo>
                  <a:cubicBezTo>
                    <a:pt x="773" y="596"/>
                    <a:pt x="819" y="583"/>
                    <a:pt x="819" y="583"/>
                  </a:cubicBezTo>
                  <a:cubicBezTo>
                    <a:pt x="847" y="571"/>
                    <a:pt x="847" y="571"/>
                    <a:pt x="847" y="571"/>
                  </a:cubicBezTo>
                  <a:cubicBezTo>
                    <a:pt x="815" y="588"/>
                    <a:pt x="815" y="588"/>
                    <a:pt x="815" y="588"/>
                  </a:cubicBezTo>
                  <a:cubicBezTo>
                    <a:pt x="815" y="598"/>
                    <a:pt x="815" y="598"/>
                    <a:pt x="815" y="598"/>
                  </a:cubicBezTo>
                  <a:cubicBezTo>
                    <a:pt x="815" y="598"/>
                    <a:pt x="797" y="599"/>
                    <a:pt x="786" y="603"/>
                  </a:cubicBezTo>
                  <a:cubicBezTo>
                    <a:pt x="775" y="607"/>
                    <a:pt x="767" y="620"/>
                    <a:pt x="767" y="620"/>
                  </a:cubicBezTo>
                  <a:cubicBezTo>
                    <a:pt x="747" y="622"/>
                    <a:pt x="747" y="622"/>
                    <a:pt x="747" y="622"/>
                  </a:cubicBezTo>
                  <a:cubicBezTo>
                    <a:pt x="723" y="642"/>
                    <a:pt x="723" y="642"/>
                    <a:pt x="723" y="642"/>
                  </a:cubicBezTo>
                  <a:cubicBezTo>
                    <a:pt x="724" y="651"/>
                    <a:pt x="724" y="651"/>
                    <a:pt x="724" y="651"/>
                  </a:cubicBezTo>
                  <a:cubicBezTo>
                    <a:pt x="697" y="654"/>
                    <a:pt x="697" y="654"/>
                    <a:pt x="697" y="654"/>
                  </a:cubicBezTo>
                  <a:cubicBezTo>
                    <a:pt x="697" y="654"/>
                    <a:pt x="652" y="663"/>
                    <a:pt x="647" y="670"/>
                  </a:cubicBezTo>
                  <a:cubicBezTo>
                    <a:pt x="642" y="677"/>
                    <a:pt x="645" y="691"/>
                    <a:pt x="636" y="691"/>
                  </a:cubicBezTo>
                  <a:cubicBezTo>
                    <a:pt x="627" y="691"/>
                    <a:pt x="600" y="691"/>
                    <a:pt x="584" y="693"/>
                  </a:cubicBezTo>
                  <a:cubicBezTo>
                    <a:pt x="568" y="695"/>
                    <a:pt x="515" y="734"/>
                    <a:pt x="515" y="734"/>
                  </a:cubicBezTo>
                  <a:cubicBezTo>
                    <a:pt x="500" y="737"/>
                    <a:pt x="500" y="737"/>
                    <a:pt x="500" y="737"/>
                  </a:cubicBezTo>
                  <a:cubicBezTo>
                    <a:pt x="491" y="747"/>
                    <a:pt x="491" y="747"/>
                    <a:pt x="491" y="747"/>
                  </a:cubicBezTo>
                  <a:cubicBezTo>
                    <a:pt x="490" y="736"/>
                    <a:pt x="490" y="736"/>
                    <a:pt x="490" y="736"/>
                  </a:cubicBezTo>
                  <a:cubicBezTo>
                    <a:pt x="490" y="736"/>
                    <a:pt x="458" y="732"/>
                    <a:pt x="447" y="738"/>
                  </a:cubicBezTo>
                  <a:cubicBezTo>
                    <a:pt x="436" y="744"/>
                    <a:pt x="412" y="754"/>
                    <a:pt x="412" y="754"/>
                  </a:cubicBezTo>
                  <a:cubicBezTo>
                    <a:pt x="403" y="752"/>
                    <a:pt x="403" y="752"/>
                    <a:pt x="403" y="752"/>
                  </a:cubicBezTo>
                  <a:cubicBezTo>
                    <a:pt x="404" y="760"/>
                    <a:pt x="404" y="760"/>
                    <a:pt x="404" y="760"/>
                  </a:cubicBezTo>
                  <a:cubicBezTo>
                    <a:pt x="385" y="763"/>
                    <a:pt x="385" y="763"/>
                    <a:pt x="385" y="763"/>
                  </a:cubicBezTo>
                  <a:cubicBezTo>
                    <a:pt x="378" y="769"/>
                    <a:pt x="378" y="769"/>
                    <a:pt x="378" y="769"/>
                  </a:cubicBezTo>
                  <a:cubicBezTo>
                    <a:pt x="362" y="767"/>
                    <a:pt x="362" y="767"/>
                    <a:pt x="362" y="767"/>
                  </a:cubicBezTo>
                  <a:cubicBezTo>
                    <a:pt x="345" y="782"/>
                    <a:pt x="345" y="782"/>
                    <a:pt x="345" y="782"/>
                  </a:cubicBezTo>
                  <a:cubicBezTo>
                    <a:pt x="350" y="788"/>
                    <a:pt x="350" y="788"/>
                    <a:pt x="350" y="788"/>
                  </a:cubicBezTo>
                  <a:cubicBezTo>
                    <a:pt x="360" y="776"/>
                    <a:pt x="360" y="776"/>
                    <a:pt x="360" y="776"/>
                  </a:cubicBezTo>
                  <a:cubicBezTo>
                    <a:pt x="373" y="783"/>
                    <a:pt x="373" y="783"/>
                    <a:pt x="373" y="783"/>
                  </a:cubicBezTo>
                  <a:cubicBezTo>
                    <a:pt x="387" y="771"/>
                    <a:pt x="387" y="771"/>
                    <a:pt x="387" y="771"/>
                  </a:cubicBezTo>
                  <a:cubicBezTo>
                    <a:pt x="388" y="779"/>
                    <a:pt x="388" y="779"/>
                    <a:pt x="388" y="779"/>
                  </a:cubicBezTo>
                  <a:cubicBezTo>
                    <a:pt x="388" y="779"/>
                    <a:pt x="409" y="778"/>
                    <a:pt x="417" y="771"/>
                  </a:cubicBezTo>
                  <a:cubicBezTo>
                    <a:pt x="425" y="764"/>
                    <a:pt x="441" y="750"/>
                    <a:pt x="450" y="748"/>
                  </a:cubicBezTo>
                  <a:cubicBezTo>
                    <a:pt x="459" y="746"/>
                    <a:pt x="451" y="762"/>
                    <a:pt x="464" y="762"/>
                  </a:cubicBezTo>
                  <a:cubicBezTo>
                    <a:pt x="477" y="762"/>
                    <a:pt x="514" y="746"/>
                    <a:pt x="514" y="746"/>
                  </a:cubicBezTo>
                  <a:cubicBezTo>
                    <a:pt x="536" y="752"/>
                    <a:pt x="536" y="752"/>
                    <a:pt x="536" y="752"/>
                  </a:cubicBezTo>
                  <a:cubicBezTo>
                    <a:pt x="548" y="740"/>
                    <a:pt x="548" y="740"/>
                    <a:pt x="548" y="740"/>
                  </a:cubicBezTo>
                  <a:cubicBezTo>
                    <a:pt x="548" y="740"/>
                    <a:pt x="585" y="738"/>
                    <a:pt x="596" y="729"/>
                  </a:cubicBezTo>
                  <a:cubicBezTo>
                    <a:pt x="607" y="720"/>
                    <a:pt x="619" y="706"/>
                    <a:pt x="628" y="705"/>
                  </a:cubicBezTo>
                  <a:cubicBezTo>
                    <a:pt x="637" y="704"/>
                    <a:pt x="649" y="704"/>
                    <a:pt x="649" y="704"/>
                  </a:cubicBezTo>
                  <a:cubicBezTo>
                    <a:pt x="653" y="697"/>
                    <a:pt x="653" y="697"/>
                    <a:pt x="653" y="697"/>
                  </a:cubicBezTo>
                  <a:cubicBezTo>
                    <a:pt x="677" y="697"/>
                    <a:pt x="677" y="697"/>
                    <a:pt x="677" y="697"/>
                  </a:cubicBezTo>
                  <a:cubicBezTo>
                    <a:pt x="684" y="691"/>
                    <a:pt x="684" y="691"/>
                    <a:pt x="684" y="691"/>
                  </a:cubicBezTo>
                  <a:cubicBezTo>
                    <a:pt x="684" y="691"/>
                    <a:pt x="717" y="684"/>
                    <a:pt x="732" y="677"/>
                  </a:cubicBezTo>
                  <a:cubicBezTo>
                    <a:pt x="747" y="670"/>
                    <a:pt x="762" y="656"/>
                    <a:pt x="762" y="656"/>
                  </a:cubicBezTo>
                  <a:cubicBezTo>
                    <a:pt x="803" y="650"/>
                    <a:pt x="803" y="650"/>
                    <a:pt x="803" y="650"/>
                  </a:cubicBezTo>
                  <a:cubicBezTo>
                    <a:pt x="841" y="628"/>
                    <a:pt x="841" y="628"/>
                    <a:pt x="841" y="628"/>
                  </a:cubicBezTo>
                  <a:cubicBezTo>
                    <a:pt x="841" y="628"/>
                    <a:pt x="885" y="627"/>
                    <a:pt x="892" y="620"/>
                  </a:cubicBezTo>
                  <a:cubicBezTo>
                    <a:pt x="899" y="613"/>
                    <a:pt x="912" y="601"/>
                    <a:pt x="912" y="601"/>
                  </a:cubicBezTo>
                  <a:cubicBezTo>
                    <a:pt x="912" y="601"/>
                    <a:pt x="954" y="594"/>
                    <a:pt x="958" y="586"/>
                  </a:cubicBezTo>
                  <a:cubicBezTo>
                    <a:pt x="962" y="578"/>
                    <a:pt x="947" y="578"/>
                    <a:pt x="947" y="578"/>
                  </a:cubicBezTo>
                  <a:cubicBezTo>
                    <a:pt x="947" y="578"/>
                    <a:pt x="970" y="562"/>
                    <a:pt x="979" y="557"/>
                  </a:cubicBezTo>
                  <a:cubicBezTo>
                    <a:pt x="988" y="552"/>
                    <a:pt x="1015" y="545"/>
                    <a:pt x="1015" y="545"/>
                  </a:cubicBezTo>
                  <a:cubicBezTo>
                    <a:pt x="1066" y="526"/>
                    <a:pt x="1066" y="526"/>
                    <a:pt x="1066" y="526"/>
                  </a:cubicBezTo>
                  <a:cubicBezTo>
                    <a:pt x="1060" y="513"/>
                    <a:pt x="1060" y="513"/>
                    <a:pt x="1060" y="513"/>
                  </a:cubicBezTo>
                  <a:cubicBezTo>
                    <a:pt x="1060" y="513"/>
                    <a:pt x="1083" y="519"/>
                    <a:pt x="1090" y="514"/>
                  </a:cubicBezTo>
                  <a:cubicBezTo>
                    <a:pt x="1097" y="509"/>
                    <a:pt x="1130" y="494"/>
                    <a:pt x="1130" y="494"/>
                  </a:cubicBezTo>
                  <a:cubicBezTo>
                    <a:pt x="1130" y="494"/>
                    <a:pt x="1188" y="470"/>
                    <a:pt x="1196" y="467"/>
                  </a:cubicBezTo>
                  <a:cubicBezTo>
                    <a:pt x="1204" y="464"/>
                    <a:pt x="1234" y="485"/>
                    <a:pt x="1234" y="485"/>
                  </a:cubicBezTo>
                  <a:cubicBezTo>
                    <a:pt x="1210" y="485"/>
                    <a:pt x="1210" y="485"/>
                    <a:pt x="1210" y="485"/>
                  </a:cubicBezTo>
                  <a:cubicBezTo>
                    <a:pt x="1197" y="477"/>
                    <a:pt x="1197" y="477"/>
                    <a:pt x="1197" y="477"/>
                  </a:cubicBezTo>
                  <a:cubicBezTo>
                    <a:pt x="1174" y="493"/>
                    <a:pt x="1174" y="493"/>
                    <a:pt x="1174" y="493"/>
                  </a:cubicBezTo>
                  <a:cubicBezTo>
                    <a:pt x="1151" y="493"/>
                    <a:pt x="1151" y="493"/>
                    <a:pt x="1151" y="493"/>
                  </a:cubicBezTo>
                  <a:cubicBezTo>
                    <a:pt x="1151" y="493"/>
                    <a:pt x="1128" y="515"/>
                    <a:pt x="1119" y="518"/>
                  </a:cubicBezTo>
                  <a:cubicBezTo>
                    <a:pt x="1110" y="521"/>
                    <a:pt x="1071" y="527"/>
                    <a:pt x="1075" y="536"/>
                  </a:cubicBezTo>
                  <a:cubicBezTo>
                    <a:pt x="1079" y="545"/>
                    <a:pt x="1099" y="544"/>
                    <a:pt x="1099" y="544"/>
                  </a:cubicBezTo>
                  <a:cubicBezTo>
                    <a:pt x="1099" y="544"/>
                    <a:pt x="1079" y="552"/>
                    <a:pt x="1075" y="552"/>
                  </a:cubicBezTo>
                  <a:cubicBezTo>
                    <a:pt x="1071" y="552"/>
                    <a:pt x="1042" y="551"/>
                    <a:pt x="1042" y="557"/>
                  </a:cubicBezTo>
                  <a:cubicBezTo>
                    <a:pt x="1042" y="563"/>
                    <a:pt x="1045" y="576"/>
                    <a:pt x="1065" y="568"/>
                  </a:cubicBezTo>
                  <a:cubicBezTo>
                    <a:pt x="1085" y="560"/>
                    <a:pt x="1129" y="536"/>
                    <a:pt x="1147" y="532"/>
                  </a:cubicBezTo>
                  <a:cubicBezTo>
                    <a:pt x="1165" y="528"/>
                    <a:pt x="1197" y="537"/>
                    <a:pt x="1211" y="530"/>
                  </a:cubicBezTo>
                  <a:cubicBezTo>
                    <a:pt x="1225" y="523"/>
                    <a:pt x="1247" y="502"/>
                    <a:pt x="1247" y="502"/>
                  </a:cubicBezTo>
                  <a:cubicBezTo>
                    <a:pt x="1245" y="492"/>
                    <a:pt x="1245" y="492"/>
                    <a:pt x="1245" y="492"/>
                  </a:cubicBezTo>
                  <a:cubicBezTo>
                    <a:pt x="1245" y="492"/>
                    <a:pt x="1299" y="471"/>
                    <a:pt x="1309" y="472"/>
                  </a:cubicBezTo>
                  <a:cubicBezTo>
                    <a:pt x="1319" y="473"/>
                    <a:pt x="1322" y="483"/>
                    <a:pt x="1322" y="483"/>
                  </a:cubicBezTo>
                  <a:cubicBezTo>
                    <a:pt x="1364" y="470"/>
                    <a:pt x="1364" y="470"/>
                    <a:pt x="1364" y="470"/>
                  </a:cubicBezTo>
                  <a:cubicBezTo>
                    <a:pt x="1336" y="492"/>
                    <a:pt x="1336" y="492"/>
                    <a:pt x="1336" y="492"/>
                  </a:cubicBezTo>
                  <a:cubicBezTo>
                    <a:pt x="1350" y="498"/>
                    <a:pt x="1350" y="498"/>
                    <a:pt x="1350" y="498"/>
                  </a:cubicBezTo>
                  <a:cubicBezTo>
                    <a:pt x="1350" y="498"/>
                    <a:pt x="1346" y="510"/>
                    <a:pt x="1350" y="510"/>
                  </a:cubicBezTo>
                  <a:cubicBezTo>
                    <a:pt x="1354" y="510"/>
                    <a:pt x="1395" y="485"/>
                    <a:pt x="1395" y="485"/>
                  </a:cubicBezTo>
                  <a:cubicBezTo>
                    <a:pt x="1395" y="485"/>
                    <a:pt x="1356" y="515"/>
                    <a:pt x="1367" y="520"/>
                  </a:cubicBezTo>
                  <a:cubicBezTo>
                    <a:pt x="1378" y="525"/>
                    <a:pt x="1406" y="526"/>
                    <a:pt x="1406" y="526"/>
                  </a:cubicBezTo>
                  <a:cubicBezTo>
                    <a:pt x="1472" y="532"/>
                    <a:pt x="1472" y="532"/>
                    <a:pt x="1472" y="532"/>
                  </a:cubicBezTo>
                  <a:cubicBezTo>
                    <a:pt x="1493" y="519"/>
                    <a:pt x="1493" y="519"/>
                    <a:pt x="1493" y="519"/>
                  </a:cubicBezTo>
                  <a:cubicBezTo>
                    <a:pt x="1493" y="519"/>
                    <a:pt x="1480" y="541"/>
                    <a:pt x="1491" y="542"/>
                  </a:cubicBezTo>
                  <a:cubicBezTo>
                    <a:pt x="1502" y="543"/>
                    <a:pt x="1534" y="541"/>
                    <a:pt x="1534" y="541"/>
                  </a:cubicBezTo>
                  <a:cubicBezTo>
                    <a:pt x="1556" y="535"/>
                    <a:pt x="1556" y="535"/>
                    <a:pt x="1556" y="535"/>
                  </a:cubicBezTo>
                  <a:cubicBezTo>
                    <a:pt x="1556" y="535"/>
                    <a:pt x="1517" y="549"/>
                    <a:pt x="1520" y="557"/>
                  </a:cubicBezTo>
                  <a:cubicBezTo>
                    <a:pt x="1523" y="565"/>
                    <a:pt x="1541" y="573"/>
                    <a:pt x="1541" y="573"/>
                  </a:cubicBezTo>
                  <a:cubicBezTo>
                    <a:pt x="1541" y="573"/>
                    <a:pt x="1539" y="609"/>
                    <a:pt x="1551" y="609"/>
                  </a:cubicBezTo>
                  <a:cubicBezTo>
                    <a:pt x="1563" y="609"/>
                    <a:pt x="1594" y="606"/>
                    <a:pt x="1594" y="606"/>
                  </a:cubicBezTo>
                  <a:cubicBezTo>
                    <a:pt x="1587" y="585"/>
                    <a:pt x="1587" y="585"/>
                    <a:pt x="1587" y="585"/>
                  </a:cubicBezTo>
                  <a:cubicBezTo>
                    <a:pt x="1601" y="580"/>
                    <a:pt x="1601" y="580"/>
                    <a:pt x="1601" y="580"/>
                  </a:cubicBezTo>
                  <a:cubicBezTo>
                    <a:pt x="1610" y="591"/>
                    <a:pt x="1610" y="591"/>
                    <a:pt x="1610" y="591"/>
                  </a:cubicBezTo>
                  <a:cubicBezTo>
                    <a:pt x="1630" y="585"/>
                    <a:pt x="1630" y="585"/>
                    <a:pt x="1630" y="585"/>
                  </a:cubicBezTo>
                  <a:cubicBezTo>
                    <a:pt x="1630" y="585"/>
                    <a:pt x="1610" y="608"/>
                    <a:pt x="1621" y="612"/>
                  </a:cubicBezTo>
                  <a:cubicBezTo>
                    <a:pt x="1632" y="616"/>
                    <a:pt x="1650" y="586"/>
                    <a:pt x="1650" y="586"/>
                  </a:cubicBezTo>
                  <a:cubicBezTo>
                    <a:pt x="1670" y="557"/>
                    <a:pt x="1670" y="557"/>
                    <a:pt x="1670" y="557"/>
                  </a:cubicBezTo>
                  <a:cubicBezTo>
                    <a:pt x="1652" y="599"/>
                    <a:pt x="1652" y="599"/>
                    <a:pt x="1652" y="599"/>
                  </a:cubicBezTo>
                  <a:cubicBezTo>
                    <a:pt x="1656" y="615"/>
                    <a:pt x="1656" y="615"/>
                    <a:pt x="1656" y="615"/>
                  </a:cubicBezTo>
                  <a:cubicBezTo>
                    <a:pt x="1679" y="607"/>
                    <a:pt x="1679" y="607"/>
                    <a:pt x="1679" y="607"/>
                  </a:cubicBezTo>
                  <a:cubicBezTo>
                    <a:pt x="1664" y="623"/>
                    <a:pt x="1664" y="623"/>
                    <a:pt x="1664" y="623"/>
                  </a:cubicBezTo>
                  <a:cubicBezTo>
                    <a:pt x="1681" y="638"/>
                    <a:pt x="1681" y="638"/>
                    <a:pt x="1681" y="638"/>
                  </a:cubicBezTo>
                  <a:cubicBezTo>
                    <a:pt x="1669" y="635"/>
                    <a:pt x="1669" y="635"/>
                    <a:pt x="1669" y="635"/>
                  </a:cubicBezTo>
                  <a:cubicBezTo>
                    <a:pt x="1667" y="647"/>
                    <a:pt x="1667" y="647"/>
                    <a:pt x="1667" y="647"/>
                  </a:cubicBezTo>
                  <a:cubicBezTo>
                    <a:pt x="1648" y="660"/>
                    <a:pt x="1648" y="660"/>
                    <a:pt x="1648" y="660"/>
                  </a:cubicBezTo>
                  <a:cubicBezTo>
                    <a:pt x="1636" y="670"/>
                    <a:pt x="1636" y="670"/>
                    <a:pt x="1636" y="670"/>
                  </a:cubicBezTo>
                  <a:cubicBezTo>
                    <a:pt x="1657" y="681"/>
                    <a:pt x="1657" y="681"/>
                    <a:pt x="1657" y="681"/>
                  </a:cubicBezTo>
                  <a:cubicBezTo>
                    <a:pt x="1654" y="702"/>
                    <a:pt x="1654" y="702"/>
                    <a:pt x="1654" y="702"/>
                  </a:cubicBezTo>
                  <a:cubicBezTo>
                    <a:pt x="1642" y="714"/>
                    <a:pt x="1642" y="714"/>
                    <a:pt x="1642" y="714"/>
                  </a:cubicBezTo>
                  <a:cubicBezTo>
                    <a:pt x="1654" y="719"/>
                    <a:pt x="1654" y="719"/>
                    <a:pt x="1654" y="719"/>
                  </a:cubicBezTo>
                  <a:cubicBezTo>
                    <a:pt x="1639" y="733"/>
                    <a:pt x="1639" y="733"/>
                    <a:pt x="1639" y="733"/>
                  </a:cubicBezTo>
                  <a:cubicBezTo>
                    <a:pt x="1660" y="733"/>
                    <a:pt x="1660" y="733"/>
                    <a:pt x="1660" y="733"/>
                  </a:cubicBezTo>
                  <a:cubicBezTo>
                    <a:pt x="1685" y="724"/>
                    <a:pt x="1685" y="724"/>
                    <a:pt x="1685" y="724"/>
                  </a:cubicBezTo>
                  <a:cubicBezTo>
                    <a:pt x="1663" y="750"/>
                    <a:pt x="1663" y="750"/>
                    <a:pt x="1663" y="750"/>
                  </a:cubicBezTo>
                  <a:cubicBezTo>
                    <a:pt x="1652" y="760"/>
                    <a:pt x="1652" y="760"/>
                    <a:pt x="1652" y="760"/>
                  </a:cubicBezTo>
                  <a:cubicBezTo>
                    <a:pt x="1667" y="765"/>
                    <a:pt x="1667" y="765"/>
                    <a:pt x="1667" y="765"/>
                  </a:cubicBezTo>
                  <a:cubicBezTo>
                    <a:pt x="1637" y="777"/>
                    <a:pt x="1637" y="777"/>
                    <a:pt x="1637" y="777"/>
                  </a:cubicBezTo>
                  <a:cubicBezTo>
                    <a:pt x="1623" y="785"/>
                    <a:pt x="1623" y="785"/>
                    <a:pt x="1623" y="785"/>
                  </a:cubicBezTo>
                  <a:cubicBezTo>
                    <a:pt x="1637" y="791"/>
                    <a:pt x="1637" y="791"/>
                    <a:pt x="1637" y="791"/>
                  </a:cubicBezTo>
                  <a:cubicBezTo>
                    <a:pt x="1637" y="791"/>
                    <a:pt x="1636" y="794"/>
                    <a:pt x="1634" y="798"/>
                  </a:cubicBezTo>
                  <a:cubicBezTo>
                    <a:pt x="1655" y="788"/>
                    <a:pt x="1676" y="777"/>
                    <a:pt x="1680" y="773"/>
                  </a:cubicBezTo>
                  <a:cubicBezTo>
                    <a:pt x="1690" y="763"/>
                    <a:pt x="1690" y="747"/>
                    <a:pt x="1690" y="747"/>
                  </a:cubicBezTo>
                  <a:cubicBezTo>
                    <a:pt x="1690" y="747"/>
                    <a:pt x="1717" y="736"/>
                    <a:pt x="1717" y="728"/>
                  </a:cubicBezTo>
                  <a:cubicBezTo>
                    <a:pt x="1717" y="720"/>
                    <a:pt x="1707" y="721"/>
                    <a:pt x="1707" y="721"/>
                  </a:cubicBezTo>
                  <a:close/>
                  <a:moveTo>
                    <a:pt x="1598" y="704"/>
                  </a:moveTo>
                  <a:cubicBezTo>
                    <a:pt x="1604" y="718"/>
                    <a:pt x="1624" y="696"/>
                    <a:pt x="1624" y="696"/>
                  </a:cubicBezTo>
                  <a:cubicBezTo>
                    <a:pt x="1639" y="692"/>
                    <a:pt x="1639" y="692"/>
                    <a:pt x="1639" y="692"/>
                  </a:cubicBezTo>
                  <a:cubicBezTo>
                    <a:pt x="1638" y="682"/>
                    <a:pt x="1638" y="682"/>
                    <a:pt x="1638" y="682"/>
                  </a:cubicBezTo>
                  <a:cubicBezTo>
                    <a:pt x="1620" y="679"/>
                    <a:pt x="1620" y="679"/>
                    <a:pt x="1620" y="679"/>
                  </a:cubicBezTo>
                  <a:cubicBezTo>
                    <a:pt x="1620" y="679"/>
                    <a:pt x="1595" y="697"/>
                    <a:pt x="1598" y="704"/>
                  </a:cubicBezTo>
                  <a:close/>
                  <a:moveTo>
                    <a:pt x="1583" y="656"/>
                  </a:moveTo>
                  <a:cubicBezTo>
                    <a:pt x="1576" y="653"/>
                    <a:pt x="1559" y="664"/>
                    <a:pt x="1558" y="670"/>
                  </a:cubicBezTo>
                  <a:cubicBezTo>
                    <a:pt x="1557" y="676"/>
                    <a:pt x="1550" y="689"/>
                    <a:pt x="1550" y="689"/>
                  </a:cubicBezTo>
                  <a:cubicBezTo>
                    <a:pt x="1549" y="698"/>
                    <a:pt x="1549" y="698"/>
                    <a:pt x="1549" y="698"/>
                  </a:cubicBezTo>
                  <a:cubicBezTo>
                    <a:pt x="1549" y="698"/>
                    <a:pt x="1541" y="702"/>
                    <a:pt x="1540" y="709"/>
                  </a:cubicBezTo>
                  <a:cubicBezTo>
                    <a:pt x="1539" y="716"/>
                    <a:pt x="1546" y="720"/>
                    <a:pt x="1546" y="720"/>
                  </a:cubicBezTo>
                  <a:cubicBezTo>
                    <a:pt x="1546" y="720"/>
                    <a:pt x="1559" y="700"/>
                    <a:pt x="1576" y="687"/>
                  </a:cubicBezTo>
                  <a:cubicBezTo>
                    <a:pt x="1593" y="674"/>
                    <a:pt x="1590" y="659"/>
                    <a:pt x="1583" y="656"/>
                  </a:cubicBezTo>
                  <a:close/>
                  <a:moveTo>
                    <a:pt x="525" y="542"/>
                  </a:moveTo>
                  <a:cubicBezTo>
                    <a:pt x="547" y="540"/>
                    <a:pt x="594" y="519"/>
                    <a:pt x="578" y="515"/>
                  </a:cubicBezTo>
                  <a:cubicBezTo>
                    <a:pt x="561" y="510"/>
                    <a:pt x="539" y="507"/>
                    <a:pt x="533" y="513"/>
                  </a:cubicBezTo>
                  <a:cubicBezTo>
                    <a:pt x="527" y="519"/>
                    <a:pt x="514" y="506"/>
                    <a:pt x="510" y="517"/>
                  </a:cubicBezTo>
                  <a:cubicBezTo>
                    <a:pt x="507" y="528"/>
                    <a:pt x="513" y="543"/>
                    <a:pt x="525" y="542"/>
                  </a:cubicBezTo>
                  <a:close/>
                  <a:moveTo>
                    <a:pt x="0" y="886"/>
                  </a:moveTo>
                  <a:cubicBezTo>
                    <a:pt x="41" y="880"/>
                    <a:pt x="41" y="880"/>
                    <a:pt x="41" y="880"/>
                  </a:cubicBezTo>
                  <a:cubicBezTo>
                    <a:pt x="49" y="869"/>
                    <a:pt x="49" y="869"/>
                    <a:pt x="49" y="869"/>
                  </a:cubicBezTo>
                  <a:cubicBezTo>
                    <a:pt x="90" y="863"/>
                    <a:pt x="90" y="863"/>
                    <a:pt x="90" y="863"/>
                  </a:cubicBezTo>
                  <a:cubicBezTo>
                    <a:pt x="76" y="849"/>
                    <a:pt x="76" y="849"/>
                    <a:pt x="76" y="849"/>
                  </a:cubicBezTo>
                  <a:lnTo>
                    <a:pt x="0" y="886"/>
                  </a:lnTo>
                  <a:close/>
                  <a:moveTo>
                    <a:pt x="908" y="635"/>
                  </a:moveTo>
                  <a:cubicBezTo>
                    <a:pt x="905" y="636"/>
                    <a:pt x="892" y="641"/>
                    <a:pt x="892" y="641"/>
                  </a:cubicBezTo>
                  <a:cubicBezTo>
                    <a:pt x="892" y="641"/>
                    <a:pt x="884" y="634"/>
                    <a:pt x="879" y="635"/>
                  </a:cubicBezTo>
                  <a:cubicBezTo>
                    <a:pt x="874" y="636"/>
                    <a:pt x="875" y="651"/>
                    <a:pt x="875" y="651"/>
                  </a:cubicBezTo>
                  <a:cubicBezTo>
                    <a:pt x="859" y="663"/>
                    <a:pt x="859" y="663"/>
                    <a:pt x="859" y="663"/>
                  </a:cubicBezTo>
                  <a:cubicBezTo>
                    <a:pt x="859" y="646"/>
                    <a:pt x="859" y="646"/>
                    <a:pt x="859" y="646"/>
                  </a:cubicBezTo>
                  <a:cubicBezTo>
                    <a:pt x="859" y="646"/>
                    <a:pt x="845" y="641"/>
                    <a:pt x="831" y="654"/>
                  </a:cubicBezTo>
                  <a:cubicBezTo>
                    <a:pt x="831" y="654"/>
                    <a:pt x="814" y="665"/>
                    <a:pt x="811" y="672"/>
                  </a:cubicBezTo>
                  <a:cubicBezTo>
                    <a:pt x="809" y="680"/>
                    <a:pt x="831" y="681"/>
                    <a:pt x="831" y="681"/>
                  </a:cubicBezTo>
                  <a:cubicBezTo>
                    <a:pt x="831" y="681"/>
                    <a:pt x="861" y="681"/>
                    <a:pt x="872" y="676"/>
                  </a:cubicBezTo>
                  <a:cubicBezTo>
                    <a:pt x="884" y="671"/>
                    <a:pt x="881" y="664"/>
                    <a:pt x="881" y="664"/>
                  </a:cubicBezTo>
                  <a:cubicBezTo>
                    <a:pt x="899" y="661"/>
                    <a:pt x="899" y="661"/>
                    <a:pt x="899" y="661"/>
                  </a:cubicBezTo>
                  <a:cubicBezTo>
                    <a:pt x="900" y="655"/>
                    <a:pt x="900" y="655"/>
                    <a:pt x="900" y="655"/>
                  </a:cubicBezTo>
                  <a:cubicBezTo>
                    <a:pt x="925" y="654"/>
                    <a:pt x="925" y="654"/>
                    <a:pt x="925" y="654"/>
                  </a:cubicBezTo>
                  <a:cubicBezTo>
                    <a:pt x="931" y="638"/>
                    <a:pt x="931" y="638"/>
                    <a:pt x="931" y="638"/>
                  </a:cubicBezTo>
                  <a:cubicBezTo>
                    <a:pt x="920" y="640"/>
                    <a:pt x="920" y="640"/>
                    <a:pt x="920" y="640"/>
                  </a:cubicBezTo>
                  <a:cubicBezTo>
                    <a:pt x="920" y="640"/>
                    <a:pt x="912" y="634"/>
                    <a:pt x="908" y="635"/>
                  </a:cubicBezTo>
                  <a:close/>
                  <a:moveTo>
                    <a:pt x="107" y="860"/>
                  </a:moveTo>
                  <a:cubicBezTo>
                    <a:pt x="135" y="859"/>
                    <a:pt x="135" y="859"/>
                    <a:pt x="135" y="859"/>
                  </a:cubicBezTo>
                  <a:cubicBezTo>
                    <a:pt x="161" y="840"/>
                    <a:pt x="161" y="840"/>
                    <a:pt x="161" y="840"/>
                  </a:cubicBezTo>
                  <a:cubicBezTo>
                    <a:pt x="152" y="829"/>
                    <a:pt x="152" y="829"/>
                    <a:pt x="152" y="829"/>
                  </a:cubicBezTo>
                  <a:lnTo>
                    <a:pt x="107" y="860"/>
                  </a:lnTo>
                  <a:close/>
                  <a:moveTo>
                    <a:pt x="1646" y="762"/>
                  </a:moveTo>
                  <a:cubicBezTo>
                    <a:pt x="1652" y="749"/>
                    <a:pt x="1637" y="734"/>
                    <a:pt x="1627" y="744"/>
                  </a:cubicBezTo>
                  <a:cubicBezTo>
                    <a:pt x="1617" y="754"/>
                    <a:pt x="1611" y="784"/>
                    <a:pt x="1611" y="784"/>
                  </a:cubicBezTo>
                  <a:cubicBezTo>
                    <a:pt x="1611" y="784"/>
                    <a:pt x="1624" y="773"/>
                    <a:pt x="1629" y="773"/>
                  </a:cubicBezTo>
                  <a:cubicBezTo>
                    <a:pt x="1634" y="773"/>
                    <a:pt x="1640" y="775"/>
                    <a:pt x="1646" y="762"/>
                  </a:cubicBezTo>
                  <a:close/>
                  <a:moveTo>
                    <a:pt x="953" y="609"/>
                  </a:moveTo>
                  <a:cubicBezTo>
                    <a:pt x="940" y="618"/>
                    <a:pt x="916" y="623"/>
                    <a:pt x="923" y="630"/>
                  </a:cubicBezTo>
                  <a:cubicBezTo>
                    <a:pt x="934" y="641"/>
                    <a:pt x="959" y="629"/>
                    <a:pt x="959" y="629"/>
                  </a:cubicBezTo>
                  <a:cubicBezTo>
                    <a:pt x="966" y="620"/>
                    <a:pt x="966" y="620"/>
                    <a:pt x="966" y="620"/>
                  </a:cubicBezTo>
                  <a:cubicBezTo>
                    <a:pt x="966" y="620"/>
                    <a:pt x="982" y="624"/>
                    <a:pt x="979" y="618"/>
                  </a:cubicBezTo>
                  <a:cubicBezTo>
                    <a:pt x="977" y="612"/>
                    <a:pt x="967" y="600"/>
                    <a:pt x="953" y="609"/>
                  </a:cubicBezTo>
                  <a:close/>
                  <a:moveTo>
                    <a:pt x="331" y="777"/>
                  </a:moveTo>
                  <a:cubicBezTo>
                    <a:pt x="319" y="777"/>
                    <a:pt x="290" y="788"/>
                    <a:pt x="290" y="788"/>
                  </a:cubicBezTo>
                  <a:cubicBezTo>
                    <a:pt x="290" y="788"/>
                    <a:pt x="253" y="802"/>
                    <a:pt x="254" y="809"/>
                  </a:cubicBezTo>
                  <a:cubicBezTo>
                    <a:pt x="256" y="818"/>
                    <a:pt x="270" y="812"/>
                    <a:pt x="289" y="806"/>
                  </a:cubicBezTo>
                  <a:cubicBezTo>
                    <a:pt x="308" y="799"/>
                    <a:pt x="328" y="809"/>
                    <a:pt x="335" y="803"/>
                  </a:cubicBezTo>
                  <a:cubicBezTo>
                    <a:pt x="342" y="797"/>
                    <a:pt x="344" y="777"/>
                    <a:pt x="331" y="777"/>
                  </a:cubicBezTo>
                  <a:close/>
                  <a:moveTo>
                    <a:pt x="219" y="828"/>
                  </a:moveTo>
                  <a:cubicBezTo>
                    <a:pt x="221" y="814"/>
                    <a:pt x="221" y="814"/>
                    <a:pt x="221" y="814"/>
                  </a:cubicBezTo>
                  <a:cubicBezTo>
                    <a:pt x="184" y="829"/>
                    <a:pt x="184" y="829"/>
                    <a:pt x="184" y="829"/>
                  </a:cubicBezTo>
                  <a:lnTo>
                    <a:pt x="219" y="828"/>
                  </a:lnTo>
                  <a:close/>
                </a:path>
              </a:pathLst>
            </a:custGeom>
            <a:solidFill>
              <a:schemeClr val="accent1"/>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grpSp>
    </p:spTree>
    <p:custDataLst>
      <p:tags r:id="rId1"/>
    </p:custDataLst>
    <p:extLst>
      <p:ext uri="{BB962C8B-B14F-4D97-AF65-F5344CB8AC3E}">
        <p14:creationId xmlns:p14="http://schemas.microsoft.com/office/powerpoint/2010/main" val="2488889669"/>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MIO_SHADOWBOX">
            <a:extLst>
              <a:ext uri="{FF2B5EF4-FFF2-40B4-BE49-F238E27FC236}">
                <a16:creationId xmlns:a16="http://schemas.microsoft.com/office/drawing/2014/main" id="{82C12DF2-1A6B-412A-990E-957643988889}"/>
              </a:ext>
            </a:extLst>
          </p:cNvPr>
          <p:cNvSpPr/>
          <p:nvPr/>
        </p:nvSpPr>
        <p:spPr>
          <a:xfrm>
            <a:off x="458788" y="1387800"/>
            <a:ext cx="5372969" cy="5054401"/>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2" name="Titel 1">
            <a:extLst>
              <a:ext uri="{FF2B5EF4-FFF2-40B4-BE49-F238E27FC236}">
                <a16:creationId xmlns:a16="http://schemas.microsoft.com/office/drawing/2014/main" id="{4C43AC98-C637-4454-9144-531F94627AE7}"/>
              </a:ext>
            </a:extLst>
          </p:cNvPr>
          <p:cNvSpPr>
            <a:spLocks noGrp="1"/>
          </p:cNvSpPr>
          <p:nvPr>
            <p:ph type="title"/>
          </p:nvPr>
        </p:nvSpPr>
        <p:spPr/>
        <p:txBody>
          <a:bodyPr/>
          <a:lstStyle/>
          <a:p>
            <a:r>
              <a:rPr lang="en-US" sz="3000" dirty="0"/>
              <a:t>South America at a glance</a:t>
            </a:r>
          </a:p>
        </p:txBody>
      </p:sp>
      <p:sp>
        <p:nvSpPr>
          <p:cNvPr id="45" name="MIO_SHADOWBOX">
            <a:extLst>
              <a:ext uri="{FF2B5EF4-FFF2-40B4-BE49-F238E27FC236}">
                <a16:creationId xmlns:a16="http://schemas.microsoft.com/office/drawing/2014/main" id="{1FBF0BEC-F51E-4D1B-A0AE-D2115F32EECB}"/>
              </a:ext>
            </a:extLst>
          </p:cNvPr>
          <p:cNvSpPr/>
          <p:nvPr/>
        </p:nvSpPr>
        <p:spPr>
          <a:xfrm>
            <a:off x="6360245" y="1387800"/>
            <a:ext cx="1438663" cy="1291952"/>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46" name="MIO_SHADOWBOX">
            <a:extLst>
              <a:ext uri="{FF2B5EF4-FFF2-40B4-BE49-F238E27FC236}">
                <a16:creationId xmlns:a16="http://schemas.microsoft.com/office/drawing/2014/main" id="{2972261B-FAEA-4E48-9371-C54628A12F7E}"/>
              </a:ext>
            </a:extLst>
          </p:cNvPr>
          <p:cNvSpPr/>
          <p:nvPr/>
        </p:nvSpPr>
        <p:spPr>
          <a:xfrm>
            <a:off x="8327397" y="1387800"/>
            <a:ext cx="1438663" cy="1291952"/>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47" name="MIO_SHADOWBOX">
            <a:extLst>
              <a:ext uri="{FF2B5EF4-FFF2-40B4-BE49-F238E27FC236}">
                <a16:creationId xmlns:a16="http://schemas.microsoft.com/office/drawing/2014/main" id="{23863750-458D-4591-9B54-B9DB674FD708}"/>
              </a:ext>
            </a:extLst>
          </p:cNvPr>
          <p:cNvSpPr/>
          <p:nvPr/>
        </p:nvSpPr>
        <p:spPr>
          <a:xfrm>
            <a:off x="10294550" y="1387800"/>
            <a:ext cx="1438663" cy="1291952"/>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48" name="MIO_SHADOWBOX">
            <a:extLst>
              <a:ext uri="{FF2B5EF4-FFF2-40B4-BE49-F238E27FC236}">
                <a16:creationId xmlns:a16="http://schemas.microsoft.com/office/drawing/2014/main" id="{66663BA5-69E8-4699-812B-9D71A5656230}"/>
              </a:ext>
            </a:extLst>
          </p:cNvPr>
          <p:cNvSpPr/>
          <p:nvPr/>
        </p:nvSpPr>
        <p:spPr>
          <a:xfrm>
            <a:off x="6360245" y="3208276"/>
            <a:ext cx="1438663" cy="1291952"/>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49" name="MIO_SHADOWBOX">
            <a:extLst>
              <a:ext uri="{FF2B5EF4-FFF2-40B4-BE49-F238E27FC236}">
                <a16:creationId xmlns:a16="http://schemas.microsoft.com/office/drawing/2014/main" id="{50BD2709-E5BF-4769-9F67-A9C059967CD7}"/>
              </a:ext>
            </a:extLst>
          </p:cNvPr>
          <p:cNvSpPr/>
          <p:nvPr/>
        </p:nvSpPr>
        <p:spPr>
          <a:xfrm>
            <a:off x="8327397" y="3208276"/>
            <a:ext cx="1438663" cy="1291952"/>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50" name="MIO_SHADOWBOX">
            <a:extLst>
              <a:ext uri="{FF2B5EF4-FFF2-40B4-BE49-F238E27FC236}">
                <a16:creationId xmlns:a16="http://schemas.microsoft.com/office/drawing/2014/main" id="{F4559213-E816-4250-B33F-6E91FCFBA5AC}"/>
              </a:ext>
            </a:extLst>
          </p:cNvPr>
          <p:cNvSpPr/>
          <p:nvPr/>
        </p:nvSpPr>
        <p:spPr>
          <a:xfrm>
            <a:off x="10294550" y="3208276"/>
            <a:ext cx="1438663" cy="1291952"/>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51" name="MIO_SHADOWBOX">
            <a:extLst>
              <a:ext uri="{FF2B5EF4-FFF2-40B4-BE49-F238E27FC236}">
                <a16:creationId xmlns:a16="http://schemas.microsoft.com/office/drawing/2014/main" id="{5C5EFB73-163F-4D08-8984-9B073C0DA107}"/>
              </a:ext>
            </a:extLst>
          </p:cNvPr>
          <p:cNvSpPr/>
          <p:nvPr/>
        </p:nvSpPr>
        <p:spPr>
          <a:xfrm>
            <a:off x="6360245" y="5028753"/>
            <a:ext cx="1438663" cy="1291952"/>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52" name="MIO_SHADOWBOX">
            <a:extLst>
              <a:ext uri="{FF2B5EF4-FFF2-40B4-BE49-F238E27FC236}">
                <a16:creationId xmlns:a16="http://schemas.microsoft.com/office/drawing/2014/main" id="{6014223D-156B-45A4-9FC8-AAD6D32E3AB4}"/>
              </a:ext>
            </a:extLst>
          </p:cNvPr>
          <p:cNvSpPr/>
          <p:nvPr/>
        </p:nvSpPr>
        <p:spPr>
          <a:xfrm>
            <a:off x="8327397" y="5028753"/>
            <a:ext cx="1438663" cy="1291952"/>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53" name="MIO_SHADOWBOX">
            <a:extLst>
              <a:ext uri="{FF2B5EF4-FFF2-40B4-BE49-F238E27FC236}">
                <a16:creationId xmlns:a16="http://schemas.microsoft.com/office/drawing/2014/main" id="{B3848545-8F62-42FE-B5F6-D40D4531C321}"/>
              </a:ext>
            </a:extLst>
          </p:cNvPr>
          <p:cNvSpPr/>
          <p:nvPr/>
        </p:nvSpPr>
        <p:spPr>
          <a:xfrm>
            <a:off x="10294550" y="5028753"/>
            <a:ext cx="1438663" cy="1291952"/>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pic>
        <p:nvPicPr>
          <p:cNvPr id="55" name="MIO_PICTOGRAM_PART2" descr="Statistik">
            <a:extLst>
              <a:ext uri="{FF2B5EF4-FFF2-40B4-BE49-F238E27FC236}">
                <a16:creationId xmlns:a16="http://schemas.microsoft.com/office/drawing/2014/main" id="{E93DEE65-EBA6-40F5-9D97-C0B24C3EE63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782484" y="5219609"/>
            <a:ext cx="528525" cy="528525"/>
          </a:xfrm>
          <a:prstGeom prst="rect">
            <a:avLst/>
          </a:prstGeom>
        </p:spPr>
      </p:pic>
      <p:pic>
        <p:nvPicPr>
          <p:cNvPr id="6" name="MIO_PICTOGRAM_PART2" descr="Sackkarre">
            <a:extLst>
              <a:ext uri="{FF2B5EF4-FFF2-40B4-BE49-F238E27FC236}">
                <a16:creationId xmlns:a16="http://schemas.microsoft.com/office/drawing/2014/main" id="{A08A1692-8636-4C59-99E5-49E583CCDF6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815333" y="5219609"/>
            <a:ext cx="528525" cy="528525"/>
          </a:xfrm>
          <a:prstGeom prst="rect">
            <a:avLst/>
          </a:prstGeom>
        </p:spPr>
      </p:pic>
      <p:pic>
        <p:nvPicPr>
          <p:cNvPr id="62" name="MIO_PICTOGRAM_PART2" descr="Flugzeug">
            <a:extLst>
              <a:ext uri="{FF2B5EF4-FFF2-40B4-BE49-F238E27FC236}">
                <a16:creationId xmlns:a16="http://schemas.microsoft.com/office/drawing/2014/main" id="{96F6743F-566B-4DAA-882C-C241E519F4EA}"/>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782484" y="3399134"/>
            <a:ext cx="528525" cy="528525"/>
          </a:xfrm>
          <a:prstGeom prst="rect">
            <a:avLst/>
          </a:prstGeom>
        </p:spPr>
      </p:pic>
      <p:pic>
        <p:nvPicPr>
          <p:cNvPr id="56" name="MIO_PICTOGRAM_PART2" descr="LKW">
            <a:extLst>
              <a:ext uri="{FF2B5EF4-FFF2-40B4-BE49-F238E27FC236}">
                <a16:creationId xmlns:a16="http://schemas.microsoft.com/office/drawing/2014/main" id="{9E1A61BD-2CF3-4202-9DBA-3A4FFF9AC837}"/>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815333" y="3399134"/>
            <a:ext cx="528525" cy="528525"/>
          </a:xfrm>
          <a:prstGeom prst="rect">
            <a:avLst/>
          </a:prstGeom>
        </p:spPr>
      </p:pic>
      <p:pic>
        <p:nvPicPr>
          <p:cNvPr id="60" name="MIO_PICTOGRAM_PART2" descr="Barcode">
            <a:extLst>
              <a:ext uri="{FF2B5EF4-FFF2-40B4-BE49-F238E27FC236}">
                <a16:creationId xmlns:a16="http://schemas.microsoft.com/office/drawing/2014/main" id="{A6F249BB-0391-4463-A23B-ECCB544E3DE8}"/>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8782484" y="1578657"/>
            <a:ext cx="528525" cy="528525"/>
          </a:xfrm>
          <a:prstGeom prst="rect">
            <a:avLst/>
          </a:prstGeom>
        </p:spPr>
      </p:pic>
      <p:pic>
        <p:nvPicPr>
          <p:cNvPr id="61" name="MIO_PICTOGRAM_PART2" descr="Benutzer">
            <a:extLst>
              <a:ext uri="{FF2B5EF4-FFF2-40B4-BE49-F238E27FC236}">
                <a16:creationId xmlns:a16="http://schemas.microsoft.com/office/drawing/2014/main" id="{85C9EBF5-A360-429E-8E10-6A4567EAF7EE}"/>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815333" y="1578657"/>
            <a:ext cx="528525" cy="528525"/>
          </a:xfrm>
          <a:prstGeom prst="rect">
            <a:avLst/>
          </a:prstGeom>
        </p:spPr>
      </p:pic>
      <p:pic>
        <p:nvPicPr>
          <p:cNvPr id="54" name="MIO_PICTOGRAM_PART2" descr="Goldbarren">
            <a:extLst>
              <a:ext uri="{FF2B5EF4-FFF2-40B4-BE49-F238E27FC236}">
                <a16:creationId xmlns:a16="http://schemas.microsoft.com/office/drawing/2014/main" id="{7A9B690C-1230-469A-8937-3505F4C60589}"/>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749637" y="5219609"/>
            <a:ext cx="528525" cy="528525"/>
          </a:xfrm>
          <a:prstGeom prst="rect">
            <a:avLst/>
          </a:prstGeom>
        </p:spPr>
      </p:pic>
      <p:sp>
        <p:nvSpPr>
          <p:cNvPr id="66" name="Textfeld">
            <a:extLst>
              <a:ext uri="{FF2B5EF4-FFF2-40B4-BE49-F238E27FC236}">
                <a16:creationId xmlns:a16="http://schemas.microsoft.com/office/drawing/2014/main" id="{87BA08B9-7FB8-4317-A5AE-939ED0A38161}"/>
              </a:ext>
            </a:extLst>
          </p:cNvPr>
          <p:cNvSpPr txBox="1"/>
          <p:nvPr/>
        </p:nvSpPr>
        <p:spPr>
          <a:xfrm>
            <a:off x="10294550" y="5847968"/>
            <a:ext cx="1438663" cy="281881"/>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ctr"/>
            <a:r>
              <a:rPr lang="en-US" sz="1400" dirty="0">
                <a:solidFill>
                  <a:schemeClr val="dk1"/>
                </a:solidFill>
              </a:rPr>
              <a:t>Lorem ipsum</a:t>
            </a:r>
          </a:p>
        </p:txBody>
      </p:sp>
      <p:sp>
        <p:nvSpPr>
          <p:cNvPr id="67" name="Textfeld">
            <a:extLst>
              <a:ext uri="{FF2B5EF4-FFF2-40B4-BE49-F238E27FC236}">
                <a16:creationId xmlns:a16="http://schemas.microsoft.com/office/drawing/2014/main" id="{3D4E1DB3-9EB0-4552-9783-23A302F6DFE5}"/>
              </a:ext>
            </a:extLst>
          </p:cNvPr>
          <p:cNvSpPr txBox="1"/>
          <p:nvPr/>
        </p:nvSpPr>
        <p:spPr>
          <a:xfrm>
            <a:off x="8327397" y="5847968"/>
            <a:ext cx="1438663" cy="281881"/>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ctr"/>
            <a:r>
              <a:rPr lang="en-US" sz="1400" dirty="0">
                <a:solidFill>
                  <a:schemeClr val="dk1"/>
                </a:solidFill>
              </a:rPr>
              <a:t>Lorem ipsum</a:t>
            </a:r>
          </a:p>
        </p:txBody>
      </p:sp>
      <p:sp>
        <p:nvSpPr>
          <p:cNvPr id="68" name="Textfeld">
            <a:extLst>
              <a:ext uri="{FF2B5EF4-FFF2-40B4-BE49-F238E27FC236}">
                <a16:creationId xmlns:a16="http://schemas.microsoft.com/office/drawing/2014/main" id="{94C11EF9-16B6-4F94-AA91-90F17FA27436}"/>
              </a:ext>
            </a:extLst>
          </p:cNvPr>
          <p:cNvSpPr txBox="1"/>
          <p:nvPr/>
        </p:nvSpPr>
        <p:spPr>
          <a:xfrm>
            <a:off x="6360244" y="5847968"/>
            <a:ext cx="1438663" cy="281881"/>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ctr"/>
            <a:r>
              <a:rPr lang="en-US" sz="1400" dirty="0">
                <a:solidFill>
                  <a:schemeClr val="dk1"/>
                </a:solidFill>
              </a:rPr>
              <a:t>Lorem ipsum</a:t>
            </a:r>
          </a:p>
        </p:txBody>
      </p:sp>
      <p:pic>
        <p:nvPicPr>
          <p:cNvPr id="63" name="MIO_PICTOGRAM_PART2" descr="Zug">
            <a:extLst>
              <a:ext uri="{FF2B5EF4-FFF2-40B4-BE49-F238E27FC236}">
                <a16:creationId xmlns:a16="http://schemas.microsoft.com/office/drawing/2014/main" id="{C59F44F9-0977-4F58-A148-FF1445F2EA60}"/>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0749637" y="3399134"/>
            <a:ext cx="528525" cy="528525"/>
          </a:xfrm>
          <a:prstGeom prst="rect">
            <a:avLst/>
          </a:prstGeom>
        </p:spPr>
      </p:pic>
      <p:sp>
        <p:nvSpPr>
          <p:cNvPr id="69" name="Textfeld">
            <a:extLst>
              <a:ext uri="{FF2B5EF4-FFF2-40B4-BE49-F238E27FC236}">
                <a16:creationId xmlns:a16="http://schemas.microsoft.com/office/drawing/2014/main" id="{7495BE72-2D58-4468-9AE9-A3D19176EA5A}"/>
              </a:ext>
            </a:extLst>
          </p:cNvPr>
          <p:cNvSpPr txBox="1"/>
          <p:nvPr/>
        </p:nvSpPr>
        <p:spPr>
          <a:xfrm>
            <a:off x="10294550" y="4027491"/>
            <a:ext cx="1438663" cy="281881"/>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ctr"/>
            <a:r>
              <a:rPr lang="en-US" sz="1400" dirty="0">
                <a:solidFill>
                  <a:schemeClr val="dk1"/>
                </a:solidFill>
              </a:rPr>
              <a:t>Lorem ipsum</a:t>
            </a:r>
          </a:p>
        </p:txBody>
      </p:sp>
      <p:sp>
        <p:nvSpPr>
          <p:cNvPr id="70" name="Textfeld">
            <a:extLst>
              <a:ext uri="{FF2B5EF4-FFF2-40B4-BE49-F238E27FC236}">
                <a16:creationId xmlns:a16="http://schemas.microsoft.com/office/drawing/2014/main" id="{BE521805-EB5D-4510-B4B5-DF2D95B9A790}"/>
              </a:ext>
            </a:extLst>
          </p:cNvPr>
          <p:cNvSpPr txBox="1"/>
          <p:nvPr/>
        </p:nvSpPr>
        <p:spPr>
          <a:xfrm>
            <a:off x="8327397" y="4027491"/>
            <a:ext cx="1438663" cy="281881"/>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ctr"/>
            <a:r>
              <a:rPr lang="en-US" sz="1400" dirty="0">
                <a:solidFill>
                  <a:schemeClr val="dk1"/>
                </a:solidFill>
              </a:rPr>
              <a:t>Lorem ipsum</a:t>
            </a:r>
          </a:p>
        </p:txBody>
      </p:sp>
      <p:sp>
        <p:nvSpPr>
          <p:cNvPr id="71" name="Textfeld">
            <a:extLst>
              <a:ext uri="{FF2B5EF4-FFF2-40B4-BE49-F238E27FC236}">
                <a16:creationId xmlns:a16="http://schemas.microsoft.com/office/drawing/2014/main" id="{571B90C5-1A7E-493A-8C6F-85B6651B7959}"/>
              </a:ext>
            </a:extLst>
          </p:cNvPr>
          <p:cNvSpPr txBox="1"/>
          <p:nvPr/>
        </p:nvSpPr>
        <p:spPr>
          <a:xfrm>
            <a:off x="6360244" y="4027491"/>
            <a:ext cx="1438663" cy="281881"/>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ctr"/>
            <a:r>
              <a:rPr lang="en-US" sz="1400" dirty="0">
                <a:solidFill>
                  <a:schemeClr val="dk1"/>
                </a:solidFill>
              </a:rPr>
              <a:t>Lorem ipsum</a:t>
            </a:r>
          </a:p>
        </p:txBody>
      </p:sp>
      <p:pic>
        <p:nvPicPr>
          <p:cNvPr id="58" name="MIO_PICTOGRAM_PART2" descr="Globus">
            <a:extLst>
              <a:ext uri="{FF2B5EF4-FFF2-40B4-BE49-F238E27FC236}">
                <a16:creationId xmlns:a16="http://schemas.microsoft.com/office/drawing/2014/main" id="{60CEC23B-A89C-4A12-85B5-5CC35AEBB5AB}"/>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0749637" y="1578657"/>
            <a:ext cx="528525" cy="528525"/>
          </a:xfrm>
          <a:prstGeom prst="rect">
            <a:avLst/>
          </a:prstGeom>
        </p:spPr>
      </p:pic>
      <p:sp>
        <p:nvSpPr>
          <p:cNvPr id="72" name="Textfeld">
            <a:extLst>
              <a:ext uri="{FF2B5EF4-FFF2-40B4-BE49-F238E27FC236}">
                <a16:creationId xmlns:a16="http://schemas.microsoft.com/office/drawing/2014/main" id="{60EDC45E-0C78-41F0-AEA1-F32C4F435FEC}"/>
              </a:ext>
            </a:extLst>
          </p:cNvPr>
          <p:cNvSpPr txBox="1"/>
          <p:nvPr/>
        </p:nvSpPr>
        <p:spPr>
          <a:xfrm>
            <a:off x="10294550" y="2207015"/>
            <a:ext cx="1438663" cy="281881"/>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ctr"/>
            <a:r>
              <a:rPr lang="en-US" sz="1400" dirty="0">
                <a:solidFill>
                  <a:schemeClr val="dk1"/>
                </a:solidFill>
              </a:rPr>
              <a:t>Lorem ipsum</a:t>
            </a:r>
          </a:p>
        </p:txBody>
      </p:sp>
      <p:sp>
        <p:nvSpPr>
          <p:cNvPr id="73" name="Textfeld">
            <a:extLst>
              <a:ext uri="{FF2B5EF4-FFF2-40B4-BE49-F238E27FC236}">
                <a16:creationId xmlns:a16="http://schemas.microsoft.com/office/drawing/2014/main" id="{B6B4910E-167B-44F0-B522-29FA53BECB4B}"/>
              </a:ext>
            </a:extLst>
          </p:cNvPr>
          <p:cNvSpPr txBox="1"/>
          <p:nvPr/>
        </p:nvSpPr>
        <p:spPr>
          <a:xfrm>
            <a:off x="8327397" y="2207015"/>
            <a:ext cx="1438663" cy="281881"/>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ctr"/>
            <a:r>
              <a:rPr lang="en-US" sz="1400" dirty="0">
                <a:solidFill>
                  <a:schemeClr val="dk1"/>
                </a:solidFill>
              </a:rPr>
              <a:t>Lorem ipsum</a:t>
            </a:r>
          </a:p>
        </p:txBody>
      </p:sp>
      <p:sp>
        <p:nvSpPr>
          <p:cNvPr id="74" name="Textfeld">
            <a:extLst>
              <a:ext uri="{FF2B5EF4-FFF2-40B4-BE49-F238E27FC236}">
                <a16:creationId xmlns:a16="http://schemas.microsoft.com/office/drawing/2014/main" id="{97AD7D60-EA20-43D6-83BF-9294C5A91571}"/>
              </a:ext>
            </a:extLst>
          </p:cNvPr>
          <p:cNvSpPr txBox="1"/>
          <p:nvPr/>
        </p:nvSpPr>
        <p:spPr>
          <a:xfrm>
            <a:off x="6360244" y="2207015"/>
            <a:ext cx="1438663" cy="281881"/>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ctr"/>
            <a:r>
              <a:rPr lang="en-US" sz="1400" dirty="0">
                <a:solidFill>
                  <a:schemeClr val="dk1"/>
                </a:solidFill>
              </a:rPr>
              <a:t>Lorem ipsum</a:t>
            </a:r>
          </a:p>
        </p:txBody>
      </p:sp>
      <p:grpSp>
        <p:nvGrpSpPr>
          <p:cNvPr id="142" name="South America">
            <a:extLst>
              <a:ext uri="{FF2B5EF4-FFF2-40B4-BE49-F238E27FC236}">
                <a16:creationId xmlns:a16="http://schemas.microsoft.com/office/drawing/2014/main" id="{5B69DCB9-4565-41B8-8E4E-B5DBF9AF0CB3}"/>
              </a:ext>
            </a:extLst>
          </p:cNvPr>
          <p:cNvGrpSpPr>
            <a:grpSpLocks/>
          </p:cNvGrpSpPr>
          <p:nvPr/>
        </p:nvGrpSpPr>
        <p:grpSpPr bwMode="gray">
          <a:xfrm>
            <a:off x="1162821" y="1387800"/>
            <a:ext cx="4185587" cy="5054400"/>
            <a:chOff x="3453658" y="3702732"/>
            <a:chExt cx="1240055" cy="2038995"/>
          </a:xfrm>
          <a:solidFill>
            <a:schemeClr val="bg1">
              <a:lumMod val="85000"/>
            </a:schemeClr>
          </a:solidFill>
        </p:grpSpPr>
        <p:sp>
          <p:nvSpPr>
            <p:cNvPr id="145" name="Venezuela">
              <a:extLst>
                <a:ext uri="{FF2B5EF4-FFF2-40B4-BE49-F238E27FC236}">
                  <a16:creationId xmlns:a16="http://schemas.microsoft.com/office/drawing/2014/main" id="{50AD032E-447D-4633-BE3F-3990420C17A5}"/>
                </a:ext>
              </a:extLst>
            </p:cNvPr>
            <p:cNvSpPr>
              <a:spLocks noEditPoints="1"/>
            </p:cNvSpPr>
            <p:nvPr/>
          </p:nvSpPr>
          <p:spPr bwMode="gray">
            <a:xfrm>
              <a:off x="3671181" y="3715427"/>
              <a:ext cx="358838" cy="349088"/>
            </a:xfrm>
            <a:custGeom>
              <a:avLst/>
              <a:gdLst>
                <a:gd name="T0" fmla="*/ 175 w 642"/>
                <a:gd name="T1" fmla="*/ 3 h 625"/>
                <a:gd name="T2" fmla="*/ 165 w 642"/>
                <a:gd name="T3" fmla="*/ 34 h 625"/>
                <a:gd name="T4" fmla="*/ 630 w 642"/>
                <a:gd name="T5" fmla="*/ 190 h 625"/>
                <a:gd name="T6" fmla="*/ 595 w 642"/>
                <a:gd name="T7" fmla="*/ 194 h 625"/>
                <a:gd name="T8" fmla="*/ 553 w 642"/>
                <a:gd name="T9" fmla="*/ 194 h 625"/>
                <a:gd name="T10" fmla="*/ 586 w 642"/>
                <a:gd name="T11" fmla="*/ 167 h 625"/>
                <a:gd name="T12" fmla="*/ 572 w 642"/>
                <a:gd name="T13" fmla="*/ 143 h 625"/>
                <a:gd name="T14" fmla="*/ 556 w 642"/>
                <a:gd name="T15" fmla="*/ 143 h 625"/>
                <a:gd name="T16" fmla="*/ 536 w 642"/>
                <a:gd name="T17" fmla="*/ 123 h 625"/>
                <a:gd name="T18" fmla="*/ 522 w 642"/>
                <a:gd name="T19" fmla="*/ 129 h 625"/>
                <a:gd name="T20" fmla="*/ 498 w 642"/>
                <a:gd name="T21" fmla="*/ 117 h 625"/>
                <a:gd name="T22" fmla="*/ 501 w 642"/>
                <a:gd name="T23" fmla="*/ 93 h 625"/>
                <a:gd name="T24" fmla="*/ 457 w 642"/>
                <a:gd name="T25" fmla="*/ 84 h 625"/>
                <a:gd name="T26" fmla="*/ 435 w 642"/>
                <a:gd name="T27" fmla="*/ 99 h 625"/>
                <a:gd name="T28" fmla="*/ 346 w 642"/>
                <a:gd name="T29" fmla="*/ 88 h 625"/>
                <a:gd name="T30" fmla="*/ 242 w 642"/>
                <a:gd name="T31" fmla="*/ 68 h 625"/>
                <a:gd name="T32" fmla="*/ 147 w 642"/>
                <a:gd name="T33" fmla="*/ 56 h 625"/>
                <a:gd name="T34" fmla="*/ 113 w 642"/>
                <a:gd name="T35" fmla="*/ 136 h 625"/>
                <a:gd name="T36" fmla="*/ 89 w 642"/>
                <a:gd name="T37" fmla="*/ 154 h 625"/>
                <a:gd name="T38" fmla="*/ 82 w 642"/>
                <a:gd name="T39" fmla="*/ 102 h 625"/>
                <a:gd name="T40" fmla="*/ 77 w 642"/>
                <a:gd name="T41" fmla="*/ 38 h 625"/>
                <a:gd name="T42" fmla="*/ 38 w 642"/>
                <a:gd name="T43" fmla="*/ 77 h 625"/>
                <a:gd name="T44" fmla="*/ 24 w 642"/>
                <a:gd name="T45" fmla="*/ 115 h 625"/>
                <a:gd name="T46" fmla="*/ 5 w 642"/>
                <a:gd name="T47" fmla="*/ 162 h 625"/>
                <a:gd name="T48" fmla="*/ 35 w 642"/>
                <a:gd name="T49" fmla="*/ 180 h 625"/>
                <a:gd name="T50" fmla="*/ 50 w 642"/>
                <a:gd name="T51" fmla="*/ 216 h 625"/>
                <a:gd name="T52" fmla="*/ 41 w 642"/>
                <a:gd name="T53" fmla="*/ 259 h 625"/>
                <a:gd name="T54" fmla="*/ 59 w 642"/>
                <a:gd name="T55" fmla="*/ 280 h 625"/>
                <a:gd name="T56" fmla="*/ 111 w 642"/>
                <a:gd name="T57" fmla="*/ 284 h 625"/>
                <a:gd name="T58" fmla="*/ 136 w 642"/>
                <a:gd name="T59" fmla="*/ 284 h 625"/>
                <a:gd name="T60" fmla="*/ 181 w 642"/>
                <a:gd name="T61" fmla="*/ 330 h 625"/>
                <a:gd name="T62" fmla="*/ 203 w 642"/>
                <a:gd name="T63" fmla="*/ 322 h 625"/>
                <a:gd name="T64" fmla="*/ 232 w 642"/>
                <a:gd name="T65" fmla="*/ 324 h 625"/>
                <a:gd name="T66" fmla="*/ 276 w 642"/>
                <a:gd name="T67" fmla="*/ 323 h 625"/>
                <a:gd name="T68" fmla="*/ 263 w 642"/>
                <a:gd name="T69" fmla="*/ 362 h 625"/>
                <a:gd name="T70" fmla="*/ 254 w 642"/>
                <a:gd name="T71" fmla="*/ 404 h 625"/>
                <a:gd name="T72" fmla="*/ 261 w 642"/>
                <a:gd name="T73" fmla="*/ 440 h 625"/>
                <a:gd name="T74" fmla="*/ 278 w 642"/>
                <a:gd name="T75" fmla="*/ 476 h 625"/>
                <a:gd name="T76" fmla="*/ 259 w 642"/>
                <a:gd name="T77" fmla="*/ 507 h 625"/>
                <a:gd name="T78" fmla="*/ 284 w 642"/>
                <a:gd name="T79" fmla="*/ 549 h 625"/>
                <a:gd name="T80" fmla="*/ 299 w 642"/>
                <a:gd name="T81" fmla="*/ 594 h 625"/>
                <a:gd name="T82" fmla="*/ 326 w 642"/>
                <a:gd name="T83" fmla="*/ 619 h 625"/>
                <a:gd name="T84" fmla="*/ 362 w 642"/>
                <a:gd name="T85" fmla="*/ 624 h 625"/>
                <a:gd name="T86" fmla="*/ 400 w 642"/>
                <a:gd name="T87" fmla="*/ 593 h 625"/>
                <a:gd name="T88" fmla="*/ 420 w 642"/>
                <a:gd name="T89" fmla="*/ 579 h 625"/>
                <a:gd name="T90" fmla="*/ 457 w 642"/>
                <a:gd name="T91" fmla="*/ 547 h 625"/>
                <a:gd name="T92" fmla="*/ 432 w 642"/>
                <a:gd name="T93" fmla="*/ 524 h 625"/>
                <a:gd name="T94" fmla="*/ 419 w 642"/>
                <a:gd name="T95" fmla="*/ 490 h 625"/>
                <a:gd name="T96" fmla="*/ 400 w 642"/>
                <a:gd name="T97" fmla="*/ 425 h 625"/>
                <a:gd name="T98" fmla="*/ 429 w 642"/>
                <a:gd name="T99" fmla="*/ 433 h 625"/>
                <a:gd name="T100" fmla="*/ 450 w 642"/>
                <a:gd name="T101" fmla="*/ 444 h 625"/>
                <a:gd name="T102" fmla="*/ 469 w 642"/>
                <a:gd name="T103" fmla="*/ 446 h 625"/>
                <a:gd name="T104" fmla="*/ 507 w 642"/>
                <a:gd name="T105" fmla="*/ 432 h 625"/>
                <a:gd name="T106" fmla="*/ 551 w 642"/>
                <a:gd name="T107" fmla="*/ 424 h 625"/>
                <a:gd name="T108" fmla="*/ 583 w 642"/>
                <a:gd name="T109" fmla="*/ 414 h 625"/>
                <a:gd name="T110" fmla="*/ 596 w 642"/>
                <a:gd name="T111" fmla="*/ 399 h 625"/>
                <a:gd name="T112" fmla="*/ 563 w 642"/>
                <a:gd name="T113" fmla="*/ 340 h 625"/>
                <a:gd name="T114" fmla="*/ 570 w 642"/>
                <a:gd name="T115" fmla="*/ 299 h 625"/>
                <a:gd name="T116" fmla="*/ 616 w 642"/>
                <a:gd name="T117" fmla="*/ 273 h 625"/>
                <a:gd name="T118" fmla="*/ 601 w 642"/>
                <a:gd name="T119" fmla="*/ 250 h 625"/>
                <a:gd name="T120" fmla="*/ 635 w 642"/>
                <a:gd name="T121" fmla="*/ 218 h 625"/>
                <a:gd name="T122" fmla="*/ 630 w 642"/>
                <a:gd name="T123" fmla="*/ 19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2" h="625">
                  <a:moveTo>
                    <a:pt x="182" y="33"/>
                  </a:moveTo>
                  <a:cubicBezTo>
                    <a:pt x="182" y="33"/>
                    <a:pt x="187" y="6"/>
                    <a:pt x="175" y="3"/>
                  </a:cubicBezTo>
                  <a:cubicBezTo>
                    <a:pt x="164" y="0"/>
                    <a:pt x="158" y="7"/>
                    <a:pt x="158" y="13"/>
                  </a:cubicBezTo>
                  <a:cubicBezTo>
                    <a:pt x="158" y="18"/>
                    <a:pt x="165" y="34"/>
                    <a:pt x="165" y="34"/>
                  </a:cubicBezTo>
                  <a:lnTo>
                    <a:pt x="182" y="33"/>
                  </a:lnTo>
                  <a:close/>
                  <a:moveTo>
                    <a:pt x="630" y="190"/>
                  </a:moveTo>
                  <a:cubicBezTo>
                    <a:pt x="626" y="184"/>
                    <a:pt x="611" y="201"/>
                    <a:pt x="611" y="201"/>
                  </a:cubicBezTo>
                  <a:cubicBezTo>
                    <a:pt x="611" y="201"/>
                    <a:pt x="601" y="197"/>
                    <a:pt x="595" y="194"/>
                  </a:cubicBezTo>
                  <a:cubicBezTo>
                    <a:pt x="589" y="191"/>
                    <a:pt x="575" y="208"/>
                    <a:pt x="575" y="208"/>
                  </a:cubicBezTo>
                  <a:cubicBezTo>
                    <a:pt x="553" y="194"/>
                    <a:pt x="553" y="194"/>
                    <a:pt x="553" y="194"/>
                  </a:cubicBezTo>
                  <a:cubicBezTo>
                    <a:pt x="553" y="194"/>
                    <a:pt x="579" y="194"/>
                    <a:pt x="583" y="187"/>
                  </a:cubicBezTo>
                  <a:cubicBezTo>
                    <a:pt x="587" y="180"/>
                    <a:pt x="586" y="167"/>
                    <a:pt x="586" y="167"/>
                  </a:cubicBezTo>
                  <a:cubicBezTo>
                    <a:pt x="586" y="167"/>
                    <a:pt x="596" y="166"/>
                    <a:pt x="598" y="153"/>
                  </a:cubicBezTo>
                  <a:cubicBezTo>
                    <a:pt x="600" y="140"/>
                    <a:pt x="572" y="143"/>
                    <a:pt x="572" y="143"/>
                  </a:cubicBezTo>
                  <a:cubicBezTo>
                    <a:pt x="572" y="143"/>
                    <a:pt x="568" y="129"/>
                    <a:pt x="561" y="128"/>
                  </a:cubicBezTo>
                  <a:cubicBezTo>
                    <a:pt x="554" y="127"/>
                    <a:pt x="556" y="143"/>
                    <a:pt x="556" y="143"/>
                  </a:cubicBezTo>
                  <a:cubicBezTo>
                    <a:pt x="556" y="143"/>
                    <a:pt x="550" y="134"/>
                    <a:pt x="550" y="128"/>
                  </a:cubicBezTo>
                  <a:cubicBezTo>
                    <a:pt x="550" y="122"/>
                    <a:pt x="536" y="123"/>
                    <a:pt x="536" y="123"/>
                  </a:cubicBezTo>
                  <a:cubicBezTo>
                    <a:pt x="532" y="143"/>
                    <a:pt x="532" y="143"/>
                    <a:pt x="532" y="143"/>
                  </a:cubicBezTo>
                  <a:cubicBezTo>
                    <a:pt x="532" y="143"/>
                    <a:pt x="524" y="135"/>
                    <a:pt x="522" y="129"/>
                  </a:cubicBezTo>
                  <a:cubicBezTo>
                    <a:pt x="520" y="123"/>
                    <a:pt x="519" y="109"/>
                    <a:pt x="519" y="109"/>
                  </a:cubicBezTo>
                  <a:cubicBezTo>
                    <a:pt x="498" y="117"/>
                    <a:pt x="498" y="117"/>
                    <a:pt x="498" y="117"/>
                  </a:cubicBezTo>
                  <a:cubicBezTo>
                    <a:pt x="498" y="117"/>
                    <a:pt x="514" y="108"/>
                    <a:pt x="514" y="103"/>
                  </a:cubicBezTo>
                  <a:cubicBezTo>
                    <a:pt x="514" y="98"/>
                    <a:pt x="501" y="98"/>
                    <a:pt x="501" y="93"/>
                  </a:cubicBezTo>
                  <a:cubicBezTo>
                    <a:pt x="501" y="88"/>
                    <a:pt x="543" y="88"/>
                    <a:pt x="547" y="82"/>
                  </a:cubicBezTo>
                  <a:cubicBezTo>
                    <a:pt x="551" y="76"/>
                    <a:pt x="457" y="84"/>
                    <a:pt x="457" y="84"/>
                  </a:cubicBezTo>
                  <a:cubicBezTo>
                    <a:pt x="466" y="94"/>
                    <a:pt x="466" y="94"/>
                    <a:pt x="466" y="94"/>
                  </a:cubicBezTo>
                  <a:cubicBezTo>
                    <a:pt x="466" y="94"/>
                    <a:pt x="444" y="96"/>
                    <a:pt x="435" y="99"/>
                  </a:cubicBezTo>
                  <a:cubicBezTo>
                    <a:pt x="426" y="102"/>
                    <a:pt x="402" y="119"/>
                    <a:pt x="402" y="119"/>
                  </a:cubicBezTo>
                  <a:cubicBezTo>
                    <a:pt x="378" y="120"/>
                    <a:pt x="346" y="88"/>
                    <a:pt x="346" y="88"/>
                  </a:cubicBezTo>
                  <a:cubicBezTo>
                    <a:pt x="346" y="88"/>
                    <a:pt x="265" y="93"/>
                    <a:pt x="255" y="92"/>
                  </a:cubicBezTo>
                  <a:cubicBezTo>
                    <a:pt x="245" y="91"/>
                    <a:pt x="242" y="82"/>
                    <a:pt x="242" y="68"/>
                  </a:cubicBezTo>
                  <a:cubicBezTo>
                    <a:pt x="242" y="54"/>
                    <a:pt x="236" y="44"/>
                    <a:pt x="210" y="39"/>
                  </a:cubicBezTo>
                  <a:cubicBezTo>
                    <a:pt x="184" y="34"/>
                    <a:pt x="147" y="56"/>
                    <a:pt x="147" y="56"/>
                  </a:cubicBezTo>
                  <a:cubicBezTo>
                    <a:pt x="147" y="56"/>
                    <a:pt x="120" y="62"/>
                    <a:pt x="104" y="76"/>
                  </a:cubicBezTo>
                  <a:cubicBezTo>
                    <a:pt x="88" y="90"/>
                    <a:pt x="111" y="116"/>
                    <a:pt x="113" y="136"/>
                  </a:cubicBezTo>
                  <a:cubicBezTo>
                    <a:pt x="115" y="156"/>
                    <a:pt x="88" y="172"/>
                    <a:pt x="88" y="172"/>
                  </a:cubicBezTo>
                  <a:cubicBezTo>
                    <a:pt x="89" y="154"/>
                    <a:pt x="89" y="154"/>
                    <a:pt x="89" y="154"/>
                  </a:cubicBezTo>
                  <a:cubicBezTo>
                    <a:pt x="89" y="154"/>
                    <a:pt x="71" y="149"/>
                    <a:pt x="65" y="139"/>
                  </a:cubicBezTo>
                  <a:cubicBezTo>
                    <a:pt x="59" y="129"/>
                    <a:pt x="75" y="111"/>
                    <a:pt x="82" y="102"/>
                  </a:cubicBezTo>
                  <a:cubicBezTo>
                    <a:pt x="89" y="93"/>
                    <a:pt x="88" y="77"/>
                    <a:pt x="88" y="65"/>
                  </a:cubicBezTo>
                  <a:cubicBezTo>
                    <a:pt x="88" y="53"/>
                    <a:pt x="77" y="38"/>
                    <a:pt x="77" y="38"/>
                  </a:cubicBezTo>
                  <a:cubicBezTo>
                    <a:pt x="77" y="38"/>
                    <a:pt x="76" y="53"/>
                    <a:pt x="65" y="56"/>
                  </a:cubicBezTo>
                  <a:cubicBezTo>
                    <a:pt x="54" y="60"/>
                    <a:pt x="45" y="64"/>
                    <a:pt x="38" y="77"/>
                  </a:cubicBezTo>
                  <a:cubicBezTo>
                    <a:pt x="30" y="90"/>
                    <a:pt x="30" y="110"/>
                    <a:pt x="30" y="110"/>
                  </a:cubicBezTo>
                  <a:cubicBezTo>
                    <a:pt x="24" y="115"/>
                    <a:pt x="24" y="115"/>
                    <a:pt x="24" y="115"/>
                  </a:cubicBezTo>
                  <a:cubicBezTo>
                    <a:pt x="24" y="133"/>
                    <a:pt x="24" y="133"/>
                    <a:pt x="24" y="133"/>
                  </a:cubicBezTo>
                  <a:cubicBezTo>
                    <a:pt x="24" y="133"/>
                    <a:pt x="0" y="154"/>
                    <a:pt x="5" y="162"/>
                  </a:cubicBezTo>
                  <a:cubicBezTo>
                    <a:pt x="10" y="171"/>
                    <a:pt x="14" y="157"/>
                    <a:pt x="21" y="157"/>
                  </a:cubicBezTo>
                  <a:cubicBezTo>
                    <a:pt x="28" y="157"/>
                    <a:pt x="35" y="171"/>
                    <a:pt x="35" y="180"/>
                  </a:cubicBezTo>
                  <a:cubicBezTo>
                    <a:pt x="35" y="189"/>
                    <a:pt x="36" y="195"/>
                    <a:pt x="36" y="195"/>
                  </a:cubicBezTo>
                  <a:cubicBezTo>
                    <a:pt x="36" y="195"/>
                    <a:pt x="52" y="204"/>
                    <a:pt x="50" y="216"/>
                  </a:cubicBezTo>
                  <a:cubicBezTo>
                    <a:pt x="48" y="229"/>
                    <a:pt x="42" y="232"/>
                    <a:pt x="42" y="232"/>
                  </a:cubicBezTo>
                  <a:cubicBezTo>
                    <a:pt x="41" y="259"/>
                    <a:pt x="41" y="259"/>
                    <a:pt x="41" y="259"/>
                  </a:cubicBezTo>
                  <a:cubicBezTo>
                    <a:pt x="51" y="259"/>
                    <a:pt x="51" y="259"/>
                    <a:pt x="51" y="259"/>
                  </a:cubicBezTo>
                  <a:cubicBezTo>
                    <a:pt x="51" y="259"/>
                    <a:pt x="50" y="277"/>
                    <a:pt x="59" y="280"/>
                  </a:cubicBezTo>
                  <a:cubicBezTo>
                    <a:pt x="68" y="283"/>
                    <a:pt x="79" y="278"/>
                    <a:pt x="83" y="278"/>
                  </a:cubicBezTo>
                  <a:cubicBezTo>
                    <a:pt x="88" y="278"/>
                    <a:pt x="106" y="285"/>
                    <a:pt x="111" y="284"/>
                  </a:cubicBezTo>
                  <a:cubicBezTo>
                    <a:pt x="116" y="283"/>
                    <a:pt x="117" y="277"/>
                    <a:pt x="122" y="277"/>
                  </a:cubicBezTo>
                  <a:cubicBezTo>
                    <a:pt x="127" y="277"/>
                    <a:pt x="136" y="284"/>
                    <a:pt x="136" y="284"/>
                  </a:cubicBezTo>
                  <a:cubicBezTo>
                    <a:pt x="154" y="285"/>
                    <a:pt x="154" y="285"/>
                    <a:pt x="154" y="285"/>
                  </a:cubicBezTo>
                  <a:cubicBezTo>
                    <a:pt x="154" y="285"/>
                    <a:pt x="173" y="327"/>
                    <a:pt x="181" y="330"/>
                  </a:cubicBezTo>
                  <a:cubicBezTo>
                    <a:pt x="189" y="332"/>
                    <a:pt x="197" y="329"/>
                    <a:pt x="197" y="329"/>
                  </a:cubicBezTo>
                  <a:cubicBezTo>
                    <a:pt x="197" y="329"/>
                    <a:pt x="195" y="322"/>
                    <a:pt x="203" y="322"/>
                  </a:cubicBezTo>
                  <a:cubicBezTo>
                    <a:pt x="211" y="322"/>
                    <a:pt x="213" y="329"/>
                    <a:pt x="221" y="330"/>
                  </a:cubicBezTo>
                  <a:cubicBezTo>
                    <a:pt x="229" y="331"/>
                    <a:pt x="232" y="324"/>
                    <a:pt x="232" y="324"/>
                  </a:cubicBezTo>
                  <a:cubicBezTo>
                    <a:pt x="251" y="326"/>
                    <a:pt x="251" y="326"/>
                    <a:pt x="251" y="326"/>
                  </a:cubicBezTo>
                  <a:cubicBezTo>
                    <a:pt x="251" y="326"/>
                    <a:pt x="270" y="311"/>
                    <a:pt x="276" y="323"/>
                  </a:cubicBezTo>
                  <a:cubicBezTo>
                    <a:pt x="282" y="336"/>
                    <a:pt x="265" y="344"/>
                    <a:pt x="265" y="344"/>
                  </a:cubicBezTo>
                  <a:cubicBezTo>
                    <a:pt x="265" y="344"/>
                    <a:pt x="266" y="359"/>
                    <a:pt x="263" y="362"/>
                  </a:cubicBezTo>
                  <a:cubicBezTo>
                    <a:pt x="260" y="365"/>
                    <a:pt x="250" y="370"/>
                    <a:pt x="251" y="375"/>
                  </a:cubicBezTo>
                  <a:cubicBezTo>
                    <a:pt x="252" y="380"/>
                    <a:pt x="254" y="398"/>
                    <a:pt x="254" y="404"/>
                  </a:cubicBezTo>
                  <a:cubicBezTo>
                    <a:pt x="254" y="410"/>
                    <a:pt x="252" y="433"/>
                    <a:pt x="252" y="433"/>
                  </a:cubicBezTo>
                  <a:cubicBezTo>
                    <a:pt x="252" y="433"/>
                    <a:pt x="261" y="437"/>
                    <a:pt x="261" y="440"/>
                  </a:cubicBezTo>
                  <a:cubicBezTo>
                    <a:pt x="261" y="443"/>
                    <a:pt x="262" y="452"/>
                    <a:pt x="262" y="452"/>
                  </a:cubicBezTo>
                  <a:cubicBezTo>
                    <a:pt x="262" y="452"/>
                    <a:pt x="278" y="466"/>
                    <a:pt x="278" y="476"/>
                  </a:cubicBezTo>
                  <a:cubicBezTo>
                    <a:pt x="278" y="486"/>
                    <a:pt x="249" y="504"/>
                    <a:pt x="249" y="504"/>
                  </a:cubicBezTo>
                  <a:cubicBezTo>
                    <a:pt x="259" y="507"/>
                    <a:pt x="259" y="507"/>
                    <a:pt x="259" y="507"/>
                  </a:cubicBezTo>
                  <a:cubicBezTo>
                    <a:pt x="259" y="507"/>
                    <a:pt x="281" y="521"/>
                    <a:pt x="281" y="525"/>
                  </a:cubicBezTo>
                  <a:cubicBezTo>
                    <a:pt x="281" y="529"/>
                    <a:pt x="284" y="549"/>
                    <a:pt x="284" y="549"/>
                  </a:cubicBezTo>
                  <a:cubicBezTo>
                    <a:pt x="284" y="549"/>
                    <a:pt x="295" y="575"/>
                    <a:pt x="294" y="580"/>
                  </a:cubicBezTo>
                  <a:cubicBezTo>
                    <a:pt x="293" y="585"/>
                    <a:pt x="299" y="594"/>
                    <a:pt x="299" y="594"/>
                  </a:cubicBezTo>
                  <a:cubicBezTo>
                    <a:pt x="299" y="594"/>
                    <a:pt x="306" y="607"/>
                    <a:pt x="310" y="612"/>
                  </a:cubicBezTo>
                  <a:cubicBezTo>
                    <a:pt x="314" y="617"/>
                    <a:pt x="326" y="619"/>
                    <a:pt x="326" y="619"/>
                  </a:cubicBezTo>
                  <a:cubicBezTo>
                    <a:pt x="336" y="625"/>
                    <a:pt x="347" y="603"/>
                    <a:pt x="356" y="605"/>
                  </a:cubicBezTo>
                  <a:cubicBezTo>
                    <a:pt x="365" y="607"/>
                    <a:pt x="354" y="624"/>
                    <a:pt x="362" y="624"/>
                  </a:cubicBezTo>
                  <a:cubicBezTo>
                    <a:pt x="370" y="624"/>
                    <a:pt x="376" y="599"/>
                    <a:pt x="382" y="595"/>
                  </a:cubicBezTo>
                  <a:cubicBezTo>
                    <a:pt x="388" y="591"/>
                    <a:pt x="400" y="593"/>
                    <a:pt x="400" y="593"/>
                  </a:cubicBezTo>
                  <a:cubicBezTo>
                    <a:pt x="402" y="587"/>
                    <a:pt x="402" y="587"/>
                    <a:pt x="402" y="587"/>
                  </a:cubicBezTo>
                  <a:cubicBezTo>
                    <a:pt x="402" y="587"/>
                    <a:pt x="407" y="583"/>
                    <a:pt x="420" y="579"/>
                  </a:cubicBezTo>
                  <a:cubicBezTo>
                    <a:pt x="433" y="575"/>
                    <a:pt x="432" y="550"/>
                    <a:pt x="432" y="550"/>
                  </a:cubicBezTo>
                  <a:cubicBezTo>
                    <a:pt x="432" y="550"/>
                    <a:pt x="445" y="553"/>
                    <a:pt x="457" y="547"/>
                  </a:cubicBezTo>
                  <a:cubicBezTo>
                    <a:pt x="469" y="541"/>
                    <a:pt x="462" y="527"/>
                    <a:pt x="462" y="527"/>
                  </a:cubicBezTo>
                  <a:cubicBezTo>
                    <a:pt x="432" y="524"/>
                    <a:pt x="432" y="524"/>
                    <a:pt x="432" y="524"/>
                  </a:cubicBezTo>
                  <a:cubicBezTo>
                    <a:pt x="432" y="524"/>
                    <a:pt x="432" y="515"/>
                    <a:pt x="432" y="508"/>
                  </a:cubicBezTo>
                  <a:cubicBezTo>
                    <a:pt x="432" y="501"/>
                    <a:pt x="419" y="490"/>
                    <a:pt x="419" y="490"/>
                  </a:cubicBezTo>
                  <a:cubicBezTo>
                    <a:pt x="419" y="490"/>
                    <a:pt x="434" y="466"/>
                    <a:pt x="412" y="455"/>
                  </a:cubicBezTo>
                  <a:cubicBezTo>
                    <a:pt x="390" y="444"/>
                    <a:pt x="400" y="425"/>
                    <a:pt x="400" y="425"/>
                  </a:cubicBezTo>
                  <a:cubicBezTo>
                    <a:pt x="400" y="425"/>
                    <a:pt x="403" y="431"/>
                    <a:pt x="406" y="434"/>
                  </a:cubicBezTo>
                  <a:cubicBezTo>
                    <a:pt x="409" y="437"/>
                    <a:pt x="418" y="429"/>
                    <a:pt x="429" y="433"/>
                  </a:cubicBezTo>
                  <a:cubicBezTo>
                    <a:pt x="440" y="437"/>
                    <a:pt x="434" y="446"/>
                    <a:pt x="436" y="449"/>
                  </a:cubicBezTo>
                  <a:cubicBezTo>
                    <a:pt x="438" y="452"/>
                    <a:pt x="450" y="444"/>
                    <a:pt x="450" y="444"/>
                  </a:cubicBezTo>
                  <a:cubicBezTo>
                    <a:pt x="460" y="450"/>
                    <a:pt x="460" y="450"/>
                    <a:pt x="460" y="450"/>
                  </a:cubicBezTo>
                  <a:cubicBezTo>
                    <a:pt x="460" y="450"/>
                    <a:pt x="465" y="442"/>
                    <a:pt x="469" y="446"/>
                  </a:cubicBezTo>
                  <a:cubicBezTo>
                    <a:pt x="473" y="450"/>
                    <a:pt x="484" y="469"/>
                    <a:pt x="493" y="469"/>
                  </a:cubicBezTo>
                  <a:cubicBezTo>
                    <a:pt x="502" y="469"/>
                    <a:pt x="499" y="435"/>
                    <a:pt x="507" y="432"/>
                  </a:cubicBezTo>
                  <a:cubicBezTo>
                    <a:pt x="515" y="429"/>
                    <a:pt x="521" y="437"/>
                    <a:pt x="528" y="437"/>
                  </a:cubicBezTo>
                  <a:cubicBezTo>
                    <a:pt x="535" y="437"/>
                    <a:pt x="549" y="430"/>
                    <a:pt x="551" y="424"/>
                  </a:cubicBezTo>
                  <a:cubicBezTo>
                    <a:pt x="553" y="418"/>
                    <a:pt x="565" y="413"/>
                    <a:pt x="565" y="413"/>
                  </a:cubicBezTo>
                  <a:cubicBezTo>
                    <a:pt x="583" y="414"/>
                    <a:pt x="583" y="414"/>
                    <a:pt x="583" y="414"/>
                  </a:cubicBezTo>
                  <a:cubicBezTo>
                    <a:pt x="581" y="404"/>
                    <a:pt x="581" y="404"/>
                    <a:pt x="581" y="404"/>
                  </a:cubicBezTo>
                  <a:cubicBezTo>
                    <a:pt x="581" y="404"/>
                    <a:pt x="592" y="406"/>
                    <a:pt x="596" y="399"/>
                  </a:cubicBezTo>
                  <a:cubicBezTo>
                    <a:pt x="600" y="392"/>
                    <a:pt x="594" y="378"/>
                    <a:pt x="594" y="378"/>
                  </a:cubicBezTo>
                  <a:cubicBezTo>
                    <a:pt x="594" y="378"/>
                    <a:pt x="567" y="351"/>
                    <a:pt x="563" y="340"/>
                  </a:cubicBezTo>
                  <a:cubicBezTo>
                    <a:pt x="559" y="329"/>
                    <a:pt x="572" y="330"/>
                    <a:pt x="581" y="322"/>
                  </a:cubicBezTo>
                  <a:cubicBezTo>
                    <a:pt x="590" y="315"/>
                    <a:pt x="570" y="304"/>
                    <a:pt x="570" y="299"/>
                  </a:cubicBezTo>
                  <a:cubicBezTo>
                    <a:pt x="570" y="294"/>
                    <a:pt x="595" y="295"/>
                    <a:pt x="606" y="291"/>
                  </a:cubicBezTo>
                  <a:cubicBezTo>
                    <a:pt x="617" y="287"/>
                    <a:pt x="616" y="277"/>
                    <a:pt x="616" y="273"/>
                  </a:cubicBezTo>
                  <a:cubicBezTo>
                    <a:pt x="616" y="270"/>
                    <a:pt x="609" y="270"/>
                    <a:pt x="605" y="270"/>
                  </a:cubicBezTo>
                  <a:cubicBezTo>
                    <a:pt x="601" y="270"/>
                    <a:pt x="603" y="259"/>
                    <a:pt x="601" y="250"/>
                  </a:cubicBezTo>
                  <a:cubicBezTo>
                    <a:pt x="599" y="241"/>
                    <a:pt x="615" y="236"/>
                    <a:pt x="621" y="234"/>
                  </a:cubicBezTo>
                  <a:cubicBezTo>
                    <a:pt x="628" y="232"/>
                    <a:pt x="635" y="218"/>
                    <a:pt x="635" y="218"/>
                  </a:cubicBezTo>
                  <a:cubicBezTo>
                    <a:pt x="642" y="206"/>
                    <a:pt x="642" y="206"/>
                    <a:pt x="642" y="206"/>
                  </a:cubicBezTo>
                  <a:cubicBezTo>
                    <a:pt x="642" y="206"/>
                    <a:pt x="634" y="196"/>
                    <a:pt x="630" y="190"/>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47" name="Uruguay">
              <a:extLst>
                <a:ext uri="{FF2B5EF4-FFF2-40B4-BE49-F238E27FC236}">
                  <a16:creationId xmlns:a16="http://schemas.microsoft.com/office/drawing/2014/main" id="{F7E526FD-055F-4FCC-AED8-E2EDCD215357}"/>
                </a:ext>
              </a:extLst>
            </p:cNvPr>
            <p:cNvSpPr>
              <a:spLocks/>
            </p:cNvSpPr>
            <p:nvPr/>
          </p:nvSpPr>
          <p:spPr bwMode="gray">
            <a:xfrm>
              <a:off x="4149103" y="4988014"/>
              <a:ext cx="136549" cy="144396"/>
            </a:xfrm>
            <a:custGeom>
              <a:avLst/>
              <a:gdLst>
                <a:gd name="T0" fmla="*/ 92 w 246"/>
                <a:gd name="T1" fmla="*/ 249 h 258"/>
                <a:gd name="T2" fmla="*/ 152 w 246"/>
                <a:gd name="T3" fmla="*/ 253 h 258"/>
                <a:gd name="T4" fmla="*/ 220 w 246"/>
                <a:gd name="T5" fmla="*/ 244 h 258"/>
                <a:gd name="T6" fmla="*/ 243 w 246"/>
                <a:gd name="T7" fmla="*/ 196 h 258"/>
                <a:gd name="T8" fmla="*/ 233 w 246"/>
                <a:gd name="T9" fmla="*/ 197 h 258"/>
                <a:gd name="T10" fmla="*/ 234 w 246"/>
                <a:gd name="T11" fmla="*/ 176 h 258"/>
                <a:gd name="T12" fmla="*/ 227 w 246"/>
                <a:gd name="T13" fmla="*/ 169 h 258"/>
                <a:gd name="T14" fmla="*/ 241 w 246"/>
                <a:gd name="T15" fmla="*/ 140 h 258"/>
                <a:gd name="T16" fmla="*/ 219 w 246"/>
                <a:gd name="T17" fmla="*/ 127 h 258"/>
                <a:gd name="T18" fmla="*/ 201 w 246"/>
                <a:gd name="T19" fmla="*/ 98 h 258"/>
                <a:gd name="T20" fmla="*/ 182 w 246"/>
                <a:gd name="T21" fmla="*/ 95 h 258"/>
                <a:gd name="T22" fmla="*/ 164 w 246"/>
                <a:gd name="T23" fmla="*/ 76 h 258"/>
                <a:gd name="T24" fmla="*/ 152 w 246"/>
                <a:gd name="T25" fmla="*/ 67 h 258"/>
                <a:gd name="T26" fmla="*/ 140 w 246"/>
                <a:gd name="T27" fmla="*/ 65 h 258"/>
                <a:gd name="T28" fmla="*/ 116 w 246"/>
                <a:gd name="T29" fmla="*/ 43 h 258"/>
                <a:gd name="T30" fmla="*/ 101 w 246"/>
                <a:gd name="T31" fmla="*/ 54 h 258"/>
                <a:gd name="T32" fmla="*/ 85 w 246"/>
                <a:gd name="T33" fmla="*/ 31 h 258"/>
                <a:gd name="T34" fmla="*/ 48 w 246"/>
                <a:gd name="T35" fmla="*/ 2 h 258"/>
                <a:gd name="T36" fmla="*/ 30 w 246"/>
                <a:gd name="T37" fmla="*/ 10 h 258"/>
                <a:gd name="T38" fmla="*/ 14 w 246"/>
                <a:gd name="T39" fmla="*/ 9 h 258"/>
                <a:gd name="T40" fmla="*/ 0 w 246"/>
                <a:gd name="T41" fmla="*/ 24 h 258"/>
                <a:gd name="T42" fmla="*/ 21 w 246"/>
                <a:gd name="T43" fmla="*/ 41 h 258"/>
                <a:gd name="T44" fmla="*/ 3 w 246"/>
                <a:gd name="T45" fmla="*/ 48 h 258"/>
                <a:gd name="T46" fmla="*/ 3 w 246"/>
                <a:gd name="T47" fmla="*/ 75 h 258"/>
                <a:gd name="T48" fmla="*/ 20 w 246"/>
                <a:gd name="T49" fmla="*/ 85 h 258"/>
                <a:gd name="T50" fmla="*/ 2 w 246"/>
                <a:gd name="T51" fmla="*/ 93 h 258"/>
                <a:gd name="T52" fmla="*/ 16 w 246"/>
                <a:gd name="T53" fmla="*/ 114 h 258"/>
                <a:gd name="T54" fmla="*/ 9 w 246"/>
                <a:gd name="T55" fmla="*/ 124 h 258"/>
                <a:gd name="T56" fmla="*/ 28 w 246"/>
                <a:gd name="T57" fmla="*/ 152 h 258"/>
                <a:gd name="T58" fmla="*/ 4 w 246"/>
                <a:gd name="T59" fmla="*/ 158 h 258"/>
                <a:gd name="T60" fmla="*/ 4 w 246"/>
                <a:gd name="T61" fmla="*/ 190 h 258"/>
                <a:gd name="T62" fmla="*/ 24 w 246"/>
                <a:gd name="T63" fmla="*/ 215 h 258"/>
                <a:gd name="T64" fmla="*/ 51 w 246"/>
                <a:gd name="T65" fmla="*/ 234 h 258"/>
                <a:gd name="T66" fmla="*/ 58 w 246"/>
                <a:gd name="T67" fmla="*/ 238 h 258"/>
                <a:gd name="T68" fmla="*/ 85 w 246"/>
                <a:gd name="T69" fmla="*/ 238 h 258"/>
                <a:gd name="T70" fmla="*/ 92 w 246"/>
                <a:gd name="T71" fmla="*/ 24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6" h="258">
                  <a:moveTo>
                    <a:pt x="92" y="249"/>
                  </a:moveTo>
                  <a:cubicBezTo>
                    <a:pt x="92" y="249"/>
                    <a:pt x="119" y="248"/>
                    <a:pt x="152" y="253"/>
                  </a:cubicBezTo>
                  <a:cubicBezTo>
                    <a:pt x="185" y="258"/>
                    <a:pt x="204" y="257"/>
                    <a:pt x="220" y="244"/>
                  </a:cubicBezTo>
                  <a:cubicBezTo>
                    <a:pt x="234" y="233"/>
                    <a:pt x="241" y="203"/>
                    <a:pt x="243" y="196"/>
                  </a:cubicBezTo>
                  <a:cubicBezTo>
                    <a:pt x="233" y="197"/>
                    <a:pt x="233" y="197"/>
                    <a:pt x="233" y="197"/>
                  </a:cubicBezTo>
                  <a:cubicBezTo>
                    <a:pt x="234" y="176"/>
                    <a:pt x="234" y="176"/>
                    <a:pt x="234" y="176"/>
                  </a:cubicBezTo>
                  <a:cubicBezTo>
                    <a:pt x="234" y="176"/>
                    <a:pt x="228" y="176"/>
                    <a:pt x="227" y="169"/>
                  </a:cubicBezTo>
                  <a:cubicBezTo>
                    <a:pt x="226" y="162"/>
                    <a:pt x="236" y="149"/>
                    <a:pt x="241" y="140"/>
                  </a:cubicBezTo>
                  <a:cubicBezTo>
                    <a:pt x="246" y="131"/>
                    <a:pt x="227" y="132"/>
                    <a:pt x="219" y="127"/>
                  </a:cubicBezTo>
                  <a:cubicBezTo>
                    <a:pt x="211" y="122"/>
                    <a:pt x="201" y="98"/>
                    <a:pt x="201" y="98"/>
                  </a:cubicBezTo>
                  <a:cubicBezTo>
                    <a:pt x="201" y="98"/>
                    <a:pt x="194" y="99"/>
                    <a:pt x="182" y="95"/>
                  </a:cubicBezTo>
                  <a:cubicBezTo>
                    <a:pt x="170" y="91"/>
                    <a:pt x="168" y="78"/>
                    <a:pt x="164" y="76"/>
                  </a:cubicBezTo>
                  <a:cubicBezTo>
                    <a:pt x="160" y="74"/>
                    <a:pt x="152" y="67"/>
                    <a:pt x="152" y="67"/>
                  </a:cubicBezTo>
                  <a:cubicBezTo>
                    <a:pt x="152" y="67"/>
                    <a:pt x="145" y="68"/>
                    <a:pt x="140" y="65"/>
                  </a:cubicBezTo>
                  <a:cubicBezTo>
                    <a:pt x="135" y="62"/>
                    <a:pt x="126" y="46"/>
                    <a:pt x="116" y="43"/>
                  </a:cubicBezTo>
                  <a:cubicBezTo>
                    <a:pt x="106" y="40"/>
                    <a:pt x="107" y="54"/>
                    <a:pt x="101" y="54"/>
                  </a:cubicBezTo>
                  <a:cubicBezTo>
                    <a:pt x="95" y="54"/>
                    <a:pt x="85" y="31"/>
                    <a:pt x="85" y="31"/>
                  </a:cubicBezTo>
                  <a:cubicBezTo>
                    <a:pt x="85" y="31"/>
                    <a:pt x="60" y="4"/>
                    <a:pt x="48" y="2"/>
                  </a:cubicBezTo>
                  <a:cubicBezTo>
                    <a:pt x="36" y="0"/>
                    <a:pt x="30" y="10"/>
                    <a:pt x="30" y="10"/>
                  </a:cubicBezTo>
                  <a:cubicBezTo>
                    <a:pt x="14" y="9"/>
                    <a:pt x="14" y="9"/>
                    <a:pt x="14" y="9"/>
                  </a:cubicBezTo>
                  <a:cubicBezTo>
                    <a:pt x="14" y="9"/>
                    <a:pt x="0" y="20"/>
                    <a:pt x="0" y="24"/>
                  </a:cubicBezTo>
                  <a:cubicBezTo>
                    <a:pt x="0" y="28"/>
                    <a:pt x="21" y="41"/>
                    <a:pt x="21" y="41"/>
                  </a:cubicBezTo>
                  <a:cubicBezTo>
                    <a:pt x="3" y="48"/>
                    <a:pt x="3" y="48"/>
                    <a:pt x="3" y="48"/>
                  </a:cubicBezTo>
                  <a:cubicBezTo>
                    <a:pt x="3" y="75"/>
                    <a:pt x="3" y="75"/>
                    <a:pt x="3" y="75"/>
                  </a:cubicBezTo>
                  <a:cubicBezTo>
                    <a:pt x="20" y="85"/>
                    <a:pt x="20" y="85"/>
                    <a:pt x="20" y="85"/>
                  </a:cubicBezTo>
                  <a:cubicBezTo>
                    <a:pt x="20" y="85"/>
                    <a:pt x="1" y="84"/>
                    <a:pt x="2" y="93"/>
                  </a:cubicBezTo>
                  <a:cubicBezTo>
                    <a:pt x="3" y="102"/>
                    <a:pt x="16" y="114"/>
                    <a:pt x="16" y="114"/>
                  </a:cubicBezTo>
                  <a:cubicBezTo>
                    <a:pt x="9" y="124"/>
                    <a:pt x="9" y="124"/>
                    <a:pt x="9" y="124"/>
                  </a:cubicBezTo>
                  <a:cubicBezTo>
                    <a:pt x="9" y="124"/>
                    <a:pt x="29" y="147"/>
                    <a:pt x="28" y="152"/>
                  </a:cubicBezTo>
                  <a:cubicBezTo>
                    <a:pt x="27" y="157"/>
                    <a:pt x="4" y="158"/>
                    <a:pt x="4" y="158"/>
                  </a:cubicBezTo>
                  <a:cubicBezTo>
                    <a:pt x="4" y="190"/>
                    <a:pt x="4" y="190"/>
                    <a:pt x="4" y="190"/>
                  </a:cubicBezTo>
                  <a:cubicBezTo>
                    <a:pt x="24" y="215"/>
                    <a:pt x="24" y="215"/>
                    <a:pt x="24" y="215"/>
                  </a:cubicBezTo>
                  <a:cubicBezTo>
                    <a:pt x="32" y="209"/>
                    <a:pt x="46" y="227"/>
                    <a:pt x="51" y="234"/>
                  </a:cubicBezTo>
                  <a:cubicBezTo>
                    <a:pt x="58" y="238"/>
                    <a:pt x="58" y="238"/>
                    <a:pt x="58" y="238"/>
                  </a:cubicBezTo>
                  <a:cubicBezTo>
                    <a:pt x="85" y="238"/>
                    <a:pt x="85" y="238"/>
                    <a:pt x="85" y="238"/>
                  </a:cubicBezTo>
                  <a:lnTo>
                    <a:pt x="92" y="249"/>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43" name="Suriname">
              <a:extLst>
                <a:ext uri="{FF2B5EF4-FFF2-40B4-BE49-F238E27FC236}">
                  <a16:creationId xmlns:a16="http://schemas.microsoft.com/office/drawing/2014/main" id="{A6160C48-29D5-43B7-9C6F-53FF83684E6D}"/>
                </a:ext>
              </a:extLst>
            </p:cNvPr>
            <p:cNvSpPr>
              <a:spLocks/>
            </p:cNvSpPr>
            <p:nvPr/>
          </p:nvSpPr>
          <p:spPr bwMode="gray">
            <a:xfrm>
              <a:off x="4071302" y="3902665"/>
              <a:ext cx="111145" cy="126941"/>
            </a:xfrm>
            <a:custGeom>
              <a:avLst/>
              <a:gdLst>
                <a:gd name="T0" fmla="*/ 43 w 199"/>
                <a:gd name="T1" fmla="*/ 52 h 228"/>
                <a:gd name="T2" fmla="*/ 10 w 199"/>
                <a:gd name="T3" fmla="*/ 61 h 228"/>
                <a:gd name="T4" fmla="*/ 11 w 199"/>
                <a:gd name="T5" fmla="*/ 89 h 228"/>
                <a:gd name="T6" fmla="*/ 1 w 199"/>
                <a:gd name="T7" fmla="*/ 107 h 228"/>
                <a:gd name="T8" fmla="*/ 12 w 199"/>
                <a:gd name="T9" fmla="*/ 122 h 228"/>
                <a:gd name="T10" fmla="*/ 26 w 199"/>
                <a:gd name="T11" fmla="*/ 144 h 228"/>
                <a:gd name="T12" fmla="*/ 40 w 199"/>
                <a:gd name="T13" fmla="*/ 137 h 228"/>
                <a:gd name="T14" fmla="*/ 40 w 199"/>
                <a:gd name="T15" fmla="*/ 173 h 228"/>
                <a:gd name="T16" fmla="*/ 65 w 199"/>
                <a:gd name="T17" fmla="*/ 212 h 228"/>
                <a:gd name="T18" fmla="*/ 103 w 199"/>
                <a:gd name="T19" fmla="*/ 224 h 228"/>
                <a:gd name="T20" fmla="*/ 95 w 199"/>
                <a:gd name="T21" fmla="*/ 204 h 228"/>
                <a:gd name="T22" fmla="*/ 102 w 199"/>
                <a:gd name="T23" fmla="*/ 187 h 228"/>
                <a:gd name="T24" fmla="*/ 107 w 199"/>
                <a:gd name="T25" fmla="*/ 195 h 228"/>
                <a:gd name="T26" fmla="*/ 125 w 199"/>
                <a:gd name="T27" fmla="*/ 195 h 228"/>
                <a:gd name="T28" fmla="*/ 142 w 199"/>
                <a:gd name="T29" fmla="*/ 183 h 228"/>
                <a:gd name="T30" fmla="*/ 154 w 199"/>
                <a:gd name="T31" fmla="*/ 193 h 228"/>
                <a:gd name="T32" fmla="*/ 167 w 199"/>
                <a:gd name="T33" fmla="*/ 199 h 228"/>
                <a:gd name="T34" fmla="*/ 174 w 199"/>
                <a:gd name="T35" fmla="*/ 182 h 228"/>
                <a:gd name="T36" fmla="*/ 186 w 199"/>
                <a:gd name="T37" fmla="*/ 175 h 228"/>
                <a:gd name="T38" fmla="*/ 184 w 199"/>
                <a:gd name="T39" fmla="*/ 147 h 228"/>
                <a:gd name="T40" fmla="*/ 195 w 199"/>
                <a:gd name="T41" fmla="*/ 132 h 228"/>
                <a:gd name="T42" fmla="*/ 174 w 199"/>
                <a:gd name="T43" fmla="*/ 105 h 228"/>
                <a:gd name="T44" fmla="*/ 173 w 199"/>
                <a:gd name="T45" fmla="*/ 55 h 228"/>
                <a:gd name="T46" fmla="*/ 195 w 199"/>
                <a:gd name="T47" fmla="*/ 32 h 228"/>
                <a:gd name="T48" fmla="*/ 199 w 199"/>
                <a:gd name="T49" fmla="*/ 11 h 228"/>
                <a:gd name="T50" fmla="*/ 199 w 199"/>
                <a:gd name="T51" fmla="*/ 11 h 228"/>
                <a:gd name="T52" fmla="*/ 197 w 199"/>
                <a:gd name="T53" fmla="*/ 9 h 228"/>
                <a:gd name="T54" fmla="*/ 143 w 199"/>
                <a:gd name="T55" fmla="*/ 0 h 228"/>
                <a:gd name="T56" fmla="*/ 139 w 199"/>
                <a:gd name="T57" fmla="*/ 9 h 228"/>
                <a:gd name="T58" fmla="*/ 109 w 199"/>
                <a:gd name="T59" fmla="*/ 4 h 228"/>
                <a:gd name="T60" fmla="*/ 108 w 199"/>
                <a:gd name="T61" fmla="*/ 15 h 228"/>
                <a:gd name="T62" fmla="*/ 69 w 199"/>
                <a:gd name="T63" fmla="*/ 1 h 228"/>
                <a:gd name="T64" fmla="*/ 50 w 199"/>
                <a:gd name="T65" fmla="*/ 7 h 228"/>
                <a:gd name="T66" fmla="*/ 39 w 199"/>
                <a:gd name="T67" fmla="*/ 29 h 228"/>
                <a:gd name="T68" fmla="*/ 43 w 199"/>
                <a:gd name="T69" fmla="*/ 5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9" h="228">
                  <a:moveTo>
                    <a:pt x="43" y="52"/>
                  </a:moveTo>
                  <a:cubicBezTo>
                    <a:pt x="31" y="55"/>
                    <a:pt x="13" y="52"/>
                    <a:pt x="10" y="61"/>
                  </a:cubicBezTo>
                  <a:cubicBezTo>
                    <a:pt x="7" y="70"/>
                    <a:pt x="11" y="89"/>
                    <a:pt x="11" y="89"/>
                  </a:cubicBezTo>
                  <a:cubicBezTo>
                    <a:pt x="11" y="89"/>
                    <a:pt x="0" y="96"/>
                    <a:pt x="1" y="107"/>
                  </a:cubicBezTo>
                  <a:cubicBezTo>
                    <a:pt x="2" y="117"/>
                    <a:pt x="12" y="115"/>
                    <a:pt x="12" y="122"/>
                  </a:cubicBezTo>
                  <a:cubicBezTo>
                    <a:pt x="12" y="129"/>
                    <a:pt x="22" y="143"/>
                    <a:pt x="26" y="144"/>
                  </a:cubicBezTo>
                  <a:cubicBezTo>
                    <a:pt x="30" y="145"/>
                    <a:pt x="39" y="130"/>
                    <a:pt x="40" y="137"/>
                  </a:cubicBezTo>
                  <a:cubicBezTo>
                    <a:pt x="41" y="144"/>
                    <a:pt x="31" y="165"/>
                    <a:pt x="40" y="173"/>
                  </a:cubicBezTo>
                  <a:cubicBezTo>
                    <a:pt x="49" y="181"/>
                    <a:pt x="65" y="212"/>
                    <a:pt x="65" y="212"/>
                  </a:cubicBezTo>
                  <a:cubicBezTo>
                    <a:pt x="65" y="212"/>
                    <a:pt x="94" y="228"/>
                    <a:pt x="103" y="224"/>
                  </a:cubicBezTo>
                  <a:cubicBezTo>
                    <a:pt x="112" y="220"/>
                    <a:pt x="98" y="210"/>
                    <a:pt x="95" y="204"/>
                  </a:cubicBezTo>
                  <a:cubicBezTo>
                    <a:pt x="92" y="198"/>
                    <a:pt x="96" y="188"/>
                    <a:pt x="102" y="187"/>
                  </a:cubicBezTo>
                  <a:cubicBezTo>
                    <a:pt x="108" y="186"/>
                    <a:pt x="107" y="195"/>
                    <a:pt x="107" y="195"/>
                  </a:cubicBezTo>
                  <a:cubicBezTo>
                    <a:pt x="125" y="195"/>
                    <a:pt x="125" y="195"/>
                    <a:pt x="125" y="195"/>
                  </a:cubicBezTo>
                  <a:cubicBezTo>
                    <a:pt x="125" y="195"/>
                    <a:pt x="134" y="184"/>
                    <a:pt x="142" y="183"/>
                  </a:cubicBezTo>
                  <a:cubicBezTo>
                    <a:pt x="150" y="182"/>
                    <a:pt x="154" y="193"/>
                    <a:pt x="154" y="193"/>
                  </a:cubicBezTo>
                  <a:cubicBezTo>
                    <a:pt x="167" y="199"/>
                    <a:pt x="167" y="199"/>
                    <a:pt x="167" y="199"/>
                  </a:cubicBezTo>
                  <a:cubicBezTo>
                    <a:pt x="167" y="199"/>
                    <a:pt x="173" y="185"/>
                    <a:pt x="174" y="182"/>
                  </a:cubicBezTo>
                  <a:cubicBezTo>
                    <a:pt x="175" y="179"/>
                    <a:pt x="186" y="175"/>
                    <a:pt x="186" y="175"/>
                  </a:cubicBezTo>
                  <a:cubicBezTo>
                    <a:pt x="184" y="147"/>
                    <a:pt x="184" y="147"/>
                    <a:pt x="184" y="147"/>
                  </a:cubicBezTo>
                  <a:cubicBezTo>
                    <a:pt x="184" y="147"/>
                    <a:pt x="196" y="142"/>
                    <a:pt x="195" y="132"/>
                  </a:cubicBezTo>
                  <a:cubicBezTo>
                    <a:pt x="194" y="122"/>
                    <a:pt x="175" y="117"/>
                    <a:pt x="174" y="105"/>
                  </a:cubicBezTo>
                  <a:cubicBezTo>
                    <a:pt x="173" y="92"/>
                    <a:pt x="163" y="71"/>
                    <a:pt x="173" y="55"/>
                  </a:cubicBezTo>
                  <a:cubicBezTo>
                    <a:pt x="184" y="38"/>
                    <a:pt x="195" y="39"/>
                    <a:pt x="195" y="32"/>
                  </a:cubicBezTo>
                  <a:cubicBezTo>
                    <a:pt x="195" y="27"/>
                    <a:pt x="195" y="18"/>
                    <a:pt x="199" y="11"/>
                  </a:cubicBezTo>
                  <a:cubicBezTo>
                    <a:pt x="199" y="11"/>
                    <a:pt x="199" y="11"/>
                    <a:pt x="199" y="11"/>
                  </a:cubicBezTo>
                  <a:cubicBezTo>
                    <a:pt x="198" y="10"/>
                    <a:pt x="197" y="10"/>
                    <a:pt x="197" y="9"/>
                  </a:cubicBezTo>
                  <a:cubicBezTo>
                    <a:pt x="190" y="0"/>
                    <a:pt x="143" y="0"/>
                    <a:pt x="143" y="0"/>
                  </a:cubicBezTo>
                  <a:cubicBezTo>
                    <a:pt x="139" y="9"/>
                    <a:pt x="139" y="9"/>
                    <a:pt x="139" y="9"/>
                  </a:cubicBezTo>
                  <a:cubicBezTo>
                    <a:pt x="109" y="4"/>
                    <a:pt x="109" y="4"/>
                    <a:pt x="109" y="4"/>
                  </a:cubicBezTo>
                  <a:cubicBezTo>
                    <a:pt x="108" y="15"/>
                    <a:pt x="108" y="15"/>
                    <a:pt x="108" y="15"/>
                  </a:cubicBezTo>
                  <a:cubicBezTo>
                    <a:pt x="69" y="1"/>
                    <a:pt x="69" y="1"/>
                    <a:pt x="69" y="1"/>
                  </a:cubicBezTo>
                  <a:cubicBezTo>
                    <a:pt x="50" y="7"/>
                    <a:pt x="50" y="7"/>
                    <a:pt x="50" y="7"/>
                  </a:cubicBezTo>
                  <a:cubicBezTo>
                    <a:pt x="50" y="7"/>
                    <a:pt x="39" y="21"/>
                    <a:pt x="39" y="29"/>
                  </a:cubicBezTo>
                  <a:cubicBezTo>
                    <a:pt x="39" y="37"/>
                    <a:pt x="55" y="49"/>
                    <a:pt x="43" y="52"/>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49" name="Peru">
              <a:extLst>
                <a:ext uri="{FF2B5EF4-FFF2-40B4-BE49-F238E27FC236}">
                  <a16:creationId xmlns:a16="http://schemas.microsoft.com/office/drawing/2014/main" id="{BE8B0682-E186-4990-82AC-137007D73285}"/>
                </a:ext>
              </a:extLst>
            </p:cNvPr>
            <p:cNvSpPr>
              <a:spLocks/>
            </p:cNvSpPr>
            <p:nvPr/>
          </p:nvSpPr>
          <p:spPr bwMode="gray">
            <a:xfrm>
              <a:off x="3453658" y="4080380"/>
              <a:ext cx="352487" cy="556956"/>
            </a:xfrm>
            <a:custGeom>
              <a:avLst/>
              <a:gdLst>
                <a:gd name="T0" fmla="*/ 604 w 630"/>
                <a:gd name="T1" fmla="*/ 869 h 993"/>
                <a:gd name="T2" fmla="*/ 575 w 630"/>
                <a:gd name="T3" fmla="*/ 854 h 993"/>
                <a:gd name="T4" fmla="*/ 581 w 630"/>
                <a:gd name="T5" fmla="*/ 821 h 993"/>
                <a:gd name="T6" fmla="*/ 607 w 630"/>
                <a:gd name="T7" fmla="*/ 835 h 993"/>
                <a:gd name="T8" fmla="*/ 603 w 630"/>
                <a:gd name="T9" fmla="*/ 799 h 993"/>
                <a:gd name="T10" fmla="*/ 605 w 630"/>
                <a:gd name="T11" fmla="*/ 744 h 993"/>
                <a:gd name="T12" fmla="*/ 609 w 630"/>
                <a:gd name="T13" fmla="*/ 694 h 993"/>
                <a:gd name="T14" fmla="*/ 597 w 630"/>
                <a:gd name="T15" fmla="*/ 632 h 993"/>
                <a:gd name="T16" fmla="*/ 556 w 630"/>
                <a:gd name="T17" fmla="*/ 590 h 993"/>
                <a:gd name="T18" fmla="*/ 533 w 630"/>
                <a:gd name="T19" fmla="*/ 591 h 993"/>
                <a:gd name="T20" fmla="*/ 523 w 630"/>
                <a:gd name="T21" fmla="*/ 562 h 993"/>
                <a:gd name="T22" fmla="*/ 525 w 630"/>
                <a:gd name="T23" fmla="*/ 507 h 993"/>
                <a:gd name="T24" fmla="*/ 449 w 630"/>
                <a:gd name="T25" fmla="*/ 541 h 993"/>
                <a:gd name="T26" fmla="*/ 399 w 630"/>
                <a:gd name="T27" fmla="*/ 509 h 993"/>
                <a:gd name="T28" fmla="*/ 391 w 630"/>
                <a:gd name="T29" fmla="*/ 465 h 993"/>
                <a:gd name="T30" fmla="*/ 371 w 630"/>
                <a:gd name="T31" fmla="*/ 420 h 993"/>
                <a:gd name="T32" fmla="*/ 371 w 630"/>
                <a:gd name="T33" fmla="*/ 396 h 993"/>
                <a:gd name="T34" fmla="*/ 368 w 630"/>
                <a:gd name="T35" fmla="*/ 370 h 993"/>
                <a:gd name="T36" fmla="*/ 389 w 630"/>
                <a:gd name="T37" fmla="*/ 331 h 993"/>
                <a:gd name="T38" fmla="*/ 403 w 630"/>
                <a:gd name="T39" fmla="*/ 277 h 993"/>
                <a:gd name="T40" fmla="*/ 422 w 630"/>
                <a:gd name="T41" fmla="*/ 265 h 993"/>
                <a:gd name="T42" fmla="*/ 471 w 630"/>
                <a:gd name="T43" fmla="*/ 244 h 993"/>
                <a:gd name="T44" fmla="*/ 492 w 630"/>
                <a:gd name="T45" fmla="*/ 240 h 993"/>
                <a:gd name="T46" fmla="*/ 527 w 630"/>
                <a:gd name="T47" fmla="*/ 236 h 993"/>
                <a:gd name="T48" fmla="*/ 543 w 630"/>
                <a:gd name="T49" fmla="*/ 227 h 993"/>
                <a:gd name="T50" fmla="*/ 526 w 630"/>
                <a:gd name="T51" fmla="*/ 207 h 993"/>
                <a:gd name="T52" fmla="*/ 520 w 630"/>
                <a:gd name="T53" fmla="*/ 171 h 993"/>
                <a:gd name="T54" fmla="*/ 505 w 630"/>
                <a:gd name="T55" fmla="*/ 135 h 993"/>
                <a:gd name="T56" fmla="*/ 472 w 630"/>
                <a:gd name="T57" fmla="*/ 130 h 993"/>
                <a:gd name="T58" fmla="*/ 434 w 630"/>
                <a:gd name="T59" fmla="*/ 138 h 993"/>
                <a:gd name="T60" fmla="*/ 388 w 630"/>
                <a:gd name="T61" fmla="*/ 106 h 993"/>
                <a:gd name="T62" fmla="*/ 364 w 630"/>
                <a:gd name="T63" fmla="*/ 73 h 993"/>
                <a:gd name="T64" fmla="*/ 343 w 630"/>
                <a:gd name="T65" fmla="*/ 57 h 993"/>
                <a:gd name="T66" fmla="*/ 327 w 630"/>
                <a:gd name="T67" fmla="*/ 33 h 993"/>
                <a:gd name="T68" fmla="*/ 264 w 630"/>
                <a:gd name="T69" fmla="*/ 0 h 993"/>
                <a:gd name="T70" fmla="*/ 278 w 630"/>
                <a:gd name="T71" fmla="*/ 1 h 993"/>
                <a:gd name="T72" fmla="*/ 284 w 630"/>
                <a:gd name="T73" fmla="*/ 31 h 993"/>
                <a:gd name="T74" fmla="*/ 277 w 630"/>
                <a:gd name="T75" fmla="*/ 58 h 993"/>
                <a:gd name="T76" fmla="*/ 218 w 630"/>
                <a:gd name="T77" fmla="*/ 143 h 993"/>
                <a:gd name="T78" fmla="*/ 147 w 630"/>
                <a:gd name="T79" fmla="*/ 186 h 993"/>
                <a:gd name="T80" fmla="*/ 142 w 630"/>
                <a:gd name="T81" fmla="*/ 201 h 993"/>
                <a:gd name="T82" fmla="*/ 128 w 630"/>
                <a:gd name="T83" fmla="*/ 252 h 993"/>
                <a:gd name="T84" fmla="*/ 103 w 630"/>
                <a:gd name="T85" fmla="*/ 270 h 993"/>
                <a:gd name="T86" fmla="*/ 69 w 630"/>
                <a:gd name="T87" fmla="*/ 243 h 993"/>
                <a:gd name="T88" fmla="*/ 40 w 630"/>
                <a:gd name="T89" fmla="*/ 246 h 993"/>
                <a:gd name="T90" fmla="*/ 37 w 630"/>
                <a:gd name="T91" fmla="*/ 224 h 993"/>
                <a:gd name="T92" fmla="*/ 43 w 630"/>
                <a:gd name="T93" fmla="*/ 188 h 993"/>
                <a:gd name="T94" fmla="*/ 0 w 630"/>
                <a:gd name="T95" fmla="*/ 254 h 993"/>
                <a:gd name="T96" fmla="*/ 9 w 630"/>
                <a:gd name="T97" fmla="*/ 282 h 993"/>
                <a:gd name="T98" fmla="*/ 8 w 630"/>
                <a:gd name="T99" fmla="*/ 331 h 993"/>
                <a:gd name="T100" fmla="*/ 85 w 630"/>
                <a:gd name="T101" fmla="*/ 394 h 993"/>
                <a:gd name="T102" fmla="*/ 126 w 630"/>
                <a:gd name="T103" fmla="*/ 462 h 993"/>
                <a:gd name="T104" fmla="*/ 169 w 630"/>
                <a:gd name="T105" fmla="*/ 547 h 993"/>
                <a:gd name="T106" fmla="*/ 214 w 630"/>
                <a:gd name="T107" fmla="*/ 622 h 993"/>
                <a:gd name="T108" fmla="*/ 267 w 630"/>
                <a:gd name="T109" fmla="*/ 715 h 993"/>
                <a:gd name="T110" fmla="*/ 304 w 630"/>
                <a:gd name="T111" fmla="*/ 803 h 993"/>
                <a:gd name="T112" fmla="*/ 400 w 630"/>
                <a:gd name="T113" fmla="*/ 869 h 993"/>
                <a:gd name="T114" fmla="*/ 516 w 630"/>
                <a:gd name="T115" fmla="*/ 939 h 993"/>
                <a:gd name="T116" fmla="*/ 540 w 630"/>
                <a:gd name="T117" fmla="*/ 968 h 993"/>
                <a:gd name="T118" fmla="*/ 574 w 630"/>
                <a:gd name="T119" fmla="*/ 993 h 993"/>
                <a:gd name="T120" fmla="*/ 596 w 630"/>
                <a:gd name="T121" fmla="*/ 954 h 993"/>
                <a:gd name="T122" fmla="*/ 601 w 630"/>
                <a:gd name="T123" fmla="*/ 929 h 993"/>
                <a:gd name="T124" fmla="*/ 630 w 630"/>
                <a:gd name="T125" fmla="*/ 889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0" h="993">
                  <a:moveTo>
                    <a:pt x="622" y="880"/>
                  </a:moveTo>
                  <a:cubicBezTo>
                    <a:pt x="622" y="880"/>
                    <a:pt x="612" y="873"/>
                    <a:pt x="604" y="869"/>
                  </a:cubicBezTo>
                  <a:cubicBezTo>
                    <a:pt x="596" y="865"/>
                    <a:pt x="593" y="857"/>
                    <a:pt x="593" y="857"/>
                  </a:cubicBezTo>
                  <a:cubicBezTo>
                    <a:pt x="593" y="857"/>
                    <a:pt x="579" y="859"/>
                    <a:pt x="575" y="854"/>
                  </a:cubicBezTo>
                  <a:cubicBezTo>
                    <a:pt x="580" y="840"/>
                    <a:pt x="580" y="840"/>
                    <a:pt x="580" y="840"/>
                  </a:cubicBezTo>
                  <a:cubicBezTo>
                    <a:pt x="580" y="840"/>
                    <a:pt x="576" y="825"/>
                    <a:pt x="581" y="821"/>
                  </a:cubicBezTo>
                  <a:cubicBezTo>
                    <a:pt x="584" y="818"/>
                    <a:pt x="598" y="830"/>
                    <a:pt x="607" y="838"/>
                  </a:cubicBezTo>
                  <a:cubicBezTo>
                    <a:pt x="607" y="836"/>
                    <a:pt x="607" y="835"/>
                    <a:pt x="607" y="835"/>
                  </a:cubicBezTo>
                  <a:cubicBezTo>
                    <a:pt x="612" y="824"/>
                    <a:pt x="612" y="824"/>
                    <a:pt x="612" y="824"/>
                  </a:cubicBezTo>
                  <a:cubicBezTo>
                    <a:pt x="612" y="824"/>
                    <a:pt x="604" y="813"/>
                    <a:pt x="603" y="799"/>
                  </a:cubicBezTo>
                  <a:cubicBezTo>
                    <a:pt x="601" y="784"/>
                    <a:pt x="616" y="776"/>
                    <a:pt x="620" y="766"/>
                  </a:cubicBezTo>
                  <a:cubicBezTo>
                    <a:pt x="624" y="757"/>
                    <a:pt x="605" y="744"/>
                    <a:pt x="605" y="744"/>
                  </a:cubicBezTo>
                  <a:cubicBezTo>
                    <a:pt x="618" y="724"/>
                    <a:pt x="618" y="724"/>
                    <a:pt x="618" y="724"/>
                  </a:cubicBezTo>
                  <a:cubicBezTo>
                    <a:pt x="609" y="694"/>
                    <a:pt x="609" y="694"/>
                    <a:pt x="609" y="694"/>
                  </a:cubicBezTo>
                  <a:cubicBezTo>
                    <a:pt x="609" y="694"/>
                    <a:pt x="619" y="683"/>
                    <a:pt x="620" y="677"/>
                  </a:cubicBezTo>
                  <a:cubicBezTo>
                    <a:pt x="622" y="670"/>
                    <a:pt x="612" y="645"/>
                    <a:pt x="597" y="632"/>
                  </a:cubicBezTo>
                  <a:cubicBezTo>
                    <a:pt x="586" y="621"/>
                    <a:pt x="579" y="600"/>
                    <a:pt x="577" y="591"/>
                  </a:cubicBezTo>
                  <a:cubicBezTo>
                    <a:pt x="568" y="590"/>
                    <a:pt x="560" y="590"/>
                    <a:pt x="556" y="590"/>
                  </a:cubicBezTo>
                  <a:cubicBezTo>
                    <a:pt x="545" y="590"/>
                    <a:pt x="549" y="599"/>
                    <a:pt x="541" y="599"/>
                  </a:cubicBezTo>
                  <a:cubicBezTo>
                    <a:pt x="533" y="599"/>
                    <a:pt x="533" y="591"/>
                    <a:pt x="533" y="591"/>
                  </a:cubicBezTo>
                  <a:cubicBezTo>
                    <a:pt x="526" y="592"/>
                    <a:pt x="526" y="592"/>
                    <a:pt x="526" y="592"/>
                  </a:cubicBezTo>
                  <a:cubicBezTo>
                    <a:pt x="526" y="592"/>
                    <a:pt x="525" y="572"/>
                    <a:pt x="523" y="562"/>
                  </a:cubicBezTo>
                  <a:cubicBezTo>
                    <a:pt x="521" y="552"/>
                    <a:pt x="526" y="538"/>
                    <a:pt x="528" y="534"/>
                  </a:cubicBezTo>
                  <a:cubicBezTo>
                    <a:pt x="530" y="530"/>
                    <a:pt x="525" y="507"/>
                    <a:pt x="525" y="507"/>
                  </a:cubicBezTo>
                  <a:cubicBezTo>
                    <a:pt x="491" y="537"/>
                    <a:pt x="491" y="537"/>
                    <a:pt x="491" y="537"/>
                  </a:cubicBezTo>
                  <a:cubicBezTo>
                    <a:pt x="449" y="541"/>
                    <a:pt x="449" y="541"/>
                    <a:pt x="449" y="541"/>
                  </a:cubicBezTo>
                  <a:cubicBezTo>
                    <a:pt x="449" y="541"/>
                    <a:pt x="441" y="522"/>
                    <a:pt x="438" y="515"/>
                  </a:cubicBezTo>
                  <a:cubicBezTo>
                    <a:pt x="435" y="508"/>
                    <a:pt x="399" y="509"/>
                    <a:pt x="399" y="509"/>
                  </a:cubicBezTo>
                  <a:cubicBezTo>
                    <a:pt x="399" y="509"/>
                    <a:pt x="414" y="496"/>
                    <a:pt x="416" y="491"/>
                  </a:cubicBezTo>
                  <a:cubicBezTo>
                    <a:pt x="418" y="486"/>
                    <a:pt x="396" y="471"/>
                    <a:pt x="391" y="465"/>
                  </a:cubicBezTo>
                  <a:cubicBezTo>
                    <a:pt x="386" y="459"/>
                    <a:pt x="373" y="438"/>
                    <a:pt x="373" y="438"/>
                  </a:cubicBezTo>
                  <a:cubicBezTo>
                    <a:pt x="371" y="420"/>
                    <a:pt x="371" y="420"/>
                    <a:pt x="371" y="420"/>
                  </a:cubicBezTo>
                  <a:cubicBezTo>
                    <a:pt x="371" y="420"/>
                    <a:pt x="356" y="414"/>
                    <a:pt x="356" y="409"/>
                  </a:cubicBezTo>
                  <a:cubicBezTo>
                    <a:pt x="356" y="404"/>
                    <a:pt x="371" y="396"/>
                    <a:pt x="371" y="396"/>
                  </a:cubicBezTo>
                  <a:cubicBezTo>
                    <a:pt x="365" y="392"/>
                    <a:pt x="365" y="392"/>
                    <a:pt x="365" y="392"/>
                  </a:cubicBezTo>
                  <a:cubicBezTo>
                    <a:pt x="365" y="392"/>
                    <a:pt x="360" y="378"/>
                    <a:pt x="368" y="370"/>
                  </a:cubicBezTo>
                  <a:cubicBezTo>
                    <a:pt x="376" y="362"/>
                    <a:pt x="389" y="345"/>
                    <a:pt x="395" y="354"/>
                  </a:cubicBezTo>
                  <a:cubicBezTo>
                    <a:pt x="401" y="363"/>
                    <a:pt x="391" y="338"/>
                    <a:pt x="389" y="331"/>
                  </a:cubicBezTo>
                  <a:cubicBezTo>
                    <a:pt x="387" y="324"/>
                    <a:pt x="402" y="315"/>
                    <a:pt x="402" y="315"/>
                  </a:cubicBezTo>
                  <a:cubicBezTo>
                    <a:pt x="403" y="277"/>
                    <a:pt x="403" y="277"/>
                    <a:pt x="403" y="277"/>
                  </a:cubicBezTo>
                  <a:cubicBezTo>
                    <a:pt x="419" y="277"/>
                    <a:pt x="419" y="277"/>
                    <a:pt x="419" y="277"/>
                  </a:cubicBezTo>
                  <a:cubicBezTo>
                    <a:pt x="419" y="277"/>
                    <a:pt x="420" y="269"/>
                    <a:pt x="422" y="265"/>
                  </a:cubicBezTo>
                  <a:cubicBezTo>
                    <a:pt x="424" y="261"/>
                    <a:pt x="450" y="244"/>
                    <a:pt x="450" y="244"/>
                  </a:cubicBezTo>
                  <a:cubicBezTo>
                    <a:pt x="471" y="244"/>
                    <a:pt x="471" y="244"/>
                    <a:pt x="471" y="244"/>
                  </a:cubicBezTo>
                  <a:cubicBezTo>
                    <a:pt x="473" y="237"/>
                    <a:pt x="473" y="237"/>
                    <a:pt x="473" y="237"/>
                  </a:cubicBezTo>
                  <a:cubicBezTo>
                    <a:pt x="492" y="240"/>
                    <a:pt x="492" y="240"/>
                    <a:pt x="492" y="240"/>
                  </a:cubicBezTo>
                  <a:cubicBezTo>
                    <a:pt x="492" y="240"/>
                    <a:pt x="503" y="225"/>
                    <a:pt x="513" y="224"/>
                  </a:cubicBezTo>
                  <a:cubicBezTo>
                    <a:pt x="523" y="223"/>
                    <a:pt x="527" y="236"/>
                    <a:pt x="527" y="236"/>
                  </a:cubicBezTo>
                  <a:cubicBezTo>
                    <a:pt x="527" y="236"/>
                    <a:pt x="534" y="239"/>
                    <a:pt x="539" y="236"/>
                  </a:cubicBezTo>
                  <a:cubicBezTo>
                    <a:pt x="541" y="235"/>
                    <a:pt x="542" y="231"/>
                    <a:pt x="543" y="227"/>
                  </a:cubicBezTo>
                  <a:cubicBezTo>
                    <a:pt x="532" y="223"/>
                    <a:pt x="532" y="223"/>
                    <a:pt x="532" y="223"/>
                  </a:cubicBezTo>
                  <a:cubicBezTo>
                    <a:pt x="526" y="207"/>
                    <a:pt x="526" y="207"/>
                    <a:pt x="526" y="207"/>
                  </a:cubicBezTo>
                  <a:cubicBezTo>
                    <a:pt x="526" y="207"/>
                    <a:pt x="512" y="212"/>
                    <a:pt x="509" y="206"/>
                  </a:cubicBezTo>
                  <a:cubicBezTo>
                    <a:pt x="506" y="201"/>
                    <a:pt x="515" y="171"/>
                    <a:pt x="520" y="171"/>
                  </a:cubicBezTo>
                  <a:cubicBezTo>
                    <a:pt x="525" y="171"/>
                    <a:pt x="533" y="163"/>
                    <a:pt x="533" y="148"/>
                  </a:cubicBezTo>
                  <a:cubicBezTo>
                    <a:pt x="533" y="134"/>
                    <a:pt x="505" y="135"/>
                    <a:pt x="505" y="135"/>
                  </a:cubicBezTo>
                  <a:cubicBezTo>
                    <a:pt x="505" y="135"/>
                    <a:pt x="497" y="123"/>
                    <a:pt x="493" y="122"/>
                  </a:cubicBezTo>
                  <a:cubicBezTo>
                    <a:pt x="489" y="121"/>
                    <a:pt x="481" y="130"/>
                    <a:pt x="472" y="130"/>
                  </a:cubicBezTo>
                  <a:cubicBezTo>
                    <a:pt x="464" y="130"/>
                    <a:pt x="463" y="123"/>
                    <a:pt x="449" y="120"/>
                  </a:cubicBezTo>
                  <a:cubicBezTo>
                    <a:pt x="435" y="117"/>
                    <a:pt x="434" y="138"/>
                    <a:pt x="434" y="138"/>
                  </a:cubicBezTo>
                  <a:cubicBezTo>
                    <a:pt x="434" y="138"/>
                    <a:pt x="412" y="138"/>
                    <a:pt x="393" y="133"/>
                  </a:cubicBezTo>
                  <a:cubicBezTo>
                    <a:pt x="374" y="128"/>
                    <a:pt x="389" y="113"/>
                    <a:pt x="388" y="106"/>
                  </a:cubicBezTo>
                  <a:cubicBezTo>
                    <a:pt x="387" y="98"/>
                    <a:pt x="369" y="97"/>
                    <a:pt x="369" y="97"/>
                  </a:cubicBezTo>
                  <a:cubicBezTo>
                    <a:pt x="369" y="97"/>
                    <a:pt x="367" y="79"/>
                    <a:pt x="364" y="73"/>
                  </a:cubicBezTo>
                  <a:cubicBezTo>
                    <a:pt x="362" y="67"/>
                    <a:pt x="354" y="70"/>
                    <a:pt x="354" y="70"/>
                  </a:cubicBezTo>
                  <a:cubicBezTo>
                    <a:pt x="343" y="57"/>
                    <a:pt x="343" y="57"/>
                    <a:pt x="343" y="57"/>
                  </a:cubicBezTo>
                  <a:cubicBezTo>
                    <a:pt x="335" y="57"/>
                    <a:pt x="335" y="57"/>
                    <a:pt x="335" y="57"/>
                  </a:cubicBezTo>
                  <a:cubicBezTo>
                    <a:pt x="327" y="33"/>
                    <a:pt x="327" y="33"/>
                    <a:pt x="327" y="33"/>
                  </a:cubicBezTo>
                  <a:cubicBezTo>
                    <a:pt x="327" y="33"/>
                    <a:pt x="297" y="9"/>
                    <a:pt x="290" y="5"/>
                  </a:cubicBezTo>
                  <a:cubicBezTo>
                    <a:pt x="284" y="1"/>
                    <a:pt x="274" y="1"/>
                    <a:pt x="264" y="0"/>
                  </a:cubicBezTo>
                  <a:cubicBezTo>
                    <a:pt x="264" y="0"/>
                    <a:pt x="264" y="0"/>
                    <a:pt x="264" y="0"/>
                  </a:cubicBezTo>
                  <a:cubicBezTo>
                    <a:pt x="269" y="0"/>
                    <a:pt x="273" y="1"/>
                    <a:pt x="278" y="1"/>
                  </a:cubicBezTo>
                  <a:cubicBezTo>
                    <a:pt x="279" y="19"/>
                    <a:pt x="268" y="19"/>
                    <a:pt x="268" y="19"/>
                  </a:cubicBezTo>
                  <a:cubicBezTo>
                    <a:pt x="284" y="31"/>
                    <a:pt x="284" y="31"/>
                    <a:pt x="284" y="31"/>
                  </a:cubicBezTo>
                  <a:cubicBezTo>
                    <a:pt x="287" y="53"/>
                    <a:pt x="287" y="53"/>
                    <a:pt x="287" y="53"/>
                  </a:cubicBezTo>
                  <a:cubicBezTo>
                    <a:pt x="277" y="58"/>
                    <a:pt x="277" y="58"/>
                    <a:pt x="277" y="58"/>
                  </a:cubicBezTo>
                  <a:cubicBezTo>
                    <a:pt x="269" y="87"/>
                    <a:pt x="269" y="87"/>
                    <a:pt x="269" y="87"/>
                  </a:cubicBezTo>
                  <a:cubicBezTo>
                    <a:pt x="269" y="87"/>
                    <a:pt x="241" y="128"/>
                    <a:pt x="218" y="143"/>
                  </a:cubicBezTo>
                  <a:cubicBezTo>
                    <a:pt x="195" y="157"/>
                    <a:pt x="174" y="157"/>
                    <a:pt x="161" y="168"/>
                  </a:cubicBezTo>
                  <a:cubicBezTo>
                    <a:pt x="147" y="179"/>
                    <a:pt x="147" y="186"/>
                    <a:pt x="147" y="186"/>
                  </a:cubicBezTo>
                  <a:cubicBezTo>
                    <a:pt x="139" y="189"/>
                    <a:pt x="139" y="189"/>
                    <a:pt x="139" y="189"/>
                  </a:cubicBezTo>
                  <a:cubicBezTo>
                    <a:pt x="142" y="201"/>
                    <a:pt x="142" y="201"/>
                    <a:pt x="142" y="201"/>
                  </a:cubicBezTo>
                  <a:cubicBezTo>
                    <a:pt x="142" y="201"/>
                    <a:pt x="134" y="206"/>
                    <a:pt x="132" y="216"/>
                  </a:cubicBezTo>
                  <a:cubicBezTo>
                    <a:pt x="131" y="225"/>
                    <a:pt x="128" y="252"/>
                    <a:pt x="128" y="252"/>
                  </a:cubicBezTo>
                  <a:cubicBezTo>
                    <a:pt x="128" y="252"/>
                    <a:pt x="119" y="254"/>
                    <a:pt x="115" y="256"/>
                  </a:cubicBezTo>
                  <a:cubicBezTo>
                    <a:pt x="111" y="259"/>
                    <a:pt x="116" y="270"/>
                    <a:pt x="103" y="270"/>
                  </a:cubicBezTo>
                  <a:cubicBezTo>
                    <a:pt x="89" y="270"/>
                    <a:pt x="93" y="246"/>
                    <a:pt x="88" y="241"/>
                  </a:cubicBezTo>
                  <a:cubicBezTo>
                    <a:pt x="82" y="237"/>
                    <a:pt x="69" y="243"/>
                    <a:pt x="69" y="243"/>
                  </a:cubicBezTo>
                  <a:cubicBezTo>
                    <a:pt x="60" y="232"/>
                    <a:pt x="60" y="232"/>
                    <a:pt x="60" y="232"/>
                  </a:cubicBezTo>
                  <a:cubicBezTo>
                    <a:pt x="60" y="232"/>
                    <a:pt x="50" y="250"/>
                    <a:pt x="40" y="246"/>
                  </a:cubicBezTo>
                  <a:cubicBezTo>
                    <a:pt x="31" y="241"/>
                    <a:pt x="47" y="232"/>
                    <a:pt x="47" y="232"/>
                  </a:cubicBezTo>
                  <a:cubicBezTo>
                    <a:pt x="37" y="224"/>
                    <a:pt x="37" y="224"/>
                    <a:pt x="37" y="224"/>
                  </a:cubicBezTo>
                  <a:cubicBezTo>
                    <a:pt x="37" y="224"/>
                    <a:pt x="50" y="212"/>
                    <a:pt x="58" y="203"/>
                  </a:cubicBezTo>
                  <a:cubicBezTo>
                    <a:pt x="67" y="194"/>
                    <a:pt x="43" y="188"/>
                    <a:pt x="43" y="188"/>
                  </a:cubicBezTo>
                  <a:cubicBezTo>
                    <a:pt x="43" y="188"/>
                    <a:pt x="17" y="216"/>
                    <a:pt x="9" y="223"/>
                  </a:cubicBezTo>
                  <a:cubicBezTo>
                    <a:pt x="1" y="230"/>
                    <a:pt x="0" y="241"/>
                    <a:pt x="0" y="254"/>
                  </a:cubicBezTo>
                  <a:cubicBezTo>
                    <a:pt x="0" y="267"/>
                    <a:pt x="12" y="264"/>
                    <a:pt x="12" y="264"/>
                  </a:cubicBezTo>
                  <a:cubicBezTo>
                    <a:pt x="9" y="282"/>
                    <a:pt x="9" y="282"/>
                    <a:pt x="9" y="282"/>
                  </a:cubicBezTo>
                  <a:cubicBezTo>
                    <a:pt x="9" y="282"/>
                    <a:pt x="26" y="292"/>
                    <a:pt x="27" y="304"/>
                  </a:cubicBezTo>
                  <a:cubicBezTo>
                    <a:pt x="28" y="316"/>
                    <a:pt x="8" y="317"/>
                    <a:pt x="8" y="331"/>
                  </a:cubicBezTo>
                  <a:cubicBezTo>
                    <a:pt x="8" y="345"/>
                    <a:pt x="42" y="347"/>
                    <a:pt x="51" y="352"/>
                  </a:cubicBezTo>
                  <a:cubicBezTo>
                    <a:pt x="59" y="357"/>
                    <a:pt x="82" y="389"/>
                    <a:pt x="85" y="394"/>
                  </a:cubicBezTo>
                  <a:cubicBezTo>
                    <a:pt x="87" y="398"/>
                    <a:pt x="99" y="418"/>
                    <a:pt x="99" y="424"/>
                  </a:cubicBezTo>
                  <a:cubicBezTo>
                    <a:pt x="99" y="430"/>
                    <a:pt x="123" y="456"/>
                    <a:pt x="126" y="462"/>
                  </a:cubicBezTo>
                  <a:cubicBezTo>
                    <a:pt x="130" y="468"/>
                    <a:pt x="164" y="522"/>
                    <a:pt x="164" y="522"/>
                  </a:cubicBezTo>
                  <a:cubicBezTo>
                    <a:pt x="169" y="547"/>
                    <a:pt x="169" y="547"/>
                    <a:pt x="169" y="547"/>
                  </a:cubicBezTo>
                  <a:cubicBezTo>
                    <a:pt x="169" y="547"/>
                    <a:pt x="197" y="602"/>
                    <a:pt x="197" y="609"/>
                  </a:cubicBezTo>
                  <a:cubicBezTo>
                    <a:pt x="197" y="616"/>
                    <a:pt x="205" y="616"/>
                    <a:pt x="214" y="622"/>
                  </a:cubicBezTo>
                  <a:cubicBezTo>
                    <a:pt x="222" y="628"/>
                    <a:pt x="218" y="635"/>
                    <a:pt x="220" y="647"/>
                  </a:cubicBezTo>
                  <a:cubicBezTo>
                    <a:pt x="221" y="658"/>
                    <a:pt x="255" y="699"/>
                    <a:pt x="267" y="715"/>
                  </a:cubicBezTo>
                  <a:cubicBezTo>
                    <a:pt x="279" y="732"/>
                    <a:pt x="270" y="754"/>
                    <a:pt x="270" y="762"/>
                  </a:cubicBezTo>
                  <a:cubicBezTo>
                    <a:pt x="270" y="771"/>
                    <a:pt x="293" y="796"/>
                    <a:pt x="304" y="803"/>
                  </a:cubicBezTo>
                  <a:cubicBezTo>
                    <a:pt x="314" y="810"/>
                    <a:pt x="324" y="826"/>
                    <a:pt x="332" y="835"/>
                  </a:cubicBezTo>
                  <a:cubicBezTo>
                    <a:pt x="340" y="843"/>
                    <a:pt x="386" y="861"/>
                    <a:pt x="400" y="869"/>
                  </a:cubicBezTo>
                  <a:cubicBezTo>
                    <a:pt x="415" y="877"/>
                    <a:pt x="442" y="883"/>
                    <a:pt x="463" y="901"/>
                  </a:cubicBezTo>
                  <a:cubicBezTo>
                    <a:pt x="484" y="919"/>
                    <a:pt x="516" y="939"/>
                    <a:pt x="516" y="939"/>
                  </a:cubicBezTo>
                  <a:cubicBezTo>
                    <a:pt x="522" y="954"/>
                    <a:pt x="522" y="954"/>
                    <a:pt x="522" y="954"/>
                  </a:cubicBezTo>
                  <a:cubicBezTo>
                    <a:pt x="522" y="954"/>
                    <a:pt x="533" y="962"/>
                    <a:pt x="540" y="968"/>
                  </a:cubicBezTo>
                  <a:cubicBezTo>
                    <a:pt x="547" y="974"/>
                    <a:pt x="574" y="992"/>
                    <a:pt x="574" y="992"/>
                  </a:cubicBezTo>
                  <a:cubicBezTo>
                    <a:pt x="574" y="993"/>
                    <a:pt x="574" y="993"/>
                    <a:pt x="574" y="993"/>
                  </a:cubicBezTo>
                  <a:cubicBezTo>
                    <a:pt x="580" y="989"/>
                    <a:pt x="589" y="983"/>
                    <a:pt x="596" y="977"/>
                  </a:cubicBezTo>
                  <a:cubicBezTo>
                    <a:pt x="608" y="968"/>
                    <a:pt x="596" y="954"/>
                    <a:pt x="596" y="954"/>
                  </a:cubicBezTo>
                  <a:cubicBezTo>
                    <a:pt x="608" y="946"/>
                    <a:pt x="608" y="946"/>
                    <a:pt x="608" y="946"/>
                  </a:cubicBezTo>
                  <a:cubicBezTo>
                    <a:pt x="601" y="929"/>
                    <a:pt x="601" y="929"/>
                    <a:pt x="601" y="929"/>
                  </a:cubicBezTo>
                  <a:cubicBezTo>
                    <a:pt x="601" y="929"/>
                    <a:pt x="611" y="919"/>
                    <a:pt x="620" y="912"/>
                  </a:cubicBezTo>
                  <a:cubicBezTo>
                    <a:pt x="626" y="908"/>
                    <a:pt x="629" y="897"/>
                    <a:pt x="630" y="889"/>
                  </a:cubicBezTo>
                  <a:lnTo>
                    <a:pt x="622" y="880"/>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46" name="Paraguay">
              <a:extLst>
                <a:ext uri="{FF2B5EF4-FFF2-40B4-BE49-F238E27FC236}">
                  <a16:creationId xmlns:a16="http://schemas.microsoft.com/office/drawing/2014/main" id="{19E9E7B5-1C53-40CB-9812-DDE79B618481}"/>
                </a:ext>
              </a:extLst>
            </p:cNvPr>
            <p:cNvSpPr>
              <a:spLocks/>
            </p:cNvSpPr>
            <p:nvPr/>
          </p:nvSpPr>
          <p:spPr bwMode="gray">
            <a:xfrm>
              <a:off x="3988738" y="4661140"/>
              <a:ext cx="227052" cy="253882"/>
            </a:xfrm>
            <a:custGeom>
              <a:avLst/>
              <a:gdLst>
                <a:gd name="T0" fmla="*/ 326 w 407"/>
                <a:gd name="T1" fmla="*/ 441 h 452"/>
                <a:gd name="T2" fmla="*/ 333 w 407"/>
                <a:gd name="T3" fmla="*/ 452 h 452"/>
                <a:gd name="T4" fmla="*/ 342 w 407"/>
                <a:gd name="T5" fmla="*/ 435 h 452"/>
                <a:gd name="T6" fmla="*/ 356 w 407"/>
                <a:gd name="T7" fmla="*/ 439 h 452"/>
                <a:gd name="T8" fmla="*/ 369 w 407"/>
                <a:gd name="T9" fmla="*/ 415 h 452"/>
                <a:gd name="T10" fmla="*/ 399 w 407"/>
                <a:gd name="T11" fmla="*/ 390 h 452"/>
                <a:gd name="T12" fmla="*/ 399 w 407"/>
                <a:gd name="T13" fmla="*/ 344 h 452"/>
                <a:gd name="T14" fmla="*/ 396 w 407"/>
                <a:gd name="T15" fmla="*/ 331 h 452"/>
                <a:gd name="T16" fmla="*/ 399 w 407"/>
                <a:gd name="T17" fmla="*/ 311 h 452"/>
                <a:gd name="T18" fmla="*/ 405 w 407"/>
                <a:gd name="T19" fmla="*/ 276 h 452"/>
                <a:gd name="T20" fmla="*/ 388 w 407"/>
                <a:gd name="T21" fmla="*/ 244 h 452"/>
                <a:gd name="T22" fmla="*/ 358 w 407"/>
                <a:gd name="T23" fmla="*/ 254 h 452"/>
                <a:gd name="T24" fmla="*/ 338 w 407"/>
                <a:gd name="T25" fmla="*/ 211 h 452"/>
                <a:gd name="T26" fmla="*/ 333 w 407"/>
                <a:gd name="T27" fmla="*/ 166 h 452"/>
                <a:gd name="T28" fmla="*/ 296 w 407"/>
                <a:gd name="T29" fmla="*/ 161 h 452"/>
                <a:gd name="T30" fmla="*/ 221 w 407"/>
                <a:gd name="T31" fmla="*/ 148 h 452"/>
                <a:gd name="T32" fmla="*/ 220 w 407"/>
                <a:gd name="T33" fmla="*/ 94 h 452"/>
                <a:gd name="T34" fmla="*/ 211 w 407"/>
                <a:gd name="T35" fmla="*/ 86 h 452"/>
                <a:gd name="T36" fmla="*/ 211 w 407"/>
                <a:gd name="T37" fmla="*/ 66 h 452"/>
                <a:gd name="T38" fmla="*/ 200 w 407"/>
                <a:gd name="T39" fmla="*/ 51 h 452"/>
                <a:gd name="T40" fmla="*/ 187 w 407"/>
                <a:gd name="T41" fmla="*/ 28 h 452"/>
                <a:gd name="T42" fmla="*/ 152 w 407"/>
                <a:gd name="T43" fmla="*/ 0 h 452"/>
                <a:gd name="T44" fmla="*/ 99 w 407"/>
                <a:gd name="T45" fmla="*/ 9 h 452"/>
                <a:gd name="T46" fmla="*/ 30 w 407"/>
                <a:gd name="T47" fmla="*/ 21 h 452"/>
                <a:gd name="T48" fmla="*/ 26 w 407"/>
                <a:gd name="T49" fmla="*/ 40 h 452"/>
                <a:gd name="T50" fmla="*/ 7 w 407"/>
                <a:gd name="T51" fmla="*/ 56 h 452"/>
                <a:gd name="T52" fmla="*/ 16 w 407"/>
                <a:gd name="T53" fmla="*/ 89 h 452"/>
                <a:gd name="T54" fmla="*/ 10 w 407"/>
                <a:gd name="T55" fmla="*/ 163 h 452"/>
                <a:gd name="T56" fmla="*/ 23 w 407"/>
                <a:gd name="T57" fmla="*/ 175 h 452"/>
                <a:gd name="T58" fmla="*/ 48 w 407"/>
                <a:gd name="T59" fmla="*/ 209 h 452"/>
                <a:gd name="T60" fmla="*/ 84 w 407"/>
                <a:gd name="T61" fmla="*/ 231 h 452"/>
                <a:gd name="T62" fmla="*/ 88 w 407"/>
                <a:gd name="T63" fmla="*/ 245 h 452"/>
                <a:gd name="T64" fmla="*/ 133 w 407"/>
                <a:gd name="T65" fmla="*/ 261 h 452"/>
                <a:gd name="T66" fmla="*/ 164 w 407"/>
                <a:gd name="T67" fmla="*/ 277 h 452"/>
                <a:gd name="T68" fmla="*/ 220 w 407"/>
                <a:gd name="T69" fmla="*/ 306 h 452"/>
                <a:gd name="T70" fmla="*/ 258 w 407"/>
                <a:gd name="T71" fmla="*/ 322 h 452"/>
                <a:gd name="T72" fmla="*/ 246 w 407"/>
                <a:gd name="T73" fmla="*/ 347 h 452"/>
                <a:gd name="T74" fmla="*/ 255 w 407"/>
                <a:gd name="T75" fmla="*/ 362 h 452"/>
                <a:gd name="T76" fmla="*/ 239 w 407"/>
                <a:gd name="T77" fmla="*/ 369 h 452"/>
                <a:gd name="T78" fmla="*/ 239 w 407"/>
                <a:gd name="T79" fmla="*/ 391 h 452"/>
                <a:gd name="T80" fmla="*/ 224 w 407"/>
                <a:gd name="T81" fmla="*/ 425 h 452"/>
                <a:gd name="T82" fmla="*/ 254 w 407"/>
                <a:gd name="T83" fmla="*/ 425 h 452"/>
                <a:gd name="T84" fmla="*/ 287 w 407"/>
                <a:gd name="T85" fmla="*/ 439 h 452"/>
                <a:gd name="T86" fmla="*/ 326 w 407"/>
                <a:gd name="T87" fmla="*/ 441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7" h="452">
                  <a:moveTo>
                    <a:pt x="326" y="441"/>
                  </a:moveTo>
                  <a:cubicBezTo>
                    <a:pt x="333" y="452"/>
                    <a:pt x="333" y="452"/>
                    <a:pt x="333" y="452"/>
                  </a:cubicBezTo>
                  <a:cubicBezTo>
                    <a:pt x="333" y="452"/>
                    <a:pt x="333" y="433"/>
                    <a:pt x="342" y="435"/>
                  </a:cubicBezTo>
                  <a:cubicBezTo>
                    <a:pt x="351" y="437"/>
                    <a:pt x="352" y="446"/>
                    <a:pt x="356" y="439"/>
                  </a:cubicBezTo>
                  <a:cubicBezTo>
                    <a:pt x="360" y="432"/>
                    <a:pt x="362" y="415"/>
                    <a:pt x="369" y="415"/>
                  </a:cubicBezTo>
                  <a:cubicBezTo>
                    <a:pt x="376" y="415"/>
                    <a:pt x="397" y="401"/>
                    <a:pt x="399" y="390"/>
                  </a:cubicBezTo>
                  <a:cubicBezTo>
                    <a:pt x="401" y="379"/>
                    <a:pt x="399" y="344"/>
                    <a:pt x="399" y="344"/>
                  </a:cubicBezTo>
                  <a:cubicBezTo>
                    <a:pt x="396" y="331"/>
                    <a:pt x="396" y="331"/>
                    <a:pt x="396" y="331"/>
                  </a:cubicBezTo>
                  <a:cubicBezTo>
                    <a:pt x="396" y="331"/>
                    <a:pt x="397" y="316"/>
                    <a:pt x="399" y="311"/>
                  </a:cubicBezTo>
                  <a:cubicBezTo>
                    <a:pt x="401" y="306"/>
                    <a:pt x="403" y="296"/>
                    <a:pt x="405" y="276"/>
                  </a:cubicBezTo>
                  <a:cubicBezTo>
                    <a:pt x="407" y="256"/>
                    <a:pt x="403" y="248"/>
                    <a:pt x="388" y="244"/>
                  </a:cubicBezTo>
                  <a:cubicBezTo>
                    <a:pt x="373" y="240"/>
                    <a:pt x="369" y="256"/>
                    <a:pt x="358" y="254"/>
                  </a:cubicBezTo>
                  <a:cubicBezTo>
                    <a:pt x="347" y="252"/>
                    <a:pt x="343" y="231"/>
                    <a:pt x="338" y="211"/>
                  </a:cubicBezTo>
                  <a:cubicBezTo>
                    <a:pt x="333" y="191"/>
                    <a:pt x="337" y="174"/>
                    <a:pt x="333" y="166"/>
                  </a:cubicBezTo>
                  <a:cubicBezTo>
                    <a:pt x="329" y="158"/>
                    <a:pt x="311" y="158"/>
                    <a:pt x="296" y="161"/>
                  </a:cubicBezTo>
                  <a:cubicBezTo>
                    <a:pt x="281" y="164"/>
                    <a:pt x="237" y="157"/>
                    <a:pt x="221" y="148"/>
                  </a:cubicBezTo>
                  <a:cubicBezTo>
                    <a:pt x="205" y="139"/>
                    <a:pt x="220" y="103"/>
                    <a:pt x="220" y="94"/>
                  </a:cubicBezTo>
                  <a:cubicBezTo>
                    <a:pt x="220" y="85"/>
                    <a:pt x="215" y="90"/>
                    <a:pt x="211" y="86"/>
                  </a:cubicBezTo>
                  <a:cubicBezTo>
                    <a:pt x="207" y="82"/>
                    <a:pt x="213" y="73"/>
                    <a:pt x="211" y="66"/>
                  </a:cubicBezTo>
                  <a:cubicBezTo>
                    <a:pt x="209" y="59"/>
                    <a:pt x="200" y="57"/>
                    <a:pt x="200" y="51"/>
                  </a:cubicBezTo>
                  <a:cubicBezTo>
                    <a:pt x="187" y="28"/>
                    <a:pt x="187" y="28"/>
                    <a:pt x="187" y="28"/>
                  </a:cubicBezTo>
                  <a:cubicBezTo>
                    <a:pt x="152" y="0"/>
                    <a:pt x="152" y="0"/>
                    <a:pt x="152" y="0"/>
                  </a:cubicBezTo>
                  <a:cubicBezTo>
                    <a:pt x="99" y="9"/>
                    <a:pt x="99" y="9"/>
                    <a:pt x="99" y="9"/>
                  </a:cubicBezTo>
                  <a:cubicBezTo>
                    <a:pt x="30" y="21"/>
                    <a:pt x="30" y="21"/>
                    <a:pt x="30" y="21"/>
                  </a:cubicBezTo>
                  <a:cubicBezTo>
                    <a:pt x="26" y="40"/>
                    <a:pt x="26" y="40"/>
                    <a:pt x="26" y="40"/>
                  </a:cubicBezTo>
                  <a:cubicBezTo>
                    <a:pt x="26" y="40"/>
                    <a:pt x="14" y="52"/>
                    <a:pt x="7" y="56"/>
                  </a:cubicBezTo>
                  <a:cubicBezTo>
                    <a:pt x="0" y="60"/>
                    <a:pt x="15" y="82"/>
                    <a:pt x="16" y="89"/>
                  </a:cubicBezTo>
                  <a:cubicBezTo>
                    <a:pt x="18" y="95"/>
                    <a:pt x="10" y="163"/>
                    <a:pt x="10" y="163"/>
                  </a:cubicBezTo>
                  <a:cubicBezTo>
                    <a:pt x="23" y="175"/>
                    <a:pt x="23" y="175"/>
                    <a:pt x="23" y="175"/>
                  </a:cubicBezTo>
                  <a:cubicBezTo>
                    <a:pt x="23" y="175"/>
                    <a:pt x="39" y="204"/>
                    <a:pt x="48" y="209"/>
                  </a:cubicBezTo>
                  <a:cubicBezTo>
                    <a:pt x="57" y="214"/>
                    <a:pt x="84" y="231"/>
                    <a:pt x="84" y="231"/>
                  </a:cubicBezTo>
                  <a:cubicBezTo>
                    <a:pt x="88" y="245"/>
                    <a:pt x="88" y="245"/>
                    <a:pt x="88" y="245"/>
                  </a:cubicBezTo>
                  <a:cubicBezTo>
                    <a:pt x="88" y="245"/>
                    <a:pt x="123" y="265"/>
                    <a:pt x="133" y="261"/>
                  </a:cubicBezTo>
                  <a:cubicBezTo>
                    <a:pt x="143" y="257"/>
                    <a:pt x="164" y="277"/>
                    <a:pt x="164" y="277"/>
                  </a:cubicBezTo>
                  <a:cubicBezTo>
                    <a:pt x="164" y="277"/>
                    <a:pt x="214" y="305"/>
                    <a:pt x="220" y="306"/>
                  </a:cubicBezTo>
                  <a:cubicBezTo>
                    <a:pt x="226" y="307"/>
                    <a:pt x="260" y="314"/>
                    <a:pt x="258" y="322"/>
                  </a:cubicBezTo>
                  <a:cubicBezTo>
                    <a:pt x="256" y="330"/>
                    <a:pt x="246" y="347"/>
                    <a:pt x="246" y="347"/>
                  </a:cubicBezTo>
                  <a:cubicBezTo>
                    <a:pt x="246" y="347"/>
                    <a:pt x="259" y="355"/>
                    <a:pt x="255" y="362"/>
                  </a:cubicBezTo>
                  <a:cubicBezTo>
                    <a:pt x="251" y="369"/>
                    <a:pt x="239" y="369"/>
                    <a:pt x="239" y="369"/>
                  </a:cubicBezTo>
                  <a:cubicBezTo>
                    <a:pt x="239" y="391"/>
                    <a:pt x="239" y="391"/>
                    <a:pt x="239" y="391"/>
                  </a:cubicBezTo>
                  <a:cubicBezTo>
                    <a:pt x="239" y="391"/>
                    <a:pt x="219" y="418"/>
                    <a:pt x="224" y="425"/>
                  </a:cubicBezTo>
                  <a:cubicBezTo>
                    <a:pt x="229" y="432"/>
                    <a:pt x="245" y="422"/>
                    <a:pt x="254" y="425"/>
                  </a:cubicBezTo>
                  <a:cubicBezTo>
                    <a:pt x="263" y="428"/>
                    <a:pt x="270" y="435"/>
                    <a:pt x="287" y="439"/>
                  </a:cubicBezTo>
                  <a:cubicBezTo>
                    <a:pt x="304" y="443"/>
                    <a:pt x="326" y="441"/>
                    <a:pt x="326" y="441"/>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44" name="Guyana">
              <a:extLst>
                <a:ext uri="{FF2B5EF4-FFF2-40B4-BE49-F238E27FC236}">
                  <a16:creationId xmlns:a16="http://schemas.microsoft.com/office/drawing/2014/main" id="{7CA02096-71F6-4B42-B188-148A67B2EDC3}"/>
                </a:ext>
              </a:extLst>
            </p:cNvPr>
            <p:cNvSpPr>
              <a:spLocks/>
            </p:cNvSpPr>
            <p:nvPr/>
          </p:nvSpPr>
          <p:spPr bwMode="gray">
            <a:xfrm>
              <a:off x="3983974" y="3829674"/>
              <a:ext cx="125434" cy="217388"/>
            </a:xfrm>
            <a:custGeom>
              <a:avLst/>
              <a:gdLst>
                <a:gd name="T0" fmla="*/ 62 w 225"/>
                <a:gd name="T1" fmla="*/ 28 h 388"/>
                <a:gd name="T2" fmla="*/ 42 w 225"/>
                <a:gd name="T3" fmla="*/ 44 h 388"/>
                <a:gd name="T4" fmla="*/ 46 w 225"/>
                <a:gd name="T5" fmla="*/ 64 h 388"/>
                <a:gd name="T6" fmla="*/ 57 w 225"/>
                <a:gd name="T7" fmla="*/ 67 h 388"/>
                <a:gd name="T8" fmla="*/ 47 w 225"/>
                <a:gd name="T9" fmla="*/ 85 h 388"/>
                <a:gd name="T10" fmla="*/ 11 w 225"/>
                <a:gd name="T11" fmla="*/ 93 h 388"/>
                <a:gd name="T12" fmla="*/ 22 w 225"/>
                <a:gd name="T13" fmla="*/ 116 h 388"/>
                <a:gd name="T14" fmla="*/ 4 w 225"/>
                <a:gd name="T15" fmla="*/ 134 h 388"/>
                <a:gd name="T16" fmla="*/ 35 w 225"/>
                <a:gd name="T17" fmla="*/ 172 h 388"/>
                <a:gd name="T18" fmla="*/ 51 w 225"/>
                <a:gd name="T19" fmla="*/ 174 h 388"/>
                <a:gd name="T20" fmla="*/ 56 w 225"/>
                <a:gd name="T21" fmla="*/ 167 h 388"/>
                <a:gd name="T22" fmla="*/ 68 w 225"/>
                <a:gd name="T23" fmla="*/ 182 h 388"/>
                <a:gd name="T24" fmla="*/ 59 w 225"/>
                <a:gd name="T25" fmla="*/ 208 h 388"/>
                <a:gd name="T26" fmla="*/ 81 w 225"/>
                <a:gd name="T27" fmla="*/ 211 h 388"/>
                <a:gd name="T28" fmla="*/ 80 w 225"/>
                <a:gd name="T29" fmla="*/ 230 h 388"/>
                <a:gd name="T30" fmla="*/ 88 w 225"/>
                <a:gd name="T31" fmla="*/ 240 h 388"/>
                <a:gd name="T32" fmla="*/ 74 w 225"/>
                <a:gd name="T33" fmla="*/ 258 h 388"/>
                <a:gd name="T34" fmla="*/ 69 w 225"/>
                <a:gd name="T35" fmla="*/ 286 h 388"/>
                <a:gd name="T36" fmla="*/ 61 w 225"/>
                <a:gd name="T37" fmla="*/ 312 h 388"/>
                <a:gd name="T38" fmla="*/ 78 w 225"/>
                <a:gd name="T39" fmla="*/ 333 h 388"/>
                <a:gd name="T40" fmla="*/ 78 w 225"/>
                <a:gd name="T41" fmla="*/ 353 h 388"/>
                <a:gd name="T42" fmla="*/ 99 w 225"/>
                <a:gd name="T43" fmla="*/ 377 h 388"/>
                <a:gd name="T44" fmla="*/ 108 w 225"/>
                <a:gd name="T45" fmla="*/ 377 h 388"/>
                <a:gd name="T46" fmla="*/ 112 w 225"/>
                <a:gd name="T47" fmla="*/ 388 h 388"/>
                <a:gd name="T48" fmla="*/ 132 w 225"/>
                <a:gd name="T49" fmla="*/ 387 h 388"/>
                <a:gd name="T50" fmla="*/ 143 w 225"/>
                <a:gd name="T51" fmla="*/ 369 h 388"/>
                <a:gd name="T52" fmla="*/ 161 w 225"/>
                <a:gd name="T53" fmla="*/ 368 h 388"/>
                <a:gd name="T54" fmla="*/ 162 w 225"/>
                <a:gd name="T55" fmla="*/ 360 h 388"/>
                <a:gd name="T56" fmla="*/ 183 w 225"/>
                <a:gd name="T57" fmla="*/ 359 h 388"/>
                <a:gd name="T58" fmla="*/ 197 w 225"/>
                <a:gd name="T59" fmla="*/ 342 h 388"/>
                <a:gd name="T60" fmla="*/ 217 w 225"/>
                <a:gd name="T61" fmla="*/ 350 h 388"/>
                <a:gd name="T62" fmla="*/ 221 w 225"/>
                <a:gd name="T63" fmla="*/ 341 h 388"/>
                <a:gd name="T64" fmla="*/ 196 w 225"/>
                <a:gd name="T65" fmla="*/ 302 h 388"/>
                <a:gd name="T66" fmla="*/ 196 w 225"/>
                <a:gd name="T67" fmla="*/ 266 h 388"/>
                <a:gd name="T68" fmla="*/ 182 w 225"/>
                <a:gd name="T69" fmla="*/ 273 h 388"/>
                <a:gd name="T70" fmla="*/ 168 w 225"/>
                <a:gd name="T71" fmla="*/ 251 h 388"/>
                <a:gd name="T72" fmla="*/ 157 w 225"/>
                <a:gd name="T73" fmla="*/ 236 h 388"/>
                <a:gd name="T74" fmla="*/ 167 w 225"/>
                <a:gd name="T75" fmla="*/ 218 h 388"/>
                <a:gd name="T76" fmla="*/ 166 w 225"/>
                <a:gd name="T77" fmla="*/ 190 h 388"/>
                <a:gd name="T78" fmla="*/ 199 w 225"/>
                <a:gd name="T79" fmla="*/ 181 h 388"/>
                <a:gd name="T80" fmla="*/ 195 w 225"/>
                <a:gd name="T81" fmla="*/ 158 h 388"/>
                <a:gd name="T82" fmla="*/ 206 w 225"/>
                <a:gd name="T83" fmla="*/ 136 h 388"/>
                <a:gd name="T84" fmla="*/ 203 w 225"/>
                <a:gd name="T85" fmla="*/ 117 h 388"/>
                <a:gd name="T86" fmla="*/ 185 w 225"/>
                <a:gd name="T87" fmla="*/ 117 h 388"/>
                <a:gd name="T88" fmla="*/ 183 w 225"/>
                <a:gd name="T89" fmla="*/ 102 h 388"/>
                <a:gd name="T90" fmla="*/ 153 w 225"/>
                <a:gd name="T91" fmla="*/ 85 h 388"/>
                <a:gd name="T92" fmla="*/ 133 w 225"/>
                <a:gd name="T93" fmla="*/ 109 h 388"/>
                <a:gd name="T94" fmla="*/ 144 w 225"/>
                <a:gd name="T95" fmla="*/ 61 h 388"/>
                <a:gd name="T96" fmla="*/ 126 w 225"/>
                <a:gd name="T97" fmla="*/ 22 h 388"/>
                <a:gd name="T98" fmla="*/ 83 w 225"/>
                <a:gd name="T99" fmla="*/ 0 h 388"/>
                <a:gd name="T100" fmla="*/ 76 w 225"/>
                <a:gd name="T101" fmla="*/ 12 h 388"/>
                <a:gd name="T102" fmla="*/ 62 w 225"/>
                <a:gd name="T103" fmla="*/ 2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5" h="388">
                  <a:moveTo>
                    <a:pt x="62" y="28"/>
                  </a:moveTo>
                  <a:cubicBezTo>
                    <a:pt x="56" y="30"/>
                    <a:pt x="40" y="35"/>
                    <a:pt x="42" y="44"/>
                  </a:cubicBezTo>
                  <a:cubicBezTo>
                    <a:pt x="44" y="53"/>
                    <a:pt x="42" y="64"/>
                    <a:pt x="46" y="64"/>
                  </a:cubicBezTo>
                  <a:cubicBezTo>
                    <a:pt x="50" y="64"/>
                    <a:pt x="57" y="64"/>
                    <a:pt x="57" y="67"/>
                  </a:cubicBezTo>
                  <a:cubicBezTo>
                    <a:pt x="57" y="71"/>
                    <a:pt x="58" y="81"/>
                    <a:pt x="47" y="85"/>
                  </a:cubicBezTo>
                  <a:cubicBezTo>
                    <a:pt x="36" y="89"/>
                    <a:pt x="11" y="88"/>
                    <a:pt x="11" y="93"/>
                  </a:cubicBezTo>
                  <a:cubicBezTo>
                    <a:pt x="11" y="98"/>
                    <a:pt x="31" y="109"/>
                    <a:pt x="22" y="116"/>
                  </a:cubicBezTo>
                  <a:cubicBezTo>
                    <a:pt x="13" y="124"/>
                    <a:pt x="0" y="123"/>
                    <a:pt x="4" y="134"/>
                  </a:cubicBezTo>
                  <a:cubicBezTo>
                    <a:pt x="8" y="145"/>
                    <a:pt x="35" y="172"/>
                    <a:pt x="35" y="172"/>
                  </a:cubicBezTo>
                  <a:cubicBezTo>
                    <a:pt x="51" y="174"/>
                    <a:pt x="51" y="174"/>
                    <a:pt x="51" y="174"/>
                  </a:cubicBezTo>
                  <a:cubicBezTo>
                    <a:pt x="56" y="167"/>
                    <a:pt x="56" y="167"/>
                    <a:pt x="56" y="167"/>
                  </a:cubicBezTo>
                  <a:cubicBezTo>
                    <a:pt x="56" y="167"/>
                    <a:pt x="65" y="168"/>
                    <a:pt x="68" y="182"/>
                  </a:cubicBezTo>
                  <a:cubicBezTo>
                    <a:pt x="71" y="196"/>
                    <a:pt x="59" y="208"/>
                    <a:pt x="59" y="208"/>
                  </a:cubicBezTo>
                  <a:cubicBezTo>
                    <a:pt x="59" y="217"/>
                    <a:pt x="81" y="211"/>
                    <a:pt x="81" y="211"/>
                  </a:cubicBezTo>
                  <a:cubicBezTo>
                    <a:pt x="80" y="230"/>
                    <a:pt x="80" y="230"/>
                    <a:pt x="80" y="230"/>
                  </a:cubicBezTo>
                  <a:cubicBezTo>
                    <a:pt x="80" y="230"/>
                    <a:pt x="89" y="234"/>
                    <a:pt x="88" y="240"/>
                  </a:cubicBezTo>
                  <a:cubicBezTo>
                    <a:pt x="87" y="246"/>
                    <a:pt x="74" y="258"/>
                    <a:pt x="74" y="258"/>
                  </a:cubicBezTo>
                  <a:cubicBezTo>
                    <a:pt x="69" y="286"/>
                    <a:pt x="69" y="286"/>
                    <a:pt x="69" y="286"/>
                  </a:cubicBezTo>
                  <a:cubicBezTo>
                    <a:pt x="69" y="286"/>
                    <a:pt x="61" y="302"/>
                    <a:pt x="61" y="312"/>
                  </a:cubicBezTo>
                  <a:cubicBezTo>
                    <a:pt x="61" y="322"/>
                    <a:pt x="78" y="325"/>
                    <a:pt x="78" y="333"/>
                  </a:cubicBezTo>
                  <a:cubicBezTo>
                    <a:pt x="78" y="341"/>
                    <a:pt x="78" y="353"/>
                    <a:pt x="78" y="353"/>
                  </a:cubicBezTo>
                  <a:cubicBezTo>
                    <a:pt x="99" y="377"/>
                    <a:pt x="99" y="377"/>
                    <a:pt x="99" y="377"/>
                  </a:cubicBezTo>
                  <a:cubicBezTo>
                    <a:pt x="108" y="377"/>
                    <a:pt x="108" y="377"/>
                    <a:pt x="108" y="377"/>
                  </a:cubicBezTo>
                  <a:cubicBezTo>
                    <a:pt x="112" y="388"/>
                    <a:pt x="112" y="388"/>
                    <a:pt x="112" y="388"/>
                  </a:cubicBezTo>
                  <a:cubicBezTo>
                    <a:pt x="112" y="388"/>
                    <a:pt x="122" y="388"/>
                    <a:pt x="132" y="387"/>
                  </a:cubicBezTo>
                  <a:cubicBezTo>
                    <a:pt x="142" y="386"/>
                    <a:pt x="137" y="373"/>
                    <a:pt x="143" y="369"/>
                  </a:cubicBezTo>
                  <a:cubicBezTo>
                    <a:pt x="149" y="365"/>
                    <a:pt x="161" y="368"/>
                    <a:pt x="161" y="368"/>
                  </a:cubicBezTo>
                  <a:cubicBezTo>
                    <a:pt x="162" y="360"/>
                    <a:pt x="162" y="360"/>
                    <a:pt x="162" y="360"/>
                  </a:cubicBezTo>
                  <a:cubicBezTo>
                    <a:pt x="183" y="359"/>
                    <a:pt x="183" y="359"/>
                    <a:pt x="183" y="359"/>
                  </a:cubicBezTo>
                  <a:cubicBezTo>
                    <a:pt x="183" y="359"/>
                    <a:pt x="187" y="343"/>
                    <a:pt x="197" y="342"/>
                  </a:cubicBezTo>
                  <a:cubicBezTo>
                    <a:pt x="207" y="341"/>
                    <a:pt x="209" y="352"/>
                    <a:pt x="217" y="350"/>
                  </a:cubicBezTo>
                  <a:cubicBezTo>
                    <a:pt x="225" y="348"/>
                    <a:pt x="221" y="341"/>
                    <a:pt x="221" y="341"/>
                  </a:cubicBezTo>
                  <a:cubicBezTo>
                    <a:pt x="221" y="341"/>
                    <a:pt x="205" y="310"/>
                    <a:pt x="196" y="302"/>
                  </a:cubicBezTo>
                  <a:cubicBezTo>
                    <a:pt x="187" y="294"/>
                    <a:pt x="197" y="273"/>
                    <a:pt x="196" y="266"/>
                  </a:cubicBezTo>
                  <a:cubicBezTo>
                    <a:pt x="195" y="259"/>
                    <a:pt x="186" y="274"/>
                    <a:pt x="182" y="273"/>
                  </a:cubicBezTo>
                  <a:cubicBezTo>
                    <a:pt x="178" y="272"/>
                    <a:pt x="168" y="258"/>
                    <a:pt x="168" y="251"/>
                  </a:cubicBezTo>
                  <a:cubicBezTo>
                    <a:pt x="168" y="244"/>
                    <a:pt x="158" y="246"/>
                    <a:pt x="157" y="236"/>
                  </a:cubicBezTo>
                  <a:cubicBezTo>
                    <a:pt x="156" y="225"/>
                    <a:pt x="167" y="218"/>
                    <a:pt x="167" y="218"/>
                  </a:cubicBezTo>
                  <a:cubicBezTo>
                    <a:pt x="167" y="218"/>
                    <a:pt x="163" y="199"/>
                    <a:pt x="166" y="190"/>
                  </a:cubicBezTo>
                  <a:cubicBezTo>
                    <a:pt x="169" y="181"/>
                    <a:pt x="187" y="184"/>
                    <a:pt x="199" y="181"/>
                  </a:cubicBezTo>
                  <a:cubicBezTo>
                    <a:pt x="211" y="178"/>
                    <a:pt x="195" y="166"/>
                    <a:pt x="195" y="158"/>
                  </a:cubicBezTo>
                  <a:cubicBezTo>
                    <a:pt x="195" y="150"/>
                    <a:pt x="206" y="136"/>
                    <a:pt x="206" y="136"/>
                  </a:cubicBezTo>
                  <a:cubicBezTo>
                    <a:pt x="206" y="136"/>
                    <a:pt x="206" y="125"/>
                    <a:pt x="203" y="117"/>
                  </a:cubicBezTo>
                  <a:cubicBezTo>
                    <a:pt x="200" y="109"/>
                    <a:pt x="185" y="117"/>
                    <a:pt x="185" y="117"/>
                  </a:cubicBezTo>
                  <a:cubicBezTo>
                    <a:pt x="183" y="102"/>
                    <a:pt x="183" y="102"/>
                    <a:pt x="183" y="102"/>
                  </a:cubicBezTo>
                  <a:cubicBezTo>
                    <a:pt x="183" y="102"/>
                    <a:pt x="166" y="87"/>
                    <a:pt x="153" y="85"/>
                  </a:cubicBezTo>
                  <a:cubicBezTo>
                    <a:pt x="140" y="83"/>
                    <a:pt x="133" y="109"/>
                    <a:pt x="133" y="109"/>
                  </a:cubicBezTo>
                  <a:cubicBezTo>
                    <a:pt x="133" y="109"/>
                    <a:pt x="142" y="69"/>
                    <a:pt x="144" y="61"/>
                  </a:cubicBezTo>
                  <a:cubicBezTo>
                    <a:pt x="146" y="53"/>
                    <a:pt x="132" y="30"/>
                    <a:pt x="126" y="22"/>
                  </a:cubicBezTo>
                  <a:cubicBezTo>
                    <a:pt x="120" y="14"/>
                    <a:pt x="83" y="0"/>
                    <a:pt x="83" y="0"/>
                  </a:cubicBezTo>
                  <a:cubicBezTo>
                    <a:pt x="76" y="12"/>
                    <a:pt x="76" y="12"/>
                    <a:pt x="76" y="12"/>
                  </a:cubicBezTo>
                  <a:cubicBezTo>
                    <a:pt x="76" y="12"/>
                    <a:pt x="69" y="26"/>
                    <a:pt x="62" y="28"/>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50" name="French Guiana">
              <a:extLst>
                <a:ext uri="{FF2B5EF4-FFF2-40B4-BE49-F238E27FC236}">
                  <a16:creationId xmlns:a16="http://schemas.microsoft.com/office/drawing/2014/main" id="{3D7B123B-E816-4C34-833C-6AEBEC4120F5}"/>
                </a:ext>
              </a:extLst>
            </p:cNvPr>
            <p:cNvSpPr>
              <a:spLocks/>
            </p:cNvSpPr>
            <p:nvPr/>
          </p:nvSpPr>
          <p:spPr bwMode="gray">
            <a:xfrm>
              <a:off x="4164291" y="3909128"/>
              <a:ext cx="76195" cy="110951"/>
            </a:xfrm>
            <a:custGeom>
              <a:avLst/>
              <a:gdLst>
                <a:gd name="T0" fmla="*/ 18 w 24"/>
                <a:gd name="T1" fmla="*/ 8 h 35"/>
                <a:gd name="T2" fmla="*/ 16 w 24"/>
                <a:gd name="T3" fmla="*/ 3 h 35"/>
                <a:gd name="T4" fmla="*/ 12 w 24"/>
                <a:gd name="T5" fmla="*/ 3 h 35"/>
                <a:gd name="T6" fmla="*/ 6 w 24"/>
                <a:gd name="T7" fmla="*/ 0 h 35"/>
                <a:gd name="T8" fmla="*/ 5 w 24"/>
                <a:gd name="T9" fmla="*/ 4 h 35"/>
                <a:gd name="T10" fmla="*/ 1 w 24"/>
                <a:gd name="T11" fmla="*/ 8 h 35"/>
                <a:gd name="T12" fmla="*/ 2 w 24"/>
                <a:gd name="T13" fmla="*/ 16 h 35"/>
                <a:gd name="T14" fmla="*/ 5 w 24"/>
                <a:gd name="T15" fmla="*/ 21 h 35"/>
                <a:gd name="T16" fmla="*/ 3 w 24"/>
                <a:gd name="T17" fmla="*/ 24 h 35"/>
                <a:gd name="T18" fmla="*/ 4 w 24"/>
                <a:gd name="T19" fmla="*/ 29 h 35"/>
                <a:gd name="T20" fmla="*/ 2 w 24"/>
                <a:gd name="T21" fmla="*/ 30 h 35"/>
                <a:gd name="T22" fmla="*/ 0 w 24"/>
                <a:gd name="T23" fmla="*/ 33 h 35"/>
                <a:gd name="T24" fmla="*/ 3 w 24"/>
                <a:gd name="T25" fmla="*/ 35 h 35"/>
                <a:gd name="T26" fmla="*/ 6 w 24"/>
                <a:gd name="T27" fmla="*/ 33 h 35"/>
                <a:gd name="T28" fmla="*/ 8 w 24"/>
                <a:gd name="T29" fmla="*/ 33 h 35"/>
                <a:gd name="T30" fmla="*/ 10 w 24"/>
                <a:gd name="T31" fmla="*/ 34 h 35"/>
                <a:gd name="T32" fmla="*/ 11 w 24"/>
                <a:gd name="T33" fmla="*/ 33 h 35"/>
                <a:gd name="T34" fmla="*/ 11 w 24"/>
                <a:gd name="T35" fmla="*/ 34 h 35"/>
                <a:gd name="T36" fmla="*/ 15 w 24"/>
                <a:gd name="T37" fmla="*/ 33 h 35"/>
                <a:gd name="T38" fmla="*/ 19 w 24"/>
                <a:gd name="T39" fmla="*/ 26 h 35"/>
                <a:gd name="T40" fmla="*/ 22 w 24"/>
                <a:gd name="T41" fmla="*/ 20 h 35"/>
                <a:gd name="T42" fmla="*/ 24 w 24"/>
                <a:gd name="T43" fmla="*/ 16 h 35"/>
                <a:gd name="T44" fmla="*/ 22 w 24"/>
                <a:gd name="T45" fmla="*/ 10 h 35"/>
                <a:gd name="T46" fmla="*/ 18 w 24"/>
                <a:gd name="T47"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35">
                  <a:moveTo>
                    <a:pt x="18" y="8"/>
                  </a:moveTo>
                  <a:cubicBezTo>
                    <a:pt x="16" y="3"/>
                    <a:pt x="16" y="3"/>
                    <a:pt x="16" y="3"/>
                  </a:cubicBezTo>
                  <a:cubicBezTo>
                    <a:pt x="12" y="3"/>
                    <a:pt x="12" y="3"/>
                    <a:pt x="12" y="3"/>
                  </a:cubicBezTo>
                  <a:cubicBezTo>
                    <a:pt x="12" y="3"/>
                    <a:pt x="7" y="1"/>
                    <a:pt x="6" y="0"/>
                  </a:cubicBezTo>
                  <a:cubicBezTo>
                    <a:pt x="5" y="1"/>
                    <a:pt x="5" y="3"/>
                    <a:pt x="5" y="4"/>
                  </a:cubicBezTo>
                  <a:cubicBezTo>
                    <a:pt x="5" y="5"/>
                    <a:pt x="3" y="5"/>
                    <a:pt x="1" y="8"/>
                  </a:cubicBezTo>
                  <a:cubicBezTo>
                    <a:pt x="0" y="10"/>
                    <a:pt x="1" y="14"/>
                    <a:pt x="2" y="16"/>
                  </a:cubicBezTo>
                  <a:cubicBezTo>
                    <a:pt x="2" y="19"/>
                    <a:pt x="5" y="19"/>
                    <a:pt x="5" y="21"/>
                  </a:cubicBezTo>
                  <a:cubicBezTo>
                    <a:pt x="6" y="23"/>
                    <a:pt x="3" y="24"/>
                    <a:pt x="3" y="24"/>
                  </a:cubicBezTo>
                  <a:cubicBezTo>
                    <a:pt x="4" y="29"/>
                    <a:pt x="4" y="29"/>
                    <a:pt x="4" y="29"/>
                  </a:cubicBezTo>
                  <a:cubicBezTo>
                    <a:pt x="4" y="29"/>
                    <a:pt x="2" y="29"/>
                    <a:pt x="2" y="30"/>
                  </a:cubicBezTo>
                  <a:cubicBezTo>
                    <a:pt x="1" y="31"/>
                    <a:pt x="0" y="33"/>
                    <a:pt x="0" y="33"/>
                  </a:cubicBezTo>
                  <a:cubicBezTo>
                    <a:pt x="0" y="33"/>
                    <a:pt x="1" y="35"/>
                    <a:pt x="3" y="35"/>
                  </a:cubicBezTo>
                  <a:cubicBezTo>
                    <a:pt x="6" y="35"/>
                    <a:pt x="5" y="34"/>
                    <a:pt x="6" y="33"/>
                  </a:cubicBezTo>
                  <a:cubicBezTo>
                    <a:pt x="7" y="32"/>
                    <a:pt x="8" y="33"/>
                    <a:pt x="8" y="33"/>
                  </a:cubicBezTo>
                  <a:cubicBezTo>
                    <a:pt x="10" y="34"/>
                    <a:pt x="10" y="34"/>
                    <a:pt x="10" y="34"/>
                  </a:cubicBezTo>
                  <a:cubicBezTo>
                    <a:pt x="11" y="33"/>
                    <a:pt x="11" y="33"/>
                    <a:pt x="11" y="33"/>
                  </a:cubicBezTo>
                  <a:cubicBezTo>
                    <a:pt x="11" y="33"/>
                    <a:pt x="11" y="34"/>
                    <a:pt x="11" y="34"/>
                  </a:cubicBezTo>
                  <a:cubicBezTo>
                    <a:pt x="12" y="34"/>
                    <a:pt x="15" y="33"/>
                    <a:pt x="15" y="33"/>
                  </a:cubicBezTo>
                  <a:cubicBezTo>
                    <a:pt x="18" y="31"/>
                    <a:pt x="18" y="28"/>
                    <a:pt x="19" y="26"/>
                  </a:cubicBezTo>
                  <a:cubicBezTo>
                    <a:pt x="19" y="24"/>
                    <a:pt x="21" y="21"/>
                    <a:pt x="22" y="20"/>
                  </a:cubicBezTo>
                  <a:cubicBezTo>
                    <a:pt x="23" y="19"/>
                    <a:pt x="24" y="16"/>
                    <a:pt x="24" y="16"/>
                  </a:cubicBezTo>
                  <a:cubicBezTo>
                    <a:pt x="24" y="15"/>
                    <a:pt x="22" y="10"/>
                    <a:pt x="22" y="10"/>
                  </a:cubicBezTo>
                  <a:cubicBezTo>
                    <a:pt x="18" y="8"/>
                    <a:pt x="18" y="8"/>
                    <a:pt x="18" y="8"/>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48" name="Ecuador">
              <a:extLst>
                <a:ext uri="{FF2B5EF4-FFF2-40B4-BE49-F238E27FC236}">
                  <a16:creationId xmlns:a16="http://schemas.microsoft.com/office/drawing/2014/main" id="{90189C3E-1E1B-4A49-AA48-D6CCBD821B0E}"/>
                </a:ext>
              </a:extLst>
            </p:cNvPr>
            <p:cNvSpPr>
              <a:spLocks noEditPoints="1"/>
            </p:cNvSpPr>
            <p:nvPr/>
          </p:nvSpPr>
          <p:spPr bwMode="gray">
            <a:xfrm>
              <a:off x="3458420" y="4034367"/>
              <a:ext cx="155602" cy="198346"/>
            </a:xfrm>
            <a:custGeom>
              <a:avLst/>
              <a:gdLst>
                <a:gd name="T0" fmla="*/ 42 w 280"/>
                <a:gd name="T1" fmla="*/ 249 h 353"/>
                <a:gd name="T2" fmla="*/ 49 w 280"/>
                <a:gd name="T3" fmla="*/ 229 h 353"/>
                <a:gd name="T4" fmla="*/ 42 w 280"/>
                <a:gd name="T5" fmla="*/ 249 h 353"/>
                <a:gd name="T6" fmla="*/ 277 w 280"/>
                <a:gd name="T7" fmla="*/ 114 h 353"/>
                <a:gd name="T8" fmla="*/ 261 w 280"/>
                <a:gd name="T9" fmla="*/ 102 h 353"/>
                <a:gd name="T10" fmla="*/ 271 w 280"/>
                <a:gd name="T11" fmla="*/ 84 h 353"/>
                <a:gd name="T12" fmla="*/ 252 w 280"/>
                <a:gd name="T13" fmla="*/ 83 h 353"/>
                <a:gd name="T14" fmla="*/ 230 w 280"/>
                <a:gd name="T15" fmla="*/ 61 h 353"/>
                <a:gd name="T16" fmla="*/ 218 w 280"/>
                <a:gd name="T17" fmla="*/ 73 h 353"/>
                <a:gd name="T18" fmla="*/ 195 w 280"/>
                <a:gd name="T19" fmla="*/ 65 h 353"/>
                <a:gd name="T20" fmla="*/ 175 w 280"/>
                <a:gd name="T21" fmla="*/ 64 h 353"/>
                <a:gd name="T22" fmla="*/ 163 w 280"/>
                <a:gd name="T23" fmla="*/ 43 h 353"/>
                <a:gd name="T24" fmla="*/ 140 w 280"/>
                <a:gd name="T25" fmla="*/ 40 h 353"/>
                <a:gd name="T26" fmla="*/ 121 w 280"/>
                <a:gd name="T27" fmla="*/ 22 h 353"/>
                <a:gd name="T28" fmla="*/ 98 w 280"/>
                <a:gd name="T29" fmla="*/ 0 h 353"/>
                <a:gd name="T30" fmla="*/ 101 w 280"/>
                <a:gd name="T31" fmla="*/ 23 h 353"/>
                <a:gd name="T32" fmla="*/ 68 w 280"/>
                <a:gd name="T33" fmla="*/ 37 h 353"/>
                <a:gd name="T34" fmla="*/ 66 w 280"/>
                <a:gd name="T35" fmla="*/ 27 h 353"/>
                <a:gd name="T36" fmla="*/ 44 w 280"/>
                <a:gd name="T37" fmla="*/ 46 h 353"/>
                <a:gd name="T38" fmla="*/ 49 w 280"/>
                <a:gd name="T39" fmla="*/ 77 h 353"/>
                <a:gd name="T40" fmla="*/ 31 w 280"/>
                <a:gd name="T41" fmla="*/ 97 h 353"/>
                <a:gd name="T42" fmla="*/ 39 w 280"/>
                <a:gd name="T43" fmla="*/ 119 h 353"/>
                <a:gd name="T44" fmla="*/ 27 w 280"/>
                <a:gd name="T45" fmla="*/ 119 h 353"/>
                <a:gd name="T46" fmla="*/ 26 w 280"/>
                <a:gd name="T47" fmla="*/ 130 h 353"/>
                <a:gd name="T48" fmla="*/ 3 w 280"/>
                <a:gd name="T49" fmla="*/ 144 h 353"/>
                <a:gd name="T50" fmla="*/ 19 w 280"/>
                <a:gd name="T51" fmla="*/ 154 h 353"/>
                <a:gd name="T52" fmla="*/ 8 w 280"/>
                <a:gd name="T53" fmla="*/ 173 h 353"/>
                <a:gd name="T54" fmla="*/ 18 w 280"/>
                <a:gd name="T55" fmla="*/ 187 h 353"/>
                <a:gd name="T56" fmla="*/ 3 w 280"/>
                <a:gd name="T57" fmla="*/ 201 h 353"/>
                <a:gd name="T58" fmla="*/ 12 w 280"/>
                <a:gd name="T59" fmla="*/ 207 h 353"/>
                <a:gd name="T60" fmla="*/ 22 w 280"/>
                <a:gd name="T61" fmla="*/ 228 h 353"/>
                <a:gd name="T62" fmla="*/ 48 w 280"/>
                <a:gd name="T63" fmla="*/ 214 h 353"/>
                <a:gd name="T64" fmla="*/ 65 w 280"/>
                <a:gd name="T65" fmla="*/ 219 h 353"/>
                <a:gd name="T66" fmla="*/ 61 w 280"/>
                <a:gd name="T67" fmla="*/ 258 h 353"/>
                <a:gd name="T68" fmla="*/ 36 w 280"/>
                <a:gd name="T69" fmla="*/ 271 h 353"/>
                <a:gd name="T70" fmla="*/ 51 w 280"/>
                <a:gd name="T71" fmla="*/ 286 h 353"/>
                <a:gd name="T72" fmla="*/ 30 w 280"/>
                <a:gd name="T73" fmla="*/ 307 h 353"/>
                <a:gd name="T74" fmla="*/ 40 w 280"/>
                <a:gd name="T75" fmla="*/ 315 h 353"/>
                <a:gd name="T76" fmla="*/ 33 w 280"/>
                <a:gd name="T77" fmla="*/ 329 h 353"/>
                <a:gd name="T78" fmla="*/ 53 w 280"/>
                <a:gd name="T79" fmla="*/ 315 h 353"/>
                <a:gd name="T80" fmla="*/ 62 w 280"/>
                <a:gd name="T81" fmla="*/ 326 h 353"/>
                <a:gd name="T82" fmla="*/ 81 w 280"/>
                <a:gd name="T83" fmla="*/ 324 h 353"/>
                <a:gd name="T84" fmla="*/ 96 w 280"/>
                <a:gd name="T85" fmla="*/ 353 h 353"/>
                <a:gd name="T86" fmla="*/ 108 w 280"/>
                <a:gd name="T87" fmla="*/ 339 h 353"/>
                <a:gd name="T88" fmla="*/ 121 w 280"/>
                <a:gd name="T89" fmla="*/ 335 h 353"/>
                <a:gd name="T90" fmla="*/ 125 w 280"/>
                <a:gd name="T91" fmla="*/ 299 h 353"/>
                <a:gd name="T92" fmla="*/ 135 w 280"/>
                <a:gd name="T93" fmla="*/ 284 h 353"/>
                <a:gd name="T94" fmla="*/ 132 w 280"/>
                <a:gd name="T95" fmla="*/ 272 h 353"/>
                <a:gd name="T96" fmla="*/ 140 w 280"/>
                <a:gd name="T97" fmla="*/ 269 h 353"/>
                <a:gd name="T98" fmla="*/ 154 w 280"/>
                <a:gd name="T99" fmla="*/ 251 h 353"/>
                <a:gd name="T100" fmla="*/ 211 w 280"/>
                <a:gd name="T101" fmla="*/ 226 h 353"/>
                <a:gd name="T102" fmla="*/ 262 w 280"/>
                <a:gd name="T103" fmla="*/ 170 h 353"/>
                <a:gd name="T104" fmla="*/ 270 w 280"/>
                <a:gd name="T105" fmla="*/ 141 h 353"/>
                <a:gd name="T106" fmla="*/ 280 w 280"/>
                <a:gd name="T107" fmla="*/ 136 h 353"/>
                <a:gd name="T108" fmla="*/ 277 w 280"/>
                <a:gd name="T109" fmla="*/ 1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0" h="353">
                  <a:moveTo>
                    <a:pt x="42" y="249"/>
                  </a:moveTo>
                  <a:cubicBezTo>
                    <a:pt x="57" y="245"/>
                    <a:pt x="59" y="225"/>
                    <a:pt x="49" y="229"/>
                  </a:cubicBezTo>
                  <a:cubicBezTo>
                    <a:pt x="40" y="233"/>
                    <a:pt x="34" y="250"/>
                    <a:pt x="42" y="249"/>
                  </a:cubicBezTo>
                  <a:close/>
                  <a:moveTo>
                    <a:pt x="277" y="114"/>
                  </a:moveTo>
                  <a:cubicBezTo>
                    <a:pt x="261" y="102"/>
                    <a:pt x="261" y="102"/>
                    <a:pt x="261" y="102"/>
                  </a:cubicBezTo>
                  <a:cubicBezTo>
                    <a:pt x="261" y="102"/>
                    <a:pt x="272" y="102"/>
                    <a:pt x="271" y="84"/>
                  </a:cubicBezTo>
                  <a:cubicBezTo>
                    <a:pt x="265" y="83"/>
                    <a:pt x="258" y="83"/>
                    <a:pt x="252" y="83"/>
                  </a:cubicBezTo>
                  <a:cubicBezTo>
                    <a:pt x="239" y="82"/>
                    <a:pt x="247" y="64"/>
                    <a:pt x="230" y="61"/>
                  </a:cubicBezTo>
                  <a:cubicBezTo>
                    <a:pt x="213" y="58"/>
                    <a:pt x="225" y="71"/>
                    <a:pt x="218" y="73"/>
                  </a:cubicBezTo>
                  <a:cubicBezTo>
                    <a:pt x="211" y="75"/>
                    <a:pt x="195" y="65"/>
                    <a:pt x="195" y="65"/>
                  </a:cubicBezTo>
                  <a:cubicBezTo>
                    <a:pt x="195" y="65"/>
                    <a:pt x="184" y="70"/>
                    <a:pt x="175" y="64"/>
                  </a:cubicBezTo>
                  <a:cubicBezTo>
                    <a:pt x="166" y="58"/>
                    <a:pt x="173" y="51"/>
                    <a:pt x="163" y="43"/>
                  </a:cubicBezTo>
                  <a:cubicBezTo>
                    <a:pt x="153" y="35"/>
                    <a:pt x="140" y="40"/>
                    <a:pt x="140" y="40"/>
                  </a:cubicBezTo>
                  <a:cubicBezTo>
                    <a:pt x="140" y="40"/>
                    <a:pt x="132" y="28"/>
                    <a:pt x="121" y="22"/>
                  </a:cubicBezTo>
                  <a:cubicBezTo>
                    <a:pt x="113" y="19"/>
                    <a:pt x="103" y="6"/>
                    <a:pt x="98" y="0"/>
                  </a:cubicBezTo>
                  <a:cubicBezTo>
                    <a:pt x="99" y="10"/>
                    <a:pt x="105" y="14"/>
                    <a:pt x="101" y="23"/>
                  </a:cubicBezTo>
                  <a:cubicBezTo>
                    <a:pt x="98" y="32"/>
                    <a:pt x="68" y="37"/>
                    <a:pt x="68" y="37"/>
                  </a:cubicBezTo>
                  <a:cubicBezTo>
                    <a:pt x="66" y="27"/>
                    <a:pt x="66" y="27"/>
                    <a:pt x="66" y="27"/>
                  </a:cubicBezTo>
                  <a:cubicBezTo>
                    <a:pt x="66" y="27"/>
                    <a:pt x="46" y="38"/>
                    <a:pt x="44" y="46"/>
                  </a:cubicBezTo>
                  <a:cubicBezTo>
                    <a:pt x="41" y="54"/>
                    <a:pt x="51" y="64"/>
                    <a:pt x="49" y="77"/>
                  </a:cubicBezTo>
                  <a:cubicBezTo>
                    <a:pt x="48" y="90"/>
                    <a:pt x="35" y="89"/>
                    <a:pt x="31" y="97"/>
                  </a:cubicBezTo>
                  <a:cubicBezTo>
                    <a:pt x="26" y="105"/>
                    <a:pt x="39" y="119"/>
                    <a:pt x="39" y="119"/>
                  </a:cubicBezTo>
                  <a:cubicBezTo>
                    <a:pt x="27" y="119"/>
                    <a:pt x="27" y="119"/>
                    <a:pt x="27" y="119"/>
                  </a:cubicBezTo>
                  <a:cubicBezTo>
                    <a:pt x="26" y="130"/>
                    <a:pt x="26" y="130"/>
                    <a:pt x="26" y="130"/>
                  </a:cubicBezTo>
                  <a:cubicBezTo>
                    <a:pt x="3" y="144"/>
                    <a:pt x="3" y="144"/>
                    <a:pt x="3" y="144"/>
                  </a:cubicBezTo>
                  <a:cubicBezTo>
                    <a:pt x="19" y="154"/>
                    <a:pt x="19" y="154"/>
                    <a:pt x="19" y="154"/>
                  </a:cubicBezTo>
                  <a:cubicBezTo>
                    <a:pt x="8" y="173"/>
                    <a:pt x="8" y="173"/>
                    <a:pt x="8" y="173"/>
                  </a:cubicBezTo>
                  <a:cubicBezTo>
                    <a:pt x="8" y="173"/>
                    <a:pt x="19" y="176"/>
                    <a:pt x="18" y="187"/>
                  </a:cubicBezTo>
                  <a:cubicBezTo>
                    <a:pt x="16" y="198"/>
                    <a:pt x="3" y="201"/>
                    <a:pt x="3" y="201"/>
                  </a:cubicBezTo>
                  <a:cubicBezTo>
                    <a:pt x="12" y="207"/>
                    <a:pt x="12" y="207"/>
                    <a:pt x="12" y="207"/>
                  </a:cubicBezTo>
                  <a:cubicBezTo>
                    <a:pt x="12" y="207"/>
                    <a:pt x="0" y="221"/>
                    <a:pt x="22" y="228"/>
                  </a:cubicBezTo>
                  <a:cubicBezTo>
                    <a:pt x="45" y="235"/>
                    <a:pt x="48" y="214"/>
                    <a:pt x="48" y="214"/>
                  </a:cubicBezTo>
                  <a:cubicBezTo>
                    <a:pt x="65" y="219"/>
                    <a:pt x="65" y="219"/>
                    <a:pt x="65" y="219"/>
                  </a:cubicBezTo>
                  <a:cubicBezTo>
                    <a:pt x="73" y="227"/>
                    <a:pt x="64" y="246"/>
                    <a:pt x="61" y="258"/>
                  </a:cubicBezTo>
                  <a:cubicBezTo>
                    <a:pt x="59" y="270"/>
                    <a:pt x="36" y="271"/>
                    <a:pt x="36" y="271"/>
                  </a:cubicBezTo>
                  <a:cubicBezTo>
                    <a:pt x="36" y="271"/>
                    <a:pt x="60" y="277"/>
                    <a:pt x="51" y="286"/>
                  </a:cubicBezTo>
                  <a:cubicBezTo>
                    <a:pt x="43" y="295"/>
                    <a:pt x="30" y="307"/>
                    <a:pt x="30" y="307"/>
                  </a:cubicBezTo>
                  <a:cubicBezTo>
                    <a:pt x="40" y="315"/>
                    <a:pt x="40" y="315"/>
                    <a:pt x="40" y="315"/>
                  </a:cubicBezTo>
                  <a:cubicBezTo>
                    <a:pt x="40" y="315"/>
                    <a:pt x="24" y="324"/>
                    <a:pt x="33" y="329"/>
                  </a:cubicBezTo>
                  <a:cubicBezTo>
                    <a:pt x="43" y="333"/>
                    <a:pt x="53" y="315"/>
                    <a:pt x="53" y="315"/>
                  </a:cubicBezTo>
                  <a:cubicBezTo>
                    <a:pt x="62" y="326"/>
                    <a:pt x="62" y="326"/>
                    <a:pt x="62" y="326"/>
                  </a:cubicBezTo>
                  <a:cubicBezTo>
                    <a:pt x="62" y="326"/>
                    <a:pt x="75" y="320"/>
                    <a:pt x="81" y="324"/>
                  </a:cubicBezTo>
                  <a:cubicBezTo>
                    <a:pt x="86" y="329"/>
                    <a:pt x="82" y="353"/>
                    <a:pt x="96" y="353"/>
                  </a:cubicBezTo>
                  <a:cubicBezTo>
                    <a:pt x="109" y="353"/>
                    <a:pt x="104" y="342"/>
                    <a:pt x="108" y="339"/>
                  </a:cubicBezTo>
                  <a:cubicBezTo>
                    <a:pt x="112" y="337"/>
                    <a:pt x="121" y="335"/>
                    <a:pt x="121" y="335"/>
                  </a:cubicBezTo>
                  <a:cubicBezTo>
                    <a:pt x="121" y="335"/>
                    <a:pt x="124" y="308"/>
                    <a:pt x="125" y="299"/>
                  </a:cubicBezTo>
                  <a:cubicBezTo>
                    <a:pt x="127" y="289"/>
                    <a:pt x="135" y="284"/>
                    <a:pt x="135" y="284"/>
                  </a:cubicBezTo>
                  <a:cubicBezTo>
                    <a:pt x="132" y="272"/>
                    <a:pt x="132" y="272"/>
                    <a:pt x="132" y="272"/>
                  </a:cubicBezTo>
                  <a:cubicBezTo>
                    <a:pt x="140" y="269"/>
                    <a:pt x="140" y="269"/>
                    <a:pt x="140" y="269"/>
                  </a:cubicBezTo>
                  <a:cubicBezTo>
                    <a:pt x="140" y="269"/>
                    <a:pt x="140" y="262"/>
                    <a:pt x="154" y="251"/>
                  </a:cubicBezTo>
                  <a:cubicBezTo>
                    <a:pt x="167" y="240"/>
                    <a:pt x="188" y="240"/>
                    <a:pt x="211" y="226"/>
                  </a:cubicBezTo>
                  <a:cubicBezTo>
                    <a:pt x="234" y="211"/>
                    <a:pt x="262" y="170"/>
                    <a:pt x="262" y="170"/>
                  </a:cubicBezTo>
                  <a:cubicBezTo>
                    <a:pt x="270" y="141"/>
                    <a:pt x="270" y="141"/>
                    <a:pt x="270" y="141"/>
                  </a:cubicBezTo>
                  <a:cubicBezTo>
                    <a:pt x="280" y="136"/>
                    <a:pt x="280" y="136"/>
                    <a:pt x="280" y="136"/>
                  </a:cubicBezTo>
                  <a:lnTo>
                    <a:pt x="277" y="114"/>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51" name="Colombia">
              <a:extLst>
                <a:ext uri="{FF2B5EF4-FFF2-40B4-BE49-F238E27FC236}">
                  <a16:creationId xmlns:a16="http://schemas.microsoft.com/office/drawing/2014/main" id="{3902A2CE-0D63-4865-A917-C81A0676F6D0}"/>
                </a:ext>
              </a:extLst>
            </p:cNvPr>
            <p:cNvSpPr>
              <a:spLocks/>
            </p:cNvSpPr>
            <p:nvPr/>
          </p:nvSpPr>
          <p:spPr bwMode="gray">
            <a:xfrm>
              <a:off x="3512403" y="3702732"/>
              <a:ext cx="325495" cy="506180"/>
            </a:xfrm>
            <a:custGeom>
              <a:avLst/>
              <a:gdLst>
                <a:gd name="T0" fmla="*/ 65 w 581"/>
                <a:gd name="T1" fmla="*/ 635 h 902"/>
                <a:gd name="T2" fmla="*/ 120 w 581"/>
                <a:gd name="T3" fmla="*/ 665 h 902"/>
                <a:gd name="T4" fmla="*/ 185 w 581"/>
                <a:gd name="T5" fmla="*/ 680 h 902"/>
                <a:gd name="T6" fmla="*/ 238 w 581"/>
                <a:gd name="T7" fmla="*/ 732 h 902"/>
                <a:gd name="T8" fmla="*/ 264 w 581"/>
                <a:gd name="T9" fmla="*/ 772 h 902"/>
                <a:gd name="T10" fmla="*/ 329 w 581"/>
                <a:gd name="T11" fmla="*/ 813 h 902"/>
                <a:gd name="T12" fmla="*/ 388 w 581"/>
                <a:gd name="T13" fmla="*/ 797 h 902"/>
                <a:gd name="T14" fmla="*/ 415 w 581"/>
                <a:gd name="T15" fmla="*/ 846 h 902"/>
                <a:gd name="T16" fmla="*/ 427 w 581"/>
                <a:gd name="T17" fmla="*/ 898 h 902"/>
                <a:gd name="T18" fmla="*/ 444 w 581"/>
                <a:gd name="T19" fmla="*/ 831 h 902"/>
                <a:gd name="T20" fmla="*/ 464 w 581"/>
                <a:gd name="T21" fmla="*/ 749 h 902"/>
                <a:gd name="T22" fmla="*/ 425 w 581"/>
                <a:gd name="T23" fmla="*/ 688 h 902"/>
                <a:gd name="T24" fmla="*/ 471 w 581"/>
                <a:gd name="T25" fmla="*/ 643 h 902"/>
                <a:gd name="T26" fmla="*/ 442 w 581"/>
                <a:gd name="T27" fmla="*/ 616 h 902"/>
                <a:gd name="T28" fmla="*/ 510 w 581"/>
                <a:gd name="T29" fmla="*/ 586 h 902"/>
                <a:gd name="T30" fmla="*/ 555 w 581"/>
                <a:gd name="T31" fmla="*/ 563 h 902"/>
                <a:gd name="T32" fmla="*/ 564 w 581"/>
                <a:gd name="T33" fmla="*/ 614 h 902"/>
                <a:gd name="T34" fmla="*/ 566 w 581"/>
                <a:gd name="T35" fmla="*/ 569 h 902"/>
                <a:gd name="T36" fmla="*/ 531 w 581"/>
                <a:gd name="T37" fmla="*/ 524 h 902"/>
                <a:gd name="T38" fmla="*/ 543 w 581"/>
                <a:gd name="T39" fmla="*/ 460 h 902"/>
                <a:gd name="T40" fmla="*/ 533 w 581"/>
                <a:gd name="T41" fmla="*/ 395 h 902"/>
                <a:gd name="T42" fmla="*/ 558 w 581"/>
                <a:gd name="T43" fmla="*/ 343 h 902"/>
                <a:gd name="T44" fmla="*/ 503 w 581"/>
                <a:gd name="T45" fmla="*/ 350 h 902"/>
                <a:gd name="T46" fmla="*/ 463 w 581"/>
                <a:gd name="T47" fmla="*/ 350 h 902"/>
                <a:gd name="T48" fmla="*/ 404 w 581"/>
                <a:gd name="T49" fmla="*/ 297 h 902"/>
                <a:gd name="T50" fmla="*/ 341 w 581"/>
                <a:gd name="T51" fmla="*/ 300 h 902"/>
                <a:gd name="T52" fmla="*/ 324 w 581"/>
                <a:gd name="T53" fmla="*/ 252 h 902"/>
                <a:gd name="T54" fmla="*/ 317 w 581"/>
                <a:gd name="T55" fmla="*/ 200 h 902"/>
                <a:gd name="T56" fmla="*/ 306 w 581"/>
                <a:gd name="T57" fmla="*/ 153 h 902"/>
                <a:gd name="T58" fmla="*/ 320 w 581"/>
                <a:gd name="T59" fmla="*/ 97 h 902"/>
                <a:gd name="T60" fmla="*/ 381 w 581"/>
                <a:gd name="T61" fmla="*/ 47 h 902"/>
                <a:gd name="T62" fmla="*/ 342 w 581"/>
                <a:gd name="T63" fmla="*/ 45 h 902"/>
                <a:gd name="T64" fmla="*/ 271 w 581"/>
                <a:gd name="T65" fmla="*/ 74 h 902"/>
                <a:gd name="T66" fmla="*/ 239 w 581"/>
                <a:gd name="T67" fmla="*/ 101 h 902"/>
                <a:gd name="T68" fmla="*/ 207 w 581"/>
                <a:gd name="T69" fmla="*/ 94 h 902"/>
                <a:gd name="T70" fmla="*/ 177 w 581"/>
                <a:gd name="T71" fmla="*/ 155 h 902"/>
                <a:gd name="T72" fmla="*/ 147 w 581"/>
                <a:gd name="T73" fmla="*/ 198 h 902"/>
                <a:gd name="T74" fmla="*/ 123 w 581"/>
                <a:gd name="T75" fmla="*/ 229 h 902"/>
                <a:gd name="T76" fmla="*/ 93 w 581"/>
                <a:gd name="T77" fmla="*/ 215 h 902"/>
                <a:gd name="T78" fmla="*/ 92 w 581"/>
                <a:gd name="T79" fmla="*/ 267 h 902"/>
                <a:gd name="T80" fmla="*/ 74 w 581"/>
                <a:gd name="T81" fmla="*/ 301 h 902"/>
                <a:gd name="T82" fmla="*/ 77 w 581"/>
                <a:gd name="T83" fmla="*/ 338 h 902"/>
                <a:gd name="T84" fmla="*/ 77 w 581"/>
                <a:gd name="T85" fmla="*/ 378 h 902"/>
                <a:gd name="T86" fmla="*/ 74 w 581"/>
                <a:gd name="T87" fmla="*/ 454 h 902"/>
                <a:gd name="T88" fmla="*/ 74 w 581"/>
                <a:gd name="T89" fmla="*/ 522 h 902"/>
                <a:gd name="T90" fmla="*/ 26 w 581"/>
                <a:gd name="T91" fmla="*/ 580 h 902"/>
                <a:gd name="T92" fmla="*/ 23 w 581"/>
                <a:gd name="T93" fmla="*/ 614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1" h="902">
                  <a:moveTo>
                    <a:pt x="23" y="614"/>
                  </a:moveTo>
                  <a:cubicBezTo>
                    <a:pt x="34" y="620"/>
                    <a:pt x="42" y="632"/>
                    <a:pt x="42" y="632"/>
                  </a:cubicBezTo>
                  <a:cubicBezTo>
                    <a:pt x="42" y="632"/>
                    <a:pt x="55" y="627"/>
                    <a:pt x="65" y="635"/>
                  </a:cubicBezTo>
                  <a:cubicBezTo>
                    <a:pt x="75" y="643"/>
                    <a:pt x="68" y="650"/>
                    <a:pt x="77" y="656"/>
                  </a:cubicBezTo>
                  <a:cubicBezTo>
                    <a:pt x="86" y="662"/>
                    <a:pt x="97" y="657"/>
                    <a:pt x="97" y="657"/>
                  </a:cubicBezTo>
                  <a:cubicBezTo>
                    <a:pt x="97" y="657"/>
                    <a:pt x="113" y="667"/>
                    <a:pt x="120" y="665"/>
                  </a:cubicBezTo>
                  <a:cubicBezTo>
                    <a:pt x="127" y="663"/>
                    <a:pt x="115" y="650"/>
                    <a:pt x="132" y="653"/>
                  </a:cubicBezTo>
                  <a:cubicBezTo>
                    <a:pt x="149" y="656"/>
                    <a:pt x="141" y="674"/>
                    <a:pt x="154" y="675"/>
                  </a:cubicBezTo>
                  <a:cubicBezTo>
                    <a:pt x="166" y="676"/>
                    <a:pt x="178" y="676"/>
                    <a:pt x="185" y="680"/>
                  </a:cubicBezTo>
                  <a:cubicBezTo>
                    <a:pt x="192" y="684"/>
                    <a:pt x="222" y="708"/>
                    <a:pt x="222" y="708"/>
                  </a:cubicBezTo>
                  <a:cubicBezTo>
                    <a:pt x="230" y="732"/>
                    <a:pt x="230" y="732"/>
                    <a:pt x="230" y="732"/>
                  </a:cubicBezTo>
                  <a:cubicBezTo>
                    <a:pt x="238" y="732"/>
                    <a:pt x="238" y="732"/>
                    <a:pt x="238" y="732"/>
                  </a:cubicBezTo>
                  <a:cubicBezTo>
                    <a:pt x="249" y="745"/>
                    <a:pt x="249" y="745"/>
                    <a:pt x="249" y="745"/>
                  </a:cubicBezTo>
                  <a:cubicBezTo>
                    <a:pt x="249" y="745"/>
                    <a:pt x="257" y="742"/>
                    <a:pt x="259" y="748"/>
                  </a:cubicBezTo>
                  <a:cubicBezTo>
                    <a:pt x="262" y="754"/>
                    <a:pt x="264" y="772"/>
                    <a:pt x="264" y="772"/>
                  </a:cubicBezTo>
                  <a:cubicBezTo>
                    <a:pt x="264" y="772"/>
                    <a:pt x="282" y="773"/>
                    <a:pt x="283" y="781"/>
                  </a:cubicBezTo>
                  <a:cubicBezTo>
                    <a:pt x="284" y="788"/>
                    <a:pt x="269" y="803"/>
                    <a:pt x="288" y="808"/>
                  </a:cubicBezTo>
                  <a:cubicBezTo>
                    <a:pt x="307" y="813"/>
                    <a:pt x="329" y="813"/>
                    <a:pt x="329" y="813"/>
                  </a:cubicBezTo>
                  <a:cubicBezTo>
                    <a:pt x="329" y="813"/>
                    <a:pt x="330" y="792"/>
                    <a:pt x="344" y="795"/>
                  </a:cubicBezTo>
                  <a:cubicBezTo>
                    <a:pt x="358" y="798"/>
                    <a:pt x="359" y="805"/>
                    <a:pt x="367" y="805"/>
                  </a:cubicBezTo>
                  <a:cubicBezTo>
                    <a:pt x="376" y="805"/>
                    <a:pt x="384" y="796"/>
                    <a:pt x="388" y="797"/>
                  </a:cubicBezTo>
                  <a:cubicBezTo>
                    <a:pt x="392" y="798"/>
                    <a:pt x="400" y="810"/>
                    <a:pt x="400" y="810"/>
                  </a:cubicBezTo>
                  <a:cubicBezTo>
                    <a:pt x="400" y="810"/>
                    <a:pt x="428" y="809"/>
                    <a:pt x="428" y="823"/>
                  </a:cubicBezTo>
                  <a:cubicBezTo>
                    <a:pt x="428" y="838"/>
                    <a:pt x="420" y="846"/>
                    <a:pt x="415" y="846"/>
                  </a:cubicBezTo>
                  <a:cubicBezTo>
                    <a:pt x="410" y="846"/>
                    <a:pt x="401" y="876"/>
                    <a:pt x="404" y="881"/>
                  </a:cubicBezTo>
                  <a:cubicBezTo>
                    <a:pt x="407" y="887"/>
                    <a:pt x="421" y="882"/>
                    <a:pt x="421" y="882"/>
                  </a:cubicBezTo>
                  <a:cubicBezTo>
                    <a:pt x="427" y="898"/>
                    <a:pt x="427" y="898"/>
                    <a:pt x="427" y="898"/>
                  </a:cubicBezTo>
                  <a:cubicBezTo>
                    <a:pt x="438" y="902"/>
                    <a:pt x="438" y="902"/>
                    <a:pt x="438" y="902"/>
                  </a:cubicBezTo>
                  <a:cubicBezTo>
                    <a:pt x="441" y="893"/>
                    <a:pt x="442" y="881"/>
                    <a:pt x="442" y="881"/>
                  </a:cubicBezTo>
                  <a:cubicBezTo>
                    <a:pt x="444" y="831"/>
                    <a:pt x="444" y="831"/>
                    <a:pt x="444" y="831"/>
                  </a:cubicBezTo>
                  <a:cubicBezTo>
                    <a:pt x="455" y="801"/>
                    <a:pt x="455" y="801"/>
                    <a:pt x="455" y="801"/>
                  </a:cubicBezTo>
                  <a:cubicBezTo>
                    <a:pt x="453" y="767"/>
                    <a:pt x="453" y="767"/>
                    <a:pt x="453" y="767"/>
                  </a:cubicBezTo>
                  <a:cubicBezTo>
                    <a:pt x="453" y="767"/>
                    <a:pt x="463" y="756"/>
                    <a:pt x="464" y="749"/>
                  </a:cubicBezTo>
                  <a:cubicBezTo>
                    <a:pt x="465" y="742"/>
                    <a:pt x="451" y="727"/>
                    <a:pt x="451" y="727"/>
                  </a:cubicBezTo>
                  <a:cubicBezTo>
                    <a:pt x="451" y="727"/>
                    <a:pt x="450" y="715"/>
                    <a:pt x="448" y="706"/>
                  </a:cubicBezTo>
                  <a:cubicBezTo>
                    <a:pt x="446" y="697"/>
                    <a:pt x="425" y="688"/>
                    <a:pt x="425" y="688"/>
                  </a:cubicBezTo>
                  <a:cubicBezTo>
                    <a:pt x="427" y="646"/>
                    <a:pt x="427" y="646"/>
                    <a:pt x="427" y="646"/>
                  </a:cubicBezTo>
                  <a:cubicBezTo>
                    <a:pt x="449" y="641"/>
                    <a:pt x="449" y="641"/>
                    <a:pt x="449" y="641"/>
                  </a:cubicBezTo>
                  <a:cubicBezTo>
                    <a:pt x="449" y="641"/>
                    <a:pt x="458" y="645"/>
                    <a:pt x="471" y="643"/>
                  </a:cubicBezTo>
                  <a:cubicBezTo>
                    <a:pt x="484" y="641"/>
                    <a:pt x="465" y="621"/>
                    <a:pt x="465" y="621"/>
                  </a:cubicBezTo>
                  <a:cubicBezTo>
                    <a:pt x="458" y="623"/>
                    <a:pt x="458" y="623"/>
                    <a:pt x="458" y="623"/>
                  </a:cubicBezTo>
                  <a:cubicBezTo>
                    <a:pt x="442" y="616"/>
                    <a:pt x="442" y="616"/>
                    <a:pt x="442" y="616"/>
                  </a:cubicBezTo>
                  <a:cubicBezTo>
                    <a:pt x="442" y="616"/>
                    <a:pt x="434" y="587"/>
                    <a:pt x="443" y="582"/>
                  </a:cubicBezTo>
                  <a:cubicBezTo>
                    <a:pt x="452" y="577"/>
                    <a:pt x="466" y="590"/>
                    <a:pt x="466" y="590"/>
                  </a:cubicBezTo>
                  <a:cubicBezTo>
                    <a:pt x="510" y="586"/>
                    <a:pt x="510" y="586"/>
                    <a:pt x="510" y="586"/>
                  </a:cubicBezTo>
                  <a:cubicBezTo>
                    <a:pt x="510" y="586"/>
                    <a:pt x="510" y="569"/>
                    <a:pt x="516" y="569"/>
                  </a:cubicBezTo>
                  <a:cubicBezTo>
                    <a:pt x="522" y="569"/>
                    <a:pt x="527" y="585"/>
                    <a:pt x="533" y="584"/>
                  </a:cubicBezTo>
                  <a:cubicBezTo>
                    <a:pt x="539" y="583"/>
                    <a:pt x="548" y="560"/>
                    <a:pt x="555" y="563"/>
                  </a:cubicBezTo>
                  <a:cubicBezTo>
                    <a:pt x="562" y="566"/>
                    <a:pt x="557" y="573"/>
                    <a:pt x="557" y="573"/>
                  </a:cubicBezTo>
                  <a:cubicBezTo>
                    <a:pt x="557" y="573"/>
                    <a:pt x="560" y="574"/>
                    <a:pt x="562" y="580"/>
                  </a:cubicBezTo>
                  <a:cubicBezTo>
                    <a:pt x="564" y="586"/>
                    <a:pt x="564" y="614"/>
                    <a:pt x="564" y="614"/>
                  </a:cubicBezTo>
                  <a:cubicBezTo>
                    <a:pt x="581" y="614"/>
                    <a:pt x="581" y="614"/>
                    <a:pt x="581" y="614"/>
                  </a:cubicBezTo>
                  <a:cubicBezTo>
                    <a:pt x="581" y="614"/>
                    <a:pt x="575" y="605"/>
                    <a:pt x="576" y="600"/>
                  </a:cubicBezTo>
                  <a:cubicBezTo>
                    <a:pt x="577" y="595"/>
                    <a:pt x="566" y="569"/>
                    <a:pt x="566" y="569"/>
                  </a:cubicBezTo>
                  <a:cubicBezTo>
                    <a:pt x="566" y="569"/>
                    <a:pt x="563" y="549"/>
                    <a:pt x="563" y="545"/>
                  </a:cubicBezTo>
                  <a:cubicBezTo>
                    <a:pt x="563" y="541"/>
                    <a:pt x="541" y="527"/>
                    <a:pt x="541" y="527"/>
                  </a:cubicBezTo>
                  <a:cubicBezTo>
                    <a:pt x="531" y="524"/>
                    <a:pt x="531" y="524"/>
                    <a:pt x="531" y="524"/>
                  </a:cubicBezTo>
                  <a:cubicBezTo>
                    <a:pt x="531" y="524"/>
                    <a:pt x="560" y="506"/>
                    <a:pt x="560" y="496"/>
                  </a:cubicBezTo>
                  <a:cubicBezTo>
                    <a:pt x="560" y="486"/>
                    <a:pt x="544" y="472"/>
                    <a:pt x="544" y="472"/>
                  </a:cubicBezTo>
                  <a:cubicBezTo>
                    <a:pt x="544" y="472"/>
                    <a:pt x="543" y="463"/>
                    <a:pt x="543" y="460"/>
                  </a:cubicBezTo>
                  <a:cubicBezTo>
                    <a:pt x="543" y="457"/>
                    <a:pt x="534" y="453"/>
                    <a:pt x="534" y="453"/>
                  </a:cubicBezTo>
                  <a:cubicBezTo>
                    <a:pt x="534" y="453"/>
                    <a:pt x="536" y="430"/>
                    <a:pt x="536" y="424"/>
                  </a:cubicBezTo>
                  <a:cubicBezTo>
                    <a:pt x="536" y="418"/>
                    <a:pt x="534" y="400"/>
                    <a:pt x="533" y="395"/>
                  </a:cubicBezTo>
                  <a:cubicBezTo>
                    <a:pt x="532" y="390"/>
                    <a:pt x="542" y="385"/>
                    <a:pt x="545" y="382"/>
                  </a:cubicBezTo>
                  <a:cubicBezTo>
                    <a:pt x="548" y="379"/>
                    <a:pt x="547" y="364"/>
                    <a:pt x="547" y="364"/>
                  </a:cubicBezTo>
                  <a:cubicBezTo>
                    <a:pt x="547" y="364"/>
                    <a:pt x="564" y="356"/>
                    <a:pt x="558" y="343"/>
                  </a:cubicBezTo>
                  <a:cubicBezTo>
                    <a:pt x="552" y="331"/>
                    <a:pt x="533" y="346"/>
                    <a:pt x="533" y="346"/>
                  </a:cubicBezTo>
                  <a:cubicBezTo>
                    <a:pt x="514" y="344"/>
                    <a:pt x="514" y="344"/>
                    <a:pt x="514" y="344"/>
                  </a:cubicBezTo>
                  <a:cubicBezTo>
                    <a:pt x="514" y="344"/>
                    <a:pt x="511" y="351"/>
                    <a:pt x="503" y="350"/>
                  </a:cubicBezTo>
                  <a:cubicBezTo>
                    <a:pt x="495" y="349"/>
                    <a:pt x="493" y="342"/>
                    <a:pt x="485" y="342"/>
                  </a:cubicBezTo>
                  <a:cubicBezTo>
                    <a:pt x="477" y="342"/>
                    <a:pt x="479" y="349"/>
                    <a:pt x="479" y="349"/>
                  </a:cubicBezTo>
                  <a:cubicBezTo>
                    <a:pt x="479" y="349"/>
                    <a:pt x="471" y="352"/>
                    <a:pt x="463" y="350"/>
                  </a:cubicBezTo>
                  <a:cubicBezTo>
                    <a:pt x="455" y="347"/>
                    <a:pt x="436" y="305"/>
                    <a:pt x="436" y="305"/>
                  </a:cubicBezTo>
                  <a:cubicBezTo>
                    <a:pt x="418" y="304"/>
                    <a:pt x="418" y="304"/>
                    <a:pt x="418" y="304"/>
                  </a:cubicBezTo>
                  <a:cubicBezTo>
                    <a:pt x="418" y="304"/>
                    <a:pt x="409" y="297"/>
                    <a:pt x="404" y="297"/>
                  </a:cubicBezTo>
                  <a:cubicBezTo>
                    <a:pt x="399" y="297"/>
                    <a:pt x="398" y="303"/>
                    <a:pt x="393" y="304"/>
                  </a:cubicBezTo>
                  <a:cubicBezTo>
                    <a:pt x="388" y="305"/>
                    <a:pt x="370" y="298"/>
                    <a:pt x="365" y="298"/>
                  </a:cubicBezTo>
                  <a:cubicBezTo>
                    <a:pt x="361" y="298"/>
                    <a:pt x="350" y="303"/>
                    <a:pt x="341" y="300"/>
                  </a:cubicBezTo>
                  <a:cubicBezTo>
                    <a:pt x="332" y="297"/>
                    <a:pt x="333" y="279"/>
                    <a:pt x="333" y="279"/>
                  </a:cubicBezTo>
                  <a:cubicBezTo>
                    <a:pt x="323" y="279"/>
                    <a:pt x="323" y="279"/>
                    <a:pt x="323" y="279"/>
                  </a:cubicBezTo>
                  <a:cubicBezTo>
                    <a:pt x="324" y="252"/>
                    <a:pt x="324" y="252"/>
                    <a:pt x="324" y="252"/>
                  </a:cubicBezTo>
                  <a:cubicBezTo>
                    <a:pt x="324" y="252"/>
                    <a:pt x="330" y="249"/>
                    <a:pt x="332" y="236"/>
                  </a:cubicBezTo>
                  <a:cubicBezTo>
                    <a:pt x="334" y="224"/>
                    <a:pt x="318" y="215"/>
                    <a:pt x="318" y="215"/>
                  </a:cubicBezTo>
                  <a:cubicBezTo>
                    <a:pt x="318" y="215"/>
                    <a:pt x="317" y="209"/>
                    <a:pt x="317" y="200"/>
                  </a:cubicBezTo>
                  <a:cubicBezTo>
                    <a:pt x="317" y="191"/>
                    <a:pt x="310" y="177"/>
                    <a:pt x="303" y="177"/>
                  </a:cubicBezTo>
                  <a:cubicBezTo>
                    <a:pt x="296" y="177"/>
                    <a:pt x="292" y="191"/>
                    <a:pt x="287" y="182"/>
                  </a:cubicBezTo>
                  <a:cubicBezTo>
                    <a:pt x="282" y="174"/>
                    <a:pt x="306" y="153"/>
                    <a:pt x="306" y="153"/>
                  </a:cubicBezTo>
                  <a:cubicBezTo>
                    <a:pt x="306" y="135"/>
                    <a:pt x="306" y="135"/>
                    <a:pt x="306" y="135"/>
                  </a:cubicBezTo>
                  <a:cubicBezTo>
                    <a:pt x="312" y="130"/>
                    <a:pt x="312" y="130"/>
                    <a:pt x="312" y="130"/>
                  </a:cubicBezTo>
                  <a:cubicBezTo>
                    <a:pt x="312" y="130"/>
                    <a:pt x="312" y="110"/>
                    <a:pt x="320" y="97"/>
                  </a:cubicBezTo>
                  <a:cubicBezTo>
                    <a:pt x="327" y="84"/>
                    <a:pt x="336" y="80"/>
                    <a:pt x="347" y="76"/>
                  </a:cubicBezTo>
                  <a:cubicBezTo>
                    <a:pt x="358" y="73"/>
                    <a:pt x="359" y="58"/>
                    <a:pt x="359" y="58"/>
                  </a:cubicBezTo>
                  <a:cubicBezTo>
                    <a:pt x="359" y="58"/>
                    <a:pt x="376" y="48"/>
                    <a:pt x="381" y="47"/>
                  </a:cubicBezTo>
                  <a:cubicBezTo>
                    <a:pt x="386" y="46"/>
                    <a:pt x="401" y="42"/>
                    <a:pt x="402" y="21"/>
                  </a:cubicBezTo>
                  <a:cubicBezTo>
                    <a:pt x="403" y="0"/>
                    <a:pt x="361" y="16"/>
                    <a:pt x="355" y="17"/>
                  </a:cubicBezTo>
                  <a:cubicBezTo>
                    <a:pt x="349" y="18"/>
                    <a:pt x="349" y="38"/>
                    <a:pt x="342" y="45"/>
                  </a:cubicBezTo>
                  <a:cubicBezTo>
                    <a:pt x="335" y="52"/>
                    <a:pt x="324" y="45"/>
                    <a:pt x="317" y="46"/>
                  </a:cubicBezTo>
                  <a:cubicBezTo>
                    <a:pt x="310" y="47"/>
                    <a:pt x="296" y="70"/>
                    <a:pt x="296" y="70"/>
                  </a:cubicBezTo>
                  <a:cubicBezTo>
                    <a:pt x="271" y="74"/>
                    <a:pt x="271" y="74"/>
                    <a:pt x="271" y="74"/>
                  </a:cubicBezTo>
                  <a:cubicBezTo>
                    <a:pt x="271" y="74"/>
                    <a:pt x="265" y="65"/>
                    <a:pt x="258" y="69"/>
                  </a:cubicBezTo>
                  <a:cubicBezTo>
                    <a:pt x="251" y="74"/>
                    <a:pt x="251" y="86"/>
                    <a:pt x="251" y="86"/>
                  </a:cubicBezTo>
                  <a:cubicBezTo>
                    <a:pt x="251" y="86"/>
                    <a:pt x="246" y="100"/>
                    <a:pt x="239" y="101"/>
                  </a:cubicBezTo>
                  <a:cubicBezTo>
                    <a:pt x="232" y="103"/>
                    <a:pt x="240" y="92"/>
                    <a:pt x="240" y="92"/>
                  </a:cubicBezTo>
                  <a:cubicBezTo>
                    <a:pt x="240" y="92"/>
                    <a:pt x="234" y="87"/>
                    <a:pt x="230" y="87"/>
                  </a:cubicBezTo>
                  <a:cubicBezTo>
                    <a:pt x="227" y="87"/>
                    <a:pt x="212" y="91"/>
                    <a:pt x="207" y="94"/>
                  </a:cubicBezTo>
                  <a:cubicBezTo>
                    <a:pt x="202" y="98"/>
                    <a:pt x="187" y="112"/>
                    <a:pt x="183" y="119"/>
                  </a:cubicBezTo>
                  <a:cubicBezTo>
                    <a:pt x="180" y="126"/>
                    <a:pt x="188" y="135"/>
                    <a:pt x="188" y="135"/>
                  </a:cubicBezTo>
                  <a:cubicBezTo>
                    <a:pt x="177" y="155"/>
                    <a:pt x="177" y="155"/>
                    <a:pt x="177" y="155"/>
                  </a:cubicBezTo>
                  <a:cubicBezTo>
                    <a:pt x="184" y="171"/>
                    <a:pt x="184" y="171"/>
                    <a:pt x="184" y="171"/>
                  </a:cubicBezTo>
                  <a:cubicBezTo>
                    <a:pt x="184" y="171"/>
                    <a:pt x="168" y="172"/>
                    <a:pt x="162" y="175"/>
                  </a:cubicBezTo>
                  <a:cubicBezTo>
                    <a:pt x="156" y="177"/>
                    <a:pt x="150" y="191"/>
                    <a:pt x="147" y="198"/>
                  </a:cubicBezTo>
                  <a:cubicBezTo>
                    <a:pt x="143" y="205"/>
                    <a:pt x="129" y="207"/>
                    <a:pt x="129" y="207"/>
                  </a:cubicBezTo>
                  <a:cubicBezTo>
                    <a:pt x="115" y="213"/>
                    <a:pt x="115" y="213"/>
                    <a:pt x="115" y="213"/>
                  </a:cubicBezTo>
                  <a:cubicBezTo>
                    <a:pt x="123" y="229"/>
                    <a:pt x="123" y="229"/>
                    <a:pt x="123" y="229"/>
                  </a:cubicBezTo>
                  <a:cubicBezTo>
                    <a:pt x="123" y="229"/>
                    <a:pt x="126" y="252"/>
                    <a:pt x="118" y="254"/>
                  </a:cubicBezTo>
                  <a:cubicBezTo>
                    <a:pt x="110" y="256"/>
                    <a:pt x="116" y="246"/>
                    <a:pt x="115" y="236"/>
                  </a:cubicBezTo>
                  <a:cubicBezTo>
                    <a:pt x="113" y="227"/>
                    <a:pt x="93" y="215"/>
                    <a:pt x="93" y="215"/>
                  </a:cubicBezTo>
                  <a:cubicBezTo>
                    <a:pt x="93" y="215"/>
                    <a:pt x="89" y="221"/>
                    <a:pt x="89" y="228"/>
                  </a:cubicBezTo>
                  <a:cubicBezTo>
                    <a:pt x="89" y="235"/>
                    <a:pt x="102" y="242"/>
                    <a:pt x="102" y="242"/>
                  </a:cubicBezTo>
                  <a:cubicBezTo>
                    <a:pt x="102" y="242"/>
                    <a:pt x="102" y="259"/>
                    <a:pt x="92" y="267"/>
                  </a:cubicBezTo>
                  <a:cubicBezTo>
                    <a:pt x="83" y="275"/>
                    <a:pt x="76" y="265"/>
                    <a:pt x="76" y="265"/>
                  </a:cubicBezTo>
                  <a:cubicBezTo>
                    <a:pt x="66" y="286"/>
                    <a:pt x="66" y="286"/>
                    <a:pt x="66" y="286"/>
                  </a:cubicBezTo>
                  <a:cubicBezTo>
                    <a:pt x="74" y="301"/>
                    <a:pt x="74" y="301"/>
                    <a:pt x="74" y="301"/>
                  </a:cubicBezTo>
                  <a:cubicBezTo>
                    <a:pt x="74" y="308"/>
                    <a:pt x="74" y="308"/>
                    <a:pt x="74" y="308"/>
                  </a:cubicBezTo>
                  <a:cubicBezTo>
                    <a:pt x="74" y="308"/>
                    <a:pt x="81" y="313"/>
                    <a:pt x="87" y="325"/>
                  </a:cubicBezTo>
                  <a:cubicBezTo>
                    <a:pt x="93" y="337"/>
                    <a:pt x="77" y="338"/>
                    <a:pt x="77" y="338"/>
                  </a:cubicBezTo>
                  <a:cubicBezTo>
                    <a:pt x="87" y="353"/>
                    <a:pt x="87" y="353"/>
                    <a:pt x="87" y="353"/>
                  </a:cubicBezTo>
                  <a:cubicBezTo>
                    <a:pt x="92" y="375"/>
                    <a:pt x="92" y="375"/>
                    <a:pt x="92" y="375"/>
                  </a:cubicBezTo>
                  <a:cubicBezTo>
                    <a:pt x="77" y="378"/>
                    <a:pt x="77" y="378"/>
                    <a:pt x="77" y="378"/>
                  </a:cubicBezTo>
                  <a:cubicBezTo>
                    <a:pt x="87" y="391"/>
                    <a:pt x="87" y="391"/>
                    <a:pt x="87" y="391"/>
                  </a:cubicBezTo>
                  <a:cubicBezTo>
                    <a:pt x="87" y="431"/>
                    <a:pt x="87" y="431"/>
                    <a:pt x="87" y="431"/>
                  </a:cubicBezTo>
                  <a:cubicBezTo>
                    <a:pt x="87" y="431"/>
                    <a:pt x="74" y="441"/>
                    <a:pt x="74" y="454"/>
                  </a:cubicBezTo>
                  <a:cubicBezTo>
                    <a:pt x="74" y="467"/>
                    <a:pt x="91" y="467"/>
                    <a:pt x="92" y="482"/>
                  </a:cubicBezTo>
                  <a:cubicBezTo>
                    <a:pt x="93" y="497"/>
                    <a:pt x="65" y="514"/>
                    <a:pt x="65" y="514"/>
                  </a:cubicBezTo>
                  <a:cubicBezTo>
                    <a:pt x="74" y="522"/>
                    <a:pt x="74" y="522"/>
                    <a:pt x="74" y="522"/>
                  </a:cubicBezTo>
                  <a:cubicBezTo>
                    <a:pt x="55" y="539"/>
                    <a:pt x="55" y="539"/>
                    <a:pt x="55" y="539"/>
                  </a:cubicBezTo>
                  <a:cubicBezTo>
                    <a:pt x="55" y="539"/>
                    <a:pt x="34" y="539"/>
                    <a:pt x="26" y="548"/>
                  </a:cubicBezTo>
                  <a:cubicBezTo>
                    <a:pt x="18" y="558"/>
                    <a:pt x="26" y="580"/>
                    <a:pt x="26" y="580"/>
                  </a:cubicBezTo>
                  <a:cubicBezTo>
                    <a:pt x="26" y="580"/>
                    <a:pt x="1" y="572"/>
                    <a:pt x="0" y="586"/>
                  </a:cubicBezTo>
                  <a:cubicBezTo>
                    <a:pt x="0" y="588"/>
                    <a:pt x="0" y="590"/>
                    <a:pt x="0" y="592"/>
                  </a:cubicBezTo>
                  <a:cubicBezTo>
                    <a:pt x="5" y="598"/>
                    <a:pt x="15" y="611"/>
                    <a:pt x="23" y="614"/>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52" name="Chile">
              <a:extLst>
                <a:ext uri="{FF2B5EF4-FFF2-40B4-BE49-F238E27FC236}">
                  <a16:creationId xmlns:a16="http://schemas.microsoft.com/office/drawing/2014/main" id="{A63D406F-C49B-40BB-8096-1D531724A721}"/>
                </a:ext>
              </a:extLst>
            </p:cNvPr>
            <p:cNvSpPr>
              <a:spLocks noEditPoints="1"/>
            </p:cNvSpPr>
            <p:nvPr/>
          </p:nvSpPr>
          <p:spPr bwMode="gray">
            <a:xfrm>
              <a:off x="3774388" y="4610363"/>
              <a:ext cx="431876" cy="1131364"/>
            </a:xfrm>
            <a:custGeom>
              <a:avLst/>
              <a:gdLst>
                <a:gd name="T0" fmla="*/ 550 w 771"/>
                <a:gd name="T1" fmla="*/ 1864 h 2022"/>
                <a:gd name="T2" fmla="*/ 572 w 771"/>
                <a:gd name="T3" fmla="*/ 1906 h 2022"/>
                <a:gd name="T4" fmla="*/ 567 w 771"/>
                <a:gd name="T5" fmla="*/ 1954 h 2022"/>
                <a:gd name="T6" fmla="*/ 690 w 771"/>
                <a:gd name="T7" fmla="*/ 1981 h 2022"/>
                <a:gd name="T8" fmla="*/ 658 w 771"/>
                <a:gd name="T9" fmla="*/ 1993 h 2022"/>
                <a:gd name="T10" fmla="*/ 617 w 771"/>
                <a:gd name="T11" fmla="*/ 1988 h 2022"/>
                <a:gd name="T12" fmla="*/ 663 w 771"/>
                <a:gd name="T13" fmla="*/ 2010 h 2022"/>
                <a:gd name="T14" fmla="*/ 500 w 771"/>
                <a:gd name="T15" fmla="*/ 1974 h 2022"/>
                <a:gd name="T16" fmla="*/ 526 w 771"/>
                <a:gd name="T17" fmla="*/ 1935 h 2022"/>
                <a:gd name="T18" fmla="*/ 471 w 771"/>
                <a:gd name="T19" fmla="*/ 1945 h 2022"/>
                <a:gd name="T20" fmla="*/ 397 w 771"/>
                <a:gd name="T21" fmla="*/ 1867 h 2022"/>
                <a:gd name="T22" fmla="*/ 345 w 771"/>
                <a:gd name="T23" fmla="*/ 1873 h 2022"/>
                <a:gd name="T24" fmla="*/ 355 w 771"/>
                <a:gd name="T25" fmla="*/ 1822 h 2022"/>
                <a:gd name="T26" fmla="*/ 326 w 771"/>
                <a:gd name="T27" fmla="*/ 1841 h 2022"/>
                <a:gd name="T28" fmla="*/ 342 w 771"/>
                <a:gd name="T29" fmla="*/ 1820 h 2022"/>
                <a:gd name="T30" fmla="*/ 287 w 771"/>
                <a:gd name="T31" fmla="*/ 1789 h 2022"/>
                <a:gd name="T32" fmla="*/ 267 w 771"/>
                <a:gd name="T33" fmla="*/ 1739 h 2022"/>
                <a:gd name="T34" fmla="*/ 257 w 771"/>
                <a:gd name="T35" fmla="*/ 1697 h 2022"/>
                <a:gd name="T36" fmla="*/ 208 w 771"/>
                <a:gd name="T37" fmla="*/ 1688 h 2022"/>
                <a:gd name="T38" fmla="*/ 144 w 771"/>
                <a:gd name="T39" fmla="*/ 1339 h 2022"/>
                <a:gd name="T40" fmla="*/ 163 w 771"/>
                <a:gd name="T41" fmla="*/ 1391 h 2022"/>
                <a:gd name="T42" fmla="*/ 186 w 771"/>
                <a:gd name="T43" fmla="*/ 1483 h 2022"/>
                <a:gd name="T44" fmla="*/ 212 w 771"/>
                <a:gd name="T45" fmla="*/ 1463 h 2022"/>
                <a:gd name="T46" fmla="*/ 143 w 771"/>
                <a:gd name="T47" fmla="*/ 1440 h 2022"/>
                <a:gd name="T48" fmla="*/ 498 w 771"/>
                <a:gd name="T49" fmla="*/ 1874 h 2022"/>
                <a:gd name="T50" fmla="*/ 449 w 771"/>
                <a:gd name="T51" fmla="*/ 1842 h 2022"/>
                <a:gd name="T52" fmla="*/ 338 w 771"/>
                <a:gd name="T53" fmla="*/ 1747 h 2022"/>
                <a:gd name="T54" fmla="*/ 317 w 771"/>
                <a:gd name="T55" fmla="*/ 1650 h 2022"/>
                <a:gd name="T56" fmla="*/ 304 w 771"/>
                <a:gd name="T57" fmla="*/ 1533 h 2022"/>
                <a:gd name="T58" fmla="*/ 272 w 771"/>
                <a:gd name="T59" fmla="*/ 1443 h 2022"/>
                <a:gd name="T60" fmla="*/ 215 w 771"/>
                <a:gd name="T61" fmla="*/ 1320 h 2022"/>
                <a:gd name="T62" fmla="*/ 187 w 771"/>
                <a:gd name="T63" fmla="*/ 1196 h 2022"/>
                <a:gd name="T64" fmla="*/ 165 w 771"/>
                <a:gd name="T65" fmla="*/ 1085 h 2022"/>
                <a:gd name="T66" fmla="*/ 166 w 771"/>
                <a:gd name="T67" fmla="*/ 954 h 2022"/>
                <a:gd name="T68" fmla="*/ 142 w 771"/>
                <a:gd name="T69" fmla="*/ 815 h 2022"/>
                <a:gd name="T70" fmla="*/ 109 w 771"/>
                <a:gd name="T71" fmla="*/ 685 h 2022"/>
                <a:gd name="T72" fmla="*/ 162 w 771"/>
                <a:gd name="T73" fmla="*/ 498 h 2022"/>
                <a:gd name="T74" fmla="*/ 184 w 771"/>
                <a:gd name="T75" fmla="*/ 293 h 2022"/>
                <a:gd name="T76" fmla="*/ 97 w 771"/>
                <a:gd name="T77" fmla="*/ 161 h 2022"/>
                <a:gd name="T78" fmla="*/ 45 w 771"/>
                <a:gd name="T79" fmla="*/ 22 h 2022"/>
                <a:gd name="T80" fmla="*/ 24 w 771"/>
                <a:gd name="T81" fmla="*/ 182 h 2022"/>
                <a:gd name="T82" fmla="*/ 47 w 771"/>
                <a:gd name="T83" fmla="*/ 417 h 2022"/>
                <a:gd name="T84" fmla="*/ 34 w 771"/>
                <a:gd name="T85" fmla="*/ 559 h 2022"/>
                <a:gd name="T86" fmla="*/ 47 w 771"/>
                <a:gd name="T87" fmla="*/ 720 h 2022"/>
                <a:gd name="T88" fmla="*/ 82 w 771"/>
                <a:gd name="T89" fmla="*/ 947 h 2022"/>
                <a:gd name="T90" fmla="*/ 72 w 771"/>
                <a:gd name="T91" fmla="*/ 1102 h 2022"/>
                <a:gd name="T92" fmla="*/ 129 w 771"/>
                <a:gd name="T93" fmla="*/ 1299 h 2022"/>
                <a:gd name="T94" fmla="*/ 193 w 771"/>
                <a:gd name="T95" fmla="*/ 1313 h 2022"/>
                <a:gd name="T96" fmla="*/ 212 w 771"/>
                <a:gd name="T97" fmla="*/ 1403 h 2022"/>
                <a:gd name="T98" fmla="*/ 252 w 771"/>
                <a:gd name="T99" fmla="*/ 1497 h 2022"/>
                <a:gd name="T100" fmla="*/ 214 w 771"/>
                <a:gd name="T101" fmla="*/ 1535 h 2022"/>
                <a:gd name="T102" fmla="*/ 176 w 771"/>
                <a:gd name="T103" fmla="*/ 1528 h 2022"/>
                <a:gd name="T104" fmla="*/ 214 w 771"/>
                <a:gd name="T105" fmla="*/ 1567 h 2022"/>
                <a:gd name="T106" fmla="*/ 257 w 771"/>
                <a:gd name="T107" fmla="*/ 1604 h 2022"/>
                <a:gd name="T108" fmla="*/ 265 w 771"/>
                <a:gd name="T109" fmla="*/ 1686 h 2022"/>
                <a:gd name="T110" fmla="*/ 298 w 771"/>
                <a:gd name="T111" fmla="*/ 1731 h 2022"/>
                <a:gd name="T112" fmla="*/ 331 w 771"/>
                <a:gd name="T113" fmla="*/ 1762 h 2022"/>
                <a:gd name="T114" fmla="*/ 407 w 771"/>
                <a:gd name="T115" fmla="*/ 1821 h 2022"/>
                <a:gd name="T116" fmla="*/ 434 w 771"/>
                <a:gd name="T117" fmla="*/ 1876 h 2022"/>
                <a:gd name="T118" fmla="*/ 459 w 771"/>
                <a:gd name="T119" fmla="*/ 1893 h 2022"/>
                <a:gd name="T120" fmla="*/ 428 w 771"/>
                <a:gd name="T121" fmla="*/ 1927 h 2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71" h="2022">
                  <a:moveTo>
                    <a:pt x="677" y="1942"/>
                  </a:moveTo>
                  <a:cubicBezTo>
                    <a:pt x="625" y="1916"/>
                    <a:pt x="625" y="1903"/>
                    <a:pt x="625" y="1903"/>
                  </a:cubicBezTo>
                  <a:cubicBezTo>
                    <a:pt x="602" y="1903"/>
                    <a:pt x="602" y="1903"/>
                    <a:pt x="602" y="1903"/>
                  </a:cubicBezTo>
                  <a:cubicBezTo>
                    <a:pt x="606" y="1892"/>
                    <a:pt x="606" y="1892"/>
                    <a:pt x="606" y="1892"/>
                  </a:cubicBezTo>
                  <a:cubicBezTo>
                    <a:pt x="580" y="1866"/>
                    <a:pt x="580" y="1866"/>
                    <a:pt x="580" y="1866"/>
                  </a:cubicBezTo>
                  <a:cubicBezTo>
                    <a:pt x="559" y="1872"/>
                    <a:pt x="559" y="1872"/>
                    <a:pt x="559" y="1872"/>
                  </a:cubicBezTo>
                  <a:cubicBezTo>
                    <a:pt x="550" y="1864"/>
                    <a:pt x="550" y="1864"/>
                    <a:pt x="550" y="1864"/>
                  </a:cubicBezTo>
                  <a:cubicBezTo>
                    <a:pt x="543" y="1876"/>
                    <a:pt x="543" y="1876"/>
                    <a:pt x="543" y="1876"/>
                  </a:cubicBezTo>
                  <a:cubicBezTo>
                    <a:pt x="530" y="1879"/>
                    <a:pt x="530" y="1879"/>
                    <a:pt x="530" y="1879"/>
                  </a:cubicBezTo>
                  <a:cubicBezTo>
                    <a:pt x="531" y="1890"/>
                    <a:pt x="531" y="1890"/>
                    <a:pt x="531" y="1890"/>
                  </a:cubicBezTo>
                  <a:cubicBezTo>
                    <a:pt x="520" y="1892"/>
                    <a:pt x="520" y="1892"/>
                    <a:pt x="520" y="1892"/>
                  </a:cubicBezTo>
                  <a:cubicBezTo>
                    <a:pt x="521" y="1910"/>
                    <a:pt x="521" y="1910"/>
                    <a:pt x="521" y="1910"/>
                  </a:cubicBezTo>
                  <a:cubicBezTo>
                    <a:pt x="534" y="1923"/>
                    <a:pt x="557" y="1900"/>
                    <a:pt x="557" y="1900"/>
                  </a:cubicBezTo>
                  <a:cubicBezTo>
                    <a:pt x="572" y="1906"/>
                    <a:pt x="572" y="1906"/>
                    <a:pt x="572" y="1906"/>
                  </a:cubicBezTo>
                  <a:cubicBezTo>
                    <a:pt x="572" y="1919"/>
                    <a:pt x="572" y="1919"/>
                    <a:pt x="572" y="1919"/>
                  </a:cubicBezTo>
                  <a:cubicBezTo>
                    <a:pt x="572" y="1919"/>
                    <a:pt x="541" y="1934"/>
                    <a:pt x="552" y="1938"/>
                  </a:cubicBezTo>
                  <a:cubicBezTo>
                    <a:pt x="562" y="1942"/>
                    <a:pt x="615" y="1960"/>
                    <a:pt x="615" y="1960"/>
                  </a:cubicBezTo>
                  <a:cubicBezTo>
                    <a:pt x="605" y="1974"/>
                    <a:pt x="605" y="1974"/>
                    <a:pt x="605" y="1974"/>
                  </a:cubicBezTo>
                  <a:cubicBezTo>
                    <a:pt x="605" y="1974"/>
                    <a:pt x="602" y="1961"/>
                    <a:pt x="592" y="1961"/>
                  </a:cubicBezTo>
                  <a:cubicBezTo>
                    <a:pt x="582" y="1961"/>
                    <a:pt x="579" y="1968"/>
                    <a:pt x="579" y="1968"/>
                  </a:cubicBezTo>
                  <a:cubicBezTo>
                    <a:pt x="567" y="1954"/>
                    <a:pt x="567" y="1954"/>
                    <a:pt x="567" y="1954"/>
                  </a:cubicBezTo>
                  <a:cubicBezTo>
                    <a:pt x="556" y="1958"/>
                    <a:pt x="556" y="1958"/>
                    <a:pt x="556" y="1958"/>
                  </a:cubicBezTo>
                  <a:cubicBezTo>
                    <a:pt x="565" y="1965"/>
                    <a:pt x="565" y="1965"/>
                    <a:pt x="565" y="1965"/>
                  </a:cubicBezTo>
                  <a:cubicBezTo>
                    <a:pt x="544" y="1962"/>
                    <a:pt x="544" y="1962"/>
                    <a:pt x="544" y="1962"/>
                  </a:cubicBezTo>
                  <a:cubicBezTo>
                    <a:pt x="544" y="1962"/>
                    <a:pt x="550" y="1978"/>
                    <a:pt x="566" y="1978"/>
                  </a:cubicBezTo>
                  <a:cubicBezTo>
                    <a:pt x="582" y="1978"/>
                    <a:pt x="595" y="1978"/>
                    <a:pt x="595" y="1978"/>
                  </a:cubicBezTo>
                  <a:cubicBezTo>
                    <a:pt x="595" y="1978"/>
                    <a:pt x="611" y="1984"/>
                    <a:pt x="621" y="1983"/>
                  </a:cubicBezTo>
                  <a:cubicBezTo>
                    <a:pt x="631" y="1981"/>
                    <a:pt x="676" y="1981"/>
                    <a:pt x="690" y="1981"/>
                  </a:cubicBezTo>
                  <a:cubicBezTo>
                    <a:pt x="705" y="1981"/>
                    <a:pt x="725" y="1994"/>
                    <a:pt x="725" y="1994"/>
                  </a:cubicBezTo>
                  <a:cubicBezTo>
                    <a:pt x="746" y="1983"/>
                    <a:pt x="746" y="1983"/>
                    <a:pt x="746" y="1983"/>
                  </a:cubicBezTo>
                  <a:cubicBezTo>
                    <a:pt x="758" y="1987"/>
                    <a:pt x="758" y="1987"/>
                    <a:pt x="758" y="1987"/>
                  </a:cubicBezTo>
                  <a:cubicBezTo>
                    <a:pt x="770" y="1986"/>
                    <a:pt x="770" y="1986"/>
                    <a:pt x="770" y="1986"/>
                  </a:cubicBezTo>
                  <a:cubicBezTo>
                    <a:pt x="771" y="1970"/>
                    <a:pt x="771" y="1970"/>
                    <a:pt x="771" y="1970"/>
                  </a:cubicBezTo>
                  <a:cubicBezTo>
                    <a:pt x="771" y="1970"/>
                    <a:pt x="729" y="1968"/>
                    <a:pt x="677" y="1942"/>
                  </a:cubicBezTo>
                  <a:close/>
                  <a:moveTo>
                    <a:pt x="658" y="1993"/>
                  </a:moveTo>
                  <a:cubicBezTo>
                    <a:pt x="676" y="2003"/>
                    <a:pt x="676" y="2003"/>
                    <a:pt x="676" y="2003"/>
                  </a:cubicBezTo>
                  <a:cubicBezTo>
                    <a:pt x="712" y="2006"/>
                    <a:pt x="712" y="2006"/>
                    <a:pt x="712" y="2006"/>
                  </a:cubicBezTo>
                  <a:cubicBezTo>
                    <a:pt x="693" y="1988"/>
                    <a:pt x="693" y="1988"/>
                    <a:pt x="693" y="1988"/>
                  </a:cubicBezTo>
                  <a:lnTo>
                    <a:pt x="658" y="1993"/>
                  </a:lnTo>
                  <a:close/>
                  <a:moveTo>
                    <a:pt x="638" y="1997"/>
                  </a:moveTo>
                  <a:cubicBezTo>
                    <a:pt x="644" y="1991"/>
                    <a:pt x="644" y="1991"/>
                    <a:pt x="644" y="1991"/>
                  </a:cubicBezTo>
                  <a:cubicBezTo>
                    <a:pt x="617" y="1988"/>
                    <a:pt x="617" y="1988"/>
                    <a:pt x="617" y="1988"/>
                  </a:cubicBezTo>
                  <a:cubicBezTo>
                    <a:pt x="593" y="1988"/>
                    <a:pt x="593" y="1988"/>
                    <a:pt x="593" y="1988"/>
                  </a:cubicBezTo>
                  <a:cubicBezTo>
                    <a:pt x="602" y="2012"/>
                    <a:pt x="602" y="2012"/>
                    <a:pt x="602" y="2012"/>
                  </a:cubicBezTo>
                  <a:cubicBezTo>
                    <a:pt x="625" y="2014"/>
                    <a:pt x="625" y="2014"/>
                    <a:pt x="625" y="2014"/>
                  </a:cubicBezTo>
                  <a:cubicBezTo>
                    <a:pt x="619" y="2004"/>
                    <a:pt x="619" y="2004"/>
                    <a:pt x="619" y="2004"/>
                  </a:cubicBezTo>
                  <a:cubicBezTo>
                    <a:pt x="625" y="2000"/>
                    <a:pt x="625" y="2000"/>
                    <a:pt x="625" y="2000"/>
                  </a:cubicBezTo>
                  <a:cubicBezTo>
                    <a:pt x="632" y="2010"/>
                    <a:pt x="632" y="2010"/>
                    <a:pt x="632" y="2010"/>
                  </a:cubicBezTo>
                  <a:cubicBezTo>
                    <a:pt x="663" y="2010"/>
                    <a:pt x="663" y="2010"/>
                    <a:pt x="663" y="2010"/>
                  </a:cubicBezTo>
                  <a:cubicBezTo>
                    <a:pt x="673" y="2022"/>
                    <a:pt x="673" y="2022"/>
                    <a:pt x="673" y="2022"/>
                  </a:cubicBezTo>
                  <a:cubicBezTo>
                    <a:pt x="686" y="2022"/>
                    <a:pt x="686" y="2022"/>
                    <a:pt x="686" y="2022"/>
                  </a:cubicBezTo>
                  <a:cubicBezTo>
                    <a:pt x="666" y="2001"/>
                    <a:pt x="666" y="2001"/>
                    <a:pt x="666" y="2001"/>
                  </a:cubicBezTo>
                  <a:lnTo>
                    <a:pt x="638" y="1997"/>
                  </a:lnTo>
                  <a:close/>
                  <a:moveTo>
                    <a:pt x="537" y="1967"/>
                  </a:moveTo>
                  <a:cubicBezTo>
                    <a:pt x="495" y="1962"/>
                    <a:pt x="495" y="1962"/>
                    <a:pt x="495" y="1962"/>
                  </a:cubicBezTo>
                  <a:cubicBezTo>
                    <a:pt x="500" y="1974"/>
                    <a:pt x="500" y="1974"/>
                    <a:pt x="500" y="1974"/>
                  </a:cubicBezTo>
                  <a:cubicBezTo>
                    <a:pt x="527" y="1973"/>
                    <a:pt x="527" y="1973"/>
                    <a:pt x="527" y="1973"/>
                  </a:cubicBezTo>
                  <a:cubicBezTo>
                    <a:pt x="537" y="1987"/>
                    <a:pt x="537" y="1987"/>
                    <a:pt x="537" y="1987"/>
                  </a:cubicBezTo>
                  <a:cubicBezTo>
                    <a:pt x="575" y="2003"/>
                    <a:pt x="575" y="2003"/>
                    <a:pt x="575" y="2003"/>
                  </a:cubicBezTo>
                  <a:cubicBezTo>
                    <a:pt x="552" y="1983"/>
                    <a:pt x="552" y="1983"/>
                    <a:pt x="552" y="1983"/>
                  </a:cubicBezTo>
                  <a:lnTo>
                    <a:pt x="537" y="1967"/>
                  </a:lnTo>
                  <a:close/>
                  <a:moveTo>
                    <a:pt x="534" y="1924"/>
                  </a:moveTo>
                  <a:cubicBezTo>
                    <a:pt x="526" y="1935"/>
                    <a:pt x="526" y="1935"/>
                    <a:pt x="526" y="1935"/>
                  </a:cubicBezTo>
                  <a:cubicBezTo>
                    <a:pt x="530" y="1955"/>
                    <a:pt x="530" y="1955"/>
                    <a:pt x="530" y="1955"/>
                  </a:cubicBezTo>
                  <a:cubicBezTo>
                    <a:pt x="546" y="1949"/>
                    <a:pt x="546" y="1949"/>
                    <a:pt x="546" y="1949"/>
                  </a:cubicBezTo>
                  <a:lnTo>
                    <a:pt x="534" y="1924"/>
                  </a:lnTo>
                  <a:close/>
                  <a:moveTo>
                    <a:pt x="515" y="1954"/>
                  </a:moveTo>
                  <a:cubicBezTo>
                    <a:pt x="513" y="1942"/>
                    <a:pt x="513" y="1942"/>
                    <a:pt x="513" y="1942"/>
                  </a:cubicBezTo>
                  <a:cubicBezTo>
                    <a:pt x="479" y="1934"/>
                    <a:pt x="479" y="1934"/>
                    <a:pt x="479" y="1934"/>
                  </a:cubicBezTo>
                  <a:cubicBezTo>
                    <a:pt x="471" y="1945"/>
                    <a:pt x="471" y="1945"/>
                    <a:pt x="471" y="1945"/>
                  </a:cubicBezTo>
                  <a:cubicBezTo>
                    <a:pt x="472" y="1958"/>
                    <a:pt x="472" y="1958"/>
                    <a:pt x="472" y="1958"/>
                  </a:cubicBezTo>
                  <a:cubicBezTo>
                    <a:pt x="495" y="1949"/>
                    <a:pt x="495" y="1949"/>
                    <a:pt x="495" y="1949"/>
                  </a:cubicBezTo>
                  <a:lnTo>
                    <a:pt x="515" y="1954"/>
                  </a:lnTo>
                  <a:close/>
                  <a:moveTo>
                    <a:pt x="407" y="1848"/>
                  </a:moveTo>
                  <a:cubicBezTo>
                    <a:pt x="407" y="1848"/>
                    <a:pt x="381" y="1835"/>
                    <a:pt x="378" y="1847"/>
                  </a:cubicBezTo>
                  <a:cubicBezTo>
                    <a:pt x="375" y="1859"/>
                    <a:pt x="371" y="1874"/>
                    <a:pt x="375" y="1874"/>
                  </a:cubicBezTo>
                  <a:cubicBezTo>
                    <a:pt x="380" y="1874"/>
                    <a:pt x="397" y="1867"/>
                    <a:pt x="397" y="1867"/>
                  </a:cubicBezTo>
                  <a:cubicBezTo>
                    <a:pt x="399" y="1883"/>
                    <a:pt x="399" y="1883"/>
                    <a:pt x="399" y="1883"/>
                  </a:cubicBezTo>
                  <a:cubicBezTo>
                    <a:pt x="420" y="1873"/>
                    <a:pt x="420" y="1873"/>
                    <a:pt x="420" y="1873"/>
                  </a:cubicBezTo>
                  <a:cubicBezTo>
                    <a:pt x="409" y="1863"/>
                    <a:pt x="409" y="1863"/>
                    <a:pt x="409" y="1863"/>
                  </a:cubicBezTo>
                  <a:cubicBezTo>
                    <a:pt x="413" y="1851"/>
                    <a:pt x="413" y="1851"/>
                    <a:pt x="413" y="1851"/>
                  </a:cubicBezTo>
                  <a:lnTo>
                    <a:pt x="407" y="1848"/>
                  </a:lnTo>
                  <a:close/>
                  <a:moveTo>
                    <a:pt x="368" y="1886"/>
                  </a:moveTo>
                  <a:cubicBezTo>
                    <a:pt x="345" y="1873"/>
                    <a:pt x="345" y="1873"/>
                    <a:pt x="345" y="1873"/>
                  </a:cubicBezTo>
                  <a:cubicBezTo>
                    <a:pt x="362" y="1892"/>
                    <a:pt x="362" y="1892"/>
                    <a:pt x="362" y="1892"/>
                  </a:cubicBezTo>
                  <a:cubicBezTo>
                    <a:pt x="393" y="1896"/>
                    <a:pt x="393" y="1896"/>
                    <a:pt x="393" y="1896"/>
                  </a:cubicBezTo>
                  <a:cubicBezTo>
                    <a:pt x="404" y="1903"/>
                    <a:pt x="404" y="1903"/>
                    <a:pt x="404" y="1903"/>
                  </a:cubicBezTo>
                  <a:cubicBezTo>
                    <a:pt x="393" y="1889"/>
                    <a:pt x="393" y="1889"/>
                    <a:pt x="393" y="1889"/>
                  </a:cubicBezTo>
                  <a:lnTo>
                    <a:pt x="368" y="1886"/>
                  </a:lnTo>
                  <a:close/>
                  <a:moveTo>
                    <a:pt x="368" y="1835"/>
                  </a:moveTo>
                  <a:cubicBezTo>
                    <a:pt x="355" y="1822"/>
                    <a:pt x="355" y="1822"/>
                    <a:pt x="355" y="1822"/>
                  </a:cubicBezTo>
                  <a:cubicBezTo>
                    <a:pt x="351" y="1844"/>
                    <a:pt x="351" y="1844"/>
                    <a:pt x="351" y="1844"/>
                  </a:cubicBezTo>
                  <a:cubicBezTo>
                    <a:pt x="336" y="1848"/>
                    <a:pt x="336" y="1848"/>
                    <a:pt x="336" y="1848"/>
                  </a:cubicBezTo>
                  <a:cubicBezTo>
                    <a:pt x="365" y="1860"/>
                    <a:pt x="365" y="1860"/>
                    <a:pt x="365" y="1860"/>
                  </a:cubicBezTo>
                  <a:lnTo>
                    <a:pt x="368" y="1835"/>
                  </a:lnTo>
                  <a:close/>
                  <a:moveTo>
                    <a:pt x="296" y="1827"/>
                  </a:moveTo>
                  <a:cubicBezTo>
                    <a:pt x="319" y="1848"/>
                    <a:pt x="319" y="1848"/>
                    <a:pt x="319" y="1848"/>
                  </a:cubicBezTo>
                  <a:cubicBezTo>
                    <a:pt x="326" y="1841"/>
                    <a:pt x="326" y="1841"/>
                    <a:pt x="326" y="1841"/>
                  </a:cubicBezTo>
                  <a:cubicBezTo>
                    <a:pt x="306" y="1818"/>
                    <a:pt x="306" y="1818"/>
                    <a:pt x="306" y="1818"/>
                  </a:cubicBezTo>
                  <a:lnTo>
                    <a:pt x="296" y="1827"/>
                  </a:lnTo>
                  <a:close/>
                  <a:moveTo>
                    <a:pt x="342" y="1820"/>
                  </a:moveTo>
                  <a:cubicBezTo>
                    <a:pt x="335" y="1814"/>
                    <a:pt x="335" y="1814"/>
                    <a:pt x="335" y="1814"/>
                  </a:cubicBezTo>
                  <a:cubicBezTo>
                    <a:pt x="329" y="1824"/>
                    <a:pt x="329" y="1824"/>
                    <a:pt x="329" y="1824"/>
                  </a:cubicBezTo>
                  <a:cubicBezTo>
                    <a:pt x="336" y="1833"/>
                    <a:pt x="336" y="1833"/>
                    <a:pt x="336" y="1833"/>
                  </a:cubicBezTo>
                  <a:lnTo>
                    <a:pt x="342" y="1820"/>
                  </a:lnTo>
                  <a:close/>
                  <a:moveTo>
                    <a:pt x="303" y="1805"/>
                  </a:moveTo>
                  <a:cubicBezTo>
                    <a:pt x="306" y="1788"/>
                    <a:pt x="306" y="1788"/>
                    <a:pt x="306" y="1788"/>
                  </a:cubicBezTo>
                  <a:cubicBezTo>
                    <a:pt x="303" y="1763"/>
                    <a:pt x="303" y="1763"/>
                    <a:pt x="303" y="1763"/>
                  </a:cubicBezTo>
                  <a:cubicBezTo>
                    <a:pt x="292" y="1759"/>
                    <a:pt x="292" y="1759"/>
                    <a:pt x="292" y="1759"/>
                  </a:cubicBezTo>
                  <a:cubicBezTo>
                    <a:pt x="292" y="1770"/>
                    <a:pt x="292" y="1770"/>
                    <a:pt x="292" y="1770"/>
                  </a:cubicBezTo>
                  <a:cubicBezTo>
                    <a:pt x="270" y="1766"/>
                    <a:pt x="270" y="1766"/>
                    <a:pt x="270" y="1766"/>
                  </a:cubicBezTo>
                  <a:cubicBezTo>
                    <a:pt x="287" y="1789"/>
                    <a:pt x="287" y="1789"/>
                    <a:pt x="287" y="1789"/>
                  </a:cubicBezTo>
                  <a:cubicBezTo>
                    <a:pt x="283" y="1818"/>
                    <a:pt x="283" y="1818"/>
                    <a:pt x="283" y="1818"/>
                  </a:cubicBezTo>
                  <a:lnTo>
                    <a:pt x="303" y="1805"/>
                  </a:lnTo>
                  <a:close/>
                  <a:moveTo>
                    <a:pt x="243" y="1752"/>
                  </a:moveTo>
                  <a:cubicBezTo>
                    <a:pt x="254" y="1753"/>
                    <a:pt x="254" y="1753"/>
                    <a:pt x="254" y="1753"/>
                  </a:cubicBezTo>
                  <a:cubicBezTo>
                    <a:pt x="261" y="1775"/>
                    <a:pt x="261" y="1775"/>
                    <a:pt x="261" y="1775"/>
                  </a:cubicBezTo>
                  <a:cubicBezTo>
                    <a:pt x="266" y="1755"/>
                    <a:pt x="266" y="1755"/>
                    <a:pt x="266" y="1755"/>
                  </a:cubicBezTo>
                  <a:cubicBezTo>
                    <a:pt x="267" y="1739"/>
                    <a:pt x="267" y="1739"/>
                    <a:pt x="267" y="1739"/>
                  </a:cubicBezTo>
                  <a:cubicBezTo>
                    <a:pt x="250" y="1734"/>
                    <a:pt x="250" y="1734"/>
                    <a:pt x="250" y="1734"/>
                  </a:cubicBezTo>
                  <a:lnTo>
                    <a:pt x="243" y="1752"/>
                  </a:lnTo>
                  <a:close/>
                  <a:moveTo>
                    <a:pt x="248" y="1727"/>
                  </a:moveTo>
                  <a:cubicBezTo>
                    <a:pt x="253" y="1726"/>
                    <a:pt x="256" y="1717"/>
                    <a:pt x="256" y="1717"/>
                  </a:cubicBezTo>
                  <a:cubicBezTo>
                    <a:pt x="276" y="1734"/>
                    <a:pt x="276" y="1734"/>
                    <a:pt x="276" y="1734"/>
                  </a:cubicBezTo>
                  <a:cubicBezTo>
                    <a:pt x="277" y="1718"/>
                    <a:pt x="277" y="1718"/>
                    <a:pt x="277" y="1718"/>
                  </a:cubicBezTo>
                  <a:cubicBezTo>
                    <a:pt x="257" y="1697"/>
                    <a:pt x="257" y="1697"/>
                    <a:pt x="257" y="1697"/>
                  </a:cubicBezTo>
                  <a:cubicBezTo>
                    <a:pt x="257" y="1697"/>
                    <a:pt x="241" y="1674"/>
                    <a:pt x="241" y="1662"/>
                  </a:cubicBezTo>
                  <a:cubicBezTo>
                    <a:pt x="241" y="1651"/>
                    <a:pt x="230" y="1639"/>
                    <a:pt x="219" y="1633"/>
                  </a:cubicBezTo>
                  <a:cubicBezTo>
                    <a:pt x="209" y="1628"/>
                    <a:pt x="209" y="1639"/>
                    <a:pt x="209" y="1639"/>
                  </a:cubicBezTo>
                  <a:cubicBezTo>
                    <a:pt x="195" y="1635"/>
                    <a:pt x="195" y="1635"/>
                    <a:pt x="195" y="1635"/>
                  </a:cubicBezTo>
                  <a:cubicBezTo>
                    <a:pt x="195" y="1635"/>
                    <a:pt x="180" y="1662"/>
                    <a:pt x="191" y="1662"/>
                  </a:cubicBezTo>
                  <a:cubicBezTo>
                    <a:pt x="201" y="1662"/>
                    <a:pt x="221" y="1662"/>
                    <a:pt x="221" y="1662"/>
                  </a:cubicBezTo>
                  <a:cubicBezTo>
                    <a:pt x="208" y="1688"/>
                    <a:pt x="208" y="1688"/>
                    <a:pt x="208" y="1688"/>
                  </a:cubicBezTo>
                  <a:cubicBezTo>
                    <a:pt x="217" y="1688"/>
                    <a:pt x="217" y="1688"/>
                    <a:pt x="217" y="1688"/>
                  </a:cubicBezTo>
                  <a:cubicBezTo>
                    <a:pt x="231" y="1675"/>
                    <a:pt x="231" y="1675"/>
                    <a:pt x="231" y="1675"/>
                  </a:cubicBezTo>
                  <a:cubicBezTo>
                    <a:pt x="230" y="1691"/>
                    <a:pt x="230" y="1691"/>
                    <a:pt x="230" y="1691"/>
                  </a:cubicBezTo>
                  <a:cubicBezTo>
                    <a:pt x="230" y="1691"/>
                    <a:pt x="244" y="1729"/>
                    <a:pt x="248" y="1727"/>
                  </a:cubicBezTo>
                  <a:close/>
                  <a:moveTo>
                    <a:pt x="163" y="1391"/>
                  </a:moveTo>
                  <a:cubicBezTo>
                    <a:pt x="165" y="1359"/>
                    <a:pt x="165" y="1359"/>
                    <a:pt x="165" y="1359"/>
                  </a:cubicBezTo>
                  <a:cubicBezTo>
                    <a:pt x="144" y="1339"/>
                    <a:pt x="144" y="1339"/>
                    <a:pt x="144" y="1339"/>
                  </a:cubicBezTo>
                  <a:cubicBezTo>
                    <a:pt x="154" y="1329"/>
                    <a:pt x="154" y="1329"/>
                    <a:pt x="154" y="1329"/>
                  </a:cubicBezTo>
                  <a:cubicBezTo>
                    <a:pt x="140" y="1313"/>
                    <a:pt x="140" y="1313"/>
                    <a:pt x="140" y="1313"/>
                  </a:cubicBezTo>
                  <a:cubicBezTo>
                    <a:pt x="117" y="1304"/>
                    <a:pt x="117" y="1304"/>
                    <a:pt x="117" y="1304"/>
                  </a:cubicBezTo>
                  <a:cubicBezTo>
                    <a:pt x="117" y="1304"/>
                    <a:pt x="114" y="1340"/>
                    <a:pt x="123" y="1343"/>
                  </a:cubicBezTo>
                  <a:cubicBezTo>
                    <a:pt x="131" y="1346"/>
                    <a:pt x="137" y="1366"/>
                    <a:pt x="137" y="1366"/>
                  </a:cubicBezTo>
                  <a:cubicBezTo>
                    <a:pt x="133" y="1379"/>
                    <a:pt x="133" y="1379"/>
                    <a:pt x="133" y="1379"/>
                  </a:cubicBezTo>
                  <a:lnTo>
                    <a:pt x="163" y="1391"/>
                  </a:lnTo>
                  <a:close/>
                  <a:moveTo>
                    <a:pt x="163" y="1453"/>
                  </a:moveTo>
                  <a:cubicBezTo>
                    <a:pt x="170" y="1461"/>
                    <a:pt x="170" y="1461"/>
                    <a:pt x="170" y="1461"/>
                  </a:cubicBezTo>
                  <a:cubicBezTo>
                    <a:pt x="188" y="1461"/>
                    <a:pt x="188" y="1461"/>
                    <a:pt x="188" y="1461"/>
                  </a:cubicBezTo>
                  <a:cubicBezTo>
                    <a:pt x="195" y="1448"/>
                    <a:pt x="195" y="1448"/>
                    <a:pt x="195" y="1448"/>
                  </a:cubicBezTo>
                  <a:cubicBezTo>
                    <a:pt x="176" y="1453"/>
                    <a:pt x="176" y="1453"/>
                    <a:pt x="176" y="1453"/>
                  </a:cubicBezTo>
                  <a:lnTo>
                    <a:pt x="163" y="1453"/>
                  </a:lnTo>
                  <a:close/>
                  <a:moveTo>
                    <a:pt x="186" y="1483"/>
                  </a:moveTo>
                  <a:cubicBezTo>
                    <a:pt x="188" y="1495"/>
                    <a:pt x="188" y="1495"/>
                    <a:pt x="188" y="1495"/>
                  </a:cubicBezTo>
                  <a:cubicBezTo>
                    <a:pt x="204" y="1505"/>
                    <a:pt x="204" y="1505"/>
                    <a:pt x="204" y="1505"/>
                  </a:cubicBezTo>
                  <a:cubicBezTo>
                    <a:pt x="204" y="1489"/>
                    <a:pt x="204" y="1489"/>
                    <a:pt x="204" y="1489"/>
                  </a:cubicBezTo>
                  <a:cubicBezTo>
                    <a:pt x="195" y="1473"/>
                    <a:pt x="195" y="1473"/>
                    <a:pt x="195" y="1473"/>
                  </a:cubicBezTo>
                  <a:cubicBezTo>
                    <a:pt x="173" y="1474"/>
                    <a:pt x="173" y="1474"/>
                    <a:pt x="173" y="1474"/>
                  </a:cubicBezTo>
                  <a:lnTo>
                    <a:pt x="186" y="1483"/>
                  </a:lnTo>
                  <a:close/>
                  <a:moveTo>
                    <a:pt x="212" y="1463"/>
                  </a:moveTo>
                  <a:cubicBezTo>
                    <a:pt x="212" y="1463"/>
                    <a:pt x="244" y="1444"/>
                    <a:pt x="222" y="1440"/>
                  </a:cubicBezTo>
                  <a:cubicBezTo>
                    <a:pt x="201" y="1435"/>
                    <a:pt x="199" y="1463"/>
                    <a:pt x="212" y="1463"/>
                  </a:cubicBezTo>
                  <a:close/>
                  <a:moveTo>
                    <a:pt x="166" y="1409"/>
                  </a:moveTo>
                  <a:cubicBezTo>
                    <a:pt x="152" y="1420"/>
                    <a:pt x="159" y="1430"/>
                    <a:pt x="169" y="1427"/>
                  </a:cubicBezTo>
                  <a:cubicBezTo>
                    <a:pt x="181" y="1423"/>
                    <a:pt x="180" y="1399"/>
                    <a:pt x="166" y="1409"/>
                  </a:cubicBezTo>
                  <a:close/>
                  <a:moveTo>
                    <a:pt x="156" y="1437"/>
                  </a:moveTo>
                  <a:cubicBezTo>
                    <a:pt x="143" y="1440"/>
                    <a:pt x="143" y="1440"/>
                    <a:pt x="143" y="1440"/>
                  </a:cubicBezTo>
                  <a:cubicBezTo>
                    <a:pt x="150" y="1453"/>
                    <a:pt x="150" y="1453"/>
                    <a:pt x="150" y="1453"/>
                  </a:cubicBezTo>
                  <a:lnTo>
                    <a:pt x="156" y="1437"/>
                  </a:lnTo>
                  <a:close/>
                  <a:moveTo>
                    <a:pt x="476" y="1919"/>
                  </a:moveTo>
                  <a:cubicBezTo>
                    <a:pt x="485" y="1915"/>
                    <a:pt x="484" y="1925"/>
                    <a:pt x="484" y="1925"/>
                  </a:cubicBezTo>
                  <a:cubicBezTo>
                    <a:pt x="484" y="1925"/>
                    <a:pt x="499" y="1928"/>
                    <a:pt x="514" y="1925"/>
                  </a:cubicBezTo>
                  <a:cubicBezTo>
                    <a:pt x="528" y="1921"/>
                    <a:pt x="498" y="1899"/>
                    <a:pt x="498" y="1899"/>
                  </a:cubicBezTo>
                  <a:cubicBezTo>
                    <a:pt x="498" y="1874"/>
                    <a:pt x="498" y="1874"/>
                    <a:pt x="498" y="1874"/>
                  </a:cubicBezTo>
                  <a:cubicBezTo>
                    <a:pt x="523" y="1872"/>
                    <a:pt x="523" y="1872"/>
                    <a:pt x="523" y="1872"/>
                  </a:cubicBezTo>
                  <a:cubicBezTo>
                    <a:pt x="521" y="1860"/>
                    <a:pt x="521" y="1860"/>
                    <a:pt x="521" y="1860"/>
                  </a:cubicBezTo>
                  <a:cubicBezTo>
                    <a:pt x="537" y="1862"/>
                    <a:pt x="537" y="1862"/>
                    <a:pt x="537" y="1862"/>
                  </a:cubicBezTo>
                  <a:cubicBezTo>
                    <a:pt x="542" y="1850"/>
                    <a:pt x="542" y="1850"/>
                    <a:pt x="542" y="1850"/>
                  </a:cubicBezTo>
                  <a:cubicBezTo>
                    <a:pt x="527" y="1838"/>
                    <a:pt x="527" y="1838"/>
                    <a:pt x="527" y="1838"/>
                  </a:cubicBezTo>
                  <a:cubicBezTo>
                    <a:pt x="527" y="1838"/>
                    <a:pt x="507" y="1839"/>
                    <a:pt x="491" y="1837"/>
                  </a:cubicBezTo>
                  <a:cubicBezTo>
                    <a:pt x="475" y="1835"/>
                    <a:pt x="449" y="1842"/>
                    <a:pt x="449" y="1842"/>
                  </a:cubicBezTo>
                  <a:cubicBezTo>
                    <a:pt x="437" y="1830"/>
                    <a:pt x="437" y="1830"/>
                    <a:pt x="437" y="1830"/>
                  </a:cubicBezTo>
                  <a:cubicBezTo>
                    <a:pt x="413" y="1819"/>
                    <a:pt x="413" y="1819"/>
                    <a:pt x="413" y="1819"/>
                  </a:cubicBezTo>
                  <a:cubicBezTo>
                    <a:pt x="406" y="1808"/>
                    <a:pt x="406" y="1808"/>
                    <a:pt x="406" y="1808"/>
                  </a:cubicBezTo>
                  <a:cubicBezTo>
                    <a:pt x="392" y="1792"/>
                    <a:pt x="392" y="1792"/>
                    <a:pt x="392" y="1792"/>
                  </a:cubicBezTo>
                  <a:cubicBezTo>
                    <a:pt x="392" y="1792"/>
                    <a:pt x="398" y="1780"/>
                    <a:pt x="383" y="1767"/>
                  </a:cubicBezTo>
                  <a:cubicBezTo>
                    <a:pt x="368" y="1754"/>
                    <a:pt x="362" y="1772"/>
                    <a:pt x="352" y="1772"/>
                  </a:cubicBezTo>
                  <a:cubicBezTo>
                    <a:pt x="342" y="1772"/>
                    <a:pt x="338" y="1747"/>
                    <a:pt x="338" y="1747"/>
                  </a:cubicBezTo>
                  <a:cubicBezTo>
                    <a:pt x="318" y="1743"/>
                    <a:pt x="318" y="1743"/>
                    <a:pt x="318" y="1743"/>
                  </a:cubicBezTo>
                  <a:cubicBezTo>
                    <a:pt x="318" y="1743"/>
                    <a:pt x="320" y="1723"/>
                    <a:pt x="315" y="1718"/>
                  </a:cubicBezTo>
                  <a:cubicBezTo>
                    <a:pt x="310" y="1713"/>
                    <a:pt x="308" y="1697"/>
                    <a:pt x="308" y="1697"/>
                  </a:cubicBezTo>
                  <a:cubicBezTo>
                    <a:pt x="315" y="1693"/>
                    <a:pt x="315" y="1693"/>
                    <a:pt x="315" y="1693"/>
                  </a:cubicBezTo>
                  <a:cubicBezTo>
                    <a:pt x="316" y="1680"/>
                    <a:pt x="316" y="1680"/>
                    <a:pt x="316" y="1680"/>
                  </a:cubicBezTo>
                  <a:cubicBezTo>
                    <a:pt x="316" y="1680"/>
                    <a:pt x="331" y="1675"/>
                    <a:pt x="334" y="1670"/>
                  </a:cubicBezTo>
                  <a:cubicBezTo>
                    <a:pt x="337" y="1665"/>
                    <a:pt x="317" y="1650"/>
                    <a:pt x="317" y="1650"/>
                  </a:cubicBezTo>
                  <a:cubicBezTo>
                    <a:pt x="317" y="1650"/>
                    <a:pt x="333" y="1641"/>
                    <a:pt x="332" y="1638"/>
                  </a:cubicBezTo>
                  <a:cubicBezTo>
                    <a:pt x="331" y="1635"/>
                    <a:pt x="312" y="1624"/>
                    <a:pt x="312" y="1624"/>
                  </a:cubicBezTo>
                  <a:cubicBezTo>
                    <a:pt x="315" y="1594"/>
                    <a:pt x="315" y="1594"/>
                    <a:pt x="315" y="1594"/>
                  </a:cubicBezTo>
                  <a:cubicBezTo>
                    <a:pt x="326" y="1590"/>
                    <a:pt x="326" y="1590"/>
                    <a:pt x="326" y="1590"/>
                  </a:cubicBezTo>
                  <a:cubicBezTo>
                    <a:pt x="316" y="1573"/>
                    <a:pt x="316" y="1573"/>
                    <a:pt x="316" y="1573"/>
                  </a:cubicBezTo>
                  <a:cubicBezTo>
                    <a:pt x="319" y="1551"/>
                    <a:pt x="319" y="1551"/>
                    <a:pt x="319" y="1551"/>
                  </a:cubicBezTo>
                  <a:cubicBezTo>
                    <a:pt x="304" y="1533"/>
                    <a:pt x="304" y="1533"/>
                    <a:pt x="304" y="1533"/>
                  </a:cubicBezTo>
                  <a:cubicBezTo>
                    <a:pt x="307" y="1518"/>
                    <a:pt x="307" y="1518"/>
                    <a:pt x="307" y="1518"/>
                  </a:cubicBezTo>
                  <a:cubicBezTo>
                    <a:pt x="291" y="1506"/>
                    <a:pt x="291" y="1506"/>
                    <a:pt x="291" y="1506"/>
                  </a:cubicBezTo>
                  <a:cubicBezTo>
                    <a:pt x="291" y="1506"/>
                    <a:pt x="304" y="1495"/>
                    <a:pt x="307" y="1487"/>
                  </a:cubicBezTo>
                  <a:cubicBezTo>
                    <a:pt x="310" y="1479"/>
                    <a:pt x="287" y="1470"/>
                    <a:pt x="287" y="1470"/>
                  </a:cubicBezTo>
                  <a:cubicBezTo>
                    <a:pt x="287" y="1470"/>
                    <a:pt x="264" y="1463"/>
                    <a:pt x="263" y="1460"/>
                  </a:cubicBezTo>
                  <a:cubicBezTo>
                    <a:pt x="262" y="1457"/>
                    <a:pt x="294" y="1460"/>
                    <a:pt x="296" y="1449"/>
                  </a:cubicBezTo>
                  <a:cubicBezTo>
                    <a:pt x="298" y="1438"/>
                    <a:pt x="279" y="1443"/>
                    <a:pt x="272" y="1443"/>
                  </a:cubicBezTo>
                  <a:cubicBezTo>
                    <a:pt x="265" y="1443"/>
                    <a:pt x="260" y="1433"/>
                    <a:pt x="260" y="1433"/>
                  </a:cubicBezTo>
                  <a:cubicBezTo>
                    <a:pt x="260" y="1433"/>
                    <a:pt x="259" y="1416"/>
                    <a:pt x="258" y="1405"/>
                  </a:cubicBezTo>
                  <a:cubicBezTo>
                    <a:pt x="257" y="1394"/>
                    <a:pt x="241" y="1393"/>
                    <a:pt x="241" y="1393"/>
                  </a:cubicBezTo>
                  <a:cubicBezTo>
                    <a:pt x="245" y="1375"/>
                    <a:pt x="245" y="1375"/>
                    <a:pt x="245" y="1375"/>
                  </a:cubicBezTo>
                  <a:cubicBezTo>
                    <a:pt x="235" y="1370"/>
                    <a:pt x="235" y="1370"/>
                    <a:pt x="235" y="1370"/>
                  </a:cubicBezTo>
                  <a:cubicBezTo>
                    <a:pt x="235" y="1370"/>
                    <a:pt x="226" y="1366"/>
                    <a:pt x="223" y="1358"/>
                  </a:cubicBezTo>
                  <a:cubicBezTo>
                    <a:pt x="220" y="1350"/>
                    <a:pt x="215" y="1320"/>
                    <a:pt x="215" y="1320"/>
                  </a:cubicBezTo>
                  <a:cubicBezTo>
                    <a:pt x="215" y="1320"/>
                    <a:pt x="226" y="1311"/>
                    <a:pt x="231" y="1312"/>
                  </a:cubicBezTo>
                  <a:cubicBezTo>
                    <a:pt x="236" y="1313"/>
                    <a:pt x="207" y="1292"/>
                    <a:pt x="204" y="1286"/>
                  </a:cubicBezTo>
                  <a:cubicBezTo>
                    <a:pt x="201" y="1280"/>
                    <a:pt x="201" y="1261"/>
                    <a:pt x="201" y="1261"/>
                  </a:cubicBezTo>
                  <a:cubicBezTo>
                    <a:pt x="201" y="1261"/>
                    <a:pt x="194" y="1250"/>
                    <a:pt x="193" y="1244"/>
                  </a:cubicBezTo>
                  <a:cubicBezTo>
                    <a:pt x="192" y="1238"/>
                    <a:pt x="197" y="1220"/>
                    <a:pt x="197" y="1220"/>
                  </a:cubicBezTo>
                  <a:cubicBezTo>
                    <a:pt x="183" y="1212"/>
                    <a:pt x="183" y="1212"/>
                    <a:pt x="183" y="1212"/>
                  </a:cubicBezTo>
                  <a:cubicBezTo>
                    <a:pt x="183" y="1212"/>
                    <a:pt x="188" y="1204"/>
                    <a:pt x="187" y="1196"/>
                  </a:cubicBezTo>
                  <a:cubicBezTo>
                    <a:pt x="186" y="1188"/>
                    <a:pt x="176" y="1183"/>
                    <a:pt x="176" y="1183"/>
                  </a:cubicBezTo>
                  <a:cubicBezTo>
                    <a:pt x="189" y="1174"/>
                    <a:pt x="189" y="1174"/>
                    <a:pt x="189" y="1174"/>
                  </a:cubicBezTo>
                  <a:cubicBezTo>
                    <a:pt x="181" y="1146"/>
                    <a:pt x="181" y="1146"/>
                    <a:pt x="181" y="1146"/>
                  </a:cubicBezTo>
                  <a:cubicBezTo>
                    <a:pt x="181" y="1146"/>
                    <a:pt x="195" y="1141"/>
                    <a:pt x="200" y="1132"/>
                  </a:cubicBezTo>
                  <a:cubicBezTo>
                    <a:pt x="205" y="1123"/>
                    <a:pt x="186" y="1114"/>
                    <a:pt x="186" y="1114"/>
                  </a:cubicBezTo>
                  <a:cubicBezTo>
                    <a:pt x="185" y="1102"/>
                    <a:pt x="185" y="1102"/>
                    <a:pt x="185" y="1102"/>
                  </a:cubicBezTo>
                  <a:cubicBezTo>
                    <a:pt x="165" y="1085"/>
                    <a:pt x="165" y="1085"/>
                    <a:pt x="165" y="1085"/>
                  </a:cubicBezTo>
                  <a:cubicBezTo>
                    <a:pt x="165" y="1085"/>
                    <a:pt x="165" y="1064"/>
                    <a:pt x="165" y="1057"/>
                  </a:cubicBezTo>
                  <a:cubicBezTo>
                    <a:pt x="165" y="1050"/>
                    <a:pt x="153" y="1017"/>
                    <a:pt x="153" y="1017"/>
                  </a:cubicBezTo>
                  <a:cubicBezTo>
                    <a:pt x="170" y="1016"/>
                    <a:pt x="170" y="1016"/>
                    <a:pt x="170" y="1016"/>
                  </a:cubicBezTo>
                  <a:cubicBezTo>
                    <a:pt x="172" y="1004"/>
                    <a:pt x="172" y="1004"/>
                    <a:pt x="172" y="1004"/>
                  </a:cubicBezTo>
                  <a:cubicBezTo>
                    <a:pt x="172" y="1004"/>
                    <a:pt x="176" y="993"/>
                    <a:pt x="175" y="983"/>
                  </a:cubicBezTo>
                  <a:cubicBezTo>
                    <a:pt x="174" y="973"/>
                    <a:pt x="157" y="955"/>
                    <a:pt x="157" y="955"/>
                  </a:cubicBezTo>
                  <a:cubicBezTo>
                    <a:pt x="166" y="954"/>
                    <a:pt x="166" y="954"/>
                    <a:pt x="166" y="954"/>
                  </a:cubicBezTo>
                  <a:cubicBezTo>
                    <a:pt x="166" y="954"/>
                    <a:pt x="167" y="915"/>
                    <a:pt x="167" y="911"/>
                  </a:cubicBezTo>
                  <a:cubicBezTo>
                    <a:pt x="167" y="907"/>
                    <a:pt x="176" y="900"/>
                    <a:pt x="179" y="894"/>
                  </a:cubicBezTo>
                  <a:cubicBezTo>
                    <a:pt x="182" y="888"/>
                    <a:pt x="167" y="869"/>
                    <a:pt x="167" y="869"/>
                  </a:cubicBezTo>
                  <a:cubicBezTo>
                    <a:pt x="165" y="844"/>
                    <a:pt x="165" y="844"/>
                    <a:pt x="165" y="844"/>
                  </a:cubicBezTo>
                  <a:cubicBezTo>
                    <a:pt x="165" y="844"/>
                    <a:pt x="161" y="846"/>
                    <a:pt x="149" y="843"/>
                  </a:cubicBezTo>
                  <a:cubicBezTo>
                    <a:pt x="137" y="840"/>
                    <a:pt x="145" y="821"/>
                    <a:pt x="145" y="821"/>
                  </a:cubicBezTo>
                  <a:cubicBezTo>
                    <a:pt x="142" y="815"/>
                    <a:pt x="142" y="815"/>
                    <a:pt x="142" y="815"/>
                  </a:cubicBezTo>
                  <a:cubicBezTo>
                    <a:pt x="134" y="794"/>
                    <a:pt x="134" y="794"/>
                    <a:pt x="134" y="794"/>
                  </a:cubicBezTo>
                  <a:cubicBezTo>
                    <a:pt x="121" y="784"/>
                    <a:pt x="121" y="784"/>
                    <a:pt x="121" y="784"/>
                  </a:cubicBezTo>
                  <a:cubicBezTo>
                    <a:pt x="121" y="784"/>
                    <a:pt x="123" y="775"/>
                    <a:pt x="125" y="771"/>
                  </a:cubicBezTo>
                  <a:cubicBezTo>
                    <a:pt x="127" y="767"/>
                    <a:pt x="104" y="752"/>
                    <a:pt x="104" y="752"/>
                  </a:cubicBezTo>
                  <a:cubicBezTo>
                    <a:pt x="104" y="752"/>
                    <a:pt x="102" y="735"/>
                    <a:pt x="102" y="730"/>
                  </a:cubicBezTo>
                  <a:cubicBezTo>
                    <a:pt x="102" y="725"/>
                    <a:pt x="112" y="724"/>
                    <a:pt x="112" y="724"/>
                  </a:cubicBezTo>
                  <a:cubicBezTo>
                    <a:pt x="109" y="685"/>
                    <a:pt x="109" y="685"/>
                    <a:pt x="109" y="685"/>
                  </a:cubicBezTo>
                  <a:cubicBezTo>
                    <a:pt x="109" y="685"/>
                    <a:pt x="118" y="690"/>
                    <a:pt x="123" y="685"/>
                  </a:cubicBezTo>
                  <a:cubicBezTo>
                    <a:pt x="128" y="680"/>
                    <a:pt x="105" y="635"/>
                    <a:pt x="104" y="631"/>
                  </a:cubicBezTo>
                  <a:cubicBezTo>
                    <a:pt x="103" y="627"/>
                    <a:pt x="112" y="619"/>
                    <a:pt x="114" y="615"/>
                  </a:cubicBezTo>
                  <a:cubicBezTo>
                    <a:pt x="116" y="611"/>
                    <a:pt x="111" y="586"/>
                    <a:pt x="111" y="576"/>
                  </a:cubicBezTo>
                  <a:cubicBezTo>
                    <a:pt x="111" y="566"/>
                    <a:pt x="129" y="558"/>
                    <a:pt x="130" y="553"/>
                  </a:cubicBezTo>
                  <a:cubicBezTo>
                    <a:pt x="131" y="548"/>
                    <a:pt x="137" y="510"/>
                    <a:pt x="137" y="510"/>
                  </a:cubicBezTo>
                  <a:cubicBezTo>
                    <a:pt x="137" y="510"/>
                    <a:pt x="159" y="509"/>
                    <a:pt x="162" y="498"/>
                  </a:cubicBezTo>
                  <a:cubicBezTo>
                    <a:pt x="165" y="487"/>
                    <a:pt x="134" y="476"/>
                    <a:pt x="134" y="476"/>
                  </a:cubicBezTo>
                  <a:cubicBezTo>
                    <a:pt x="134" y="476"/>
                    <a:pt x="151" y="464"/>
                    <a:pt x="152" y="454"/>
                  </a:cubicBezTo>
                  <a:cubicBezTo>
                    <a:pt x="153" y="444"/>
                    <a:pt x="134" y="436"/>
                    <a:pt x="129" y="429"/>
                  </a:cubicBezTo>
                  <a:cubicBezTo>
                    <a:pt x="124" y="422"/>
                    <a:pt x="134" y="413"/>
                    <a:pt x="143" y="404"/>
                  </a:cubicBezTo>
                  <a:cubicBezTo>
                    <a:pt x="152" y="395"/>
                    <a:pt x="125" y="401"/>
                    <a:pt x="124" y="387"/>
                  </a:cubicBezTo>
                  <a:cubicBezTo>
                    <a:pt x="123" y="373"/>
                    <a:pt x="178" y="349"/>
                    <a:pt x="178" y="349"/>
                  </a:cubicBezTo>
                  <a:cubicBezTo>
                    <a:pt x="184" y="293"/>
                    <a:pt x="184" y="293"/>
                    <a:pt x="184" y="293"/>
                  </a:cubicBezTo>
                  <a:cubicBezTo>
                    <a:pt x="177" y="282"/>
                    <a:pt x="177" y="282"/>
                    <a:pt x="177" y="282"/>
                  </a:cubicBezTo>
                  <a:cubicBezTo>
                    <a:pt x="170" y="284"/>
                    <a:pt x="161" y="285"/>
                    <a:pt x="153" y="284"/>
                  </a:cubicBezTo>
                  <a:cubicBezTo>
                    <a:pt x="141" y="283"/>
                    <a:pt x="142" y="257"/>
                    <a:pt x="142" y="257"/>
                  </a:cubicBezTo>
                  <a:cubicBezTo>
                    <a:pt x="129" y="241"/>
                    <a:pt x="129" y="241"/>
                    <a:pt x="129" y="241"/>
                  </a:cubicBezTo>
                  <a:cubicBezTo>
                    <a:pt x="129" y="241"/>
                    <a:pt x="131" y="211"/>
                    <a:pt x="129" y="200"/>
                  </a:cubicBezTo>
                  <a:cubicBezTo>
                    <a:pt x="126" y="189"/>
                    <a:pt x="97" y="178"/>
                    <a:pt x="97" y="178"/>
                  </a:cubicBezTo>
                  <a:cubicBezTo>
                    <a:pt x="97" y="161"/>
                    <a:pt x="97" y="161"/>
                    <a:pt x="97" y="161"/>
                  </a:cubicBezTo>
                  <a:cubicBezTo>
                    <a:pt x="97" y="161"/>
                    <a:pt x="92" y="158"/>
                    <a:pt x="88" y="148"/>
                  </a:cubicBezTo>
                  <a:cubicBezTo>
                    <a:pt x="84" y="139"/>
                    <a:pt x="99" y="127"/>
                    <a:pt x="99" y="127"/>
                  </a:cubicBezTo>
                  <a:cubicBezTo>
                    <a:pt x="88" y="116"/>
                    <a:pt x="88" y="116"/>
                    <a:pt x="88" y="116"/>
                  </a:cubicBezTo>
                  <a:cubicBezTo>
                    <a:pt x="88" y="116"/>
                    <a:pt x="96" y="110"/>
                    <a:pt x="100" y="98"/>
                  </a:cubicBezTo>
                  <a:cubicBezTo>
                    <a:pt x="104" y="86"/>
                    <a:pt x="68" y="74"/>
                    <a:pt x="68" y="74"/>
                  </a:cubicBezTo>
                  <a:cubicBezTo>
                    <a:pt x="59" y="22"/>
                    <a:pt x="59" y="22"/>
                    <a:pt x="59" y="22"/>
                  </a:cubicBezTo>
                  <a:cubicBezTo>
                    <a:pt x="45" y="22"/>
                    <a:pt x="45" y="22"/>
                    <a:pt x="45" y="22"/>
                  </a:cubicBezTo>
                  <a:cubicBezTo>
                    <a:pt x="34" y="0"/>
                    <a:pt x="34" y="0"/>
                    <a:pt x="34" y="0"/>
                  </a:cubicBezTo>
                  <a:cubicBezTo>
                    <a:pt x="23" y="7"/>
                    <a:pt x="23" y="7"/>
                    <a:pt x="23" y="7"/>
                  </a:cubicBezTo>
                  <a:cubicBezTo>
                    <a:pt x="23" y="7"/>
                    <a:pt x="35" y="21"/>
                    <a:pt x="23" y="30"/>
                  </a:cubicBezTo>
                  <a:cubicBezTo>
                    <a:pt x="16" y="36"/>
                    <a:pt x="7" y="42"/>
                    <a:pt x="1" y="46"/>
                  </a:cubicBezTo>
                  <a:cubicBezTo>
                    <a:pt x="0" y="72"/>
                    <a:pt x="0" y="72"/>
                    <a:pt x="0" y="72"/>
                  </a:cubicBezTo>
                  <a:cubicBezTo>
                    <a:pt x="0" y="72"/>
                    <a:pt x="13" y="99"/>
                    <a:pt x="19" y="119"/>
                  </a:cubicBezTo>
                  <a:cubicBezTo>
                    <a:pt x="25" y="139"/>
                    <a:pt x="24" y="169"/>
                    <a:pt x="24" y="182"/>
                  </a:cubicBezTo>
                  <a:cubicBezTo>
                    <a:pt x="24" y="195"/>
                    <a:pt x="32" y="206"/>
                    <a:pt x="33" y="229"/>
                  </a:cubicBezTo>
                  <a:cubicBezTo>
                    <a:pt x="34" y="253"/>
                    <a:pt x="34" y="290"/>
                    <a:pt x="34" y="290"/>
                  </a:cubicBezTo>
                  <a:cubicBezTo>
                    <a:pt x="20" y="298"/>
                    <a:pt x="20" y="298"/>
                    <a:pt x="20" y="298"/>
                  </a:cubicBezTo>
                  <a:cubicBezTo>
                    <a:pt x="23" y="318"/>
                    <a:pt x="23" y="318"/>
                    <a:pt x="23" y="318"/>
                  </a:cubicBezTo>
                  <a:cubicBezTo>
                    <a:pt x="38" y="327"/>
                    <a:pt x="38" y="327"/>
                    <a:pt x="38" y="327"/>
                  </a:cubicBezTo>
                  <a:cubicBezTo>
                    <a:pt x="32" y="389"/>
                    <a:pt x="32" y="389"/>
                    <a:pt x="32" y="389"/>
                  </a:cubicBezTo>
                  <a:cubicBezTo>
                    <a:pt x="47" y="417"/>
                    <a:pt x="47" y="417"/>
                    <a:pt x="47" y="417"/>
                  </a:cubicBezTo>
                  <a:cubicBezTo>
                    <a:pt x="36" y="430"/>
                    <a:pt x="36" y="430"/>
                    <a:pt x="36" y="430"/>
                  </a:cubicBezTo>
                  <a:cubicBezTo>
                    <a:pt x="42" y="472"/>
                    <a:pt x="42" y="472"/>
                    <a:pt x="42" y="472"/>
                  </a:cubicBezTo>
                  <a:cubicBezTo>
                    <a:pt x="42" y="472"/>
                    <a:pt x="49" y="475"/>
                    <a:pt x="51" y="492"/>
                  </a:cubicBezTo>
                  <a:cubicBezTo>
                    <a:pt x="53" y="508"/>
                    <a:pt x="42" y="509"/>
                    <a:pt x="42" y="509"/>
                  </a:cubicBezTo>
                  <a:cubicBezTo>
                    <a:pt x="40" y="531"/>
                    <a:pt x="40" y="531"/>
                    <a:pt x="40" y="531"/>
                  </a:cubicBezTo>
                  <a:cubicBezTo>
                    <a:pt x="47" y="540"/>
                    <a:pt x="47" y="540"/>
                    <a:pt x="47" y="540"/>
                  </a:cubicBezTo>
                  <a:cubicBezTo>
                    <a:pt x="47" y="540"/>
                    <a:pt x="40" y="545"/>
                    <a:pt x="34" y="559"/>
                  </a:cubicBezTo>
                  <a:cubicBezTo>
                    <a:pt x="28" y="573"/>
                    <a:pt x="40" y="571"/>
                    <a:pt x="40" y="571"/>
                  </a:cubicBezTo>
                  <a:cubicBezTo>
                    <a:pt x="40" y="571"/>
                    <a:pt x="44" y="580"/>
                    <a:pt x="44" y="591"/>
                  </a:cubicBezTo>
                  <a:cubicBezTo>
                    <a:pt x="44" y="602"/>
                    <a:pt x="33" y="599"/>
                    <a:pt x="33" y="619"/>
                  </a:cubicBezTo>
                  <a:cubicBezTo>
                    <a:pt x="33" y="640"/>
                    <a:pt x="49" y="638"/>
                    <a:pt x="52" y="648"/>
                  </a:cubicBezTo>
                  <a:cubicBezTo>
                    <a:pt x="56" y="657"/>
                    <a:pt x="52" y="681"/>
                    <a:pt x="52" y="681"/>
                  </a:cubicBezTo>
                  <a:cubicBezTo>
                    <a:pt x="52" y="681"/>
                    <a:pt x="45" y="679"/>
                    <a:pt x="40" y="681"/>
                  </a:cubicBezTo>
                  <a:cubicBezTo>
                    <a:pt x="36" y="683"/>
                    <a:pt x="40" y="700"/>
                    <a:pt x="47" y="720"/>
                  </a:cubicBezTo>
                  <a:cubicBezTo>
                    <a:pt x="55" y="740"/>
                    <a:pt x="66" y="770"/>
                    <a:pt x="66" y="770"/>
                  </a:cubicBezTo>
                  <a:cubicBezTo>
                    <a:pt x="66" y="770"/>
                    <a:pt x="69" y="784"/>
                    <a:pt x="76" y="790"/>
                  </a:cubicBezTo>
                  <a:cubicBezTo>
                    <a:pt x="83" y="796"/>
                    <a:pt x="79" y="826"/>
                    <a:pt x="79" y="826"/>
                  </a:cubicBezTo>
                  <a:cubicBezTo>
                    <a:pt x="76" y="845"/>
                    <a:pt x="76" y="845"/>
                    <a:pt x="76" y="845"/>
                  </a:cubicBezTo>
                  <a:cubicBezTo>
                    <a:pt x="92" y="862"/>
                    <a:pt x="92" y="862"/>
                    <a:pt x="92" y="862"/>
                  </a:cubicBezTo>
                  <a:cubicBezTo>
                    <a:pt x="92" y="862"/>
                    <a:pt x="82" y="889"/>
                    <a:pt x="82" y="903"/>
                  </a:cubicBezTo>
                  <a:cubicBezTo>
                    <a:pt x="82" y="917"/>
                    <a:pt x="82" y="947"/>
                    <a:pt x="82" y="947"/>
                  </a:cubicBezTo>
                  <a:cubicBezTo>
                    <a:pt x="66" y="972"/>
                    <a:pt x="66" y="972"/>
                    <a:pt x="66" y="972"/>
                  </a:cubicBezTo>
                  <a:cubicBezTo>
                    <a:pt x="76" y="979"/>
                    <a:pt x="76" y="979"/>
                    <a:pt x="76" y="979"/>
                  </a:cubicBezTo>
                  <a:cubicBezTo>
                    <a:pt x="76" y="979"/>
                    <a:pt x="72" y="995"/>
                    <a:pt x="72" y="1004"/>
                  </a:cubicBezTo>
                  <a:cubicBezTo>
                    <a:pt x="72" y="1012"/>
                    <a:pt x="66" y="1056"/>
                    <a:pt x="66" y="1056"/>
                  </a:cubicBezTo>
                  <a:cubicBezTo>
                    <a:pt x="56" y="1058"/>
                    <a:pt x="56" y="1058"/>
                    <a:pt x="56" y="1058"/>
                  </a:cubicBezTo>
                  <a:cubicBezTo>
                    <a:pt x="56" y="1072"/>
                    <a:pt x="56" y="1072"/>
                    <a:pt x="56" y="1072"/>
                  </a:cubicBezTo>
                  <a:cubicBezTo>
                    <a:pt x="72" y="1102"/>
                    <a:pt x="72" y="1102"/>
                    <a:pt x="72" y="1102"/>
                  </a:cubicBezTo>
                  <a:cubicBezTo>
                    <a:pt x="72" y="1102"/>
                    <a:pt x="72" y="1121"/>
                    <a:pt x="72" y="1131"/>
                  </a:cubicBezTo>
                  <a:cubicBezTo>
                    <a:pt x="72" y="1142"/>
                    <a:pt x="95" y="1149"/>
                    <a:pt x="101" y="1165"/>
                  </a:cubicBezTo>
                  <a:cubicBezTo>
                    <a:pt x="107" y="1180"/>
                    <a:pt x="98" y="1218"/>
                    <a:pt x="98" y="1218"/>
                  </a:cubicBezTo>
                  <a:cubicBezTo>
                    <a:pt x="107" y="1225"/>
                    <a:pt x="107" y="1225"/>
                    <a:pt x="107" y="1225"/>
                  </a:cubicBezTo>
                  <a:cubicBezTo>
                    <a:pt x="107" y="1225"/>
                    <a:pt x="107" y="1254"/>
                    <a:pt x="107" y="1266"/>
                  </a:cubicBezTo>
                  <a:cubicBezTo>
                    <a:pt x="107" y="1278"/>
                    <a:pt x="134" y="1286"/>
                    <a:pt x="134" y="1286"/>
                  </a:cubicBezTo>
                  <a:cubicBezTo>
                    <a:pt x="129" y="1299"/>
                    <a:pt x="129" y="1299"/>
                    <a:pt x="129" y="1299"/>
                  </a:cubicBezTo>
                  <a:cubicBezTo>
                    <a:pt x="156" y="1299"/>
                    <a:pt x="156" y="1299"/>
                    <a:pt x="156" y="1299"/>
                  </a:cubicBezTo>
                  <a:cubicBezTo>
                    <a:pt x="156" y="1279"/>
                    <a:pt x="156" y="1279"/>
                    <a:pt x="156" y="1279"/>
                  </a:cubicBezTo>
                  <a:cubicBezTo>
                    <a:pt x="156" y="1279"/>
                    <a:pt x="169" y="1289"/>
                    <a:pt x="177" y="1290"/>
                  </a:cubicBezTo>
                  <a:cubicBezTo>
                    <a:pt x="186" y="1291"/>
                    <a:pt x="186" y="1277"/>
                    <a:pt x="186" y="1277"/>
                  </a:cubicBezTo>
                  <a:cubicBezTo>
                    <a:pt x="192" y="1290"/>
                    <a:pt x="192" y="1290"/>
                    <a:pt x="192" y="1290"/>
                  </a:cubicBezTo>
                  <a:cubicBezTo>
                    <a:pt x="192" y="1290"/>
                    <a:pt x="175" y="1300"/>
                    <a:pt x="173" y="1311"/>
                  </a:cubicBezTo>
                  <a:cubicBezTo>
                    <a:pt x="170" y="1322"/>
                    <a:pt x="186" y="1310"/>
                    <a:pt x="193" y="1313"/>
                  </a:cubicBezTo>
                  <a:cubicBezTo>
                    <a:pt x="200" y="1317"/>
                    <a:pt x="198" y="1330"/>
                    <a:pt x="198" y="1330"/>
                  </a:cubicBezTo>
                  <a:cubicBezTo>
                    <a:pt x="179" y="1328"/>
                    <a:pt x="179" y="1328"/>
                    <a:pt x="179" y="1328"/>
                  </a:cubicBezTo>
                  <a:cubicBezTo>
                    <a:pt x="190" y="1341"/>
                    <a:pt x="190" y="1341"/>
                    <a:pt x="190" y="1341"/>
                  </a:cubicBezTo>
                  <a:cubicBezTo>
                    <a:pt x="183" y="1349"/>
                    <a:pt x="183" y="1349"/>
                    <a:pt x="183" y="1349"/>
                  </a:cubicBezTo>
                  <a:cubicBezTo>
                    <a:pt x="195" y="1367"/>
                    <a:pt x="195" y="1367"/>
                    <a:pt x="195" y="1367"/>
                  </a:cubicBezTo>
                  <a:cubicBezTo>
                    <a:pt x="195" y="1367"/>
                    <a:pt x="188" y="1375"/>
                    <a:pt x="181" y="1384"/>
                  </a:cubicBezTo>
                  <a:cubicBezTo>
                    <a:pt x="174" y="1394"/>
                    <a:pt x="212" y="1403"/>
                    <a:pt x="212" y="1403"/>
                  </a:cubicBezTo>
                  <a:cubicBezTo>
                    <a:pt x="212" y="1403"/>
                    <a:pt x="205" y="1409"/>
                    <a:pt x="200" y="1413"/>
                  </a:cubicBezTo>
                  <a:cubicBezTo>
                    <a:pt x="195" y="1416"/>
                    <a:pt x="202" y="1427"/>
                    <a:pt x="212" y="1432"/>
                  </a:cubicBezTo>
                  <a:cubicBezTo>
                    <a:pt x="221" y="1436"/>
                    <a:pt x="234" y="1433"/>
                    <a:pt x="234" y="1433"/>
                  </a:cubicBezTo>
                  <a:cubicBezTo>
                    <a:pt x="239" y="1457"/>
                    <a:pt x="239" y="1457"/>
                    <a:pt x="239" y="1457"/>
                  </a:cubicBezTo>
                  <a:cubicBezTo>
                    <a:pt x="239" y="1457"/>
                    <a:pt x="219" y="1470"/>
                    <a:pt x="214" y="1477"/>
                  </a:cubicBezTo>
                  <a:cubicBezTo>
                    <a:pt x="209" y="1484"/>
                    <a:pt x="228" y="1485"/>
                    <a:pt x="228" y="1485"/>
                  </a:cubicBezTo>
                  <a:cubicBezTo>
                    <a:pt x="228" y="1485"/>
                    <a:pt x="252" y="1490"/>
                    <a:pt x="252" y="1497"/>
                  </a:cubicBezTo>
                  <a:cubicBezTo>
                    <a:pt x="252" y="1504"/>
                    <a:pt x="237" y="1498"/>
                    <a:pt x="227" y="1493"/>
                  </a:cubicBezTo>
                  <a:cubicBezTo>
                    <a:pt x="218" y="1488"/>
                    <a:pt x="216" y="1503"/>
                    <a:pt x="216" y="1503"/>
                  </a:cubicBezTo>
                  <a:cubicBezTo>
                    <a:pt x="235" y="1507"/>
                    <a:pt x="235" y="1507"/>
                    <a:pt x="235" y="1507"/>
                  </a:cubicBezTo>
                  <a:cubicBezTo>
                    <a:pt x="221" y="1514"/>
                    <a:pt x="221" y="1514"/>
                    <a:pt x="221" y="1514"/>
                  </a:cubicBezTo>
                  <a:cubicBezTo>
                    <a:pt x="222" y="1531"/>
                    <a:pt x="222" y="1531"/>
                    <a:pt x="222" y="1531"/>
                  </a:cubicBezTo>
                  <a:cubicBezTo>
                    <a:pt x="222" y="1531"/>
                    <a:pt x="238" y="1523"/>
                    <a:pt x="231" y="1544"/>
                  </a:cubicBezTo>
                  <a:cubicBezTo>
                    <a:pt x="224" y="1565"/>
                    <a:pt x="214" y="1535"/>
                    <a:pt x="214" y="1535"/>
                  </a:cubicBezTo>
                  <a:cubicBezTo>
                    <a:pt x="190" y="1536"/>
                    <a:pt x="190" y="1536"/>
                    <a:pt x="190" y="1536"/>
                  </a:cubicBezTo>
                  <a:cubicBezTo>
                    <a:pt x="206" y="1529"/>
                    <a:pt x="206" y="1529"/>
                    <a:pt x="206" y="1529"/>
                  </a:cubicBezTo>
                  <a:cubicBezTo>
                    <a:pt x="206" y="1529"/>
                    <a:pt x="189" y="1511"/>
                    <a:pt x="186" y="1512"/>
                  </a:cubicBezTo>
                  <a:cubicBezTo>
                    <a:pt x="182" y="1513"/>
                    <a:pt x="185" y="1522"/>
                    <a:pt x="185" y="1522"/>
                  </a:cubicBezTo>
                  <a:cubicBezTo>
                    <a:pt x="179" y="1516"/>
                    <a:pt x="179" y="1516"/>
                    <a:pt x="179" y="1516"/>
                  </a:cubicBezTo>
                  <a:cubicBezTo>
                    <a:pt x="154" y="1523"/>
                    <a:pt x="154" y="1523"/>
                    <a:pt x="154" y="1523"/>
                  </a:cubicBezTo>
                  <a:cubicBezTo>
                    <a:pt x="176" y="1528"/>
                    <a:pt x="176" y="1528"/>
                    <a:pt x="176" y="1528"/>
                  </a:cubicBezTo>
                  <a:cubicBezTo>
                    <a:pt x="176" y="1528"/>
                    <a:pt x="172" y="1531"/>
                    <a:pt x="168" y="1537"/>
                  </a:cubicBezTo>
                  <a:cubicBezTo>
                    <a:pt x="164" y="1543"/>
                    <a:pt x="148" y="1549"/>
                    <a:pt x="147" y="1558"/>
                  </a:cubicBezTo>
                  <a:cubicBezTo>
                    <a:pt x="146" y="1568"/>
                    <a:pt x="166" y="1572"/>
                    <a:pt x="169" y="1570"/>
                  </a:cubicBezTo>
                  <a:cubicBezTo>
                    <a:pt x="173" y="1568"/>
                    <a:pt x="161" y="1559"/>
                    <a:pt x="161" y="1559"/>
                  </a:cubicBezTo>
                  <a:cubicBezTo>
                    <a:pt x="176" y="1556"/>
                    <a:pt x="176" y="1556"/>
                    <a:pt x="176" y="1556"/>
                  </a:cubicBezTo>
                  <a:cubicBezTo>
                    <a:pt x="176" y="1556"/>
                    <a:pt x="183" y="1561"/>
                    <a:pt x="187" y="1565"/>
                  </a:cubicBezTo>
                  <a:cubicBezTo>
                    <a:pt x="190" y="1570"/>
                    <a:pt x="214" y="1567"/>
                    <a:pt x="214" y="1567"/>
                  </a:cubicBezTo>
                  <a:cubicBezTo>
                    <a:pt x="214" y="1567"/>
                    <a:pt x="229" y="1574"/>
                    <a:pt x="235" y="1582"/>
                  </a:cubicBezTo>
                  <a:cubicBezTo>
                    <a:pt x="241" y="1590"/>
                    <a:pt x="222" y="1598"/>
                    <a:pt x="222" y="1598"/>
                  </a:cubicBezTo>
                  <a:cubicBezTo>
                    <a:pt x="228" y="1608"/>
                    <a:pt x="228" y="1608"/>
                    <a:pt x="228" y="1608"/>
                  </a:cubicBezTo>
                  <a:cubicBezTo>
                    <a:pt x="240" y="1604"/>
                    <a:pt x="240" y="1604"/>
                    <a:pt x="240" y="1604"/>
                  </a:cubicBezTo>
                  <a:cubicBezTo>
                    <a:pt x="240" y="1615"/>
                    <a:pt x="240" y="1615"/>
                    <a:pt x="240" y="1615"/>
                  </a:cubicBezTo>
                  <a:cubicBezTo>
                    <a:pt x="252" y="1620"/>
                    <a:pt x="252" y="1620"/>
                    <a:pt x="252" y="1620"/>
                  </a:cubicBezTo>
                  <a:cubicBezTo>
                    <a:pt x="257" y="1604"/>
                    <a:pt x="257" y="1604"/>
                    <a:pt x="257" y="1604"/>
                  </a:cubicBezTo>
                  <a:cubicBezTo>
                    <a:pt x="266" y="1620"/>
                    <a:pt x="266" y="1620"/>
                    <a:pt x="266" y="1620"/>
                  </a:cubicBezTo>
                  <a:cubicBezTo>
                    <a:pt x="266" y="1620"/>
                    <a:pt x="285" y="1620"/>
                    <a:pt x="283" y="1634"/>
                  </a:cubicBezTo>
                  <a:cubicBezTo>
                    <a:pt x="280" y="1648"/>
                    <a:pt x="258" y="1632"/>
                    <a:pt x="250" y="1630"/>
                  </a:cubicBezTo>
                  <a:cubicBezTo>
                    <a:pt x="241" y="1629"/>
                    <a:pt x="248" y="1643"/>
                    <a:pt x="248" y="1643"/>
                  </a:cubicBezTo>
                  <a:cubicBezTo>
                    <a:pt x="248" y="1643"/>
                    <a:pt x="269" y="1650"/>
                    <a:pt x="270" y="1665"/>
                  </a:cubicBezTo>
                  <a:cubicBezTo>
                    <a:pt x="271" y="1679"/>
                    <a:pt x="256" y="1674"/>
                    <a:pt x="256" y="1674"/>
                  </a:cubicBezTo>
                  <a:cubicBezTo>
                    <a:pt x="265" y="1686"/>
                    <a:pt x="265" y="1686"/>
                    <a:pt x="265" y="1686"/>
                  </a:cubicBezTo>
                  <a:cubicBezTo>
                    <a:pt x="274" y="1710"/>
                    <a:pt x="274" y="1710"/>
                    <a:pt x="274" y="1710"/>
                  </a:cubicBezTo>
                  <a:cubicBezTo>
                    <a:pt x="283" y="1681"/>
                    <a:pt x="283" y="1681"/>
                    <a:pt x="283" y="1681"/>
                  </a:cubicBezTo>
                  <a:cubicBezTo>
                    <a:pt x="283" y="1701"/>
                    <a:pt x="283" y="1701"/>
                    <a:pt x="283" y="1701"/>
                  </a:cubicBezTo>
                  <a:cubicBezTo>
                    <a:pt x="296" y="1717"/>
                    <a:pt x="296" y="1717"/>
                    <a:pt x="296" y="1717"/>
                  </a:cubicBezTo>
                  <a:cubicBezTo>
                    <a:pt x="280" y="1717"/>
                    <a:pt x="280" y="1717"/>
                    <a:pt x="280" y="1717"/>
                  </a:cubicBezTo>
                  <a:cubicBezTo>
                    <a:pt x="283" y="1730"/>
                    <a:pt x="283" y="1730"/>
                    <a:pt x="283" y="1730"/>
                  </a:cubicBezTo>
                  <a:cubicBezTo>
                    <a:pt x="298" y="1731"/>
                    <a:pt x="298" y="1731"/>
                    <a:pt x="298" y="1731"/>
                  </a:cubicBezTo>
                  <a:cubicBezTo>
                    <a:pt x="289" y="1739"/>
                    <a:pt x="289" y="1739"/>
                    <a:pt x="289" y="1739"/>
                  </a:cubicBezTo>
                  <a:cubicBezTo>
                    <a:pt x="309" y="1745"/>
                    <a:pt x="309" y="1745"/>
                    <a:pt x="309" y="1745"/>
                  </a:cubicBezTo>
                  <a:cubicBezTo>
                    <a:pt x="296" y="1753"/>
                    <a:pt x="296" y="1753"/>
                    <a:pt x="296" y="1753"/>
                  </a:cubicBezTo>
                  <a:cubicBezTo>
                    <a:pt x="315" y="1760"/>
                    <a:pt x="315" y="1760"/>
                    <a:pt x="315" y="1760"/>
                  </a:cubicBezTo>
                  <a:cubicBezTo>
                    <a:pt x="310" y="1770"/>
                    <a:pt x="310" y="1770"/>
                    <a:pt x="310" y="1770"/>
                  </a:cubicBezTo>
                  <a:cubicBezTo>
                    <a:pt x="322" y="1773"/>
                    <a:pt x="322" y="1773"/>
                    <a:pt x="322" y="1773"/>
                  </a:cubicBezTo>
                  <a:cubicBezTo>
                    <a:pt x="322" y="1773"/>
                    <a:pt x="324" y="1750"/>
                    <a:pt x="331" y="1762"/>
                  </a:cubicBezTo>
                  <a:cubicBezTo>
                    <a:pt x="338" y="1773"/>
                    <a:pt x="329" y="1779"/>
                    <a:pt x="323" y="1783"/>
                  </a:cubicBezTo>
                  <a:cubicBezTo>
                    <a:pt x="317" y="1786"/>
                    <a:pt x="323" y="1794"/>
                    <a:pt x="323" y="1794"/>
                  </a:cubicBezTo>
                  <a:cubicBezTo>
                    <a:pt x="343" y="1795"/>
                    <a:pt x="343" y="1795"/>
                    <a:pt x="343" y="1795"/>
                  </a:cubicBezTo>
                  <a:cubicBezTo>
                    <a:pt x="343" y="1795"/>
                    <a:pt x="344" y="1805"/>
                    <a:pt x="350" y="1810"/>
                  </a:cubicBezTo>
                  <a:cubicBezTo>
                    <a:pt x="356" y="1815"/>
                    <a:pt x="373" y="1824"/>
                    <a:pt x="373" y="1824"/>
                  </a:cubicBezTo>
                  <a:cubicBezTo>
                    <a:pt x="370" y="1802"/>
                    <a:pt x="370" y="1802"/>
                    <a:pt x="370" y="1802"/>
                  </a:cubicBezTo>
                  <a:cubicBezTo>
                    <a:pt x="370" y="1802"/>
                    <a:pt x="391" y="1810"/>
                    <a:pt x="407" y="1821"/>
                  </a:cubicBezTo>
                  <a:cubicBezTo>
                    <a:pt x="422" y="1831"/>
                    <a:pt x="409" y="1841"/>
                    <a:pt x="409" y="1841"/>
                  </a:cubicBezTo>
                  <a:cubicBezTo>
                    <a:pt x="420" y="1848"/>
                    <a:pt x="420" y="1848"/>
                    <a:pt x="420" y="1848"/>
                  </a:cubicBezTo>
                  <a:cubicBezTo>
                    <a:pt x="419" y="1861"/>
                    <a:pt x="419" y="1861"/>
                    <a:pt x="419" y="1861"/>
                  </a:cubicBezTo>
                  <a:cubicBezTo>
                    <a:pt x="458" y="1861"/>
                    <a:pt x="458" y="1861"/>
                    <a:pt x="458" y="1861"/>
                  </a:cubicBezTo>
                  <a:cubicBezTo>
                    <a:pt x="462" y="1868"/>
                    <a:pt x="462" y="1868"/>
                    <a:pt x="462" y="1868"/>
                  </a:cubicBezTo>
                  <a:cubicBezTo>
                    <a:pt x="442" y="1868"/>
                    <a:pt x="442" y="1868"/>
                    <a:pt x="442" y="1868"/>
                  </a:cubicBezTo>
                  <a:cubicBezTo>
                    <a:pt x="434" y="1876"/>
                    <a:pt x="434" y="1876"/>
                    <a:pt x="434" y="1876"/>
                  </a:cubicBezTo>
                  <a:cubicBezTo>
                    <a:pt x="421" y="1877"/>
                    <a:pt x="421" y="1877"/>
                    <a:pt x="421" y="1877"/>
                  </a:cubicBezTo>
                  <a:cubicBezTo>
                    <a:pt x="410" y="1889"/>
                    <a:pt x="410" y="1889"/>
                    <a:pt x="410" y="1889"/>
                  </a:cubicBezTo>
                  <a:cubicBezTo>
                    <a:pt x="430" y="1892"/>
                    <a:pt x="430" y="1892"/>
                    <a:pt x="430" y="1892"/>
                  </a:cubicBezTo>
                  <a:cubicBezTo>
                    <a:pt x="426" y="1902"/>
                    <a:pt x="426" y="1902"/>
                    <a:pt x="426" y="1902"/>
                  </a:cubicBezTo>
                  <a:cubicBezTo>
                    <a:pt x="442" y="1900"/>
                    <a:pt x="442" y="1900"/>
                    <a:pt x="442" y="1900"/>
                  </a:cubicBezTo>
                  <a:cubicBezTo>
                    <a:pt x="444" y="1887"/>
                    <a:pt x="444" y="1887"/>
                    <a:pt x="444" y="1887"/>
                  </a:cubicBezTo>
                  <a:cubicBezTo>
                    <a:pt x="459" y="1893"/>
                    <a:pt x="459" y="1893"/>
                    <a:pt x="459" y="1893"/>
                  </a:cubicBezTo>
                  <a:cubicBezTo>
                    <a:pt x="459" y="1893"/>
                    <a:pt x="477" y="1868"/>
                    <a:pt x="486" y="1875"/>
                  </a:cubicBezTo>
                  <a:cubicBezTo>
                    <a:pt x="496" y="1882"/>
                    <a:pt x="467" y="1907"/>
                    <a:pt x="467" y="1907"/>
                  </a:cubicBezTo>
                  <a:cubicBezTo>
                    <a:pt x="467" y="1907"/>
                    <a:pt x="464" y="1900"/>
                    <a:pt x="455" y="1901"/>
                  </a:cubicBezTo>
                  <a:cubicBezTo>
                    <a:pt x="447" y="1902"/>
                    <a:pt x="452" y="1913"/>
                    <a:pt x="452" y="1913"/>
                  </a:cubicBezTo>
                  <a:cubicBezTo>
                    <a:pt x="440" y="1913"/>
                    <a:pt x="440" y="1913"/>
                    <a:pt x="440" y="1913"/>
                  </a:cubicBezTo>
                  <a:cubicBezTo>
                    <a:pt x="431" y="1910"/>
                    <a:pt x="419" y="1921"/>
                    <a:pt x="419" y="1921"/>
                  </a:cubicBezTo>
                  <a:cubicBezTo>
                    <a:pt x="428" y="1927"/>
                    <a:pt x="428" y="1927"/>
                    <a:pt x="428" y="1927"/>
                  </a:cubicBezTo>
                  <a:cubicBezTo>
                    <a:pt x="430" y="1945"/>
                    <a:pt x="430" y="1945"/>
                    <a:pt x="430" y="1945"/>
                  </a:cubicBezTo>
                  <a:cubicBezTo>
                    <a:pt x="450" y="1935"/>
                    <a:pt x="450" y="1935"/>
                    <a:pt x="450" y="1935"/>
                  </a:cubicBezTo>
                  <a:cubicBezTo>
                    <a:pt x="450" y="1935"/>
                    <a:pt x="455" y="1946"/>
                    <a:pt x="461" y="1945"/>
                  </a:cubicBezTo>
                  <a:cubicBezTo>
                    <a:pt x="466" y="1944"/>
                    <a:pt x="467" y="1924"/>
                    <a:pt x="476" y="1919"/>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53" name="Brazil">
              <a:extLst>
                <a:ext uri="{FF2B5EF4-FFF2-40B4-BE49-F238E27FC236}">
                  <a16:creationId xmlns:a16="http://schemas.microsoft.com/office/drawing/2014/main" id="{0B7133EF-A7EB-4AC8-8E9E-8C61577BB0AC}"/>
                </a:ext>
              </a:extLst>
            </p:cNvPr>
            <p:cNvSpPr>
              <a:spLocks noEditPoints="1"/>
            </p:cNvSpPr>
            <p:nvPr/>
          </p:nvSpPr>
          <p:spPr bwMode="gray">
            <a:xfrm>
              <a:off x="3653717" y="3923292"/>
              <a:ext cx="1039996" cy="1174208"/>
            </a:xfrm>
            <a:custGeom>
              <a:avLst/>
              <a:gdLst>
                <a:gd name="T0" fmla="*/ 1096 w 1858"/>
                <a:gd name="T1" fmla="*/ 350 h 2099"/>
                <a:gd name="T2" fmla="*/ 1201 w 1858"/>
                <a:gd name="T3" fmla="*/ 299 h 2099"/>
                <a:gd name="T4" fmla="*/ 1144 w 1858"/>
                <a:gd name="T5" fmla="*/ 291 h 2099"/>
                <a:gd name="T6" fmla="*/ 1124 w 1858"/>
                <a:gd name="T7" fmla="*/ 270 h 2099"/>
                <a:gd name="T8" fmla="*/ 1087 w 1858"/>
                <a:gd name="T9" fmla="*/ 283 h 2099"/>
                <a:gd name="T10" fmla="*/ 1837 w 1858"/>
                <a:gd name="T11" fmla="*/ 583 h 2099"/>
                <a:gd name="T12" fmla="*/ 1713 w 1858"/>
                <a:gd name="T13" fmla="*/ 532 h 2099"/>
                <a:gd name="T14" fmla="*/ 1445 w 1858"/>
                <a:gd name="T15" fmla="*/ 412 h 2099"/>
                <a:gd name="T16" fmla="*/ 1377 w 1858"/>
                <a:gd name="T17" fmla="*/ 411 h 2099"/>
                <a:gd name="T18" fmla="*/ 1258 w 1858"/>
                <a:gd name="T19" fmla="*/ 316 h 2099"/>
                <a:gd name="T20" fmla="*/ 1154 w 1858"/>
                <a:gd name="T21" fmla="*/ 423 h 2099"/>
                <a:gd name="T22" fmla="*/ 1062 w 1858"/>
                <a:gd name="T23" fmla="*/ 356 h 2099"/>
                <a:gd name="T24" fmla="*/ 1095 w 1858"/>
                <a:gd name="T25" fmla="*/ 270 h 2099"/>
                <a:gd name="T26" fmla="*/ 1063 w 1858"/>
                <a:gd name="T27" fmla="*/ 52 h 2099"/>
                <a:gd name="T28" fmla="*/ 971 w 1858"/>
                <a:gd name="T29" fmla="*/ 160 h 2099"/>
                <a:gd name="T30" fmla="*/ 888 w 1858"/>
                <a:gd name="T31" fmla="*/ 145 h 2099"/>
                <a:gd name="T32" fmla="*/ 807 w 1858"/>
                <a:gd name="T33" fmla="*/ 183 h 2099"/>
                <a:gd name="T34" fmla="*/ 702 w 1858"/>
                <a:gd name="T35" fmla="*/ 221 h 2099"/>
                <a:gd name="T36" fmla="*/ 664 w 1858"/>
                <a:gd name="T37" fmla="*/ 91 h 2099"/>
                <a:gd name="T38" fmla="*/ 641 w 1858"/>
                <a:gd name="T39" fmla="*/ 7 h 2099"/>
                <a:gd name="T40" fmla="*/ 559 w 1858"/>
                <a:gd name="T41" fmla="*/ 64 h 2099"/>
                <a:gd name="T42" fmla="*/ 460 w 1858"/>
                <a:gd name="T43" fmla="*/ 60 h 2099"/>
                <a:gd name="T44" fmla="*/ 493 w 1858"/>
                <a:gd name="T45" fmla="*/ 154 h 2099"/>
                <a:gd name="T46" fmla="*/ 393 w 1858"/>
                <a:gd name="T47" fmla="*/ 251 h 2099"/>
                <a:gd name="T48" fmla="*/ 306 w 1858"/>
                <a:gd name="T49" fmla="*/ 180 h 2099"/>
                <a:gd name="T50" fmla="*/ 191 w 1858"/>
                <a:gd name="T51" fmla="*/ 223 h 2099"/>
                <a:gd name="T52" fmla="*/ 197 w 1858"/>
                <a:gd name="T53" fmla="*/ 313 h 2099"/>
                <a:gd name="T54" fmla="*/ 183 w 1858"/>
                <a:gd name="T55" fmla="*/ 518 h 2099"/>
                <a:gd name="T56" fmla="*/ 66 w 1858"/>
                <a:gd name="T57" fmla="*/ 547 h 2099"/>
                <a:gd name="T58" fmla="*/ 9 w 1858"/>
                <a:gd name="T59" fmla="*/ 674 h 2099"/>
                <a:gd name="T60" fmla="*/ 43 w 1858"/>
                <a:gd name="T61" fmla="*/ 791 h 2099"/>
                <a:gd name="T62" fmla="*/ 170 w 1858"/>
                <a:gd name="T63" fmla="*/ 874 h 2099"/>
                <a:gd name="T64" fmla="*/ 288 w 1858"/>
                <a:gd name="T65" fmla="*/ 859 h 2099"/>
                <a:gd name="T66" fmla="*/ 405 w 1858"/>
                <a:gd name="T67" fmla="*/ 814 h 2099"/>
                <a:gd name="T68" fmla="*/ 442 w 1858"/>
                <a:gd name="T69" fmla="*/ 932 h 2099"/>
                <a:gd name="T70" fmla="*/ 552 w 1858"/>
                <a:gd name="T71" fmla="*/ 986 h 2099"/>
                <a:gd name="T72" fmla="*/ 675 w 1858"/>
                <a:gd name="T73" fmla="*/ 1092 h 2099"/>
                <a:gd name="T74" fmla="*/ 816 w 1858"/>
                <a:gd name="T75" fmla="*/ 1262 h 2099"/>
                <a:gd name="T76" fmla="*/ 810 w 1858"/>
                <a:gd name="T77" fmla="*/ 1406 h 2099"/>
                <a:gd name="T78" fmla="*/ 987 w 1858"/>
                <a:gd name="T79" fmla="*/ 1564 h 2099"/>
                <a:gd name="T80" fmla="*/ 1043 w 1858"/>
                <a:gd name="T81" fmla="*/ 1690 h 2099"/>
                <a:gd name="T82" fmla="*/ 969 w 1858"/>
                <a:gd name="T83" fmla="*/ 1810 h 2099"/>
                <a:gd name="T84" fmla="*/ 915 w 1858"/>
                <a:gd name="T85" fmla="*/ 1912 h 2099"/>
                <a:gd name="T86" fmla="*/ 1049 w 1858"/>
                <a:gd name="T87" fmla="*/ 1978 h 2099"/>
                <a:gd name="T88" fmla="*/ 1118 w 1858"/>
                <a:gd name="T89" fmla="*/ 2099 h 2099"/>
                <a:gd name="T90" fmla="*/ 1165 w 1858"/>
                <a:gd name="T91" fmla="*/ 1984 h 2099"/>
                <a:gd name="T92" fmla="*/ 1208 w 1858"/>
                <a:gd name="T93" fmla="*/ 1956 h 2099"/>
                <a:gd name="T94" fmla="*/ 1200 w 1858"/>
                <a:gd name="T95" fmla="*/ 1987 h 2099"/>
                <a:gd name="T96" fmla="*/ 1294 w 1858"/>
                <a:gd name="T97" fmla="*/ 1764 h 2099"/>
                <a:gd name="T98" fmla="*/ 1279 w 1858"/>
                <a:gd name="T99" fmla="*/ 1678 h 2099"/>
                <a:gd name="T100" fmla="*/ 1311 w 1858"/>
                <a:gd name="T101" fmla="*/ 1617 h 2099"/>
                <a:gd name="T102" fmla="*/ 1412 w 1858"/>
                <a:gd name="T103" fmla="*/ 1561 h 2099"/>
                <a:gd name="T104" fmla="*/ 1459 w 1858"/>
                <a:gd name="T105" fmla="*/ 1519 h 2099"/>
                <a:gd name="T106" fmla="*/ 1571 w 1858"/>
                <a:gd name="T107" fmla="*/ 1506 h 2099"/>
                <a:gd name="T108" fmla="*/ 1629 w 1858"/>
                <a:gd name="T109" fmla="*/ 1372 h 2099"/>
                <a:gd name="T110" fmla="*/ 1671 w 1858"/>
                <a:gd name="T111" fmla="*/ 1213 h 2099"/>
                <a:gd name="T112" fmla="*/ 1674 w 1858"/>
                <a:gd name="T113" fmla="*/ 972 h 2099"/>
                <a:gd name="T114" fmla="*/ 1782 w 1858"/>
                <a:gd name="T115" fmla="*/ 855 h 2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58" h="2099">
                  <a:moveTo>
                    <a:pt x="1146" y="299"/>
                  </a:moveTo>
                  <a:cubicBezTo>
                    <a:pt x="1140" y="298"/>
                    <a:pt x="1112" y="291"/>
                    <a:pt x="1102" y="293"/>
                  </a:cubicBezTo>
                  <a:cubicBezTo>
                    <a:pt x="1092" y="295"/>
                    <a:pt x="1103" y="318"/>
                    <a:pt x="1103" y="318"/>
                  </a:cubicBezTo>
                  <a:cubicBezTo>
                    <a:pt x="1092" y="320"/>
                    <a:pt x="1092" y="320"/>
                    <a:pt x="1092" y="320"/>
                  </a:cubicBezTo>
                  <a:cubicBezTo>
                    <a:pt x="1092" y="336"/>
                    <a:pt x="1092" y="336"/>
                    <a:pt x="1092" y="336"/>
                  </a:cubicBezTo>
                  <a:cubicBezTo>
                    <a:pt x="1106" y="342"/>
                    <a:pt x="1106" y="342"/>
                    <a:pt x="1106" y="342"/>
                  </a:cubicBezTo>
                  <a:cubicBezTo>
                    <a:pt x="1096" y="350"/>
                    <a:pt x="1096" y="350"/>
                    <a:pt x="1096" y="350"/>
                  </a:cubicBezTo>
                  <a:cubicBezTo>
                    <a:pt x="1096" y="350"/>
                    <a:pt x="1099" y="366"/>
                    <a:pt x="1105" y="376"/>
                  </a:cubicBezTo>
                  <a:cubicBezTo>
                    <a:pt x="1112" y="386"/>
                    <a:pt x="1132" y="380"/>
                    <a:pt x="1139" y="380"/>
                  </a:cubicBezTo>
                  <a:cubicBezTo>
                    <a:pt x="1145" y="380"/>
                    <a:pt x="1144" y="372"/>
                    <a:pt x="1144" y="372"/>
                  </a:cubicBezTo>
                  <a:cubicBezTo>
                    <a:pt x="1144" y="372"/>
                    <a:pt x="1157" y="368"/>
                    <a:pt x="1168" y="368"/>
                  </a:cubicBezTo>
                  <a:cubicBezTo>
                    <a:pt x="1179" y="368"/>
                    <a:pt x="1186" y="355"/>
                    <a:pt x="1186" y="355"/>
                  </a:cubicBezTo>
                  <a:cubicBezTo>
                    <a:pt x="1195" y="326"/>
                    <a:pt x="1195" y="326"/>
                    <a:pt x="1195" y="326"/>
                  </a:cubicBezTo>
                  <a:cubicBezTo>
                    <a:pt x="1195" y="326"/>
                    <a:pt x="1202" y="312"/>
                    <a:pt x="1201" y="299"/>
                  </a:cubicBezTo>
                  <a:cubicBezTo>
                    <a:pt x="1200" y="286"/>
                    <a:pt x="1180" y="291"/>
                    <a:pt x="1169" y="291"/>
                  </a:cubicBezTo>
                  <a:cubicBezTo>
                    <a:pt x="1169" y="291"/>
                    <a:pt x="1153" y="300"/>
                    <a:pt x="1146" y="299"/>
                  </a:cubicBezTo>
                  <a:close/>
                  <a:moveTo>
                    <a:pt x="1144" y="291"/>
                  </a:moveTo>
                  <a:cubicBezTo>
                    <a:pt x="1159" y="286"/>
                    <a:pt x="1159" y="286"/>
                    <a:pt x="1159" y="286"/>
                  </a:cubicBezTo>
                  <a:cubicBezTo>
                    <a:pt x="1147" y="275"/>
                    <a:pt x="1147" y="275"/>
                    <a:pt x="1147" y="275"/>
                  </a:cubicBezTo>
                  <a:cubicBezTo>
                    <a:pt x="1132" y="292"/>
                    <a:pt x="1132" y="292"/>
                    <a:pt x="1132" y="292"/>
                  </a:cubicBezTo>
                  <a:lnTo>
                    <a:pt x="1144" y="291"/>
                  </a:lnTo>
                  <a:close/>
                  <a:moveTo>
                    <a:pt x="1124" y="270"/>
                  </a:moveTo>
                  <a:cubicBezTo>
                    <a:pt x="1110" y="271"/>
                    <a:pt x="1110" y="271"/>
                    <a:pt x="1110" y="271"/>
                  </a:cubicBezTo>
                  <a:cubicBezTo>
                    <a:pt x="1109" y="282"/>
                    <a:pt x="1109" y="282"/>
                    <a:pt x="1109" y="282"/>
                  </a:cubicBezTo>
                  <a:cubicBezTo>
                    <a:pt x="1131" y="283"/>
                    <a:pt x="1131" y="283"/>
                    <a:pt x="1131" y="283"/>
                  </a:cubicBezTo>
                  <a:cubicBezTo>
                    <a:pt x="1143" y="266"/>
                    <a:pt x="1143" y="266"/>
                    <a:pt x="1143" y="266"/>
                  </a:cubicBezTo>
                  <a:cubicBezTo>
                    <a:pt x="1134" y="255"/>
                    <a:pt x="1134" y="255"/>
                    <a:pt x="1134" y="255"/>
                  </a:cubicBezTo>
                  <a:lnTo>
                    <a:pt x="1124" y="270"/>
                  </a:lnTo>
                  <a:close/>
                  <a:moveTo>
                    <a:pt x="1050" y="326"/>
                  </a:moveTo>
                  <a:cubicBezTo>
                    <a:pt x="1047" y="340"/>
                    <a:pt x="1047" y="340"/>
                    <a:pt x="1047" y="340"/>
                  </a:cubicBezTo>
                  <a:cubicBezTo>
                    <a:pt x="1037" y="363"/>
                    <a:pt x="1037" y="363"/>
                    <a:pt x="1037" y="363"/>
                  </a:cubicBezTo>
                  <a:cubicBezTo>
                    <a:pt x="1057" y="351"/>
                    <a:pt x="1057" y="351"/>
                    <a:pt x="1057" y="351"/>
                  </a:cubicBezTo>
                  <a:cubicBezTo>
                    <a:pt x="1057" y="351"/>
                    <a:pt x="1079" y="321"/>
                    <a:pt x="1071" y="316"/>
                  </a:cubicBezTo>
                  <a:cubicBezTo>
                    <a:pt x="1062" y="310"/>
                    <a:pt x="1050" y="326"/>
                    <a:pt x="1050" y="326"/>
                  </a:cubicBezTo>
                  <a:close/>
                  <a:moveTo>
                    <a:pt x="1087" y="283"/>
                  </a:moveTo>
                  <a:cubicBezTo>
                    <a:pt x="1074" y="299"/>
                    <a:pt x="1074" y="299"/>
                    <a:pt x="1074" y="299"/>
                  </a:cubicBezTo>
                  <a:cubicBezTo>
                    <a:pt x="1085" y="304"/>
                    <a:pt x="1085" y="304"/>
                    <a:pt x="1085" y="304"/>
                  </a:cubicBezTo>
                  <a:cubicBezTo>
                    <a:pt x="1096" y="287"/>
                    <a:pt x="1096" y="287"/>
                    <a:pt x="1096" y="287"/>
                  </a:cubicBezTo>
                  <a:lnTo>
                    <a:pt x="1087" y="283"/>
                  </a:lnTo>
                  <a:close/>
                  <a:moveTo>
                    <a:pt x="1855" y="667"/>
                  </a:moveTo>
                  <a:cubicBezTo>
                    <a:pt x="1855" y="650"/>
                    <a:pt x="1839" y="626"/>
                    <a:pt x="1838" y="615"/>
                  </a:cubicBezTo>
                  <a:cubicBezTo>
                    <a:pt x="1837" y="604"/>
                    <a:pt x="1837" y="592"/>
                    <a:pt x="1837" y="583"/>
                  </a:cubicBezTo>
                  <a:cubicBezTo>
                    <a:pt x="1837" y="574"/>
                    <a:pt x="1819" y="558"/>
                    <a:pt x="1819" y="558"/>
                  </a:cubicBezTo>
                  <a:cubicBezTo>
                    <a:pt x="1798" y="554"/>
                    <a:pt x="1798" y="554"/>
                    <a:pt x="1798" y="554"/>
                  </a:cubicBezTo>
                  <a:cubicBezTo>
                    <a:pt x="1764" y="559"/>
                    <a:pt x="1764" y="559"/>
                    <a:pt x="1764" y="559"/>
                  </a:cubicBezTo>
                  <a:cubicBezTo>
                    <a:pt x="1753" y="549"/>
                    <a:pt x="1753" y="549"/>
                    <a:pt x="1753" y="549"/>
                  </a:cubicBezTo>
                  <a:cubicBezTo>
                    <a:pt x="1740" y="548"/>
                    <a:pt x="1740" y="548"/>
                    <a:pt x="1740" y="548"/>
                  </a:cubicBezTo>
                  <a:cubicBezTo>
                    <a:pt x="1728" y="533"/>
                    <a:pt x="1728" y="533"/>
                    <a:pt x="1728" y="533"/>
                  </a:cubicBezTo>
                  <a:cubicBezTo>
                    <a:pt x="1713" y="532"/>
                    <a:pt x="1713" y="532"/>
                    <a:pt x="1713" y="532"/>
                  </a:cubicBezTo>
                  <a:cubicBezTo>
                    <a:pt x="1713" y="532"/>
                    <a:pt x="1695" y="512"/>
                    <a:pt x="1678" y="491"/>
                  </a:cubicBezTo>
                  <a:cubicBezTo>
                    <a:pt x="1661" y="470"/>
                    <a:pt x="1612" y="439"/>
                    <a:pt x="1596" y="438"/>
                  </a:cubicBezTo>
                  <a:cubicBezTo>
                    <a:pt x="1580" y="437"/>
                    <a:pt x="1547" y="439"/>
                    <a:pt x="1547" y="439"/>
                  </a:cubicBezTo>
                  <a:cubicBezTo>
                    <a:pt x="1547" y="449"/>
                    <a:pt x="1547" y="449"/>
                    <a:pt x="1547" y="449"/>
                  </a:cubicBezTo>
                  <a:cubicBezTo>
                    <a:pt x="1547" y="449"/>
                    <a:pt x="1532" y="439"/>
                    <a:pt x="1525" y="436"/>
                  </a:cubicBezTo>
                  <a:cubicBezTo>
                    <a:pt x="1518" y="433"/>
                    <a:pt x="1492" y="432"/>
                    <a:pt x="1492" y="432"/>
                  </a:cubicBezTo>
                  <a:cubicBezTo>
                    <a:pt x="1492" y="432"/>
                    <a:pt x="1464" y="415"/>
                    <a:pt x="1445" y="412"/>
                  </a:cubicBezTo>
                  <a:cubicBezTo>
                    <a:pt x="1426" y="409"/>
                    <a:pt x="1406" y="442"/>
                    <a:pt x="1406" y="442"/>
                  </a:cubicBezTo>
                  <a:cubicBezTo>
                    <a:pt x="1395" y="429"/>
                    <a:pt x="1395" y="429"/>
                    <a:pt x="1395" y="429"/>
                  </a:cubicBezTo>
                  <a:cubicBezTo>
                    <a:pt x="1395" y="451"/>
                    <a:pt x="1395" y="451"/>
                    <a:pt x="1395" y="451"/>
                  </a:cubicBezTo>
                  <a:cubicBezTo>
                    <a:pt x="1375" y="466"/>
                    <a:pt x="1375" y="466"/>
                    <a:pt x="1375" y="466"/>
                  </a:cubicBezTo>
                  <a:cubicBezTo>
                    <a:pt x="1386" y="422"/>
                    <a:pt x="1386" y="422"/>
                    <a:pt x="1386" y="422"/>
                  </a:cubicBezTo>
                  <a:cubicBezTo>
                    <a:pt x="1386" y="422"/>
                    <a:pt x="1404" y="412"/>
                    <a:pt x="1397" y="402"/>
                  </a:cubicBezTo>
                  <a:cubicBezTo>
                    <a:pt x="1390" y="392"/>
                    <a:pt x="1377" y="411"/>
                    <a:pt x="1377" y="411"/>
                  </a:cubicBezTo>
                  <a:cubicBezTo>
                    <a:pt x="1386" y="389"/>
                    <a:pt x="1386" y="389"/>
                    <a:pt x="1386" y="389"/>
                  </a:cubicBezTo>
                  <a:cubicBezTo>
                    <a:pt x="1386" y="389"/>
                    <a:pt x="1377" y="388"/>
                    <a:pt x="1378" y="381"/>
                  </a:cubicBezTo>
                  <a:cubicBezTo>
                    <a:pt x="1379" y="374"/>
                    <a:pt x="1358" y="365"/>
                    <a:pt x="1358" y="365"/>
                  </a:cubicBezTo>
                  <a:cubicBezTo>
                    <a:pt x="1350" y="377"/>
                    <a:pt x="1350" y="377"/>
                    <a:pt x="1350" y="377"/>
                  </a:cubicBezTo>
                  <a:cubicBezTo>
                    <a:pt x="1350" y="377"/>
                    <a:pt x="1337" y="360"/>
                    <a:pt x="1327" y="350"/>
                  </a:cubicBezTo>
                  <a:cubicBezTo>
                    <a:pt x="1317" y="340"/>
                    <a:pt x="1290" y="342"/>
                    <a:pt x="1286" y="338"/>
                  </a:cubicBezTo>
                  <a:cubicBezTo>
                    <a:pt x="1282" y="334"/>
                    <a:pt x="1258" y="316"/>
                    <a:pt x="1258" y="316"/>
                  </a:cubicBezTo>
                  <a:cubicBezTo>
                    <a:pt x="1252" y="324"/>
                    <a:pt x="1252" y="324"/>
                    <a:pt x="1252" y="324"/>
                  </a:cubicBezTo>
                  <a:cubicBezTo>
                    <a:pt x="1252" y="324"/>
                    <a:pt x="1231" y="323"/>
                    <a:pt x="1221" y="322"/>
                  </a:cubicBezTo>
                  <a:cubicBezTo>
                    <a:pt x="1211" y="321"/>
                    <a:pt x="1203" y="356"/>
                    <a:pt x="1203" y="356"/>
                  </a:cubicBezTo>
                  <a:cubicBezTo>
                    <a:pt x="1210" y="368"/>
                    <a:pt x="1210" y="368"/>
                    <a:pt x="1210" y="368"/>
                  </a:cubicBezTo>
                  <a:cubicBezTo>
                    <a:pt x="1210" y="368"/>
                    <a:pt x="1196" y="369"/>
                    <a:pt x="1188" y="369"/>
                  </a:cubicBezTo>
                  <a:cubicBezTo>
                    <a:pt x="1180" y="369"/>
                    <a:pt x="1168" y="391"/>
                    <a:pt x="1168" y="391"/>
                  </a:cubicBezTo>
                  <a:cubicBezTo>
                    <a:pt x="1168" y="391"/>
                    <a:pt x="1161" y="424"/>
                    <a:pt x="1154" y="423"/>
                  </a:cubicBezTo>
                  <a:cubicBezTo>
                    <a:pt x="1147" y="422"/>
                    <a:pt x="1163" y="397"/>
                    <a:pt x="1160" y="386"/>
                  </a:cubicBezTo>
                  <a:cubicBezTo>
                    <a:pt x="1157" y="375"/>
                    <a:pt x="1137" y="396"/>
                    <a:pt x="1137" y="396"/>
                  </a:cubicBezTo>
                  <a:cubicBezTo>
                    <a:pt x="1130" y="390"/>
                    <a:pt x="1130" y="390"/>
                    <a:pt x="1130" y="390"/>
                  </a:cubicBezTo>
                  <a:cubicBezTo>
                    <a:pt x="1130" y="390"/>
                    <a:pt x="1109" y="395"/>
                    <a:pt x="1098" y="388"/>
                  </a:cubicBezTo>
                  <a:cubicBezTo>
                    <a:pt x="1087" y="381"/>
                    <a:pt x="1089" y="371"/>
                    <a:pt x="1089" y="358"/>
                  </a:cubicBezTo>
                  <a:cubicBezTo>
                    <a:pt x="1089" y="345"/>
                    <a:pt x="1084" y="337"/>
                    <a:pt x="1084" y="337"/>
                  </a:cubicBezTo>
                  <a:cubicBezTo>
                    <a:pt x="1077" y="330"/>
                    <a:pt x="1062" y="356"/>
                    <a:pt x="1062" y="356"/>
                  </a:cubicBezTo>
                  <a:cubicBezTo>
                    <a:pt x="1062" y="356"/>
                    <a:pt x="1041" y="371"/>
                    <a:pt x="1029" y="373"/>
                  </a:cubicBezTo>
                  <a:cubicBezTo>
                    <a:pt x="1017" y="375"/>
                    <a:pt x="1003" y="368"/>
                    <a:pt x="1003" y="368"/>
                  </a:cubicBezTo>
                  <a:cubicBezTo>
                    <a:pt x="1029" y="360"/>
                    <a:pt x="1029" y="360"/>
                    <a:pt x="1029" y="360"/>
                  </a:cubicBezTo>
                  <a:cubicBezTo>
                    <a:pt x="1029" y="360"/>
                    <a:pt x="1039" y="348"/>
                    <a:pt x="1042" y="343"/>
                  </a:cubicBezTo>
                  <a:cubicBezTo>
                    <a:pt x="1045" y="338"/>
                    <a:pt x="1044" y="326"/>
                    <a:pt x="1044" y="326"/>
                  </a:cubicBezTo>
                  <a:cubicBezTo>
                    <a:pt x="1044" y="326"/>
                    <a:pt x="1053" y="320"/>
                    <a:pt x="1057" y="308"/>
                  </a:cubicBezTo>
                  <a:cubicBezTo>
                    <a:pt x="1061" y="296"/>
                    <a:pt x="1085" y="277"/>
                    <a:pt x="1095" y="270"/>
                  </a:cubicBezTo>
                  <a:cubicBezTo>
                    <a:pt x="1105" y="263"/>
                    <a:pt x="1107" y="254"/>
                    <a:pt x="1111" y="245"/>
                  </a:cubicBezTo>
                  <a:cubicBezTo>
                    <a:pt x="1115" y="236"/>
                    <a:pt x="1136" y="223"/>
                    <a:pt x="1136" y="223"/>
                  </a:cubicBezTo>
                  <a:cubicBezTo>
                    <a:pt x="1123" y="221"/>
                    <a:pt x="1123" y="221"/>
                    <a:pt x="1123" y="221"/>
                  </a:cubicBezTo>
                  <a:cubicBezTo>
                    <a:pt x="1123" y="221"/>
                    <a:pt x="1135" y="215"/>
                    <a:pt x="1135" y="199"/>
                  </a:cubicBezTo>
                  <a:cubicBezTo>
                    <a:pt x="1135" y="183"/>
                    <a:pt x="1108" y="192"/>
                    <a:pt x="1098" y="181"/>
                  </a:cubicBezTo>
                  <a:cubicBezTo>
                    <a:pt x="1088" y="170"/>
                    <a:pt x="1088" y="147"/>
                    <a:pt x="1084" y="110"/>
                  </a:cubicBezTo>
                  <a:cubicBezTo>
                    <a:pt x="1080" y="73"/>
                    <a:pt x="1072" y="55"/>
                    <a:pt x="1063" y="52"/>
                  </a:cubicBezTo>
                  <a:cubicBezTo>
                    <a:pt x="1054" y="49"/>
                    <a:pt x="1060" y="68"/>
                    <a:pt x="1060" y="72"/>
                  </a:cubicBezTo>
                  <a:cubicBezTo>
                    <a:pt x="1060" y="76"/>
                    <a:pt x="1050" y="71"/>
                    <a:pt x="1048" y="66"/>
                  </a:cubicBezTo>
                  <a:cubicBezTo>
                    <a:pt x="1048" y="66"/>
                    <a:pt x="1043" y="83"/>
                    <a:pt x="1036" y="89"/>
                  </a:cubicBezTo>
                  <a:cubicBezTo>
                    <a:pt x="1029" y="95"/>
                    <a:pt x="1020" y="110"/>
                    <a:pt x="1017" y="120"/>
                  </a:cubicBezTo>
                  <a:cubicBezTo>
                    <a:pt x="1014" y="130"/>
                    <a:pt x="1013" y="149"/>
                    <a:pt x="996" y="163"/>
                  </a:cubicBezTo>
                  <a:cubicBezTo>
                    <a:pt x="996" y="163"/>
                    <a:pt x="981" y="169"/>
                    <a:pt x="975" y="169"/>
                  </a:cubicBezTo>
                  <a:cubicBezTo>
                    <a:pt x="975" y="168"/>
                    <a:pt x="971" y="160"/>
                    <a:pt x="971" y="160"/>
                  </a:cubicBezTo>
                  <a:cubicBezTo>
                    <a:pt x="967" y="165"/>
                    <a:pt x="967" y="165"/>
                    <a:pt x="967" y="165"/>
                  </a:cubicBezTo>
                  <a:cubicBezTo>
                    <a:pt x="957" y="163"/>
                    <a:pt x="957" y="163"/>
                    <a:pt x="957" y="163"/>
                  </a:cubicBezTo>
                  <a:cubicBezTo>
                    <a:pt x="957" y="163"/>
                    <a:pt x="953" y="155"/>
                    <a:pt x="947" y="161"/>
                  </a:cubicBezTo>
                  <a:cubicBezTo>
                    <a:pt x="941" y="167"/>
                    <a:pt x="943" y="173"/>
                    <a:pt x="929" y="172"/>
                  </a:cubicBezTo>
                  <a:cubicBezTo>
                    <a:pt x="915" y="171"/>
                    <a:pt x="913" y="161"/>
                    <a:pt x="913" y="161"/>
                  </a:cubicBezTo>
                  <a:cubicBezTo>
                    <a:pt x="900" y="155"/>
                    <a:pt x="900" y="155"/>
                    <a:pt x="900" y="155"/>
                  </a:cubicBezTo>
                  <a:cubicBezTo>
                    <a:pt x="900" y="155"/>
                    <a:pt x="896" y="144"/>
                    <a:pt x="888" y="145"/>
                  </a:cubicBezTo>
                  <a:cubicBezTo>
                    <a:pt x="880" y="146"/>
                    <a:pt x="871" y="157"/>
                    <a:pt x="871" y="157"/>
                  </a:cubicBezTo>
                  <a:cubicBezTo>
                    <a:pt x="853" y="157"/>
                    <a:pt x="853" y="157"/>
                    <a:pt x="853" y="157"/>
                  </a:cubicBezTo>
                  <a:cubicBezTo>
                    <a:pt x="853" y="157"/>
                    <a:pt x="854" y="148"/>
                    <a:pt x="848" y="149"/>
                  </a:cubicBezTo>
                  <a:cubicBezTo>
                    <a:pt x="842" y="150"/>
                    <a:pt x="838" y="160"/>
                    <a:pt x="841" y="166"/>
                  </a:cubicBezTo>
                  <a:cubicBezTo>
                    <a:pt x="844" y="172"/>
                    <a:pt x="858" y="182"/>
                    <a:pt x="849" y="186"/>
                  </a:cubicBezTo>
                  <a:cubicBezTo>
                    <a:pt x="840" y="190"/>
                    <a:pt x="811" y="174"/>
                    <a:pt x="811" y="174"/>
                  </a:cubicBezTo>
                  <a:cubicBezTo>
                    <a:pt x="811" y="174"/>
                    <a:pt x="815" y="181"/>
                    <a:pt x="807" y="183"/>
                  </a:cubicBezTo>
                  <a:cubicBezTo>
                    <a:pt x="799" y="185"/>
                    <a:pt x="797" y="174"/>
                    <a:pt x="787" y="175"/>
                  </a:cubicBezTo>
                  <a:cubicBezTo>
                    <a:pt x="777" y="176"/>
                    <a:pt x="773" y="192"/>
                    <a:pt x="773" y="192"/>
                  </a:cubicBezTo>
                  <a:cubicBezTo>
                    <a:pt x="752" y="193"/>
                    <a:pt x="752" y="193"/>
                    <a:pt x="752" y="193"/>
                  </a:cubicBezTo>
                  <a:cubicBezTo>
                    <a:pt x="751" y="201"/>
                    <a:pt x="751" y="201"/>
                    <a:pt x="751" y="201"/>
                  </a:cubicBezTo>
                  <a:cubicBezTo>
                    <a:pt x="751" y="201"/>
                    <a:pt x="739" y="198"/>
                    <a:pt x="733" y="202"/>
                  </a:cubicBezTo>
                  <a:cubicBezTo>
                    <a:pt x="727" y="206"/>
                    <a:pt x="732" y="219"/>
                    <a:pt x="722" y="220"/>
                  </a:cubicBezTo>
                  <a:cubicBezTo>
                    <a:pt x="712" y="221"/>
                    <a:pt x="702" y="221"/>
                    <a:pt x="702" y="221"/>
                  </a:cubicBezTo>
                  <a:cubicBezTo>
                    <a:pt x="698" y="210"/>
                    <a:pt x="698" y="210"/>
                    <a:pt x="698" y="210"/>
                  </a:cubicBezTo>
                  <a:cubicBezTo>
                    <a:pt x="689" y="210"/>
                    <a:pt x="689" y="210"/>
                    <a:pt x="689" y="210"/>
                  </a:cubicBezTo>
                  <a:cubicBezTo>
                    <a:pt x="668" y="186"/>
                    <a:pt x="668" y="186"/>
                    <a:pt x="668" y="186"/>
                  </a:cubicBezTo>
                  <a:cubicBezTo>
                    <a:pt x="668" y="186"/>
                    <a:pt x="668" y="174"/>
                    <a:pt x="668" y="166"/>
                  </a:cubicBezTo>
                  <a:cubicBezTo>
                    <a:pt x="668" y="158"/>
                    <a:pt x="651" y="155"/>
                    <a:pt x="651" y="145"/>
                  </a:cubicBezTo>
                  <a:cubicBezTo>
                    <a:pt x="651" y="135"/>
                    <a:pt x="659" y="119"/>
                    <a:pt x="659" y="119"/>
                  </a:cubicBezTo>
                  <a:cubicBezTo>
                    <a:pt x="664" y="91"/>
                    <a:pt x="664" y="91"/>
                    <a:pt x="664" y="91"/>
                  </a:cubicBezTo>
                  <a:cubicBezTo>
                    <a:pt x="664" y="91"/>
                    <a:pt x="677" y="79"/>
                    <a:pt x="678" y="73"/>
                  </a:cubicBezTo>
                  <a:cubicBezTo>
                    <a:pt x="679" y="67"/>
                    <a:pt x="670" y="63"/>
                    <a:pt x="670" y="63"/>
                  </a:cubicBezTo>
                  <a:cubicBezTo>
                    <a:pt x="671" y="44"/>
                    <a:pt x="671" y="44"/>
                    <a:pt x="671" y="44"/>
                  </a:cubicBezTo>
                  <a:cubicBezTo>
                    <a:pt x="671" y="44"/>
                    <a:pt x="649" y="50"/>
                    <a:pt x="649" y="41"/>
                  </a:cubicBezTo>
                  <a:cubicBezTo>
                    <a:pt x="649" y="41"/>
                    <a:pt x="661" y="29"/>
                    <a:pt x="658" y="15"/>
                  </a:cubicBezTo>
                  <a:cubicBezTo>
                    <a:pt x="655" y="1"/>
                    <a:pt x="646" y="0"/>
                    <a:pt x="646" y="0"/>
                  </a:cubicBezTo>
                  <a:cubicBezTo>
                    <a:pt x="641" y="7"/>
                    <a:pt x="641" y="7"/>
                    <a:pt x="641" y="7"/>
                  </a:cubicBezTo>
                  <a:cubicBezTo>
                    <a:pt x="625" y="5"/>
                    <a:pt x="625" y="5"/>
                    <a:pt x="625" y="5"/>
                  </a:cubicBezTo>
                  <a:cubicBezTo>
                    <a:pt x="625" y="5"/>
                    <a:pt x="631" y="19"/>
                    <a:pt x="627" y="26"/>
                  </a:cubicBezTo>
                  <a:cubicBezTo>
                    <a:pt x="623" y="33"/>
                    <a:pt x="612" y="31"/>
                    <a:pt x="612" y="31"/>
                  </a:cubicBezTo>
                  <a:cubicBezTo>
                    <a:pt x="614" y="41"/>
                    <a:pt x="614" y="41"/>
                    <a:pt x="614" y="41"/>
                  </a:cubicBezTo>
                  <a:cubicBezTo>
                    <a:pt x="596" y="40"/>
                    <a:pt x="596" y="40"/>
                    <a:pt x="596" y="40"/>
                  </a:cubicBezTo>
                  <a:cubicBezTo>
                    <a:pt x="596" y="40"/>
                    <a:pt x="584" y="45"/>
                    <a:pt x="582" y="51"/>
                  </a:cubicBezTo>
                  <a:cubicBezTo>
                    <a:pt x="580" y="57"/>
                    <a:pt x="566" y="64"/>
                    <a:pt x="559" y="64"/>
                  </a:cubicBezTo>
                  <a:cubicBezTo>
                    <a:pt x="552" y="64"/>
                    <a:pt x="546" y="56"/>
                    <a:pt x="538" y="59"/>
                  </a:cubicBezTo>
                  <a:cubicBezTo>
                    <a:pt x="530" y="62"/>
                    <a:pt x="533" y="96"/>
                    <a:pt x="524" y="96"/>
                  </a:cubicBezTo>
                  <a:cubicBezTo>
                    <a:pt x="515" y="96"/>
                    <a:pt x="504" y="77"/>
                    <a:pt x="500" y="73"/>
                  </a:cubicBezTo>
                  <a:cubicBezTo>
                    <a:pt x="496" y="69"/>
                    <a:pt x="491" y="77"/>
                    <a:pt x="491" y="77"/>
                  </a:cubicBezTo>
                  <a:cubicBezTo>
                    <a:pt x="481" y="71"/>
                    <a:pt x="481" y="71"/>
                    <a:pt x="481" y="71"/>
                  </a:cubicBezTo>
                  <a:cubicBezTo>
                    <a:pt x="481" y="71"/>
                    <a:pt x="469" y="79"/>
                    <a:pt x="467" y="76"/>
                  </a:cubicBezTo>
                  <a:cubicBezTo>
                    <a:pt x="465" y="73"/>
                    <a:pt x="471" y="64"/>
                    <a:pt x="460" y="60"/>
                  </a:cubicBezTo>
                  <a:cubicBezTo>
                    <a:pt x="449" y="56"/>
                    <a:pt x="440" y="64"/>
                    <a:pt x="437" y="61"/>
                  </a:cubicBezTo>
                  <a:cubicBezTo>
                    <a:pt x="434" y="58"/>
                    <a:pt x="431" y="52"/>
                    <a:pt x="431" y="52"/>
                  </a:cubicBezTo>
                  <a:cubicBezTo>
                    <a:pt x="431" y="52"/>
                    <a:pt x="421" y="71"/>
                    <a:pt x="443" y="82"/>
                  </a:cubicBezTo>
                  <a:cubicBezTo>
                    <a:pt x="465" y="93"/>
                    <a:pt x="450" y="117"/>
                    <a:pt x="450" y="117"/>
                  </a:cubicBezTo>
                  <a:cubicBezTo>
                    <a:pt x="450" y="117"/>
                    <a:pt x="463" y="128"/>
                    <a:pt x="463" y="135"/>
                  </a:cubicBezTo>
                  <a:cubicBezTo>
                    <a:pt x="463" y="142"/>
                    <a:pt x="463" y="151"/>
                    <a:pt x="463" y="151"/>
                  </a:cubicBezTo>
                  <a:cubicBezTo>
                    <a:pt x="493" y="154"/>
                    <a:pt x="493" y="154"/>
                    <a:pt x="493" y="154"/>
                  </a:cubicBezTo>
                  <a:cubicBezTo>
                    <a:pt x="493" y="154"/>
                    <a:pt x="500" y="168"/>
                    <a:pt x="488" y="174"/>
                  </a:cubicBezTo>
                  <a:cubicBezTo>
                    <a:pt x="476" y="180"/>
                    <a:pt x="463" y="177"/>
                    <a:pt x="463" y="177"/>
                  </a:cubicBezTo>
                  <a:cubicBezTo>
                    <a:pt x="463" y="177"/>
                    <a:pt x="464" y="202"/>
                    <a:pt x="451" y="206"/>
                  </a:cubicBezTo>
                  <a:cubicBezTo>
                    <a:pt x="438" y="210"/>
                    <a:pt x="433" y="214"/>
                    <a:pt x="433" y="214"/>
                  </a:cubicBezTo>
                  <a:cubicBezTo>
                    <a:pt x="431" y="220"/>
                    <a:pt x="431" y="220"/>
                    <a:pt x="431" y="220"/>
                  </a:cubicBezTo>
                  <a:cubicBezTo>
                    <a:pt x="431" y="220"/>
                    <a:pt x="419" y="218"/>
                    <a:pt x="413" y="222"/>
                  </a:cubicBezTo>
                  <a:cubicBezTo>
                    <a:pt x="407" y="226"/>
                    <a:pt x="401" y="251"/>
                    <a:pt x="393" y="251"/>
                  </a:cubicBezTo>
                  <a:cubicBezTo>
                    <a:pt x="385" y="251"/>
                    <a:pt x="396" y="234"/>
                    <a:pt x="387" y="232"/>
                  </a:cubicBezTo>
                  <a:cubicBezTo>
                    <a:pt x="378" y="230"/>
                    <a:pt x="367" y="252"/>
                    <a:pt x="357" y="246"/>
                  </a:cubicBezTo>
                  <a:cubicBezTo>
                    <a:pt x="357" y="246"/>
                    <a:pt x="345" y="244"/>
                    <a:pt x="341" y="239"/>
                  </a:cubicBezTo>
                  <a:cubicBezTo>
                    <a:pt x="337" y="234"/>
                    <a:pt x="330" y="221"/>
                    <a:pt x="330" y="221"/>
                  </a:cubicBezTo>
                  <a:cubicBezTo>
                    <a:pt x="313" y="221"/>
                    <a:pt x="313" y="221"/>
                    <a:pt x="313" y="221"/>
                  </a:cubicBezTo>
                  <a:cubicBezTo>
                    <a:pt x="313" y="221"/>
                    <a:pt x="313" y="193"/>
                    <a:pt x="311" y="187"/>
                  </a:cubicBezTo>
                  <a:cubicBezTo>
                    <a:pt x="309" y="181"/>
                    <a:pt x="306" y="180"/>
                    <a:pt x="306" y="180"/>
                  </a:cubicBezTo>
                  <a:cubicBezTo>
                    <a:pt x="306" y="180"/>
                    <a:pt x="311" y="173"/>
                    <a:pt x="304" y="170"/>
                  </a:cubicBezTo>
                  <a:cubicBezTo>
                    <a:pt x="297" y="167"/>
                    <a:pt x="288" y="190"/>
                    <a:pt x="282" y="191"/>
                  </a:cubicBezTo>
                  <a:cubicBezTo>
                    <a:pt x="276" y="192"/>
                    <a:pt x="271" y="176"/>
                    <a:pt x="265" y="176"/>
                  </a:cubicBezTo>
                  <a:cubicBezTo>
                    <a:pt x="259" y="176"/>
                    <a:pt x="259" y="193"/>
                    <a:pt x="259" y="193"/>
                  </a:cubicBezTo>
                  <a:cubicBezTo>
                    <a:pt x="215" y="197"/>
                    <a:pt x="215" y="197"/>
                    <a:pt x="215" y="197"/>
                  </a:cubicBezTo>
                  <a:cubicBezTo>
                    <a:pt x="215" y="197"/>
                    <a:pt x="201" y="184"/>
                    <a:pt x="192" y="189"/>
                  </a:cubicBezTo>
                  <a:cubicBezTo>
                    <a:pt x="183" y="194"/>
                    <a:pt x="191" y="223"/>
                    <a:pt x="191" y="223"/>
                  </a:cubicBezTo>
                  <a:cubicBezTo>
                    <a:pt x="207" y="230"/>
                    <a:pt x="207" y="230"/>
                    <a:pt x="207" y="230"/>
                  </a:cubicBezTo>
                  <a:cubicBezTo>
                    <a:pt x="214" y="228"/>
                    <a:pt x="214" y="228"/>
                    <a:pt x="214" y="228"/>
                  </a:cubicBezTo>
                  <a:cubicBezTo>
                    <a:pt x="214" y="228"/>
                    <a:pt x="233" y="248"/>
                    <a:pt x="220" y="250"/>
                  </a:cubicBezTo>
                  <a:cubicBezTo>
                    <a:pt x="207" y="252"/>
                    <a:pt x="198" y="248"/>
                    <a:pt x="198" y="248"/>
                  </a:cubicBezTo>
                  <a:cubicBezTo>
                    <a:pt x="176" y="253"/>
                    <a:pt x="176" y="253"/>
                    <a:pt x="176" y="253"/>
                  </a:cubicBezTo>
                  <a:cubicBezTo>
                    <a:pt x="174" y="295"/>
                    <a:pt x="174" y="295"/>
                    <a:pt x="174" y="295"/>
                  </a:cubicBezTo>
                  <a:cubicBezTo>
                    <a:pt x="174" y="295"/>
                    <a:pt x="195" y="304"/>
                    <a:pt x="197" y="313"/>
                  </a:cubicBezTo>
                  <a:cubicBezTo>
                    <a:pt x="199" y="322"/>
                    <a:pt x="200" y="334"/>
                    <a:pt x="200" y="334"/>
                  </a:cubicBezTo>
                  <a:cubicBezTo>
                    <a:pt x="200" y="334"/>
                    <a:pt x="214" y="349"/>
                    <a:pt x="213" y="356"/>
                  </a:cubicBezTo>
                  <a:cubicBezTo>
                    <a:pt x="212" y="363"/>
                    <a:pt x="202" y="374"/>
                    <a:pt x="202" y="374"/>
                  </a:cubicBezTo>
                  <a:cubicBezTo>
                    <a:pt x="204" y="408"/>
                    <a:pt x="204" y="408"/>
                    <a:pt x="204" y="408"/>
                  </a:cubicBezTo>
                  <a:cubicBezTo>
                    <a:pt x="193" y="438"/>
                    <a:pt x="193" y="438"/>
                    <a:pt x="193" y="438"/>
                  </a:cubicBezTo>
                  <a:cubicBezTo>
                    <a:pt x="191" y="488"/>
                    <a:pt x="191" y="488"/>
                    <a:pt x="191" y="488"/>
                  </a:cubicBezTo>
                  <a:cubicBezTo>
                    <a:pt x="191" y="488"/>
                    <a:pt x="188" y="515"/>
                    <a:pt x="183" y="518"/>
                  </a:cubicBezTo>
                  <a:cubicBezTo>
                    <a:pt x="178" y="521"/>
                    <a:pt x="171" y="518"/>
                    <a:pt x="171" y="518"/>
                  </a:cubicBezTo>
                  <a:cubicBezTo>
                    <a:pt x="171" y="518"/>
                    <a:pt x="167" y="505"/>
                    <a:pt x="157" y="506"/>
                  </a:cubicBezTo>
                  <a:cubicBezTo>
                    <a:pt x="147" y="507"/>
                    <a:pt x="136" y="522"/>
                    <a:pt x="136" y="522"/>
                  </a:cubicBezTo>
                  <a:cubicBezTo>
                    <a:pt x="117" y="519"/>
                    <a:pt x="117" y="519"/>
                    <a:pt x="117" y="519"/>
                  </a:cubicBezTo>
                  <a:cubicBezTo>
                    <a:pt x="115" y="526"/>
                    <a:pt x="115" y="526"/>
                    <a:pt x="115" y="526"/>
                  </a:cubicBezTo>
                  <a:cubicBezTo>
                    <a:pt x="94" y="526"/>
                    <a:pt x="94" y="526"/>
                    <a:pt x="94" y="526"/>
                  </a:cubicBezTo>
                  <a:cubicBezTo>
                    <a:pt x="94" y="526"/>
                    <a:pt x="68" y="543"/>
                    <a:pt x="66" y="547"/>
                  </a:cubicBezTo>
                  <a:cubicBezTo>
                    <a:pt x="64" y="551"/>
                    <a:pt x="63" y="559"/>
                    <a:pt x="63" y="559"/>
                  </a:cubicBezTo>
                  <a:cubicBezTo>
                    <a:pt x="47" y="559"/>
                    <a:pt x="47" y="559"/>
                    <a:pt x="47" y="559"/>
                  </a:cubicBezTo>
                  <a:cubicBezTo>
                    <a:pt x="46" y="597"/>
                    <a:pt x="46" y="597"/>
                    <a:pt x="46" y="597"/>
                  </a:cubicBezTo>
                  <a:cubicBezTo>
                    <a:pt x="46" y="597"/>
                    <a:pt x="31" y="606"/>
                    <a:pt x="33" y="613"/>
                  </a:cubicBezTo>
                  <a:cubicBezTo>
                    <a:pt x="35" y="620"/>
                    <a:pt x="45" y="645"/>
                    <a:pt x="39" y="636"/>
                  </a:cubicBezTo>
                  <a:cubicBezTo>
                    <a:pt x="33" y="627"/>
                    <a:pt x="20" y="644"/>
                    <a:pt x="12" y="652"/>
                  </a:cubicBezTo>
                  <a:cubicBezTo>
                    <a:pt x="4" y="660"/>
                    <a:pt x="9" y="674"/>
                    <a:pt x="9" y="674"/>
                  </a:cubicBezTo>
                  <a:cubicBezTo>
                    <a:pt x="15" y="678"/>
                    <a:pt x="15" y="678"/>
                    <a:pt x="15" y="678"/>
                  </a:cubicBezTo>
                  <a:cubicBezTo>
                    <a:pt x="15" y="678"/>
                    <a:pt x="0" y="686"/>
                    <a:pt x="0" y="691"/>
                  </a:cubicBezTo>
                  <a:cubicBezTo>
                    <a:pt x="0" y="696"/>
                    <a:pt x="15" y="702"/>
                    <a:pt x="15" y="702"/>
                  </a:cubicBezTo>
                  <a:cubicBezTo>
                    <a:pt x="17" y="720"/>
                    <a:pt x="17" y="720"/>
                    <a:pt x="17" y="720"/>
                  </a:cubicBezTo>
                  <a:cubicBezTo>
                    <a:pt x="17" y="720"/>
                    <a:pt x="30" y="741"/>
                    <a:pt x="35" y="747"/>
                  </a:cubicBezTo>
                  <a:cubicBezTo>
                    <a:pt x="40" y="753"/>
                    <a:pt x="62" y="768"/>
                    <a:pt x="60" y="773"/>
                  </a:cubicBezTo>
                  <a:cubicBezTo>
                    <a:pt x="58" y="778"/>
                    <a:pt x="43" y="791"/>
                    <a:pt x="43" y="791"/>
                  </a:cubicBezTo>
                  <a:cubicBezTo>
                    <a:pt x="43" y="791"/>
                    <a:pt x="79" y="790"/>
                    <a:pt x="82" y="797"/>
                  </a:cubicBezTo>
                  <a:cubicBezTo>
                    <a:pt x="85" y="804"/>
                    <a:pt x="93" y="823"/>
                    <a:pt x="93" y="823"/>
                  </a:cubicBezTo>
                  <a:cubicBezTo>
                    <a:pt x="135" y="819"/>
                    <a:pt x="135" y="819"/>
                    <a:pt x="135" y="819"/>
                  </a:cubicBezTo>
                  <a:cubicBezTo>
                    <a:pt x="169" y="789"/>
                    <a:pt x="169" y="789"/>
                    <a:pt x="169" y="789"/>
                  </a:cubicBezTo>
                  <a:cubicBezTo>
                    <a:pt x="169" y="789"/>
                    <a:pt x="174" y="812"/>
                    <a:pt x="172" y="816"/>
                  </a:cubicBezTo>
                  <a:cubicBezTo>
                    <a:pt x="170" y="820"/>
                    <a:pt x="165" y="834"/>
                    <a:pt x="167" y="844"/>
                  </a:cubicBezTo>
                  <a:cubicBezTo>
                    <a:pt x="169" y="854"/>
                    <a:pt x="170" y="874"/>
                    <a:pt x="170" y="874"/>
                  </a:cubicBezTo>
                  <a:cubicBezTo>
                    <a:pt x="177" y="873"/>
                    <a:pt x="177" y="873"/>
                    <a:pt x="177" y="873"/>
                  </a:cubicBezTo>
                  <a:cubicBezTo>
                    <a:pt x="177" y="873"/>
                    <a:pt x="177" y="881"/>
                    <a:pt x="185" y="881"/>
                  </a:cubicBezTo>
                  <a:cubicBezTo>
                    <a:pt x="193" y="881"/>
                    <a:pt x="189" y="872"/>
                    <a:pt x="200" y="872"/>
                  </a:cubicBezTo>
                  <a:cubicBezTo>
                    <a:pt x="211" y="872"/>
                    <a:pt x="246" y="875"/>
                    <a:pt x="246" y="875"/>
                  </a:cubicBezTo>
                  <a:cubicBezTo>
                    <a:pt x="246" y="875"/>
                    <a:pt x="249" y="886"/>
                    <a:pt x="262" y="883"/>
                  </a:cubicBezTo>
                  <a:cubicBezTo>
                    <a:pt x="275" y="880"/>
                    <a:pt x="283" y="871"/>
                    <a:pt x="283" y="871"/>
                  </a:cubicBezTo>
                  <a:cubicBezTo>
                    <a:pt x="288" y="859"/>
                    <a:pt x="288" y="859"/>
                    <a:pt x="288" y="859"/>
                  </a:cubicBezTo>
                  <a:cubicBezTo>
                    <a:pt x="312" y="858"/>
                    <a:pt x="312" y="858"/>
                    <a:pt x="312" y="858"/>
                  </a:cubicBezTo>
                  <a:cubicBezTo>
                    <a:pt x="316" y="840"/>
                    <a:pt x="316" y="840"/>
                    <a:pt x="316" y="840"/>
                  </a:cubicBezTo>
                  <a:cubicBezTo>
                    <a:pt x="340" y="841"/>
                    <a:pt x="340" y="841"/>
                    <a:pt x="340" y="841"/>
                  </a:cubicBezTo>
                  <a:cubicBezTo>
                    <a:pt x="340" y="841"/>
                    <a:pt x="350" y="815"/>
                    <a:pt x="363" y="815"/>
                  </a:cubicBezTo>
                  <a:cubicBezTo>
                    <a:pt x="376" y="815"/>
                    <a:pt x="386" y="816"/>
                    <a:pt x="386" y="816"/>
                  </a:cubicBezTo>
                  <a:cubicBezTo>
                    <a:pt x="395" y="808"/>
                    <a:pt x="395" y="808"/>
                    <a:pt x="395" y="808"/>
                  </a:cubicBezTo>
                  <a:cubicBezTo>
                    <a:pt x="395" y="808"/>
                    <a:pt x="404" y="818"/>
                    <a:pt x="405" y="814"/>
                  </a:cubicBezTo>
                  <a:cubicBezTo>
                    <a:pt x="406" y="810"/>
                    <a:pt x="419" y="802"/>
                    <a:pt x="423" y="806"/>
                  </a:cubicBezTo>
                  <a:cubicBezTo>
                    <a:pt x="427" y="810"/>
                    <a:pt x="419" y="837"/>
                    <a:pt x="419" y="837"/>
                  </a:cubicBezTo>
                  <a:cubicBezTo>
                    <a:pt x="419" y="837"/>
                    <a:pt x="411" y="850"/>
                    <a:pt x="412" y="854"/>
                  </a:cubicBezTo>
                  <a:cubicBezTo>
                    <a:pt x="413" y="858"/>
                    <a:pt x="422" y="866"/>
                    <a:pt x="422" y="875"/>
                  </a:cubicBezTo>
                  <a:cubicBezTo>
                    <a:pt x="422" y="884"/>
                    <a:pt x="415" y="890"/>
                    <a:pt x="422" y="899"/>
                  </a:cubicBezTo>
                  <a:cubicBezTo>
                    <a:pt x="429" y="908"/>
                    <a:pt x="436" y="912"/>
                    <a:pt x="436" y="912"/>
                  </a:cubicBezTo>
                  <a:cubicBezTo>
                    <a:pt x="442" y="932"/>
                    <a:pt x="442" y="932"/>
                    <a:pt x="442" y="932"/>
                  </a:cubicBezTo>
                  <a:cubicBezTo>
                    <a:pt x="442" y="932"/>
                    <a:pt x="458" y="930"/>
                    <a:pt x="461" y="935"/>
                  </a:cubicBezTo>
                  <a:cubicBezTo>
                    <a:pt x="464" y="940"/>
                    <a:pt x="460" y="951"/>
                    <a:pt x="470" y="955"/>
                  </a:cubicBezTo>
                  <a:cubicBezTo>
                    <a:pt x="480" y="959"/>
                    <a:pt x="484" y="959"/>
                    <a:pt x="488" y="960"/>
                  </a:cubicBezTo>
                  <a:cubicBezTo>
                    <a:pt x="492" y="961"/>
                    <a:pt x="502" y="954"/>
                    <a:pt x="502" y="954"/>
                  </a:cubicBezTo>
                  <a:cubicBezTo>
                    <a:pt x="502" y="954"/>
                    <a:pt x="508" y="968"/>
                    <a:pt x="516" y="968"/>
                  </a:cubicBezTo>
                  <a:cubicBezTo>
                    <a:pt x="524" y="968"/>
                    <a:pt x="531" y="961"/>
                    <a:pt x="532" y="965"/>
                  </a:cubicBezTo>
                  <a:cubicBezTo>
                    <a:pt x="533" y="969"/>
                    <a:pt x="541" y="981"/>
                    <a:pt x="552" y="986"/>
                  </a:cubicBezTo>
                  <a:cubicBezTo>
                    <a:pt x="563" y="991"/>
                    <a:pt x="579" y="992"/>
                    <a:pt x="579" y="992"/>
                  </a:cubicBezTo>
                  <a:cubicBezTo>
                    <a:pt x="579" y="992"/>
                    <a:pt x="588" y="1012"/>
                    <a:pt x="598" y="1013"/>
                  </a:cubicBezTo>
                  <a:cubicBezTo>
                    <a:pt x="608" y="1014"/>
                    <a:pt x="619" y="1009"/>
                    <a:pt x="630" y="1011"/>
                  </a:cubicBezTo>
                  <a:cubicBezTo>
                    <a:pt x="641" y="1013"/>
                    <a:pt x="661" y="1022"/>
                    <a:pt x="662" y="1032"/>
                  </a:cubicBezTo>
                  <a:cubicBezTo>
                    <a:pt x="663" y="1042"/>
                    <a:pt x="658" y="1045"/>
                    <a:pt x="662" y="1052"/>
                  </a:cubicBezTo>
                  <a:cubicBezTo>
                    <a:pt x="666" y="1059"/>
                    <a:pt x="673" y="1071"/>
                    <a:pt x="673" y="1071"/>
                  </a:cubicBezTo>
                  <a:cubicBezTo>
                    <a:pt x="675" y="1092"/>
                    <a:pt x="675" y="1092"/>
                    <a:pt x="675" y="1092"/>
                  </a:cubicBezTo>
                  <a:cubicBezTo>
                    <a:pt x="675" y="1092"/>
                    <a:pt x="660" y="1090"/>
                    <a:pt x="662" y="1096"/>
                  </a:cubicBezTo>
                  <a:cubicBezTo>
                    <a:pt x="664" y="1102"/>
                    <a:pt x="680" y="1116"/>
                    <a:pt x="680" y="1116"/>
                  </a:cubicBezTo>
                  <a:cubicBezTo>
                    <a:pt x="680" y="1116"/>
                    <a:pt x="670" y="1147"/>
                    <a:pt x="683" y="1156"/>
                  </a:cubicBezTo>
                  <a:cubicBezTo>
                    <a:pt x="696" y="1165"/>
                    <a:pt x="773" y="1163"/>
                    <a:pt x="773" y="1163"/>
                  </a:cubicBezTo>
                  <a:cubicBezTo>
                    <a:pt x="773" y="1163"/>
                    <a:pt x="762" y="1197"/>
                    <a:pt x="769" y="1206"/>
                  </a:cubicBezTo>
                  <a:cubicBezTo>
                    <a:pt x="776" y="1215"/>
                    <a:pt x="785" y="1216"/>
                    <a:pt x="796" y="1223"/>
                  </a:cubicBezTo>
                  <a:cubicBezTo>
                    <a:pt x="807" y="1230"/>
                    <a:pt x="816" y="1248"/>
                    <a:pt x="816" y="1262"/>
                  </a:cubicBezTo>
                  <a:cubicBezTo>
                    <a:pt x="816" y="1276"/>
                    <a:pt x="811" y="1302"/>
                    <a:pt x="811" y="1302"/>
                  </a:cubicBezTo>
                  <a:cubicBezTo>
                    <a:pt x="815" y="1310"/>
                    <a:pt x="815" y="1310"/>
                    <a:pt x="815" y="1310"/>
                  </a:cubicBezTo>
                  <a:cubicBezTo>
                    <a:pt x="815" y="1310"/>
                    <a:pt x="798" y="1337"/>
                    <a:pt x="800" y="1342"/>
                  </a:cubicBezTo>
                  <a:cubicBezTo>
                    <a:pt x="802" y="1347"/>
                    <a:pt x="814" y="1357"/>
                    <a:pt x="814" y="1357"/>
                  </a:cubicBezTo>
                  <a:cubicBezTo>
                    <a:pt x="814" y="1357"/>
                    <a:pt x="799" y="1365"/>
                    <a:pt x="799" y="1371"/>
                  </a:cubicBezTo>
                  <a:cubicBezTo>
                    <a:pt x="799" y="1377"/>
                    <a:pt x="808" y="1379"/>
                    <a:pt x="810" y="1386"/>
                  </a:cubicBezTo>
                  <a:cubicBezTo>
                    <a:pt x="812" y="1393"/>
                    <a:pt x="806" y="1402"/>
                    <a:pt x="810" y="1406"/>
                  </a:cubicBezTo>
                  <a:cubicBezTo>
                    <a:pt x="814" y="1410"/>
                    <a:pt x="819" y="1405"/>
                    <a:pt x="819" y="1414"/>
                  </a:cubicBezTo>
                  <a:cubicBezTo>
                    <a:pt x="819" y="1423"/>
                    <a:pt x="804" y="1459"/>
                    <a:pt x="820" y="1468"/>
                  </a:cubicBezTo>
                  <a:cubicBezTo>
                    <a:pt x="836" y="1477"/>
                    <a:pt x="880" y="1484"/>
                    <a:pt x="895" y="1481"/>
                  </a:cubicBezTo>
                  <a:cubicBezTo>
                    <a:pt x="910" y="1478"/>
                    <a:pt x="928" y="1478"/>
                    <a:pt x="932" y="1486"/>
                  </a:cubicBezTo>
                  <a:cubicBezTo>
                    <a:pt x="936" y="1494"/>
                    <a:pt x="932" y="1511"/>
                    <a:pt x="937" y="1531"/>
                  </a:cubicBezTo>
                  <a:cubicBezTo>
                    <a:pt x="942" y="1551"/>
                    <a:pt x="946" y="1572"/>
                    <a:pt x="957" y="1574"/>
                  </a:cubicBezTo>
                  <a:cubicBezTo>
                    <a:pt x="968" y="1576"/>
                    <a:pt x="972" y="1560"/>
                    <a:pt x="987" y="1564"/>
                  </a:cubicBezTo>
                  <a:cubicBezTo>
                    <a:pt x="1002" y="1568"/>
                    <a:pt x="1006" y="1576"/>
                    <a:pt x="1004" y="1596"/>
                  </a:cubicBezTo>
                  <a:cubicBezTo>
                    <a:pt x="1002" y="1616"/>
                    <a:pt x="1000" y="1626"/>
                    <a:pt x="998" y="1631"/>
                  </a:cubicBezTo>
                  <a:cubicBezTo>
                    <a:pt x="996" y="1636"/>
                    <a:pt x="995" y="1651"/>
                    <a:pt x="995" y="1651"/>
                  </a:cubicBezTo>
                  <a:cubicBezTo>
                    <a:pt x="998" y="1664"/>
                    <a:pt x="998" y="1664"/>
                    <a:pt x="998" y="1664"/>
                  </a:cubicBezTo>
                  <a:cubicBezTo>
                    <a:pt x="998" y="1664"/>
                    <a:pt x="1014" y="1653"/>
                    <a:pt x="1021" y="1657"/>
                  </a:cubicBezTo>
                  <a:cubicBezTo>
                    <a:pt x="1028" y="1661"/>
                    <a:pt x="1032" y="1682"/>
                    <a:pt x="1032" y="1682"/>
                  </a:cubicBezTo>
                  <a:cubicBezTo>
                    <a:pt x="1032" y="1682"/>
                    <a:pt x="1043" y="1681"/>
                    <a:pt x="1043" y="1690"/>
                  </a:cubicBezTo>
                  <a:cubicBezTo>
                    <a:pt x="1043" y="1699"/>
                    <a:pt x="1051" y="1737"/>
                    <a:pt x="1045" y="1743"/>
                  </a:cubicBezTo>
                  <a:cubicBezTo>
                    <a:pt x="1039" y="1749"/>
                    <a:pt x="1022" y="1751"/>
                    <a:pt x="1011" y="1756"/>
                  </a:cubicBezTo>
                  <a:cubicBezTo>
                    <a:pt x="1000" y="1761"/>
                    <a:pt x="1000" y="1779"/>
                    <a:pt x="1000" y="1779"/>
                  </a:cubicBezTo>
                  <a:cubicBezTo>
                    <a:pt x="979" y="1781"/>
                    <a:pt x="979" y="1781"/>
                    <a:pt x="979" y="1781"/>
                  </a:cubicBezTo>
                  <a:cubicBezTo>
                    <a:pt x="978" y="1792"/>
                    <a:pt x="978" y="1792"/>
                    <a:pt x="978" y="1792"/>
                  </a:cubicBezTo>
                  <a:cubicBezTo>
                    <a:pt x="972" y="1794"/>
                    <a:pt x="972" y="1794"/>
                    <a:pt x="972" y="1794"/>
                  </a:cubicBezTo>
                  <a:cubicBezTo>
                    <a:pt x="969" y="1810"/>
                    <a:pt x="969" y="1810"/>
                    <a:pt x="969" y="1810"/>
                  </a:cubicBezTo>
                  <a:cubicBezTo>
                    <a:pt x="953" y="1814"/>
                    <a:pt x="953" y="1814"/>
                    <a:pt x="953" y="1814"/>
                  </a:cubicBezTo>
                  <a:cubicBezTo>
                    <a:pt x="953" y="1814"/>
                    <a:pt x="950" y="1837"/>
                    <a:pt x="945" y="1842"/>
                  </a:cubicBezTo>
                  <a:cubicBezTo>
                    <a:pt x="940" y="1847"/>
                    <a:pt x="931" y="1852"/>
                    <a:pt x="931" y="1855"/>
                  </a:cubicBezTo>
                  <a:cubicBezTo>
                    <a:pt x="931" y="1858"/>
                    <a:pt x="928" y="1873"/>
                    <a:pt x="923" y="1878"/>
                  </a:cubicBezTo>
                  <a:cubicBezTo>
                    <a:pt x="918" y="1883"/>
                    <a:pt x="903" y="1882"/>
                    <a:pt x="903" y="1888"/>
                  </a:cubicBezTo>
                  <a:cubicBezTo>
                    <a:pt x="903" y="1894"/>
                    <a:pt x="899" y="1911"/>
                    <a:pt x="899" y="1911"/>
                  </a:cubicBezTo>
                  <a:cubicBezTo>
                    <a:pt x="915" y="1912"/>
                    <a:pt x="915" y="1912"/>
                    <a:pt x="915" y="1912"/>
                  </a:cubicBezTo>
                  <a:cubicBezTo>
                    <a:pt x="915" y="1912"/>
                    <a:pt x="921" y="1902"/>
                    <a:pt x="933" y="1904"/>
                  </a:cubicBezTo>
                  <a:cubicBezTo>
                    <a:pt x="945" y="1906"/>
                    <a:pt x="970" y="1933"/>
                    <a:pt x="970" y="1933"/>
                  </a:cubicBezTo>
                  <a:cubicBezTo>
                    <a:pt x="970" y="1933"/>
                    <a:pt x="980" y="1956"/>
                    <a:pt x="986" y="1956"/>
                  </a:cubicBezTo>
                  <a:cubicBezTo>
                    <a:pt x="992" y="1956"/>
                    <a:pt x="991" y="1942"/>
                    <a:pt x="1001" y="1945"/>
                  </a:cubicBezTo>
                  <a:cubicBezTo>
                    <a:pt x="1011" y="1948"/>
                    <a:pt x="1020" y="1964"/>
                    <a:pt x="1025" y="1967"/>
                  </a:cubicBezTo>
                  <a:cubicBezTo>
                    <a:pt x="1030" y="1970"/>
                    <a:pt x="1037" y="1969"/>
                    <a:pt x="1037" y="1969"/>
                  </a:cubicBezTo>
                  <a:cubicBezTo>
                    <a:pt x="1037" y="1969"/>
                    <a:pt x="1045" y="1976"/>
                    <a:pt x="1049" y="1978"/>
                  </a:cubicBezTo>
                  <a:cubicBezTo>
                    <a:pt x="1053" y="1980"/>
                    <a:pt x="1055" y="1993"/>
                    <a:pt x="1067" y="1997"/>
                  </a:cubicBezTo>
                  <a:cubicBezTo>
                    <a:pt x="1079" y="2001"/>
                    <a:pt x="1086" y="2000"/>
                    <a:pt x="1086" y="2000"/>
                  </a:cubicBezTo>
                  <a:cubicBezTo>
                    <a:pt x="1086" y="2000"/>
                    <a:pt x="1096" y="2024"/>
                    <a:pt x="1104" y="2029"/>
                  </a:cubicBezTo>
                  <a:cubicBezTo>
                    <a:pt x="1112" y="2034"/>
                    <a:pt x="1131" y="2033"/>
                    <a:pt x="1126" y="2042"/>
                  </a:cubicBezTo>
                  <a:cubicBezTo>
                    <a:pt x="1121" y="2051"/>
                    <a:pt x="1111" y="2064"/>
                    <a:pt x="1112" y="2071"/>
                  </a:cubicBezTo>
                  <a:cubicBezTo>
                    <a:pt x="1113" y="2078"/>
                    <a:pt x="1119" y="2078"/>
                    <a:pt x="1119" y="2078"/>
                  </a:cubicBezTo>
                  <a:cubicBezTo>
                    <a:pt x="1118" y="2099"/>
                    <a:pt x="1118" y="2099"/>
                    <a:pt x="1118" y="2099"/>
                  </a:cubicBezTo>
                  <a:cubicBezTo>
                    <a:pt x="1128" y="2098"/>
                    <a:pt x="1128" y="2098"/>
                    <a:pt x="1128" y="2098"/>
                  </a:cubicBezTo>
                  <a:cubicBezTo>
                    <a:pt x="1128" y="2096"/>
                    <a:pt x="1128" y="2096"/>
                    <a:pt x="1128" y="2096"/>
                  </a:cubicBezTo>
                  <a:cubicBezTo>
                    <a:pt x="1128" y="2096"/>
                    <a:pt x="1151" y="2070"/>
                    <a:pt x="1156" y="2061"/>
                  </a:cubicBezTo>
                  <a:cubicBezTo>
                    <a:pt x="1161" y="2052"/>
                    <a:pt x="1153" y="2031"/>
                    <a:pt x="1153" y="2031"/>
                  </a:cubicBezTo>
                  <a:cubicBezTo>
                    <a:pt x="1165" y="2013"/>
                    <a:pt x="1165" y="2013"/>
                    <a:pt x="1165" y="2013"/>
                  </a:cubicBezTo>
                  <a:cubicBezTo>
                    <a:pt x="1165" y="2013"/>
                    <a:pt x="1155" y="2005"/>
                    <a:pt x="1155" y="1995"/>
                  </a:cubicBezTo>
                  <a:cubicBezTo>
                    <a:pt x="1155" y="1985"/>
                    <a:pt x="1165" y="1984"/>
                    <a:pt x="1165" y="1984"/>
                  </a:cubicBezTo>
                  <a:cubicBezTo>
                    <a:pt x="1167" y="1968"/>
                    <a:pt x="1167" y="1968"/>
                    <a:pt x="1167" y="1968"/>
                  </a:cubicBezTo>
                  <a:cubicBezTo>
                    <a:pt x="1167" y="1968"/>
                    <a:pt x="1179" y="1966"/>
                    <a:pt x="1183" y="1962"/>
                  </a:cubicBezTo>
                  <a:cubicBezTo>
                    <a:pt x="1187" y="1958"/>
                    <a:pt x="1186" y="1944"/>
                    <a:pt x="1186" y="1936"/>
                  </a:cubicBezTo>
                  <a:cubicBezTo>
                    <a:pt x="1186" y="1928"/>
                    <a:pt x="1204" y="1911"/>
                    <a:pt x="1213" y="1909"/>
                  </a:cubicBezTo>
                  <a:cubicBezTo>
                    <a:pt x="1222" y="1907"/>
                    <a:pt x="1219" y="1931"/>
                    <a:pt x="1219" y="1931"/>
                  </a:cubicBezTo>
                  <a:cubicBezTo>
                    <a:pt x="1219" y="1931"/>
                    <a:pt x="1213" y="1941"/>
                    <a:pt x="1210" y="1943"/>
                  </a:cubicBezTo>
                  <a:cubicBezTo>
                    <a:pt x="1207" y="1945"/>
                    <a:pt x="1208" y="1956"/>
                    <a:pt x="1208" y="1956"/>
                  </a:cubicBezTo>
                  <a:cubicBezTo>
                    <a:pt x="1201" y="1960"/>
                    <a:pt x="1201" y="1960"/>
                    <a:pt x="1201" y="1960"/>
                  </a:cubicBezTo>
                  <a:cubicBezTo>
                    <a:pt x="1201" y="1969"/>
                    <a:pt x="1201" y="1969"/>
                    <a:pt x="1201" y="1969"/>
                  </a:cubicBezTo>
                  <a:cubicBezTo>
                    <a:pt x="1184" y="1987"/>
                    <a:pt x="1184" y="1987"/>
                    <a:pt x="1184" y="1987"/>
                  </a:cubicBezTo>
                  <a:cubicBezTo>
                    <a:pt x="1163" y="2002"/>
                    <a:pt x="1163" y="2002"/>
                    <a:pt x="1163" y="2002"/>
                  </a:cubicBezTo>
                  <a:cubicBezTo>
                    <a:pt x="1163" y="2002"/>
                    <a:pt x="1170" y="2008"/>
                    <a:pt x="1177" y="2006"/>
                  </a:cubicBezTo>
                  <a:cubicBezTo>
                    <a:pt x="1182" y="2005"/>
                    <a:pt x="1182" y="1993"/>
                    <a:pt x="1187" y="1990"/>
                  </a:cubicBezTo>
                  <a:cubicBezTo>
                    <a:pt x="1191" y="1986"/>
                    <a:pt x="1198" y="1989"/>
                    <a:pt x="1200" y="1987"/>
                  </a:cubicBezTo>
                  <a:cubicBezTo>
                    <a:pt x="1206" y="1978"/>
                    <a:pt x="1228" y="1944"/>
                    <a:pt x="1233" y="1920"/>
                  </a:cubicBezTo>
                  <a:cubicBezTo>
                    <a:pt x="1238" y="1896"/>
                    <a:pt x="1248" y="1874"/>
                    <a:pt x="1252" y="1860"/>
                  </a:cubicBezTo>
                  <a:cubicBezTo>
                    <a:pt x="1256" y="1846"/>
                    <a:pt x="1284" y="1829"/>
                    <a:pt x="1286" y="1825"/>
                  </a:cubicBezTo>
                  <a:cubicBezTo>
                    <a:pt x="1288" y="1821"/>
                    <a:pt x="1281" y="1811"/>
                    <a:pt x="1281" y="1811"/>
                  </a:cubicBezTo>
                  <a:cubicBezTo>
                    <a:pt x="1294" y="1802"/>
                    <a:pt x="1294" y="1802"/>
                    <a:pt x="1294" y="1802"/>
                  </a:cubicBezTo>
                  <a:cubicBezTo>
                    <a:pt x="1290" y="1778"/>
                    <a:pt x="1290" y="1778"/>
                    <a:pt x="1290" y="1778"/>
                  </a:cubicBezTo>
                  <a:cubicBezTo>
                    <a:pt x="1294" y="1764"/>
                    <a:pt x="1294" y="1764"/>
                    <a:pt x="1294" y="1764"/>
                  </a:cubicBezTo>
                  <a:cubicBezTo>
                    <a:pt x="1285" y="1759"/>
                    <a:pt x="1285" y="1759"/>
                    <a:pt x="1285" y="1759"/>
                  </a:cubicBezTo>
                  <a:cubicBezTo>
                    <a:pt x="1285" y="1759"/>
                    <a:pt x="1292" y="1750"/>
                    <a:pt x="1292" y="1742"/>
                  </a:cubicBezTo>
                  <a:cubicBezTo>
                    <a:pt x="1292" y="1734"/>
                    <a:pt x="1277" y="1728"/>
                    <a:pt x="1277" y="1728"/>
                  </a:cubicBezTo>
                  <a:cubicBezTo>
                    <a:pt x="1276" y="1705"/>
                    <a:pt x="1276" y="1705"/>
                    <a:pt x="1276" y="1705"/>
                  </a:cubicBezTo>
                  <a:cubicBezTo>
                    <a:pt x="1266" y="1694"/>
                    <a:pt x="1266" y="1694"/>
                    <a:pt x="1266" y="1694"/>
                  </a:cubicBezTo>
                  <a:cubicBezTo>
                    <a:pt x="1280" y="1695"/>
                    <a:pt x="1280" y="1695"/>
                    <a:pt x="1280" y="1695"/>
                  </a:cubicBezTo>
                  <a:cubicBezTo>
                    <a:pt x="1279" y="1678"/>
                    <a:pt x="1279" y="1678"/>
                    <a:pt x="1279" y="1678"/>
                  </a:cubicBezTo>
                  <a:cubicBezTo>
                    <a:pt x="1270" y="1673"/>
                    <a:pt x="1270" y="1673"/>
                    <a:pt x="1270" y="1673"/>
                  </a:cubicBezTo>
                  <a:cubicBezTo>
                    <a:pt x="1270" y="1673"/>
                    <a:pt x="1282" y="1670"/>
                    <a:pt x="1282" y="1665"/>
                  </a:cubicBezTo>
                  <a:cubicBezTo>
                    <a:pt x="1282" y="1660"/>
                    <a:pt x="1266" y="1650"/>
                    <a:pt x="1266" y="1650"/>
                  </a:cubicBezTo>
                  <a:cubicBezTo>
                    <a:pt x="1282" y="1639"/>
                    <a:pt x="1282" y="1639"/>
                    <a:pt x="1282" y="1639"/>
                  </a:cubicBezTo>
                  <a:cubicBezTo>
                    <a:pt x="1282" y="1639"/>
                    <a:pt x="1295" y="1653"/>
                    <a:pt x="1301" y="1652"/>
                  </a:cubicBezTo>
                  <a:cubicBezTo>
                    <a:pt x="1307" y="1651"/>
                    <a:pt x="1303" y="1639"/>
                    <a:pt x="1303" y="1639"/>
                  </a:cubicBezTo>
                  <a:cubicBezTo>
                    <a:pt x="1303" y="1639"/>
                    <a:pt x="1303" y="1627"/>
                    <a:pt x="1311" y="1617"/>
                  </a:cubicBezTo>
                  <a:cubicBezTo>
                    <a:pt x="1319" y="1607"/>
                    <a:pt x="1331" y="1610"/>
                    <a:pt x="1337" y="1605"/>
                  </a:cubicBezTo>
                  <a:cubicBezTo>
                    <a:pt x="1343" y="1600"/>
                    <a:pt x="1340" y="1596"/>
                    <a:pt x="1343" y="1589"/>
                  </a:cubicBezTo>
                  <a:cubicBezTo>
                    <a:pt x="1346" y="1582"/>
                    <a:pt x="1364" y="1579"/>
                    <a:pt x="1364" y="1579"/>
                  </a:cubicBezTo>
                  <a:cubicBezTo>
                    <a:pt x="1366" y="1571"/>
                    <a:pt x="1366" y="1571"/>
                    <a:pt x="1366" y="1571"/>
                  </a:cubicBezTo>
                  <a:cubicBezTo>
                    <a:pt x="1366" y="1571"/>
                    <a:pt x="1372" y="1574"/>
                    <a:pt x="1377" y="1573"/>
                  </a:cubicBezTo>
                  <a:cubicBezTo>
                    <a:pt x="1382" y="1572"/>
                    <a:pt x="1381" y="1560"/>
                    <a:pt x="1387" y="1559"/>
                  </a:cubicBezTo>
                  <a:cubicBezTo>
                    <a:pt x="1393" y="1558"/>
                    <a:pt x="1412" y="1561"/>
                    <a:pt x="1412" y="1561"/>
                  </a:cubicBezTo>
                  <a:cubicBezTo>
                    <a:pt x="1416" y="1571"/>
                    <a:pt x="1416" y="1571"/>
                    <a:pt x="1416" y="1571"/>
                  </a:cubicBezTo>
                  <a:cubicBezTo>
                    <a:pt x="1427" y="1569"/>
                    <a:pt x="1427" y="1569"/>
                    <a:pt x="1427" y="1569"/>
                  </a:cubicBezTo>
                  <a:cubicBezTo>
                    <a:pt x="1414" y="1554"/>
                    <a:pt x="1414" y="1554"/>
                    <a:pt x="1414" y="1554"/>
                  </a:cubicBezTo>
                  <a:cubicBezTo>
                    <a:pt x="1414" y="1554"/>
                    <a:pt x="1423" y="1550"/>
                    <a:pt x="1427" y="1545"/>
                  </a:cubicBezTo>
                  <a:cubicBezTo>
                    <a:pt x="1431" y="1540"/>
                    <a:pt x="1453" y="1539"/>
                    <a:pt x="1453" y="1539"/>
                  </a:cubicBezTo>
                  <a:cubicBezTo>
                    <a:pt x="1442" y="1529"/>
                    <a:pt x="1442" y="1529"/>
                    <a:pt x="1442" y="1529"/>
                  </a:cubicBezTo>
                  <a:cubicBezTo>
                    <a:pt x="1442" y="1529"/>
                    <a:pt x="1454" y="1519"/>
                    <a:pt x="1459" y="1519"/>
                  </a:cubicBezTo>
                  <a:cubicBezTo>
                    <a:pt x="1464" y="1519"/>
                    <a:pt x="1460" y="1535"/>
                    <a:pt x="1463" y="1535"/>
                  </a:cubicBezTo>
                  <a:cubicBezTo>
                    <a:pt x="1466" y="1535"/>
                    <a:pt x="1472" y="1518"/>
                    <a:pt x="1472" y="1518"/>
                  </a:cubicBezTo>
                  <a:cubicBezTo>
                    <a:pt x="1497" y="1523"/>
                    <a:pt x="1497" y="1523"/>
                    <a:pt x="1497" y="1523"/>
                  </a:cubicBezTo>
                  <a:cubicBezTo>
                    <a:pt x="1497" y="1523"/>
                    <a:pt x="1502" y="1503"/>
                    <a:pt x="1513" y="1502"/>
                  </a:cubicBezTo>
                  <a:cubicBezTo>
                    <a:pt x="1524" y="1501"/>
                    <a:pt x="1521" y="1523"/>
                    <a:pt x="1521" y="1523"/>
                  </a:cubicBezTo>
                  <a:cubicBezTo>
                    <a:pt x="1566" y="1518"/>
                    <a:pt x="1566" y="1518"/>
                    <a:pt x="1566" y="1518"/>
                  </a:cubicBezTo>
                  <a:cubicBezTo>
                    <a:pt x="1571" y="1506"/>
                    <a:pt x="1571" y="1506"/>
                    <a:pt x="1571" y="1506"/>
                  </a:cubicBezTo>
                  <a:cubicBezTo>
                    <a:pt x="1565" y="1499"/>
                    <a:pt x="1565" y="1499"/>
                    <a:pt x="1565" y="1499"/>
                  </a:cubicBezTo>
                  <a:cubicBezTo>
                    <a:pt x="1565" y="1499"/>
                    <a:pt x="1571" y="1491"/>
                    <a:pt x="1577" y="1482"/>
                  </a:cubicBezTo>
                  <a:cubicBezTo>
                    <a:pt x="1583" y="1473"/>
                    <a:pt x="1613" y="1468"/>
                    <a:pt x="1613" y="1468"/>
                  </a:cubicBezTo>
                  <a:cubicBezTo>
                    <a:pt x="1613" y="1468"/>
                    <a:pt x="1610" y="1455"/>
                    <a:pt x="1610" y="1452"/>
                  </a:cubicBezTo>
                  <a:cubicBezTo>
                    <a:pt x="1610" y="1449"/>
                    <a:pt x="1611" y="1408"/>
                    <a:pt x="1611" y="1408"/>
                  </a:cubicBezTo>
                  <a:cubicBezTo>
                    <a:pt x="1629" y="1388"/>
                    <a:pt x="1629" y="1388"/>
                    <a:pt x="1629" y="1388"/>
                  </a:cubicBezTo>
                  <a:cubicBezTo>
                    <a:pt x="1629" y="1372"/>
                    <a:pt x="1629" y="1372"/>
                    <a:pt x="1629" y="1372"/>
                  </a:cubicBezTo>
                  <a:cubicBezTo>
                    <a:pt x="1642" y="1369"/>
                    <a:pt x="1642" y="1369"/>
                    <a:pt x="1642" y="1369"/>
                  </a:cubicBezTo>
                  <a:cubicBezTo>
                    <a:pt x="1642" y="1347"/>
                    <a:pt x="1642" y="1347"/>
                    <a:pt x="1642" y="1347"/>
                  </a:cubicBezTo>
                  <a:cubicBezTo>
                    <a:pt x="1642" y="1347"/>
                    <a:pt x="1651" y="1342"/>
                    <a:pt x="1655" y="1342"/>
                  </a:cubicBezTo>
                  <a:cubicBezTo>
                    <a:pt x="1659" y="1342"/>
                    <a:pt x="1659" y="1317"/>
                    <a:pt x="1659" y="1317"/>
                  </a:cubicBezTo>
                  <a:cubicBezTo>
                    <a:pt x="1659" y="1317"/>
                    <a:pt x="1653" y="1288"/>
                    <a:pt x="1651" y="1273"/>
                  </a:cubicBezTo>
                  <a:cubicBezTo>
                    <a:pt x="1649" y="1258"/>
                    <a:pt x="1667" y="1246"/>
                    <a:pt x="1674" y="1240"/>
                  </a:cubicBezTo>
                  <a:cubicBezTo>
                    <a:pt x="1681" y="1234"/>
                    <a:pt x="1671" y="1213"/>
                    <a:pt x="1671" y="1213"/>
                  </a:cubicBezTo>
                  <a:cubicBezTo>
                    <a:pt x="1675" y="1175"/>
                    <a:pt x="1675" y="1175"/>
                    <a:pt x="1675" y="1175"/>
                  </a:cubicBezTo>
                  <a:cubicBezTo>
                    <a:pt x="1675" y="1175"/>
                    <a:pt x="1683" y="1145"/>
                    <a:pt x="1682" y="1134"/>
                  </a:cubicBezTo>
                  <a:cubicBezTo>
                    <a:pt x="1681" y="1123"/>
                    <a:pt x="1669" y="1065"/>
                    <a:pt x="1669" y="1065"/>
                  </a:cubicBezTo>
                  <a:cubicBezTo>
                    <a:pt x="1674" y="1041"/>
                    <a:pt x="1674" y="1041"/>
                    <a:pt x="1674" y="1041"/>
                  </a:cubicBezTo>
                  <a:cubicBezTo>
                    <a:pt x="1674" y="1041"/>
                    <a:pt x="1665" y="1010"/>
                    <a:pt x="1668" y="1002"/>
                  </a:cubicBezTo>
                  <a:cubicBezTo>
                    <a:pt x="1671" y="994"/>
                    <a:pt x="1682" y="984"/>
                    <a:pt x="1682" y="984"/>
                  </a:cubicBezTo>
                  <a:cubicBezTo>
                    <a:pt x="1674" y="972"/>
                    <a:pt x="1674" y="972"/>
                    <a:pt x="1674" y="972"/>
                  </a:cubicBezTo>
                  <a:cubicBezTo>
                    <a:pt x="1674" y="972"/>
                    <a:pt x="1681" y="962"/>
                    <a:pt x="1685" y="962"/>
                  </a:cubicBezTo>
                  <a:cubicBezTo>
                    <a:pt x="1689" y="962"/>
                    <a:pt x="1698" y="981"/>
                    <a:pt x="1698" y="981"/>
                  </a:cubicBezTo>
                  <a:cubicBezTo>
                    <a:pt x="1698" y="981"/>
                    <a:pt x="1720" y="961"/>
                    <a:pt x="1727" y="951"/>
                  </a:cubicBezTo>
                  <a:cubicBezTo>
                    <a:pt x="1734" y="941"/>
                    <a:pt x="1739" y="897"/>
                    <a:pt x="1739" y="897"/>
                  </a:cubicBezTo>
                  <a:cubicBezTo>
                    <a:pt x="1739" y="897"/>
                    <a:pt x="1745" y="893"/>
                    <a:pt x="1751" y="889"/>
                  </a:cubicBezTo>
                  <a:cubicBezTo>
                    <a:pt x="1757" y="885"/>
                    <a:pt x="1762" y="863"/>
                    <a:pt x="1762" y="863"/>
                  </a:cubicBezTo>
                  <a:cubicBezTo>
                    <a:pt x="1762" y="863"/>
                    <a:pt x="1775" y="856"/>
                    <a:pt x="1782" y="855"/>
                  </a:cubicBezTo>
                  <a:cubicBezTo>
                    <a:pt x="1789" y="854"/>
                    <a:pt x="1789" y="834"/>
                    <a:pt x="1789" y="834"/>
                  </a:cubicBezTo>
                  <a:cubicBezTo>
                    <a:pt x="1789" y="834"/>
                    <a:pt x="1803" y="829"/>
                    <a:pt x="1816" y="811"/>
                  </a:cubicBezTo>
                  <a:cubicBezTo>
                    <a:pt x="1829" y="793"/>
                    <a:pt x="1844" y="746"/>
                    <a:pt x="1844" y="746"/>
                  </a:cubicBezTo>
                  <a:cubicBezTo>
                    <a:pt x="1844" y="746"/>
                    <a:pt x="1856" y="733"/>
                    <a:pt x="1857" y="727"/>
                  </a:cubicBezTo>
                  <a:cubicBezTo>
                    <a:pt x="1858" y="721"/>
                    <a:pt x="1852" y="705"/>
                    <a:pt x="1852" y="705"/>
                  </a:cubicBezTo>
                  <a:cubicBezTo>
                    <a:pt x="1852" y="705"/>
                    <a:pt x="1855" y="684"/>
                    <a:pt x="1855" y="667"/>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54" name="Bolivia">
              <a:extLst>
                <a:ext uri="{FF2B5EF4-FFF2-40B4-BE49-F238E27FC236}">
                  <a16:creationId xmlns:a16="http://schemas.microsoft.com/office/drawing/2014/main" id="{8EAC5C58-2FCF-488E-A528-094B1ECB356E}"/>
                </a:ext>
              </a:extLst>
            </p:cNvPr>
            <p:cNvSpPr>
              <a:spLocks noEditPoints="1"/>
            </p:cNvSpPr>
            <p:nvPr/>
          </p:nvSpPr>
          <p:spPr bwMode="gray">
            <a:xfrm>
              <a:off x="3771211" y="4372343"/>
              <a:ext cx="338197" cy="398278"/>
            </a:xfrm>
            <a:custGeom>
              <a:avLst/>
              <a:gdLst>
                <a:gd name="T0" fmla="*/ 1 w 604"/>
                <a:gd name="T1" fmla="*/ 70 h 712"/>
                <a:gd name="T2" fmla="*/ 599 w 604"/>
                <a:gd name="T3" fmla="*/ 500 h 712"/>
                <a:gd name="T4" fmla="*/ 584 w 604"/>
                <a:gd name="T5" fmla="*/ 421 h 712"/>
                <a:gd name="T6" fmla="*/ 561 w 604"/>
                <a:gd name="T7" fmla="*/ 361 h 712"/>
                <a:gd name="T8" fmla="*/ 468 w 604"/>
                <a:gd name="T9" fmla="*/ 314 h 712"/>
                <a:gd name="T10" fmla="*/ 463 w 604"/>
                <a:gd name="T11" fmla="*/ 290 h 712"/>
                <a:gd name="T12" fmla="*/ 450 w 604"/>
                <a:gd name="T13" fmla="*/ 250 h 712"/>
                <a:gd name="T14" fmla="*/ 418 w 604"/>
                <a:gd name="T15" fmla="*/ 209 h 712"/>
                <a:gd name="T16" fmla="*/ 367 w 604"/>
                <a:gd name="T17" fmla="*/ 190 h 712"/>
                <a:gd name="T18" fmla="*/ 320 w 604"/>
                <a:gd name="T19" fmla="*/ 163 h 712"/>
                <a:gd name="T20" fmla="*/ 290 w 604"/>
                <a:gd name="T21" fmla="*/ 152 h 712"/>
                <a:gd name="T22" fmla="*/ 258 w 604"/>
                <a:gd name="T23" fmla="*/ 153 h 712"/>
                <a:gd name="T24" fmla="*/ 230 w 604"/>
                <a:gd name="T25" fmla="*/ 130 h 712"/>
                <a:gd name="T26" fmla="*/ 210 w 604"/>
                <a:gd name="T27" fmla="*/ 97 h 712"/>
                <a:gd name="T28" fmla="*/ 200 w 604"/>
                <a:gd name="T29" fmla="*/ 52 h 712"/>
                <a:gd name="T30" fmla="*/ 211 w 604"/>
                <a:gd name="T31" fmla="*/ 4 h 712"/>
                <a:gd name="T32" fmla="*/ 183 w 604"/>
                <a:gd name="T33" fmla="*/ 6 h 712"/>
                <a:gd name="T34" fmla="*/ 151 w 604"/>
                <a:gd name="T35" fmla="*/ 13 h 712"/>
                <a:gd name="T36" fmla="*/ 104 w 604"/>
                <a:gd name="T37" fmla="*/ 38 h 712"/>
                <a:gd name="T38" fmla="*/ 76 w 604"/>
                <a:gd name="T39" fmla="*/ 57 h 712"/>
                <a:gd name="T40" fmla="*/ 50 w 604"/>
                <a:gd name="T41" fmla="*/ 81 h 712"/>
                <a:gd name="T42" fmla="*/ 9 w 604"/>
                <a:gd name="T43" fmla="*/ 71 h 712"/>
                <a:gd name="T44" fmla="*/ 52 w 604"/>
                <a:gd name="T45" fmla="*/ 157 h 712"/>
                <a:gd name="T46" fmla="*/ 50 w 604"/>
                <a:gd name="T47" fmla="*/ 204 h 712"/>
                <a:gd name="T48" fmla="*/ 52 w 604"/>
                <a:gd name="T49" fmla="*/ 246 h 712"/>
                <a:gd name="T50" fmla="*/ 44 w 604"/>
                <a:gd name="T51" fmla="*/ 304 h 712"/>
                <a:gd name="T52" fmla="*/ 39 w 604"/>
                <a:gd name="T53" fmla="*/ 318 h 712"/>
                <a:gd name="T54" fmla="*/ 62 w 604"/>
                <a:gd name="T55" fmla="*/ 339 h 712"/>
                <a:gd name="T56" fmla="*/ 76 w 604"/>
                <a:gd name="T57" fmla="*/ 359 h 712"/>
                <a:gd name="T58" fmla="*/ 62 w 604"/>
                <a:gd name="T59" fmla="*/ 369 h 712"/>
                <a:gd name="T60" fmla="*/ 33 w 604"/>
                <a:gd name="T61" fmla="*/ 409 h 712"/>
                <a:gd name="T62" fmla="*/ 39 w 604"/>
                <a:gd name="T63" fmla="*/ 427 h 712"/>
                <a:gd name="T64" fmla="*/ 64 w 604"/>
                <a:gd name="T65" fmla="*/ 449 h 712"/>
                <a:gd name="T66" fmla="*/ 105 w 604"/>
                <a:gd name="T67" fmla="*/ 525 h 712"/>
                <a:gd name="T68" fmla="*/ 104 w 604"/>
                <a:gd name="T69" fmla="*/ 554 h 712"/>
                <a:gd name="T70" fmla="*/ 102 w 604"/>
                <a:gd name="T71" fmla="*/ 588 h 712"/>
                <a:gd name="T72" fmla="*/ 134 w 604"/>
                <a:gd name="T73" fmla="*/ 627 h 712"/>
                <a:gd name="T74" fmla="*/ 147 w 604"/>
                <a:gd name="T75" fmla="*/ 684 h 712"/>
                <a:gd name="T76" fmla="*/ 188 w 604"/>
                <a:gd name="T77" fmla="*/ 708 h 712"/>
                <a:gd name="T78" fmla="*/ 199 w 604"/>
                <a:gd name="T79" fmla="*/ 691 h 712"/>
                <a:gd name="T80" fmla="*/ 214 w 604"/>
                <a:gd name="T81" fmla="*/ 674 h 712"/>
                <a:gd name="T82" fmla="*/ 241 w 604"/>
                <a:gd name="T83" fmla="*/ 670 h 712"/>
                <a:gd name="T84" fmla="*/ 318 w 604"/>
                <a:gd name="T85" fmla="*/ 707 h 712"/>
                <a:gd name="T86" fmla="*/ 374 w 604"/>
                <a:gd name="T87" fmla="*/ 664 h 712"/>
                <a:gd name="T88" fmla="*/ 403 w 604"/>
                <a:gd name="T89" fmla="*/ 607 h 712"/>
                <a:gd name="T90" fmla="*/ 413 w 604"/>
                <a:gd name="T91" fmla="*/ 558 h 712"/>
                <a:gd name="T92" fmla="*/ 486 w 604"/>
                <a:gd name="T93" fmla="*/ 527 h 712"/>
                <a:gd name="T94" fmla="*/ 574 w 604"/>
                <a:gd name="T95" fmla="*/ 546 h 712"/>
                <a:gd name="T96" fmla="*/ 602 w 604"/>
                <a:gd name="T97" fmla="*/ 555 h 712"/>
                <a:gd name="T98" fmla="*/ 603 w 604"/>
                <a:gd name="T99" fmla="*/ 50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4" h="712">
                  <a:moveTo>
                    <a:pt x="0" y="70"/>
                  </a:moveTo>
                  <a:cubicBezTo>
                    <a:pt x="1" y="70"/>
                    <a:pt x="1" y="70"/>
                    <a:pt x="1" y="70"/>
                  </a:cubicBezTo>
                  <a:cubicBezTo>
                    <a:pt x="1" y="70"/>
                    <a:pt x="1" y="70"/>
                    <a:pt x="0" y="70"/>
                  </a:cubicBezTo>
                  <a:close/>
                  <a:moveTo>
                    <a:pt x="599" y="500"/>
                  </a:moveTo>
                  <a:cubicBezTo>
                    <a:pt x="599" y="500"/>
                    <a:pt x="604" y="474"/>
                    <a:pt x="604" y="460"/>
                  </a:cubicBezTo>
                  <a:cubicBezTo>
                    <a:pt x="604" y="446"/>
                    <a:pt x="595" y="428"/>
                    <a:pt x="584" y="421"/>
                  </a:cubicBezTo>
                  <a:cubicBezTo>
                    <a:pt x="573" y="414"/>
                    <a:pt x="564" y="413"/>
                    <a:pt x="557" y="404"/>
                  </a:cubicBezTo>
                  <a:cubicBezTo>
                    <a:pt x="550" y="395"/>
                    <a:pt x="561" y="361"/>
                    <a:pt x="561" y="361"/>
                  </a:cubicBezTo>
                  <a:cubicBezTo>
                    <a:pt x="561" y="361"/>
                    <a:pt x="484" y="363"/>
                    <a:pt x="471" y="354"/>
                  </a:cubicBezTo>
                  <a:cubicBezTo>
                    <a:pt x="458" y="345"/>
                    <a:pt x="468" y="314"/>
                    <a:pt x="468" y="314"/>
                  </a:cubicBezTo>
                  <a:cubicBezTo>
                    <a:pt x="468" y="314"/>
                    <a:pt x="452" y="300"/>
                    <a:pt x="450" y="294"/>
                  </a:cubicBezTo>
                  <a:cubicBezTo>
                    <a:pt x="448" y="288"/>
                    <a:pt x="463" y="290"/>
                    <a:pt x="463" y="290"/>
                  </a:cubicBezTo>
                  <a:cubicBezTo>
                    <a:pt x="461" y="269"/>
                    <a:pt x="461" y="269"/>
                    <a:pt x="461" y="269"/>
                  </a:cubicBezTo>
                  <a:cubicBezTo>
                    <a:pt x="461" y="269"/>
                    <a:pt x="454" y="257"/>
                    <a:pt x="450" y="250"/>
                  </a:cubicBezTo>
                  <a:cubicBezTo>
                    <a:pt x="446" y="243"/>
                    <a:pt x="451" y="240"/>
                    <a:pt x="450" y="230"/>
                  </a:cubicBezTo>
                  <a:cubicBezTo>
                    <a:pt x="449" y="220"/>
                    <a:pt x="429" y="211"/>
                    <a:pt x="418" y="209"/>
                  </a:cubicBezTo>
                  <a:cubicBezTo>
                    <a:pt x="407" y="207"/>
                    <a:pt x="396" y="212"/>
                    <a:pt x="386" y="211"/>
                  </a:cubicBezTo>
                  <a:cubicBezTo>
                    <a:pt x="376" y="210"/>
                    <a:pt x="367" y="190"/>
                    <a:pt x="367" y="190"/>
                  </a:cubicBezTo>
                  <a:cubicBezTo>
                    <a:pt x="367" y="190"/>
                    <a:pt x="351" y="189"/>
                    <a:pt x="340" y="184"/>
                  </a:cubicBezTo>
                  <a:cubicBezTo>
                    <a:pt x="329" y="179"/>
                    <a:pt x="321" y="167"/>
                    <a:pt x="320" y="163"/>
                  </a:cubicBezTo>
                  <a:cubicBezTo>
                    <a:pt x="319" y="159"/>
                    <a:pt x="312" y="166"/>
                    <a:pt x="304" y="166"/>
                  </a:cubicBezTo>
                  <a:cubicBezTo>
                    <a:pt x="296" y="166"/>
                    <a:pt x="290" y="152"/>
                    <a:pt x="290" y="152"/>
                  </a:cubicBezTo>
                  <a:cubicBezTo>
                    <a:pt x="290" y="152"/>
                    <a:pt x="280" y="159"/>
                    <a:pt x="276" y="158"/>
                  </a:cubicBezTo>
                  <a:cubicBezTo>
                    <a:pt x="272" y="157"/>
                    <a:pt x="268" y="157"/>
                    <a:pt x="258" y="153"/>
                  </a:cubicBezTo>
                  <a:cubicBezTo>
                    <a:pt x="248" y="149"/>
                    <a:pt x="252" y="138"/>
                    <a:pt x="249" y="133"/>
                  </a:cubicBezTo>
                  <a:cubicBezTo>
                    <a:pt x="246" y="128"/>
                    <a:pt x="230" y="130"/>
                    <a:pt x="230" y="130"/>
                  </a:cubicBezTo>
                  <a:cubicBezTo>
                    <a:pt x="224" y="110"/>
                    <a:pt x="224" y="110"/>
                    <a:pt x="224" y="110"/>
                  </a:cubicBezTo>
                  <a:cubicBezTo>
                    <a:pt x="224" y="110"/>
                    <a:pt x="217" y="106"/>
                    <a:pt x="210" y="97"/>
                  </a:cubicBezTo>
                  <a:cubicBezTo>
                    <a:pt x="203" y="88"/>
                    <a:pt x="210" y="82"/>
                    <a:pt x="210" y="73"/>
                  </a:cubicBezTo>
                  <a:cubicBezTo>
                    <a:pt x="210" y="64"/>
                    <a:pt x="201" y="56"/>
                    <a:pt x="200" y="52"/>
                  </a:cubicBezTo>
                  <a:cubicBezTo>
                    <a:pt x="199" y="48"/>
                    <a:pt x="207" y="35"/>
                    <a:pt x="207" y="35"/>
                  </a:cubicBezTo>
                  <a:cubicBezTo>
                    <a:pt x="207" y="35"/>
                    <a:pt x="215" y="8"/>
                    <a:pt x="211" y="4"/>
                  </a:cubicBezTo>
                  <a:cubicBezTo>
                    <a:pt x="207" y="0"/>
                    <a:pt x="194" y="8"/>
                    <a:pt x="193" y="12"/>
                  </a:cubicBezTo>
                  <a:cubicBezTo>
                    <a:pt x="192" y="16"/>
                    <a:pt x="183" y="6"/>
                    <a:pt x="183" y="6"/>
                  </a:cubicBezTo>
                  <a:cubicBezTo>
                    <a:pt x="174" y="14"/>
                    <a:pt x="174" y="14"/>
                    <a:pt x="174" y="14"/>
                  </a:cubicBezTo>
                  <a:cubicBezTo>
                    <a:pt x="174" y="14"/>
                    <a:pt x="164" y="13"/>
                    <a:pt x="151" y="13"/>
                  </a:cubicBezTo>
                  <a:cubicBezTo>
                    <a:pt x="138" y="13"/>
                    <a:pt x="128" y="39"/>
                    <a:pt x="128" y="39"/>
                  </a:cubicBezTo>
                  <a:cubicBezTo>
                    <a:pt x="104" y="38"/>
                    <a:pt x="104" y="38"/>
                    <a:pt x="104" y="38"/>
                  </a:cubicBezTo>
                  <a:cubicBezTo>
                    <a:pt x="100" y="56"/>
                    <a:pt x="100" y="56"/>
                    <a:pt x="100" y="56"/>
                  </a:cubicBezTo>
                  <a:cubicBezTo>
                    <a:pt x="76" y="57"/>
                    <a:pt x="76" y="57"/>
                    <a:pt x="76" y="57"/>
                  </a:cubicBezTo>
                  <a:cubicBezTo>
                    <a:pt x="71" y="69"/>
                    <a:pt x="71" y="69"/>
                    <a:pt x="71" y="69"/>
                  </a:cubicBezTo>
                  <a:cubicBezTo>
                    <a:pt x="71" y="69"/>
                    <a:pt x="63" y="78"/>
                    <a:pt x="50" y="81"/>
                  </a:cubicBezTo>
                  <a:cubicBezTo>
                    <a:pt x="37" y="84"/>
                    <a:pt x="34" y="73"/>
                    <a:pt x="34" y="73"/>
                  </a:cubicBezTo>
                  <a:cubicBezTo>
                    <a:pt x="34" y="73"/>
                    <a:pt x="21" y="72"/>
                    <a:pt x="9" y="71"/>
                  </a:cubicBezTo>
                  <a:cubicBezTo>
                    <a:pt x="11" y="80"/>
                    <a:pt x="18" y="101"/>
                    <a:pt x="29" y="112"/>
                  </a:cubicBezTo>
                  <a:cubicBezTo>
                    <a:pt x="44" y="125"/>
                    <a:pt x="54" y="150"/>
                    <a:pt x="52" y="157"/>
                  </a:cubicBezTo>
                  <a:cubicBezTo>
                    <a:pt x="51" y="163"/>
                    <a:pt x="41" y="174"/>
                    <a:pt x="41" y="174"/>
                  </a:cubicBezTo>
                  <a:cubicBezTo>
                    <a:pt x="50" y="204"/>
                    <a:pt x="50" y="204"/>
                    <a:pt x="50" y="204"/>
                  </a:cubicBezTo>
                  <a:cubicBezTo>
                    <a:pt x="37" y="224"/>
                    <a:pt x="37" y="224"/>
                    <a:pt x="37" y="224"/>
                  </a:cubicBezTo>
                  <a:cubicBezTo>
                    <a:pt x="37" y="224"/>
                    <a:pt x="56" y="237"/>
                    <a:pt x="52" y="246"/>
                  </a:cubicBezTo>
                  <a:cubicBezTo>
                    <a:pt x="48" y="256"/>
                    <a:pt x="33" y="264"/>
                    <a:pt x="35" y="279"/>
                  </a:cubicBezTo>
                  <a:cubicBezTo>
                    <a:pt x="36" y="293"/>
                    <a:pt x="44" y="304"/>
                    <a:pt x="44" y="304"/>
                  </a:cubicBezTo>
                  <a:cubicBezTo>
                    <a:pt x="39" y="315"/>
                    <a:pt x="39" y="315"/>
                    <a:pt x="39" y="315"/>
                  </a:cubicBezTo>
                  <a:cubicBezTo>
                    <a:pt x="39" y="315"/>
                    <a:pt x="39" y="316"/>
                    <a:pt x="39" y="318"/>
                  </a:cubicBezTo>
                  <a:cubicBezTo>
                    <a:pt x="44" y="322"/>
                    <a:pt x="47" y="326"/>
                    <a:pt x="47" y="326"/>
                  </a:cubicBezTo>
                  <a:cubicBezTo>
                    <a:pt x="62" y="339"/>
                    <a:pt x="62" y="339"/>
                    <a:pt x="62" y="339"/>
                  </a:cubicBezTo>
                  <a:cubicBezTo>
                    <a:pt x="63" y="351"/>
                    <a:pt x="63" y="351"/>
                    <a:pt x="63" y="351"/>
                  </a:cubicBezTo>
                  <a:cubicBezTo>
                    <a:pt x="76" y="359"/>
                    <a:pt x="76" y="359"/>
                    <a:pt x="76" y="359"/>
                  </a:cubicBezTo>
                  <a:cubicBezTo>
                    <a:pt x="68" y="376"/>
                    <a:pt x="68" y="376"/>
                    <a:pt x="68" y="376"/>
                  </a:cubicBezTo>
                  <a:cubicBezTo>
                    <a:pt x="62" y="369"/>
                    <a:pt x="62" y="369"/>
                    <a:pt x="62" y="369"/>
                  </a:cubicBezTo>
                  <a:cubicBezTo>
                    <a:pt x="61" y="377"/>
                    <a:pt x="58" y="388"/>
                    <a:pt x="52" y="392"/>
                  </a:cubicBezTo>
                  <a:cubicBezTo>
                    <a:pt x="43" y="399"/>
                    <a:pt x="33" y="409"/>
                    <a:pt x="33" y="409"/>
                  </a:cubicBezTo>
                  <a:cubicBezTo>
                    <a:pt x="40" y="426"/>
                    <a:pt x="40" y="426"/>
                    <a:pt x="40" y="426"/>
                  </a:cubicBezTo>
                  <a:cubicBezTo>
                    <a:pt x="39" y="427"/>
                    <a:pt x="39" y="427"/>
                    <a:pt x="39" y="427"/>
                  </a:cubicBezTo>
                  <a:cubicBezTo>
                    <a:pt x="50" y="449"/>
                    <a:pt x="50" y="449"/>
                    <a:pt x="50" y="449"/>
                  </a:cubicBezTo>
                  <a:cubicBezTo>
                    <a:pt x="64" y="449"/>
                    <a:pt x="64" y="449"/>
                    <a:pt x="64" y="449"/>
                  </a:cubicBezTo>
                  <a:cubicBezTo>
                    <a:pt x="73" y="501"/>
                    <a:pt x="73" y="501"/>
                    <a:pt x="73" y="501"/>
                  </a:cubicBezTo>
                  <a:cubicBezTo>
                    <a:pt x="73" y="501"/>
                    <a:pt x="109" y="513"/>
                    <a:pt x="105" y="525"/>
                  </a:cubicBezTo>
                  <a:cubicBezTo>
                    <a:pt x="101" y="537"/>
                    <a:pt x="93" y="543"/>
                    <a:pt x="93" y="543"/>
                  </a:cubicBezTo>
                  <a:cubicBezTo>
                    <a:pt x="104" y="554"/>
                    <a:pt x="104" y="554"/>
                    <a:pt x="104" y="554"/>
                  </a:cubicBezTo>
                  <a:cubicBezTo>
                    <a:pt x="104" y="554"/>
                    <a:pt x="89" y="566"/>
                    <a:pt x="93" y="575"/>
                  </a:cubicBezTo>
                  <a:cubicBezTo>
                    <a:pt x="97" y="585"/>
                    <a:pt x="102" y="588"/>
                    <a:pt x="102" y="588"/>
                  </a:cubicBezTo>
                  <a:cubicBezTo>
                    <a:pt x="102" y="605"/>
                    <a:pt x="102" y="605"/>
                    <a:pt x="102" y="605"/>
                  </a:cubicBezTo>
                  <a:cubicBezTo>
                    <a:pt x="102" y="605"/>
                    <a:pt x="131" y="616"/>
                    <a:pt x="134" y="627"/>
                  </a:cubicBezTo>
                  <a:cubicBezTo>
                    <a:pt x="136" y="638"/>
                    <a:pt x="134" y="668"/>
                    <a:pt x="134" y="668"/>
                  </a:cubicBezTo>
                  <a:cubicBezTo>
                    <a:pt x="147" y="684"/>
                    <a:pt x="147" y="684"/>
                    <a:pt x="147" y="684"/>
                  </a:cubicBezTo>
                  <a:cubicBezTo>
                    <a:pt x="147" y="684"/>
                    <a:pt x="146" y="710"/>
                    <a:pt x="158" y="711"/>
                  </a:cubicBezTo>
                  <a:cubicBezTo>
                    <a:pt x="170" y="712"/>
                    <a:pt x="188" y="708"/>
                    <a:pt x="188" y="708"/>
                  </a:cubicBezTo>
                  <a:cubicBezTo>
                    <a:pt x="188" y="689"/>
                    <a:pt x="188" y="689"/>
                    <a:pt x="188" y="689"/>
                  </a:cubicBezTo>
                  <a:cubicBezTo>
                    <a:pt x="199" y="691"/>
                    <a:pt x="199" y="691"/>
                    <a:pt x="199" y="691"/>
                  </a:cubicBezTo>
                  <a:cubicBezTo>
                    <a:pt x="199" y="677"/>
                    <a:pt x="199" y="677"/>
                    <a:pt x="199" y="677"/>
                  </a:cubicBezTo>
                  <a:cubicBezTo>
                    <a:pt x="214" y="674"/>
                    <a:pt x="214" y="674"/>
                    <a:pt x="214" y="674"/>
                  </a:cubicBezTo>
                  <a:cubicBezTo>
                    <a:pt x="222" y="657"/>
                    <a:pt x="222" y="657"/>
                    <a:pt x="222" y="657"/>
                  </a:cubicBezTo>
                  <a:cubicBezTo>
                    <a:pt x="222" y="657"/>
                    <a:pt x="227" y="666"/>
                    <a:pt x="241" y="670"/>
                  </a:cubicBezTo>
                  <a:cubicBezTo>
                    <a:pt x="254" y="674"/>
                    <a:pt x="296" y="673"/>
                    <a:pt x="296" y="673"/>
                  </a:cubicBezTo>
                  <a:cubicBezTo>
                    <a:pt x="318" y="707"/>
                    <a:pt x="318" y="707"/>
                    <a:pt x="318" y="707"/>
                  </a:cubicBezTo>
                  <a:cubicBezTo>
                    <a:pt x="323" y="670"/>
                    <a:pt x="323" y="670"/>
                    <a:pt x="323" y="670"/>
                  </a:cubicBezTo>
                  <a:cubicBezTo>
                    <a:pt x="374" y="664"/>
                    <a:pt x="374" y="664"/>
                    <a:pt x="374" y="664"/>
                  </a:cubicBezTo>
                  <a:cubicBezTo>
                    <a:pt x="397" y="681"/>
                    <a:pt x="397" y="681"/>
                    <a:pt x="397" y="681"/>
                  </a:cubicBezTo>
                  <a:cubicBezTo>
                    <a:pt x="397" y="681"/>
                    <a:pt x="405" y="613"/>
                    <a:pt x="403" y="607"/>
                  </a:cubicBezTo>
                  <a:cubicBezTo>
                    <a:pt x="402" y="600"/>
                    <a:pt x="387" y="578"/>
                    <a:pt x="394" y="574"/>
                  </a:cubicBezTo>
                  <a:cubicBezTo>
                    <a:pt x="401" y="570"/>
                    <a:pt x="413" y="558"/>
                    <a:pt x="413" y="558"/>
                  </a:cubicBezTo>
                  <a:cubicBezTo>
                    <a:pt x="417" y="539"/>
                    <a:pt x="417" y="539"/>
                    <a:pt x="417" y="539"/>
                  </a:cubicBezTo>
                  <a:cubicBezTo>
                    <a:pt x="486" y="527"/>
                    <a:pt x="486" y="527"/>
                    <a:pt x="486" y="527"/>
                  </a:cubicBezTo>
                  <a:cubicBezTo>
                    <a:pt x="539" y="518"/>
                    <a:pt x="539" y="518"/>
                    <a:pt x="539" y="518"/>
                  </a:cubicBezTo>
                  <a:cubicBezTo>
                    <a:pt x="574" y="546"/>
                    <a:pt x="574" y="546"/>
                    <a:pt x="574" y="546"/>
                  </a:cubicBezTo>
                  <a:cubicBezTo>
                    <a:pt x="587" y="569"/>
                    <a:pt x="587" y="569"/>
                    <a:pt x="587" y="569"/>
                  </a:cubicBezTo>
                  <a:cubicBezTo>
                    <a:pt x="587" y="563"/>
                    <a:pt x="602" y="555"/>
                    <a:pt x="602" y="555"/>
                  </a:cubicBezTo>
                  <a:cubicBezTo>
                    <a:pt x="602" y="555"/>
                    <a:pt x="590" y="545"/>
                    <a:pt x="588" y="540"/>
                  </a:cubicBezTo>
                  <a:cubicBezTo>
                    <a:pt x="586" y="535"/>
                    <a:pt x="603" y="508"/>
                    <a:pt x="603" y="508"/>
                  </a:cubicBezTo>
                  <a:lnTo>
                    <a:pt x="599" y="500"/>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55" name="Argentina">
              <a:extLst>
                <a:ext uri="{FF2B5EF4-FFF2-40B4-BE49-F238E27FC236}">
                  <a16:creationId xmlns:a16="http://schemas.microsoft.com/office/drawing/2014/main" id="{8BAFE71A-D475-4D63-8C77-F68F1BE4436A}"/>
                </a:ext>
              </a:extLst>
            </p:cNvPr>
            <p:cNvSpPr>
              <a:spLocks noEditPoints="1"/>
            </p:cNvSpPr>
            <p:nvPr/>
          </p:nvSpPr>
          <p:spPr bwMode="gray">
            <a:xfrm>
              <a:off x="3831547" y="4740478"/>
              <a:ext cx="409647" cy="910805"/>
            </a:xfrm>
            <a:custGeom>
              <a:avLst/>
              <a:gdLst>
                <a:gd name="T0" fmla="*/ 659 w 732"/>
                <a:gd name="T1" fmla="*/ 333 h 1628"/>
                <a:gd name="T2" fmla="*/ 726 w 732"/>
                <a:gd name="T3" fmla="*/ 284 h 1628"/>
                <a:gd name="T4" fmla="*/ 679 w 732"/>
                <a:gd name="T5" fmla="*/ 205 h 1628"/>
                <a:gd name="T6" fmla="*/ 622 w 732"/>
                <a:gd name="T7" fmla="*/ 296 h 1628"/>
                <a:gd name="T8" fmla="*/ 534 w 732"/>
                <a:gd name="T9" fmla="*/ 286 h 1628"/>
                <a:gd name="T10" fmla="*/ 535 w 732"/>
                <a:gd name="T11" fmla="*/ 223 h 1628"/>
                <a:gd name="T12" fmla="*/ 444 w 732"/>
                <a:gd name="T13" fmla="*/ 138 h 1628"/>
                <a:gd name="T14" fmla="*/ 328 w 732"/>
                <a:gd name="T15" fmla="*/ 70 h 1628"/>
                <a:gd name="T16" fmla="*/ 216 w 732"/>
                <a:gd name="T17" fmla="*/ 13 h 1628"/>
                <a:gd name="T18" fmla="*/ 115 w 732"/>
                <a:gd name="T19" fmla="*/ 0 h 1628"/>
                <a:gd name="T20" fmla="*/ 81 w 732"/>
                <a:gd name="T21" fmla="*/ 32 h 1628"/>
                <a:gd name="T22" fmla="*/ 82 w 732"/>
                <a:gd name="T23" fmla="*/ 63 h 1628"/>
                <a:gd name="T24" fmla="*/ 27 w 732"/>
                <a:gd name="T25" fmla="*/ 199 h 1628"/>
                <a:gd name="T26" fmla="*/ 35 w 732"/>
                <a:gd name="T27" fmla="*/ 280 h 1628"/>
                <a:gd name="T28" fmla="*/ 2 w 732"/>
                <a:gd name="T29" fmla="*/ 401 h 1628"/>
                <a:gd name="T30" fmla="*/ 0 w 732"/>
                <a:gd name="T31" fmla="*/ 500 h 1628"/>
                <a:gd name="T32" fmla="*/ 32 w 732"/>
                <a:gd name="T33" fmla="*/ 564 h 1628"/>
                <a:gd name="T34" fmla="*/ 63 w 732"/>
                <a:gd name="T35" fmla="*/ 614 h 1628"/>
                <a:gd name="T36" fmla="*/ 64 w 732"/>
                <a:gd name="T37" fmla="*/ 724 h 1628"/>
                <a:gd name="T38" fmla="*/ 68 w 732"/>
                <a:gd name="T39" fmla="*/ 786 h 1628"/>
                <a:gd name="T40" fmla="*/ 83 w 732"/>
                <a:gd name="T41" fmla="*/ 872 h 1628"/>
                <a:gd name="T42" fmla="*/ 87 w 732"/>
                <a:gd name="T43" fmla="*/ 944 h 1628"/>
                <a:gd name="T44" fmla="*/ 95 w 732"/>
                <a:gd name="T45" fmla="*/ 990 h 1628"/>
                <a:gd name="T46" fmla="*/ 129 w 732"/>
                <a:gd name="T47" fmla="*/ 1082 h 1628"/>
                <a:gd name="T48" fmla="*/ 143 w 732"/>
                <a:gd name="T49" fmla="*/ 1145 h 1628"/>
                <a:gd name="T50" fmla="*/ 170 w 732"/>
                <a:gd name="T51" fmla="*/ 1213 h 1628"/>
                <a:gd name="T52" fmla="*/ 205 w 732"/>
                <a:gd name="T53" fmla="*/ 1257 h 1628"/>
                <a:gd name="T54" fmla="*/ 217 w 732"/>
                <a:gd name="T55" fmla="*/ 1321 h 1628"/>
                <a:gd name="T56" fmla="*/ 210 w 732"/>
                <a:gd name="T57" fmla="*/ 1394 h 1628"/>
                <a:gd name="T58" fmla="*/ 214 w 732"/>
                <a:gd name="T59" fmla="*/ 1450 h 1628"/>
                <a:gd name="T60" fmla="*/ 216 w 732"/>
                <a:gd name="T61" fmla="*/ 1513 h 1628"/>
                <a:gd name="T62" fmla="*/ 290 w 732"/>
                <a:gd name="T63" fmla="*/ 1562 h 1628"/>
                <a:gd name="T64" fmla="*/ 347 w 732"/>
                <a:gd name="T65" fmla="*/ 1612 h 1628"/>
                <a:gd name="T66" fmla="*/ 437 w 732"/>
                <a:gd name="T67" fmla="*/ 1628 h 1628"/>
                <a:gd name="T68" fmla="*/ 438 w 732"/>
                <a:gd name="T69" fmla="*/ 1589 h 1628"/>
                <a:gd name="T70" fmla="*/ 409 w 732"/>
                <a:gd name="T71" fmla="*/ 1534 h 1628"/>
                <a:gd name="T72" fmla="*/ 412 w 732"/>
                <a:gd name="T73" fmla="*/ 1501 h 1628"/>
                <a:gd name="T74" fmla="*/ 441 w 732"/>
                <a:gd name="T75" fmla="*/ 1451 h 1628"/>
                <a:gd name="T76" fmla="*/ 476 w 732"/>
                <a:gd name="T77" fmla="*/ 1359 h 1628"/>
                <a:gd name="T78" fmla="*/ 379 w 732"/>
                <a:gd name="T79" fmla="*/ 1301 h 1628"/>
                <a:gd name="T80" fmla="*/ 407 w 732"/>
                <a:gd name="T81" fmla="*/ 1240 h 1628"/>
                <a:gd name="T82" fmla="*/ 443 w 732"/>
                <a:gd name="T83" fmla="*/ 1217 h 1628"/>
                <a:gd name="T84" fmla="*/ 456 w 732"/>
                <a:gd name="T85" fmla="*/ 1130 h 1628"/>
                <a:gd name="T86" fmla="*/ 486 w 732"/>
                <a:gd name="T87" fmla="*/ 1113 h 1628"/>
                <a:gd name="T88" fmla="*/ 404 w 732"/>
                <a:gd name="T89" fmla="*/ 1089 h 1628"/>
                <a:gd name="T90" fmla="*/ 465 w 732"/>
                <a:gd name="T91" fmla="*/ 1039 h 1628"/>
                <a:gd name="T92" fmla="*/ 501 w 732"/>
                <a:gd name="T93" fmla="*/ 948 h 1628"/>
                <a:gd name="T94" fmla="*/ 494 w 732"/>
                <a:gd name="T95" fmla="*/ 934 h 1628"/>
                <a:gd name="T96" fmla="*/ 554 w 732"/>
                <a:gd name="T97" fmla="*/ 920 h 1628"/>
                <a:gd name="T98" fmla="*/ 688 w 732"/>
                <a:gd name="T99" fmla="*/ 847 h 1628"/>
                <a:gd name="T100" fmla="*/ 667 w 732"/>
                <a:gd name="T101" fmla="*/ 766 h 1628"/>
                <a:gd name="T102" fmla="*/ 601 w 732"/>
                <a:gd name="T103" fmla="*/ 696 h 1628"/>
                <a:gd name="T104" fmla="*/ 570 w 732"/>
                <a:gd name="T105" fmla="*/ 601 h 1628"/>
                <a:gd name="T106" fmla="*/ 568 w 732"/>
                <a:gd name="T107" fmla="*/ 536 h 1628"/>
                <a:gd name="T108" fmla="*/ 587 w 732"/>
                <a:gd name="T109" fmla="*/ 484 h 1628"/>
                <a:gd name="T110" fmla="*/ 604 w 732"/>
                <a:gd name="T111" fmla="*/ 419 h 1628"/>
                <a:gd name="T112" fmla="*/ 619 w 732"/>
                <a:gd name="T113" fmla="*/ 681 h 1628"/>
                <a:gd name="T114" fmla="*/ 619 w 732"/>
                <a:gd name="T115" fmla="*/ 681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2" h="1628">
                  <a:moveTo>
                    <a:pt x="634" y="355"/>
                  </a:moveTo>
                  <a:cubicBezTo>
                    <a:pt x="650" y="351"/>
                    <a:pt x="650" y="351"/>
                    <a:pt x="650" y="351"/>
                  </a:cubicBezTo>
                  <a:cubicBezTo>
                    <a:pt x="653" y="335"/>
                    <a:pt x="653" y="335"/>
                    <a:pt x="653" y="335"/>
                  </a:cubicBezTo>
                  <a:cubicBezTo>
                    <a:pt x="659" y="333"/>
                    <a:pt x="659" y="333"/>
                    <a:pt x="659" y="333"/>
                  </a:cubicBezTo>
                  <a:cubicBezTo>
                    <a:pt x="660" y="322"/>
                    <a:pt x="660" y="322"/>
                    <a:pt x="660" y="322"/>
                  </a:cubicBezTo>
                  <a:cubicBezTo>
                    <a:pt x="681" y="320"/>
                    <a:pt x="681" y="320"/>
                    <a:pt x="681" y="320"/>
                  </a:cubicBezTo>
                  <a:cubicBezTo>
                    <a:pt x="681" y="320"/>
                    <a:pt x="681" y="302"/>
                    <a:pt x="692" y="297"/>
                  </a:cubicBezTo>
                  <a:cubicBezTo>
                    <a:pt x="703" y="292"/>
                    <a:pt x="720" y="290"/>
                    <a:pt x="726" y="284"/>
                  </a:cubicBezTo>
                  <a:cubicBezTo>
                    <a:pt x="732" y="278"/>
                    <a:pt x="724" y="240"/>
                    <a:pt x="724" y="231"/>
                  </a:cubicBezTo>
                  <a:cubicBezTo>
                    <a:pt x="724" y="222"/>
                    <a:pt x="713" y="223"/>
                    <a:pt x="713" y="223"/>
                  </a:cubicBezTo>
                  <a:cubicBezTo>
                    <a:pt x="713" y="223"/>
                    <a:pt x="709" y="202"/>
                    <a:pt x="702" y="198"/>
                  </a:cubicBezTo>
                  <a:cubicBezTo>
                    <a:pt x="695" y="194"/>
                    <a:pt x="679" y="205"/>
                    <a:pt x="679" y="205"/>
                  </a:cubicBezTo>
                  <a:cubicBezTo>
                    <a:pt x="679" y="205"/>
                    <a:pt x="681" y="240"/>
                    <a:pt x="679" y="251"/>
                  </a:cubicBezTo>
                  <a:cubicBezTo>
                    <a:pt x="677" y="262"/>
                    <a:pt x="656" y="276"/>
                    <a:pt x="649" y="276"/>
                  </a:cubicBezTo>
                  <a:cubicBezTo>
                    <a:pt x="642" y="276"/>
                    <a:pt x="640" y="293"/>
                    <a:pt x="636" y="300"/>
                  </a:cubicBezTo>
                  <a:cubicBezTo>
                    <a:pt x="632" y="307"/>
                    <a:pt x="631" y="298"/>
                    <a:pt x="622" y="296"/>
                  </a:cubicBezTo>
                  <a:cubicBezTo>
                    <a:pt x="613" y="294"/>
                    <a:pt x="613" y="313"/>
                    <a:pt x="613" y="313"/>
                  </a:cubicBezTo>
                  <a:cubicBezTo>
                    <a:pt x="606" y="302"/>
                    <a:pt x="606" y="302"/>
                    <a:pt x="606" y="302"/>
                  </a:cubicBezTo>
                  <a:cubicBezTo>
                    <a:pt x="606" y="302"/>
                    <a:pt x="584" y="304"/>
                    <a:pt x="567" y="300"/>
                  </a:cubicBezTo>
                  <a:cubicBezTo>
                    <a:pt x="550" y="296"/>
                    <a:pt x="543" y="289"/>
                    <a:pt x="534" y="286"/>
                  </a:cubicBezTo>
                  <a:cubicBezTo>
                    <a:pt x="525" y="283"/>
                    <a:pt x="509" y="293"/>
                    <a:pt x="504" y="286"/>
                  </a:cubicBezTo>
                  <a:cubicBezTo>
                    <a:pt x="499" y="279"/>
                    <a:pt x="519" y="252"/>
                    <a:pt x="519" y="252"/>
                  </a:cubicBezTo>
                  <a:cubicBezTo>
                    <a:pt x="519" y="230"/>
                    <a:pt x="519" y="230"/>
                    <a:pt x="519" y="230"/>
                  </a:cubicBezTo>
                  <a:cubicBezTo>
                    <a:pt x="519" y="230"/>
                    <a:pt x="531" y="230"/>
                    <a:pt x="535" y="223"/>
                  </a:cubicBezTo>
                  <a:cubicBezTo>
                    <a:pt x="539" y="216"/>
                    <a:pt x="526" y="208"/>
                    <a:pt x="526" y="208"/>
                  </a:cubicBezTo>
                  <a:cubicBezTo>
                    <a:pt x="526" y="208"/>
                    <a:pt x="536" y="191"/>
                    <a:pt x="538" y="183"/>
                  </a:cubicBezTo>
                  <a:cubicBezTo>
                    <a:pt x="540" y="175"/>
                    <a:pt x="506" y="168"/>
                    <a:pt x="500" y="167"/>
                  </a:cubicBezTo>
                  <a:cubicBezTo>
                    <a:pt x="494" y="166"/>
                    <a:pt x="444" y="138"/>
                    <a:pt x="444" y="138"/>
                  </a:cubicBezTo>
                  <a:cubicBezTo>
                    <a:pt x="444" y="138"/>
                    <a:pt x="423" y="118"/>
                    <a:pt x="413" y="122"/>
                  </a:cubicBezTo>
                  <a:cubicBezTo>
                    <a:pt x="403" y="126"/>
                    <a:pt x="368" y="106"/>
                    <a:pt x="368" y="106"/>
                  </a:cubicBezTo>
                  <a:cubicBezTo>
                    <a:pt x="364" y="92"/>
                    <a:pt x="364" y="92"/>
                    <a:pt x="364" y="92"/>
                  </a:cubicBezTo>
                  <a:cubicBezTo>
                    <a:pt x="364" y="92"/>
                    <a:pt x="337" y="75"/>
                    <a:pt x="328" y="70"/>
                  </a:cubicBezTo>
                  <a:cubicBezTo>
                    <a:pt x="319" y="65"/>
                    <a:pt x="303" y="36"/>
                    <a:pt x="303" y="36"/>
                  </a:cubicBezTo>
                  <a:cubicBezTo>
                    <a:pt x="290" y="24"/>
                    <a:pt x="290" y="24"/>
                    <a:pt x="290" y="24"/>
                  </a:cubicBezTo>
                  <a:cubicBezTo>
                    <a:pt x="267" y="7"/>
                    <a:pt x="267" y="7"/>
                    <a:pt x="267" y="7"/>
                  </a:cubicBezTo>
                  <a:cubicBezTo>
                    <a:pt x="216" y="13"/>
                    <a:pt x="216" y="13"/>
                    <a:pt x="216" y="13"/>
                  </a:cubicBezTo>
                  <a:cubicBezTo>
                    <a:pt x="211" y="50"/>
                    <a:pt x="211" y="50"/>
                    <a:pt x="211" y="50"/>
                  </a:cubicBezTo>
                  <a:cubicBezTo>
                    <a:pt x="189" y="16"/>
                    <a:pt x="189" y="16"/>
                    <a:pt x="189" y="16"/>
                  </a:cubicBezTo>
                  <a:cubicBezTo>
                    <a:pt x="189" y="16"/>
                    <a:pt x="147" y="17"/>
                    <a:pt x="134" y="13"/>
                  </a:cubicBezTo>
                  <a:cubicBezTo>
                    <a:pt x="120" y="9"/>
                    <a:pt x="115" y="0"/>
                    <a:pt x="115" y="0"/>
                  </a:cubicBezTo>
                  <a:cubicBezTo>
                    <a:pt x="107" y="17"/>
                    <a:pt x="107" y="17"/>
                    <a:pt x="107" y="17"/>
                  </a:cubicBezTo>
                  <a:cubicBezTo>
                    <a:pt x="92" y="20"/>
                    <a:pt x="92" y="20"/>
                    <a:pt x="92" y="20"/>
                  </a:cubicBezTo>
                  <a:cubicBezTo>
                    <a:pt x="92" y="34"/>
                    <a:pt x="92" y="34"/>
                    <a:pt x="92" y="34"/>
                  </a:cubicBezTo>
                  <a:cubicBezTo>
                    <a:pt x="81" y="32"/>
                    <a:pt x="81" y="32"/>
                    <a:pt x="81" y="32"/>
                  </a:cubicBezTo>
                  <a:cubicBezTo>
                    <a:pt x="81" y="51"/>
                    <a:pt x="81" y="51"/>
                    <a:pt x="81" y="51"/>
                  </a:cubicBezTo>
                  <a:cubicBezTo>
                    <a:pt x="81" y="51"/>
                    <a:pt x="78" y="52"/>
                    <a:pt x="74" y="52"/>
                  </a:cubicBezTo>
                  <a:cubicBezTo>
                    <a:pt x="74" y="52"/>
                    <a:pt x="75" y="52"/>
                    <a:pt x="75" y="52"/>
                  </a:cubicBezTo>
                  <a:cubicBezTo>
                    <a:pt x="82" y="63"/>
                    <a:pt x="82" y="63"/>
                    <a:pt x="82" y="63"/>
                  </a:cubicBezTo>
                  <a:cubicBezTo>
                    <a:pt x="76" y="119"/>
                    <a:pt x="76" y="119"/>
                    <a:pt x="76" y="119"/>
                  </a:cubicBezTo>
                  <a:cubicBezTo>
                    <a:pt x="76" y="119"/>
                    <a:pt x="21" y="143"/>
                    <a:pt x="22" y="157"/>
                  </a:cubicBezTo>
                  <a:cubicBezTo>
                    <a:pt x="23" y="171"/>
                    <a:pt x="50" y="165"/>
                    <a:pt x="41" y="174"/>
                  </a:cubicBezTo>
                  <a:cubicBezTo>
                    <a:pt x="32" y="183"/>
                    <a:pt x="22" y="192"/>
                    <a:pt x="27" y="199"/>
                  </a:cubicBezTo>
                  <a:cubicBezTo>
                    <a:pt x="32" y="206"/>
                    <a:pt x="51" y="214"/>
                    <a:pt x="50" y="224"/>
                  </a:cubicBezTo>
                  <a:cubicBezTo>
                    <a:pt x="49" y="234"/>
                    <a:pt x="32" y="246"/>
                    <a:pt x="32" y="246"/>
                  </a:cubicBezTo>
                  <a:cubicBezTo>
                    <a:pt x="32" y="246"/>
                    <a:pt x="63" y="257"/>
                    <a:pt x="60" y="268"/>
                  </a:cubicBezTo>
                  <a:cubicBezTo>
                    <a:pt x="57" y="279"/>
                    <a:pt x="35" y="280"/>
                    <a:pt x="35" y="280"/>
                  </a:cubicBezTo>
                  <a:cubicBezTo>
                    <a:pt x="35" y="280"/>
                    <a:pt x="29" y="318"/>
                    <a:pt x="28" y="323"/>
                  </a:cubicBezTo>
                  <a:cubicBezTo>
                    <a:pt x="27" y="328"/>
                    <a:pt x="9" y="336"/>
                    <a:pt x="9" y="346"/>
                  </a:cubicBezTo>
                  <a:cubicBezTo>
                    <a:pt x="9" y="356"/>
                    <a:pt x="14" y="381"/>
                    <a:pt x="12" y="385"/>
                  </a:cubicBezTo>
                  <a:cubicBezTo>
                    <a:pt x="10" y="389"/>
                    <a:pt x="1" y="397"/>
                    <a:pt x="2" y="401"/>
                  </a:cubicBezTo>
                  <a:cubicBezTo>
                    <a:pt x="3" y="405"/>
                    <a:pt x="26" y="450"/>
                    <a:pt x="21" y="455"/>
                  </a:cubicBezTo>
                  <a:cubicBezTo>
                    <a:pt x="16" y="460"/>
                    <a:pt x="7" y="455"/>
                    <a:pt x="7" y="455"/>
                  </a:cubicBezTo>
                  <a:cubicBezTo>
                    <a:pt x="10" y="494"/>
                    <a:pt x="10" y="494"/>
                    <a:pt x="10" y="494"/>
                  </a:cubicBezTo>
                  <a:cubicBezTo>
                    <a:pt x="10" y="494"/>
                    <a:pt x="0" y="495"/>
                    <a:pt x="0" y="500"/>
                  </a:cubicBezTo>
                  <a:cubicBezTo>
                    <a:pt x="0" y="505"/>
                    <a:pt x="2" y="522"/>
                    <a:pt x="2" y="522"/>
                  </a:cubicBezTo>
                  <a:cubicBezTo>
                    <a:pt x="2" y="522"/>
                    <a:pt x="25" y="537"/>
                    <a:pt x="23" y="541"/>
                  </a:cubicBezTo>
                  <a:cubicBezTo>
                    <a:pt x="21" y="545"/>
                    <a:pt x="19" y="554"/>
                    <a:pt x="19" y="554"/>
                  </a:cubicBezTo>
                  <a:cubicBezTo>
                    <a:pt x="32" y="564"/>
                    <a:pt x="32" y="564"/>
                    <a:pt x="32" y="564"/>
                  </a:cubicBezTo>
                  <a:cubicBezTo>
                    <a:pt x="40" y="585"/>
                    <a:pt x="40" y="585"/>
                    <a:pt x="40" y="585"/>
                  </a:cubicBezTo>
                  <a:cubicBezTo>
                    <a:pt x="43" y="591"/>
                    <a:pt x="43" y="591"/>
                    <a:pt x="43" y="591"/>
                  </a:cubicBezTo>
                  <a:cubicBezTo>
                    <a:pt x="43" y="591"/>
                    <a:pt x="35" y="610"/>
                    <a:pt x="47" y="613"/>
                  </a:cubicBezTo>
                  <a:cubicBezTo>
                    <a:pt x="59" y="616"/>
                    <a:pt x="63" y="614"/>
                    <a:pt x="63" y="614"/>
                  </a:cubicBezTo>
                  <a:cubicBezTo>
                    <a:pt x="65" y="639"/>
                    <a:pt x="65" y="639"/>
                    <a:pt x="65" y="639"/>
                  </a:cubicBezTo>
                  <a:cubicBezTo>
                    <a:pt x="65" y="639"/>
                    <a:pt x="80" y="658"/>
                    <a:pt x="77" y="664"/>
                  </a:cubicBezTo>
                  <a:cubicBezTo>
                    <a:pt x="74" y="670"/>
                    <a:pt x="65" y="677"/>
                    <a:pt x="65" y="681"/>
                  </a:cubicBezTo>
                  <a:cubicBezTo>
                    <a:pt x="65" y="685"/>
                    <a:pt x="64" y="724"/>
                    <a:pt x="64" y="724"/>
                  </a:cubicBezTo>
                  <a:cubicBezTo>
                    <a:pt x="55" y="725"/>
                    <a:pt x="55" y="725"/>
                    <a:pt x="55" y="725"/>
                  </a:cubicBezTo>
                  <a:cubicBezTo>
                    <a:pt x="55" y="725"/>
                    <a:pt x="72" y="743"/>
                    <a:pt x="73" y="753"/>
                  </a:cubicBezTo>
                  <a:cubicBezTo>
                    <a:pt x="74" y="763"/>
                    <a:pt x="70" y="774"/>
                    <a:pt x="70" y="774"/>
                  </a:cubicBezTo>
                  <a:cubicBezTo>
                    <a:pt x="68" y="786"/>
                    <a:pt x="68" y="786"/>
                    <a:pt x="68" y="786"/>
                  </a:cubicBezTo>
                  <a:cubicBezTo>
                    <a:pt x="51" y="787"/>
                    <a:pt x="51" y="787"/>
                    <a:pt x="51" y="787"/>
                  </a:cubicBezTo>
                  <a:cubicBezTo>
                    <a:pt x="51" y="787"/>
                    <a:pt x="63" y="820"/>
                    <a:pt x="63" y="827"/>
                  </a:cubicBezTo>
                  <a:cubicBezTo>
                    <a:pt x="63" y="834"/>
                    <a:pt x="63" y="855"/>
                    <a:pt x="63" y="855"/>
                  </a:cubicBezTo>
                  <a:cubicBezTo>
                    <a:pt x="83" y="872"/>
                    <a:pt x="83" y="872"/>
                    <a:pt x="83" y="872"/>
                  </a:cubicBezTo>
                  <a:cubicBezTo>
                    <a:pt x="84" y="884"/>
                    <a:pt x="84" y="884"/>
                    <a:pt x="84" y="884"/>
                  </a:cubicBezTo>
                  <a:cubicBezTo>
                    <a:pt x="84" y="884"/>
                    <a:pt x="103" y="893"/>
                    <a:pt x="98" y="902"/>
                  </a:cubicBezTo>
                  <a:cubicBezTo>
                    <a:pt x="93" y="911"/>
                    <a:pt x="79" y="916"/>
                    <a:pt x="79" y="916"/>
                  </a:cubicBezTo>
                  <a:cubicBezTo>
                    <a:pt x="87" y="944"/>
                    <a:pt x="87" y="944"/>
                    <a:pt x="87" y="944"/>
                  </a:cubicBezTo>
                  <a:cubicBezTo>
                    <a:pt x="74" y="953"/>
                    <a:pt x="74" y="953"/>
                    <a:pt x="74" y="953"/>
                  </a:cubicBezTo>
                  <a:cubicBezTo>
                    <a:pt x="74" y="953"/>
                    <a:pt x="84" y="958"/>
                    <a:pt x="85" y="966"/>
                  </a:cubicBezTo>
                  <a:cubicBezTo>
                    <a:pt x="86" y="974"/>
                    <a:pt x="81" y="982"/>
                    <a:pt x="81" y="982"/>
                  </a:cubicBezTo>
                  <a:cubicBezTo>
                    <a:pt x="95" y="990"/>
                    <a:pt x="95" y="990"/>
                    <a:pt x="95" y="990"/>
                  </a:cubicBezTo>
                  <a:cubicBezTo>
                    <a:pt x="95" y="990"/>
                    <a:pt x="90" y="1008"/>
                    <a:pt x="91" y="1014"/>
                  </a:cubicBezTo>
                  <a:cubicBezTo>
                    <a:pt x="92" y="1020"/>
                    <a:pt x="99" y="1031"/>
                    <a:pt x="99" y="1031"/>
                  </a:cubicBezTo>
                  <a:cubicBezTo>
                    <a:pt x="99" y="1031"/>
                    <a:pt x="99" y="1050"/>
                    <a:pt x="102" y="1056"/>
                  </a:cubicBezTo>
                  <a:cubicBezTo>
                    <a:pt x="105" y="1062"/>
                    <a:pt x="134" y="1083"/>
                    <a:pt x="129" y="1082"/>
                  </a:cubicBezTo>
                  <a:cubicBezTo>
                    <a:pt x="124" y="1081"/>
                    <a:pt x="113" y="1090"/>
                    <a:pt x="113" y="1090"/>
                  </a:cubicBezTo>
                  <a:cubicBezTo>
                    <a:pt x="113" y="1090"/>
                    <a:pt x="118" y="1120"/>
                    <a:pt x="121" y="1128"/>
                  </a:cubicBezTo>
                  <a:cubicBezTo>
                    <a:pt x="124" y="1136"/>
                    <a:pt x="133" y="1140"/>
                    <a:pt x="133" y="1140"/>
                  </a:cubicBezTo>
                  <a:cubicBezTo>
                    <a:pt x="143" y="1145"/>
                    <a:pt x="143" y="1145"/>
                    <a:pt x="143" y="1145"/>
                  </a:cubicBezTo>
                  <a:cubicBezTo>
                    <a:pt x="139" y="1163"/>
                    <a:pt x="139" y="1163"/>
                    <a:pt x="139" y="1163"/>
                  </a:cubicBezTo>
                  <a:cubicBezTo>
                    <a:pt x="139" y="1163"/>
                    <a:pt x="155" y="1164"/>
                    <a:pt x="156" y="1175"/>
                  </a:cubicBezTo>
                  <a:cubicBezTo>
                    <a:pt x="157" y="1186"/>
                    <a:pt x="158" y="1203"/>
                    <a:pt x="158" y="1203"/>
                  </a:cubicBezTo>
                  <a:cubicBezTo>
                    <a:pt x="158" y="1203"/>
                    <a:pt x="163" y="1213"/>
                    <a:pt x="170" y="1213"/>
                  </a:cubicBezTo>
                  <a:cubicBezTo>
                    <a:pt x="177" y="1213"/>
                    <a:pt x="196" y="1208"/>
                    <a:pt x="194" y="1219"/>
                  </a:cubicBezTo>
                  <a:cubicBezTo>
                    <a:pt x="192" y="1230"/>
                    <a:pt x="160" y="1227"/>
                    <a:pt x="161" y="1230"/>
                  </a:cubicBezTo>
                  <a:cubicBezTo>
                    <a:pt x="162" y="1233"/>
                    <a:pt x="185" y="1240"/>
                    <a:pt x="185" y="1240"/>
                  </a:cubicBezTo>
                  <a:cubicBezTo>
                    <a:pt x="185" y="1240"/>
                    <a:pt x="208" y="1249"/>
                    <a:pt x="205" y="1257"/>
                  </a:cubicBezTo>
                  <a:cubicBezTo>
                    <a:pt x="202" y="1265"/>
                    <a:pt x="189" y="1276"/>
                    <a:pt x="189" y="1276"/>
                  </a:cubicBezTo>
                  <a:cubicBezTo>
                    <a:pt x="205" y="1288"/>
                    <a:pt x="205" y="1288"/>
                    <a:pt x="205" y="1288"/>
                  </a:cubicBezTo>
                  <a:cubicBezTo>
                    <a:pt x="202" y="1303"/>
                    <a:pt x="202" y="1303"/>
                    <a:pt x="202" y="1303"/>
                  </a:cubicBezTo>
                  <a:cubicBezTo>
                    <a:pt x="217" y="1321"/>
                    <a:pt x="217" y="1321"/>
                    <a:pt x="217" y="1321"/>
                  </a:cubicBezTo>
                  <a:cubicBezTo>
                    <a:pt x="214" y="1343"/>
                    <a:pt x="214" y="1343"/>
                    <a:pt x="214" y="1343"/>
                  </a:cubicBezTo>
                  <a:cubicBezTo>
                    <a:pt x="224" y="1360"/>
                    <a:pt x="224" y="1360"/>
                    <a:pt x="224" y="1360"/>
                  </a:cubicBezTo>
                  <a:cubicBezTo>
                    <a:pt x="213" y="1364"/>
                    <a:pt x="213" y="1364"/>
                    <a:pt x="213" y="1364"/>
                  </a:cubicBezTo>
                  <a:cubicBezTo>
                    <a:pt x="210" y="1394"/>
                    <a:pt x="210" y="1394"/>
                    <a:pt x="210" y="1394"/>
                  </a:cubicBezTo>
                  <a:cubicBezTo>
                    <a:pt x="210" y="1394"/>
                    <a:pt x="229" y="1405"/>
                    <a:pt x="230" y="1408"/>
                  </a:cubicBezTo>
                  <a:cubicBezTo>
                    <a:pt x="231" y="1411"/>
                    <a:pt x="215" y="1420"/>
                    <a:pt x="215" y="1420"/>
                  </a:cubicBezTo>
                  <a:cubicBezTo>
                    <a:pt x="215" y="1420"/>
                    <a:pt x="235" y="1435"/>
                    <a:pt x="232" y="1440"/>
                  </a:cubicBezTo>
                  <a:cubicBezTo>
                    <a:pt x="229" y="1445"/>
                    <a:pt x="214" y="1450"/>
                    <a:pt x="214" y="1450"/>
                  </a:cubicBezTo>
                  <a:cubicBezTo>
                    <a:pt x="213" y="1463"/>
                    <a:pt x="213" y="1463"/>
                    <a:pt x="213" y="1463"/>
                  </a:cubicBezTo>
                  <a:cubicBezTo>
                    <a:pt x="206" y="1467"/>
                    <a:pt x="206" y="1467"/>
                    <a:pt x="206" y="1467"/>
                  </a:cubicBezTo>
                  <a:cubicBezTo>
                    <a:pt x="206" y="1467"/>
                    <a:pt x="208" y="1483"/>
                    <a:pt x="213" y="1488"/>
                  </a:cubicBezTo>
                  <a:cubicBezTo>
                    <a:pt x="218" y="1493"/>
                    <a:pt x="216" y="1513"/>
                    <a:pt x="216" y="1513"/>
                  </a:cubicBezTo>
                  <a:cubicBezTo>
                    <a:pt x="236" y="1517"/>
                    <a:pt x="236" y="1517"/>
                    <a:pt x="236" y="1517"/>
                  </a:cubicBezTo>
                  <a:cubicBezTo>
                    <a:pt x="236" y="1517"/>
                    <a:pt x="240" y="1542"/>
                    <a:pt x="250" y="1542"/>
                  </a:cubicBezTo>
                  <a:cubicBezTo>
                    <a:pt x="260" y="1542"/>
                    <a:pt x="266" y="1524"/>
                    <a:pt x="281" y="1537"/>
                  </a:cubicBezTo>
                  <a:cubicBezTo>
                    <a:pt x="296" y="1550"/>
                    <a:pt x="290" y="1562"/>
                    <a:pt x="290" y="1562"/>
                  </a:cubicBezTo>
                  <a:cubicBezTo>
                    <a:pt x="304" y="1578"/>
                    <a:pt x="304" y="1578"/>
                    <a:pt x="304" y="1578"/>
                  </a:cubicBezTo>
                  <a:cubicBezTo>
                    <a:pt x="311" y="1589"/>
                    <a:pt x="311" y="1589"/>
                    <a:pt x="311" y="1589"/>
                  </a:cubicBezTo>
                  <a:cubicBezTo>
                    <a:pt x="335" y="1600"/>
                    <a:pt x="335" y="1600"/>
                    <a:pt x="335" y="1600"/>
                  </a:cubicBezTo>
                  <a:cubicBezTo>
                    <a:pt x="347" y="1612"/>
                    <a:pt x="347" y="1612"/>
                    <a:pt x="347" y="1612"/>
                  </a:cubicBezTo>
                  <a:cubicBezTo>
                    <a:pt x="347" y="1612"/>
                    <a:pt x="373" y="1605"/>
                    <a:pt x="389" y="1607"/>
                  </a:cubicBezTo>
                  <a:cubicBezTo>
                    <a:pt x="405" y="1609"/>
                    <a:pt x="425" y="1608"/>
                    <a:pt x="425" y="1608"/>
                  </a:cubicBezTo>
                  <a:cubicBezTo>
                    <a:pt x="440" y="1620"/>
                    <a:pt x="440" y="1620"/>
                    <a:pt x="440" y="1620"/>
                  </a:cubicBezTo>
                  <a:cubicBezTo>
                    <a:pt x="437" y="1628"/>
                    <a:pt x="437" y="1628"/>
                    <a:pt x="437" y="1628"/>
                  </a:cubicBezTo>
                  <a:cubicBezTo>
                    <a:pt x="442" y="1616"/>
                    <a:pt x="442" y="1616"/>
                    <a:pt x="442" y="1616"/>
                  </a:cubicBezTo>
                  <a:cubicBezTo>
                    <a:pt x="449" y="1606"/>
                    <a:pt x="478" y="1625"/>
                    <a:pt x="478" y="1625"/>
                  </a:cubicBezTo>
                  <a:cubicBezTo>
                    <a:pt x="451" y="1588"/>
                    <a:pt x="451" y="1588"/>
                    <a:pt x="451" y="1588"/>
                  </a:cubicBezTo>
                  <a:cubicBezTo>
                    <a:pt x="438" y="1589"/>
                    <a:pt x="438" y="1589"/>
                    <a:pt x="438" y="1589"/>
                  </a:cubicBezTo>
                  <a:cubicBezTo>
                    <a:pt x="441" y="1579"/>
                    <a:pt x="441" y="1579"/>
                    <a:pt x="441" y="1579"/>
                  </a:cubicBezTo>
                  <a:cubicBezTo>
                    <a:pt x="417" y="1562"/>
                    <a:pt x="417" y="1562"/>
                    <a:pt x="417" y="1562"/>
                  </a:cubicBezTo>
                  <a:cubicBezTo>
                    <a:pt x="418" y="1538"/>
                    <a:pt x="418" y="1538"/>
                    <a:pt x="418" y="1538"/>
                  </a:cubicBezTo>
                  <a:cubicBezTo>
                    <a:pt x="409" y="1534"/>
                    <a:pt x="409" y="1534"/>
                    <a:pt x="409" y="1534"/>
                  </a:cubicBezTo>
                  <a:cubicBezTo>
                    <a:pt x="414" y="1522"/>
                    <a:pt x="414" y="1522"/>
                    <a:pt x="414" y="1522"/>
                  </a:cubicBezTo>
                  <a:cubicBezTo>
                    <a:pt x="414" y="1522"/>
                    <a:pt x="423" y="1522"/>
                    <a:pt x="426" y="1514"/>
                  </a:cubicBezTo>
                  <a:cubicBezTo>
                    <a:pt x="430" y="1506"/>
                    <a:pt x="400" y="1506"/>
                    <a:pt x="400" y="1506"/>
                  </a:cubicBezTo>
                  <a:cubicBezTo>
                    <a:pt x="412" y="1501"/>
                    <a:pt x="412" y="1501"/>
                    <a:pt x="412" y="1501"/>
                  </a:cubicBezTo>
                  <a:cubicBezTo>
                    <a:pt x="408" y="1488"/>
                    <a:pt x="408" y="1488"/>
                    <a:pt x="408" y="1488"/>
                  </a:cubicBezTo>
                  <a:cubicBezTo>
                    <a:pt x="424" y="1505"/>
                    <a:pt x="424" y="1505"/>
                    <a:pt x="424" y="1505"/>
                  </a:cubicBezTo>
                  <a:cubicBezTo>
                    <a:pt x="424" y="1505"/>
                    <a:pt x="438" y="1515"/>
                    <a:pt x="448" y="1503"/>
                  </a:cubicBezTo>
                  <a:cubicBezTo>
                    <a:pt x="458" y="1491"/>
                    <a:pt x="440" y="1465"/>
                    <a:pt x="441" y="1451"/>
                  </a:cubicBezTo>
                  <a:cubicBezTo>
                    <a:pt x="442" y="1438"/>
                    <a:pt x="485" y="1409"/>
                    <a:pt x="488" y="1400"/>
                  </a:cubicBezTo>
                  <a:cubicBezTo>
                    <a:pt x="492" y="1391"/>
                    <a:pt x="467" y="1391"/>
                    <a:pt x="467" y="1391"/>
                  </a:cubicBezTo>
                  <a:cubicBezTo>
                    <a:pt x="483" y="1389"/>
                    <a:pt x="483" y="1389"/>
                    <a:pt x="483" y="1389"/>
                  </a:cubicBezTo>
                  <a:cubicBezTo>
                    <a:pt x="483" y="1389"/>
                    <a:pt x="484" y="1369"/>
                    <a:pt x="476" y="1359"/>
                  </a:cubicBezTo>
                  <a:cubicBezTo>
                    <a:pt x="468" y="1349"/>
                    <a:pt x="456" y="1354"/>
                    <a:pt x="456" y="1354"/>
                  </a:cubicBezTo>
                  <a:cubicBezTo>
                    <a:pt x="444" y="1345"/>
                    <a:pt x="444" y="1345"/>
                    <a:pt x="444" y="1345"/>
                  </a:cubicBezTo>
                  <a:cubicBezTo>
                    <a:pt x="431" y="1345"/>
                    <a:pt x="431" y="1345"/>
                    <a:pt x="431" y="1345"/>
                  </a:cubicBezTo>
                  <a:cubicBezTo>
                    <a:pt x="431" y="1345"/>
                    <a:pt x="391" y="1328"/>
                    <a:pt x="379" y="1301"/>
                  </a:cubicBezTo>
                  <a:cubicBezTo>
                    <a:pt x="366" y="1274"/>
                    <a:pt x="386" y="1269"/>
                    <a:pt x="386" y="1269"/>
                  </a:cubicBezTo>
                  <a:cubicBezTo>
                    <a:pt x="392" y="1252"/>
                    <a:pt x="392" y="1252"/>
                    <a:pt x="392" y="1252"/>
                  </a:cubicBezTo>
                  <a:cubicBezTo>
                    <a:pt x="401" y="1252"/>
                    <a:pt x="401" y="1252"/>
                    <a:pt x="401" y="1252"/>
                  </a:cubicBezTo>
                  <a:cubicBezTo>
                    <a:pt x="407" y="1240"/>
                    <a:pt x="407" y="1240"/>
                    <a:pt x="407" y="1240"/>
                  </a:cubicBezTo>
                  <a:cubicBezTo>
                    <a:pt x="443" y="1239"/>
                    <a:pt x="443" y="1239"/>
                    <a:pt x="443" y="1239"/>
                  </a:cubicBezTo>
                  <a:cubicBezTo>
                    <a:pt x="435" y="1232"/>
                    <a:pt x="435" y="1232"/>
                    <a:pt x="435" y="1232"/>
                  </a:cubicBezTo>
                  <a:cubicBezTo>
                    <a:pt x="434" y="1218"/>
                    <a:pt x="434" y="1218"/>
                    <a:pt x="434" y="1218"/>
                  </a:cubicBezTo>
                  <a:cubicBezTo>
                    <a:pt x="443" y="1217"/>
                    <a:pt x="443" y="1217"/>
                    <a:pt x="443" y="1217"/>
                  </a:cubicBezTo>
                  <a:cubicBezTo>
                    <a:pt x="443" y="1217"/>
                    <a:pt x="448" y="1198"/>
                    <a:pt x="440" y="1191"/>
                  </a:cubicBezTo>
                  <a:cubicBezTo>
                    <a:pt x="432" y="1184"/>
                    <a:pt x="423" y="1168"/>
                    <a:pt x="430" y="1152"/>
                  </a:cubicBezTo>
                  <a:cubicBezTo>
                    <a:pt x="436" y="1137"/>
                    <a:pt x="456" y="1137"/>
                    <a:pt x="456" y="1137"/>
                  </a:cubicBezTo>
                  <a:cubicBezTo>
                    <a:pt x="456" y="1130"/>
                    <a:pt x="456" y="1130"/>
                    <a:pt x="456" y="1130"/>
                  </a:cubicBezTo>
                  <a:cubicBezTo>
                    <a:pt x="456" y="1130"/>
                    <a:pt x="439" y="1130"/>
                    <a:pt x="431" y="1125"/>
                  </a:cubicBezTo>
                  <a:cubicBezTo>
                    <a:pt x="423" y="1121"/>
                    <a:pt x="432" y="1112"/>
                    <a:pt x="440" y="1111"/>
                  </a:cubicBezTo>
                  <a:cubicBezTo>
                    <a:pt x="448" y="1110"/>
                    <a:pt x="462" y="1127"/>
                    <a:pt x="469" y="1127"/>
                  </a:cubicBezTo>
                  <a:cubicBezTo>
                    <a:pt x="476" y="1127"/>
                    <a:pt x="485" y="1123"/>
                    <a:pt x="486" y="1113"/>
                  </a:cubicBezTo>
                  <a:cubicBezTo>
                    <a:pt x="487" y="1103"/>
                    <a:pt x="474" y="1080"/>
                    <a:pt x="461" y="1085"/>
                  </a:cubicBezTo>
                  <a:cubicBezTo>
                    <a:pt x="449" y="1089"/>
                    <a:pt x="468" y="1099"/>
                    <a:pt x="456" y="1105"/>
                  </a:cubicBezTo>
                  <a:cubicBezTo>
                    <a:pt x="443" y="1111"/>
                    <a:pt x="431" y="1094"/>
                    <a:pt x="431" y="1094"/>
                  </a:cubicBezTo>
                  <a:cubicBezTo>
                    <a:pt x="431" y="1094"/>
                    <a:pt x="407" y="1096"/>
                    <a:pt x="404" y="1089"/>
                  </a:cubicBezTo>
                  <a:cubicBezTo>
                    <a:pt x="400" y="1083"/>
                    <a:pt x="404" y="1055"/>
                    <a:pt x="404" y="1052"/>
                  </a:cubicBezTo>
                  <a:cubicBezTo>
                    <a:pt x="404" y="1049"/>
                    <a:pt x="387" y="1032"/>
                    <a:pt x="391" y="1017"/>
                  </a:cubicBezTo>
                  <a:cubicBezTo>
                    <a:pt x="396" y="1003"/>
                    <a:pt x="409" y="1019"/>
                    <a:pt x="424" y="1023"/>
                  </a:cubicBezTo>
                  <a:cubicBezTo>
                    <a:pt x="439" y="1026"/>
                    <a:pt x="456" y="1039"/>
                    <a:pt x="465" y="1039"/>
                  </a:cubicBezTo>
                  <a:cubicBezTo>
                    <a:pt x="474" y="1039"/>
                    <a:pt x="507" y="1021"/>
                    <a:pt x="515" y="1015"/>
                  </a:cubicBezTo>
                  <a:cubicBezTo>
                    <a:pt x="523" y="1009"/>
                    <a:pt x="490" y="991"/>
                    <a:pt x="490" y="991"/>
                  </a:cubicBezTo>
                  <a:cubicBezTo>
                    <a:pt x="489" y="975"/>
                    <a:pt x="489" y="975"/>
                    <a:pt x="489" y="975"/>
                  </a:cubicBezTo>
                  <a:cubicBezTo>
                    <a:pt x="489" y="975"/>
                    <a:pt x="498" y="959"/>
                    <a:pt x="501" y="948"/>
                  </a:cubicBezTo>
                  <a:cubicBezTo>
                    <a:pt x="503" y="938"/>
                    <a:pt x="480" y="938"/>
                    <a:pt x="480" y="938"/>
                  </a:cubicBezTo>
                  <a:cubicBezTo>
                    <a:pt x="478" y="924"/>
                    <a:pt x="478" y="924"/>
                    <a:pt x="478" y="924"/>
                  </a:cubicBezTo>
                  <a:cubicBezTo>
                    <a:pt x="478" y="924"/>
                    <a:pt x="470" y="915"/>
                    <a:pt x="477" y="907"/>
                  </a:cubicBezTo>
                  <a:cubicBezTo>
                    <a:pt x="484" y="899"/>
                    <a:pt x="494" y="934"/>
                    <a:pt x="494" y="934"/>
                  </a:cubicBezTo>
                  <a:cubicBezTo>
                    <a:pt x="502" y="933"/>
                    <a:pt x="502" y="933"/>
                    <a:pt x="502" y="933"/>
                  </a:cubicBezTo>
                  <a:cubicBezTo>
                    <a:pt x="497" y="919"/>
                    <a:pt x="497" y="919"/>
                    <a:pt x="497" y="919"/>
                  </a:cubicBezTo>
                  <a:cubicBezTo>
                    <a:pt x="551" y="926"/>
                    <a:pt x="551" y="926"/>
                    <a:pt x="551" y="926"/>
                  </a:cubicBezTo>
                  <a:cubicBezTo>
                    <a:pt x="554" y="920"/>
                    <a:pt x="554" y="920"/>
                    <a:pt x="554" y="920"/>
                  </a:cubicBezTo>
                  <a:cubicBezTo>
                    <a:pt x="554" y="920"/>
                    <a:pt x="567" y="912"/>
                    <a:pt x="595" y="909"/>
                  </a:cubicBezTo>
                  <a:cubicBezTo>
                    <a:pt x="624" y="906"/>
                    <a:pt x="676" y="881"/>
                    <a:pt x="676" y="881"/>
                  </a:cubicBezTo>
                  <a:cubicBezTo>
                    <a:pt x="673" y="855"/>
                    <a:pt x="673" y="855"/>
                    <a:pt x="673" y="855"/>
                  </a:cubicBezTo>
                  <a:cubicBezTo>
                    <a:pt x="688" y="847"/>
                    <a:pt x="688" y="847"/>
                    <a:pt x="688" y="847"/>
                  </a:cubicBezTo>
                  <a:cubicBezTo>
                    <a:pt x="696" y="814"/>
                    <a:pt x="696" y="814"/>
                    <a:pt x="696" y="814"/>
                  </a:cubicBezTo>
                  <a:cubicBezTo>
                    <a:pt x="689" y="797"/>
                    <a:pt x="689" y="797"/>
                    <a:pt x="689" y="797"/>
                  </a:cubicBezTo>
                  <a:cubicBezTo>
                    <a:pt x="689" y="779"/>
                    <a:pt x="689" y="779"/>
                    <a:pt x="689" y="779"/>
                  </a:cubicBezTo>
                  <a:cubicBezTo>
                    <a:pt x="689" y="779"/>
                    <a:pt x="678" y="770"/>
                    <a:pt x="667" y="766"/>
                  </a:cubicBezTo>
                  <a:cubicBezTo>
                    <a:pt x="661" y="764"/>
                    <a:pt x="654" y="769"/>
                    <a:pt x="649" y="765"/>
                  </a:cubicBezTo>
                  <a:cubicBezTo>
                    <a:pt x="641" y="759"/>
                    <a:pt x="655" y="753"/>
                    <a:pt x="658" y="748"/>
                  </a:cubicBezTo>
                  <a:cubicBezTo>
                    <a:pt x="662" y="741"/>
                    <a:pt x="657" y="735"/>
                    <a:pt x="657" y="727"/>
                  </a:cubicBezTo>
                  <a:cubicBezTo>
                    <a:pt x="657" y="712"/>
                    <a:pt x="624" y="707"/>
                    <a:pt x="601" y="696"/>
                  </a:cubicBezTo>
                  <a:cubicBezTo>
                    <a:pt x="578" y="685"/>
                    <a:pt x="578" y="674"/>
                    <a:pt x="588" y="660"/>
                  </a:cubicBezTo>
                  <a:cubicBezTo>
                    <a:pt x="589" y="659"/>
                    <a:pt x="589" y="658"/>
                    <a:pt x="590" y="658"/>
                  </a:cubicBezTo>
                  <a:cubicBezTo>
                    <a:pt x="570" y="633"/>
                    <a:pt x="570" y="633"/>
                    <a:pt x="570" y="633"/>
                  </a:cubicBezTo>
                  <a:cubicBezTo>
                    <a:pt x="570" y="601"/>
                    <a:pt x="570" y="601"/>
                    <a:pt x="570" y="601"/>
                  </a:cubicBezTo>
                  <a:cubicBezTo>
                    <a:pt x="570" y="601"/>
                    <a:pt x="593" y="600"/>
                    <a:pt x="594" y="595"/>
                  </a:cubicBezTo>
                  <a:cubicBezTo>
                    <a:pt x="595" y="590"/>
                    <a:pt x="575" y="567"/>
                    <a:pt x="575" y="567"/>
                  </a:cubicBezTo>
                  <a:cubicBezTo>
                    <a:pt x="582" y="557"/>
                    <a:pt x="582" y="557"/>
                    <a:pt x="582" y="557"/>
                  </a:cubicBezTo>
                  <a:cubicBezTo>
                    <a:pt x="582" y="557"/>
                    <a:pt x="569" y="545"/>
                    <a:pt x="568" y="536"/>
                  </a:cubicBezTo>
                  <a:cubicBezTo>
                    <a:pt x="567" y="527"/>
                    <a:pt x="586" y="528"/>
                    <a:pt x="586" y="528"/>
                  </a:cubicBezTo>
                  <a:cubicBezTo>
                    <a:pt x="569" y="518"/>
                    <a:pt x="569" y="518"/>
                    <a:pt x="569" y="518"/>
                  </a:cubicBezTo>
                  <a:cubicBezTo>
                    <a:pt x="569" y="491"/>
                    <a:pt x="569" y="491"/>
                    <a:pt x="569" y="491"/>
                  </a:cubicBezTo>
                  <a:cubicBezTo>
                    <a:pt x="587" y="484"/>
                    <a:pt x="587" y="484"/>
                    <a:pt x="587" y="484"/>
                  </a:cubicBezTo>
                  <a:cubicBezTo>
                    <a:pt x="587" y="484"/>
                    <a:pt x="566" y="471"/>
                    <a:pt x="566" y="467"/>
                  </a:cubicBezTo>
                  <a:cubicBezTo>
                    <a:pt x="566" y="463"/>
                    <a:pt x="580" y="452"/>
                    <a:pt x="580" y="452"/>
                  </a:cubicBezTo>
                  <a:cubicBezTo>
                    <a:pt x="580" y="452"/>
                    <a:pt x="584" y="435"/>
                    <a:pt x="584" y="429"/>
                  </a:cubicBezTo>
                  <a:cubicBezTo>
                    <a:pt x="584" y="423"/>
                    <a:pt x="599" y="424"/>
                    <a:pt x="604" y="419"/>
                  </a:cubicBezTo>
                  <a:cubicBezTo>
                    <a:pt x="609" y="414"/>
                    <a:pt x="612" y="399"/>
                    <a:pt x="612" y="396"/>
                  </a:cubicBezTo>
                  <a:cubicBezTo>
                    <a:pt x="612" y="393"/>
                    <a:pt x="621" y="388"/>
                    <a:pt x="626" y="383"/>
                  </a:cubicBezTo>
                  <a:cubicBezTo>
                    <a:pt x="631" y="378"/>
                    <a:pt x="634" y="355"/>
                    <a:pt x="634" y="355"/>
                  </a:cubicBezTo>
                  <a:close/>
                  <a:moveTo>
                    <a:pt x="619" y="681"/>
                  </a:moveTo>
                  <a:cubicBezTo>
                    <a:pt x="624" y="681"/>
                    <a:pt x="624" y="681"/>
                    <a:pt x="624" y="681"/>
                  </a:cubicBezTo>
                  <a:cubicBezTo>
                    <a:pt x="617" y="677"/>
                    <a:pt x="617" y="677"/>
                    <a:pt x="617" y="677"/>
                  </a:cubicBezTo>
                  <a:cubicBezTo>
                    <a:pt x="617" y="677"/>
                    <a:pt x="617" y="677"/>
                    <a:pt x="617" y="677"/>
                  </a:cubicBezTo>
                  <a:cubicBezTo>
                    <a:pt x="618" y="679"/>
                    <a:pt x="619" y="681"/>
                    <a:pt x="619" y="681"/>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grpSp>
    </p:spTree>
    <p:custDataLst>
      <p:tags r:id="rId1"/>
    </p:custDataLst>
    <p:extLst>
      <p:ext uri="{BB962C8B-B14F-4D97-AF65-F5344CB8AC3E}">
        <p14:creationId xmlns:p14="http://schemas.microsoft.com/office/powerpoint/2010/main" val="3627763783"/>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43AC98-C637-4454-9144-531F94627AE7}"/>
              </a:ext>
            </a:extLst>
          </p:cNvPr>
          <p:cNvSpPr>
            <a:spLocks noGrp="1" noChangeAspect="1"/>
          </p:cNvSpPr>
          <p:nvPr>
            <p:ph type="title"/>
          </p:nvPr>
        </p:nvSpPr>
        <p:spPr/>
        <p:txBody>
          <a:bodyPr/>
          <a:lstStyle/>
          <a:p>
            <a:r>
              <a:rPr lang="en-US" sz="3000" dirty="0"/>
              <a:t>Asia and Middle East with text</a:t>
            </a:r>
          </a:p>
        </p:txBody>
      </p:sp>
      <p:sp>
        <p:nvSpPr>
          <p:cNvPr id="100" name="MIO_TEXTBOX_BODY">
            <a:extLst>
              <a:ext uri="{FF2B5EF4-FFF2-40B4-BE49-F238E27FC236}">
                <a16:creationId xmlns:a16="http://schemas.microsoft.com/office/drawing/2014/main" id="{54BB3D73-9B3F-4229-894E-C4730CF1AEA8}"/>
              </a:ext>
            </a:extLst>
          </p:cNvPr>
          <p:cNvSpPr txBox="1"/>
          <p:nvPr/>
        </p:nvSpPr>
        <p:spPr>
          <a:xfrm>
            <a:off x="8234364" y="1840390"/>
            <a:ext cx="3498849" cy="4698523"/>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dirty="0"/>
              <a:t>Lorem ipsum dolor sit amet, consectetuer adipiscing elit. Aenean commodo ligula eget dolor. Aenean massa. Cum sociis natoque penatibus et magnis dis parturient montes, nascetur ridiculus mus. </a:t>
            </a:r>
          </a:p>
          <a:p>
            <a:pPr marL="0" indent="0">
              <a:buSzPct val="100000"/>
              <a:buNone/>
            </a:pPr>
            <a:r>
              <a:rPr lang="en-US" dirty="0"/>
              <a:t>Donec quam felis, ultricies nec, pellentesque eu, pretium quis, sem. Nulla consequat massa quis enim. Donec pede justo, fringilla vel, aliquet nec, vulputate eget, arcu. </a:t>
            </a:r>
          </a:p>
          <a:p>
            <a:pPr marL="0" indent="0">
              <a:buSzPct val="100000"/>
              <a:buNone/>
            </a:pPr>
            <a:r>
              <a:rPr lang="en-US" dirty="0"/>
              <a:t>Lorem ipsum dolor sit amet, consectetuer adipiscing elit. Aenean commodo ligula eget dolor. Aenean massa. </a:t>
            </a:r>
          </a:p>
        </p:txBody>
      </p:sp>
      <p:sp>
        <p:nvSpPr>
          <p:cNvPr id="102" name="MIO_TEXTBOX_HEADER">
            <a:extLst>
              <a:ext uri="{FF2B5EF4-FFF2-40B4-BE49-F238E27FC236}">
                <a16:creationId xmlns:a16="http://schemas.microsoft.com/office/drawing/2014/main" id="{913D4E81-C329-4DF9-8CDC-3B46F7F448E7}"/>
              </a:ext>
            </a:extLst>
          </p:cNvPr>
          <p:cNvSpPr txBox="1"/>
          <p:nvPr/>
        </p:nvSpPr>
        <p:spPr>
          <a:xfrm>
            <a:off x="8234363" y="1387475"/>
            <a:ext cx="3498849" cy="342520"/>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800" dirty="0">
                <a:solidFill>
                  <a:schemeClr val="dk1"/>
                </a:solidFill>
              </a:rPr>
              <a:t>Lorem ipsum dolor sit amet</a:t>
            </a:r>
          </a:p>
        </p:txBody>
      </p:sp>
      <p:grpSp>
        <p:nvGrpSpPr>
          <p:cNvPr id="85" name="Asia and Middle East">
            <a:extLst>
              <a:ext uri="{FF2B5EF4-FFF2-40B4-BE49-F238E27FC236}">
                <a16:creationId xmlns:a16="http://schemas.microsoft.com/office/drawing/2014/main" id="{29073B79-1786-48FB-B455-66C08DD26B6B}"/>
              </a:ext>
            </a:extLst>
          </p:cNvPr>
          <p:cNvGrpSpPr>
            <a:grpSpLocks/>
          </p:cNvGrpSpPr>
          <p:nvPr>
            <p:custDataLst>
              <p:tags r:id="rId2"/>
            </p:custDataLst>
          </p:nvPr>
        </p:nvGrpSpPr>
        <p:grpSpPr bwMode="gray">
          <a:xfrm>
            <a:off x="458788" y="847896"/>
            <a:ext cx="7065143" cy="5951913"/>
            <a:chOff x="6097295" y="1770048"/>
            <a:chExt cx="3807485" cy="2643551"/>
          </a:xfrm>
          <a:solidFill>
            <a:schemeClr val="bg1">
              <a:lumMod val="85000"/>
            </a:schemeClr>
          </a:solidFill>
        </p:grpSpPr>
        <p:sp>
          <p:nvSpPr>
            <p:cNvPr id="210" name="Yemen">
              <a:extLst>
                <a:ext uri="{FF2B5EF4-FFF2-40B4-BE49-F238E27FC236}">
                  <a16:creationId xmlns:a16="http://schemas.microsoft.com/office/drawing/2014/main" id="{BE604229-841F-4947-9B7F-B61FA02FC3D1}"/>
                </a:ext>
              </a:extLst>
            </p:cNvPr>
            <p:cNvSpPr>
              <a:spLocks/>
            </p:cNvSpPr>
            <p:nvPr/>
          </p:nvSpPr>
          <p:spPr bwMode="gray">
            <a:xfrm>
              <a:off x="6737169" y="3512317"/>
              <a:ext cx="273097" cy="184065"/>
            </a:xfrm>
            <a:custGeom>
              <a:avLst/>
              <a:gdLst>
                <a:gd name="T0" fmla="*/ 311 w 487"/>
                <a:gd name="T1" fmla="*/ 13 h 330"/>
                <a:gd name="T2" fmla="*/ 247 w 487"/>
                <a:gd name="T3" fmla="*/ 45 h 330"/>
                <a:gd name="T4" fmla="*/ 222 w 487"/>
                <a:gd name="T5" fmla="*/ 82 h 330"/>
                <a:gd name="T6" fmla="*/ 222 w 487"/>
                <a:gd name="T7" fmla="*/ 94 h 330"/>
                <a:gd name="T8" fmla="*/ 210 w 487"/>
                <a:gd name="T9" fmla="*/ 106 h 330"/>
                <a:gd name="T10" fmla="*/ 187 w 487"/>
                <a:gd name="T11" fmla="*/ 89 h 330"/>
                <a:gd name="T12" fmla="*/ 143 w 487"/>
                <a:gd name="T13" fmla="*/ 89 h 330"/>
                <a:gd name="T14" fmla="*/ 116 w 487"/>
                <a:gd name="T15" fmla="*/ 81 h 330"/>
                <a:gd name="T16" fmla="*/ 76 w 487"/>
                <a:gd name="T17" fmla="*/ 82 h 330"/>
                <a:gd name="T18" fmla="*/ 64 w 487"/>
                <a:gd name="T19" fmla="*/ 88 h 330"/>
                <a:gd name="T20" fmla="*/ 46 w 487"/>
                <a:gd name="T21" fmla="*/ 89 h 330"/>
                <a:gd name="T22" fmla="*/ 31 w 487"/>
                <a:gd name="T23" fmla="*/ 80 h 330"/>
                <a:gd name="T24" fmla="*/ 22 w 487"/>
                <a:gd name="T25" fmla="*/ 114 h 330"/>
                <a:gd name="T26" fmla="*/ 21 w 487"/>
                <a:gd name="T27" fmla="*/ 127 h 330"/>
                <a:gd name="T28" fmla="*/ 8 w 487"/>
                <a:gd name="T29" fmla="*/ 141 h 330"/>
                <a:gd name="T30" fmla="*/ 2 w 487"/>
                <a:gd name="T31" fmla="*/ 164 h 330"/>
                <a:gd name="T32" fmla="*/ 24 w 487"/>
                <a:gd name="T33" fmla="*/ 193 h 330"/>
                <a:gd name="T34" fmla="*/ 15 w 487"/>
                <a:gd name="T35" fmla="*/ 270 h 330"/>
                <a:gd name="T36" fmla="*/ 36 w 487"/>
                <a:gd name="T37" fmla="*/ 292 h 330"/>
                <a:gd name="T38" fmla="*/ 60 w 487"/>
                <a:gd name="T39" fmla="*/ 325 h 330"/>
                <a:gd name="T40" fmla="*/ 106 w 487"/>
                <a:gd name="T41" fmla="*/ 321 h 330"/>
                <a:gd name="T42" fmla="*/ 133 w 487"/>
                <a:gd name="T43" fmla="*/ 287 h 330"/>
                <a:gd name="T44" fmla="*/ 182 w 487"/>
                <a:gd name="T45" fmla="*/ 290 h 330"/>
                <a:gd name="T46" fmla="*/ 243 w 487"/>
                <a:gd name="T47" fmla="*/ 282 h 330"/>
                <a:gd name="T48" fmla="*/ 292 w 487"/>
                <a:gd name="T49" fmla="*/ 243 h 330"/>
                <a:gd name="T50" fmla="*/ 334 w 487"/>
                <a:gd name="T51" fmla="*/ 213 h 330"/>
                <a:gd name="T52" fmla="*/ 397 w 487"/>
                <a:gd name="T53" fmla="*/ 181 h 330"/>
                <a:gd name="T54" fmla="*/ 446 w 487"/>
                <a:gd name="T55" fmla="*/ 180 h 330"/>
                <a:gd name="T56" fmla="*/ 479 w 487"/>
                <a:gd name="T57" fmla="*/ 125 h 330"/>
                <a:gd name="T58" fmla="*/ 487 w 487"/>
                <a:gd name="T59" fmla="*/ 120 h 330"/>
                <a:gd name="T60" fmla="*/ 433 w 487"/>
                <a:gd name="T61" fmla="*/ 0 h 330"/>
                <a:gd name="T62" fmla="*/ 311 w 487"/>
                <a:gd name="T63" fmla="*/ 1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7" h="330">
                  <a:moveTo>
                    <a:pt x="311" y="13"/>
                  </a:moveTo>
                  <a:cubicBezTo>
                    <a:pt x="299" y="13"/>
                    <a:pt x="257" y="32"/>
                    <a:pt x="247" y="45"/>
                  </a:cubicBezTo>
                  <a:cubicBezTo>
                    <a:pt x="237" y="58"/>
                    <a:pt x="222" y="82"/>
                    <a:pt x="222" y="82"/>
                  </a:cubicBezTo>
                  <a:cubicBezTo>
                    <a:pt x="222" y="94"/>
                    <a:pt x="222" y="94"/>
                    <a:pt x="222" y="94"/>
                  </a:cubicBezTo>
                  <a:cubicBezTo>
                    <a:pt x="222" y="94"/>
                    <a:pt x="215" y="106"/>
                    <a:pt x="210" y="106"/>
                  </a:cubicBezTo>
                  <a:cubicBezTo>
                    <a:pt x="205" y="106"/>
                    <a:pt x="191" y="91"/>
                    <a:pt x="187" y="89"/>
                  </a:cubicBezTo>
                  <a:cubicBezTo>
                    <a:pt x="183" y="87"/>
                    <a:pt x="143" y="89"/>
                    <a:pt x="143" y="89"/>
                  </a:cubicBezTo>
                  <a:cubicBezTo>
                    <a:pt x="143" y="89"/>
                    <a:pt x="132" y="81"/>
                    <a:pt x="116" y="81"/>
                  </a:cubicBezTo>
                  <a:cubicBezTo>
                    <a:pt x="100" y="81"/>
                    <a:pt x="81" y="82"/>
                    <a:pt x="76" y="82"/>
                  </a:cubicBezTo>
                  <a:cubicBezTo>
                    <a:pt x="71" y="82"/>
                    <a:pt x="64" y="88"/>
                    <a:pt x="64" y="88"/>
                  </a:cubicBezTo>
                  <a:cubicBezTo>
                    <a:pt x="46" y="89"/>
                    <a:pt x="46" y="89"/>
                    <a:pt x="46" y="89"/>
                  </a:cubicBezTo>
                  <a:cubicBezTo>
                    <a:pt x="46" y="89"/>
                    <a:pt x="41" y="75"/>
                    <a:pt x="31" y="80"/>
                  </a:cubicBezTo>
                  <a:cubicBezTo>
                    <a:pt x="21" y="85"/>
                    <a:pt x="22" y="114"/>
                    <a:pt x="22" y="114"/>
                  </a:cubicBezTo>
                  <a:cubicBezTo>
                    <a:pt x="22" y="114"/>
                    <a:pt x="28" y="116"/>
                    <a:pt x="21" y="127"/>
                  </a:cubicBezTo>
                  <a:cubicBezTo>
                    <a:pt x="17" y="134"/>
                    <a:pt x="12" y="138"/>
                    <a:pt x="8" y="141"/>
                  </a:cubicBezTo>
                  <a:cubicBezTo>
                    <a:pt x="6" y="150"/>
                    <a:pt x="3" y="159"/>
                    <a:pt x="2" y="164"/>
                  </a:cubicBezTo>
                  <a:cubicBezTo>
                    <a:pt x="0" y="174"/>
                    <a:pt x="24" y="193"/>
                    <a:pt x="24" y="193"/>
                  </a:cubicBezTo>
                  <a:cubicBezTo>
                    <a:pt x="15" y="270"/>
                    <a:pt x="15" y="270"/>
                    <a:pt x="15" y="270"/>
                  </a:cubicBezTo>
                  <a:cubicBezTo>
                    <a:pt x="36" y="292"/>
                    <a:pt x="36" y="292"/>
                    <a:pt x="36" y="292"/>
                  </a:cubicBezTo>
                  <a:cubicBezTo>
                    <a:pt x="36" y="292"/>
                    <a:pt x="41" y="321"/>
                    <a:pt x="60" y="325"/>
                  </a:cubicBezTo>
                  <a:cubicBezTo>
                    <a:pt x="79" y="330"/>
                    <a:pt x="94" y="329"/>
                    <a:pt x="106" y="321"/>
                  </a:cubicBezTo>
                  <a:cubicBezTo>
                    <a:pt x="118" y="313"/>
                    <a:pt x="122" y="287"/>
                    <a:pt x="133" y="287"/>
                  </a:cubicBezTo>
                  <a:cubicBezTo>
                    <a:pt x="145" y="286"/>
                    <a:pt x="160" y="293"/>
                    <a:pt x="182" y="290"/>
                  </a:cubicBezTo>
                  <a:cubicBezTo>
                    <a:pt x="204" y="287"/>
                    <a:pt x="230" y="282"/>
                    <a:pt x="243" y="282"/>
                  </a:cubicBezTo>
                  <a:cubicBezTo>
                    <a:pt x="256" y="283"/>
                    <a:pt x="277" y="249"/>
                    <a:pt x="292" y="243"/>
                  </a:cubicBezTo>
                  <a:cubicBezTo>
                    <a:pt x="308" y="238"/>
                    <a:pt x="316" y="218"/>
                    <a:pt x="334" y="213"/>
                  </a:cubicBezTo>
                  <a:cubicBezTo>
                    <a:pt x="352" y="207"/>
                    <a:pt x="397" y="181"/>
                    <a:pt x="397" y="181"/>
                  </a:cubicBezTo>
                  <a:cubicBezTo>
                    <a:pt x="446" y="180"/>
                    <a:pt x="446" y="180"/>
                    <a:pt x="446" y="180"/>
                  </a:cubicBezTo>
                  <a:cubicBezTo>
                    <a:pt x="446" y="180"/>
                    <a:pt x="466" y="135"/>
                    <a:pt x="479" y="125"/>
                  </a:cubicBezTo>
                  <a:cubicBezTo>
                    <a:pt x="480" y="123"/>
                    <a:pt x="483" y="122"/>
                    <a:pt x="487" y="120"/>
                  </a:cubicBezTo>
                  <a:cubicBezTo>
                    <a:pt x="433" y="0"/>
                    <a:pt x="433" y="0"/>
                    <a:pt x="433" y="0"/>
                  </a:cubicBezTo>
                  <a:cubicBezTo>
                    <a:pt x="433" y="0"/>
                    <a:pt x="323" y="13"/>
                    <a:pt x="311" y="13"/>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95" name="Vietnam">
              <a:extLst>
                <a:ext uri="{FF2B5EF4-FFF2-40B4-BE49-F238E27FC236}">
                  <a16:creationId xmlns:a16="http://schemas.microsoft.com/office/drawing/2014/main" id="{B652314E-0495-4C90-8E51-D0DCC0E6DE8E}"/>
                </a:ext>
              </a:extLst>
            </p:cNvPr>
            <p:cNvSpPr>
              <a:spLocks/>
            </p:cNvSpPr>
            <p:nvPr/>
          </p:nvSpPr>
          <p:spPr bwMode="gray">
            <a:xfrm>
              <a:off x="8277310" y="3380615"/>
              <a:ext cx="228640" cy="444294"/>
            </a:xfrm>
            <a:custGeom>
              <a:avLst/>
              <a:gdLst>
                <a:gd name="T0" fmla="*/ 6 w 407"/>
                <a:gd name="T1" fmla="*/ 62 h 795"/>
                <a:gd name="T2" fmla="*/ 37 w 407"/>
                <a:gd name="T3" fmla="*/ 84 h 795"/>
                <a:gd name="T4" fmla="*/ 61 w 407"/>
                <a:gd name="T5" fmla="*/ 137 h 795"/>
                <a:gd name="T6" fmla="*/ 82 w 407"/>
                <a:gd name="T7" fmla="*/ 145 h 795"/>
                <a:gd name="T8" fmla="*/ 124 w 407"/>
                <a:gd name="T9" fmla="*/ 145 h 795"/>
                <a:gd name="T10" fmla="*/ 153 w 407"/>
                <a:gd name="T11" fmla="*/ 179 h 795"/>
                <a:gd name="T12" fmla="*/ 101 w 407"/>
                <a:gd name="T13" fmla="*/ 199 h 795"/>
                <a:gd name="T14" fmla="*/ 142 w 407"/>
                <a:gd name="T15" fmla="*/ 240 h 795"/>
                <a:gd name="T16" fmla="*/ 169 w 407"/>
                <a:gd name="T17" fmla="*/ 271 h 795"/>
                <a:gd name="T18" fmla="*/ 205 w 407"/>
                <a:gd name="T19" fmla="*/ 314 h 795"/>
                <a:gd name="T20" fmla="*/ 230 w 407"/>
                <a:gd name="T21" fmla="*/ 347 h 795"/>
                <a:gd name="T22" fmla="*/ 254 w 407"/>
                <a:gd name="T23" fmla="*/ 370 h 795"/>
                <a:gd name="T24" fmla="*/ 287 w 407"/>
                <a:gd name="T25" fmla="*/ 397 h 795"/>
                <a:gd name="T26" fmla="*/ 312 w 407"/>
                <a:gd name="T27" fmla="*/ 436 h 795"/>
                <a:gd name="T28" fmla="*/ 310 w 407"/>
                <a:gd name="T29" fmla="*/ 470 h 795"/>
                <a:gd name="T30" fmla="*/ 300 w 407"/>
                <a:gd name="T31" fmla="*/ 505 h 795"/>
                <a:gd name="T32" fmla="*/ 306 w 407"/>
                <a:gd name="T33" fmla="*/ 545 h 795"/>
                <a:gd name="T34" fmla="*/ 314 w 407"/>
                <a:gd name="T35" fmla="*/ 598 h 795"/>
                <a:gd name="T36" fmla="*/ 291 w 407"/>
                <a:gd name="T37" fmla="*/ 610 h 795"/>
                <a:gd name="T38" fmla="*/ 273 w 407"/>
                <a:gd name="T39" fmla="*/ 625 h 795"/>
                <a:gd name="T40" fmla="*/ 252 w 407"/>
                <a:gd name="T41" fmla="*/ 659 h 795"/>
                <a:gd name="T42" fmla="*/ 238 w 407"/>
                <a:gd name="T43" fmla="*/ 663 h 795"/>
                <a:gd name="T44" fmla="*/ 204 w 407"/>
                <a:gd name="T45" fmla="*/ 670 h 795"/>
                <a:gd name="T46" fmla="*/ 180 w 407"/>
                <a:gd name="T47" fmla="*/ 703 h 795"/>
                <a:gd name="T48" fmla="*/ 196 w 407"/>
                <a:gd name="T49" fmla="*/ 734 h 795"/>
                <a:gd name="T50" fmla="*/ 194 w 407"/>
                <a:gd name="T51" fmla="*/ 789 h 795"/>
                <a:gd name="T52" fmla="*/ 228 w 407"/>
                <a:gd name="T53" fmla="*/ 783 h 795"/>
                <a:gd name="T54" fmla="*/ 255 w 407"/>
                <a:gd name="T55" fmla="*/ 752 h 795"/>
                <a:gd name="T56" fmla="*/ 285 w 407"/>
                <a:gd name="T57" fmla="*/ 735 h 795"/>
                <a:gd name="T58" fmla="*/ 300 w 407"/>
                <a:gd name="T59" fmla="*/ 693 h 795"/>
                <a:gd name="T60" fmla="*/ 391 w 407"/>
                <a:gd name="T61" fmla="*/ 639 h 795"/>
                <a:gd name="T62" fmla="*/ 385 w 407"/>
                <a:gd name="T63" fmla="*/ 539 h 795"/>
                <a:gd name="T64" fmla="*/ 390 w 407"/>
                <a:gd name="T65" fmla="*/ 485 h 795"/>
                <a:gd name="T66" fmla="*/ 363 w 407"/>
                <a:gd name="T67" fmla="*/ 418 h 795"/>
                <a:gd name="T68" fmla="*/ 256 w 407"/>
                <a:gd name="T69" fmla="*/ 332 h 795"/>
                <a:gd name="T70" fmla="*/ 193 w 407"/>
                <a:gd name="T71" fmla="*/ 235 h 795"/>
                <a:gd name="T72" fmla="*/ 197 w 407"/>
                <a:gd name="T73" fmla="*/ 160 h 795"/>
                <a:gd name="T74" fmla="*/ 229 w 407"/>
                <a:gd name="T75" fmla="*/ 129 h 795"/>
                <a:gd name="T76" fmla="*/ 259 w 407"/>
                <a:gd name="T77" fmla="*/ 100 h 795"/>
                <a:gd name="T78" fmla="*/ 257 w 407"/>
                <a:gd name="T79" fmla="*/ 92 h 795"/>
                <a:gd name="T80" fmla="*/ 218 w 407"/>
                <a:gd name="T81" fmla="*/ 75 h 795"/>
                <a:gd name="T82" fmla="*/ 207 w 407"/>
                <a:gd name="T83" fmla="*/ 61 h 795"/>
                <a:gd name="T84" fmla="*/ 196 w 407"/>
                <a:gd name="T85" fmla="*/ 47 h 795"/>
                <a:gd name="T86" fmla="*/ 182 w 407"/>
                <a:gd name="T87" fmla="*/ 25 h 795"/>
                <a:gd name="T88" fmla="*/ 156 w 407"/>
                <a:gd name="T89" fmla="*/ 22 h 795"/>
                <a:gd name="T90" fmla="*/ 115 w 407"/>
                <a:gd name="T91" fmla="*/ 9 h 795"/>
                <a:gd name="T92" fmla="*/ 95 w 407"/>
                <a:gd name="T93" fmla="*/ 36 h 795"/>
                <a:gd name="T94" fmla="*/ 80 w 407"/>
                <a:gd name="T95" fmla="*/ 29 h 795"/>
                <a:gd name="T96" fmla="*/ 72 w 407"/>
                <a:gd name="T97" fmla="*/ 42 h 795"/>
                <a:gd name="T98" fmla="*/ 58 w 407"/>
                <a:gd name="T99" fmla="*/ 30 h 795"/>
                <a:gd name="T100" fmla="*/ 48 w 407"/>
                <a:gd name="T101" fmla="*/ 31 h 795"/>
                <a:gd name="T102" fmla="*/ 4 w 407"/>
                <a:gd name="T103" fmla="*/ 3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7" h="795">
                  <a:moveTo>
                    <a:pt x="4" y="32"/>
                  </a:moveTo>
                  <a:cubicBezTo>
                    <a:pt x="0" y="40"/>
                    <a:pt x="0" y="55"/>
                    <a:pt x="6" y="62"/>
                  </a:cubicBezTo>
                  <a:cubicBezTo>
                    <a:pt x="12" y="69"/>
                    <a:pt x="28" y="87"/>
                    <a:pt x="28" y="87"/>
                  </a:cubicBezTo>
                  <a:cubicBezTo>
                    <a:pt x="28" y="87"/>
                    <a:pt x="33" y="80"/>
                    <a:pt x="37" y="84"/>
                  </a:cubicBezTo>
                  <a:cubicBezTo>
                    <a:pt x="41" y="88"/>
                    <a:pt x="28" y="97"/>
                    <a:pt x="38" y="110"/>
                  </a:cubicBezTo>
                  <a:cubicBezTo>
                    <a:pt x="48" y="123"/>
                    <a:pt x="61" y="137"/>
                    <a:pt x="61" y="137"/>
                  </a:cubicBezTo>
                  <a:cubicBezTo>
                    <a:pt x="70" y="137"/>
                    <a:pt x="70" y="137"/>
                    <a:pt x="70" y="137"/>
                  </a:cubicBezTo>
                  <a:cubicBezTo>
                    <a:pt x="70" y="137"/>
                    <a:pt x="75" y="153"/>
                    <a:pt x="82" y="145"/>
                  </a:cubicBezTo>
                  <a:cubicBezTo>
                    <a:pt x="89" y="137"/>
                    <a:pt x="86" y="125"/>
                    <a:pt x="94" y="126"/>
                  </a:cubicBezTo>
                  <a:cubicBezTo>
                    <a:pt x="102" y="127"/>
                    <a:pt x="124" y="145"/>
                    <a:pt x="124" y="145"/>
                  </a:cubicBezTo>
                  <a:cubicBezTo>
                    <a:pt x="124" y="145"/>
                    <a:pt x="104" y="151"/>
                    <a:pt x="122" y="159"/>
                  </a:cubicBezTo>
                  <a:cubicBezTo>
                    <a:pt x="140" y="167"/>
                    <a:pt x="159" y="169"/>
                    <a:pt x="153" y="179"/>
                  </a:cubicBezTo>
                  <a:cubicBezTo>
                    <a:pt x="147" y="189"/>
                    <a:pt x="128" y="203"/>
                    <a:pt x="128" y="203"/>
                  </a:cubicBezTo>
                  <a:cubicBezTo>
                    <a:pt x="128" y="203"/>
                    <a:pt x="99" y="195"/>
                    <a:pt x="101" y="199"/>
                  </a:cubicBezTo>
                  <a:cubicBezTo>
                    <a:pt x="103" y="203"/>
                    <a:pt x="103" y="215"/>
                    <a:pt x="103" y="215"/>
                  </a:cubicBezTo>
                  <a:cubicBezTo>
                    <a:pt x="103" y="215"/>
                    <a:pt x="136" y="235"/>
                    <a:pt x="142" y="240"/>
                  </a:cubicBezTo>
                  <a:cubicBezTo>
                    <a:pt x="148" y="245"/>
                    <a:pt x="166" y="250"/>
                    <a:pt x="166" y="250"/>
                  </a:cubicBezTo>
                  <a:cubicBezTo>
                    <a:pt x="166" y="250"/>
                    <a:pt x="165" y="267"/>
                    <a:pt x="169" y="271"/>
                  </a:cubicBezTo>
                  <a:cubicBezTo>
                    <a:pt x="173" y="275"/>
                    <a:pt x="195" y="283"/>
                    <a:pt x="195" y="283"/>
                  </a:cubicBezTo>
                  <a:cubicBezTo>
                    <a:pt x="195" y="283"/>
                    <a:pt x="192" y="303"/>
                    <a:pt x="205" y="314"/>
                  </a:cubicBezTo>
                  <a:cubicBezTo>
                    <a:pt x="218" y="325"/>
                    <a:pt x="229" y="336"/>
                    <a:pt x="229" y="336"/>
                  </a:cubicBezTo>
                  <a:cubicBezTo>
                    <a:pt x="230" y="347"/>
                    <a:pt x="230" y="347"/>
                    <a:pt x="230" y="347"/>
                  </a:cubicBezTo>
                  <a:cubicBezTo>
                    <a:pt x="244" y="346"/>
                    <a:pt x="244" y="346"/>
                    <a:pt x="244" y="346"/>
                  </a:cubicBezTo>
                  <a:cubicBezTo>
                    <a:pt x="244" y="346"/>
                    <a:pt x="247" y="363"/>
                    <a:pt x="254" y="370"/>
                  </a:cubicBezTo>
                  <a:cubicBezTo>
                    <a:pt x="261" y="377"/>
                    <a:pt x="271" y="378"/>
                    <a:pt x="271" y="378"/>
                  </a:cubicBezTo>
                  <a:cubicBezTo>
                    <a:pt x="271" y="378"/>
                    <a:pt x="295" y="392"/>
                    <a:pt x="287" y="397"/>
                  </a:cubicBezTo>
                  <a:cubicBezTo>
                    <a:pt x="279" y="402"/>
                    <a:pt x="265" y="405"/>
                    <a:pt x="279" y="416"/>
                  </a:cubicBezTo>
                  <a:cubicBezTo>
                    <a:pt x="293" y="427"/>
                    <a:pt x="312" y="436"/>
                    <a:pt x="312" y="436"/>
                  </a:cubicBezTo>
                  <a:cubicBezTo>
                    <a:pt x="301" y="457"/>
                    <a:pt x="301" y="457"/>
                    <a:pt x="301" y="457"/>
                  </a:cubicBezTo>
                  <a:cubicBezTo>
                    <a:pt x="301" y="457"/>
                    <a:pt x="314" y="462"/>
                    <a:pt x="310" y="470"/>
                  </a:cubicBezTo>
                  <a:cubicBezTo>
                    <a:pt x="306" y="478"/>
                    <a:pt x="300" y="477"/>
                    <a:pt x="300" y="477"/>
                  </a:cubicBezTo>
                  <a:cubicBezTo>
                    <a:pt x="300" y="505"/>
                    <a:pt x="300" y="505"/>
                    <a:pt x="300" y="505"/>
                  </a:cubicBezTo>
                  <a:cubicBezTo>
                    <a:pt x="300" y="505"/>
                    <a:pt x="321" y="516"/>
                    <a:pt x="321" y="529"/>
                  </a:cubicBezTo>
                  <a:cubicBezTo>
                    <a:pt x="321" y="542"/>
                    <a:pt x="305" y="542"/>
                    <a:pt x="306" y="545"/>
                  </a:cubicBezTo>
                  <a:cubicBezTo>
                    <a:pt x="307" y="548"/>
                    <a:pt x="317" y="584"/>
                    <a:pt x="317" y="584"/>
                  </a:cubicBezTo>
                  <a:cubicBezTo>
                    <a:pt x="314" y="598"/>
                    <a:pt x="314" y="598"/>
                    <a:pt x="314" y="598"/>
                  </a:cubicBezTo>
                  <a:cubicBezTo>
                    <a:pt x="314" y="598"/>
                    <a:pt x="302" y="593"/>
                    <a:pt x="297" y="596"/>
                  </a:cubicBezTo>
                  <a:cubicBezTo>
                    <a:pt x="292" y="599"/>
                    <a:pt x="291" y="610"/>
                    <a:pt x="291" y="610"/>
                  </a:cubicBezTo>
                  <a:cubicBezTo>
                    <a:pt x="270" y="611"/>
                    <a:pt x="270" y="611"/>
                    <a:pt x="270" y="611"/>
                  </a:cubicBezTo>
                  <a:cubicBezTo>
                    <a:pt x="273" y="625"/>
                    <a:pt x="273" y="625"/>
                    <a:pt x="273" y="625"/>
                  </a:cubicBezTo>
                  <a:cubicBezTo>
                    <a:pt x="273" y="625"/>
                    <a:pt x="246" y="621"/>
                    <a:pt x="244" y="627"/>
                  </a:cubicBezTo>
                  <a:cubicBezTo>
                    <a:pt x="242" y="633"/>
                    <a:pt x="242" y="651"/>
                    <a:pt x="252" y="659"/>
                  </a:cubicBezTo>
                  <a:cubicBezTo>
                    <a:pt x="262" y="667"/>
                    <a:pt x="269" y="677"/>
                    <a:pt x="262" y="678"/>
                  </a:cubicBezTo>
                  <a:cubicBezTo>
                    <a:pt x="255" y="679"/>
                    <a:pt x="248" y="663"/>
                    <a:pt x="238" y="663"/>
                  </a:cubicBezTo>
                  <a:cubicBezTo>
                    <a:pt x="228" y="663"/>
                    <a:pt x="226" y="670"/>
                    <a:pt x="222" y="670"/>
                  </a:cubicBezTo>
                  <a:cubicBezTo>
                    <a:pt x="218" y="670"/>
                    <a:pt x="204" y="670"/>
                    <a:pt x="204" y="670"/>
                  </a:cubicBezTo>
                  <a:cubicBezTo>
                    <a:pt x="204" y="670"/>
                    <a:pt x="228" y="684"/>
                    <a:pt x="208" y="686"/>
                  </a:cubicBezTo>
                  <a:cubicBezTo>
                    <a:pt x="188" y="688"/>
                    <a:pt x="174" y="695"/>
                    <a:pt x="180" y="703"/>
                  </a:cubicBezTo>
                  <a:cubicBezTo>
                    <a:pt x="186" y="711"/>
                    <a:pt x="209" y="723"/>
                    <a:pt x="209" y="723"/>
                  </a:cubicBezTo>
                  <a:cubicBezTo>
                    <a:pt x="196" y="734"/>
                    <a:pt x="196" y="734"/>
                    <a:pt x="196" y="734"/>
                  </a:cubicBezTo>
                  <a:cubicBezTo>
                    <a:pt x="196" y="734"/>
                    <a:pt x="210" y="769"/>
                    <a:pt x="203" y="775"/>
                  </a:cubicBezTo>
                  <a:cubicBezTo>
                    <a:pt x="199" y="778"/>
                    <a:pt x="196" y="784"/>
                    <a:pt x="194" y="789"/>
                  </a:cubicBezTo>
                  <a:cubicBezTo>
                    <a:pt x="195" y="789"/>
                    <a:pt x="195" y="789"/>
                    <a:pt x="195" y="789"/>
                  </a:cubicBezTo>
                  <a:cubicBezTo>
                    <a:pt x="204" y="795"/>
                    <a:pt x="218" y="795"/>
                    <a:pt x="228" y="783"/>
                  </a:cubicBezTo>
                  <a:cubicBezTo>
                    <a:pt x="239" y="772"/>
                    <a:pt x="252" y="768"/>
                    <a:pt x="252" y="768"/>
                  </a:cubicBezTo>
                  <a:cubicBezTo>
                    <a:pt x="255" y="752"/>
                    <a:pt x="255" y="752"/>
                    <a:pt x="255" y="752"/>
                  </a:cubicBezTo>
                  <a:cubicBezTo>
                    <a:pt x="255" y="736"/>
                    <a:pt x="255" y="736"/>
                    <a:pt x="255" y="736"/>
                  </a:cubicBezTo>
                  <a:cubicBezTo>
                    <a:pt x="255" y="736"/>
                    <a:pt x="280" y="747"/>
                    <a:pt x="285" y="735"/>
                  </a:cubicBezTo>
                  <a:cubicBezTo>
                    <a:pt x="289" y="723"/>
                    <a:pt x="269" y="711"/>
                    <a:pt x="273" y="708"/>
                  </a:cubicBezTo>
                  <a:cubicBezTo>
                    <a:pt x="277" y="704"/>
                    <a:pt x="300" y="693"/>
                    <a:pt x="300" y="693"/>
                  </a:cubicBezTo>
                  <a:cubicBezTo>
                    <a:pt x="300" y="693"/>
                    <a:pt x="311" y="702"/>
                    <a:pt x="334" y="690"/>
                  </a:cubicBezTo>
                  <a:cubicBezTo>
                    <a:pt x="356" y="679"/>
                    <a:pt x="387" y="656"/>
                    <a:pt x="391" y="639"/>
                  </a:cubicBezTo>
                  <a:cubicBezTo>
                    <a:pt x="394" y="622"/>
                    <a:pt x="407" y="577"/>
                    <a:pt x="405" y="567"/>
                  </a:cubicBezTo>
                  <a:cubicBezTo>
                    <a:pt x="403" y="557"/>
                    <a:pt x="385" y="539"/>
                    <a:pt x="385" y="539"/>
                  </a:cubicBezTo>
                  <a:cubicBezTo>
                    <a:pt x="395" y="535"/>
                    <a:pt x="395" y="535"/>
                    <a:pt x="395" y="535"/>
                  </a:cubicBezTo>
                  <a:cubicBezTo>
                    <a:pt x="395" y="535"/>
                    <a:pt x="395" y="498"/>
                    <a:pt x="390" y="485"/>
                  </a:cubicBezTo>
                  <a:cubicBezTo>
                    <a:pt x="384" y="471"/>
                    <a:pt x="368" y="448"/>
                    <a:pt x="368" y="448"/>
                  </a:cubicBezTo>
                  <a:cubicBezTo>
                    <a:pt x="368" y="448"/>
                    <a:pt x="379" y="434"/>
                    <a:pt x="363" y="418"/>
                  </a:cubicBezTo>
                  <a:cubicBezTo>
                    <a:pt x="347" y="403"/>
                    <a:pt x="302" y="361"/>
                    <a:pt x="288" y="354"/>
                  </a:cubicBezTo>
                  <a:cubicBezTo>
                    <a:pt x="274" y="348"/>
                    <a:pt x="259" y="340"/>
                    <a:pt x="256" y="332"/>
                  </a:cubicBezTo>
                  <a:cubicBezTo>
                    <a:pt x="252" y="325"/>
                    <a:pt x="260" y="319"/>
                    <a:pt x="254" y="309"/>
                  </a:cubicBezTo>
                  <a:cubicBezTo>
                    <a:pt x="248" y="299"/>
                    <a:pt x="200" y="258"/>
                    <a:pt x="193" y="235"/>
                  </a:cubicBezTo>
                  <a:cubicBezTo>
                    <a:pt x="187" y="211"/>
                    <a:pt x="182" y="185"/>
                    <a:pt x="188" y="180"/>
                  </a:cubicBezTo>
                  <a:cubicBezTo>
                    <a:pt x="195" y="176"/>
                    <a:pt x="197" y="160"/>
                    <a:pt x="197" y="160"/>
                  </a:cubicBezTo>
                  <a:cubicBezTo>
                    <a:pt x="197" y="160"/>
                    <a:pt x="215" y="147"/>
                    <a:pt x="220" y="143"/>
                  </a:cubicBezTo>
                  <a:cubicBezTo>
                    <a:pt x="226" y="140"/>
                    <a:pt x="229" y="129"/>
                    <a:pt x="229" y="129"/>
                  </a:cubicBezTo>
                  <a:cubicBezTo>
                    <a:pt x="229" y="129"/>
                    <a:pt x="248" y="132"/>
                    <a:pt x="254" y="127"/>
                  </a:cubicBezTo>
                  <a:cubicBezTo>
                    <a:pt x="259" y="122"/>
                    <a:pt x="259" y="100"/>
                    <a:pt x="259" y="100"/>
                  </a:cubicBezTo>
                  <a:cubicBezTo>
                    <a:pt x="266" y="95"/>
                    <a:pt x="266" y="95"/>
                    <a:pt x="266" y="95"/>
                  </a:cubicBezTo>
                  <a:cubicBezTo>
                    <a:pt x="264" y="94"/>
                    <a:pt x="261" y="92"/>
                    <a:pt x="257" y="92"/>
                  </a:cubicBezTo>
                  <a:cubicBezTo>
                    <a:pt x="249" y="91"/>
                    <a:pt x="236" y="94"/>
                    <a:pt x="229" y="87"/>
                  </a:cubicBezTo>
                  <a:cubicBezTo>
                    <a:pt x="222" y="80"/>
                    <a:pt x="218" y="75"/>
                    <a:pt x="218" y="75"/>
                  </a:cubicBezTo>
                  <a:cubicBezTo>
                    <a:pt x="207" y="74"/>
                    <a:pt x="207" y="74"/>
                    <a:pt x="207" y="74"/>
                  </a:cubicBezTo>
                  <a:cubicBezTo>
                    <a:pt x="207" y="61"/>
                    <a:pt x="207" y="61"/>
                    <a:pt x="207" y="61"/>
                  </a:cubicBezTo>
                  <a:cubicBezTo>
                    <a:pt x="200" y="57"/>
                    <a:pt x="200" y="57"/>
                    <a:pt x="200" y="57"/>
                  </a:cubicBezTo>
                  <a:cubicBezTo>
                    <a:pt x="196" y="47"/>
                    <a:pt x="196" y="47"/>
                    <a:pt x="196" y="47"/>
                  </a:cubicBezTo>
                  <a:cubicBezTo>
                    <a:pt x="196" y="47"/>
                    <a:pt x="212" y="40"/>
                    <a:pt x="207" y="32"/>
                  </a:cubicBezTo>
                  <a:cubicBezTo>
                    <a:pt x="202" y="24"/>
                    <a:pt x="182" y="25"/>
                    <a:pt x="182" y="25"/>
                  </a:cubicBezTo>
                  <a:cubicBezTo>
                    <a:pt x="177" y="17"/>
                    <a:pt x="177" y="17"/>
                    <a:pt x="177" y="17"/>
                  </a:cubicBezTo>
                  <a:cubicBezTo>
                    <a:pt x="156" y="22"/>
                    <a:pt x="156" y="22"/>
                    <a:pt x="156" y="22"/>
                  </a:cubicBezTo>
                  <a:cubicBezTo>
                    <a:pt x="134" y="0"/>
                    <a:pt x="134" y="0"/>
                    <a:pt x="134" y="0"/>
                  </a:cubicBezTo>
                  <a:cubicBezTo>
                    <a:pt x="134" y="0"/>
                    <a:pt x="119" y="4"/>
                    <a:pt x="115" y="9"/>
                  </a:cubicBezTo>
                  <a:cubicBezTo>
                    <a:pt x="111" y="14"/>
                    <a:pt x="117" y="28"/>
                    <a:pt x="110" y="30"/>
                  </a:cubicBezTo>
                  <a:cubicBezTo>
                    <a:pt x="103" y="32"/>
                    <a:pt x="95" y="36"/>
                    <a:pt x="95" y="36"/>
                  </a:cubicBezTo>
                  <a:cubicBezTo>
                    <a:pt x="91" y="29"/>
                    <a:pt x="91" y="29"/>
                    <a:pt x="91" y="29"/>
                  </a:cubicBezTo>
                  <a:cubicBezTo>
                    <a:pt x="80" y="29"/>
                    <a:pt x="80" y="29"/>
                    <a:pt x="80" y="29"/>
                  </a:cubicBezTo>
                  <a:cubicBezTo>
                    <a:pt x="80" y="29"/>
                    <a:pt x="97" y="45"/>
                    <a:pt x="84" y="46"/>
                  </a:cubicBezTo>
                  <a:cubicBezTo>
                    <a:pt x="71" y="47"/>
                    <a:pt x="72" y="42"/>
                    <a:pt x="72" y="42"/>
                  </a:cubicBezTo>
                  <a:cubicBezTo>
                    <a:pt x="63" y="29"/>
                    <a:pt x="63" y="29"/>
                    <a:pt x="63" y="29"/>
                  </a:cubicBezTo>
                  <a:cubicBezTo>
                    <a:pt x="58" y="30"/>
                    <a:pt x="58" y="30"/>
                    <a:pt x="58" y="30"/>
                  </a:cubicBezTo>
                  <a:cubicBezTo>
                    <a:pt x="59" y="43"/>
                    <a:pt x="59" y="43"/>
                    <a:pt x="59" y="43"/>
                  </a:cubicBezTo>
                  <a:cubicBezTo>
                    <a:pt x="48" y="31"/>
                    <a:pt x="48" y="31"/>
                    <a:pt x="48" y="31"/>
                  </a:cubicBezTo>
                  <a:cubicBezTo>
                    <a:pt x="48" y="31"/>
                    <a:pt x="39" y="47"/>
                    <a:pt x="33" y="47"/>
                  </a:cubicBezTo>
                  <a:cubicBezTo>
                    <a:pt x="27" y="47"/>
                    <a:pt x="8" y="24"/>
                    <a:pt x="4" y="32"/>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89" name="Vanuatu">
              <a:extLst>
                <a:ext uri="{FF2B5EF4-FFF2-40B4-BE49-F238E27FC236}">
                  <a16:creationId xmlns:a16="http://schemas.microsoft.com/office/drawing/2014/main" id="{59D4FC8B-743A-4D2D-AAE0-D0495D05C0EB}"/>
                </a:ext>
              </a:extLst>
            </p:cNvPr>
            <p:cNvSpPr>
              <a:spLocks noEditPoints="1"/>
            </p:cNvSpPr>
            <p:nvPr/>
          </p:nvSpPr>
          <p:spPr bwMode="gray">
            <a:xfrm>
              <a:off x="9766644" y="4281897"/>
              <a:ext cx="138136" cy="131702"/>
            </a:xfrm>
            <a:custGeom>
              <a:avLst/>
              <a:gdLst>
                <a:gd name="T0" fmla="*/ 21 w 247"/>
                <a:gd name="T1" fmla="*/ 14 h 235"/>
                <a:gd name="T2" fmla="*/ 9 w 247"/>
                <a:gd name="T3" fmla="*/ 0 h 235"/>
                <a:gd name="T4" fmla="*/ 2 w 247"/>
                <a:gd name="T5" fmla="*/ 16 h 235"/>
                <a:gd name="T6" fmla="*/ 15 w 247"/>
                <a:gd name="T7" fmla="*/ 32 h 235"/>
                <a:gd name="T8" fmla="*/ 21 w 247"/>
                <a:gd name="T9" fmla="*/ 14 h 235"/>
                <a:gd name="T10" fmla="*/ 0 w 247"/>
                <a:gd name="T11" fmla="*/ 84 h 235"/>
                <a:gd name="T12" fmla="*/ 13 w 247"/>
                <a:gd name="T13" fmla="*/ 89 h 235"/>
                <a:gd name="T14" fmla="*/ 22 w 247"/>
                <a:gd name="T15" fmla="*/ 67 h 235"/>
                <a:gd name="T16" fmla="*/ 0 w 247"/>
                <a:gd name="T17" fmla="*/ 70 h 235"/>
                <a:gd name="T18" fmla="*/ 0 w 247"/>
                <a:gd name="T19" fmla="*/ 84 h 235"/>
                <a:gd name="T20" fmla="*/ 51 w 247"/>
                <a:gd name="T21" fmla="*/ 81 h 235"/>
                <a:gd name="T22" fmla="*/ 25 w 247"/>
                <a:gd name="T23" fmla="*/ 81 h 235"/>
                <a:gd name="T24" fmla="*/ 26 w 247"/>
                <a:gd name="T25" fmla="*/ 97 h 235"/>
                <a:gd name="T26" fmla="*/ 53 w 247"/>
                <a:gd name="T27" fmla="*/ 91 h 235"/>
                <a:gd name="T28" fmla="*/ 51 w 247"/>
                <a:gd name="T29" fmla="*/ 81 h 235"/>
                <a:gd name="T30" fmla="*/ 39 w 247"/>
                <a:gd name="T31" fmla="*/ 126 h 235"/>
                <a:gd name="T32" fmla="*/ 64 w 247"/>
                <a:gd name="T33" fmla="*/ 123 h 235"/>
                <a:gd name="T34" fmla="*/ 32 w 247"/>
                <a:gd name="T35" fmla="*/ 103 h 235"/>
                <a:gd name="T36" fmla="*/ 39 w 247"/>
                <a:gd name="T37" fmla="*/ 126 h 235"/>
                <a:gd name="T38" fmla="*/ 163 w 247"/>
                <a:gd name="T39" fmla="*/ 149 h 235"/>
                <a:gd name="T40" fmla="*/ 128 w 247"/>
                <a:gd name="T41" fmla="*/ 142 h 235"/>
                <a:gd name="T42" fmla="*/ 142 w 247"/>
                <a:gd name="T43" fmla="*/ 169 h 235"/>
                <a:gd name="T44" fmla="*/ 183 w 247"/>
                <a:gd name="T45" fmla="*/ 172 h 235"/>
                <a:gd name="T46" fmla="*/ 163 w 247"/>
                <a:gd name="T47" fmla="*/ 149 h 235"/>
                <a:gd name="T48" fmla="*/ 205 w 247"/>
                <a:gd name="T49" fmla="*/ 193 h 235"/>
                <a:gd name="T50" fmla="*/ 238 w 247"/>
                <a:gd name="T51" fmla="*/ 235 h 235"/>
                <a:gd name="T52" fmla="*/ 247 w 247"/>
                <a:gd name="T53" fmla="*/ 215 h 235"/>
                <a:gd name="T54" fmla="*/ 205 w 247"/>
                <a:gd name="T55" fmla="*/ 193 h 235"/>
                <a:gd name="T56" fmla="*/ 189 w 247"/>
                <a:gd name="T57" fmla="*/ 84 h 235"/>
                <a:gd name="T58" fmla="*/ 184 w 247"/>
                <a:gd name="T59" fmla="*/ 130 h 235"/>
                <a:gd name="T60" fmla="*/ 218 w 247"/>
                <a:gd name="T61" fmla="*/ 160 h 235"/>
                <a:gd name="T62" fmla="*/ 189 w 247"/>
                <a:gd name="T63" fmla="*/ 84 h 235"/>
                <a:gd name="T64" fmla="*/ 81 w 247"/>
                <a:gd name="T65" fmla="*/ 41 h 235"/>
                <a:gd name="T66" fmla="*/ 138 w 247"/>
                <a:gd name="T67" fmla="*/ 102 h 235"/>
                <a:gd name="T68" fmla="*/ 81 w 247"/>
                <a:gd name="T69"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7" h="235">
                  <a:moveTo>
                    <a:pt x="21" y="14"/>
                  </a:moveTo>
                  <a:cubicBezTo>
                    <a:pt x="9" y="0"/>
                    <a:pt x="9" y="0"/>
                    <a:pt x="9" y="0"/>
                  </a:cubicBezTo>
                  <a:cubicBezTo>
                    <a:pt x="2" y="16"/>
                    <a:pt x="2" y="16"/>
                    <a:pt x="2" y="16"/>
                  </a:cubicBezTo>
                  <a:cubicBezTo>
                    <a:pt x="15" y="32"/>
                    <a:pt x="15" y="32"/>
                    <a:pt x="15" y="32"/>
                  </a:cubicBezTo>
                  <a:lnTo>
                    <a:pt x="21" y="14"/>
                  </a:lnTo>
                  <a:close/>
                  <a:moveTo>
                    <a:pt x="0" y="84"/>
                  </a:moveTo>
                  <a:cubicBezTo>
                    <a:pt x="13" y="89"/>
                    <a:pt x="13" y="89"/>
                    <a:pt x="13" y="89"/>
                  </a:cubicBezTo>
                  <a:cubicBezTo>
                    <a:pt x="22" y="67"/>
                    <a:pt x="22" y="67"/>
                    <a:pt x="22" y="67"/>
                  </a:cubicBezTo>
                  <a:cubicBezTo>
                    <a:pt x="0" y="70"/>
                    <a:pt x="0" y="70"/>
                    <a:pt x="0" y="70"/>
                  </a:cubicBezTo>
                  <a:lnTo>
                    <a:pt x="0" y="84"/>
                  </a:lnTo>
                  <a:close/>
                  <a:moveTo>
                    <a:pt x="51" y="81"/>
                  </a:moveTo>
                  <a:cubicBezTo>
                    <a:pt x="25" y="81"/>
                    <a:pt x="25" y="81"/>
                    <a:pt x="25" y="81"/>
                  </a:cubicBezTo>
                  <a:cubicBezTo>
                    <a:pt x="26" y="97"/>
                    <a:pt x="26" y="97"/>
                    <a:pt x="26" y="97"/>
                  </a:cubicBezTo>
                  <a:cubicBezTo>
                    <a:pt x="53" y="91"/>
                    <a:pt x="53" y="91"/>
                    <a:pt x="53" y="91"/>
                  </a:cubicBezTo>
                  <a:lnTo>
                    <a:pt x="51" y="81"/>
                  </a:lnTo>
                  <a:close/>
                  <a:moveTo>
                    <a:pt x="39" y="126"/>
                  </a:moveTo>
                  <a:cubicBezTo>
                    <a:pt x="64" y="123"/>
                    <a:pt x="64" y="123"/>
                    <a:pt x="64" y="123"/>
                  </a:cubicBezTo>
                  <a:cubicBezTo>
                    <a:pt x="32" y="103"/>
                    <a:pt x="32" y="103"/>
                    <a:pt x="32" y="103"/>
                  </a:cubicBezTo>
                  <a:lnTo>
                    <a:pt x="39" y="126"/>
                  </a:lnTo>
                  <a:close/>
                  <a:moveTo>
                    <a:pt x="163" y="149"/>
                  </a:moveTo>
                  <a:cubicBezTo>
                    <a:pt x="145" y="139"/>
                    <a:pt x="128" y="142"/>
                    <a:pt x="128" y="142"/>
                  </a:cubicBezTo>
                  <a:cubicBezTo>
                    <a:pt x="128" y="142"/>
                    <a:pt x="124" y="161"/>
                    <a:pt x="142" y="169"/>
                  </a:cubicBezTo>
                  <a:cubicBezTo>
                    <a:pt x="168" y="180"/>
                    <a:pt x="183" y="172"/>
                    <a:pt x="183" y="172"/>
                  </a:cubicBezTo>
                  <a:cubicBezTo>
                    <a:pt x="183" y="172"/>
                    <a:pt x="182" y="160"/>
                    <a:pt x="163" y="149"/>
                  </a:cubicBezTo>
                  <a:close/>
                  <a:moveTo>
                    <a:pt x="205" y="193"/>
                  </a:moveTo>
                  <a:cubicBezTo>
                    <a:pt x="238" y="235"/>
                    <a:pt x="238" y="235"/>
                    <a:pt x="238" y="235"/>
                  </a:cubicBezTo>
                  <a:cubicBezTo>
                    <a:pt x="247" y="215"/>
                    <a:pt x="247" y="215"/>
                    <a:pt x="247" y="215"/>
                  </a:cubicBezTo>
                  <a:lnTo>
                    <a:pt x="205" y="193"/>
                  </a:lnTo>
                  <a:close/>
                  <a:moveTo>
                    <a:pt x="189" y="84"/>
                  </a:moveTo>
                  <a:cubicBezTo>
                    <a:pt x="189" y="84"/>
                    <a:pt x="178" y="119"/>
                    <a:pt x="184" y="130"/>
                  </a:cubicBezTo>
                  <a:cubicBezTo>
                    <a:pt x="191" y="140"/>
                    <a:pt x="218" y="160"/>
                    <a:pt x="218" y="160"/>
                  </a:cubicBezTo>
                  <a:lnTo>
                    <a:pt x="189" y="84"/>
                  </a:lnTo>
                  <a:close/>
                  <a:moveTo>
                    <a:pt x="81" y="41"/>
                  </a:moveTo>
                  <a:cubicBezTo>
                    <a:pt x="75" y="51"/>
                    <a:pt x="130" y="104"/>
                    <a:pt x="138" y="102"/>
                  </a:cubicBezTo>
                  <a:cubicBezTo>
                    <a:pt x="154" y="100"/>
                    <a:pt x="86" y="30"/>
                    <a:pt x="81" y="41"/>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15" name="Uzbekistan">
              <a:extLst>
                <a:ext uri="{FF2B5EF4-FFF2-40B4-BE49-F238E27FC236}">
                  <a16:creationId xmlns:a16="http://schemas.microsoft.com/office/drawing/2014/main" id="{3707859E-460F-4B0B-A334-24128B8829D2}"/>
                </a:ext>
              </a:extLst>
            </p:cNvPr>
            <p:cNvSpPr>
              <a:spLocks/>
            </p:cNvSpPr>
            <p:nvPr/>
          </p:nvSpPr>
          <p:spPr bwMode="gray">
            <a:xfrm>
              <a:off x="6975334" y="2715761"/>
              <a:ext cx="446164" cy="250709"/>
            </a:xfrm>
            <a:custGeom>
              <a:avLst/>
              <a:gdLst>
                <a:gd name="T0" fmla="*/ 764 w 798"/>
                <a:gd name="T1" fmla="*/ 243 h 447"/>
                <a:gd name="T2" fmla="*/ 745 w 798"/>
                <a:gd name="T3" fmla="*/ 230 h 447"/>
                <a:gd name="T4" fmla="*/ 721 w 798"/>
                <a:gd name="T5" fmla="*/ 212 h 447"/>
                <a:gd name="T6" fmla="*/ 712 w 798"/>
                <a:gd name="T7" fmla="*/ 222 h 447"/>
                <a:gd name="T8" fmla="*/ 689 w 798"/>
                <a:gd name="T9" fmla="*/ 229 h 447"/>
                <a:gd name="T10" fmla="*/ 660 w 798"/>
                <a:gd name="T11" fmla="*/ 212 h 447"/>
                <a:gd name="T12" fmla="*/ 690 w 798"/>
                <a:gd name="T13" fmla="*/ 175 h 447"/>
                <a:gd name="T14" fmla="*/ 653 w 798"/>
                <a:gd name="T15" fmla="*/ 185 h 447"/>
                <a:gd name="T16" fmla="*/ 623 w 798"/>
                <a:gd name="T17" fmla="*/ 208 h 447"/>
                <a:gd name="T18" fmla="*/ 596 w 798"/>
                <a:gd name="T19" fmla="*/ 236 h 447"/>
                <a:gd name="T20" fmla="*/ 573 w 798"/>
                <a:gd name="T21" fmla="*/ 259 h 447"/>
                <a:gd name="T22" fmla="*/ 509 w 798"/>
                <a:gd name="T23" fmla="*/ 228 h 447"/>
                <a:gd name="T24" fmla="*/ 469 w 798"/>
                <a:gd name="T25" fmla="*/ 188 h 447"/>
                <a:gd name="T26" fmla="*/ 441 w 798"/>
                <a:gd name="T27" fmla="*/ 136 h 447"/>
                <a:gd name="T28" fmla="*/ 379 w 798"/>
                <a:gd name="T29" fmla="*/ 105 h 447"/>
                <a:gd name="T30" fmla="*/ 272 w 798"/>
                <a:gd name="T31" fmla="*/ 108 h 447"/>
                <a:gd name="T32" fmla="*/ 177 w 798"/>
                <a:gd name="T33" fmla="*/ 38 h 447"/>
                <a:gd name="T34" fmla="*/ 174 w 798"/>
                <a:gd name="T35" fmla="*/ 75 h 447"/>
                <a:gd name="T36" fmla="*/ 149 w 798"/>
                <a:gd name="T37" fmla="*/ 55 h 447"/>
                <a:gd name="T38" fmla="*/ 145 w 798"/>
                <a:gd name="T39" fmla="*/ 23 h 447"/>
                <a:gd name="T40" fmla="*/ 106 w 798"/>
                <a:gd name="T41" fmla="*/ 20 h 447"/>
                <a:gd name="T42" fmla="*/ 116 w 798"/>
                <a:gd name="T43" fmla="*/ 45 h 447"/>
                <a:gd name="T44" fmla="*/ 92 w 798"/>
                <a:gd name="T45" fmla="*/ 37 h 447"/>
                <a:gd name="T46" fmla="*/ 103 w 798"/>
                <a:gd name="T47" fmla="*/ 3 h 447"/>
                <a:gd name="T48" fmla="*/ 0 w 798"/>
                <a:gd name="T49" fmla="*/ 31 h 447"/>
                <a:gd name="T50" fmla="*/ 37 w 798"/>
                <a:gd name="T51" fmla="*/ 217 h 447"/>
                <a:gd name="T52" fmla="*/ 92 w 798"/>
                <a:gd name="T53" fmla="*/ 224 h 447"/>
                <a:gd name="T54" fmla="*/ 112 w 798"/>
                <a:gd name="T55" fmla="*/ 175 h 447"/>
                <a:gd name="T56" fmla="*/ 139 w 798"/>
                <a:gd name="T57" fmla="*/ 169 h 447"/>
                <a:gd name="T58" fmla="*/ 139 w 798"/>
                <a:gd name="T59" fmla="*/ 152 h 447"/>
                <a:gd name="T60" fmla="*/ 155 w 798"/>
                <a:gd name="T61" fmla="*/ 161 h 447"/>
                <a:gd name="T62" fmla="*/ 169 w 798"/>
                <a:gd name="T63" fmla="*/ 168 h 447"/>
                <a:gd name="T64" fmla="*/ 201 w 798"/>
                <a:gd name="T65" fmla="*/ 173 h 447"/>
                <a:gd name="T66" fmla="*/ 219 w 798"/>
                <a:gd name="T67" fmla="*/ 197 h 447"/>
                <a:gd name="T68" fmla="*/ 243 w 798"/>
                <a:gd name="T69" fmla="*/ 227 h 447"/>
                <a:gd name="T70" fmla="*/ 279 w 798"/>
                <a:gd name="T71" fmla="*/ 225 h 447"/>
                <a:gd name="T72" fmla="*/ 312 w 798"/>
                <a:gd name="T73" fmla="*/ 256 h 447"/>
                <a:gd name="T74" fmla="*/ 336 w 798"/>
                <a:gd name="T75" fmla="*/ 293 h 447"/>
                <a:gd name="T76" fmla="*/ 381 w 798"/>
                <a:gd name="T77" fmla="*/ 319 h 447"/>
                <a:gd name="T78" fmla="*/ 417 w 798"/>
                <a:gd name="T79" fmla="*/ 348 h 447"/>
                <a:gd name="T80" fmla="*/ 444 w 798"/>
                <a:gd name="T81" fmla="*/ 357 h 447"/>
                <a:gd name="T82" fmla="*/ 476 w 798"/>
                <a:gd name="T83" fmla="*/ 376 h 447"/>
                <a:gd name="T84" fmla="*/ 516 w 798"/>
                <a:gd name="T85" fmla="*/ 387 h 447"/>
                <a:gd name="T86" fmla="*/ 548 w 798"/>
                <a:gd name="T87" fmla="*/ 425 h 447"/>
                <a:gd name="T88" fmla="*/ 563 w 798"/>
                <a:gd name="T89" fmla="*/ 437 h 447"/>
                <a:gd name="T90" fmla="*/ 580 w 798"/>
                <a:gd name="T91" fmla="*/ 445 h 447"/>
                <a:gd name="T92" fmla="*/ 596 w 798"/>
                <a:gd name="T93" fmla="*/ 440 h 447"/>
                <a:gd name="T94" fmla="*/ 603 w 798"/>
                <a:gd name="T95" fmla="*/ 445 h 447"/>
                <a:gd name="T96" fmla="*/ 622 w 798"/>
                <a:gd name="T97" fmla="*/ 397 h 447"/>
                <a:gd name="T98" fmla="*/ 603 w 798"/>
                <a:gd name="T99" fmla="*/ 353 h 447"/>
                <a:gd name="T100" fmla="*/ 575 w 798"/>
                <a:gd name="T101" fmla="*/ 339 h 447"/>
                <a:gd name="T102" fmla="*/ 567 w 798"/>
                <a:gd name="T103" fmla="*/ 321 h 447"/>
                <a:gd name="T104" fmla="*/ 610 w 798"/>
                <a:gd name="T105" fmla="*/ 305 h 447"/>
                <a:gd name="T106" fmla="*/ 607 w 798"/>
                <a:gd name="T107" fmla="*/ 282 h 447"/>
                <a:gd name="T108" fmla="*/ 626 w 798"/>
                <a:gd name="T109" fmla="*/ 264 h 447"/>
                <a:gd name="T110" fmla="*/ 652 w 798"/>
                <a:gd name="T111" fmla="*/ 260 h 447"/>
                <a:gd name="T112" fmla="*/ 694 w 798"/>
                <a:gd name="T113" fmla="*/ 251 h 447"/>
                <a:gd name="T114" fmla="*/ 701 w 798"/>
                <a:gd name="T115" fmla="*/ 283 h 447"/>
                <a:gd name="T116" fmla="*/ 741 w 798"/>
                <a:gd name="T117" fmla="*/ 286 h 447"/>
                <a:gd name="T118" fmla="*/ 766 w 798"/>
                <a:gd name="T119" fmla="*/ 271 h 447"/>
                <a:gd name="T120" fmla="*/ 788 w 798"/>
                <a:gd name="T121" fmla="*/ 254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8" h="447">
                  <a:moveTo>
                    <a:pt x="769" y="248"/>
                  </a:moveTo>
                  <a:cubicBezTo>
                    <a:pt x="764" y="243"/>
                    <a:pt x="764" y="243"/>
                    <a:pt x="764" y="243"/>
                  </a:cubicBezTo>
                  <a:cubicBezTo>
                    <a:pt x="751" y="241"/>
                    <a:pt x="751" y="241"/>
                    <a:pt x="751" y="241"/>
                  </a:cubicBezTo>
                  <a:cubicBezTo>
                    <a:pt x="745" y="230"/>
                    <a:pt x="745" y="230"/>
                    <a:pt x="745" y="230"/>
                  </a:cubicBezTo>
                  <a:cubicBezTo>
                    <a:pt x="732" y="230"/>
                    <a:pt x="732" y="230"/>
                    <a:pt x="732" y="230"/>
                  </a:cubicBezTo>
                  <a:cubicBezTo>
                    <a:pt x="721" y="212"/>
                    <a:pt x="721" y="212"/>
                    <a:pt x="721" y="212"/>
                  </a:cubicBezTo>
                  <a:cubicBezTo>
                    <a:pt x="721" y="222"/>
                    <a:pt x="721" y="222"/>
                    <a:pt x="721" y="222"/>
                  </a:cubicBezTo>
                  <a:cubicBezTo>
                    <a:pt x="712" y="222"/>
                    <a:pt x="712" y="222"/>
                    <a:pt x="712" y="222"/>
                  </a:cubicBezTo>
                  <a:cubicBezTo>
                    <a:pt x="713" y="231"/>
                    <a:pt x="713" y="231"/>
                    <a:pt x="713" y="231"/>
                  </a:cubicBezTo>
                  <a:cubicBezTo>
                    <a:pt x="713" y="231"/>
                    <a:pt x="694" y="233"/>
                    <a:pt x="689" y="229"/>
                  </a:cubicBezTo>
                  <a:cubicBezTo>
                    <a:pt x="684" y="225"/>
                    <a:pt x="683" y="220"/>
                    <a:pt x="683" y="220"/>
                  </a:cubicBezTo>
                  <a:cubicBezTo>
                    <a:pt x="660" y="212"/>
                    <a:pt x="660" y="212"/>
                    <a:pt x="660" y="212"/>
                  </a:cubicBezTo>
                  <a:cubicBezTo>
                    <a:pt x="660" y="212"/>
                    <a:pt x="696" y="183"/>
                    <a:pt x="694" y="178"/>
                  </a:cubicBezTo>
                  <a:cubicBezTo>
                    <a:pt x="693" y="177"/>
                    <a:pt x="692" y="176"/>
                    <a:pt x="690" y="175"/>
                  </a:cubicBezTo>
                  <a:cubicBezTo>
                    <a:pt x="671" y="184"/>
                    <a:pt x="671" y="184"/>
                    <a:pt x="671" y="184"/>
                  </a:cubicBezTo>
                  <a:cubicBezTo>
                    <a:pt x="653" y="185"/>
                    <a:pt x="653" y="185"/>
                    <a:pt x="653" y="185"/>
                  </a:cubicBezTo>
                  <a:cubicBezTo>
                    <a:pt x="645" y="203"/>
                    <a:pt x="645" y="203"/>
                    <a:pt x="645" y="203"/>
                  </a:cubicBezTo>
                  <a:cubicBezTo>
                    <a:pt x="645" y="203"/>
                    <a:pt x="633" y="205"/>
                    <a:pt x="623" y="208"/>
                  </a:cubicBezTo>
                  <a:cubicBezTo>
                    <a:pt x="612" y="211"/>
                    <a:pt x="613" y="229"/>
                    <a:pt x="613" y="229"/>
                  </a:cubicBezTo>
                  <a:cubicBezTo>
                    <a:pt x="613" y="229"/>
                    <a:pt x="605" y="229"/>
                    <a:pt x="596" y="236"/>
                  </a:cubicBezTo>
                  <a:cubicBezTo>
                    <a:pt x="587" y="243"/>
                    <a:pt x="595" y="267"/>
                    <a:pt x="595" y="267"/>
                  </a:cubicBezTo>
                  <a:cubicBezTo>
                    <a:pt x="595" y="267"/>
                    <a:pt x="584" y="261"/>
                    <a:pt x="573" y="259"/>
                  </a:cubicBezTo>
                  <a:cubicBezTo>
                    <a:pt x="563" y="256"/>
                    <a:pt x="580" y="243"/>
                    <a:pt x="573" y="233"/>
                  </a:cubicBezTo>
                  <a:cubicBezTo>
                    <a:pt x="567" y="224"/>
                    <a:pt x="520" y="233"/>
                    <a:pt x="509" y="228"/>
                  </a:cubicBezTo>
                  <a:cubicBezTo>
                    <a:pt x="499" y="223"/>
                    <a:pt x="497" y="199"/>
                    <a:pt x="488" y="188"/>
                  </a:cubicBezTo>
                  <a:cubicBezTo>
                    <a:pt x="479" y="177"/>
                    <a:pt x="479" y="191"/>
                    <a:pt x="469" y="188"/>
                  </a:cubicBezTo>
                  <a:cubicBezTo>
                    <a:pt x="460" y="185"/>
                    <a:pt x="467" y="137"/>
                    <a:pt x="461" y="136"/>
                  </a:cubicBezTo>
                  <a:cubicBezTo>
                    <a:pt x="456" y="135"/>
                    <a:pt x="441" y="136"/>
                    <a:pt x="441" y="136"/>
                  </a:cubicBezTo>
                  <a:cubicBezTo>
                    <a:pt x="441" y="136"/>
                    <a:pt x="411" y="93"/>
                    <a:pt x="404" y="93"/>
                  </a:cubicBezTo>
                  <a:cubicBezTo>
                    <a:pt x="397" y="93"/>
                    <a:pt x="379" y="105"/>
                    <a:pt x="379" y="105"/>
                  </a:cubicBezTo>
                  <a:cubicBezTo>
                    <a:pt x="379" y="105"/>
                    <a:pt x="341" y="101"/>
                    <a:pt x="325" y="101"/>
                  </a:cubicBezTo>
                  <a:cubicBezTo>
                    <a:pt x="309" y="101"/>
                    <a:pt x="272" y="108"/>
                    <a:pt x="272" y="108"/>
                  </a:cubicBezTo>
                  <a:cubicBezTo>
                    <a:pt x="223" y="60"/>
                    <a:pt x="223" y="60"/>
                    <a:pt x="223" y="60"/>
                  </a:cubicBezTo>
                  <a:cubicBezTo>
                    <a:pt x="177" y="38"/>
                    <a:pt x="177" y="38"/>
                    <a:pt x="177" y="38"/>
                  </a:cubicBezTo>
                  <a:cubicBezTo>
                    <a:pt x="181" y="47"/>
                    <a:pt x="186" y="56"/>
                    <a:pt x="183" y="61"/>
                  </a:cubicBezTo>
                  <a:cubicBezTo>
                    <a:pt x="178" y="70"/>
                    <a:pt x="174" y="75"/>
                    <a:pt x="174" y="75"/>
                  </a:cubicBezTo>
                  <a:cubicBezTo>
                    <a:pt x="174" y="75"/>
                    <a:pt x="162" y="76"/>
                    <a:pt x="154" y="70"/>
                  </a:cubicBezTo>
                  <a:cubicBezTo>
                    <a:pt x="146" y="64"/>
                    <a:pt x="149" y="55"/>
                    <a:pt x="149" y="55"/>
                  </a:cubicBezTo>
                  <a:cubicBezTo>
                    <a:pt x="142" y="36"/>
                    <a:pt x="142" y="36"/>
                    <a:pt x="142" y="36"/>
                  </a:cubicBezTo>
                  <a:cubicBezTo>
                    <a:pt x="145" y="23"/>
                    <a:pt x="145" y="23"/>
                    <a:pt x="145" y="23"/>
                  </a:cubicBezTo>
                  <a:cubicBezTo>
                    <a:pt x="112" y="7"/>
                    <a:pt x="112" y="7"/>
                    <a:pt x="112" y="7"/>
                  </a:cubicBezTo>
                  <a:cubicBezTo>
                    <a:pt x="106" y="20"/>
                    <a:pt x="106" y="20"/>
                    <a:pt x="106" y="20"/>
                  </a:cubicBezTo>
                  <a:cubicBezTo>
                    <a:pt x="106" y="20"/>
                    <a:pt x="119" y="28"/>
                    <a:pt x="119" y="37"/>
                  </a:cubicBezTo>
                  <a:cubicBezTo>
                    <a:pt x="119" y="46"/>
                    <a:pt x="116" y="45"/>
                    <a:pt x="116" y="45"/>
                  </a:cubicBezTo>
                  <a:cubicBezTo>
                    <a:pt x="116" y="45"/>
                    <a:pt x="117" y="55"/>
                    <a:pt x="106" y="57"/>
                  </a:cubicBezTo>
                  <a:cubicBezTo>
                    <a:pt x="95" y="59"/>
                    <a:pt x="98" y="39"/>
                    <a:pt x="92" y="37"/>
                  </a:cubicBezTo>
                  <a:cubicBezTo>
                    <a:pt x="86" y="35"/>
                    <a:pt x="99" y="21"/>
                    <a:pt x="99" y="21"/>
                  </a:cubicBezTo>
                  <a:cubicBezTo>
                    <a:pt x="103" y="3"/>
                    <a:pt x="103" y="3"/>
                    <a:pt x="103" y="3"/>
                  </a:cubicBezTo>
                  <a:cubicBezTo>
                    <a:pt x="96" y="0"/>
                    <a:pt x="96" y="0"/>
                    <a:pt x="96" y="0"/>
                  </a:cubicBezTo>
                  <a:cubicBezTo>
                    <a:pt x="0" y="31"/>
                    <a:pt x="0" y="31"/>
                    <a:pt x="0" y="31"/>
                  </a:cubicBezTo>
                  <a:cubicBezTo>
                    <a:pt x="35" y="218"/>
                    <a:pt x="35" y="218"/>
                    <a:pt x="35" y="218"/>
                  </a:cubicBezTo>
                  <a:cubicBezTo>
                    <a:pt x="36" y="218"/>
                    <a:pt x="36" y="217"/>
                    <a:pt x="37" y="217"/>
                  </a:cubicBezTo>
                  <a:cubicBezTo>
                    <a:pt x="44" y="217"/>
                    <a:pt x="48" y="224"/>
                    <a:pt x="48" y="224"/>
                  </a:cubicBezTo>
                  <a:cubicBezTo>
                    <a:pt x="92" y="224"/>
                    <a:pt x="92" y="224"/>
                    <a:pt x="92" y="224"/>
                  </a:cubicBezTo>
                  <a:cubicBezTo>
                    <a:pt x="92" y="224"/>
                    <a:pt x="77" y="208"/>
                    <a:pt x="79" y="195"/>
                  </a:cubicBezTo>
                  <a:cubicBezTo>
                    <a:pt x="80" y="181"/>
                    <a:pt x="112" y="175"/>
                    <a:pt x="112" y="175"/>
                  </a:cubicBezTo>
                  <a:cubicBezTo>
                    <a:pt x="112" y="175"/>
                    <a:pt x="112" y="164"/>
                    <a:pt x="116" y="163"/>
                  </a:cubicBezTo>
                  <a:cubicBezTo>
                    <a:pt x="120" y="161"/>
                    <a:pt x="139" y="169"/>
                    <a:pt x="139" y="169"/>
                  </a:cubicBezTo>
                  <a:cubicBezTo>
                    <a:pt x="119" y="151"/>
                    <a:pt x="119" y="151"/>
                    <a:pt x="119" y="151"/>
                  </a:cubicBezTo>
                  <a:cubicBezTo>
                    <a:pt x="139" y="152"/>
                    <a:pt x="139" y="152"/>
                    <a:pt x="139" y="152"/>
                  </a:cubicBezTo>
                  <a:cubicBezTo>
                    <a:pt x="143" y="145"/>
                    <a:pt x="143" y="145"/>
                    <a:pt x="143" y="145"/>
                  </a:cubicBezTo>
                  <a:cubicBezTo>
                    <a:pt x="155" y="161"/>
                    <a:pt x="155" y="161"/>
                    <a:pt x="155" y="161"/>
                  </a:cubicBezTo>
                  <a:cubicBezTo>
                    <a:pt x="171" y="160"/>
                    <a:pt x="171" y="160"/>
                    <a:pt x="171" y="160"/>
                  </a:cubicBezTo>
                  <a:cubicBezTo>
                    <a:pt x="169" y="168"/>
                    <a:pt x="169" y="168"/>
                    <a:pt x="169" y="168"/>
                  </a:cubicBezTo>
                  <a:cubicBezTo>
                    <a:pt x="179" y="172"/>
                    <a:pt x="179" y="172"/>
                    <a:pt x="179" y="172"/>
                  </a:cubicBezTo>
                  <a:cubicBezTo>
                    <a:pt x="179" y="172"/>
                    <a:pt x="192" y="169"/>
                    <a:pt x="201" y="173"/>
                  </a:cubicBezTo>
                  <a:cubicBezTo>
                    <a:pt x="211" y="177"/>
                    <a:pt x="209" y="192"/>
                    <a:pt x="209" y="192"/>
                  </a:cubicBezTo>
                  <a:cubicBezTo>
                    <a:pt x="219" y="197"/>
                    <a:pt x="219" y="197"/>
                    <a:pt x="219" y="197"/>
                  </a:cubicBezTo>
                  <a:cubicBezTo>
                    <a:pt x="219" y="197"/>
                    <a:pt x="207" y="209"/>
                    <a:pt x="212" y="219"/>
                  </a:cubicBezTo>
                  <a:cubicBezTo>
                    <a:pt x="217" y="228"/>
                    <a:pt x="243" y="227"/>
                    <a:pt x="243" y="227"/>
                  </a:cubicBezTo>
                  <a:cubicBezTo>
                    <a:pt x="279" y="231"/>
                    <a:pt x="279" y="231"/>
                    <a:pt x="279" y="231"/>
                  </a:cubicBezTo>
                  <a:cubicBezTo>
                    <a:pt x="279" y="225"/>
                    <a:pt x="279" y="225"/>
                    <a:pt x="279" y="225"/>
                  </a:cubicBezTo>
                  <a:cubicBezTo>
                    <a:pt x="303" y="237"/>
                    <a:pt x="303" y="237"/>
                    <a:pt x="303" y="237"/>
                  </a:cubicBezTo>
                  <a:cubicBezTo>
                    <a:pt x="312" y="256"/>
                    <a:pt x="312" y="256"/>
                    <a:pt x="312" y="256"/>
                  </a:cubicBezTo>
                  <a:cubicBezTo>
                    <a:pt x="325" y="271"/>
                    <a:pt x="325" y="271"/>
                    <a:pt x="325" y="271"/>
                  </a:cubicBezTo>
                  <a:cubicBezTo>
                    <a:pt x="325" y="271"/>
                    <a:pt x="333" y="283"/>
                    <a:pt x="336" y="293"/>
                  </a:cubicBezTo>
                  <a:cubicBezTo>
                    <a:pt x="339" y="304"/>
                    <a:pt x="351" y="309"/>
                    <a:pt x="357" y="312"/>
                  </a:cubicBezTo>
                  <a:cubicBezTo>
                    <a:pt x="364" y="315"/>
                    <a:pt x="377" y="317"/>
                    <a:pt x="381" y="319"/>
                  </a:cubicBezTo>
                  <a:cubicBezTo>
                    <a:pt x="385" y="320"/>
                    <a:pt x="397" y="336"/>
                    <a:pt x="397" y="336"/>
                  </a:cubicBezTo>
                  <a:cubicBezTo>
                    <a:pt x="417" y="348"/>
                    <a:pt x="417" y="348"/>
                    <a:pt x="417" y="348"/>
                  </a:cubicBezTo>
                  <a:cubicBezTo>
                    <a:pt x="435" y="349"/>
                    <a:pt x="435" y="349"/>
                    <a:pt x="435" y="349"/>
                  </a:cubicBezTo>
                  <a:cubicBezTo>
                    <a:pt x="444" y="357"/>
                    <a:pt x="444" y="357"/>
                    <a:pt x="444" y="357"/>
                  </a:cubicBezTo>
                  <a:cubicBezTo>
                    <a:pt x="455" y="360"/>
                    <a:pt x="455" y="360"/>
                    <a:pt x="455" y="360"/>
                  </a:cubicBezTo>
                  <a:cubicBezTo>
                    <a:pt x="455" y="360"/>
                    <a:pt x="469" y="371"/>
                    <a:pt x="476" y="376"/>
                  </a:cubicBezTo>
                  <a:cubicBezTo>
                    <a:pt x="483" y="381"/>
                    <a:pt x="501" y="389"/>
                    <a:pt x="501" y="389"/>
                  </a:cubicBezTo>
                  <a:cubicBezTo>
                    <a:pt x="516" y="387"/>
                    <a:pt x="516" y="387"/>
                    <a:pt x="516" y="387"/>
                  </a:cubicBezTo>
                  <a:cubicBezTo>
                    <a:pt x="549" y="405"/>
                    <a:pt x="549" y="405"/>
                    <a:pt x="549" y="405"/>
                  </a:cubicBezTo>
                  <a:cubicBezTo>
                    <a:pt x="549" y="405"/>
                    <a:pt x="537" y="417"/>
                    <a:pt x="548" y="425"/>
                  </a:cubicBezTo>
                  <a:cubicBezTo>
                    <a:pt x="554" y="430"/>
                    <a:pt x="555" y="434"/>
                    <a:pt x="555" y="437"/>
                  </a:cubicBezTo>
                  <a:cubicBezTo>
                    <a:pt x="563" y="437"/>
                    <a:pt x="563" y="437"/>
                    <a:pt x="563" y="437"/>
                  </a:cubicBezTo>
                  <a:cubicBezTo>
                    <a:pt x="571" y="431"/>
                    <a:pt x="571" y="431"/>
                    <a:pt x="571" y="431"/>
                  </a:cubicBezTo>
                  <a:cubicBezTo>
                    <a:pt x="580" y="445"/>
                    <a:pt x="580" y="445"/>
                    <a:pt x="580" y="445"/>
                  </a:cubicBezTo>
                  <a:cubicBezTo>
                    <a:pt x="591" y="440"/>
                    <a:pt x="591" y="440"/>
                    <a:pt x="591" y="440"/>
                  </a:cubicBezTo>
                  <a:cubicBezTo>
                    <a:pt x="596" y="440"/>
                    <a:pt x="596" y="440"/>
                    <a:pt x="596" y="440"/>
                  </a:cubicBezTo>
                  <a:cubicBezTo>
                    <a:pt x="596" y="440"/>
                    <a:pt x="600" y="443"/>
                    <a:pt x="605" y="447"/>
                  </a:cubicBezTo>
                  <a:cubicBezTo>
                    <a:pt x="604" y="446"/>
                    <a:pt x="603" y="446"/>
                    <a:pt x="603" y="445"/>
                  </a:cubicBezTo>
                  <a:cubicBezTo>
                    <a:pt x="602" y="439"/>
                    <a:pt x="601" y="430"/>
                    <a:pt x="605" y="426"/>
                  </a:cubicBezTo>
                  <a:cubicBezTo>
                    <a:pt x="612" y="418"/>
                    <a:pt x="622" y="408"/>
                    <a:pt x="622" y="397"/>
                  </a:cubicBezTo>
                  <a:cubicBezTo>
                    <a:pt x="622" y="386"/>
                    <a:pt x="609" y="387"/>
                    <a:pt x="603" y="377"/>
                  </a:cubicBezTo>
                  <a:cubicBezTo>
                    <a:pt x="597" y="367"/>
                    <a:pt x="608" y="358"/>
                    <a:pt x="603" y="353"/>
                  </a:cubicBezTo>
                  <a:cubicBezTo>
                    <a:pt x="598" y="348"/>
                    <a:pt x="582" y="347"/>
                    <a:pt x="582" y="347"/>
                  </a:cubicBezTo>
                  <a:cubicBezTo>
                    <a:pt x="575" y="339"/>
                    <a:pt x="575" y="339"/>
                    <a:pt x="575" y="339"/>
                  </a:cubicBezTo>
                  <a:cubicBezTo>
                    <a:pt x="561" y="336"/>
                    <a:pt x="561" y="336"/>
                    <a:pt x="561" y="336"/>
                  </a:cubicBezTo>
                  <a:cubicBezTo>
                    <a:pt x="561" y="336"/>
                    <a:pt x="561" y="326"/>
                    <a:pt x="567" y="321"/>
                  </a:cubicBezTo>
                  <a:cubicBezTo>
                    <a:pt x="573" y="316"/>
                    <a:pt x="592" y="328"/>
                    <a:pt x="607" y="319"/>
                  </a:cubicBezTo>
                  <a:cubicBezTo>
                    <a:pt x="622" y="310"/>
                    <a:pt x="610" y="305"/>
                    <a:pt x="610" y="305"/>
                  </a:cubicBezTo>
                  <a:cubicBezTo>
                    <a:pt x="620" y="296"/>
                    <a:pt x="620" y="296"/>
                    <a:pt x="620" y="296"/>
                  </a:cubicBezTo>
                  <a:cubicBezTo>
                    <a:pt x="607" y="282"/>
                    <a:pt x="607" y="282"/>
                    <a:pt x="607" y="282"/>
                  </a:cubicBezTo>
                  <a:cubicBezTo>
                    <a:pt x="607" y="282"/>
                    <a:pt x="626" y="287"/>
                    <a:pt x="632" y="281"/>
                  </a:cubicBezTo>
                  <a:cubicBezTo>
                    <a:pt x="638" y="275"/>
                    <a:pt x="625" y="268"/>
                    <a:pt x="626" y="264"/>
                  </a:cubicBezTo>
                  <a:cubicBezTo>
                    <a:pt x="627" y="260"/>
                    <a:pt x="629" y="251"/>
                    <a:pt x="635" y="251"/>
                  </a:cubicBezTo>
                  <a:cubicBezTo>
                    <a:pt x="641" y="251"/>
                    <a:pt x="644" y="265"/>
                    <a:pt x="652" y="260"/>
                  </a:cubicBezTo>
                  <a:cubicBezTo>
                    <a:pt x="660" y="255"/>
                    <a:pt x="671" y="243"/>
                    <a:pt x="675" y="241"/>
                  </a:cubicBezTo>
                  <a:cubicBezTo>
                    <a:pt x="679" y="239"/>
                    <a:pt x="694" y="251"/>
                    <a:pt x="694" y="251"/>
                  </a:cubicBezTo>
                  <a:cubicBezTo>
                    <a:pt x="678" y="272"/>
                    <a:pt x="678" y="272"/>
                    <a:pt x="678" y="272"/>
                  </a:cubicBezTo>
                  <a:cubicBezTo>
                    <a:pt x="678" y="272"/>
                    <a:pt x="698" y="278"/>
                    <a:pt x="701" y="283"/>
                  </a:cubicBezTo>
                  <a:cubicBezTo>
                    <a:pt x="708" y="280"/>
                    <a:pt x="717" y="277"/>
                    <a:pt x="721" y="276"/>
                  </a:cubicBezTo>
                  <a:cubicBezTo>
                    <a:pt x="728" y="274"/>
                    <a:pt x="732" y="290"/>
                    <a:pt x="741" y="286"/>
                  </a:cubicBezTo>
                  <a:cubicBezTo>
                    <a:pt x="750" y="282"/>
                    <a:pt x="752" y="273"/>
                    <a:pt x="752" y="273"/>
                  </a:cubicBezTo>
                  <a:cubicBezTo>
                    <a:pt x="766" y="271"/>
                    <a:pt x="766" y="271"/>
                    <a:pt x="766" y="271"/>
                  </a:cubicBezTo>
                  <a:cubicBezTo>
                    <a:pt x="766" y="265"/>
                    <a:pt x="766" y="265"/>
                    <a:pt x="766" y="265"/>
                  </a:cubicBezTo>
                  <a:cubicBezTo>
                    <a:pt x="766" y="265"/>
                    <a:pt x="778" y="266"/>
                    <a:pt x="788" y="254"/>
                  </a:cubicBezTo>
                  <a:cubicBezTo>
                    <a:pt x="798" y="242"/>
                    <a:pt x="769" y="248"/>
                    <a:pt x="769" y="248"/>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84" name="United Arab Emirates">
              <a:extLst>
                <a:ext uri="{FF2B5EF4-FFF2-40B4-BE49-F238E27FC236}">
                  <a16:creationId xmlns:a16="http://schemas.microsoft.com/office/drawing/2014/main" id="{A76C16A5-4F5B-424C-BC86-770C64D30067}"/>
                </a:ext>
              </a:extLst>
            </p:cNvPr>
            <p:cNvSpPr>
              <a:spLocks/>
            </p:cNvSpPr>
            <p:nvPr/>
          </p:nvSpPr>
          <p:spPr bwMode="gray">
            <a:xfrm>
              <a:off x="6956281" y="3283822"/>
              <a:ext cx="125434" cy="119008"/>
            </a:xfrm>
            <a:custGeom>
              <a:avLst/>
              <a:gdLst>
                <a:gd name="T0" fmla="*/ 198 w 224"/>
                <a:gd name="T1" fmla="*/ 84 h 215"/>
                <a:gd name="T2" fmla="*/ 208 w 224"/>
                <a:gd name="T3" fmla="*/ 97 h 215"/>
                <a:gd name="T4" fmla="*/ 224 w 224"/>
                <a:gd name="T5" fmla="*/ 91 h 215"/>
                <a:gd name="T6" fmla="*/ 214 w 224"/>
                <a:gd name="T7" fmla="*/ 51 h 215"/>
                <a:gd name="T8" fmla="*/ 215 w 224"/>
                <a:gd name="T9" fmla="*/ 3 h 215"/>
                <a:gd name="T10" fmla="*/ 186 w 224"/>
                <a:gd name="T11" fmla="*/ 51 h 215"/>
                <a:gd name="T12" fmla="*/ 166 w 224"/>
                <a:gd name="T13" fmla="*/ 61 h 215"/>
                <a:gd name="T14" fmla="*/ 131 w 224"/>
                <a:gd name="T15" fmla="*/ 102 h 215"/>
                <a:gd name="T16" fmla="*/ 122 w 224"/>
                <a:gd name="T17" fmla="*/ 131 h 215"/>
                <a:gd name="T18" fmla="*/ 62 w 224"/>
                <a:gd name="T19" fmla="*/ 127 h 215"/>
                <a:gd name="T20" fmla="*/ 16 w 224"/>
                <a:gd name="T21" fmla="*/ 140 h 215"/>
                <a:gd name="T22" fmla="*/ 1 w 224"/>
                <a:gd name="T23" fmla="*/ 127 h 215"/>
                <a:gd name="T24" fmla="*/ 5 w 224"/>
                <a:gd name="T25" fmla="*/ 145 h 215"/>
                <a:gd name="T26" fmla="*/ 52 w 224"/>
                <a:gd name="T27" fmla="*/ 200 h 215"/>
                <a:gd name="T28" fmla="*/ 177 w 224"/>
                <a:gd name="T29" fmla="*/ 215 h 215"/>
                <a:gd name="T30" fmla="*/ 168 w 224"/>
                <a:gd name="T31" fmla="*/ 192 h 215"/>
                <a:gd name="T32" fmla="*/ 181 w 224"/>
                <a:gd name="T33" fmla="*/ 163 h 215"/>
                <a:gd name="T34" fmla="*/ 189 w 224"/>
                <a:gd name="T35" fmla="*/ 136 h 215"/>
                <a:gd name="T36" fmla="*/ 201 w 224"/>
                <a:gd name="T37" fmla="*/ 135 h 215"/>
                <a:gd name="T38" fmla="*/ 191 w 224"/>
                <a:gd name="T39" fmla="*/ 118 h 215"/>
                <a:gd name="T40" fmla="*/ 198 w 224"/>
                <a:gd name="T41" fmla="*/ 8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15">
                  <a:moveTo>
                    <a:pt x="198" y="84"/>
                  </a:moveTo>
                  <a:cubicBezTo>
                    <a:pt x="202" y="84"/>
                    <a:pt x="208" y="97"/>
                    <a:pt x="208" y="97"/>
                  </a:cubicBezTo>
                  <a:cubicBezTo>
                    <a:pt x="224" y="91"/>
                    <a:pt x="224" y="91"/>
                    <a:pt x="224" y="91"/>
                  </a:cubicBezTo>
                  <a:cubicBezTo>
                    <a:pt x="219" y="78"/>
                    <a:pt x="212" y="63"/>
                    <a:pt x="214" y="51"/>
                  </a:cubicBezTo>
                  <a:cubicBezTo>
                    <a:pt x="217" y="34"/>
                    <a:pt x="222" y="6"/>
                    <a:pt x="215" y="3"/>
                  </a:cubicBezTo>
                  <a:cubicBezTo>
                    <a:pt x="207" y="0"/>
                    <a:pt x="186" y="51"/>
                    <a:pt x="186" y="51"/>
                  </a:cubicBezTo>
                  <a:cubicBezTo>
                    <a:pt x="186" y="51"/>
                    <a:pt x="172" y="53"/>
                    <a:pt x="166" y="61"/>
                  </a:cubicBezTo>
                  <a:cubicBezTo>
                    <a:pt x="161" y="70"/>
                    <a:pt x="131" y="102"/>
                    <a:pt x="131" y="102"/>
                  </a:cubicBezTo>
                  <a:cubicBezTo>
                    <a:pt x="131" y="102"/>
                    <a:pt x="131" y="130"/>
                    <a:pt x="122" y="131"/>
                  </a:cubicBezTo>
                  <a:cubicBezTo>
                    <a:pt x="113" y="132"/>
                    <a:pt x="69" y="127"/>
                    <a:pt x="62" y="127"/>
                  </a:cubicBezTo>
                  <a:cubicBezTo>
                    <a:pt x="56" y="127"/>
                    <a:pt x="25" y="144"/>
                    <a:pt x="16" y="140"/>
                  </a:cubicBezTo>
                  <a:cubicBezTo>
                    <a:pt x="11" y="138"/>
                    <a:pt x="5" y="132"/>
                    <a:pt x="1" y="127"/>
                  </a:cubicBezTo>
                  <a:cubicBezTo>
                    <a:pt x="0" y="132"/>
                    <a:pt x="0" y="140"/>
                    <a:pt x="5" y="145"/>
                  </a:cubicBezTo>
                  <a:cubicBezTo>
                    <a:pt x="12" y="152"/>
                    <a:pt x="49" y="200"/>
                    <a:pt x="52" y="200"/>
                  </a:cubicBezTo>
                  <a:cubicBezTo>
                    <a:pt x="54" y="200"/>
                    <a:pt x="143" y="211"/>
                    <a:pt x="177" y="215"/>
                  </a:cubicBezTo>
                  <a:cubicBezTo>
                    <a:pt x="173" y="207"/>
                    <a:pt x="168" y="196"/>
                    <a:pt x="168" y="192"/>
                  </a:cubicBezTo>
                  <a:cubicBezTo>
                    <a:pt x="168" y="186"/>
                    <a:pt x="181" y="163"/>
                    <a:pt x="181" y="163"/>
                  </a:cubicBezTo>
                  <a:cubicBezTo>
                    <a:pt x="181" y="163"/>
                    <a:pt x="187" y="143"/>
                    <a:pt x="189" y="136"/>
                  </a:cubicBezTo>
                  <a:cubicBezTo>
                    <a:pt x="191" y="129"/>
                    <a:pt x="197" y="137"/>
                    <a:pt x="201" y="135"/>
                  </a:cubicBezTo>
                  <a:cubicBezTo>
                    <a:pt x="205" y="133"/>
                    <a:pt x="195" y="122"/>
                    <a:pt x="191" y="118"/>
                  </a:cubicBezTo>
                  <a:cubicBezTo>
                    <a:pt x="187" y="114"/>
                    <a:pt x="194" y="84"/>
                    <a:pt x="198" y="84"/>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93" name="Turkmenistan">
              <a:extLst>
                <a:ext uri="{FF2B5EF4-FFF2-40B4-BE49-F238E27FC236}">
                  <a16:creationId xmlns:a16="http://schemas.microsoft.com/office/drawing/2014/main" id="{8B73302D-CC30-45B0-BA01-032EFFA6688D}"/>
                </a:ext>
              </a:extLst>
            </p:cNvPr>
            <p:cNvSpPr>
              <a:spLocks/>
            </p:cNvSpPr>
            <p:nvPr/>
          </p:nvSpPr>
          <p:spPr bwMode="gray">
            <a:xfrm>
              <a:off x="6908648" y="2796685"/>
              <a:ext cx="377891" cy="226908"/>
            </a:xfrm>
            <a:custGeom>
              <a:avLst/>
              <a:gdLst>
                <a:gd name="T0" fmla="*/ 24 w 674"/>
                <a:gd name="T1" fmla="*/ 120 h 406"/>
                <a:gd name="T2" fmla="*/ 60 w 674"/>
                <a:gd name="T3" fmla="*/ 148 h 406"/>
                <a:gd name="T4" fmla="*/ 75 w 674"/>
                <a:gd name="T5" fmla="*/ 172 h 406"/>
                <a:gd name="T6" fmla="*/ 71 w 674"/>
                <a:gd name="T7" fmla="*/ 187 h 406"/>
                <a:gd name="T8" fmla="*/ 94 w 674"/>
                <a:gd name="T9" fmla="*/ 238 h 406"/>
                <a:gd name="T10" fmla="*/ 96 w 674"/>
                <a:gd name="T11" fmla="*/ 262 h 406"/>
                <a:gd name="T12" fmla="*/ 126 w 674"/>
                <a:gd name="T13" fmla="*/ 291 h 406"/>
                <a:gd name="T14" fmla="*/ 141 w 674"/>
                <a:gd name="T15" fmla="*/ 273 h 406"/>
                <a:gd name="T16" fmla="*/ 205 w 674"/>
                <a:gd name="T17" fmla="*/ 251 h 406"/>
                <a:gd name="T18" fmla="*/ 234 w 674"/>
                <a:gd name="T19" fmla="*/ 244 h 406"/>
                <a:gd name="T20" fmla="*/ 256 w 674"/>
                <a:gd name="T21" fmla="*/ 261 h 406"/>
                <a:gd name="T22" fmla="*/ 299 w 674"/>
                <a:gd name="T23" fmla="*/ 278 h 406"/>
                <a:gd name="T24" fmla="*/ 345 w 674"/>
                <a:gd name="T25" fmla="*/ 279 h 406"/>
                <a:gd name="T26" fmla="*/ 377 w 674"/>
                <a:gd name="T27" fmla="*/ 307 h 406"/>
                <a:gd name="T28" fmla="*/ 439 w 674"/>
                <a:gd name="T29" fmla="*/ 325 h 406"/>
                <a:gd name="T30" fmla="*/ 447 w 674"/>
                <a:gd name="T31" fmla="*/ 350 h 406"/>
                <a:gd name="T32" fmla="*/ 453 w 674"/>
                <a:gd name="T33" fmla="*/ 383 h 406"/>
                <a:gd name="T34" fmla="*/ 484 w 674"/>
                <a:gd name="T35" fmla="*/ 390 h 406"/>
                <a:gd name="T36" fmla="*/ 530 w 674"/>
                <a:gd name="T37" fmla="*/ 396 h 406"/>
                <a:gd name="T38" fmla="*/ 560 w 674"/>
                <a:gd name="T39" fmla="*/ 365 h 406"/>
                <a:gd name="T40" fmla="*/ 589 w 674"/>
                <a:gd name="T41" fmla="*/ 345 h 406"/>
                <a:gd name="T42" fmla="*/ 623 w 674"/>
                <a:gd name="T43" fmla="*/ 296 h 406"/>
                <a:gd name="T44" fmla="*/ 652 w 674"/>
                <a:gd name="T45" fmla="*/ 292 h 406"/>
                <a:gd name="T46" fmla="*/ 667 w 674"/>
                <a:gd name="T47" fmla="*/ 280 h 406"/>
                <a:gd name="T48" fmla="*/ 635 w 674"/>
                <a:gd name="T49" fmla="*/ 242 h 406"/>
                <a:gd name="T50" fmla="*/ 595 w 674"/>
                <a:gd name="T51" fmla="*/ 231 h 406"/>
                <a:gd name="T52" fmla="*/ 563 w 674"/>
                <a:gd name="T53" fmla="*/ 212 h 406"/>
                <a:gd name="T54" fmla="*/ 536 w 674"/>
                <a:gd name="T55" fmla="*/ 203 h 406"/>
                <a:gd name="T56" fmla="*/ 500 w 674"/>
                <a:gd name="T57" fmla="*/ 174 h 406"/>
                <a:gd name="T58" fmla="*/ 455 w 674"/>
                <a:gd name="T59" fmla="*/ 148 h 406"/>
                <a:gd name="T60" fmla="*/ 431 w 674"/>
                <a:gd name="T61" fmla="*/ 111 h 406"/>
                <a:gd name="T62" fmla="*/ 398 w 674"/>
                <a:gd name="T63" fmla="*/ 80 h 406"/>
                <a:gd name="T64" fmla="*/ 362 w 674"/>
                <a:gd name="T65" fmla="*/ 82 h 406"/>
                <a:gd name="T66" fmla="*/ 338 w 674"/>
                <a:gd name="T67" fmla="*/ 52 h 406"/>
                <a:gd name="T68" fmla="*/ 320 w 674"/>
                <a:gd name="T69" fmla="*/ 28 h 406"/>
                <a:gd name="T70" fmla="*/ 288 w 674"/>
                <a:gd name="T71" fmla="*/ 23 h 406"/>
                <a:gd name="T72" fmla="*/ 274 w 674"/>
                <a:gd name="T73" fmla="*/ 16 h 406"/>
                <a:gd name="T74" fmla="*/ 258 w 674"/>
                <a:gd name="T75" fmla="*/ 7 h 406"/>
                <a:gd name="T76" fmla="*/ 258 w 674"/>
                <a:gd name="T77" fmla="*/ 24 h 406"/>
                <a:gd name="T78" fmla="*/ 231 w 674"/>
                <a:gd name="T79" fmla="*/ 30 h 406"/>
                <a:gd name="T80" fmla="*/ 211 w 674"/>
                <a:gd name="T81" fmla="*/ 79 h 406"/>
                <a:gd name="T82" fmla="*/ 156 w 674"/>
                <a:gd name="T83" fmla="*/ 72 h 406"/>
                <a:gd name="T84" fmla="*/ 112 w 674"/>
                <a:gd name="T85" fmla="*/ 51 h 406"/>
                <a:gd name="T86" fmla="*/ 51 w 674"/>
                <a:gd name="T87" fmla="*/ 22 h 406"/>
                <a:gd name="T88" fmla="*/ 60 w 674"/>
                <a:gd name="T89" fmla="*/ 42 h 406"/>
                <a:gd name="T90" fmla="*/ 110 w 674"/>
                <a:gd name="T91" fmla="*/ 90 h 406"/>
                <a:gd name="T92" fmla="*/ 82 w 674"/>
                <a:gd name="T93" fmla="*/ 94 h 406"/>
                <a:gd name="T94" fmla="*/ 52 w 674"/>
                <a:gd name="T95" fmla="*/ 108 h 406"/>
                <a:gd name="T96" fmla="*/ 40 w 674"/>
                <a:gd name="T97" fmla="*/ 100 h 406"/>
                <a:gd name="T98" fmla="*/ 19 w 674"/>
                <a:gd name="T99" fmla="*/ 55 h 406"/>
                <a:gd name="T100" fmla="*/ 14 w 674"/>
                <a:gd name="T101" fmla="*/ 7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4" h="406">
                  <a:moveTo>
                    <a:pt x="34" y="100"/>
                  </a:moveTo>
                  <a:cubicBezTo>
                    <a:pt x="34" y="104"/>
                    <a:pt x="24" y="115"/>
                    <a:pt x="24" y="120"/>
                  </a:cubicBezTo>
                  <a:cubicBezTo>
                    <a:pt x="24" y="126"/>
                    <a:pt x="40" y="151"/>
                    <a:pt x="40" y="151"/>
                  </a:cubicBezTo>
                  <a:cubicBezTo>
                    <a:pt x="60" y="148"/>
                    <a:pt x="60" y="148"/>
                    <a:pt x="60" y="148"/>
                  </a:cubicBezTo>
                  <a:cubicBezTo>
                    <a:pt x="62" y="166"/>
                    <a:pt x="62" y="166"/>
                    <a:pt x="62" y="166"/>
                  </a:cubicBezTo>
                  <a:cubicBezTo>
                    <a:pt x="75" y="172"/>
                    <a:pt x="75" y="172"/>
                    <a:pt x="75" y="172"/>
                  </a:cubicBezTo>
                  <a:cubicBezTo>
                    <a:pt x="75" y="172"/>
                    <a:pt x="46" y="171"/>
                    <a:pt x="50" y="180"/>
                  </a:cubicBezTo>
                  <a:cubicBezTo>
                    <a:pt x="54" y="190"/>
                    <a:pt x="64" y="184"/>
                    <a:pt x="71" y="187"/>
                  </a:cubicBezTo>
                  <a:cubicBezTo>
                    <a:pt x="78" y="190"/>
                    <a:pt x="90" y="203"/>
                    <a:pt x="90" y="203"/>
                  </a:cubicBezTo>
                  <a:cubicBezTo>
                    <a:pt x="94" y="238"/>
                    <a:pt x="94" y="238"/>
                    <a:pt x="94" y="238"/>
                  </a:cubicBezTo>
                  <a:cubicBezTo>
                    <a:pt x="99" y="240"/>
                    <a:pt x="99" y="240"/>
                    <a:pt x="99" y="240"/>
                  </a:cubicBezTo>
                  <a:cubicBezTo>
                    <a:pt x="99" y="240"/>
                    <a:pt x="96" y="254"/>
                    <a:pt x="96" y="262"/>
                  </a:cubicBezTo>
                  <a:cubicBezTo>
                    <a:pt x="96" y="270"/>
                    <a:pt x="106" y="291"/>
                    <a:pt x="106" y="291"/>
                  </a:cubicBezTo>
                  <a:cubicBezTo>
                    <a:pt x="106" y="291"/>
                    <a:pt x="122" y="292"/>
                    <a:pt x="126" y="291"/>
                  </a:cubicBezTo>
                  <a:cubicBezTo>
                    <a:pt x="130" y="290"/>
                    <a:pt x="141" y="281"/>
                    <a:pt x="141" y="281"/>
                  </a:cubicBezTo>
                  <a:cubicBezTo>
                    <a:pt x="141" y="273"/>
                    <a:pt x="141" y="273"/>
                    <a:pt x="141" y="273"/>
                  </a:cubicBezTo>
                  <a:cubicBezTo>
                    <a:pt x="141" y="273"/>
                    <a:pt x="167" y="250"/>
                    <a:pt x="178" y="248"/>
                  </a:cubicBezTo>
                  <a:cubicBezTo>
                    <a:pt x="189" y="246"/>
                    <a:pt x="205" y="251"/>
                    <a:pt x="205" y="251"/>
                  </a:cubicBezTo>
                  <a:cubicBezTo>
                    <a:pt x="205" y="251"/>
                    <a:pt x="207" y="245"/>
                    <a:pt x="210" y="243"/>
                  </a:cubicBezTo>
                  <a:cubicBezTo>
                    <a:pt x="213" y="241"/>
                    <a:pt x="234" y="244"/>
                    <a:pt x="234" y="244"/>
                  </a:cubicBezTo>
                  <a:cubicBezTo>
                    <a:pt x="234" y="244"/>
                    <a:pt x="243" y="239"/>
                    <a:pt x="249" y="243"/>
                  </a:cubicBezTo>
                  <a:cubicBezTo>
                    <a:pt x="255" y="247"/>
                    <a:pt x="256" y="261"/>
                    <a:pt x="256" y="261"/>
                  </a:cubicBezTo>
                  <a:cubicBezTo>
                    <a:pt x="256" y="261"/>
                    <a:pt x="268" y="261"/>
                    <a:pt x="273" y="261"/>
                  </a:cubicBezTo>
                  <a:cubicBezTo>
                    <a:pt x="278" y="261"/>
                    <a:pt x="299" y="278"/>
                    <a:pt x="299" y="278"/>
                  </a:cubicBezTo>
                  <a:cubicBezTo>
                    <a:pt x="302" y="274"/>
                    <a:pt x="302" y="274"/>
                    <a:pt x="302" y="274"/>
                  </a:cubicBezTo>
                  <a:cubicBezTo>
                    <a:pt x="302" y="274"/>
                    <a:pt x="340" y="275"/>
                    <a:pt x="345" y="279"/>
                  </a:cubicBezTo>
                  <a:cubicBezTo>
                    <a:pt x="350" y="283"/>
                    <a:pt x="358" y="301"/>
                    <a:pt x="358" y="301"/>
                  </a:cubicBezTo>
                  <a:cubicBezTo>
                    <a:pt x="358" y="301"/>
                    <a:pt x="371" y="303"/>
                    <a:pt x="377" y="307"/>
                  </a:cubicBezTo>
                  <a:cubicBezTo>
                    <a:pt x="383" y="311"/>
                    <a:pt x="397" y="327"/>
                    <a:pt x="397" y="327"/>
                  </a:cubicBezTo>
                  <a:cubicBezTo>
                    <a:pt x="439" y="325"/>
                    <a:pt x="439" y="325"/>
                    <a:pt x="439" y="325"/>
                  </a:cubicBezTo>
                  <a:cubicBezTo>
                    <a:pt x="440" y="347"/>
                    <a:pt x="440" y="347"/>
                    <a:pt x="440" y="347"/>
                  </a:cubicBezTo>
                  <a:cubicBezTo>
                    <a:pt x="447" y="350"/>
                    <a:pt x="447" y="350"/>
                    <a:pt x="447" y="350"/>
                  </a:cubicBezTo>
                  <a:cubicBezTo>
                    <a:pt x="446" y="365"/>
                    <a:pt x="446" y="365"/>
                    <a:pt x="446" y="365"/>
                  </a:cubicBezTo>
                  <a:cubicBezTo>
                    <a:pt x="453" y="383"/>
                    <a:pt x="453" y="383"/>
                    <a:pt x="453" y="383"/>
                  </a:cubicBezTo>
                  <a:cubicBezTo>
                    <a:pt x="453" y="383"/>
                    <a:pt x="467" y="393"/>
                    <a:pt x="472" y="393"/>
                  </a:cubicBezTo>
                  <a:cubicBezTo>
                    <a:pt x="477" y="393"/>
                    <a:pt x="484" y="390"/>
                    <a:pt x="484" y="390"/>
                  </a:cubicBezTo>
                  <a:cubicBezTo>
                    <a:pt x="500" y="406"/>
                    <a:pt x="500" y="406"/>
                    <a:pt x="500" y="406"/>
                  </a:cubicBezTo>
                  <a:cubicBezTo>
                    <a:pt x="500" y="406"/>
                    <a:pt x="525" y="405"/>
                    <a:pt x="530" y="396"/>
                  </a:cubicBezTo>
                  <a:cubicBezTo>
                    <a:pt x="535" y="387"/>
                    <a:pt x="535" y="371"/>
                    <a:pt x="535" y="371"/>
                  </a:cubicBezTo>
                  <a:cubicBezTo>
                    <a:pt x="535" y="371"/>
                    <a:pt x="553" y="372"/>
                    <a:pt x="560" y="365"/>
                  </a:cubicBezTo>
                  <a:cubicBezTo>
                    <a:pt x="567" y="358"/>
                    <a:pt x="580" y="349"/>
                    <a:pt x="580" y="349"/>
                  </a:cubicBezTo>
                  <a:cubicBezTo>
                    <a:pt x="580" y="349"/>
                    <a:pt x="589" y="351"/>
                    <a:pt x="589" y="345"/>
                  </a:cubicBezTo>
                  <a:cubicBezTo>
                    <a:pt x="589" y="339"/>
                    <a:pt x="584" y="311"/>
                    <a:pt x="594" y="301"/>
                  </a:cubicBezTo>
                  <a:cubicBezTo>
                    <a:pt x="604" y="291"/>
                    <a:pt x="623" y="296"/>
                    <a:pt x="623" y="296"/>
                  </a:cubicBezTo>
                  <a:cubicBezTo>
                    <a:pt x="623" y="296"/>
                    <a:pt x="622" y="279"/>
                    <a:pt x="630" y="279"/>
                  </a:cubicBezTo>
                  <a:cubicBezTo>
                    <a:pt x="638" y="279"/>
                    <a:pt x="652" y="292"/>
                    <a:pt x="652" y="292"/>
                  </a:cubicBezTo>
                  <a:cubicBezTo>
                    <a:pt x="674" y="292"/>
                    <a:pt x="674" y="292"/>
                    <a:pt x="674" y="292"/>
                  </a:cubicBezTo>
                  <a:cubicBezTo>
                    <a:pt x="674" y="289"/>
                    <a:pt x="673" y="285"/>
                    <a:pt x="667" y="280"/>
                  </a:cubicBezTo>
                  <a:cubicBezTo>
                    <a:pt x="656" y="272"/>
                    <a:pt x="668" y="260"/>
                    <a:pt x="668" y="260"/>
                  </a:cubicBezTo>
                  <a:cubicBezTo>
                    <a:pt x="635" y="242"/>
                    <a:pt x="635" y="242"/>
                    <a:pt x="635" y="242"/>
                  </a:cubicBezTo>
                  <a:cubicBezTo>
                    <a:pt x="620" y="244"/>
                    <a:pt x="620" y="244"/>
                    <a:pt x="620" y="244"/>
                  </a:cubicBezTo>
                  <a:cubicBezTo>
                    <a:pt x="620" y="244"/>
                    <a:pt x="602" y="236"/>
                    <a:pt x="595" y="231"/>
                  </a:cubicBezTo>
                  <a:cubicBezTo>
                    <a:pt x="588" y="226"/>
                    <a:pt x="574" y="215"/>
                    <a:pt x="574" y="215"/>
                  </a:cubicBezTo>
                  <a:cubicBezTo>
                    <a:pt x="563" y="212"/>
                    <a:pt x="563" y="212"/>
                    <a:pt x="563" y="212"/>
                  </a:cubicBezTo>
                  <a:cubicBezTo>
                    <a:pt x="554" y="204"/>
                    <a:pt x="554" y="204"/>
                    <a:pt x="554" y="204"/>
                  </a:cubicBezTo>
                  <a:cubicBezTo>
                    <a:pt x="536" y="203"/>
                    <a:pt x="536" y="203"/>
                    <a:pt x="536" y="203"/>
                  </a:cubicBezTo>
                  <a:cubicBezTo>
                    <a:pt x="516" y="191"/>
                    <a:pt x="516" y="191"/>
                    <a:pt x="516" y="191"/>
                  </a:cubicBezTo>
                  <a:cubicBezTo>
                    <a:pt x="516" y="191"/>
                    <a:pt x="504" y="175"/>
                    <a:pt x="500" y="174"/>
                  </a:cubicBezTo>
                  <a:cubicBezTo>
                    <a:pt x="496" y="172"/>
                    <a:pt x="483" y="170"/>
                    <a:pt x="476" y="167"/>
                  </a:cubicBezTo>
                  <a:cubicBezTo>
                    <a:pt x="470" y="164"/>
                    <a:pt x="458" y="159"/>
                    <a:pt x="455" y="148"/>
                  </a:cubicBezTo>
                  <a:cubicBezTo>
                    <a:pt x="452" y="138"/>
                    <a:pt x="444" y="126"/>
                    <a:pt x="444" y="126"/>
                  </a:cubicBezTo>
                  <a:cubicBezTo>
                    <a:pt x="431" y="111"/>
                    <a:pt x="431" y="111"/>
                    <a:pt x="431" y="111"/>
                  </a:cubicBezTo>
                  <a:cubicBezTo>
                    <a:pt x="422" y="92"/>
                    <a:pt x="422" y="92"/>
                    <a:pt x="422" y="92"/>
                  </a:cubicBezTo>
                  <a:cubicBezTo>
                    <a:pt x="398" y="80"/>
                    <a:pt x="398" y="80"/>
                    <a:pt x="398" y="80"/>
                  </a:cubicBezTo>
                  <a:cubicBezTo>
                    <a:pt x="398" y="86"/>
                    <a:pt x="398" y="86"/>
                    <a:pt x="398" y="86"/>
                  </a:cubicBezTo>
                  <a:cubicBezTo>
                    <a:pt x="362" y="82"/>
                    <a:pt x="362" y="82"/>
                    <a:pt x="362" y="82"/>
                  </a:cubicBezTo>
                  <a:cubicBezTo>
                    <a:pt x="362" y="82"/>
                    <a:pt x="336" y="83"/>
                    <a:pt x="331" y="74"/>
                  </a:cubicBezTo>
                  <a:cubicBezTo>
                    <a:pt x="326" y="64"/>
                    <a:pt x="338" y="52"/>
                    <a:pt x="338" y="52"/>
                  </a:cubicBezTo>
                  <a:cubicBezTo>
                    <a:pt x="328" y="47"/>
                    <a:pt x="328" y="47"/>
                    <a:pt x="328" y="47"/>
                  </a:cubicBezTo>
                  <a:cubicBezTo>
                    <a:pt x="328" y="47"/>
                    <a:pt x="330" y="32"/>
                    <a:pt x="320" y="28"/>
                  </a:cubicBezTo>
                  <a:cubicBezTo>
                    <a:pt x="311" y="24"/>
                    <a:pt x="298" y="27"/>
                    <a:pt x="298" y="27"/>
                  </a:cubicBezTo>
                  <a:cubicBezTo>
                    <a:pt x="288" y="23"/>
                    <a:pt x="288" y="23"/>
                    <a:pt x="288" y="23"/>
                  </a:cubicBezTo>
                  <a:cubicBezTo>
                    <a:pt x="290" y="15"/>
                    <a:pt x="290" y="15"/>
                    <a:pt x="290" y="15"/>
                  </a:cubicBezTo>
                  <a:cubicBezTo>
                    <a:pt x="274" y="16"/>
                    <a:pt x="274" y="16"/>
                    <a:pt x="274" y="16"/>
                  </a:cubicBezTo>
                  <a:cubicBezTo>
                    <a:pt x="262" y="0"/>
                    <a:pt x="262" y="0"/>
                    <a:pt x="262" y="0"/>
                  </a:cubicBezTo>
                  <a:cubicBezTo>
                    <a:pt x="258" y="7"/>
                    <a:pt x="258" y="7"/>
                    <a:pt x="258" y="7"/>
                  </a:cubicBezTo>
                  <a:cubicBezTo>
                    <a:pt x="238" y="6"/>
                    <a:pt x="238" y="6"/>
                    <a:pt x="238" y="6"/>
                  </a:cubicBezTo>
                  <a:cubicBezTo>
                    <a:pt x="258" y="24"/>
                    <a:pt x="258" y="24"/>
                    <a:pt x="258" y="24"/>
                  </a:cubicBezTo>
                  <a:cubicBezTo>
                    <a:pt x="258" y="24"/>
                    <a:pt x="239" y="16"/>
                    <a:pt x="235" y="18"/>
                  </a:cubicBezTo>
                  <a:cubicBezTo>
                    <a:pt x="231" y="19"/>
                    <a:pt x="231" y="30"/>
                    <a:pt x="231" y="30"/>
                  </a:cubicBezTo>
                  <a:cubicBezTo>
                    <a:pt x="231" y="30"/>
                    <a:pt x="199" y="36"/>
                    <a:pt x="198" y="50"/>
                  </a:cubicBezTo>
                  <a:cubicBezTo>
                    <a:pt x="196" y="63"/>
                    <a:pt x="211" y="79"/>
                    <a:pt x="211" y="79"/>
                  </a:cubicBezTo>
                  <a:cubicBezTo>
                    <a:pt x="167" y="79"/>
                    <a:pt x="167" y="79"/>
                    <a:pt x="167" y="79"/>
                  </a:cubicBezTo>
                  <a:cubicBezTo>
                    <a:pt x="167" y="79"/>
                    <a:pt x="163" y="72"/>
                    <a:pt x="156" y="72"/>
                  </a:cubicBezTo>
                  <a:cubicBezTo>
                    <a:pt x="150" y="72"/>
                    <a:pt x="151" y="87"/>
                    <a:pt x="140" y="82"/>
                  </a:cubicBezTo>
                  <a:cubicBezTo>
                    <a:pt x="130" y="76"/>
                    <a:pt x="112" y="51"/>
                    <a:pt x="112" y="51"/>
                  </a:cubicBezTo>
                  <a:cubicBezTo>
                    <a:pt x="112" y="51"/>
                    <a:pt x="102" y="38"/>
                    <a:pt x="94" y="34"/>
                  </a:cubicBezTo>
                  <a:cubicBezTo>
                    <a:pt x="86" y="30"/>
                    <a:pt x="54" y="18"/>
                    <a:pt x="51" y="22"/>
                  </a:cubicBezTo>
                  <a:cubicBezTo>
                    <a:pt x="48" y="26"/>
                    <a:pt x="50" y="32"/>
                    <a:pt x="50" y="32"/>
                  </a:cubicBezTo>
                  <a:cubicBezTo>
                    <a:pt x="50" y="32"/>
                    <a:pt x="60" y="38"/>
                    <a:pt x="60" y="42"/>
                  </a:cubicBezTo>
                  <a:cubicBezTo>
                    <a:pt x="60" y="46"/>
                    <a:pt x="63" y="46"/>
                    <a:pt x="70" y="58"/>
                  </a:cubicBezTo>
                  <a:cubicBezTo>
                    <a:pt x="76" y="70"/>
                    <a:pt x="112" y="79"/>
                    <a:pt x="110" y="90"/>
                  </a:cubicBezTo>
                  <a:cubicBezTo>
                    <a:pt x="107" y="100"/>
                    <a:pt x="107" y="106"/>
                    <a:pt x="100" y="104"/>
                  </a:cubicBezTo>
                  <a:cubicBezTo>
                    <a:pt x="94" y="103"/>
                    <a:pt x="79" y="90"/>
                    <a:pt x="82" y="94"/>
                  </a:cubicBezTo>
                  <a:cubicBezTo>
                    <a:pt x="84" y="98"/>
                    <a:pt x="79" y="107"/>
                    <a:pt x="79" y="107"/>
                  </a:cubicBezTo>
                  <a:cubicBezTo>
                    <a:pt x="52" y="108"/>
                    <a:pt x="52" y="108"/>
                    <a:pt x="52" y="108"/>
                  </a:cubicBezTo>
                  <a:cubicBezTo>
                    <a:pt x="44" y="95"/>
                    <a:pt x="44" y="95"/>
                    <a:pt x="44" y="95"/>
                  </a:cubicBezTo>
                  <a:cubicBezTo>
                    <a:pt x="40" y="100"/>
                    <a:pt x="40" y="100"/>
                    <a:pt x="40" y="100"/>
                  </a:cubicBezTo>
                  <a:cubicBezTo>
                    <a:pt x="40" y="100"/>
                    <a:pt x="30" y="90"/>
                    <a:pt x="24" y="80"/>
                  </a:cubicBezTo>
                  <a:cubicBezTo>
                    <a:pt x="19" y="71"/>
                    <a:pt x="23" y="56"/>
                    <a:pt x="19" y="55"/>
                  </a:cubicBezTo>
                  <a:cubicBezTo>
                    <a:pt x="15" y="54"/>
                    <a:pt x="3" y="47"/>
                    <a:pt x="2" y="52"/>
                  </a:cubicBezTo>
                  <a:cubicBezTo>
                    <a:pt x="0" y="58"/>
                    <a:pt x="14" y="72"/>
                    <a:pt x="14" y="72"/>
                  </a:cubicBezTo>
                  <a:cubicBezTo>
                    <a:pt x="14" y="72"/>
                    <a:pt x="34" y="96"/>
                    <a:pt x="34" y="100"/>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99" name="Turkey">
              <a:extLst>
                <a:ext uri="{FF2B5EF4-FFF2-40B4-BE49-F238E27FC236}">
                  <a16:creationId xmlns:a16="http://schemas.microsoft.com/office/drawing/2014/main" id="{D85EFE61-176C-41A7-B64B-60B08A20AC4E}"/>
                </a:ext>
              </a:extLst>
            </p:cNvPr>
            <p:cNvSpPr>
              <a:spLocks noEditPoints="1"/>
            </p:cNvSpPr>
            <p:nvPr/>
          </p:nvSpPr>
          <p:spPr bwMode="gray">
            <a:xfrm>
              <a:off x="6248133" y="2815726"/>
              <a:ext cx="496973" cy="190412"/>
            </a:xfrm>
            <a:custGeom>
              <a:avLst/>
              <a:gdLst>
                <a:gd name="T0" fmla="*/ 20 w 888"/>
                <a:gd name="T1" fmla="*/ 116 h 340"/>
                <a:gd name="T2" fmla="*/ 27 w 888"/>
                <a:gd name="T3" fmla="*/ 107 h 340"/>
                <a:gd name="T4" fmla="*/ 63 w 888"/>
                <a:gd name="T5" fmla="*/ 93 h 340"/>
                <a:gd name="T6" fmla="*/ 52 w 888"/>
                <a:gd name="T7" fmla="*/ 101 h 340"/>
                <a:gd name="T8" fmla="*/ 887 w 888"/>
                <a:gd name="T9" fmla="*/ 259 h 340"/>
                <a:gd name="T10" fmla="*/ 850 w 888"/>
                <a:gd name="T11" fmla="*/ 224 h 340"/>
                <a:gd name="T12" fmla="*/ 845 w 888"/>
                <a:gd name="T13" fmla="*/ 165 h 340"/>
                <a:gd name="T14" fmla="*/ 853 w 888"/>
                <a:gd name="T15" fmla="*/ 137 h 340"/>
                <a:gd name="T16" fmla="*/ 802 w 888"/>
                <a:gd name="T17" fmla="*/ 73 h 340"/>
                <a:gd name="T18" fmla="*/ 761 w 888"/>
                <a:gd name="T19" fmla="*/ 32 h 340"/>
                <a:gd name="T20" fmla="*/ 678 w 888"/>
                <a:gd name="T21" fmla="*/ 63 h 340"/>
                <a:gd name="T22" fmla="*/ 542 w 888"/>
                <a:gd name="T23" fmla="*/ 57 h 340"/>
                <a:gd name="T24" fmla="*/ 491 w 888"/>
                <a:gd name="T25" fmla="*/ 51 h 340"/>
                <a:gd name="T26" fmla="*/ 442 w 888"/>
                <a:gd name="T27" fmla="*/ 30 h 340"/>
                <a:gd name="T28" fmla="*/ 385 w 888"/>
                <a:gd name="T29" fmla="*/ 16 h 340"/>
                <a:gd name="T30" fmla="*/ 272 w 888"/>
                <a:gd name="T31" fmla="*/ 42 h 340"/>
                <a:gd name="T32" fmla="*/ 203 w 888"/>
                <a:gd name="T33" fmla="*/ 53 h 340"/>
                <a:gd name="T34" fmla="*/ 120 w 888"/>
                <a:gd name="T35" fmla="*/ 14 h 340"/>
                <a:gd name="T36" fmla="*/ 79 w 888"/>
                <a:gd name="T37" fmla="*/ 10 h 340"/>
                <a:gd name="T38" fmla="*/ 52 w 888"/>
                <a:gd name="T39" fmla="*/ 28 h 340"/>
                <a:gd name="T40" fmla="*/ 50 w 888"/>
                <a:gd name="T41" fmla="*/ 47 h 340"/>
                <a:gd name="T42" fmla="*/ 50 w 888"/>
                <a:gd name="T43" fmla="*/ 86 h 340"/>
                <a:gd name="T44" fmla="*/ 107 w 888"/>
                <a:gd name="T45" fmla="*/ 65 h 340"/>
                <a:gd name="T46" fmla="*/ 165 w 888"/>
                <a:gd name="T47" fmla="*/ 81 h 340"/>
                <a:gd name="T48" fmla="*/ 92 w 888"/>
                <a:gd name="T49" fmla="*/ 91 h 340"/>
                <a:gd name="T50" fmla="*/ 76 w 888"/>
                <a:gd name="T51" fmla="*/ 142 h 340"/>
                <a:gd name="T52" fmla="*/ 83 w 888"/>
                <a:gd name="T53" fmla="*/ 186 h 340"/>
                <a:gd name="T54" fmla="*/ 108 w 888"/>
                <a:gd name="T55" fmla="*/ 234 h 340"/>
                <a:gd name="T56" fmla="*/ 146 w 888"/>
                <a:gd name="T57" fmla="*/ 297 h 340"/>
                <a:gd name="T58" fmla="*/ 250 w 888"/>
                <a:gd name="T59" fmla="*/ 310 h 340"/>
                <a:gd name="T60" fmla="*/ 359 w 888"/>
                <a:gd name="T61" fmla="*/ 325 h 340"/>
                <a:gd name="T62" fmla="*/ 477 w 888"/>
                <a:gd name="T63" fmla="*/ 298 h 340"/>
                <a:gd name="T64" fmla="*/ 495 w 888"/>
                <a:gd name="T65" fmla="*/ 329 h 340"/>
                <a:gd name="T66" fmla="*/ 515 w 888"/>
                <a:gd name="T67" fmla="*/ 330 h 340"/>
                <a:gd name="T68" fmla="*/ 525 w 888"/>
                <a:gd name="T69" fmla="*/ 308 h 340"/>
                <a:gd name="T70" fmla="*/ 546 w 888"/>
                <a:gd name="T71" fmla="*/ 296 h 340"/>
                <a:gd name="T72" fmla="*/ 622 w 888"/>
                <a:gd name="T73" fmla="*/ 290 h 340"/>
                <a:gd name="T74" fmla="*/ 699 w 888"/>
                <a:gd name="T75" fmla="*/ 271 h 340"/>
                <a:gd name="T76" fmla="*/ 746 w 888"/>
                <a:gd name="T77" fmla="*/ 270 h 340"/>
                <a:gd name="T78" fmla="*/ 781 w 888"/>
                <a:gd name="T79" fmla="*/ 274 h 340"/>
                <a:gd name="T80" fmla="*/ 835 w 888"/>
                <a:gd name="T81" fmla="*/ 267 h 340"/>
                <a:gd name="T82" fmla="*/ 888 w 888"/>
                <a:gd name="T83" fmla="*/ 265 h 340"/>
                <a:gd name="T84" fmla="*/ 81 w 888"/>
                <a:gd name="T85" fmla="*/ 204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8" h="340">
                  <a:moveTo>
                    <a:pt x="3" y="126"/>
                  </a:moveTo>
                  <a:cubicBezTo>
                    <a:pt x="17" y="125"/>
                    <a:pt x="17" y="125"/>
                    <a:pt x="17" y="125"/>
                  </a:cubicBezTo>
                  <a:cubicBezTo>
                    <a:pt x="20" y="116"/>
                    <a:pt x="20" y="116"/>
                    <a:pt x="20" y="116"/>
                  </a:cubicBezTo>
                  <a:cubicBezTo>
                    <a:pt x="0" y="116"/>
                    <a:pt x="0" y="116"/>
                    <a:pt x="0" y="116"/>
                  </a:cubicBezTo>
                  <a:lnTo>
                    <a:pt x="3" y="126"/>
                  </a:lnTo>
                  <a:close/>
                  <a:moveTo>
                    <a:pt x="27" y="107"/>
                  </a:moveTo>
                  <a:cubicBezTo>
                    <a:pt x="30" y="116"/>
                    <a:pt x="40" y="122"/>
                    <a:pt x="39" y="106"/>
                  </a:cubicBezTo>
                  <a:cubicBezTo>
                    <a:pt x="38" y="90"/>
                    <a:pt x="27" y="107"/>
                    <a:pt x="27" y="107"/>
                  </a:cubicBezTo>
                  <a:close/>
                  <a:moveTo>
                    <a:pt x="63" y="93"/>
                  </a:moveTo>
                  <a:cubicBezTo>
                    <a:pt x="45" y="93"/>
                    <a:pt x="45" y="93"/>
                    <a:pt x="45" y="93"/>
                  </a:cubicBezTo>
                  <a:cubicBezTo>
                    <a:pt x="45" y="114"/>
                    <a:pt x="45" y="114"/>
                    <a:pt x="45" y="114"/>
                  </a:cubicBezTo>
                  <a:cubicBezTo>
                    <a:pt x="52" y="101"/>
                    <a:pt x="52" y="101"/>
                    <a:pt x="52" y="101"/>
                  </a:cubicBezTo>
                  <a:lnTo>
                    <a:pt x="63" y="93"/>
                  </a:lnTo>
                  <a:close/>
                  <a:moveTo>
                    <a:pt x="888" y="265"/>
                  </a:moveTo>
                  <a:cubicBezTo>
                    <a:pt x="887" y="261"/>
                    <a:pt x="887" y="259"/>
                    <a:pt x="887" y="259"/>
                  </a:cubicBezTo>
                  <a:cubicBezTo>
                    <a:pt x="871" y="254"/>
                    <a:pt x="871" y="254"/>
                    <a:pt x="871" y="254"/>
                  </a:cubicBezTo>
                  <a:cubicBezTo>
                    <a:pt x="871" y="236"/>
                    <a:pt x="871" y="236"/>
                    <a:pt x="871" y="236"/>
                  </a:cubicBezTo>
                  <a:cubicBezTo>
                    <a:pt x="850" y="224"/>
                    <a:pt x="850" y="224"/>
                    <a:pt x="850" y="224"/>
                  </a:cubicBezTo>
                  <a:cubicBezTo>
                    <a:pt x="850" y="224"/>
                    <a:pt x="863" y="205"/>
                    <a:pt x="858" y="203"/>
                  </a:cubicBezTo>
                  <a:cubicBezTo>
                    <a:pt x="853" y="201"/>
                    <a:pt x="846" y="180"/>
                    <a:pt x="846" y="180"/>
                  </a:cubicBezTo>
                  <a:cubicBezTo>
                    <a:pt x="845" y="165"/>
                    <a:pt x="845" y="165"/>
                    <a:pt x="845" y="165"/>
                  </a:cubicBezTo>
                  <a:cubicBezTo>
                    <a:pt x="834" y="149"/>
                    <a:pt x="834" y="149"/>
                    <a:pt x="834" y="149"/>
                  </a:cubicBezTo>
                  <a:cubicBezTo>
                    <a:pt x="850" y="147"/>
                    <a:pt x="850" y="147"/>
                    <a:pt x="850" y="147"/>
                  </a:cubicBezTo>
                  <a:cubicBezTo>
                    <a:pt x="850" y="147"/>
                    <a:pt x="851" y="142"/>
                    <a:pt x="853" y="137"/>
                  </a:cubicBezTo>
                  <a:cubicBezTo>
                    <a:pt x="850" y="127"/>
                    <a:pt x="846" y="116"/>
                    <a:pt x="843" y="116"/>
                  </a:cubicBezTo>
                  <a:cubicBezTo>
                    <a:pt x="838" y="115"/>
                    <a:pt x="822" y="124"/>
                    <a:pt x="814" y="113"/>
                  </a:cubicBezTo>
                  <a:cubicBezTo>
                    <a:pt x="806" y="102"/>
                    <a:pt x="808" y="88"/>
                    <a:pt x="802" y="73"/>
                  </a:cubicBezTo>
                  <a:cubicBezTo>
                    <a:pt x="796" y="58"/>
                    <a:pt x="794" y="50"/>
                    <a:pt x="794" y="50"/>
                  </a:cubicBezTo>
                  <a:cubicBezTo>
                    <a:pt x="777" y="50"/>
                    <a:pt x="777" y="50"/>
                    <a:pt x="777" y="50"/>
                  </a:cubicBezTo>
                  <a:cubicBezTo>
                    <a:pt x="777" y="50"/>
                    <a:pt x="775" y="35"/>
                    <a:pt x="761" y="32"/>
                  </a:cubicBezTo>
                  <a:cubicBezTo>
                    <a:pt x="747" y="29"/>
                    <a:pt x="741" y="39"/>
                    <a:pt x="741" y="39"/>
                  </a:cubicBezTo>
                  <a:cubicBezTo>
                    <a:pt x="715" y="34"/>
                    <a:pt x="715" y="34"/>
                    <a:pt x="715" y="34"/>
                  </a:cubicBezTo>
                  <a:cubicBezTo>
                    <a:pt x="706" y="43"/>
                    <a:pt x="688" y="59"/>
                    <a:pt x="678" y="63"/>
                  </a:cubicBezTo>
                  <a:cubicBezTo>
                    <a:pt x="665" y="68"/>
                    <a:pt x="621" y="62"/>
                    <a:pt x="621" y="62"/>
                  </a:cubicBezTo>
                  <a:cubicBezTo>
                    <a:pt x="585" y="72"/>
                    <a:pt x="585" y="72"/>
                    <a:pt x="585" y="72"/>
                  </a:cubicBezTo>
                  <a:cubicBezTo>
                    <a:pt x="542" y="57"/>
                    <a:pt x="542" y="57"/>
                    <a:pt x="542" y="57"/>
                  </a:cubicBezTo>
                  <a:cubicBezTo>
                    <a:pt x="525" y="63"/>
                    <a:pt x="525" y="63"/>
                    <a:pt x="525" y="63"/>
                  </a:cubicBezTo>
                  <a:cubicBezTo>
                    <a:pt x="525" y="63"/>
                    <a:pt x="516" y="40"/>
                    <a:pt x="508" y="42"/>
                  </a:cubicBezTo>
                  <a:cubicBezTo>
                    <a:pt x="500" y="44"/>
                    <a:pt x="491" y="51"/>
                    <a:pt x="491" y="51"/>
                  </a:cubicBezTo>
                  <a:cubicBezTo>
                    <a:pt x="475" y="40"/>
                    <a:pt x="475" y="40"/>
                    <a:pt x="475" y="40"/>
                  </a:cubicBezTo>
                  <a:cubicBezTo>
                    <a:pt x="472" y="25"/>
                    <a:pt x="472" y="25"/>
                    <a:pt x="472" y="25"/>
                  </a:cubicBezTo>
                  <a:cubicBezTo>
                    <a:pt x="442" y="30"/>
                    <a:pt x="442" y="30"/>
                    <a:pt x="442" y="30"/>
                  </a:cubicBezTo>
                  <a:cubicBezTo>
                    <a:pt x="424" y="20"/>
                    <a:pt x="424" y="20"/>
                    <a:pt x="424" y="20"/>
                  </a:cubicBezTo>
                  <a:cubicBezTo>
                    <a:pt x="421" y="6"/>
                    <a:pt x="421" y="6"/>
                    <a:pt x="421" y="6"/>
                  </a:cubicBezTo>
                  <a:cubicBezTo>
                    <a:pt x="421" y="6"/>
                    <a:pt x="398" y="16"/>
                    <a:pt x="385" y="16"/>
                  </a:cubicBezTo>
                  <a:cubicBezTo>
                    <a:pt x="373" y="16"/>
                    <a:pt x="355" y="10"/>
                    <a:pt x="343" y="11"/>
                  </a:cubicBezTo>
                  <a:cubicBezTo>
                    <a:pt x="332" y="12"/>
                    <a:pt x="297" y="26"/>
                    <a:pt x="291" y="32"/>
                  </a:cubicBezTo>
                  <a:cubicBezTo>
                    <a:pt x="286" y="39"/>
                    <a:pt x="272" y="42"/>
                    <a:pt x="272" y="42"/>
                  </a:cubicBezTo>
                  <a:cubicBezTo>
                    <a:pt x="266" y="58"/>
                    <a:pt x="266" y="58"/>
                    <a:pt x="266" y="58"/>
                  </a:cubicBezTo>
                  <a:cubicBezTo>
                    <a:pt x="266" y="58"/>
                    <a:pt x="266" y="62"/>
                    <a:pt x="252" y="59"/>
                  </a:cubicBezTo>
                  <a:cubicBezTo>
                    <a:pt x="239" y="56"/>
                    <a:pt x="216" y="53"/>
                    <a:pt x="203" y="53"/>
                  </a:cubicBezTo>
                  <a:cubicBezTo>
                    <a:pt x="191" y="53"/>
                    <a:pt x="151" y="44"/>
                    <a:pt x="151" y="44"/>
                  </a:cubicBezTo>
                  <a:cubicBezTo>
                    <a:pt x="151" y="44"/>
                    <a:pt x="127" y="47"/>
                    <a:pt x="124" y="33"/>
                  </a:cubicBezTo>
                  <a:cubicBezTo>
                    <a:pt x="122" y="26"/>
                    <a:pt x="121" y="19"/>
                    <a:pt x="120" y="14"/>
                  </a:cubicBezTo>
                  <a:cubicBezTo>
                    <a:pt x="111" y="15"/>
                    <a:pt x="97" y="13"/>
                    <a:pt x="97" y="13"/>
                  </a:cubicBezTo>
                  <a:cubicBezTo>
                    <a:pt x="87" y="0"/>
                    <a:pt x="87" y="0"/>
                    <a:pt x="87" y="0"/>
                  </a:cubicBezTo>
                  <a:cubicBezTo>
                    <a:pt x="79" y="10"/>
                    <a:pt x="79" y="10"/>
                    <a:pt x="79" y="10"/>
                  </a:cubicBezTo>
                  <a:cubicBezTo>
                    <a:pt x="59" y="8"/>
                    <a:pt x="59" y="8"/>
                    <a:pt x="59" y="8"/>
                  </a:cubicBezTo>
                  <a:cubicBezTo>
                    <a:pt x="50" y="23"/>
                    <a:pt x="50" y="23"/>
                    <a:pt x="50" y="23"/>
                  </a:cubicBezTo>
                  <a:cubicBezTo>
                    <a:pt x="52" y="28"/>
                    <a:pt x="52" y="28"/>
                    <a:pt x="52" y="28"/>
                  </a:cubicBezTo>
                  <a:cubicBezTo>
                    <a:pt x="52" y="28"/>
                    <a:pt x="59" y="27"/>
                    <a:pt x="62" y="32"/>
                  </a:cubicBezTo>
                  <a:cubicBezTo>
                    <a:pt x="65" y="37"/>
                    <a:pt x="64" y="45"/>
                    <a:pt x="64" y="45"/>
                  </a:cubicBezTo>
                  <a:cubicBezTo>
                    <a:pt x="64" y="45"/>
                    <a:pt x="51" y="41"/>
                    <a:pt x="50" y="47"/>
                  </a:cubicBezTo>
                  <a:cubicBezTo>
                    <a:pt x="49" y="53"/>
                    <a:pt x="54" y="56"/>
                    <a:pt x="52" y="63"/>
                  </a:cubicBezTo>
                  <a:cubicBezTo>
                    <a:pt x="50" y="70"/>
                    <a:pt x="47" y="75"/>
                    <a:pt x="47" y="75"/>
                  </a:cubicBezTo>
                  <a:cubicBezTo>
                    <a:pt x="47" y="75"/>
                    <a:pt x="35" y="87"/>
                    <a:pt x="50" y="86"/>
                  </a:cubicBezTo>
                  <a:cubicBezTo>
                    <a:pt x="65" y="85"/>
                    <a:pt x="76" y="80"/>
                    <a:pt x="76" y="80"/>
                  </a:cubicBezTo>
                  <a:cubicBezTo>
                    <a:pt x="76" y="80"/>
                    <a:pt x="72" y="90"/>
                    <a:pt x="80" y="87"/>
                  </a:cubicBezTo>
                  <a:cubicBezTo>
                    <a:pt x="88" y="84"/>
                    <a:pt x="107" y="65"/>
                    <a:pt x="107" y="65"/>
                  </a:cubicBezTo>
                  <a:cubicBezTo>
                    <a:pt x="107" y="65"/>
                    <a:pt x="141" y="53"/>
                    <a:pt x="152" y="61"/>
                  </a:cubicBezTo>
                  <a:cubicBezTo>
                    <a:pt x="163" y="69"/>
                    <a:pt x="197" y="74"/>
                    <a:pt x="197" y="74"/>
                  </a:cubicBezTo>
                  <a:cubicBezTo>
                    <a:pt x="197" y="74"/>
                    <a:pt x="166" y="78"/>
                    <a:pt x="165" y="81"/>
                  </a:cubicBezTo>
                  <a:cubicBezTo>
                    <a:pt x="164" y="84"/>
                    <a:pt x="159" y="93"/>
                    <a:pt x="159" y="93"/>
                  </a:cubicBezTo>
                  <a:cubicBezTo>
                    <a:pt x="126" y="94"/>
                    <a:pt x="126" y="94"/>
                    <a:pt x="126" y="94"/>
                  </a:cubicBezTo>
                  <a:cubicBezTo>
                    <a:pt x="92" y="91"/>
                    <a:pt x="92" y="91"/>
                    <a:pt x="92" y="91"/>
                  </a:cubicBezTo>
                  <a:cubicBezTo>
                    <a:pt x="92" y="91"/>
                    <a:pt x="66" y="97"/>
                    <a:pt x="62" y="105"/>
                  </a:cubicBezTo>
                  <a:cubicBezTo>
                    <a:pt x="58" y="113"/>
                    <a:pt x="49" y="143"/>
                    <a:pt x="49" y="143"/>
                  </a:cubicBezTo>
                  <a:cubicBezTo>
                    <a:pt x="76" y="142"/>
                    <a:pt x="76" y="142"/>
                    <a:pt x="76" y="142"/>
                  </a:cubicBezTo>
                  <a:cubicBezTo>
                    <a:pt x="76" y="142"/>
                    <a:pt x="72" y="151"/>
                    <a:pt x="77" y="159"/>
                  </a:cubicBezTo>
                  <a:cubicBezTo>
                    <a:pt x="82" y="167"/>
                    <a:pt x="88" y="175"/>
                    <a:pt x="88" y="175"/>
                  </a:cubicBezTo>
                  <a:cubicBezTo>
                    <a:pt x="83" y="186"/>
                    <a:pt x="83" y="186"/>
                    <a:pt x="83" y="186"/>
                  </a:cubicBezTo>
                  <a:cubicBezTo>
                    <a:pt x="93" y="201"/>
                    <a:pt x="93" y="201"/>
                    <a:pt x="93" y="201"/>
                  </a:cubicBezTo>
                  <a:cubicBezTo>
                    <a:pt x="84" y="212"/>
                    <a:pt x="84" y="212"/>
                    <a:pt x="84" y="212"/>
                  </a:cubicBezTo>
                  <a:cubicBezTo>
                    <a:pt x="108" y="234"/>
                    <a:pt x="108" y="234"/>
                    <a:pt x="108" y="234"/>
                  </a:cubicBezTo>
                  <a:cubicBezTo>
                    <a:pt x="106" y="258"/>
                    <a:pt x="106" y="258"/>
                    <a:pt x="106" y="258"/>
                  </a:cubicBezTo>
                  <a:cubicBezTo>
                    <a:pt x="140" y="275"/>
                    <a:pt x="140" y="275"/>
                    <a:pt x="140" y="275"/>
                  </a:cubicBezTo>
                  <a:cubicBezTo>
                    <a:pt x="146" y="297"/>
                    <a:pt x="146" y="297"/>
                    <a:pt x="146" y="297"/>
                  </a:cubicBezTo>
                  <a:cubicBezTo>
                    <a:pt x="146" y="297"/>
                    <a:pt x="143" y="285"/>
                    <a:pt x="162" y="290"/>
                  </a:cubicBezTo>
                  <a:cubicBezTo>
                    <a:pt x="181" y="295"/>
                    <a:pt x="178" y="312"/>
                    <a:pt x="208" y="315"/>
                  </a:cubicBezTo>
                  <a:cubicBezTo>
                    <a:pt x="238" y="318"/>
                    <a:pt x="250" y="317"/>
                    <a:pt x="250" y="310"/>
                  </a:cubicBezTo>
                  <a:cubicBezTo>
                    <a:pt x="250" y="303"/>
                    <a:pt x="252" y="284"/>
                    <a:pt x="262" y="283"/>
                  </a:cubicBezTo>
                  <a:cubicBezTo>
                    <a:pt x="272" y="282"/>
                    <a:pt x="299" y="289"/>
                    <a:pt x="313" y="294"/>
                  </a:cubicBezTo>
                  <a:cubicBezTo>
                    <a:pt x="327" y="299"/>
                    <a:pt x="313" y="326"/>
                    <a:pt x="359" y="325"/>
                  </a:cubicBezTo>
                  <a:cubicBezTo>
                    <a:pt x="405" y="324"/>
                    <a:pt x="406" y="299"/>
                    <a:pt x="422" y="294"/>
                  </a:cubicBezTo>
                  <a:cubicBezTo>
                    <a:pt x="438" y="289"/>
                    <a:pt x="450" y="285"/>
                    <a:pt x="457" y="291"/>
                  </a:cubicBezTo>
                  <a:cubicBezTo>
                    <a:pt x="464" y="297"/>
                    <a:pt x="466" y="303"/>
                    <a:pt x="477" y="298"/>
                  </a:cubicBezTo>
                  <a:cubicBezTo>
                    <a:pt x="488" y="293"/>
                    <a:pt x="495" y="277"/>
                    <a:pt x="502" y="284"/>
                  </a:cubicBezTo>
                  <a:cubicBezTo>
                    <a:pt x="509" y="291"/>
                    <a:pt x="501" y="300"/>
                    <a:pt x="498" y="306"/>
                  </a:cubicBezTo>
                  <a:cubicBezTo>
                    <a:pt x="495" y="312"/>
                    <a:pt x="488" y="324"/>
                    <a:pt x="495" y="329"/>
                  </a:cubicBezTo>
                  <a:cubicBezTo>
                    <a:pt x="496" y="330"/>
                    <a:pt x="497" y="331"/>
                    <a:pt x="496" y="333"/>
                  </a:cubicBezTo>
                  <a:cubicBezTo>
                    <a:pt x="499" y="335"/>
                    <a:pt x="506" y="340"/>
                    <a:pt x="509" y="339"/>
                  </a:cubicBezTo>
                  <a:cubicBezTo>
                    <a:pt x="513" y="338"/>
                    <a:pt x="515" y="330"/>
                    <a:pt x="515" y="330"/>
                  </a:cubicBezTo>
                  <a:cubicBezTo>
                    <a:pt x="515" y="321"/>
                    <a:pt x="515" y="321"/>
                    <a:pt x="515" y="321"/>
                  </a:cubicBezTo>
                  <a:cubicBezTo>
                    <a:pt x="515" y="321"/>
                    <a:pt x="529" y="327"/>
                    <a:pt x="530" y="319"/>
                  </a:cubicBezTo>
                  <a:cubicBezTo>
                    <a:pt x="532" y="306"/>
                    <a:pt x="525" y="308"/>
                    <a:pt x="525" y="308"/>
                  </a:cubicBezTo>
                  <a:cubicBezTo>
                    <a:pt x="524" y="287"/>
                    <a:pt x="524" y="287"/>
                    <a:pt x="524" y="287"/>
                  </a:cubicBezTo>
                  <a:cubicBezTo>
                    <a:pt x="524" y="287"/>
                    <a:pt x="538" y="282"/>
                    <a:pt x="540" y="286"/>
                  </a:cubicBezTo>
                  <a:cubicBezTo>
                    <a:pt x="542" y="290"/>
                    <a:pt x="525" y="296"/>
                    <a:pt x="546" y="296"/>
                  </a:cubicBezTo>
                  <a:cubicBezTo>
                    <a:pt x="567" y="296"/>
                    <a:pt x="582" y="288"/>
                    <a:pt x="582" y="288"/>
                  </a:cubicBezTo>
                  <a:cubicBezTo>
                    <a:pt x="582" y="288"/>
                    <a:pt x="593" y="276"/>
                    <a:pt x="596" y="277"/>
                  </a:cubicBezTo>
                  <a:cubicBezTo>
                    <a:pt x="599" y="278"/>
                    <a:pt x="622" y="290"/>
                    <a:pt x="622" y="290"/>
                  </a:cubicBezTo>
                  <a:cubicBezTo>
                    <a:pt x="622" y="290"/>
                    <a:pt x="634" y="295"/>
                    <a:pt x="645" y="294"/>
                  </a:cubicBezTo>
                  <a:cubicBezTo>
                    <a:pt x="656" y="293"/>
                    <a:pt x="661" y="290"/>
                    <a:pt x="670" y="287"/>
                  </a:cubicBezTo>
                  <a:cubicBezTo>
                    <a:pt x="679" y="284"/>
                    <a:pt x="686" y="272"/>
                    <a:pt x="699" y="271"/>
                  </a:cubicBezTo>
                  <a:cubicBezTo>
                    <a:pt x="712" y="270"/>
                    <a:pt x="718" y="269"/>
                    <a:pt x="723" y="271"/>
                  </a:cubicBezTo>
                  <a:cubicBezTo>
                    <a:pt x="728" y="273"/>
                    <a:pt x="723" y="278"/>
                    <a:pt x="732" y="277"/>
                  </a:cubicBezTo>
                  <a:cubicBezTo>
                    <a:pt x="741" y="276"/>
                    <a:pt x="746" y="270"/>
                    <a:pt x="746" y="270"/>
                  </a:cubicBezTo>
                  <a:cubicBezTo>
                    <a:pt x="746" y="270"/>
                    <a:pt x="751" y="268"/>
                    <a:pt x="759" y="267"/>
                  </a:cubicBezTo>
                  <a:cubicBezTo>
                    <a:pt x="767" y="266"/>
                    <a:pt x="769" y="255"/>
                    <a:pt x="772" y="257"/>
                  </a:cubicBezTo>
                  <a:cubicBezTo>
                    <a:pt x="775" y="259"/>
                    <a:pt x="769" y="277"/>
                    <a:pt x="781" y="274"/>
                  </a:cubicBezTo>
                  <a:cubicBezTo>
                    <a:pt x="793" y="271"/>
                    <a:pt x="792" y="258"/>
                    <a:pt x="792" y="258"/>
                  </a:cubicBezTo>
                  <a:cubicBezTo>
                    <a:pt x="818" y="258"/>
                    <a:pt x="818" y="258"/>
                    <a:pt x="818" y="258"/>
                  </a:cubicBezTo>
                  <a:cubicBezTo>
                    <a:pt x="818" y="258"/>
                    <a:pt x="827" y="269"/>
                    <a:pt x="835" y="267"/>
                  </a:cubicBezTo>
                  <a:cubicBezTo>
                    <a:pt x="843" y="265"/>
                    <a:pt x="835" y="257"/>
                    <a:pt x="849" y="258"/>
                  </a:cubicBezTo>
                  <a:cubicBezTo>
                    <a:pt x="863" y="259"/>
                    <a:pt x="861" y="276"/>
                    <a:pt x="861" y="276"/>
                  </a:cubicBezTo>
                  <a:lnTo>
                    <a:pt x="888" y="265"/>
                  </a:lnTo>
                  <a:close/>
                  <a:moveTo>
                    <a:pt x="67" y="189"/>
                  </a:moveTo>
                  <a:cubicBezTo>
                    <a:pt x="63" y="185"/>
                    <a:pt x="61" y="207"/>
                    <a:pt x="67" y="217"/>
                  </a:cubicBezTo>
                  <a:cubicBezTo>
                    <a:pt x="72" y="226"/>
                    <a:pt x="79" y="208"/>
                    <a:pt x="81" y="204"/>
                  </a:cubicBezTo>
                  <a:cubicBezTo>
                    <a:pt x="83" y="200"/>
                    <a:pt x="71" y="193"/>
                    <a:pt x="67" y="189"/>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12" name="Timor-Leste">
              <a:extLst>
                <a:ext uri="{FF2B5EF4-FFF2-40B4-BE49-F238E27FC236}">
                  <a16:creationId xmlns:a16="http://schemas.microsoft.com/office/drawing/2014/main" id="{E84FFF79-D07D-4C9E-A598-D0EB50B9CBF4}"/>
                </a:ext>
              </a:extLst>
            </p:cNvPr>
            <p:cNvSpPr>
              <a:spLocks noEditPoints="1"/>
            </p:cNvSpPr>
            <p:nvPr/>
          </p:nvSpPr>
          <p:spPr bwMode="gray">
            <a:xfrm>
              <a:off x="8896544" y="4331087"/>
              <a:ext cx="95267" cy="42843"/>
            </a:xfrm>
            <a:custGeom>
              <a:avLst/>
              <a:gdLst>
                <a:gd name="T0" fmla="*/ 53 w 168"/>
                <a:gd name="T1" fmla="*/ 33 h 77"/>
                <a:gd name="T2" fmla="*/ 53 w 168"/>
                <a:gd name="T3" fmla="*/ 33 h 77"/>
                <a:gd name="T4" fmla="*/ 53 w 168"/>
                <a:gd name="T5" fmla="*/ 33 h 77"/>
                <a:gd name="T6" fmla="*/ 53 w 168"/>
                <a:gd name="T7" fmla="*/ 33 h 77"/>
                <a:gd name="T8" fmla="*/ 152 w 168"/>
                <a:gd name="T9" fmla="*/ 0 h 77"/>
                <a:gd name="T10" fmla="*/ 139 w 168"/>
                <a:gd name="T11" fmla="*/ 14 h 77"/>
                <a:gd name="T12" fmla="*/ 84 w 168"/>
                <a:gd name="T13" fmla="*/ 15 h 77"/>
                <a:gd name="T14" fmla="*/ 67 w 168"/>
                <a:gd name="T15" fmla="*/ 33 h 77"/>
                <a:gd name="T16" fmla="*/ 53 w 168"/>
                <a:gd name="T17" fmla="*/ 33 h 77"/>
                <a:gd name="T18" fmla="*/ 60 w 168"/>
                <a:gd name="T19" fmla="*/ 47 h 77"/>
                <a:gd name="T20" fmla="*/ 50 w 168"/>
                <a:gd name="T21" fmla="*/ 66 h 77"/>
                <a:gd name="T22" fmla="*/ 52 w 168"/>
                <a:gd name="T23" fmla="*/ 77 h 77"/>
                <a:gd name="T24" fmla="*/ 57 w 168"/>
                <a:gd name="T25" fmla="*/ 72 h 77"/>
                <a:gd name="T26" fmla="*/ 67 w 168"/>
                <a:gd name="T27" fmla="*/ 69 h 77"/>
                <a:gd name="T28" fmla="*/ 89 w 168"/>
                <a:gd name="T29" fmla="*/ 53 h 77"/>
                <a:gd name="T30" fmla="*/ 111 w 168"/>
                <a:gd name="T31" fmla="*/ 59 h 77"/>
                <a:gd name="T32" fmla="*/ 168 w 168"/>
                <a:gd name="T33" fmla="*/ 9 h 77"/>
                <a:gd name="T34" fmla="*/ 152 w 168"/>
                <a:gd name="T35" fmla="*/ 0 h 77"/>
                <a:gd name="T36" fmla="*/ 0 w 168"/>
                <a:gd name="T37" fmla="*/ 58 h 77"/>
                <a:gd name="T38" fmla="*/ 4 w 168"/>
                <a:gd name="T39" fmla="*/ 67 h 77"/>
                <a:gd name="T40" fmla="*/ 24 w 168"/>
                <a:gd name="T41" fmla="*/ 61 h 77"/>
                <a:gd name="T42" fmla="*/ 28 w 168"/>
                <a:gd name="T43" fmla="*/ 48 h 77"/>
                <a:gd name="T44" fmla="*/ 11 w 168"/>
                <a:gd name="T45" fmla="*/ 47 h 77"/>
                <a:gd name="T46" fmla="*/ 0 w 168"/>
                <a:gd name="T47" fmla="*/ 5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8" h="77">
                  <a:moveTo>
                    <a:pt x="53" y="33"/>
                  </a:moveTo>
                  <a:cubicBezTo>
                    <a:pt x="53" y="33"/>
                    <a:pt x="53" y="33"/>
                    <a:pt x="53" y="33"/>
                  </a:cubicBezTo>
                  <a:cubicBezTo>
                    <a:pt x="53" y="33"/>
                    <a:pt x="53" y="33"/>
                    <a:pt x="53" y="33"/>
                  </a:cubicBezTo>
                  <a:cubicBezTo>
                    <a:pt x="53" y="33"/>
                    <a:pt x="53" y="33"/>
                    <a:pt x="53" y="33"/>
                  </a:cubicBezTo>
                  <a:close/>
                  <a:moveTo>
                    <a:pt x="152" y="0"/>
                  </a:moveTo>
                  <a:cubicBezTo>
                    <a:pt x="139" y="14"/>
                    <a:pt x="139" y="14"/>
                    <a:pt x="139" y="14"/>
                  </a:cubicBezTo>
                  <a:cubicBezTo>
                    <a:pt x="139" y="14"/>
                    <a:pt x="96" y="15"/>
                    <a:pt x="84" y="15"/>
                  </a:cubicBezTo>
                  <a:cubicBezTo>
                    <a:pt x="73" y="15"/>
                    <a:pt x="67" y="33"/>
                    <a:pt x="67" y="33"/>
                  </a:cubicBezTo>
                  <a:cubicBezTo>
                    <a:pt x="67" y="33"/>
                    <a:pt x="61" y="32"/>
                    <a:pt x="53" y="33"/>
                  </a:cubicBezTo>
                  <a:cubicBezTo>
                    <a:pt x="60" y="47"/>
                    <a:pt x="60" y="47"/>
                    <a:pt x="60" y="47"/>
                  </a:cubicBezTo>
                  <a:cubicBezTo>
                    <a:pt x="60" y="47"/>
                    <a:pt x="56" y="54"/>
                    <a:pt x="50" y="66"/>
                  </a:cubicBezTo>
                  <a:cubicBezTo>
                    <a:pt x="46" y="72"/>
                    <a:pt x="49" y="76"/>
                    <a:pt x="52" y="77"/>
                  </a:cubicBezTo>
                  <a:cubicBezTo>
                    <a:pt x="55" y="74"/>
                    <a:pt x="57" y="72"/>
                    <a:pt x="57" y="72"/>
                  </a:cubicBezTo>
                  <a:cubicBezTo>
                    <a:pt x="67" y="69"/>
                    <a:pt x="67" y="69"/>
                    <a:pt x="67" y="69"/>
                  </a:cubicBezTo>
                  <a:cubicBezTo>
                    <a:pt x="89" y="53"/>
                    <a:pt x="89" y="53"/>
                    <a:pt x="89" y="53"/>
                  </a:cubicBezTo>
                  <a:cubicBezTo>
                    <a:pt x="89" y="53"/>
                    <a:pt x="98" y="62"/>
                    <a:pt x="111" y="59"/>
                  </a:cubicBezTo>
                  <a:cubicBezTo>
                    <a:pt x="124" y="56"/>
                    <a:pt x="168" y="9"/>
                    <a:pt x="168" y="9"/>
                  </a:cubicBezTo>
                  <a:lnTo>
                    <a:pt x="152" y="0"/>
                  </a:lnTo>
                  <a:close/>
                  <a:moveTo>
                    <a:pt x="0" y="58"/>
                  </a:moveTo>
                  <a:cubicBezTo>
                    <a:pt x="4" y="67"/>
                    <a:pt x="4" y="67"/>
                    <a:pt x="4" y="67"/>
                  </a:cubicBezTo>
                  <a:cubicBezTo>
                    <a:pt x="15" y="58"/>
                    <a:pt x="24" y="61"/>
                    <a:pt x="24" y="61"/>
                  </a:cubicBezTo>
                  <a:cubicBezTo>
                    <a:pt x="24" y="61"/>
                    <a:pt x="24" y="54"/>
                    <a:pt x="28" y="48"/>
                  </a:cubicBezTo>
                  <a:cubicBezTo>
                    <a:pt x="11" y="47"/>
                    <a:pt x="11" y="47"/>
                    <a:pt x="11" y="47"/>
                  </a:cubicBezTo>
                  <a:lnTo>
                    <a:pt x="0" y="58"/>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94" name="Thailand">
              <a:extLst>
                <a:ext uri="{FF2B5EF4-FFF2-40B4-BE49-F238E27FC236}">
                  <a16:creationId xmlns:a16="http://schemas.microsoft.com/office/drawing/2014/main" id="{1B714551-553F-4036-9538-4ABEAE51CE24}"/>
                </a:ext>
              </a:extLst>
            </p:cNvPr>
            <p:cNvSpPr>
              <a:spLocks/>
            </p:cNvSpPr>
            <p:nvPr/>
          </p:nvSpPr>
          <p:spPr bwMode="gray">
            <a:xfrm>
              <a:off x="8166167" y="3467887"/>
              <a:ext cx="234991" cy="447468"/>
            </a:xfrm>
            <a:custGeom>
              <a:avLst/>
              <a:gdLst>
                <a:gd name="T0" fmla="*/ 402 w 420"/>
                <a:gd name="T1" fmla="*/ 258 h 800"/>
                <a:gd name="T2" fmla="*/ 391 w 420"/>
                <a:gd name="T3" fmla="*/ 238 h 800"/>
                <a:gd name="T4" fmla="*/ 356 w 420"/>
                <a:gd name="T5" fmla="*/ 189 h 800"/>
                <a:gd name="T6" fmla="*/ 323 w 420"/>
                <a:gd name="T7" fmla="*/ 138 h 800"/>
                <a:gd name="T8" fmla="*/ 295 w 420"/>
                <a:gd name="T9" fmla="*/ 119 h 800"/>
                <a:gd name="T10" fmla="*/ 251 w 420"/>
                <a:gd name="T11" fmla="*/ 136 h 800"/>
                <a:gd name="T12" fmla="*/ 196 w 420"/>
                <a:gd name="T13" fmla="*/ 145 h 800"/>
                <a:gd name="T14" fmla="*/ 181 w 420"/>
                <a:gd name="T15" fmla="*/ 115 h 800"/>
                <a:gd name="T16" fmla="*/ 182 w 420"/>
                <a:gd name="T17" fmla="*/ 87 h 800"/>
                <a:gd name="T18" fmla="*/ 176 w 420"/>
                <a:gd name="T19" fmla="*/ 51 h 800"/>
                <a:gd name="T20" fmla="*/ 155 w 420"/>
                <a:gd name="T21" fmla="*/ 54 h 800"/>
                <a:gd name="T22" fmla="*/ 136 w 420"/>
                <a:gd name="T23" fmla="*/ 15 h 800"/>
                <a:gd name="T24" fmla="*/ 110 w 420"/>
                <a:gd name="T25" fmla="*/ 1 h 800"/>
                <a:gd name="T26" fmla="*/ 82 w 420"/>
                <a:gd name="T27" fmla="*/ 21 h 800"/>
                <a:gd name="T28" fmla="*/ 53 w 420"/>
                <a:gd name="T29" fmla="*/ 43 h 800"/>
                <a:gd name="T30" fmla="*/ 19 w 420"/>
                <a:gd name="T31" fmla="*/ 64 h 800"/>
                <a:gd name="T32" fmla="*/ 17 w 420"/>
                <a:gd name="T33" fmla="*/ 102 h 800"/>
                <a:gd name="T34" fmla="*/ 8 w 420"/>
                <a:gd name="T35" fmla="*/ 120 h 800"/>
                <a:gd name="T36" fmla="*/ 22 w 420"/>
                <a:gd name="T37" fmla="*/ 145 h 800"/>
                <a:gd name="T38" fmla="*/ 67 w 420"/>
                <a:gd name="T39" fmla="*/ 188 h 800"/>
                <a:gd name="T40" fmla="*/ 79 w 420"/>
                <a:gd name="T41" fmla="*/ 219 h 800"/>
                <a:gd name="T42" fmla="*/ 73 w 420"/>
                <a:gd name="T43" fmla="*/ 236 h 800"/>
                <a:gd name="T44" fmla="*/ 65 w 420"/>
                <a:gd name="T45" fmla="*/ 279 h 800"/>
                <a:gd name="T46" fmla="*/ 79 w 420"/>
                <a:gd name="T47" fmla="*/ 326 h 800"/>
                <a:gd name="T48" fmla="*/ 112 w 420"/>
                <a:gd name="T49" fmla="*/ 409 h 800"/>
                <a:gd name="T50" fmla="*/ 133 w 420"/>
                <a:gd name="T51" fmla="*/ 450 h 800"/>
                <a:gd name="T52" fmla="*/ 110 w 420"/>
                <a:gd name="T53" fmla="*/ 522 h 800"/>
                <a:gd name="T54" fmla="*/ 98 w 420"/>
                <a:gd name="T55" fmla="*/ 567 h 800"/>
                <a:gd name="T56" fmla="*/ 84 w 420"/>
                <a:gd name="T57" fmla="*/ 676 h 800"/>
                <a:gd name="T58" fmla="*/ 101 w 420"/>
                <a:gd name="T59" fmla="*/ 653 h 800"/>
                <a:gd name="T60" fmla="*/ 132 w 420"/>
                <a:gd name="T61" fmla="*/ 698 h 800"/>
                <a:gd name="T62" fmla="*/ 159 w 420"/>
                <a:gd name="T63" fmla="*/ 743 h 800"/>
                <a:gd name="T64" fmla="*/ 184 w 420"/>
                <a:gd name="T65" fmla="*/ 754 h 800"/>
                <a:gd name="T66" fmla="*/ 198 w 420"/>
                <a:gd name="T67" fmla="*/ 749 h 800"/>
                <a:gd name="T68" fmla="*/ 222 w 420"/>
                <a:gd name="T69" fmla="*/ 765 h 800"/>
                <a:gd name="T70" fmla="*/ 226 w 420"/>
                <a:gd name="T71" fmla="*/ 791 h 800"/>
                <a:gd name="T72" fmla="*/ 268 w 420"/>
                <a:gd name="T73" fmla="*/ 792 h 800"/>
                <a:gd name="T74" fmla="*/ 261 w 420"/>
                <a:gd name="T75" fmla="*/ 755 h 800"/>
                <a:gd name="T76" fmla="*/ 215 w 420"/>
                <a:gd name="T77" fmla="*/ 727 h 800"/>
                <a:gd name="T78" fmla="*/ 190 w 420"/>
                <a:gd name="T79" fmla="*/ 705 h 800"/>
                <a:gd name="T80" fmla="*/ 190 w 420"/>
                <a:gd name="T81" fmla="*/ 679 h 800"/>
                <a:gd name="T82" fmla="*/ 165 w 420"/>
                <a:gd name="T83" fmla="*/ 635 h 800"/>
                <a:gd name="T84" fmla="*/ 131 w 420"/>
                <a:gd name="T85" fmla="*/ 608 h 800"/>
                <a:gd name="T86" fmla="*/ 120 w 420"/>
                <a:gd name="T87" fmla="*/ 524 h 800"/>
                <a:gd name="T88" fmla="*/ 138 w 420"/>
                <a:gd name="T89" fmla="*/ 456 h 800"/>
                <a:gd name="T90" fmla="*/ 147 w 420"/>
                <a:gd name="T91" fmla="*/ 396 h 800"/>
                <a:gd name="T92" fmla="*/ 158 w 420"/>
                <a:gd name="T93" fmla="*/ 374 h 800"/>
                <a:gd name="T94" fmla="*/ 201 w 420"/>
                <a:gd name="T95" fmla="*/ 381 h 800"/>
                <a:gd name="T96" fmla="*/ 199 w 420"/>
                <a:gd name="T97" fmla="*/ 419 h 800"/>
                <a:gd name="T98" fmla="*/ 265 w 420"/>
                <a:gd name="T99" fmla="*/ 457 h 800"/>
                <a:gd name="T100" fmla="*/ 287 w 420"/>
                <a:gd name="T101" fmla="*/ 431 h 800"/>
                <a:gd name="T102" fmla="*/ 276 w 420"/>
                <a:gd name="T103" fmla="*/ 402 h 800"/>
                <a:gd name="T104" fmla="*/ 267 w 420"/>
                <a:gd name="T105" fmla="*/ 371 h 800"/>
                <a:gd name="T106" fmla="*/ 313 w 420"/>
                <a:gd name="T107" fmla="*/ 327 h 800"/>
                <a:gd name="T108" fmla="*/ 368 w 420"/>
                <a:gd name="T109" fmla="*/ 325 h 800"/>
                <a:gd name="T110" fmla="*/ 410 w 420"/>
                <a:gd name="T111" fmla="*/ 31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800">
                  <a:moveTo>
                    <a:pt x="395" y="285"/>
                  </a:moveTo>
                  <a:cubicBezTo>
                    <a:pt x="393" y="281"/>
                    <a:pt x="408" y="268"/>
                    <a:pt x="402" y="258"/>
                  </a:cubicBezTo>
                  <a:cubicBezTo>
                    <a:pt x="396" y="248"/>
                    <a:pt x="393" y="255"/>
                    <a:pt x="393" y="255"/>
                  </a:cubicBezTo>
                  <a:cubicBezTo>
                    <a:pt x="393" y="255"/>
                    <a:pt x="391" y="242"/>
                    <a:pt x="391" y="238"/>
                  </a:cubicBezTo>
                  <a:cubicBezTo>
                    <a:pt x="391" y="234"/>
                    <a:pt x="373" y="227"/>
                    <a:pt x="368" y="218"/>
                  </a:cubicBezTo>
                  <a:cubicBezTo>
                    <a:pt x="363" y="209"/>
                    <a:pt x="356" y="189"/>
                    <a:pt x="356" y="189"/>
                  </a:cubicBezTo>
                  <a:cubicBezTo>
                    <a:pt x="355" y="161"/>
                    <a:pt x="355" y="161"/>
                    <a:pt x="355" y="161"/>
                  </a:cubicBezTo>
                  <a:cubicBezTo>
                    <a:pt x="355" y="161"/>
                    <a:pt x="341" y="149"/>
                    <a:pt x="323" y="138"/>
                  </a:cubicBezTo>
                  <a:cubicBezTo>
                    <a:pt x="305" y="127"/>
                    <a:pt x="318" y="121"/>
                    <a:pt x="310" y="119"/>
                  </a:cubicBezTo>
                  <a:cubicBezTo>
                    <a:pt x="302" y="117"/>
                    <a:pt x="295" y="119"/>
                    <a:pt x="295" y="119"/>
                  </a:cubicBezTo>
                  <a:cubicBezTo>
                    <a:pt x="295" y="119"/>
                    <a:pt x="282" y="110"/>
                    <a:pt x="272" y="111"/>
                  </a:cubicBezTo>
                  <a:cubicBezTo>
                    <a:pt x="262" y="112"/>
                    <a:pt x="265" y="137"/>
                    <a:pt x="251" y="136"/>
                  </a:cubicBezTo>
                  <a:cubicBezTo>
                    <a:pt x="237" y="135"/>
                    <a:pt x="223" y="124"/>
                    <a:pt x="216" y="122"/>
                  </a:cubicBezTo>
                  <a:cubicBezTo>
                    <a:pt x="209" y="120"/>
                    <a:pt x="196" y="145"/>
                    <a:pt x="196" y="145"/>
                  </a:cubicBezTo>
                  <a:cubicBezTo>
                    <a:pt x="196" y="145"/>
                    <a:pt x="177" y="161"/>
                    <a:pt x="167" y="158"/>
                  </a:cubicBezTo>
                  <a:cubicBezTo>
                    <a:pt x="157" y="155"/>
                    <a:pt x="181" y="124"/>
                    <a:pt x="181" y="115"/>
                  </a:cubicBezTo>
                  <a:cubicBezTo>
                    <a:pt x="181" y="106"/>
                    <a:pt x="168" y="107"/>
                    <a:pt x="168" y="107"/>
                  </a:cubicBezTo>
                  <a:cubicBezTo>
                    <a:pt x="168" y="107"/>
                    <a:pt x="182" y="96"/>
                    <a:pt x="182" y="87"/>
                  </a:cubicBezTo>
                  <a:cubicBezTo>
                    <a:pt x="182" y="78"/>
                    <a:pt x="174" y="71"/>
                    <a:pt x="174" y="71"/>
                  </a:cubicBezTo>
                  <a:cubicBezTo>
                    <a:pt x="174" y="71"/>
                    <a:pt x="176" y="65"/>
                    <a:pt x="176" y="51"/>
                  </a:cubicBezTo>
                  <a:cubicBezTo>
                    <a:pt x="176" y="37"/>
                    <a:pt x="153" y="46"/>
                    <a:pt x="153" y="46"/>
                  </a:cubicBezTo>
                  <a:cubicBezTo>
                    <a:pt x="155" y="54"/>
                    <a:pt x="155" y="54"/>
                    <a:pt x="155" y="54"/>
                  </a:cubicBezTo>
                  <a:cubicBezTo>
                    <a:pt x="155" y="54"/>
                    <a:pt x="142" y="54"/>
                    <a:pt x="136" y="49"/>
                  </a:cubicBezTo>
                  <a:cubicBezTo>
                    <a:pt x="130" y="44"/>
                    <a:pt x="137" y="23"/>
                    <a:pt x="136" y="15"/>
                  </a:cubicBezTo>
                  <a:cubicBezTo>
                    <a:pt x="135" y="7"/>
                    <a:pt x="125" y="12"/>
                    <a:pt x="125" y="12"/>
                  </a:cubicBezTo>
                  <a:cubicBezTo>
                    <a:pt x="125" y="12"/>
                    <a:pt x="114" y="2"/>
                    <a:pt x="110" y="1"/>
                  </a:cubicBezTo>
                  <a:cubicBezTo>
                    <a:pt x="106" y="0"/>
                    <a:pt x="87" y="6"/>
                    <a:pt x="87" y="6"/>
                  </a:cubicBezTo>
                  <a:cubicBezTo>
                    <a:pt x="82" y="21"/>
                    <a:pt x="82" y="21"/>
                    <a:pt x="82" y="21"/>
                  </a:cubicBezTo>
                  <a:cubicBezTo>
                    <a:pt x="65" y="22"/>
                    <a:pt x="65" y="22"/>
                    <a:pt x="65" y="22"/>
                  </a:cubicBezTo>
                  <a:cubicBezTo>
                    <a:pt x="65" y="22"/>
                    <a:pt x="63" y="40"/>
                    <a:pt x="53" y="43"/>
                  </a:cubicBezTo>
                  <a:cubicBezTo>
                    <a:pt x="43" y="46"/>
                    <a:pt x="34" y="35"/>
                    <a:pt x="23" y="37"/>
                  </a:cubicBezTo>
                  <a:cubicBezTo>
                    <a:pt x="12" y="39"/>
                    <a:pt x="20" y="55"/>
                    <a:pt x="19" y="64"/>
                  </a:cubicBezTo>
                  <a:cubicBezTo>
                    <a:pt x="18" y="73"/>
                    <a:pt x="8" y="74"/>
                    <a:pt x="7" y="78"/>
                  </a:cubicBezTo>
                  <a:cubicBezTo>
                    <a:pt x="6" y="82"/>
                    <a:pt x="17" y="93"/>
                    <a:pt x="17" y="102"/>
                  </a:cubicBezTo>
                  <a:cubicBezTo>
                    <a:pt x="17" y="111"/>
                    <a:pt x="6" y="105"/>
                    <a:pt x="3" y="108"/>
                  </a:cubicBezTo>
                  <a:cubicBezTo>
                    <a:pt x="0" y="111"/>
                    <a:pt x="3" y="116"/>
                    <a:pt x="8" y="120"/>
                  </a:cubicBezTo>
                  <a:cubicBezTo>
                    <a:pt x="13" y="124"/>
                    <a:pt x="26" y="130"/>
                    <a:pt x="26" y="130"/>
                  </a:cubicBezTo>
                  <a:cubicBezTo>
                    <a:pt x="22" y="145"/>
                    <a:pt x="22" y="145"/>
                    <a:pt x="22" y="145"/>
                  </a:cubicBezTo>
                  <a:cubicBezTo>
                    <a:pt x="22" y="145"/>
                    <a:pt x="27" y="148"/>
                    <a:pt x="30" y="158"/>
                  </a:cubicBezTo>
                  <a:cubicBezTo>
                    <a:pt x="33" y="168"/>
                    <a:pt x="59" y="177"/>
                    <a:pt x="67" y="188"/>
                  </a:cubicBezTo>
                  <a:cubicBezTo>
                    <a:pt x="75" y="199"/>
                    <a:pt x="61" y="194"/>
                    <a:pt x="66" y="206"/>
                  </a:cubicBezTo>
                  <a:cubicBezTo>
                    <a:pt x="71" y="218"/>
                    <a:pt x="79" y="219"/>
                    <a:pt x="79" y="219"/>
                  </a:cubicBezTo>
                  <a:cubicBezTo>
                    <a:pt x="79" y="219"/>
                    <a:pt x="85" y="211"/>
                    <a:pt x="85" y="224"/>
                  </a:cubicBezTo>
                  <a:cubicBezTo>
                    <a:pt x="85" y="237"/>
                    <a:pt x="73" y="236"/>
                    <a:pt x="73" y="236"/>
                  </a:cubicBezTo>
                  <a:cubicBezTo>
                    <a:pt x="73" y="236"/>
                    <a:pt x="76" y="247"/>
                    <a:pt x="76" y="253"/>
                  </a:cubicBezTo>
                  <a:cubicBezTo>
                    <a:pt x="76" y="259"/>
                    <a:pt x="75" y="269"/>
                    <a:pt x="65" y="279"/>
                  </a:cubicBezTo>
                  <a:cubicBezTo>
                    <a:pt x="55" y="289"/>
                    <a:pt x="63" y="302"/>
                    <a:pt x="63" y="302"/>
                  </a:cubicBezTo>
                  <a:cubicBezTo>
                    <a:pt x="63" y="302"/>
                    <a:pt x="75" y="316"/>
                    <a:pt x="79" y="326"/>
                  </a:cubicBezTo>
                  <a:cubicBezTo>
                    <a:pt x="83" y="336"/>
                    <a:pt x="105" y="349"/>
                    <a:pt x="109" y="364"/>
                  </a:cubicBezTo>
                  <a:cubicBezTo>
                    <a:pt x="113" y="379"/>
                    <a:pt x="108" y="403"/>
                    <a:pt x="112" y="409"/>
                  </a:cubicBezTo>
                  <a:cubicBezTo>
                    <a:pt x="116" y="415"/>
                    <a:pt x="131" y="427"/>
                    <a:pt x="131" y="427"/>
                  </a:cubicBezTo>
                  <a:cubicBezTo>
                    <a:pt x="131" y="427"/>
                    <a:pt x="129" y="437"/>
                    <a:pt x="133" y="450"/>
                  </a:cubicBezTo>
                  <a:cubicBezTo>
                    <a:pt x="137" y="463"/>
                    <a:pt x="130" y="488"/>
                    <a:pt x="127" y="498"/>
                  </a:cubicBezTo>
                  <a:cubicBezTo>
                    <a:pt x="124" y="508"/>
                    <a:pt x="119" y="515"/>
                    <a:pt x="110" y="522"/>
                  </a:cubicBezTo>
                  <a:cubicBezTo>
                    <a:pt x="101" y="529"/>
                    <a:pt x="109" y="536"/>
                    <a:pt x="108" y="545"/>
                  </a:cubicBezTo>
                  <a:cubicBezTo>
                    <a:pt x="107" y="554"/>
                    <a:pt x="98" y="567"/>
                    <a:pt x="98" y="567"/>
                  </a:cubicBezTo>
                  <a:cubicBezTo>
                    <a:pt x="98" y="567"/>
                    <a:pt x="86" y="599"/>
                    <a:pt x="84" y="615"/>
                  </a:cubicBezTo>
                  <a:cubicBezTo>
                    <a:pt x="82" y="631"/>
                    <a:pt x="84" y="676"/>
                    <a:pt x="84" y="676"/>
                  </a:cubicBezTo>
                  <a:cubicBezTo>
                    <a:pt x="84" y="676"/>
                    <a:pt x="94" y="686"/>
                    <a:pt x="96" y="676"/>
                  </a:cubicBezTo>
                  <a:cubicBezTo>
                    <a:pt x="97" y="666"/>
                    <a:pt x="97" y="642"/>
                    <a:pt x="101" y="653"/>
                  </a:cubicBezTo>
                  <a:cubicBezTo>
                    <a:pt x="104" y="665"/>
                    <a:pt x="96" y="665"/>
                    <a:pt x="110" y="667"/>
                  </a:cubicBezTo>
                  <a:cubicBezTo>
                    <a:pt x="124" y="668"/>
                    <a:pt x="132" y="698"/>
                    <a:pt x="132" y="698"/>
                  </a:cubicBezTo>
                  <a:cubicBezTo>
                    <a:pt x="155" y="718"/>
                    <a:pt x="155" y="718"/>
                    <a:pt x="155" y="718"/>
                  </a:cubicBezTo>
                  <a:cubicBezTo>
                    <a:pt x="155" y="718"/>
                    <a:pt x="150" y="729"/>
                    <a:pt x="159" y="743"/>
                  </a:cubicBezTo>
                  <a:cubicBezTo>
                    <a:pt x="165" y="754"/>
                    <a:pt x="173" y="762"/>
                    <a:pt x="177" y="766"/>
                  </a:cubicBezTo>
                  <a:cubicBezTo>
                    <a:pt x="181" y="762"/>
                    <a:pt x="184" y="758"/>
                    <a:pt x="184" y="754"/>
                  </a:cubicBezTo>
                  <a:cubicBezTo>
                    <a:pt x="183" y="745"/>
                    <a:pt x="182" y="739"/>
                    <a:pt x="189" y="738"/>
                  </a:cubicBezTo>
                  <a:cubicBezTo>
                    <a:pt x="196" y="737"/>
                    <a:pt x="198" y="749"/>
                    <a:pt x="198" y="749"/>
                  </a:cubicBezTo>
                  <a:cubicBezTo>
                    <a:pt x="198" y="749"/>
                    <a:pt x="209" y="749"/>
                    <a:pt x="216" y="753"/>
                  </a:cubicBezTo>
                  <a:cubicBezTo>
                    <a:pt x="223" y="757"/>
                    <a:pt x="222" y="765"/>
                    <a:pt x="222" y="765"/>
                  </a:cubicBezTo>
                  <a:cubicBezTo>
                    <a:pt x="222" y="765"/>
                    <a:pt x="229" y="763"/>
                    <a:pt x="229" y="769"/>
                  </a:cubicBezTo>
                  <a:cubicBezTo>
                    <a:pt x="229" y="775"/>
                    <a:pt x="213" y="787"/>
                    <a:pt x="226" y="791"/>
                  </a:cubicBezTo>
                  <a:cubicBezTo>
                    <a:pt x="239" y="795"/>
                    <a:pt x="238" y="785"/>
                    <a:pt x="249" y="784"/>
                  </a:cubicBezTo>
                  <a:cubicBezTo>
                    <a:pt x="260" y="783"/>
                    <a:pt x="262" y="800"/>
                    <a:pt x="268" y="792"/>
                  </a:cubicBezTo>
                  <a:cubicBezTo>
                    <a:pt x="272" y="787"/>
                    <a:pt x="277" y="776"/>
                    <a:pt x="280" y="768"/>
                  </a:cubicBezTo>
                  <a:cubicBezTo>
                    <a:pt x="271" y="761"/>
                    <a:pt x="261" y="755"/>
                    <a:pt x="261" y="755"/>
                  </a:cubicBezTo>
                  <a:cubicBezTo>
                    <a:pt x="261" y="755"/>
                    <a:pt x="256" y="731"/>
                    <a:pt x="253" y="721"/>
                  </a:cubicBezTo>
                  <a:cubicBezTo>
                    <a:pt x="250" y="711"/>
                    <a:pt x="223" y="731"/>
                    <a:pt x="215" y="727"/>
                  </a:cubicBezTo>
                  <a:cubicBezTo>
                    <a:pt x="208" y="723"/>
                    <a:pt x="201" y="686"/>
                    <a:pt x="196" y="689"/>
                  </a:cubicBezTo>
                  <a:cubicBezTo>
                    <a:pt x="191" y="693"/>
                    <a:pt x="196" y="704"/>
                    <a:pt x="190" y="705"/>
                  </a:cubicBezTo>
                  <a:cubicBezTo>
                    <a:pt x="184" y="706"/>
                    <a:pt x="169" y="683"/>
                    <a:pt x="177" y="675"/>
                  </a:cubicBezTo>
                  <a:cubicBezTo>
                    <a:pt x="185" y="667"/>
                    <a:pt x="182" y="682"/>
                    <a:pt x="190" y="679"/>
                  </a:cubicBezTo>
                  <a:cubicBezTo>
                    <a:pt x="198" y="676"/>
                    <a:pt x="180" y="645"/>
                    <a:pt x="178" y="639"/>
                  </a:cubicBezTo>
                  <a:cubicBezTo>
                    <a:pt x="176" y="633"/>
                    <a:pt x="165" y="635"/>
                    <a:pt x="165" y="635"/>
                  </a:cubicBezTo>
                  <a:cubicBezTo>
                    <a:pt x="166" y="598"/>
                    <a:pt x="166" y="598"/>
                    <a:pt x="166" y="598"/>
                  </a:cubicBezTo>
                  <a:cubicBezTo>
                    <a:pt x="131" y="608"/>
                    <a:pt x="131" y="608"/>
                    <a:pt x="131" y="608"/>
                  </a:cubicBezTo>
                  <a:cubicBezTo>
                    <a:pt x="131" y="608"/>
                    <a:pt x="127" y="549"/>
                    <a:pt x="126" y="542"/>
                  </a:cubicBezTo>
                  <a:cubicBezTo>
                    <a:pt x="125" y="534"/>
                    <a:pt x="120" y="524"/>
                    <a:pt x="120" y="524"/>
                  </a:cubicBezTo>
                  <a:cubicBezTo>
                    <a:pt x="120" y="524"/>
                    <a:pt x="136" y="516"/>
                    <a:pt x="137" y="498"/>
                  </a:cubicBezTo>
                  <a:cubicBezTo>
                    <a:pt x="138" y="479"/>
                    <a:pt x="138" y="456"/>
                    <a:pt x="138" y="456"/>
                  </a:cubicBezTo>
                  <a:cubicBezTo>
                    <a:pt x="138" y="456"/>
                    <a:pt x="152" y="449"/>
                    <a:pt x="153" y="425"/>
                  </a:cubicBezTo>
                  <a:cubicBezTo>
                    <a:pt x="154" y="400"/>
                    <a:pt x="147" y="396"/>
                    <a:pt x="147" y="396"/>
                  </a:cubicBezTo>
                  <a:cubicBezTo>
                    <a:pt x="151" y="374"/>
                    <a:pt x="151" y="374"/>
                    <a:pt x="151" y="374"/>
                  </a:cubicBezTo>
                  <a:cubicBezTo>
                    <a:pt x="158" y="374"/>
                    <a:pt x="158" y="374"/>
                    <a:pt x="158" y="374"/>
                  </a:cubicBezTo>
                  <a:cubicBezTo>
                    <a:pt x="158" y="374"/>
                    <a:pt x="159" y="366"/>
                    <a:pt x="171" y="367"/>
                  </a:cubicBezTo>
                  <a:cubicBezTo>
                    <a:pt x="182" y="367"/>
                    <a:pt x="201" y="381"/>
                    <a:pt x="201" y="381"/>
                  </a:cubicBezTo>
                  <a:cubicBezTo>
                    <a:pt x="193" y="387"/>
                    <a:pt x="193" y="387"/>
                    <a:pt x="193" y="387"/>
                  </a:cubicBezTo>
                  <a:cubicBezTo>
                    <a:pt x="193" y="387"/>
                    <a:pt x="188" y="419"/>
                    <a:pt x="199" y="419"/>
                  </a:cubicBezTo>
                  <a:cubicBezTo>
                    <a:pt x="211" y="420"/>
                    <a:pt x="247" y="403"/>
                    <a:pt x="247" y="403"/>
                  </a:cubicBezTo>
                  <a:cubicBezTo>
                    <a:pt x="265" y="457"/>
                    <a:pt x="265" y="457"/>
                    <a:pt x="265" y="457"/>
                  </a:cubicBezTo>
                  <a:cubicBezTo>
                    <a:pt x="265" y="457"/>
                    <a:pt x="273" y="445"/>
                    <a:pt x="284" y="450"/>
                  </a:cubicBezTo>
                  <a:cubicBezTo>
                    <a:pt x="287" y="431"/>
                    <a:pt x="287" y="431"/>
                    <a:pt x="287" y="431"/>
                  </a:cubicBezTo>
                  <a:cubicBezTo>
                    <a:pt x="276" y="421"/>
                    <a:pt x="276" y="421"/>
                    <a:pt x="276" y="421"/>
                  </a:cubicBezTo>
                  <a:cubicBezTo>
                    <a:pt x="276" y="402"/>
                    <a:pt x="276" y="402"/>
                    <a:pt x="276" y="402"/>
                  </a:cubicBezTo>
                  <a:cubicBezTo>
                    <a:pt x="269" y="396"/>
                    <a:pt x="269" y="396"/>
                    <a:pt x="269" y="396"/>
                  </a:cubicBezTo>
                  <a:cubicBezTo>
                    <a:pt x="267" y="371"/>
                    <a:pt x="267" y="371"/>
                    <a:pt x="267" y="371"/>
                  </a:cubicBezTo>
                  <a:cubicBezTo>
                    <a:pt x="286" y="351"/>
                    <a:pt x="286" y="351"/>
                    <a:pt x="286" y="351"/>
                  </a:cubicBezTo>
                  <a:cubicBezTo>
                    <a:pt x="286" y="351"/>
                    <a:pt x="286" y="332"/>
                    <a:pt x="313" y="327"/>
                  </a:cubicBezTo>
                  <a:cubicBezTo>
                    <a:pt x="340" y="322"/>
                    <a:pt x="341" y="332"/>
                    <a:pt x="341" y="332"/>
                  </a:cubicBezTo>
                  <a:cubicBezTo>
                    <a:pt x="341" y="332"/>
                    <a:pt x="363" y="326"/>
                    <a:pt x="368" y="325"/>
                  </a:cubicBezTo>
                  <a:cubicBezTo>
                    <a:pt x="373" y="324"/>
                    <a:pt x="390" y="333"/>
                    <a:pt x="390" y="333"/>
                  </a:cubicBezTo>
                  <a:cubicBezTo>
                    <a:pt x="390" y="333"/>
                    <a:pt x="400" y="328"/>
                    <a:pt x="410" y="316"/>
                  </a:cubicBezTo>
                  <a:cubicBezTo>
                    <a:pt x="420" y="304"/>
                    <a:pt x="397" y="289"/>
                    <a:pt x="395" y="285"/>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91" name="Tajikistan">
              <a:extLst>
                <a:ext uri="{FF2B5EF4-FFF2-40B4-BE49-F238E27FC236}">
                  <a16:creationId xmlns:a16="http://schemas.microsoft.com/office/drawing/2014/main" id="{C041DB4B-CBA6-443F-A60D-D05319AE5841}"/>
                </a:ext>
              </a:extLst>
            </p:cNvPr>
            <p:cNvSpPr>
              <a:spLocks/>
            </p:cNvSpPr>
            <p:nvPr/>
          </p:nvSpPr>
          <p:spPr bwMode="gray">
            <a:xfrm>
              <a:off x="7289714" y="2849049"/>
              <a:ext cx="207998" cy="133288"/>
            </a:xfrm>
            <a:custGeom>
              <a:avLst/>
              <a:gdLst>
                <a:gd name="T0" fmla="*/ 345 w 372"/>
                <a:gd name="T1" fmla="*/ 142 h 238"/>
                <a:gd name="T2" fmla="*/ 291 w 372"/>
                <a:gd name="T3" fmla="*/ 132 h 238"/>
                <a:gd name="T4" fmla="*/ 275 w 372"/>
                <a:gd name="T5" fmla="*/ 99 h 238"/>
                <a:gd name="T6" fmla="*/ 266 w 372"/>
                <a:gd name="T7" fmla="*/ 79 h 238"/>
                <a:gd name="T8" fmla="*/ 230 w 372"/>
                <a:gd name="T9" fmla="*/ 87 h 238"/>
                <a:gd name="T10" fmla="*/ 210 w 372"/>
                <a:gd name="T11" fmla="*/ 90 h 238"/>
                <a:gd name="T12" fmla="*/ 176 w 372"/>
                <a:gd name="T13" fmla="*/ 76 h 238"/>
                <a:gd name="T14" fmla="*/ 142 w 372"/>
                <a:gd name="T15" fmla="*/ 77 h 238"/>
                <a:gd name="T16" fmla="*/ 108 w 372"/>
                <a:gd name="T17" fmla="*/ 75 h 238"/>
                <a:gd name="T18" fmla="*/ 76 w 372"/>
                <a:gd name="T19" fmla="*/ 62 h 238"/>
                <a:gd name="T20" fmla="*/ 101 w 372"/>
                <a:gd name="T21" fmla="*/ 43 h 238"/>
                <a:gd name="T22" fmla="*/ 141 w 372"/>
                <a:gd name="T23" fmla="*/ 45 h 238"/>
                <a:gd name="T24" fmla="*/ 133 w 372"/>
                <a:gd name="T25" fmla="*/ 12 h 238"/>
                <a:gd name="T26" fmla="*/ 91 w 372"/>
                <a:gd name="T27" fmla="*/ 21 h 238"/>
                <a:gd name="T28" fmla="*/ 65 w 372"/>
                <a:gd name="T29" fmla="*/ 25 h 238"/>
                <a:gd name="T30" fmla="*/ 46 w 372"/>
                <a:gd name="T31" fmla="*/ 43 h 238"/>
                <a:gd name="T32" fmla="*/ 49 w 372"/>
                <a:gd name="T33" fmla="*/ 66 h 238"/>
                <a:gd name="T34" fmla="*/ 6 w 372"/>
                <a:gd name="T35" fmla="*/ 82 h 238"/>
                <a:gd name="T36" fmla="*/ 14 w 372"/>
                <a:gd name="T37" fmla="*/ 100 h 238"/>
                <a:gd name="T38" fmla="*/ 42 w 372"/>
                <a:gd name="T39" fmla="*/ 114 h 238"/>
                <a:gd name="T40" fmla="*/ 61 w 372"/>
                <a:gd name="T41" fmla="*/ 158 h 238"/>
                <a:gd name="T42" fmla="*/ 42 w 372"/>
                <a:gd name="T43" fmla="*/ 206 h 238"/>
                <a:gd name="T44" fmla="*/ 89 w 372"/>
                <a:gd name="T45" fmla="*/ 199 h 238"/>
                <a:gd name="T46" fmla="*/ 111 w 372"/>
                <a:gd name="T47" fmla="*/ 189 h 238"/>
                <a:gd name="T48" fmla="*/ 145 w 372"/>
                <a:gd name="T49" fmla="*/ 189 h 238"/>
                <a:gd name="T50" fmla="*/ 142 w 372"/>
                <a:gd name="T51" fmla="*/ 168 h 238"/>
                <a:gd name="T52" fmla="*/ 164 w 372"/>
                <a:gd name="T53" fmla="*/ 135 h 238"/>
                <a:gd name="T54" fmla="*/ 184 w 372"/>
                <a:gd name="T55" fmla="*/ 168 h 238"/>
                <a:gd name="T56" fmla="*/ 205 w 372"/>
                <a:gd name="T57" fmla="*/ 210 h 238"/>
                <a:gd name="T58" fmla="*/ 249 w 372"/>
                <a:gd name="T59" fmla="*/ 216 h 238"/>
                <a:gd name="T60" fmla="*/ 273 w 372"/>
                <a:gd name="T61" fmla="*/ 197 h 238"/>
                <a:gd name="T62" fmla="*/ 306 w 372"/>
                <a:gd name="T63" fmla="*/ 202 h 238"/>
                <a:gd name="T64" fmla="*/ 343 w 372"/>
                <a:gd name="T65" fmla="*/ 194 h 238"/>
                <a:gd name="T66" fmla="*/ 364 w 372"/>
                <a:gd name="T67" fmla="*/ 19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38">
                  <a:moveTo>
                    <a:pt x="353" y="181"/>
                  </a:moveTo>
                  <a:cubicBezTo>
                    <a:pt x="346" y="174"/>
                    <a:pt x="345" y="152"/>
                    <a:pt x="345" y="142"/>
                  </a:cubicBezTo>
                  <a:cubicBezTo>
                    <a:pt x="345" y="132"/>
                    <a:pt x="333" y="129"/>
                    <a:pt x="319" y="125"/>
                  </a:cubicBezTo>
                  <a:cubicBezTo>
                    <a:pt x="305" y="121"/>
                    <a:pt x="301" y="136"/>
                    <a:pt x="291" y="132"/>
                  </a:cubicBezTo>
                  <a:cubicBezTo>
                    <a:pt x="281" y="128"/>
                    <a:pt x="289" y="110"/>
                    <a:pt x="289" y="103"/>
                  </a:cubicBezTo>
                  <a:cubicBezTo>
                    <a:pt x="289" y="96"/>
                    <a:pt x="275" y="99"/>
                    <a:pt x="275" y="99"/>
                  </a:cubicBezTo>
                  <a:cubicBezTo>
                    <a:pt x="275" y="82"/>
                    <a:pt x="275" y="82"/>
                    <a:pt x="275" y="82"/>
                  </a:cubicBezTo>
                  <a:cubicBezTo>
                    <a:pt x="266" y="79"/>
                    <a:pt x="266" y="79"/>
                    <a:pt x="266" y="79"/>
                  </a:cubicBezTo>
                  <a:cubicBezTo>
                    <a:pt x="258" y="88"/>
                    <a:pt x="258" y="88"/>
                    <a:pt x="258" y="88"/>
                  </a:cubicBezTo>
                  <a:cubicBezTo>
                    <a:pt x="230" y="87"/>
                    <a:pt x="230" y="87"/>
                    <a:pt x="230" y="87"/>
                  </a:cubicBezTo>
                  <a:cubicBezTo>
                    <a:pt x="230" y="87"/>
                    <a:pt x="226" y="90"/>
                    <a:pt x="216" y="93"/>
                  </a:cubicBezTo>
                  <a:cubicBezTo>
                    <a:pt x="206" y="96"/>
                    <a:pt x="210" y="90"/>
                    <a:pt x="210" y="90"/>
                  </a:cubicBezTo>
                  <a:cubicBezTo>
                    <a:pt x="210" y="90"/>
                    <a:pt x="198" y="93"/>
                    <a:pt x="195" y="93"/>
                  </a:cubicBezTo>
                  <a:cubicBezTo>
                    <a:pt x="192" y="93"/>
                    <a:pt x="181" y="75"/>
                    <a:pt x="176" y="76"/>
                  </a:cubicBezTo>
                  <a:cubicBezTo>
                    <a:pt x="171" y="77"/>
                    <a:pt x="160" y="85"/>
                    <a:pt x="154" y="86"/>
                  </a:cubicBezTo>
                  <a:cubicBezTo>
                    <a:pt x="148" y="87"/>
                    <a:pt x="142" y="77"/>
                    <a:pt x="142" y="77"/>
                  </a:cubicBezTo>
                  <a:cubicBezTo>
                    <a:pt x="142" y="77"/>
                    <a:pt x="135" y="76"/>
                    <a:pt x="130" y="78"/>
                  </a:cubicBezTo>
                  <a:cubicBezTo>
                    <a:pt x="125" y="80"/>
                    <a:pt x="108" y="75"/>
                    <a:pt x="108" y="75"/>
                  </a:cubicBezTo>
                  <a:cubicBezTo>
                    <a:pt x="108" y="75"/>
                    <a:pt x="93" y="80"/>
                    <a:pt x="86" y="81"/>
                  </a:cubicBezTo>
                  <a:cubicBezTo>
                    <a:pt x="79" y="82"/>
                    <a:pt x="76" y="62"/>
                    <a:pt x="76" y="62"/>
                  </a:cubicBezTo>
                  <a:cubicBezTo>
                    <a:pt x="85" y="59"/>
                    <a:pt x="85" y="59"/>
                    <a:pt x="85" y="59"/>
                  </a:cubicBezTo>
                  <a:cubicBezTo>
                    <a:pt x="85" y="59"/>
                    <a:pt x="88" y="44"/>
                    <a:pt x="101" y="43"/>
                  </a:cubicBezTo>
                  <a:cubicBezTo>
                    <a:pt x="114" y="42"/>
                    <a:pt x="124" y="52"/>
                    <a:pt x="131" y="56"/>
                  </a:cubicBezTo>
                  <a:cubicBezTo>
                    <a:pt x="138" y="60"/>
                    <a:pt x="140" y="49"/>
                    <a:pt x="141" y="45"/>
                  </a:cubicBezTo>
                  <a:cubicBezTo>
                    <a:pt x="142" y="41"/>
                    <a:pt x="117" y="33"/>
                    <a:pt x="117" y="33"/>
                  </a:cubicBezTo>
                  <a:cubicBezTo>
                    <a:pt x="133" y="12"/>
                    <a:pt x="133" y="12"/>
                    <a:pt x="133" y="12"/>
                  </a:cubicBezTo>
                  <a:cubicBezTo>
                    <a:pt x="133" y="12"/>
                    <a:pt x="118" y="0"/>
                    <a:pt x="114" y="2"/>
                  </a:cubicBezTo>
                  <a:cubicBezTo>
                    <a:pt x="110" y="4"/>
                    <a:pt x="99" y="16"/>
                    <a:pt x="91" y="21"/>
                  </a:cubicBezTo>
                  <a:cubicBezTo>
                    <a:pt x="83" y="26"/>
                    <a:pt x="80" y="12"/>
                    <a:pt x="74" y="12"/>
                  </a:cubicBezTo>
                  <a:cubicBezTo>
                    <a:pt x="68" y="12"/>
                    <a:pt x="66" y="21"/>
                    <a:pt x="65" y="25"/>
                  </a:cubicBezTo>
                  <a:cubicBezTo>
                    <a:pt x="64" y="29"/>
                    <a:pt x="77" y="36"/>
                    <a:pt x="71" y="42"/>
                  </a:cubicBezTo>
                  <a:cubicBezTo>
                    <a:pt x="65" y="48"/>
                    <a:pt x="46" y="43"/>
                    <a:pt x="46" y="43"/>
                  </a:cubicBezTo>
                  <a:cubicBezTo>
                    <a:pt x="59" y="57"/>
                    <a:pt x="59" y="57"/>
                    <a:pt x="59" y="57"/>
                  </a:cubicBezTo>
                  <a:cubicBezTo>
                    <a:pt x="49" y="66"/>
                    <a:pt x="49" y="66"/>
                    <a:pt x="49" y="66"/>
                  </a:cubicBezTo>
                  <a:cubicBezTo>
                    <a:pt x="49" y="66"/>
                    <a:pt x="61" y="71"/>
                    <a:pt x="46" y="80"/>
                  </a:cubicBezTo>
                  <a:cubicBezTo>
                    <a:pt x="31" y="89"/>
                    <a:pt x="12" y="77"/>
                    <a:pt x="6" y="82"/>
                  </a:cubicBezTo>
                  <a:cubicBezTo>
                    <a:pt x="0" y="87"/>
                    <a:pt x="0" y="97"/>
                    <a:pt x="0" y="97"/>
                  </a:cubicBezTo>
                  <a:cubicBezTo>
                    <a:pt x="14" y="100"/>
                    <a:pt x="14" y="100"/>
                    <a:pt x="14" y="100"/>
                  </a:cubicBezTo>
                  <a:cubicBezTo>
                    <a:pt x="21" y="108"/>
                    <a:pt x="21" y="108"/>
                    <a:pt x="21" y="108"/>
                  </a:cubicBezTo>
                  <a:cubicBezTo>
                    <a:pt x="21" y="108"/>
                    <a:pt x="37" y="109"/>
                    <a:pt x="42" y="114"/>
                  </a:cubicBezTo>
                  <a:cubicBezTo>
                    <a:pt x="47" y="119"/>
                    <a:pt x="36" y="128"/>
                    <a:pt x="42" y="138"/>
                  </a:cubicBezTo>
                  <a:cubicBezTo>
                    <a:pt x="48" y="148"/>
                    <a:pt x="61" y="147"/>
                    <a:pt x="61" y="158"/>
                  </a:cubicBezTo>
                  <a:cubicBezTo>
                    <a:pt x="61" y="169"/>
                    <a:pt x="51" y="179"/>
                    <a:pt x="44" y="187"/>
                  </a:cubicBezTo>
                  <a:cubicBezTo>
                    <a:pt x="40" y="191"/>
                    <a:pt x="41" y="200"/>
                    <a:pt x="42" y="206"/>
                  </a:cubicBezTo>
                  <a:cubicBezTo>
                    <a:pt x="48" y="211"/>
                    <a:pt x="56" y="217"/>
                    <a:pt x="58" y="218"/>
                  </a:cubicBezTo>
                  <a:cubicBezTo>
                    <a:pt x="61" y="219"/>
                    <a:pt x="86" y="199"/>
                    <a:pt x="89" y="199"/>
                  </a:cubicBezTo>
                  <a:cubicBezTo>
                    <a:pt x="92" y="199"/>
                    <a:pt x="103" y="216"/>
                    <a:pt x="107" y="214"/>
                  </a:cubicBezTo>
                  <a:cubicBezTo>
                    <a:pt x="111" y="212"/>
                    <a:pt x="106" y="194"/>
                    <a:pt x="111" y="189"/>
                  </a:cubicBezTo>
                  <a:cubicBezTo>
                    <a:pt x="116" y="184"/>
                    <a:pt x="138" y="183"/>
                    <a:pt x="138" y="183"/>
                  </a:cubicBezTo>
                  <a:cubicBezTo>
                    <a:pt x="145" y="189"/>
                    <a:pt x="145" y="189"/>
                    <a:pt x="145" y="189"/>
                  </a:cubicBezTo>
                  <a:cubicBezTo>
                    <a:pt x="150" y="175"/>
                    <a:pt x="150" y="175"/>
                    <a:pt x="150" y="175"/>
                  </a:cubicBezTo>
                  <a:cubicBezTo>
                    <a:pt x="150" y="175"/>
                    <a:pt x="142" y="175"/>
                    <a:pt x="142" y="168"/>
                  </a:cubicBezTo>
                  <a:cubicBezTo>
                    <a:pt x="142" y="161"/>
                    <a:pt x="156" y="158"/>
                    <a:pt x="156" y="154"/>
                  </a:cubicBezTo>
                  <a:cubicBezTo>
                    <a:pt x="156" y="150"/>
                    <a:pt x="155" y="135"/>
                    <a:pt x="164" y="135"/>
                  </a:cubicBezTo>
                  <a:cubicBezTo>
                    <a:pt x="173" y="135"/>
                    <a:pt x="184" y="144"/>
                    <a:pt x="184" y="149"/>
                  </a:cubicBezTo>
                  <a:cubicBezTo>
                    <a:pt x="184" y="154"/>
                    <a:pt x="184" y="168"/>
                    <a:pt x="184" y="168"/>
                  </a:cubicBezTo>
                  <a:cubicBezTo>
                    <a:pt x="198" y="168"/>
                    <a:pt x="198" y="168"/>
                    <a:pt x="198" y="168"/>
                  </a:cubicBezTo>
                  <a:cubicBezTo>
                    <a:pt x="205" y="210"/>
                    <a:pt x="205" y="210"/>
                    <a:pt x="205" y="210"/>
                  </a:cubicBezTo>
                  <a:cubicBezTo>
                    <a:pt x="205" y="210"/>
                    <a:pt x="221" y="238"/>
                    <a:pt x="228" y="235"/>
                  </a:cubicBezTo>
                  <a:cubicBezTo>
                    <a:pt x="235" y="232"/>
                    <a:pt x="249" y="216"/>
                    <a:pt x="249" y="216"/>
                  </a:cubicBezTo>
                  <a:cubicBezTo>
                    <a:pt x="259" y="216"/>
                    <a:pt x="259" y="216"/>
                    <a:pt x="259" y="216"/>
                  </a:cubicBezTo>
                  <a:cubicBezTo>
                    <a:pt x="259" y="216"/>
                    <a:pt x="266" y="205"/>
                    <a:pt x="273" y="197"/>
                  </a:cubicBezTo>
                  <a:cubicBezTo>
                    <a:pt x="280" y="189"/>
                    <a:pt x="304" y="192"/>
                    <a:pt x="304" y="192"/>
                  </a:cubicBezTo>
                  <a:cubicBezTo>
                    <a:pt x="306" y="202"/>
                    <a:pt x="306" y="202"/>
                    <a:pt x="306" y="202"/>
                  </a:cubicBezTo>
                  <a:cubicBezTo>
                    <a:pt x="330" y="194"/>
                    <a:pt x="330" y="194"/>
                    <a:pt x="330" y="194"/>
                  </a:cubicBezTo>
                  <a:cubicBezTo>
                    <a:pt x="343" y="194"/>
                    <a:pt x="343" y="194"/>
                    <a:pt x="343" y="194"/>
                  </a:cubicBezTo>
                  <a:cubicBezTo>
                    <a:pt x="350" y="199"/>
                    <a:pt x="350" y="199"/>
                    <a:pt x="350" y="199"/>
                  </a:cubicBezTo>
                  <a:cubicBezTo>
                    <a:pt x="355" y="199"/>
                    <a:pt x="361" y="199"/>
                    <a:pt x="364" y="197"/>
                  </a:cubicBezTo>
                  <a:cubicBezTo>
                    <a:pt x="372" y="191"/>
                    <a:pt x="360" y="188"/>
                    <a:pt x="353" y="181"/>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88" name="Taiwan">
              <a:extLst>
                <a:ext uri="{FF2B5EF4-FFF2-40B4-BE49-F238E27FC236}">
                  <a16:creationId xmlns:a16="http://schemas.microsoft.com/office/drawing/2014/main" id="{B592DCD3-E9D8-4EE1-BFD3-21AD6BE589F4}"/>
                </a:ext>
              </a:extLst>
            </p:cNvPr>
            <p:cNvSpPr>
              <a:spLocks/>
            </p:cNvSpPr>
            <p:nvPr/>
          </p:nvSpPr>
          <p:spPr bwMode="gray">
            <a:xfrm>
              <a:off x="8728239" y="3320318"/>
              <a:ext cx="47633" cy="101553"/>
            </a:xfrm>
            <a:custGeom>
              <a:avLst/>
              <a:gdLst>
                <a:gd name="T0" fmla="*/ 62 w 85"/>
                <a:gd name="T1" fmla="*/ 181 h 181"/>
                <a:gd name="T2" fmla="*/ 62 w 85"/>
                <a:gd name="T3" fmla="*/ 148 h 181"/>
                <a:gd name="T4" fmla="*/ 75 w 85"/>
                <a:gd name="T5" fmla="*/ 118 h 181"/>
                <a:gd name="T6" fmla="*/ 75 w 85"/>
                <a:gd name="T7" fmla="*/ 68 h 181"/>
                <a:gd name="T8" fmla="*/ 84 w 85"/>
                <a:gd name="T9" fmla="*/ 43 h 181"/>
                <a:gd name="T10" fmla="*/ 85 w 85"/>
                <a:gd name="T11" fmla="*/ 17 h 181"/>
                <a:gd name="T12" fmla="*/ 56 w 85"/>
                <a:gd name="T13" fmla="*/ 0 h 181"/>
                <a:gd name="T14" fmla="*/ 39 w 85"/>
                <a:gd name="T15" fmla="*/ 20 h 181"/>
                <a:gd name="T16" fmla="*/ 8 w 85"/>
                <a:gd name="T17" fmla="*/ 114 h 181"/>
                <a:gd name="T18" fmla="*/ 34 w 85"/>
                <a:gd name="T19" fmla="*/ 147 h 181"/>
                <a:gd name="T20" fmla="*/ 62 w 85"/>
                <a:gd name="T21"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81">
                  <a:moveTo>
                    <a:pt x="62" y="181"/>
                  </a:moveTo>
                  <a:cubicBezTo>
                    <a:pt x="62" y="148"/>
                    <a:pt x="62" y="148"/>
                    <a:pt x="62" y="148"/>
                  </a:cubicBezTo>
                  <a:cubicBezTo>
                    <a:pt x="62" y="148"/>
                    <a:pt x="75" y="139"/>
                    <a:pt x="75" y="118"/>
                  </a:cubicBezTo>
                  <a:cubicBezTo>
                    <a:pt x="75" y="97"/>
                    <a:pt x="75" y="68"/>
                    <a:pt x="75" y="68"/>
                  </a:cubicBezTo>
                  <a:cubicBezTo>
                    <a:pt x="75" y="68"/>
                    <a:pt x="85" y="55"/>
                    <a:pt x="84" y="43"/>
                  </a:cubicBezTo>
                  <a:cubicBezTo>
                    <a:pt x="83" y="31"/>
                    <a:pt x="85" y="17"/>
                    <a:pt x="85" y="17"/>
                  </a:cubicBezTo>
                  <a:cubicBezTo>
                    <a:pt x="56" y="0"/>
                    <a:pt x="56" y="0"/>
                    <a:pt x="56" y="0"/>
                  </a:cubicBezTo>
                  <a:cubicBezTo>
                    <a:pt x="39" y="20"/>
                    <a:pt x="39" y="20"/>
                    <a:pt x="39" y="20"/>
                  </a:cubicBezTo>
                  <a:cubicBezTo>
                    <a:pt x="39" y="20"/>
                    <a:pt x="0" y="102"/>
                    <a:pt x="8" y="114"/>
                  </a:cubicBezTo>
                  <a:cubicBezTo>
                    <a:pt x="16" y="126"/>
                    <a:pt x="34" y="147"/>
                    <a:pt x="34" y="147"/>
                  </a:cubicBezTo>
                  <a:cubicBezTo>
                    <a:pt x="34" y="147"/>
                    <a:pt x="47" y="181"/>
                    <a:pt x="62" y="181"/>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97" name="Syria">
              <a:extLst>
                <a:ext uri="{FF2B5EF4-FFF2-40B4-BE49-F238E27FC236}">
                  <a16:creationId xmlns:a16="http://schemas.microsoft.com/office/drawing/2014/main" id="{696461A4-3C7D-4474-8CCF-0444B8C1FB7B}"/>
                </a:ext>
              </a:extLst>
            </p:cNvPr>
            <p:cNvSpPr>
              <a:spLocks/>
            </p:cNvSpPr>
            <p:nvPr/>
          </p:nvSpPr>
          <p:spPr bwMode="gray">
            <a:xfrm>
              <a:off x="6518056" y="2958536"/>
              <a:ext cx="166716" cy="153917"/>
            </a:xfrm>
            <a:custGeom>
              <a:avLst/>
              <a:gdLst>
                <a:gd name="T0" fmla="*/ 281 w 297"/>
                <a:gd name="T1" fmla="*/ 39 h 275"/>
                <a:gd name="T2" fmla="*/ 297 w 297"/>
                <a:gd name="T3" fmla="*/ 19 h 275"/>
                <a:gd name="T4" fmla="*/ 290 w 297"/>
                <a:gd name="T5" fmla="*/ 2 h 275"/>
                <a:gd name="T6" fmla="*/ 277 w 297"/>
                <a:gd name="T7" fmla="*/ 12 h 275"/>
                <a:gd name="T8" fmla="*/ 264 w 297"/>
                <a:gd name="T9" fmla="*/ 15 h 275"/>
                <a:gd name="T10" fmla="*/ 250 w 297"/>
                <a:gd name="T11" fmla="*/ 22 h 275"/>
                <a:gd name="T12" fmla="*/ 241 w 297"/>
                <a:gd name="T13" fmla="*/ 16 h 275"/>
                <a:gd name="T14" fmla="*/ 217 w 297"/>
                <a:gd name="T15" fmla="*/ 16 h 275"/>
                <a:gd name="T16" fmla="*/ 188 w 297"/>
                <a:gd name="T17" fmla="*/ 32 h 275"/>
                <a:gd name="T18" fmla="*/ 163 w 297"/>
                <a:gd name="T19" fmla="*/ 39 h 275"/>
                <a:gd name="T20" fmla="*/ 140 w 297"/>
                <a:gd name="T21" fmla="*/ 35 h 275"/>
                <a:gd name="T22" fmla="*/ 114 w 297"/>
                <a:gd name="T23" fmla="*/ 22 h 275"/>
                <a:gd name="T24" fmla="*/ 100 w 297"/>
                <a:gd name="T25" fmla="*/ 33 h 275"/>
                <a:gd name="T26" fmla="*/ 64 w 297"/>
                <a:gd name="T27" fmla="*/ 41 h 275"/>
                <a:gd name="T28" fmla="*/ 58 w 297"/>
                <a:gd name="T29" fmla="*/ 31 h 275"/>
                <a:gd name="T30" fmla="*/ 42 w 297"/>
                <a:gd name="T31" fmla="*/ 32 h 275"/>
                <a:gd name="T32" fmla="*/ 43 w 297"/>
                <a:gd name="T33" fmla="*/ 53 h 275"/>
                <a:gd name="T34" fmla="*/ 48 w 297"/>
                <a:gd name="T35" fmla="*/ 64 h 275"/>
                <a:gd name="T36" fmla="*/ 33 w 297"/>
                <a:gd name="T37" fmla="*/ 66 h 275"/>
                <a:gd name="T38" fmla="*/ 33 w 297"/>
                <a:gd name="T39" fmla="*/ 75 h 275"/>
                <a:gd name="T40" fmla="*/ 27 w 297"/>
                <a:gd name="T41" fmla="*/ 84 h 275"/>
                <a:gd name="T42" fmla="*/ 14 w 297"/>
                <a:gd name="T43" fmla="*/ 78 h 275"/>
                <a:gd name="T44" fmla="*/ 5 w 297"/>
                <a:gd name="T45" fmla="*/ 98 h 275"/>
                <a:gd name="T46" fmla="*/ 1 w 297"/>
                <a:gd name="T47" fmla="*/ 99 h 275"/>
                <a:gd name="T48" fmla="*/ 0 w 297"/>
                <a:gd name="T49" fmla="*/ 131 h 275"/>
                <a:gd name="T50" fmla="*/ 17 w 297"/>
                <a:gd name="T51" fmla="*/ 147 h 275"/>
                <a:gd name="T52" fmla="*/ 20 w 297"/>
                <a:gd name="T53" fmla="*/ 147 h 275"/>
                <a:gd name="T54" fmla="*/ 45 w 297"/>
                <a:gd name="T55" fmla="*/ 147 h 275"/>
                <a:gd name="T56" fmla="*/ 44 w 297"/>
                <a:gd name="T57" fmla="*/ 157 h 275"/>
                <a:gd name="T58" fmla="*/ 51 w 297"/>
                <a:gd name="T59" fmla="*/ 181 h 275"/>
                <a:gd name="T60" fmla="*/ 30 w 297"/>
                <a:gd name="T61" fmla="*/ 193 h 275"/>
                <a:gd name="T62" fmla="*/ 26 w 297"/>
                <a:gd name="T63" fmla="*/ 213 h 275"/>
                <a:gd name="T64" fmla="*/ 16 w 297"/>
                <a:gd name="T65" fmla="*/ 224 h 275"/>
                <a:gd name="T66" fmla="*/ 19 w 297"/>
                <a:gd name="T67" fmla="*/ 254 h 275"/>
                <a:gd name="T68" fmla="*/ 23 w 297"/>
                <a:gd name="T69" fmla="*/ 251 h 275"/>
                <a:gd name="T70" fmla="*/ 45 w 297"/>
                <a:gd name="T71" fmla="*/ 263 h 275"/>
                <a:gd name="T72" fmla="*/ 73 w 297"/>
                <a:gd name="T73" fmla="*/ 275 h 275"/>
                <a:gd name="T74" fmla="*/ 157 w 297"/>
                <a:gd name="T75" fmla="*/ 218 h 275"/>
                <a:gd name="T76" fmla="*/ 200 w 297"/>
                <a:gd name="T77" fmla="*/ 183 h 275"/>
                <a:gd name="T78" fmla="*/ 261 w 297"/>
                <a:gd name="T79" fmla="*/ 156 h 275"/>
                <a:gd name="T80" fmla="*/ 255 w 297"/>
                <a:gd name="T81" fmla="*/ 131 h 275"/>
                <a:gd name="T82" fmla="*/ 264 w 297"/>
                <a:gd name="T83" fmla="*/ 112 h 275"/>
                <a:gd name="T84" fmla="*/ 260 w 297"/>
                <a:gd name="T85" fmla="*/ 77 h 275"/>
                <a:gd name="T86" fmla="*/ 249 w 297"/>
                <a:gd name="T87" fmla="*/ 55 h 275"/>
                <a:gd name="T88" fmla="*/ 281 w 297"/>
                <a:gd name="T89" fmla="*/ 3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275">
                  <a:moveTo>
                    <a:pt x="281" y="39"/>
                  </a:moveTo>
                  <a:cubicBezTo>
                    <a:pt x="290" y="35"/>
                    <a:pt x="295" y="26"/>
                    <a:pt x="297" y="19"/>
                  </a:cubicBezTo>
                  <a:cubicBezTo>
                    <a:pt x="288" y="20"/>
                    <a:pt x="293" y="4"/>
                    <a:pt x="290" y="2"/>
                  </a:cubicBezTo>
                  <a:cubicBezTo>
                    <a:pt x="287" y="0"/>
                    <a:pt x="285" y="11"/>
                    <a:pt x="277" y="12"/>
                  </a:cubicBezTo>
                  <a:cubicBezTo>
                    <a:pt x="269" y="13"/>
                    <a:pt x="264" y="15"/>
                    <a:pt x="264" y="15"/>
                  </a:cubicBezTo>
                  <a:cubicBezTo>
                    <a:pt x="264" y="15"/>
                    <a:pt x="259" y="21"/>
                    <a:pt x="250" y="22"/>
                  </a:cubicBezTo>
                  <a:cubicBezTo>
                    <a:pt x="241" y="23"/>
                    <a:pt x="246" y="18"/>
                    <a:pt x="241" y="16"/>
                  </a:cubicBezTo>
                  <a:cubicBezTo>
                    <a:pt x="236" y="14"/>
                    <a:pt x="230" y="15"/>
                    <a:pt x="217" y="16"/>
                  </a:cubicBezTo>
                  <a:cubicBezTo>
                    <a:pt x="204" y="17"/>
                    <a:pt x="197" y="29"/>
                    <a:pt x="188" y="32"/>
                  </a:cubicBezTo>
                  <a:cubicBezTo>
                    <a:pt x="179" y="35"/>
                    <a:pt x="174" y="38"/>
                    <a:pt x="163" y="39"/>
                  </a:cubicBezTo>
                  <a:cubicBezTo>
                    <a:pt x="152" y="40"/>
                    <a:pt x="140" y="35"/>
                    <a:pt x="140" y="35"/>
                  </a:cubicBezTo>
                  <a:cubicBezTo>
                    <a:pt x="140" y="35"/>
                    <a:pt x="117" y="23"/>
                    <a:pt x="114" y="22"/>
                  </a:cubicBezTo>
                  <a:cubicBezTo>
                    <a:pt x="111" y="21"/>
                    <a:pt x="100" y="33"/>
                    <a:pt x="100" y="33"/>
                  </a:cubicBezTo>
                  <a:cubicBezTo>
                    <a:pt x="100" y="33"/>
                    <a:pt x="85" y="41"/>
                    <a:pt x="64" y="41"/>
                  </a:cubicBezTo>
                  <a:cubicBezTo>
                    <a:pt x="43" y="41"/>
                    <a:pt x="60" y="35"/>
                    <a:pt x="58" y="31"/>
                  </a:cubicBezTo>
                  <a:cubicBezTo>
                    <a:pt x="56" y="27"/>
                    <a:pt x="42" y="32"/>
                    <a:pt x="42" y="32"/>
                  </a:cubicBezTo>
                  <a:cubicBezTo>
                    <a:pt x="43" y="53"/>
                    <a:pt x="43" y="53"/>
                    <a:pt x="43" y="53"/>
                  </a:cubicBezTo>
                  <a:cubicBezTo>
                    <a:pt x="43" y="53"/>
                    <a:pt x="50" y="51"/>
                    <a:pt x="48" y="64"/>
                  </a:cubicBezTo>
                  <a:cubicBezTo>
                    <a:pt x="47" y="72"/>
                    <a:pt x="33" y="66"/>
                    <a:pt x="33" y="66"/>
                  </a:cubicBezTo>
                  <a:cubicBezTo>
                    <a:pt x="33" y="75"/>
                    <a:pt x="33" y="75"/>
                    <a:pt x="33" y="75"/>
                  </a:cubicBezTo>
                  <a:cubicBezTo>
                    <a:pt x="33" y="75"/>
                    <a:pt x="31" y="83"/>
                    <a:pt x="27" y="84"/>
                  </a:cubicBezTo>
                  <a:cubicBezTo>
                    <a:pt x="24" y="85"/>
                    <a:pt x="17" y="80"/>
                    <a:pt x="14" y="78"/>
                  </a:cubicBezTo>
                  <a:cubicBezTo>
                    <a:pt x="12" y="83"/>
                    <a:pt x="2" y="91"/>
                    <a:pt x="5" y="98"/>
                  </a:cubicBezTo>
                  <a:cubicBezTo>
                    <a:pt x="1" y="99"/>
                    <a:pt x="1" y="99"/>
                    <a:pt x="1" y="99"/>
                  </a:cubicBezTo>
                  <a:cubicBezTo>
                    <a:pt x="0" y="131"/>
                    <a:pt x="0" y="131"/>
                    <a:pt x="0" y="131"/>
                  </a:cubicBezTo>
                  <a:cubicBezTo>
                    <a:pt x="0" y="131"/>
                    <a:pt x="14" y="139"/>
                    <a:pt x="17" y="147"/>
                  </a:cubicBezTo>
                  <a:cubicBezTo>
                    <a:pt x="20" y="147"/>
                    <a:pt x="20" y="147"/>
                    <a:pt x="20" y="147"/>
                  </a:cubicBezTo>
                  <a:cubicBezTo>
                    <a:pt x="45" y="147"/>
                    <a:pt x="45" y="147"/>
                    <a:pt x="45" y="147"/>
                  </a:cubicBezTo>
                  <a:cubicBezTo>
                    <a:pt x="44" y="157"/>
                    <a:pt x="44" y="157"/>
                    <a:pt x="44" y="157"/>
                  </a:cubicBezTo>
                  <a:cubicBezTo>
                    <a:pt x="44" y="157"/>
                    <a:pt x="56" y="169"/>
                    <a:pt x="51" y="181"/>
                  </a:cubicBezTo>
                  <a:cubicBezTo>
                    <a:pt x="46" y="193"/>
                    <a:pt x="39" y="190"/>
                    <a:pt x="30" y="193"/>
                  </a:cubicBezTo>
                  <a:cubicBezTo>
                    <a:pt x="21" y="196"/>
                    <a:pt x="26" y="213"/>
                    <a:pt x="26" y="213"/>
                  </a:cubicBezTo>
                  <a:cubicBezTo>
                    <a:pt x="16" y="224"/>
                    <a:pt x="16" y="224"/>
                    <a:pt x="16" y="224"/>
                  </a:cubicBezTo>
                  <a:cubicBezTo>
                    <a:pt x="19" y="254"/>
                    <a:pt x="19" y="254"/>
                    <a:pt x="19" y="254"/>
                  </a:cubicBezTo>
                  <a:cubicBezTo>
                    <a:pt x="23" y="251"/>
                    <a:pt x="23" y="251"/>
                    <a:pt x="23" y="251"/>
                  </a:cubicBezTo>
                  <a:cubicBezTo>
                    <a:pt x="45" y="263"/>
                    <a:pt x="45" y="263"/>
                    <a:pt x="45" y="263"/>
                  </a:cubicBezTo>
                  <a:cubicBezTo>
                    <a:pt x="45" y="263"/>
                    <a:pt x="52" y="275"/>
                    <a:pt x="73" y="275"/>
                  </a:cubicBezTo>
                  <a:cubicBezTo>
                    <a:pt x="94" y="275"/>
                    <a:pt x="157" y="218"/>
                    <a:pt x="157" y="218"/>
                  </a:cubicBezTo>
                  <a:cubicBezTo>
                    <a:pt x="200" y="183"/>
                    <a:pt x="200" y="183"/>
                    <a:pt x="200" y="183"/>
                  </a:cubicBezTo>
                  <a:cubicBezTo>
                    <a:pt x="200" y="183"/>
                    <a:pt x="249" y="165"/>
                    <a:pt x="261" y="156"/>
                  </a:cubicBezTo>
                  <a:cubicBezTo>
                    <a:pt x="273" y="147"/>
                    <a:pt x="256" y="138"/>
                    <a:pt x="255" y="131"/>
                  </a:cubicBezTo>
                  <a:cubicBezTo>
                    <a:pt x="254" y="124"/>
                    <a:pt x="260" y="117"/>
                    <a:pt x="264" y="112"/>
                  </a:cubicBezTo>
                  <a:cubicBezTo>
                    <a:pt x="268" y="107"/>
                    <a:pt x="260" y="77"/>
                    <a:pt x="260" y="77"/>
                  </a:cubicBezTo>
                  <a:cubicBezTo>
                    <a:pt x="260" y="77"/>
                    <a:pt x="245" y="69"/>
                    <a:pt x="249" y="55"/>
                  </a:cubicBezTo>
                  <a:cubicBezTo>
                    <a:pt x="253" y="41"/>
                    <a:pt x="265" y="46"/>
                    <a:pt x="281" y="39"/>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86" name="Sri Lanka">
              <a:extLst>
                <a:ext uri="{FF2B5EF4-FFF2-40B4-BE49-F238E27FC236}">
                  <a16:creationId xmlns:a16="http://schemas.microsoft.com/office/drawing/2014/main" id="{E9CDEAD6-F437-4E58-9CDD-B8058D37635A}"/>
                </a:ext>
              </a:extLst>
            </p:cNvPr>
            <p:cNvSpPr>
              <a:spLocks/>
            </p:cNvSpPr>
            <p:nvPr/>
          </p:nvSpPr>
          <p:spPr bwMode="gray">
            <a:xfrm>
              <a:off x="7723177" y="3788414"/>
              <a:ext cx="76213" cy="128528"/>
            </a:xfrm>
            <a:custGeom>
              <a:avLst/>
              <a:gdLst>
                <a:gd name="T0" fmla="*/ 19 w 136"/>
                <a:gd name="T1" fmla="*/ 9 h 228"/>
                <a:gd name="T2" fmla="*/ 62 w 136"/>
                <a:gd name="T3" fmla="*/ 29 h 228"/>
                <a:gd name="T4" fmla="*/ 91 w 136"/>
                <a:gd name="T5" fmla="*/ 65 h 228"/>
                <a:gd name="T6" fmla="*/ 87 w 136"/>
                <a:gd name="T7" fmla="*/ 86 h 228"/>
                <a:gd name="T8" fmla="*/ 104 w 136"/>
                <a:gd name="T9" fmla="*/ 82 h 228"/>
                <a:gd name="T10" fmla="*/ 105 w 136"/>
                <a:gd name="T11" fmla="*/ 120 h 228"/>
                <a:gd name="T12" fmla="*/ 105 w 136"/>
                <a:gd name="T13" fmla="*/ 190 h 228"/>
                <a:gd name="T14" fmla="*/ 19 w 136"/>
                <a:gd name="T15" fmla="*/ 194 h 228"/>
                <a:gd name="T16" fmla="*/ 10 w 136"/>
                <a:gd name="T17" fmla="*/ 99 h 228"/>
                <a:gd name="T18" fmla="*/ 25 w 136"/>
                <a:gd name="T19" fmla="*/ 59 h 228"/>
                <a:gd name="T20" fmla="*/ 5 w 136"/>
                <a:gd name="T21" fmla="*/ 32 h 228"/>
                <a:gd name="T22" fmla="*/ 18 w 136"/>
                <a:gd name="T23" fmla="*/ 32 h 228"/>
                <a:gd name="T24" fmla="*/ 19 w 136"/>
                <a:gd name="T25" fmla="*/ 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92" name="South Korea">
              <a:extLst>
                <a:ext uri="{FF2B5EF4-FFF2-40B4-BE49-F238E27FC236}">
                  <a16:creationId xmlns:a16="http://schemas.microsoft.com/office/drawing/2014/main" id="{07DA4BC2-5CF1-46E3-85AB-A479159F16B4}"/>
                </a:ext>
              </a:extLst>
            </p:cNvPr>
            <p:cNvSpPr>
              <a:spLocks noEditPoints="1"/>
            </p:cNvSpPr>
            <p:nvPr/>
          </p:nvSpPr>
          <p:spPr bwMode="gray">
            <a:xfrm>
              <a:off x="8763171" y="2925214"/>
              <a:ext cx="106380" cy="158677"/>
            </a:xfrm>
            <a:custGeom>
              <a:avLst/>
              <a:gdLst>
                <a:gd name="T0" fmla="*/ 100 w 191"/>
                <a:gd name="T1" fmla="*/ 267 h 284"/>
                <a:gd name="T2" fmla="*/ 101 w 191"/>
                <a:gd name="T3" fmla="*/ 284 h 284"/>
                <a:gd name="T4" fmla="*/ 100 w 191"/>
                <a:gd name="T5" fmla="*/ 267 h 284"/>
                <a:gd name="T6" fmla="*/ 185 w 191"/>
                <a:gd name="T7" fmla="*/ 165 h 284"/>
                <a:gd name="T8" fmla="*/ 166 w 191"/>
                <a:gd name="T9" fmla="*/ 132 h 284"/>
                <a:gd name="T10" fmla="*/ 162 w 191"/>
                <a:gd name="T11" fmla="*/ 101 h 284"/>
                <a:gd name="T12" fmla="*/ 111 w 191"/>
                <a:gd name="T13" fmla="*/ 50 h 284"/>
                <a:gd name="T14" fmla="*/ 98 w 191"/>
                <a:gd name="T15" fmla="*/ 45 h 284"/>
                <a:gd name="T16" fmla="*/ 82 w 191"/>
                <a:gd name="T17" fmla="*/ 21 h 284"/>
                <a:gd name="T18" fmla="*/ 64 w 191"/>
                <a:gd name="T19" fmla="*/ 0 h 284"/>
                <a:gd name="T20" fmla="*/ 54 w 191"/>
                <a:gd name="T21" fmla="*/ 10 h 284"/>
                <a:gd name="T22" fmla="*/ 16 w 191"/>
                <a:gd name="T23" fmla="*/ 16 h 284"/>
                <a:gd name="T24" fmla="*/ 13 w 191"/>
                <a:gd name="T25" fmla="*/ 29 h 284"/>
                <a:gd name="T26" fmla="*/ 0 w 191"/>
                <a:gd name="T27" fmla="*/ 39 h 284"/>
                <a:gd name="T28" fmla="*/ 8 w 191"/>
                <a:gd name="T29" fmla="*/ 56 h 284"/>
                <a:gd name="T30" fmla="*/ 30 w 191"/>
                <a:gd name="T31" fmla="*/ 64 h 284"/>
                <a:gd name="T32" fmla="*/ 41 w 191"/>
                <a:gd name="T33" fmla="*/ 89 h 284"/>
                <a:gd name="T34" fmla="*/ 6 w 191"/>
                <a:gd name="T35" fmla="*/ 82 h 284"/>
                <a:gd name="T36" fmla="*/ 27 w 191"/>
                <a:gd name="T37" fmla="*/ 102 h 284"/>
                <a:gd name="T38" fmla="*/ 37 w 191"/>
                <a:gd name="T39" fmla="*/ 130 h 284"/>
                <a:gd name="T40" fmla="*/ 60 w 191"/>
                <a:gd name="T41" fmla="*/ 134 h 284"/>
                <a:gd name="T42" fmla="*/ 60 w 191"/>
                <a:gd name="T43" fmla="*/ 153 h 284"/>
                <a:gd name="T44" fmla="*/ 54 w 191"/>
                <a:gd name="T45" fmla="*/ 180 h 284"/>
                <a:gd name="T46" fmla="*/ 74 w 191"/>
                <a:gd name="T47" fmla="*/ 199 h 284"/>
                <a:gd name="T48" fmla="*/ 80 w 191"/>
                <a:gd name="T49" fmla="*/ 222 h 284"/>
                <a:gd name="T50" fmla="*/ 100 w 191"/>
                <a:gd name="T51" fmla="*/ 203 h 284"/>
                <a:gd name="T52" fmla="*/ 133 w 191"/>
                <a:gd name="T53" fmla="*/ 188 h 284"/>
                <a:gd name="T54" fmla="*/ 150 w 191"/>
                <a:gd name="T55" fmla="*/ 193 h 284"/>
                <a:gd name="T56" fmla="*/ 155 w 191"/>
                <a:gd name="T57" fmla="*/ 181 h 284"/>
                <a:gd name="T58" fmla="*/ 185 w 191"/>
                <a:gd name="T59" fmla="*/ 16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1" h="284">
                  <a:moveTo>
                    <a:pt x="100" y="267"/>
                  </a:moveTo>
                  <a:cubicBezTo>
                    <a:pt x="76" y="275"/>
                    <a:pt x="86" y="284"/>
                    <a:pt x="101" y="284"/>
                  </a:cubicBezTo>
                  <a:cubicBezTo>
                    <a:pt x="120" y="284"/>
                    <a:pt x="124" y="259"/>
                    <a:pt x="100" y="267"/>
                  </a:cubicBezTo>
                  <a:close/>
                  <a:moveTo>
                    <a:pt x="185" y="165"/>
                  </a:moveTo>
                  <a:cubicBezTo>
                    <a:pt x="179" y="146"/>
                    <a:pt x="166" y="132"/>
                    <a:pt x="166" y="132"/>
                  </a:cubicBezTo>
                  <a:cubicBezTo>
                    <a:pt x="166" y="132"/>
                    <a:pt x="171" y="115"/>
                    <a:pt x="162" y="101"/>
                  </a:cubicBezTo>
                  <a:cubicBezTo>
                    <a:pt x="153" y="87"/>
                    <a:pt x="111" y="50"/>
                    <a:pt x="111" y="50"/>
                  </a:cubicBezTo>
                  <a:cubicBezTo>
                    <a:pt x="98" y="45"/>
                    <a:pt x="98" y="45"/>
                    <a:pt x="98" y="45"/>
                  </a:cubicBezTo>
                  <a:cubicBezTo>
                    <a:pt x="98" y="45"/>
                    <a:pt x="94" y="34"/>
                    <a:pt x="82" y="21"/>
                  </a:cubicBezTo>
                  <a:cubicBezTo>
                    <a:pt x="76" y="14"/>
                    <a:pt x="69" y="6"/>
                    <a:pt x="64" y="0"/>
                  </a:cubicBezTo>
                  <a:cubicBezTo>
                    <a:pt x="54" y="10"/>
                    <a:pt x="54" y="10"/>
                    <a:pt x="54" y="10"/>
                  </a:cubicBezTo>
                  <a:cubicBezTo>
                    <a:pt x="54" y="10"/>
                    <a:pt x="30" y="9"/>
                    <a:pt x="16" y="16"/>
                  </a:cubicBezTo>
                  <a:cubicBezTo>
                    <a:pt x="2" y="24"/>
                    <a:pt x="14" y="26"/>
                    <a:pt x="13" y="29"/>
                  </a:cubicBezTo>
                  <a:cubicBezTo>
                    <a:pt x="12" y="32"/>
                    <a:pt x="0" y="39"/>
                    <a:pt x="0" y="39"/>
                  </a:cubicBezTo>
                  <a:cubicBezTo>
                    <a:pt x="0" y="39"/>
                    <a:pt x="1" y="50"/>
                    <a:pt x="8" y="56"/>
                  </a:cubicBezTo>
                  <a:cubicBezTo>
                    <a:pt x="15" y="62"/>
                    <a:pt x="30" y="64"/>
                    <a:pt x="30" y="64"/>
                  </a:cubicBezTo>
                  <a:cubicBezTo>
                    <a:pt x="41" y="89"/>
                    <a:pt x="41" y="89"/>
                    <a:pt x="41" y="89"/>
                  </a:cubicBezTo>
                  <a:cubicBezTo>
                    <a:pt x="41" y="89"/>
                    <a:pt x="7" y="75"/>
                    <a:pt x="6" y="82"/>
                  </a:cubicBezTo>
                  <a:cubicBezTo>
                    <a:pt x="5" y="89"/>
                    <a:pt x="27" y="102"/>
                    <a:pt x="27" y="102"/>
                  </a:cubicBezTo>
                  <a:cubicBezTo>
                    <a:pt x="37" y="130"/>
                    <a:pt x="37" y="130"/>
                    <a:pt x="37" y="130"/>
                  </a:cubicBezTo>
                  <a:cubicBezTo>
                    <a:pt x="60" y="134"/>
                    <a:pt x="60" y="134"/>
                    <a:pt x="60" y="134"/>
                  </a:cubicBezTo>
                  <a:cubicBezTo>
                    <a:pt x="60" y="153"/>
                    <a:pt x="60" y="153"/>
                    <a:pt x="60" y="153"/>
                  </a:cubicBezTo>
                  <a:cubicBezTo>
                    <a:pt x="60" y="153"/>
                    <a:pt x="49" y="161"/>
                    <a:pt x="54" y="180"/>
                  </a:cubicBezTo>
                  <a:cubicBezTo>
                    <a:pt x="59" y="199"/>
                    <a:pt x="74" y="199"/>
                    <a:pt x="74" y="199"/>
                  </a:cubicBezTo>
                  <a:cubicBezTo>
                    <a:pt x="74" y="199"/>
                    <a:pt x="61" y="225"/>
                    <a:pt x="80" y="222"/>
                  </a:cubicBezTo>
                  <a:cubicBezTo>
                    <a:pt x="99" y="219"/>
                    <a:pt x="100" y="203"/>
                    <a:pt x="100" y="203"/>
                  </a:cubicBezTo>
                  <a:cubicBezTo>
                    <a:pt x="133" y="188"/>
                    <a:pt x="133" y="188"/>
                    <a:pt x="133" y="188"/>
                  </a:cubicBezTo>
                  <a:cubicBezTo>
                    <a:pt x="150" y="193"/>
                    <a:pt x="150" y="193"/>
                    <a:pt x="150" y="193"/>
                  </a:cubicBezTo>
                  <a:cubicBezTo>
                    <a:pt x="155" y="181"/>
                    <a:pt x="155" y="181"/>
                    <a:pt x="155" y="181"/>
                  </a:cubicBezTo>
                  <a:cubicBezTo>
                    <a:pt x="155" y="181"/>
                    <a:pt x="191" y="184"/>
                    <a:pt x="185" y="165"/>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95" name="Saudi Arabia">
              <a:extLst>
                <a:ext uri="{FF2B5EF4-FFF2-40B4-BE49-F238E27FC236}">
                  <a16:creationId xmlns:a16="http://schemas.microsoft.com/office/drawing/2014/main" id="{2D6BBF7D-D1FE-4E31-8242-E589D4EBAFC7}"/>
                </a:ext>
              </a:extLst>
            </p:cNvPr>
            <p:cNvSpPr>
              <a:spLocks/>
            </p:cNvSpPr>
            <p:nvPr/>
          </p:nvSpPr>
          <p:spPr bwMode="gray">
            <a:xfrm>
              <a:off x="6510117" y="3115625"/>
              <a:ext cx="558897" cy="476030"/>
            </a:xfrm>
            <a:custGeom>
              <a:avLst/>
              <a:gdLst>
                <a:gd name="T0" fmla="*/ 976 w 998"/>
                <a:gd name="T1" fmla="*/ 516 h 851"/>
                <a:gd name="T2" fmla="*/ 804 w 998"/>
                <a:gd name="T3" fmla="*/ 446 h 851"/>
                <a:gd name="T4" fmla="*/ 794 w 998"/>
                <a:gd name="T5" fmla="*/ 413 h 851"/>
                <a:gd name="T6" fmla="*/ 780 w 998"/>
                <a:gd name="T7" fmla="*/ 407 h 851"/>
                <a:gd name="T8" fmla="*/ 764 w 998"/>
                <a:gd name="T9" fmla="*/ 400 h 851"/>
                <a:gd name="T10" fmla="*/ 719 w 998"/>
                <a:gd name="T11" fmla="*/ 332 h 851"/>
                <a:gd name="T12" fmla="*/ 669 w 998"/>
                <a:gd name="T13" fmla="*/ 265 h 851"/>
                <a:gd name="T14" fmla="*/ 646 w 998"/>
                <a:gd name="T15" fmla="*/ 218 h 851"/>
                <a:gd name="T16" fmla="*/ 637 w 998"/>
                <a:gd name="T17" fmla="*/ 195 h 851"/>
                <a:gd name="T18" fmla="*/ 588 w 998"/>
                <a:gd name="T19" fmla="*/ 170 h 851"/>
                <a:gd name="T20" fmla="*/ 332 w 998"/>
                <a:gd name="T21" fmla="*/ 63 h 851"/>
                <a:gd name="T22" fmla="*/ 250 w 998"/>
                <a:gd name="T23" fmla="*/ 9 h 851"/>
                <a:gd name="T24" fmla="*/ 200 w 998"/>
                <a:gd name="T25" fmla="*/ 0 h 851"/>
                <a:gd name="T26" fmla="*/ 147 w 998"/>
                <a:gd name="T27" fmla="*/ 18 h 851"/>
                <a:gd name="T28" fmla="*/ 111 w 998"/>
                <a:gd name="T29" fmla="*/ 32 h 851"/>
                <a:gd name="T30" fmla="*/ 111 w 998"/>
                <a:gd name="T31" fmla="*/ 46 h 851"/>
                <a:gd name="T32" fmla="*/ 123 w 998"/>
                <a:gd name="T33" fmla="*/ 118 h 851"/>
                <a:gd name="T34" fmla="*/ 70 w 998"/>
                <a:gd name="T35" fmla="*/ 163 h 851"/>
                <a:gd name="T36" fmla="*/ 12 w 998"/>
                <a:gd name="T37" fmla="*/ 161 h 851"/>
                <a:gd name="T38" fmla="*/ 12 w 998"/>
                <a:gd name="T39" fmla="*/ 249 h 851"/>
                <a:gd name="T40" fmla="*/ 85 w 998"/>
                <a:gd name="T41" fmla="*/ 334 h 851"/>
                <a:gd name="T42" fmla="*/ 145 w 998"/>
                <a:gd name="T43" fmla="*/ 433 h 851"/>
                <a:gd name="T44" fmla="*/ 232 w 998"/>
                <a:gd name="T45" fmla="*/ 560 h 851"/>
                <a:gd name="T46" fmla="*/ 300 w 998"/>
                <a:gd name="T47" fmla="*/ 631 h 851"/>
                <a:gd name="T48" fmla="*/ 419 w 998"/>
                <a:gd name="T49" fmla="*/ 826 h 851"/>
                <a:gd name="T50" fmla="*/ 427 w 998"/>
                <a:gd name="T51" fmla="*/ 837 h 851"/>
                <a:gd name="T52" fmla="*/ 437 w 998"/>
                <a:gd name="T53" fmla="*/ 790 h 851"/>
                <a:gd name="T54" fmla="*/ 470 w 998"/>
                <a:gd name="T55" fmla="*/ 798 h 851"/>
                <a:gd name="T56" fmla="*/ 522 w 998"/>
                <a:gd name="T57" fmla="*/ 791 h 851"/>
                <a:gd name="T58" fmla="*/ 593 w 998"/>
                <a:gd name="T59" fmla="*/ 799 h 851"/>
                <a:gd name="T60" fmla="*/ 628 w 998"/>
                <a:gd name="T61" fmla="*/ 804 h 851"/>
                <a:gd name="T62" fmla="*/ 653 w 998"/>
                <a:gd name="T63" fmla="*/ 755 h 851"/>
                <a:gd name="T64" fmla="*/ 839 w 998"/>
                <a:gd name="T65" fmla="*/ 710 h 851"/>
                <a:gd name="T66" fmla="*/ 998 w 998"/>
                <a:gd name="T67" fmla="*/ 54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8" h="851">
                  <a:moveTo>
                    <a:pt x="980" y="527"/>
                  </a:moveTo>
                  <a:cubicBezTo>
                    <a:pt x="980" y="525"/>
                    <a:pt x="978" y="521"/>
                    <a:pt x="976" y="516"/>
                  </a:cubicBezTo>
                  <a:cubicBezTo>
                    <a:pt x="942" y="512"/>
                    <a:pt x="853" y="501"/>
                    <a:pt x="851" y="501"/>
                  </a:cubicBezTo>
                  <a:cubicBezTo>
                    <a:pt x="848" y="501"/>
                    <a:pt x="811" y="453"/>
                    <a:pt x="804" y="446"/>
                  </a:cubicBezTo>
                  <a:cubicBezTo>
                    <a:pt x="799" y="441"/>
                    <a:pt x="799" y="433"/>
                    <a:pt x="800" y="428"/>
                  </a:cubicBezTo>
                  <a:cubicBezTo>
                    <a:pt x="796" y="423"/>
                    <a:pt x="793" y="417"/>
                    <a:pt x="794" y="413"/>
                  </a:cubicBezTo>
                  <a:cubicBezTo>
                    <a:pt x="788" y="415"/>
                    <a:pt x="788" y="415"/>
                    <a:pt x="788" y="415"/>
                  </a:cubicBezTo>
                  <a:cubicBezTo>
                    <a:pt x="780" y="407"/>
                    <a:pt x="780" y="407"/>
                    <a:pt x="780" y="407"/>
                  </a:cubicBezTo>
                  <a:cubicBezTo>
                    <a:pt x="770" y="410"/>
                    <a:pt x="770" y="410"/>
                    <a:pt x="770" y="410"/>
                  </a:cubicBezTo>
                  <a:cubicBezTo>
                    <a:pt x="764" y="400"/>
                    <a:pt x="764" y="400"/>
                    <a:pt x="764" y="400"/>
                  </a:cubicBezTo>
                  <a:cubicBezTo>
                    <a:pt x="757" y="398"/>
                    <a:pt x="750" y="359"/>
                    <a:pt x="744" y="354"/>
                  </a:cubicBezTo>
                  <a:cubicBezTo>
                    <a:pt x="738" y="349"/>
                    <a:pt x="722" y="346"/>
                    <a:pt x="719" y="332"/>
                  </a:cubicBezTo>
                  <a:cubicBezTo>
                    <a:pt x="715" y="318"/>
                    <a:pt x="720" y="296"/>
                    <a:pt x="707" y="286"/>
                  </a:cubicBezTo>
                  <a:cubicBezTo>
                    <a:pt x="693" y="275"/>
                    <a:pt x="675" y="277"/>
                    <a:pt x="669" y="265"/>
                  </a:cubicBezTo>
                  <a:cubicBezTo>
                    <a:pt x="663" y="252"/>
                    <a:pt x="670" y="239"/>
                    <a:pt x="664" y="235"/>
                  </a:cubicBezTo>
                  <a:cubicBezTo>
                    <a:pt x="658" y="231"/>
                    <a:pt x="646" y="218"/>
                    <a:pt x="646" y="218"/>
                  </a:cubicBezTo>
                  <a:cubicBezTo>
                    <a:pt x="645" y="201"/>
                    <a:pt x="645" y="201"/>
                    <a:pt x="645" y="201"/>
                  </a:cubicBezTo>
                  <a:cubicBezTo>
                    <a:pt x="645" y="201"/>
                    <a:pt x="642" y="198"/>
                    <a:pt x="637" y="195"/>
                  </a:cubicBezTo>
                  <a:cubicBezTo>
                    <a:pt x="624" y="196"/>
                    <a:pt x="606" y="196"/>
                    <a:pt x="598" y="196"/>
                  </a:cubicBezTo>
                  <a:cubicBezTo>
                    <a:pt x="584" y="195"/>
                    <a:pt x="594" y="177"/>
                    <a:pt x="588" y="170"/>
                  </a:cubicBezTo>
                  <a:cubicBezTo>
                    <a:pt x="582" y="163"/>
                    <a:pt x="460" y="160"/>
                    <a:pt x="460" y="160"/>
                  </a:cubicBezTo>
                  <a:cubicBezTo>
                    <a:pt x="332" y="63"/>
                    <a:pt x="332" y="63"/>
                    <a:pt x="332" y="63"/>
                  </a:cubicBezTo>
                  <a:cubicBezTo>
                    <a:pt x="332" y="63"/>
                    <a:pt x="311" y="49"/>
                    <a:pt x="299" y="43"/>
                  </a:cubicBezTo>
                  <a:cubicBezTo>
                    <a:pt x="287" y="37"/>
                    <a:pt x="250" y="9"/>
                    <a:pt x="250" y="9"/>
                  </a:cubicBezTo>
                  <a:cubicBezTo>
                    <a:pt x="250" y="9"/>
                    <a:pt x="225" y="8"/>
                    <a:pt x="216" y="9"/>
                  </a:cubicBezTo>
                  <a:cubicBezTo>
                    <a:pt x="207" y="10"/>
                    <a:pt x="200" y="0"/>
                    <a:pt x="200" y="0"/>
                  </a:cubicBezTo>
                  <a:cubicBezTo>
                    <a:pt x="200" y="0"/>
                    <a:pt x="187" y="8"/>
                    <a:pt x="181" y="14"/>
                  </a:cubicBezTo>
                  <a:cubicBezTo>
                    <a:pt x="175" y="20"/>
                    <a:pt x="147" y="18"/>
                    <a:pt x="147" y="18"/>
                  </a:cubicBezTo>
                  <a:cubicBezTo>
                    <a:pt x="139" y="32"/>
                    <a:pt x="139" y="32"/>
                    <a:pt x="139" y="32"/>
                  </a:cubicBezTo>
                  <a:cubicBezTo>
                    <a:pt x="111" y="32"/>
                    <a:pt x="111" y="32"/>
                    <a:pt x="111" y="32"/>
                  </a:cubicBezTo>
                  <a:cubicBezTo>
                    <a:pt x="111" y="32"/>
                    <a:pt x="86" y="31"/>
                    <a:pt x="79" y="38"/>
                  </a:cubicBezTo>
                  <a:cubicBezTo>
                    <a:pt x="72" y="45"/>
                    <a:pt x="104" y="42"/>
                    <a:pt x="111" y="46"/>
                  </a:cubicBezTo>
                  <a:cubicBezTo>
                    <a:pt x="118" y="50"/>
                    <a:pt x="137" y="85"/>
                    <a:pt x="137" y="85"/>
                  </a:cubicBezTo>
                  <a:cubicBezTo>
                    <a:pt x="137" y="85"/>
                    <a:pt x="131" y="111"/>
                    <a:pt x="123" y="118"/>
                  </a:cubicBezTo>
                  <a:cubicBezTo>
                    <a:pt x="115" y="125"/>
                    <a:pt x="98" y="121"/>
                    <a:pt x="92" y="123"/>
                  </a:cubicBezTo>
                  <a:cubicBezTo>
                    <a:pt x="86" y="125"/>
                    <a:pt x="84" y="152"/>
                    <a:pt x="70" y="163"/>
                  </a:cubicBezTo>
                  <a:cubicBezTo>
                    <a:pt x="56" y="174"/>
                    <a:pt x="25" y="154"/>
                    <a:pt x="18" y="155"/>
                  </a:cubicBezTo>
                  <a:cubicBezTo>
                    <a:pt x="12" y="156"/>
                    <a:pt x="12" y="160"/>
                    <a:pt x="12" y="161"/>
                  </a:cubicBezTo>
                  <a:cubicBezTo>
                    <a:pt x="12" y="161"/>
                    <a:pt x="12" y="161"/>
                    <a:pt x="12" y="161"/>
                  </a:cubicBezTo>
                  <a:cubicBezTo>
                    <a:pt x="12" y="170"/>
                    <a:pt x="0" y="237"/>
                    <a:pt x="12" y="249"/>
                  </a:cubicBezTo>
                  <a:cubicBezTo>
                    <a:pt x="24" y="260"/>
                    <a:pt x="49" y="260"/>
                    <a:pt x="54" y="274"/>
                  </a:cubicBezTo>
                  <a:cubicBezTo>
                    <a:pt x="60" y="288"/>
                    <a:pt x="76" y="325"/>
                    <a:pt x="85" y="334"/>
                  </a:cubicBezTo>
                  <a:cubicBezTo>
                    <a:pt x="94" y="343"/>
                    <a:pt x="113" y="358"/>
                    <a:pt x="120" y="370"/>
                  </a:cubicBezTo>
                  <a:cubicBezTo>
                    <a:pt x="128" y="383"/>
                    <a:pt x="132" y="421"/>
                    <a:pt x="145" y="433"/>
                  </a:cubicBezTo>
                  <a:cubicBezTo>
                    <a:pt x="157" y="445"/>
                    <a:pt x="184" y="434"/>
                    <a:pt x="201" y="453"/>
                  </a:cubicBezTo>
                  <a:cubicBezTo>
                    <a:pt x="218" y="472"/>
                    <a:pt x="232" y="531"/>
                    <a:pt x="232" y="560"/>
                  </a:cubicBezTo>
                  <a:cubicBezTo>
                    <a:pt x="232" y="590"/>
                    <a:pt x="267" y="626"/>
                    <a:pt x="267" y="626"/>
                  </a:cubicBezTo>
                  <a:cubicBezTo>
                    <a:pt x="267" y="626"/>
                    <a:pt x="291" y="623"/>
                    <a:pt x="300" y="631"/>
                  </a:cubicBezTo>
                  <a:cubicBezTo>
                    <a:pt x="308" y="639"/>
                    <a:pt x="344" y="704"/>
                    <a:pt x="358" y="728"/>
                  </a:cubicBezTo>
                  <a:cubicBezTo>
                    <a:pt x="372" y="752"/>
                    <a:pt x="420" y="810"/>
                    <a:pt x="419" y="826"/>
                  </a:cubicBezTo>
                  <a:cubicBezTo>
                    <a:pt x="419" y="833"/>
                    <a:pt x="417" y="842"/>
                    <a:pt x="414" y="851"/>
                  </a:cubicBezTo>
                  <a:cubicBezTo>
                    <a:pt x="418" y="848"/>
                    <a:pt x="423" y="844"/>
                    <a:pt x="427" y="837"/>
                  </a:cubicBezTo>
                  <a:cubicBezTo>
                    <a:pt x="434" y="826"/>
                    <a:pt x="428" y="824"/>
                    <a:pt x="428" y="824"/>
                  </a:cubicBezTo>
                  <a:cubicBezTo>
                    <a:pt x="428" y="824"/>
                    <a:pt x="427" y="795"/>
                    <a:pt x="437" y="790"/>
                  </a:cubicBezTo>
                  <a:cubicBezTo>
                    <a:pt x="447" y="785"/>
                    <a:pt x="452" y="799"/>
                    <a:pt x="452" y="799"/>
                  </a:cubicBezTo>
                  <a:cubicBezTo>
                    <a:pt x="470" y="798"/>
                    <a:pt x="470" y="798"/>
                    <a:pt x="470" y="798"/>
                  </a:cubicBezTo>
                  <a:cubicBezTo>
                    <a:pt x="470" y="798"/>
                    <a:pt x="477" y="792"/>
                    <a:pt x="482" y="792"/>
                  </a:cubicBezTo>
                  <a:cubicBezTo>
                    <a:pt x="487" y="792"/>
                    <a:pt x="506" y="791"/>
                    <a:pt x="522" y="791"/>
                  </a:cubicBezTo>
                  <a:cubicBezTo>
                    <a:pt x="538" y="791"/>
                    <a:pt x="549" y="799"/>
                    <a:pt x="549" y="799"/>
                  </a:cubicBezTo>
                  <a:cubicBezTo>
                    <a:pt x="549" y="799"/>
                    <a:pt x="589" y="797"/>
                    <a:pt x="593" y="799"/>
                  </a:cubicBezTo>
                  <a:cubicBezTo>
                    <a:pt x="597" y="801"/>
                    <a:pt x="611" y="816"/>
                    <a:pt x="616" y="816"/>
                  </a:cubicBezTo>
                  <a:cubicBezTo>
                    <a:pt x="621" y="816"/>
                    <a:pt x="628" y="804"/>
                    <a:pt x="628" y="804"/>
                  </a:cubicBezTo>
                  <a:cubicBezTo>
                    <a:pt x="628" y="792"/>
                    <a:pt x="628" y="792"/>
                    <a:pt x="628" y="792"/>
                  </a:cubicBezTo>
                  <a:cubicBezTo>
                    <a:pt x="628" y="792"/>
                    <a:pt x="643" y="768"/>
                    <a:pt x="653" y="755"/>
                  </a:cubicBezTo>
                  <a:cubicBezTo>
                    <a:pt x="663" y="742"/>
                    <a:pt x="705" y="723"/>
                    <a:pt x="717" y="723"/>
                  </a:cubicBezTo>
                  <a:cubicBezTo>
                    <a:pt x="729" y="723"/>
                    <a:pt x="839" y="710"/>
                    <a:pt x="839" y="710"/>
                  </a:cubicBezTo>
                  <a:cubicBezTo>
                    <a:pt x="972" y="661"/>
                    <a:pt x="972" y="661"/>
                    <a:pt x="972" y="661"/>
                  </a:cubicBezTo>
                  <a:cubicBezTo>
                    <a:pt x="998" y="546"/>
                    <a:pt x="998" y="546"/>
                    <a:pt x="998" y="546"/>
                  </a:cubicBezTo>
                  <a:cubicBezTo>
                    <a:pt x="998" y="546"/>
                    <a:pt x="980" y="531"/>
                    <a:pt x="980" y="527"/>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07" name="Russia">
              <a:extLst>
                <a:ext uri="{FF2B5EF4-FFF2-40B4-BE49-F238E27FC236}">
                  <a16:creationId xmlns:a16="http://schemas.microsoft.com/office/drawing/2014/main" id="{B1F7D8DA-A79F-46B6-8DE0-7E7A522A69A1}"/>
                </a:ext>
              </a:extLst>
            </p:cNvPr>
            <p:cNvSpPr>
              <a:spLocks noEditPoints="1"/>
            </p:cNvSpPr>
            <p:nvPr/>
          </p:nvSpPr>
          <p:spPr bwMode="gray">
            <a:xfrm>
              <a:off x="9128359" y="2323829"/>
              <a:ext cx="111144" cy="444294"/>
            </a:xfrm>
            <a:custGeom>
              <a:avLst/>
              <a:gdLst>
                <a:gd name="T0" fmla="*/ 0 w 199"/>
                <a:gd name="T1" fmla="*/ 794 h 794"/>
                <a:gd name="T2" fmla="*/ 9 w 199"/>
                <a:gd name="T3" fmla="*/ 791 h 794"/>
                <a:gd name="T4" fmla="*/ 25 w 199"/>
                <a:gd name="T5" fmla="*/ 764 h 794"/>
                <a:gd name="T6" fmla="*/ 12 w 199"/>
                <a:gd name="T7" fmla="*/ 755 h 794"/>
                <a:gd name="T8" fmla="*/ 0 w 199"/>
                <a:gd name="T9" fmla="*/ 794 h 794"/>
                <a:gd name="T10" fmla="*/ 76 w 199"/>
                <a:gd name="T11" fmla="*/ 712 h 794"/>
                <a:gd name="T12" fmla="*/ 49 w 199"/>
                <a:gd name="T13" fmla="*/ 708 h 794"/>
                <a:gd name="T14" fmla="*/ 36 w 199"/>
                <a:gd name="T15" fmla="*/ 755 h 794"/>
                <a:gd name="T16" fmla="*/ 43 w 199"/>
                <a:gd name="T17" fmla="*/ 757 h 794"/>
                <a:gd name="T18" fmla="*/ 55 w 199"/>
                <a:gd name="T19" fmla="*/ 733 h 794"/>
                <a:gd name="T20" fmla="*/ 88 w 199"/>
                <a:gd name="T21" fmla="*/ 715 h 794"/>
                <a:gd name="T22" fmla="*/ 79 w 199"/>
                <a:gd name="T23" fmla="*/ 699 h 794"/>
                <a:gd name="T24" fmla="*/ 76 w 199"/>
                <a:gd name="T25" fmla="*/ 712 h 794"/>
                <a:gd name="T26" fmla="*/ 128 w 199"/>
                <a:gd name="T27" fmla="*/ 672 h 794"/>
                <a:gd name="T28" fmla="*/ 117 w 199"/>
                <a:gd name="T29" fmla="*/ 697 h 794"/>
                <a:gd name="T30" fmla="*/ 128 w 199"/>
                <a:gd name="T31" fmla="*/ 672 h 794"/>
                <a:gd name="T32" fmla="*/ 189 w 199"/>
                <a:gd name="T33" fmla="*/ 423 h 794"/>
                <a:gd name="T34" fmla="*/ 177 w 199"/>
                <a:gd name="T35" fmla="*/ 434 h 794"/>
                <a:gd name="T36" fmla="*/ 185 w 199"/>
                <a:gd name="T37" fmla="*/ 449 h 794"/>
                <a:gd name="T38" fmla="*/ 173 w 199"/>
                <a:gd name="T39" fmla="*/ 449 h 794"/>
                <a:gd name="T40" fmla="*/ 173 w 199"/>
                <a:gd name="T41" fmla="*/ 469 h 794"/>
                <a:gd name="T42" fmla="*/ 189 w 199"/>
                <a:gd name="T43" fmla="*/ 467 h 794"/>
                <a:gd name="T44" fmla="*/ 198 w 199"/>
                <a:gd name="T45" fmla="*/ 456 h 794"/>
                <a:gd name="T46" fmla="*/ 189 w 199"/>
                <a:gd name="T47" fmla="*/ 437 h 794"/>
                <a:gd name="T48" fmla="*/ 199 w 199"/>
                <a:gd name="T49" fmla="*/ 435 h 794"/>
                <a:gd name="T50" fmla="*/ 189 w 199"/>
                <a:gd name="T51" fmla="*/ 423 h 794"/>
                <a:gd name="T52" fmla="*/ 184 w 199"/>
                <a:gd name="T53" fmla="*/ 513 h 794"/>
                <a:gd name="T54" fmla="*/ 195 w 199"/>
                <a:gd name="T55" fmla="*/ 499 h 794"/>
                <a:gd name="T56" fmla="*/ 178 w 199"/>
                <a:gd name="T57" fmla="*/ 485 h 794"/>
                <a:gd name="T58" fmla="*/ 184 w 199"/>
                <a:gd name="T59" fmla="*/ 513 h 794"/>
                <a:gd name="T60" fmla="*/ 170 w 199"/>
                <a:gd name="T61" fmla="*/ 636 h 794"/>
                <a:gd name="T62" fmla="*/ 171 w 199"/>
                <a:gd name="T63" fmla="*/ 615 h 794"/>
                <a:gd name="T64" fmla="*/ 162 w 199"/>
                <a:gd name="T65" fmla="*/ 632 h 794"/>
                <a:gd name="T66" fmla="*/ 170 w 199"/>
                <a:gd name="T67" fmla="*/ 636 h 794"/>
                <a:gd name="T68" fmla="*/ 169 w 199"/>
                <a:gd name="T69" fmla="*/ 573 h 794"/>
                <a:gd name="T70" fmla="*/ 181 w 199"/>
                <a:gd name="T71" fmla="*/ 571 h 794"/>
                <a:gd name="T72" fmla="*/ 169 w 199"/>
                <a:gd name="T73" fmla="*/ 559 h 794"/>
                <a:gd name="T74" fmla="*/ 169 w 199"/>
                <a:gd name="T75" fmla="*/ 573 h 794"/>
                <a:gd name="T76" fmla="*/ 82 w 199"/>
                <a:gd name="T77" fmla="*/ 14 h 794"/>
                <a:gd name="T78" fmla="*/ 94 w 199"/>
                <a:gd name="T79" fmla="*/ 38 h 794"/>
                <a:gd name="T80" fmla="*/ 114 w 199"/>
                <a:gd name="T81" fmla="*/ 14 h 794"/>
                <a:gd name="T82" fmla="*/ 106 w 199"/>
                <a:gd name="T83" fmla="*/ 0 h 794"/>
                <a:gd name="T84" fmla="*/ 82 w 199"/>
                <a:gd name="T85" fmla="*/ 14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9" h="794">
                  <a:moveTo>
                    <a:pt x="0" y="794"/>
                  </a:moveTo>
                  <a:cubicBezTo>
                    <a:pt x="9" y="791"/>
                    <a:pt x="9" y="791"/>
                    <a:pt x="9" y="791"/>
                  </a:cubicBezTo>
                  <a:cubicBezTo>
                    <a:pt x="25" y="764"/>
                    <a:pt x="25" y="764"/>
                    <a:pt x="25" y="764"/>
                  </a:cubicBezTo>
                  <a:cubicBezTo>
                    <a:pt x="12" y="755"/>
                    <a:pt x="12" y="755"/>
                    <a:pt x="12" y="755"/>
                  </a:cubicBezTo>
                  <a:lnTo>
                    <a:pt x="0" y="794"/>
                  </a:lnTo>
                  <a:close/>
                  <a:moveTo>
                    <a:pt x="76" y="712"/>
                  </a:moveTo>
                  <a:cubicBezTo>
                    <a:pt x="49" y="708"/>
                    <a:pt x="49" y="708"/>
                    <a:pt x="49" y="708"/>
                  </a:cubicBezTo>
                  <a:cubicBezTo>
                    <a:pt x="36" y="755"/>
                    <a:pt x="36" y="755"/>
                    <a:pt x="36" y="755"/>
                  </a:cubicBezTo>
                  <a:cubicBezTo>
                    <a:pt x="43" y="757"/>
                    <a:pt x="43" y="757"/>
                    <a:pt x="43" y="757"/>
                  </a:cubicBezTo>
                  <a:cubicBezTo>
                    <a:pt x="55" y="733"/>
                    <a:pt x="55" y="733"/>
                    <a:pt x="55" y="733"/>
                  </a:cubicBezTo>
                  <a:cubicBezTo>
                    <a:pt x="88" y="715"/>
                    <a:pt x="88" y="715"/>
                    <a:pt x="88" y="715"/>
                  </a:cubicBezTo>
                  <a:cubicBezTo>
                    <a:pt x="79" y="699"/>
                    <a:pt x="79" y="699"/>
                    <a:pt x="79" y="699"/>
                  </a:cubicBezTo>
                  <a:lnTo>
                    <a:pt x="76" y="712"/>
                  </a:lnTo>
                  <a:close/>
                  <a:moveTo>
                    <a:pt x="128" y="672"/>
                  </a:moveTo>
                  <a:cubicBezTo>
                    <a:pt x="119" y="670"/>
                    <a:pt x="109" y="694"/>
                    <a:pt x="117" y="697"/>
                  </a:cubicBezTo>
                  <a:cubicBezTo>
                    <a:pt x="128" y="701"/>
                    <a:pt x="138" y="675"/>
                    <a:pt x="128" y="672"/>
                  </a:cubicBezTo>
                  <a:close/>
                  <a:moveTo>
                    <a:pt x="189" y="423"/>
                  </a:moveTo>
                  <a:cubicBezTo>
                    <a:pt x="177" y="434"/>
                    <a:pt x="177" y="434"/>
                    <a:pt x="177" y="434"/>
                  </a:cubicBezTo>
                  <a:cubicBezTo>
                    <a:pt x="185" y="449"/>
                    <a:pt x="185" y="449"/>
                    <a:pt x="185" y="449"/>
                  </a:cubicBezTo>
                  <a:cubicBezTo>
                    <a:pt x="173" y="449"/>
                    <a:pt x="173" y="449"/>
                    <a:pt x="173" y="449"/>
                  </a:cubicBezTo>
                  <a:cubicBezTo>
                    <a:pt x="173" y="469"/>
                    <a:pt x="173" y="469"/>
                    <a:pt x="173" y="469"/>
                  </a:cubicBezTo>
                  <a:cubicBezTo>
                    <a:pt x="189" y="467"/>
                    <a:pt x="189" y="467"/>
                    <a:pt x="189" y="467"/>
                  </a:cubicBezTo>
                  <a:cubicBezTo>
                    <a:pt x="198" y="456"/>
                    <a:pt x="198" y="456"/>
                    <a:pt x="198" y="456"/>
                  </a:cubicBezTo>
                  <a:cubicBezTo>
                    <a:pt x="189" y="437"/>
                    <a:pt x="189" y="437"/>
                    <a:pt x="189" y="437"/>
                  </a:cubicBezTo>
                  <a:cubicBezTo>
                    <a:pt x="199" y="435"/>
                    <a:pt x="199" y="435"/>
                    <a:pt x="199" y="435"/>
                  </a:cubicBezTo>
                  <a:lnTo>
                    <a:pt x="189" y="423"/>
                  </a:lnTo>
                  <a:close/>
                  <a:moveTo>
                    <a:pt x="184" y="513"/>
                  </a:moveTo>
                  <a:cubicBezTo>
                    <a:pt x="195" y="499"/>
                    <a:pt x="195" y="499"/>
                    <a:pt x="195" y="499"/>
                  </a:cubicBezTo>
                  <a:cubicBezTo>
                    <a:pt x="178" y="485"/>
                    <a:pt x="178" y="485"/>
                    <a:pt x="178" y="485"/>
                  </a:cubicBezTo>
                  <a:lnTo>
                    <a:pt x="184" y="513"/>
                  </a:lnTo>
                  <a:close/>
                  <a:moveTo>
                    <a:pt x="170" y="636"/>
                  </a:moveTo>
                  <a:cubicBezTo>
                    <a:pt x="171" y="615"/>
                    <a:pt x="171" y="615"/>
                    <a:pt x="171" y="615"/>
                  </a:cubicBezTo>
                  <a:cubicBezTo>
                    <a:pt x="162" y="632"/>
                    <a:pt x="162" y="632"/>
                    <a:pt x="162" y="632"/>
                  </a:cubicBezTo>
                  <a:lnTo>
                    <a:pt x="170" y="636"/>
                  </a:lnTo>
                  <a:close/>
                  <a:moveTo>
                    <a:pt x="169" y="573"/>
                  </a:moveTo>
                  <a:cubicBezTo>
                    <a:pt x="181" y="571"/>
                    <a:pt x="181" y="571"/>
                    <a:pt x="181" y="571"/>
                  </a:cubicBezTo>
                  <a:cubicBezTo>
                    <a:pt x="169" y="559"/>
                    <a:pt x="169" y="559"/>
                    <a:pt x="169" y="559"/>
                  </a:cubicBezTo>
                  <a:lnTo>
                    <a:pt x="169" y="573"/>
                  </a:lnTo>
                  <a:close/>
                  <a:moveTo>
                    <a:pt x="82" y="14"/>
                  </a:moveTo>
                  <a:cubicBezTo>
                    <a:pt x="94" y="38"/>
                    <a:pt x="94" y="38"/>
                    <a:pt x="94" y="38"/>
                  </a:cubicBezTo>
                  <a:cubicBezTo>
                    <a:pt x="114" y="14"/>
                    <a:pt x="114" y="14"/>
                    <a:pt x="114" y="14"/>
                  </a:cubicBezTo>
                  <a:cubicBezTo>
                    <a:pt x="106" y="0"/>
                    <a:pt x="106" y="0"/>
                    <a:pt x="106" y="0"/>
                  </a:cubicBezTo>
                  <a:lnTo>
                    <a:pt x="82" y="14"/>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09" name="Russia">
              <a:extLst>
                <a:ext uri="{FF2B5EF4-FFF2-40B4-BE49-F238E27FC236}">
                  <a16:creationId xmlns:a16="http://schemas.microsoft.com/office/drawing/2014/main" id="{90C0CEC5-61E9-4B06-A9BE-749476EE89DA}"/>
                </a:ext>
              </a:extLst>
            </p:cNvPr>
            <p:cNvSpPr>
              <a:spLocks noEditPoints="1"/>
            </p:cNvSpPr>
            <p:nvPr/>
          </p:nvSpPr>
          <p:spPr bwMode="gray">
            <a:xfrm>
              <a:off x="6097295" y="1770048"/>
              <a:ext cx="3383550" cy="1075828"/>
            </a:xfrm>
            <a:custGeom>
              <a:avLst/>
              <a:gdLst>
                <a:gd name="T0" fmla="*/ 1604 w 6045"/>
                <a:gd name="T1" fmla="*/ 319 h 1923"/>
                <a:gd name="T2" fmla="*/ 1125 w 6045"/>
                <a:gd name="T3" fmla="*/ 38 h 1923"/>
                <a:gd name="T4" fmla="*/ 1119 w 6045"/>
                <a:gd name="T5" fmla="*/ 335 h 1923"/>
                <a:gd name="T6" fmla="*/ 1136 w 6045"/>
                <a:gd name="T7" fmla="*/ 227 h 1923"/>
                <a:gd name="T8" fmla="*/ 1032 w 6045"/>
                <a:gd name="T9" fmla="*/ 349 h 1923"/>
                <a:gd name="T10" fmla="*/ 4026 w 6045"/>
                <a:gd name="T11" fmla="*/ 259 h 1923"/>
                <a:gd name="T12" fmla="*/ 2394 w 6045"/>
                <a:gd name="T13" fmla="*/ 103 h 1923"/>
                <a:gd name="T14" fmla="*/ 3618 w 6045"/>
                <a:gd name="T15" fmla="*/ 235 h 1923"/>
                <a:gd name="T16" fmla="*/ 113 w 6045"/>
                <a:gd name="T17" fmla="*/ 1236 h 1923"/>
                <a:gd name="T18" fmla="*/ 755 w 6045"/>
                <a:gd name="T19" fmla="*/ 45 h 1923"/>
                <a:gd name="T20" fmla="*/ 5033 w 6045"/>
                <a:gd name="T21" fmla="*/ 1361 h 1923"/>
                <a:gd name="T22" fmla="*/ 5193 w 6045"/>
                <a:gd name="T23" fmla="*/ 1629 h 1923"/>
                <a:gd name="T24" fmla="*/ 5935 w 6045"/>
                <a:gd name="T25" fmla="*/ 632 h 1923"/>
                <a:gd name="T26" fmla="*/ 5061 w 6045"/>
                <a:gd name="T27" fmla="*/ 515 h 1923"/>
                <a:gd name="T28" fmla="*/ 4321 w 6045"/>
                <a:gd name="T29" fmla="*/ 409 h 1923"/>
                <a:gd name="T30" fmla="*/ 3936 w 6045"/>
                <a:gd name="T31" fmla="*/ 365 h 1923"/>
                <a:gd name="T32" fmla="*/ 3577 w 6045"/>
                <a:gd name="T33" fmla="*/ 386 h 1923"/>
                <a:gd name="T34" fmla="*/ 3251 w 6045"/>
                <a:gd name="T35" fmla="*/ 351 h 1923"/>
                <a:gd name="T36" fmla="*/ 2915 w 6045"/>
                <a:gd name="T37" fmla="*/ 313 h 1923"/>
                <a:gd name="T38" fmla="*/ 2906 w 6045"/>
                <a:gd name="T39" fmla="*/ 254 h 1923"/>
                <a:gd name="T40" fmla="*/ 2423 w 6045"/>
                <a:gd name="T41" fmla="*/ 210 h 1923"/>
                <a:gd name="T42" fmla="*/ 2038 w 6045"/>
                <a:gd name="T43" fmla="*/ 402 h 1923"/>
                <a:gd name="T44" fmla="*/ 1740 w 6045"/>
                <a:gd name="T45" fmla="*/ 389 h 1923"/>
                <a:gd name="T46" fmla="*/ 1845 w 6045"/>
                <a:gd name="T47" fmla="*/ 542 h 1923"/>
                <a:gd name="T48" fmla="*/ 1684 w 6045"/>
                <a:gd name="T49" fmla="*/ 417 h 1923"/>
                <a:gd name="T50" fmla="*/ 1499 w 6045"/>
                <a:gd name="T51" fmla="*/ 522 h 1923"/>
                <a:gd name="T52" fmla="*/ 1060 w 6045"/>
                <a:gd name="T53" fmla="*/ 545 h 1923"/>
                <a:gd name="T54" fmla="*/ 795 w 6045"/>
                <a:gd name="T55" fmla="*/ 644 h 1923"/>
                <a:gd name="T56" fmla="*/ 508 w 6045"/>
                <a:gd name="T57" fmla="*/ 670 h 1923"/>
                <a:gd name="T58" fmla="*/ 357 w 6045"/>
                <a:gd name="T59" fmla="*/ 475 h 1923"/>
                <a:gd name="T60" fmla="*/ 323 w 6045"/>
                <a:gd name="T61" fmla="*/ 703 h 1923"/>
                <a:gd name="T62" fmla="*/ 303 w 6045"/>
                <a:gd name="T63" fmla="*/ 980 h 1923"/>
                <a:gd name="T64" fmla="*/ 382 w 6045"/>
                <a:gd name="T65" fmla="*/ 1163 h 1923"/>
                <a:gd name="T66" fmla="*/ 538 w 6045"/>
                <a:gd name="T67" fmla="*/ 1342 h 1923"/>
                <a:gd name="T68" fmla="*/ 827 w 6045"/>
                <a:gd name="T69" fmla="*/ 1472 h 1923"/>
                <a:gd name="T70" fmla="*/ 752 w 6045"/>
                <a:gd name="T71" fmla="*/ 1694 h 1923"/>
                <a:gd name="T72" fmla="*/ 1214 w 6045"/>
                <a:gd name="T73" fmla="*/ 1892 h 1923"/>
                <a:gd name="T74" fmla="*/ 1231 w 6045"/>
                <a:gd name="T75" fmla="*/ 1631 h 1923"/>
                <a:gd name="T76" fmla="*/ 1419 w 6045"/>
                <a:gd name="T77" fmla="*/ 1396 h 1923"/>
                <a:gd name="T78" fmla="*/ 1765 w 6045"/>
                <a:gd name="T79" fmla="*/ 1244 h 1923"/>
                <a:gd name="T80" fmla="*/ 2222 w 6045"/>
                <a:gd name="T81" fmla="*/ 1256 h 1923"/>
                <a:gd name="T82" fmla="*/ 2847 w 6045"/>
                <a:gd name="T83" fmla="*/ 1496 h 1923"/>
                <a:gd name="T84" fmla="*/ 3152 w 6045"/>
                <a:gd name="T85" fmla="*/ 1456 h 1923"/>
                <a:gd name="T86" fmla="*/ 3428 w 6045"/>
                <a:gd name="T87" fmla="*/ 1441 h 1923"/>
                <a:gd name="T88" fmla="*/ 3929 w 6045"/>
                <a:gd name="T89" fmla="*/ 1447 h 1923"/>
                <a:gd name="T90" fmla="*/ 4174 w 6045"/>
                <a:gd name="T91" fmla="*/ 1268 h 1923"/>
                <a:gd name="T92" fmla="*/ 4630 w 6045"/>
                <a:gd name="T93" fmla="*/ 1533 h 1923"/>
                <a:gd name="T94" fmla="*/ 4843 w 6045"/>
                <a:gd name="T95" fmla="*/ 1667 h 1923"/>
                <a:gd name="T96" fmla="*/ 4985 w 6045"/>
                <a:gd name="T97" fmla="*/ 1754 h 1923"/>
                <a:gd name="T98" fmla="*/ 4903 w 6045"/>
                <a:gd name="T99" fmla="*/ 1298 h 1923"/>
                <a:gd name="T100" fmla="*/ 4580 w 6045"/>
                <a:gd name="T101" fmla="*/ 1205 h 1923"/>
                <a:gd name="T102" fmla="*/ 4885 w 6045"/>
                <a:gd name="T103" fmla="*/ 977 h 1923"/>
                <a:gd name="T104" fmla="*/ 5110 w 6045"/>
                <a:gd name="T105" fmla="*/ 890 h 1923"/>
                <a:gd name="T106" fmla="*/ 5374 w 6045"/>
                <a:gd name="T107" fmla="*/ 897 h 1923"/>
                <a:gd name="T108" fmla="*/ 5630 w 6045"/>
                <a:gd name="T109" fmla="*/ 1386 h 1923"/>
                <a:gd name="T110" fmla="*/ 5463 w 6045"/>
                <a:gd name="T111" fmla="*/ 992 h 1923"/>
                <a:gd name="T112" fmla="*/ 5791 w 6045"/>
                <a:gd name="T113" fmla="*/ 813 h 1923"/>
                <a:gd name="T114" fmla="*/ 5719 w 6045"/>
                <a:gd name="T115" fmla="*/ 660 h 1923"/>
                <a:gd name="T116" fmla="*/ 3494 w 6045"/>
                <a:gd name="T117" fmla="*/ 1368 h 1923"/>
                <a:gd name="T118" fmla="*/ 3579 w 6045"/>
                <a:gd name="T119" fmla="*/ 1259 h 1923"/>
                <a:gd name="T120" fmla="*/ 943 w 6045"/>
                <a:gd name="T121" fmla="*/ 537 h 1923"/>
                <a:gd name="T122" fmla="*/ 924 w 6045"/>
                <a:gd name="T123" fmla="*/ 25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45" h="1923">
                  <a:moveTo>
                    <a:pt x="1866" y="364"/>
                  </a:moveTo>
                  <a:cubicBezTo>
                    <a:pt x="1845" y="359"/>
                    <a:pt x="1845" y="359"/>
                    <a:pt x="1845" y="359"/>
                  </a:cubicBezTo>
                  <a:cubicBezTo>
                    <a:pt x="1828" y="373"/>
                    <a:pt x="1828" y="373"/>
                    <a:pt x="1828" y="373"/>
                  </a:cubicBezTo>
                  <a:cubicBezTo>
                    <a:pt x="1854" y="380"/>
                    <a:pt x="1854" y="380"/>
                    <a:pt x="1854" y="380"/>
                  </a:cubicBezTo>
                  <a:lnTo>
                    <a:pt x="1866" y="364"/>
                  </a:lnTo>
                  <a:close/>
                  <a:moveTo>
                    <a:pt x="1894" y="346"/>
                  </a:moveTo>
                  <a:cubicBezTo>
                    <a:pt x="1869" y="329"/>
                    <a:pt x="1876" y="352"/>
                    <a:pt x="1876" y="352"/>
                  </a:cubicBezTo>
                  <a:cubicBezTo>
                    <a:pt x="1901" y="362"/>
                    <a:pt x="1919" y="363"/>
                    <a:pt x="1894" y="346"/>
                  </a:cubicBezTo>
                  <a:close/>
                  <a:moveTo>
                    <a:pt x="1138" y="13"/>
                  </a:moveTo>
                  <a:cubicBezTo>
                    <a:pt x="1148" y="11"/>
                    <a:pt x="1162" y="1"/>
                    <a:pt x="1155" y="1"/>
                  </a:cubicBezTo>
                  <a:cubicBezTo>
                    <a:pt x="1148" y="1"/>
                    <a:pt x="1100" y="1"/>
                    <a:pt x="1100" y="1"/>
                  </a:cubicBezTo>
                  <a:cubicBezTo>
                    <a:pt x="1097" y="10"/>
                    <a:pt x="1097" y="10"/>
                    <a:pt x="1097" y="10"/>
                  </a:cubicBezTo>
                  <a:cubicBezTo>
                    <a:pt x="1124" y="7"/>
                    <a:pt x="1124" y="7"/>
                    <a:pt x="1124" y="7"/>
                  </a:cubicBezTo>
                  <a:cubicBezTo>
                    <a:pt x="1124" y="7"/>
                    <a:pt x="1128" y="14"/>
                    <a:pt x="1138" y="13"/>
                  </a:cubicBezTo>
                  <a:close/>
                  <a:moveTo>
                    <a:pt x="1163" y="39"/>
                  </a:moveTo>
                  <a:cubicBezTo>
                    <a:pt x="1168" y="39"/>
                    <a:pt x="1176" y="34"/>
                    <a:pt x="1176" y="34"/>
                  </a:cubicBezTo>
                  <a:cubicBezTo>
                    <a:pt x="1176" y="34"/>
                    <a:pt x="1203" y="42"/>
                    <a:pt x="1210" y="35"/>
                  </a:cubicBezTo>
                  <a:cubicBezTo>
                    <a:pt x="1217" y="28"/>
                    <a:pt x="1211" y="17"/>
                    <a:pt x="1189" y="17"/>
                  </a:cubicBezTo>
                  <a:cubicBezTo>
                    <a:pt x="1166" y="17"/>
                    <a:pt x="1145" y="34"/>
                    <a:pt x="1145" y="34"/>
                  </a:cubicBezTo>
                  <a:cubicBezTo>
                    <a:pt x="1149" y="39"/>
                    <a:pt x="1159" y="39"/>
                    <a:pt x="1163" y="39"/>
                  </a:cubicBezTo>
                  <a:close/>
                  <a:moveTo>
                    <a:pt x="1590" y="341"/>
                  </a:moveTo>
                  <a:cubicBezTo>
                    <a:pt x="1623" y="333"/>
                    <a:pt x="1612" y="323"/>
                    <a:pt x="1604" y="319"/>
                  </a:cubicBezTo>
                  <a:cubicBezTo>
                    <a:pt x="1596" y="315"/>
                    <a:pt x="1566" y="319"/>
                    <a:pt x="1566" y="319"/>
                  </a:cubicBezTo>
                  <a:cubicBezTo>
                    <a:pt x="1566" y="319"/>
                    <a:pt x="1572" y="345"/>
                    <a:pt x="1590" y="341"/>
                  </a:cubicBezTo>
                  <a:close/>
                  <a:moveTo>
                    <a:pt x="1062" y="20"/>
                  </a:moveTo>
                  <a:cubicBezTo>
                    <a:pt x="1034" y="17"/>
                    <a:pt x="1034" y="17"/>
                    <a:pt x="1034" y="17"/>
                  </a:cubicBezTo>
                  <a:cubicBezTo>
                    <a:pt x="1041" y="25"/>
                    <a:pt x="1041" y="25"/>
                    <a:pt x="1041" y="25"/>
                  </a:cubicBezTo>
                  <a:lnTo>
                    <a:pt x="1062" y="20"/>
                  </a:lnTo>
                  <a:close/>
                  <a:moveTo>
                    <a:pt x="1264" y="465"/>
                  </a:moveTo>
                  <a:cubicBezTo>
                    <a:pt x="1259" y="473"/>
                    <a:pt x="1324" y="507"/>
                    <a:pt x="1330" y="491"/>
                  </a:cubicBezTo>
                  <a:cubicBezTo>
                    <a:pt x="1336" y="475"/>
                    <a:pt x="1270" y="455"/>
                    <a:pt x="1264" y="465"/>
                  </a:cubicBezTo>
                  <a:close/>
                  <a:moveTo>
                    <a:pt x="2074" y="83"/>
                  </a:moveTo>
                  <a:cubicBezTo>
                    <a:pt x="2084" y="73"/>
                    <a:pt x="2084" y="73"/>
                    <a:pt x="2084" y="73"/>
                  </a:cubicBezTo>
                  <a:cubicBezTo>
                    <a:pt x="2024" y="73"/>
                    <a:pt x="2024" y="73"/>
                    <a:pt x="2024" y="73"/>
                  </a:cubicBezTo>
                  <a:lnTo>
                    <a:pt x="2074" y="83"/>
                  </a:lnTo>
                  <a:close/>
                  <a:moveTo>
                    <a:pt x="1044" y="68"/>
                  </a:moveTo>
                  <a:cubicBezTo>
                    <a:pt x="1090" y="66"/>
                    <a:pt x="1090" y="66"/>
                    <a:pt x="1090" y="66"/>
                  </a:cubicBezTo>
                  <a:cubicBezTo>
                    <a:pt x="1075" y="56"/>
                    <a:pt x="1075" y="56"/>
                    <a:pt x="1075" y="56"/>
                  </a:cubicBezTo>
                  <a:lnTo>
                    <a:pt x="1044" y="68"/>
                  </a:lnTo>
                  <a:close/>
                  <a:moveTo>
                    <a:pt x="1051" y="39"/>
                  </a:moveTo>
                  <a:cubicBezTo>
                    <a:pt x="1064" y="48"/>
                    <a:pt x="1066" y="52"/>
                    <a:pt x="1066" y="52"/>
                  </a:cubicBezTo>
                  <a:cubicBezTo>
                    <a:pt x="1083" y="44"/>
                    <a:pt x="1083" y="44"/>
                    <a:pt x="1083" y="44"/>
                  </a:cubicBezTo>
                  <a:cubicBezTo>
                    <a:pt x="1083" y="44"/>
                    <a:pt x="1076" y="49"/>
                    <a:pt x="1090" y="49"/>
                  </a:cubicBezTo>
                  <a:cubicBezTo>
                    <a:pt x="1104" y="49"/>
                    <a:pt x="1125" y="38"/>
                    <a:pt x="1125" y="38"/>
                  </a:cubicBezTo>
                  <a:cubicBezTo>
                    <a:pt x="1089" y="32"/>
                    <a:pt x="1089" y="32"/>
                    <a:pt x="1089" y="32"/>
                  </a:cubicBezTo>
                  <a:cubicBezTo>
                    <a:pt x="1079" y="38"/>
                    <a:pt x="1079" y="38"/>
                    <a:pt x="1079" y="38"/>
                  </a:cubicBezTo>
                  <a:cubicBezTo>
                    <a:pt x="1079" y="38"/>
                    <a:pt x="1065" y="32"/>
                    <a:pt x="1061" y="34"/>
                  </a:cubicBezTo>
                  <a:cubicBezTo>
                    <a:pt x="1057" y="35"/>
                    <a:pt x="1051" y="39"/>
                    <a:pt x="1051" y="39"/>
                  </a:cubicBezTo>
                  <a:close/>
                  <a:moveTo>
                    <a:pt x="1113" y="23"/>
                  </a:moveTo>
                  <a:cubicBezTo>
                    <a:pt x="1071" y="23"/>
                    <a:pt x="1071" y="23"/>
                    <a:pt x="1071" y="23"/>
                  </a:cubicBezTo>
                  <a:cubicBezTo>
                    <a:pt x="1106" y="31"/>
                    <a:pt x="1106" y="31"/>
                    <a:pt x="1106" y="31"/>
                  </a:cubicBezTo>
                  <a:lnTo>
                    <a:pt x="1113" y="23"/>
                  </a:lnTo>
                  <a:close/>
                  <a:moveTo>
                    <a:pt x="1032" y="349"/>
                  </a:moveTo>
                  <a:cubicBezTo>
                    <a:pt x="1002" y="354"/>
                    <a:pt x="1002" y="354"/>
                    <a:pt x="1002" y="354"/>
                  </a:cubicBezTo>
                  <a:cubicBezTo>
                    <a:pt x="1011" y="366"/>
                    <a:pt x="1011" y="366"/>
                    <a:pt x="1011" y="366"/>
                  </a:cubicBezTo>
                  <a:cubicBezTo>
                    <a:pt x="1030" y="357"/>
                    <a:pt x="1030" y="357"/>
                    <a:pt x="1030" y="357"/>
                  </a:cubicBezTo>
                  <a:cubicBezTo>
                    <a:pt x="1020" y="373"/>
                    <a:pt x="1020" y="373"/>
                    <a:pt x="1020" y="373"/>
                  </a:cubicBezTo>
                  <a:cubicBezTo>
                    <a:pt x="1020" y="373"/>
                    <a:pt x="992" y="379"/>
                    <a:pt x="994" y="390"/>
                  </a:cubicBezTo>
                  <a:cubicBezTo>
                    <a:pt x="996" y="401"/>
                    <a:pt x="1023" y="405"/>
                    <a:pt x="1035" y="405"/>
                  </a:cubicBezTo>
                  <a:cubicBezTo>
                    <a:pt x="1048" y="405"/>
                    <a:pt x="1065" y="408"/>
                    <a:pt x="1076" y="414"/>
                  </a:cubicBezTo>
                  <a:cubicBezTo>
                    <a:pt x="1086" y="420"/>
                    <a:pt x="1085" y="437"/>
                    <a:pt x="1088" y="438"/>
                  </a:cubicBezTo>
                  <a:cubicBezTo>
                    <a:pt x="1091" y="440"/>
                    <a:pt x="1140" y="447"/>
                    <a:pt x="1140" y="447"/>
                  </a:cubicBezTo>
                  <a:cubicBezTo>
                    <a:pt x="1214" y="443"/>
                    <a:pt x="1214" y="443"/>
                    <a:pt x="1214" y="443"/>
                  </a:cubicBezTo>
                  <a:cubicBezTo>
                    <a:pt x="1214" y="443"/>
                    <a:pt x="1154" y="437"/>
                    <a:pt x="1138" y="411"/>
                  </a:cubicBezTo>
                  <a:cubicBezTo>
                    <a:pt x="1122" y="385"/>
                    <a:pt x="1106" y="385"/>
                    <a:pt x="1122" y="361"/>
                  </a:cubicBezTo>
                  <a:cubicBezTo>
                    <a:pt x="1138" y="337"/>
                    <a:pt x="1119" y="335"/>
                    <a:pt x="1119" y="335"/>
                  </a:cubicBezTo>
                  <a:cubicBezTo>
                    <a:pt x="1146" y="331"/>
                    <a:pt x="1146" y="331"/>
                    <a:pt x="1146" y="331"/>
                  </a:cubicBezTo>
                  <a:cubicBezTo>
                    <a:pt x="1135" y="319"/>
                    <a:pt x="1135" y="319"/>
                    <a:pt x="1135" y="319"/>
                  </a:cubicBezTo>
                  <a:cubicBezTo>
                    <a:pt x="1158" y="322"/>
                    <a:pt x="1158" y="322"/>
                    <a:pt x="1158" y="322"/>
                  </a:cubicBezTo>
                  <a:cubicBezTo>
                    <a:pt x="1145" y="314"/>
                    <a:pt x="1145" y="314"/>
                    <a:pt x="1145" y="314"/>
                  </a:cubicBezTo>
                  <a:cubicBezTo>
                    <a:pt x="1161" y="316"/>
                    <a:pt x="1161" y="316"/>
                    <a:pt x="1161" y="316"/>
                  </a:cubicBezTo>
                  <a:cubicBezTo>
                    <a:pt x="1165" y="306"/>
                    <a:pt x="1165" y="306"/>
                    <a:pt x="1165" y="306"/>
                  </a:cubicBezTo>
                  <a:cubicBezTo>
                    <a:pt x="1151" y="299"/>
                    <a:pt x="1151" y="299"/>
                    <a:pt x="1151" y="299"/>
                  </a:cubicBezTo>
                  <a:cubicBezTo>
                    <a:pt x="1151" y="299"/>
                    <a:pt x="1178" y="303"/>
                    <a:pt x="1182" y="299"/>
                  </a:cubicBezTo>
                  <a:cubicBezTo>
                    <a:pt x="1186" y="295"/>
                    <a:pt x="1171" y="285"/>
                    <a:pt x="1171" y="285"/>
                  </a:cubicBezTo>
                  <a:cubicBezTo>
                    <a:pt x="1193" y="287"/>
                    <a:pt x="1193" y="287"/>
                    <a:pt x="1193" y="287"/>
                  </a:cubicBezTo>
                  <a:cubicBezTo>
                    <a:pt x="1191" y="268"/>
                    <a:pt x="1191" y="268"/>
                    <a:pt x="1191" y="268"/>
                  </a:cubicBezTo>
                  <a:cubicBezTo>
                    <a:pt x="1191" y="268"/>
                    <a:pt x="1205" y="279"/>
                    <a:pt x="1223" y="271"/>
                  </a:cubicBezTo>
                  <a:cubicBezTo>
                    <a:pt x="1242" y="264"/>
                    <a:pt x="1254" y="250"/>
                    <a:pt x="1254" y="250"/>
                  </a:cubicBezTo>
                  <a:cubicBezTo>
                    <a:pt x="1254" y="250"/>
                    <a:pt x="1399" y="229"/>
                    <a:pt x="1420" y="220"/>
                  </a:cubicBezTo>
                  <a:cubicBezTo>
                    <a:pt x="1442" y="210"/>
                    <a:pt x="1463" y="195"/>
                    <a:pt x="1430" y="184"/>
                  </a:cubicBezTo>
                  <a:cubicBezTo>
                    <a:pt x="1397" y="172"/>
                    <a:pt x="1363" y="188"/>
                    <a:pt x="1348" y="194"/>
                  </a:cubicBezTo>
                  <a:cubicBezTo>
                    <a:pt x="1334" y="200"/>
                    <a:pt x="1290" y="215"/>
                    <a:pt x="1270" y="212"/>
                  </a:cubicBezTo>
                  <a:cubicBezTo>
                    <a:pt x="1249" y="210"/>
                    <a:pt x="1218" y="206"/>
                    <a:pt x="1218" y="206"/>
                  </a:cubicBezTo>
                  <a:cubicBezTo>
                    <a:pt x="1207" y="223"/>
                    <a:pt x="1207" y="223"/>
                    <a:pt x="1207" y="223"/>
                  </a:cubicBezTo>
                  <a:cubicBezTo>
                    <a:pt x="1190" y="214"/>
                    <a:pt x="1190" y="214"/>
                    <a:pt x="1190" y="214"/>
                  </a:cubicBezTo>
                  <a:cubicBezTo>
                    <a:pt x="1155" y="228"/>
                    <a:pt x="1155" y="228"/>
                    <a:pt x="1155" y="228"/>
                  </a:cubicBezTo>
                  <a:cubicBezTo>
                    <a:pt x="1136" y="227"/>
                    <a:pt x="1136" y="227"/>
                    <a:pt x="1136" y="227"/>
                  </a:cubicBezTo>
                  <a:cubicBezTo>
                    <a:pt x="1117" y="242"/>
                    <a:pt x="1117" y="242"/>
                    <a:pt x="1117" y="242"/>
                  </a:cubicBezTo>
                  <a:cubicBezTo>
                    <a:pt x="1131" y="247"/>
                    <a:pt x="1131" y="247"/>
                    <a:pt x="1131" y="247"/>
                  </a:cubicBezTo>
                  <a:cubicBezTo>
                    <a:pt x="1098" y="248"/>
                    <a:pt x="1098" y="248"/>
                    <a:pt x="1098" y="248"/>
                  </a:cubicBezTo>
                  <a:cubicBezTo>
                    <a:pt x="1079" y="254"/>
                    <a:pt x="1079" y="254"/>
                    <a:pt x="1079" y="254"/>
                  </a:cubicBezTo>
                  <a:cubicBezTo>
                    <a:pt x="1080" y="263"/>
                    <a:pt x="1080" y="263"/>
                    <a:pt x="1080" y="263"/>
                  </a:cubicBezTo>
                  <a:cubicBezTo>
                    <a:pt x="1097" y="254"/>
                    <a:pt x="1097" y="254"/>
                    <a:pt x="1097" y="254"/>
                  </a:cubicBezTo>
                  <a:cubicBezTo>
                    <a:pt x="1098" y="263"/>
                    <a:pt x="1098" y="263"/>
                    <a:pt x="1098" y="263"/>
                  </a:cubicBezTo>
                  <a:cubicBezTo>
                    <a:pt x="1117" y="265"/>
                    <a:pt x="1117" y="265"/>
                    <a:pt x="1117" y="265"/>
                  </a:cubicBezTo>
                  <a:cubicBezTo>
                    <a:pt x="1111" y="273"/>
                    <a:pt x="1111" y="273"/>
                    <a:pt x="1111" y="273"/>
                  </a:cubicBezTo>
                  <a:cubicBezTo>
                    <a:pt x="1085" y="273"/>
                    <a:pt x="1085" y="273"/>
                    <a:pt x="1085" y="273"/>
                  </a:cubicBezTo>
                  <a:cubicBezTo>
                    <a:pt x="1081" y="282"/>
                    <a:pt x="1081" y="282"/>
                    <a:pt x="1081" y="282"/>
                  </a:cubicBezTo>
                  <a:cubicBezTo>
                    <a:pt x="1099" y="285"/>
                    <a:pt x="1099" y="285"/>
                    <a:pt x="1099" y="285"/>
                  </a:cubicBezTo>
                  <a:cubicBezTo>
                    <a:pt x="1068" y="287"/>
                    <a:pt x="1068" y="287"/>
                    <a:pt x="1068" y="287"/>
                  </a:cubicBezTo>
                  <a:cubicBezTo>
                    <a:pt x="1090" y="293"/>
                    <a:pt x="1090" y="293"/>
                    <a:pt x="1090" y="293"/>
                  </a:cubicBezTo>
                  <a:cubicBezTo>
                    <a:pt x="1061" y="295"/>
                    <a:pt x="1061" y="295"/>
                    <a:pt x="1061" y="295"/>
                  </a:cubicBezTo>
                  <a:cubicBezTo>
                    <a:pt x="1059" y="309"/>
                    <a:pt x="1059" y="309"/>
                    <a:pt x="1059" y="309"/>
                  </a:cubicBezTo>
                  <a:cubicBezTo>
                    <a:pt x="1039" y="316"/>
                    <a:pt x="1039" y="316"/>
                    <a:pt x="1039" y="316"/>
                  </a:cubicBezTo>
                  <a:cubicBezTo>
                    <a:pt x="1046" y="326"/>
                    <a:pt x="1046" y="326"/>
                    <a:pt x="1046" y="326"/>
                  </a:cubicBezTo>
                  <a:cubicBezTo>
                    <a:pt x="1073" y="314"/>
                    <a:pt x="1073" y="314"/>
                    <a:pt x="1073" y="314"/>
                  </a:cubicBezTo>
                  <a:cubicBezTo>
                    <a:pt x="1062" y="332"/>
                    <a:pt x="1062" y="332"/>
                    <a:pt x="1062" y="332"/>
                  </a:cubicBezTo>
                  <a:cubicBezTo>
                    <a:pt x="1062" y="332"/>
                    <a:pt x="1041" y="327"/>
                    <a:pt x="1033" y="334"/>
                  </a:cubicBezTo>
                  <a:cubicBezTo>
                    <a:pt x="1026" y="341"/>
                    <a:pt x="1032" y="349"/>
                    <a:pt x="1032" y="349"/>
                  </a:cubicBezTo>
                  <a:close/>
                  <a:moveTo>
                    <a:pt x="3856" y="331"/>
                  </a:moveTo>
                  <a:cubicBezTo>
                    <a:pt x="3904" y="325"/>
                    <a:pt x="3904" y="325"/>
                    <a:pt x="3904" y="325"/>
                  </a:cubicBezTo>
                  <a:cubicBezTo>
                    <a:pt x="3976" y="335"/>
                    <a:pt x="3976" y="335"/>
                    <a:pt x="3976" y="335"/>
                  </a:cubicBezTo>
                  <a:cubicBezTo>
                    <a:pt x="3976" y="335"/>
                    <a:pt x="3954" y="311"/>
                    <a:pt x="3938" y="307"/>
                  </a:cubicBezTo>
                  <a:cubicBezTo>
                    <a:pt x="3922" y="303"/>
                    <a:pt x="3866" y="311"/>
                    <a:pt x="3866" y="311"/>
                  </a:cubicBezTo>
                  <a:lnTo>
                    <a:pt x="3856" y="331"/>
                  </a:lnTo>
                  <a:close/>
                  <a:moveTo>
                    <a:pt x="3858" y="253"/>
                  </a:moveTo>
                  <a:cubicBezTo>
                    <a:pt x="3896" y="257"/>
                    <a:pt x="3896" y="257"/>
                    <a:pt x="3896" y="257"/>
                  </a:cubicBezTo>
                  <a:cubicBezTo>
                    <a:pt x="3906" y="247"/>
                    <a:pt x="3904" y="235"/>
                    <a:pt x="3886" y="235"/>
                  </a:cubicBezTo>
                  <a:cubicBezTo>
                    <a:pt x="3868" y="235"/>
                    <a:pt x="3808" y="221"/>
                    <a:pt x="3816" y="233"/>
                  </a:cubicBezTo>
                  <a:cubicBezTo>
                    <a:pt x="3824" y="245"/>
                    <a:pt x="3858" y="253"/>
                    <a:pt x="3858" y="253"/>
                  </a:cubicBezTo>
                  <a:close/>
                  <a:moveTo>
                    <a:pt x="3818" y="289"/>
                  </a:moveTo>
                  <a:cubicBezTo>
                    <a:pt x="3792" y="315"/>
                    <a:pt x="3848" y="313"/>
                    <a:pt x="3856" y="303"/>
                  </a:cubicBezTo>
                  <a:cubicBezTo>
                    <a:pt x="3864" y="293"/>
                    <a:pt x="3825" y="282"/>
                    <a:pt x="3818" y="289"/>
                  </a:cubicBezTo>
                  <a:close/>
                  <a:moveTo>
                    <a:pt x="2050" y="65"/>
                  </a:moveTo>
                  <a:cubicBezTo>
                    <a:pt x="2050" y="65"/>
                    <a:pt x="2106" y="69"/>
                    <a:pt x="2118" y="65"/>
                  </a:cubicBezTo>
                  <a:cubicBezTo>
                    <a:pt x="2130" y="61"/>
                    <a:pt x="2172" y="65"/>
                    <a:pt x="2164" y="49"/>
                  </a:cubicBezTo>
                  <a:cubicBezTo>
                    <a:pt x="2156" y="33"/>
                    <a:pt x="2082" y="11"/>
                    <a:pt x="2082" y="11"/>
                  </a:cubicBezTo>
                  <a:cubicBezTo>
                    <a:pt x="2082" y="11"/>
                    <a:pt x="2026" y="1"/>
                    <a:pt x="2024" y="21"/>
                  </a:cubicBezTo>
                  <a:cubicBezTo>
                    <a:pt x="2022" y="41"/>
                    <a:pt x="2050" y="65"/>
                    <a:pt x="2050" y="65"/>
                  </a:cubicBezTo>
                  <a:close/>
                  <a:moveTo>
                    <a:pt x="4094" y="273"/>
                  </a:moveTo>
                  <a:cubicBezTo>
                    <a:pt x="4122" y="259"/>
                    <a:pt x="4026" y="259"/>
                    <a:pt x="4026" y="259"/>
                  </a:cubicBezTo>
                  <a:cubicBezTo>
                    <a:pt x="4026" y="259"/>
                    <a:pt x="4006" y="241"/>
                    <a:pt x="3998" y="241"/>
                  </a:cubicBezTo>
                  <a:cubicBezTo>
                    <a:pt x="3990" y="241"/>
                    <a:pt x="3966" y="245"/>
                    <a:pt x="3966" y="245"/>
                  </a:cubicBezTo>
                  <a:cubicBezTo>
                    <a:pt x="3942" y="243"/>
                    <a:pt x="3942" y="243"/>
                    <a:pt x="3942" y="243"/>
                  </a:cubicBezTo>
                  <a:cubicBezTo>
                    <a:pt x="3966" y="259"/>
                    <a:pt x="3966" y="259"/>
                    <a:pt x="3966" y="259"/>
                  </a:cubicBezTo>
                  <a:cubicBezTo>
                    <a:pt x="3966" y="259"/>
                    <a:pt x="4066" y="287"/>
                    <a:pt x="4094" y="273"/>
                  </a:cubicBezTo>
                  <a:close/>
                  <a:moveTo>
                    <a:pt x="5070" y="495"/>
                  </a:moveTo>
                  <a:cubicBezTo>
                    <a:pt x="5078" y="485"/>
                    <a:pt x="5004" y="475"/>
                    <a:pt x="5004" y="475"/>
                  </a:cubicBezTo>
                  <a:cubicBezTo>
                    <a:pt x="5004" y="483"/>
                    <a:pt x="5062" y="505"/>
                    <a:pt x="5070" y="495"/>
                  </a:cubicBezTo>
                  <a:close/>
                  <a:moveTo>
                    <a:pt x="2112" y="81"/>
                  </a:moveTo>
                  <a:cubicBezTo>
                    <a:pt x="2112" y="89"/>
                    <a:pt x="2178" y="95"/>
                    <a:pt x="2178" y="95"/>
                  </a:cubicBezTo>
                  <a:cubicBezTo>
                    <a:pt x="2212" y="91"/>
                    <a:pt x="2212" y="91"/>
                    <a:pt x="2212" y="91"/>
                  </a:cubicBezTo>
                  <a:cubicBezTo>
                    <a:pt x="2250" y="105"/>
                    <a:pt x="2250" y="105"/>
                    <a:pt x="2250" y="105"/>
                  </a:cubicBezTo>
                  <a:cubicBezTo>
                    <a:pt x="2292" y="103"/>
                    <a:pt x="2292" y="103"/>
                    <a:pt x="2292" y="103"/>
                  </a:cubicBezTo>
                  <a:cubicBezTo>
                    <a:pt x="2286" y="85"/>
                    <a:pt x="2268" y="59"/>
                    <a:pt x="2250" y="61"/>
                  </a:cubicBezTo>
                  <a:cubicBezTo>
                    <a:pt x="2232" y="63"/>
                    <a:pt x="2214" y="75"/>
                    <a:pt x="2214" y="75"/>
                  </a:cubicBezTo>
                  <a:cubicBezTo>
                    <a:pt x="2200" y="59"/>
                    <a:pt x="2200" y="59"/>
                    <a:pt x="2200" y="59"/>
                  </a:cubicBezTo>
                  <a:cubicBezTo>
                    <a:pt x="2200" y="59"/>
                    <a:pt x="2112" y="73"/>
                    <a:pt x="2112" y="81"/>
                  </a:cubicBezTo>
                  <a:close/>
                  <a:moveTo>
                    <a:pt x="2392" y="133"/>
                  </a:moveTo>
                  <a:cubicBezTo>
                    <a:pt x="2498" y="127"/>
                    <a:pt x="2498" y="127"/>
                    <a:pt x="2498" y="127"/>
                  </a:cubicBezTo>
                  <a:cubicBezTo>
                    <a:pt x="2470" y="111"/>
                    <a:pt x="2470" y="111"/>
                    <a:pt x="2470" y="111"/>
                  </a:cubicBezTo>
                  <a:cubicBezTo>
                    <a:pt x="2470" y="111"/>
                    <a:pt x="2432" y="91"/>
                    <a:pt x="2422" y="91"/>
                  </a:cubicBezTo>
                  <a:cubicBezTo>
                    <a:pt x="2412" y="91"/>
                    <a:pt x="2394" y="103"/>
                    <a:pt x="2394" y="103"/>
                  </a:cubicBezTo>
                  <a:cubicBezTo>
                    <a:pt x="2394" y="103"/>
                    <a:pt x="2388" y="75"/>
                    <a:pt x="2366" y="75"/>
                  </a:cubicBezTo>
                  <a:cubicBezTo>
                    <a:pt x="2344" y="75"/>
                    <a:pt x="2332" y="141"/>
                    <a:pt x="2332" y="141"/>
                  </a:cubicBezTo>
                  <a:cubicBezTo>
                    <a:pt x="2348" y="149"/>
                    <a:pt x="2348" y="149"/>
                    <a:pt x="2348" y="149"/>
                  </a:cubicBezTo>
                  <a:cubicBezTo>
                    <a:pt x="2366" y="145"/>
                    <a:pt x="2392" y="133"/>
                    <a:pt x="2392" y="133"/>
                  </a:cubicBezTo>
                  <a:close/>
                  <a:moveTo>
                    <a:pt x="3752" y="279"/>
                  </a:moveTo>
                  <a:cubicBezTo>
                    <a:pt x="3762" y="261"/>
                    <a:pt x="3762" y="261"/>
                    <a:pt x="3762" y="261"/>
                  </a:cubicBezTo>
                  <a:cubicBezTo>
                    <a:pt x="3762" y="261"/>
                    <a:pt x="3788" y="261"/>
                    <a:pt x="3798" y="261"/>
                  </a:cubicBezTo>
                  <a:cubicBezTo>
                    <a:pt x="3808" y="261"/>
                    <a:pt x="3838" y="259"/>
                    <a:pt x="3838" y="259"/>
                  </a:cubicBezTo>
                  <a:cubicBezTo>
                    <a:pt x="3796" y="239"/>
                    <a:pt x="3796" y="239"/>
                    <a:pt x="3796" y="239"/>
                  </a:cubicBezTo>
                  <a:cubicBezTo>
                    <a:pt x="3804" y="225"/>
                    <a:pt x="3804" y="225"/>
                    <a:pt x="3804" y="225"/>
                  </a:cubicBezTo>
                  <a:cubicBezTo>
                    <a:pt x="3744" y="213"/>
                    <a:pt x="3744" y="213"/>
                    <a:pt x="3744" y="213"/>
                  </a:cubicBezTo>
                  <a:cubicBezTo>
                    <a:pt x="3754" y="231"/>
                    <a:pt x="3754" y="231"/>
                    <a:pt x="3754" y="231"/>
                  </a:cubicBezTo>
                  <a:cubicBezTo>
                    <a:pt x="3754" y="231"/>
                    <a:pt x="3632" y="191"/>
                    <a:pt x="3634" y="221"/>
                  </a:cubicBezTo>
                  <a:cubicBezTo>
                    <a:pt x="3636" y="251"/>
                    <a:pt x="3752" y="279"/>
                    <a:pt x="3752" y="279"/>
                  </a:cubicBezTo>
                  <a:close/>
                  <a:moveTo>
                    <a:pt x="2882" y="289"/>
                  </a:moveTo>
                  <a:cubicBezTo>
                    <a:pt x="2914" y="295"/>
                    <a:pt x="2914" y="295"/>
                    <a:pt x="2914" y="295"/>
                  </a:cubicBezTo>
                  <a:cubicBezTo>
                    <a:pt x="2934" y="297"/>
                    <a:pt x="2954" y="285"/>
                    <a:pt x="2924" y="279"/>
                  </a:cubicBezTo>
                  <a:cubicBezTo>
                    <a:pt x="2894" y="273"/>
                    <a:pt x="2882" y="289"/>
                    <a:pt x="2882" y="289"/>
                  </a:cubicBezTo>
                  <a:close/>
                  <a:moveTo>
                    <a:pt x="3618" y="235"/>
                  </a:moveTo>
                  <a:cubicBezTo>
                    <a:pt x="3582" y="223"/>
                    <a:pt x="3582" y="223"/>
                    <a:pt x="3582" y="223"/>
                  </a:cubicBezTo>
                  <a:cubicBezTo>
                    <a:pt x="3598" y="245"/>
                    <a:pt x="3598" y="245"/>
                    <a:pt x="3598" y="245"/>
                  </a:cubicBezTo>
                  <a:lnTo>
                    <a:pt x="3618" y="235"/>
                  </a:lnTo>
                  <a:close/>
                  <a:moveTo>
                    <a:pt x="5328" y="443"/>
                  </a:moveTo>
                  <a:cubicBezTo>
                    <a:pt x="5340" y="439"/>
                    <a:pt x="5358" y="437"/>
                    <a:pt x="5384" y="437"/>
                  </a:cubicBezTo>
                  <a:cubicBezTo>
                    <a:pt x="5410" y="437"/>
                    <a:pt x="5414" y="421"/>
                    <a:pt x="5396" y="419"/>
                  </a:cubicBezTo>
                  <a:cubicBezTo>
                    <a:pt x="5378" y="417"/>
                    <a:pt x="5346" y="405"/>
                    <a:pt x="5334" y="405"/>
                  </a:cubicBezTo>
                  <a:cubicBezTo>
                    <a:pt x="5322" y="405"/>
                    <a:pt x="5294" y="405"/>
                    <a:pt x="5294" y="427"/>
                  </a:cubicBezTo>
                  <a:cubicBezTo>
                    <a:pt x="5294" y="451"/>
                    <a:pt x="5316" y="447"/>
                    <a:pt x="5328" y="443"/>
                  </a:cubicBezTo>
                  <a:close/>
                  <a:moveTo>
                    <a:pt x="111" y="1194"/>
                  </a:moveTo>
                  <a:cubicBezTo>
                    <a:pt x="103" y="1195"/>
                    <a:pt x="79" y="1198"/>
                    <a:pt x="79" y="1198"/>
                  </a:cubicBezTo>
                  <a:cubicBezTo>
                    <a:pt x="77" y="1192"/>
                    <a:pt x="77" y="1192"/>
                    <a:pt x="77" y="1192"/>
                  </a:cubicBezTo>
                  <a:cubicBezTo>
                    <a:pt x="69" y="1193"/>
                    <a:pt x="69" y="1193"/>
                    <a:pt x="69" y="1193"/>
                  </a:cubicBezTo>
                  <a:cubicBezTo>
                    <a:pt x="66" y="1187"/>
                    <a:pt x="66" y="1187"/>
                    <a:pt x="66" y="1187"/>
                  </a:cubicBezTo>
                  <a:cubicBezTo>
                    <a:pt x="61" y="1187"/>
                    <a:pt x="61" y="1187"/>
                    <a:pt x="61" y="1187"/>
                  </a:cubicBezTo>
                  <a:cubicBezTo>
                    <a:pt x="61" y="1192"/>
                    <a:pt x="53" y="1201"/>
                    <a:pt x="53" y="1201"/>
                  </a:cubicBezTo>
                  <a:cubicBezTo>
                    <a:pt x="53" y="1201"/>
                    <a:pt x="12" y="1196"/>
                    <a:pt x="6" y="1203"/>
                  </a:cubicBezTo>
                  <a:cubicBezTo>
                    <a:pt x="0" y="1210"/>
                    <a:pt x="13" y="1219"/>
                    <a:pt x="13" y="1219"/>
                  </a:cubicBezTo>
                  <a:cubicBezTo>
                    <a:pt x="8" y="1228"/>
                    <a:pt x="8" y="1228"/>
                    <a:pt x="8" y="1228"/>
                  </a:cubicBezTo>
                  <a:cubicBezTo>
                    <a:pt x="8" y="1227"/>
                    <a:pt x="8" y="1227"/>
                    <a:pt x="8" y="1227"/>
                  </a:cubicBezTo>
                  <a:cubicBezTo>
                    <a:pt x="13" y="1232"/>
                    <a:pt x="13" y="1232"/>
                    <a:pt x="13" y="1232"/>
                  </a:cubicBezTo>
                  <a:cubicBezTo>
                    <a:pt x="13" y="1232"/>
                    <a:pt x="25" y="1227"/>
                    <a:pt x="34" y="1229"/>
                  </a:cubicBezTo>
                  <a:cubicBezTo>
                    <a:pt x="43" y="1231"/>
                    <a:pt x="51" y="1236"/>
                    <a:pt x="51" y="1236"/>
                  </a:cubicBezTo>
                  <a:cubicBezTo>
                    <a:pt x="51" y="1236"/>
                    <a:pt x="82" y="1234"/>
                    <a:pt x="90" y="1235"/>
                  </a:cubicBezTo>
                  <a:cubicBezTo>
                    <a:pt x="98" y="1236"/>
                    <a:pt x="113" y="1236"/>
                    <a:pt x="113" y="1236"/>
                  </a:cubicBezTo>
                  <a:cubicBezTo>
                    <a:pt x="113" y="1236"/>
                    <a:pt x="109" y="1230"/>
                    <a:pt x="117" y="1231"/>
                  </a:cubicBezTo>
                  <a:cubicBezTo>
                    <a:pt x="112" y="1221"/>
                    <a:pt x="112" y="1221"/>
                    <a:pt x="112" y="1221"/>
                  </a:cubicBezTo>
                  <a:cubicBezTo>
                    <a:pt x="112" y="1221"/>
                    <a:pt x="120" y="1214"/>
                    <a:pt x="121" y="1209"/>
                  </a:cubicBezTo>
                  <a:cubicBezTo>
                    <a:pt x="122" y="1204"/>
                    <a:pt x="119" y="1193"/>
                    <a:pt x="111" y="1194"/>
                  </a:cubicBezTo>
                  <a:close/>
                  <a:moveTo>
                    <a:pt x="698" y="59"/>
                  </a:moveTo>
                  <a:cubicBezTo>
                    <a:pt x="712" y="49"/>
                    <a:pt x="712" y="49"/>
                    <a:pt x="712" y="49"/>
                  </a:cubicBezTo>
                  <a:cubicBezTo>
                    <a:pt x="712" y="49"/>
                    <a:pt x="677" y="42"/>
                    <a:pt x="698" y="59"/>
                  </a:cubicBezTo>
                  <a:close/>
                  <a:moveTo>
                    <a:pt x="664" y="48"/>
                  </a:moveTo>
                  <a:cubicBezTo>
                    <a:pt x="720" y="35"/>
                    <a:pt x="720" y="35"/>
                    <a:pt x="720" y="35"/>
                  </a:cubicBezTo>
                  <a:cubicBezTo>
                    <a:pt x="702" y="30"/>
                    <a:pt x="702" y="30"/>
                    <a:pt x="702" y="30"/>
                  </a:cubicBezTo>
                  <a:cubicBezTo>
                    <a:pt x="668" y="38"/>
                    <a:pt x="668" y="38"/>
                    <a:pt x="668" y="38"/>
                  </a:cubicBezTo>
                  <a:cubicBezTo>
                    <a:pt x="634" y="37"/>
                    <a:pt x="634" y="37"/>
                    <a:pt x="634" y="37"/>
                  </a:cubicBezTo>
                  <a:cubicBezTo>
                    <a:pt x="650" y="44"/>
                    <a:pt x="650" y="44"/>
                    <a:pt x="650" y="44"/>
                  </a:cubicBezTo>
                  <a:lnTo>
                    <a:pt x="664" y="48"/>
                  </a:lnTo>
                  <a:close/>
                  <a:moveTo>
                    <a:pt x="754" y="61"/>
                  </a:moveTo>
                  <a:cubicBezTo>
                    <a:pt x="757" y="51"/>
                    <a:pt x="757" y="51"/>
                    <a:pt x="757" y="51"/>
                  </a:cubicBezTo>
                  <a:cubicBezTo>
                    <a:pt x="774" y="51"/>
                    <a:pt x="774" y="51"/>
                    <a:pt x="774" y="51"/>
                  </a:cubicBezTo>
                  <a:cubicBezTo>
                    <a:pt x="779" y="45"/>
                    <a:pt x="779" y="45"/>
                    <a:pt x="779" y="45"/>
                  </a:cubicBezTo>
                  <a:cubicBezTo>
                    <a:pt x="779" y="45"/>
                    <a:pt x="806" y="48"/>
                    <a:pt x="816" y="42"/>
                  </a:cubicBezTo>
                  <a:cubicBezTo>
                    <a:pt x="826" y="37"/>
                    <a:pt x="791" y="37"/>
                    <a:pt x="791" y="37"/>
                  </a:cubicBezTo>
                  <a:cubicBezTo>
                    <a:pt x="791" y="37"/>
                    <a:pt x="791" y="27"/>
                    <a:pt x="774" y="27"/>
                  </a:cubicBezTo>
                  <a:cubicBezTo>
                    <a:pt x="757" y="27"/>
                    <a:pt x="755" y="45"/>
                    <a:pt x="755" y="45"/>
                  </a:cubicBezTo>
                  <a:cubicBezTo>
                    <a:pt x="755" y="45"/>
                    <a:pt x="719" y="51"/>
                    <a:pt x="722" y="56"/>
                  </a:cubicBezTo>
                  <a:cubicBezTo>
                    <a:pt x="724" y="62"/>
                    <a:pt x="754" y="61"/>
                    <a:pt x="754" y="61"/>
                  </a:cubicBezTo>
                  <a:close/>
                  <a:moveTo>
                    <a:pt x="786" y="53"/>
                  </a:moveTo>
                  <a:cubicBezTo>
                    <a:pt x="776" y="59"/>
                    <a:pt x="776" y="59"/>
                    <a:pt x="776" y="59"/>
                  </a:cubicBezTo>
                  <a:cubicBezTo>
                    <a:pt x="789" y="66"/>
                    <a:pt x="789" y="66"/>
                    <a:pt x="789" y="66"/>
                  </a:cubicBezTo>
                  <a:cubicBezTo>
                    <a:pt x="802" y="72"/>
                    <a:pt x="802" y="72"/>
                    <a:pt x="802" y="72"/>
                  </a:cubicBezTo>
                  <a:cubicBezTo>
                    <a:pt x="834" y="69"/>
                    <a:pt x="834" y="69"/>
                    <a:pt x="834" y="69"/>
                  </a:cubicBezTo>
                  <a:cubicBezTo>
                    <a:pt x="833" y="61"/>
                    <a:pt x="833" y="61"/>
                    <a:pt x="833" y="61"/>
                  </a:cubicBezTo>
                  <a:cubicBezTo>
                    <a:pt x="810" y="61"/>
                    <a:pt x="810" y="61"/>
                    <a:pt x="810" y="61"/>
                  </a:cubicBezTo>
                  <a:lnTo>
                    <a:pt x="786" y="53"/>
                  </a:lnTo>
                  <a:close/>
                  <a:moveTo>
                    <a:pt x="5213" y="1622"/>
                  </a:moveTo>
                  <a:cubicBezTo>
                    <a:pt x="5191" y="1599"/>
                    <a:pt x="5191" y="1599"/>
                    <a:pt x="5191" y="1599"/>
                  </a:cubicBezTo>
                  <a:cubicBezTo>
                    <a:pt x="5191" y="1599"/>
                    <a:pt x="5169" y="1593"/>
                    <a:pt x="5156" y="1575"/>
                  </a:cubicBezTo>
                  <a:cubicBezTo>
                    <a:pt x="5144" y="1557"/>
                    <a:pt x="5136" y="1516"/>
                    <a:pt x="5136" y="1516"/>
                  </a:cubicBezTo>
                  <a:cubicBezTo>
                    <a:pt x="5136" y="1516"/>
                    <a:pt x="5112" y="1502"/>
                    <a:pt x="5125" y="1495"/>
                  </a:cubicBezTo>
                  <a:cubicBezTo>
                    <a:pt x="5137" y="1488"/>
                    <a:pt x="5213" y="1526"/>
                    <a:pt x="5213" y="1526"/>
                  </a:cubicBezTo>
                  <a:cubicBezTo>
                    <a:pt x="5163" y="1489"/>
                    <a:pt x="5163" y="1489"/>
                    <a:pt x="5163" y="1489"/>
                  </a:cubicBezTo>
                  <a:cubicBezTo>
                    <a:pt x="5163" y="1489"/>
                    <a:pt x="5144" y="1459"/>
                    <a:pt x="5134" y="1452"/>
                  </a:cubicBezTo>
                  <a:cubicBezTo>
                    <a:pt x="5125" y="1445"/>
                    <a:pt x="5109" y="1435"/>
                    <a:pt x="5109" y="1435"/>
                  </a:cubicBezTo>
                  <a:cubicBezTo>
                    <a:pt x="5057" y="1379"/>
                    <a:pt x="5057" y="1379"/>
                    <a:pt x="5057" y="1379"/>
                  </a:cubicBezTo>
                  <a:cubicBezTo>
                    <a:pt x="5040" y="1380"/>
                    <a:pt x="5040" y="1380"/>
                    <a:pt x="5040" y="1380"/>
                  </a:cubicBezTo>
                  <a:cubicBezTo>
                    <a:pt x="5033" y="1361"/>
                    <a:pt x="5033" y="1361"/>
                    <a:pt x="5033" y="1361"/>
                  </a:cubicBezTo>
                  <a:cubicBezTo>
                    <a:pt x="5033" y="1361"/>
                    <a:pt x="5023" y="1363"/>
                    <a:pt x="5011" y="1351"/>
                  </a:cubicBezTo>
                  <a:cubicBezTo>
                    <a:pt x="4999" y="1338"/>
                    <a:pt x="5003" y="1322"/>
                    <a:pt x="5003" y="1322"/>
                  </a:cubicBezTo>
                  <a:cubicBezTo>
                    <a:pt x="4983" y="1297"/>
                    <a:pt x="4983" y="1297"/>
                    <a:pt x="4983" y="1297"/>
                  </a:cubicBezTo>
                  <a:cubicBezTo>
                    <a:pt x="4969" y="1298"/>
                    <a:pt x="4969" y="1298"/>
                    <a:pt x="4969" y="1298"/>
                  </a:cubicBezTo>
                  <a:cubicBezTo>
                    <a:pt x="4960" y="1279"/>
                    <a:pt x="4960" y="1279"/>
                    <a:pt x="4960" y="1279"/>
                  </a:cubicBezTo>
                  <a:cubicBezTo>
                    <a:pt x="4933" y="1259"/>
                    <a:pt x="4933" y="1259"/>
                    <a:pt x="4933" y="1259"/>
                  </a:cubicBezTo>
                  <a:cubicBezTo>
                    <a:pt x="4925" y="1243"/>
                    <a:pt x="4925" y="1243"/>
                    <a:pt x="4925" y="1243"/>
                  </a:cubicBezTo>
                  <a:cubicBezTo>
                    <a:pt x="4925" y="1243"/>
                    <a:pt x="4907" y="1230"/>
                    <a:pt x="4900" y="1235"/>
                  </a:cubicBezTo>
                  <a:cubicBezTo>
                    <a:pt x="4893" y="1239"/>
                    <a:pt x="4939" y="1272"/>
                    <a:pt x="4933" y="1275"/>
                  </a:cubicBezTo>
                  <a:cubicBezTo>
                    <a:pt x="4928" y="1277"/>
                    <a:pt x="4915" y="1262"/>
                    <a:pt x="4913" y="1277"/>
                  </a:cubicBezTo>
                  <a:cubicBezTo>
                    <a:pt x="4910" y="1293"/>
                    <a:pt x="4939" y="1322"/>
                    <a:pt x="4939" y="1322"/>
                  </a:cubicBezTo>
                  <a:cubicBezTo>
                    <a:pt x="4939" y="1322"/>
                    <a:pt x="4946" y="1340"/>
                    <a:pt x="4953" y="1347"/>
                  </a:cubicBezTo>
                  <a:cubicBezTo>
                    <a:pt x="4960" y="1354"/>
                    <a:pt x="5007" y="1384"/>
                    <a:pt x="5018" y="1398"/>
                  </a:cubicBezTo>
                  <a:cubicBezTo>
                    <a:pt x="5029" y="1412"/>
                    <a:pt x="5028" y="1434"/>
                    <a:pt x="5041" y="1445"/>
                  </a:cubicBezTo>
                  <a:cubicBezTo>
                    <a:pt x="5055" y="1456"/>
                    <a:pt x="5087" y="1512"/>
                    <a:pt x="5087" y="1512"/>
                  </a:cubicBezTo>
                  <a:cubicBezTo>
                    <a:pt x="5087" y="1512"/>
                    <a:pt x="5093" y="1535"/>
                    <a:pt x="5100" y="1535"/>
                  </a:cubicBezTo>
                  <a:cubicBezTo>
                    <a:pt x="5107" y="1535"/>
                    <a:pt x="5120" y="1545"/>
                    <a:pt x="5127" y="1555"/>
                  </a:cubicBezTo>
                  <a:cubicBezTo>
                    <a:pt x="5134" y="1564"/>
                    <a:pt x="5134" y="1584"/>
                    <a:pt x="5134" y="1584"/>
                  </a:cubicBezTo>
                  <a:cubicBezTo>
                    <a:pt x="5162" y="1607"/>
                    <a:pt x="5162" y="1607"/>
                    <a:pt x="5162" y="1607"/>
                  </a:cubicBezTo>
                  <a:cubicBezTo>
                    <a:pt x="5172" y="1643"/>
                    <a:pt x="5172" y="1643"/>
                    <a:pt x="5172" y="1643"/>
                  </a:cubicBezTo>
                  <a:cubicBezTo>
                    <a:pt x="5198" y="1671"/>
                    <a:pt x="5198" y="1671"/>
                    <a:pt x="5198" y="1671"/>
                  </a:cubicBezTo>
                  <a:cubicBezTo>
                    <a:pt x="5198" y="1671"/>
                    <a:pt x="5184" y="1632"/>
                    <a:pt x="5193" y="1629"/>
                  </a:cubicBezTo>
                  <a:cubicBezTo>
                    <a:pt x="5201" y="1627"/>
                    <a:pt x="5205" y="1636"/>
                    <a:pt x="5205" y="1636"/>
                  </a:cubicBezTo>
                  <a:cubicBezTo>
                    <a:pt x="5226" y="1636"/>
                    <a:pt x="5226" y="1636"/>
                    <a:pt x="5226" y="1636"/>
                  </a:cubicBezTo>
                  <a:cubicBezTo>
                    <a:pt x="5248" y="1663"/>
                    <a:pt x="5248" y="1663"/>
                    <a:pt x="5248" y="1663"/>
                  </a:cubicBezTo>
                  <a:cubicBezTo>
                    <a:pt x="5249" y="1646"/>
                    <a:pt x="5249" y="1646"/>
                    <a:pt x="5249" y="1646"/>
                  </a:cubicBezTo>
                  <a:cubicBezTo>
                    <a:pt x="5229" y="1621"/>
                    <a:pt x="5229" y="1621"/>
                    <a:pt x="5229" y="1621"/>
                  </a:cubicBezTo>
                  <a:lnTo>
                    <a:pt x="5213" y="1622"/>
                  </a:lnTo>
                  <a:close/>
                  <a:moveTo>
                    <a:pt x="899" y="58"/>
                  </a:moveTo>
                  <a:cubicBezTo>
                    <a:pt x="905" y="46"/>
                    <a:pt x="905" y="46"/>
                    <a:pt x="905" y="46"/>
                  </a:cubicBezTo>
                  <a:cubicBezTo>
                    <a:pt x="876" y="42"/>
                    <a:pt x="876" y="42"/>
                    <a:pt x="876" y="42"/>
                  </a:cubicBezTo>
                  <a:cubicBezTo>
                    <a:pt x="861" y="52"/>
                    <a:pt x="861" y="52"/>
                    <a:pt x="861" y="52"/>
                  </a:cubicBezTo>
                  <a:cubicBezTo>
                    <a:pt x="864" y="61"/>
                    <a:pt x="864" y="61"/>
                    <a:pt x="864" y="61"/>
                  </a:cubicBezTo>
                  <a:lnTo>
                    <a:pt x="899" y="58"/>
                  </a:lnTo>
                  <a:close/>
                  <a:moveTo>
                    <a:pt x="771" y="1607"/>
                  </a:moveTo>
                  <a:cubicBezTo>
                    <a:pt x="771" y="1607"/>
                    <a:pt x="773" y="1608"/>
                    <a:pt x="774" y="1608"/>
                  </a:cubicBezTo>
                  <a:cubicBezTo>
                    <a:pt x="773" y="1608"/>
                    <a:pt x="771" y="1607"/>
                    <a:pt x="771" y="1607"/>
                  </a:cubicBezTo>
                  <a:close/>
                  <a:moveTo>
                    <a:pt x="771" y="1607"/>
                  </a:moveTo>
                  <a:cubicBezTo>
                    <a:pt x="770" y="1607"/>
                    <a:pt x="770" y="1607"/>
                    <a:pt x="770" y="1607"/>
                  </a:cubicBezTo>
                  <a:cubicBezTo>
                    <a:pt x="770" y="1607"/>
                    <a:pt x="770" y="1607"/>
                    <a:pt x="771" y="1607"/>
                  </a:cubicBezTo>
                  <a:close/>
                  <a:moveTo>
                    <a:pt x="6034" y="664"/>
                  </a:moveTo>
                  <a:cubicBezTo>
                    <a:pt x="6023" y="650"/>
                    <a:pt x="5993" y="645"/>
                    <a:pt x="5993" y="645"/>
                  </a:cubicBezTo>
                  <a:cubicBezTo>
                    <a:pt x="5962" y="631"/>
                    <a:pt x="5962" y="631"/>
                    <a:pt x="5962" y="631"/>
                  </a:cubicBezTo>
                  <a:cubicBezTo>
                    <a:pt x="5935" y="632"/>
                    <a:pt x="5935" y="632"/>
                    <a:pt x="5935" y="632"/>
                  </a:cubicBezTo>
                  <a:cubicBezTo>
                    <a:pt x="5915" y="619"/>
                    <a:pt x="5915" y="619"/>
                    <a:pt x="5915" y="619"/>
                  </a:cubicBezTo>
                  <a:cubicBezTo>
                    <a:pt x="5854" y="615"/>
                    <a:pt x="5854" y="615"/>
                    <a:pt x="5854" y="615"/>
                  </a:cubicBezTo>
                  <a:cubicBezTo>
                    <a:pt x="5829" y="603"/>
                    <a:pt x="5829" y="603"/>
                    <a:pt x="5829" y="603"/>
                  </a:cubicBezTo>
                  <a:cubicBezTo>
                    <a:pt x="5805" y="605"/>
                    <a:pt x="5805" y="605"/>
                    <a:pt x="5805" y="605"/>
                  </a:cubicBezTo>
                  <a:cubicBezTo>
                    <a:pt x="5838" y="630"/>
                    <a:pt x="5838" y="630"/>
                    <a:pt x="5838" y="630"/>
                  </a:cubicBezTo>
                  <a:cubicBezTo>
                    <a:pt x="5874" y="646"/>
                    <a:pt x="5874" y="646"/>
                    <a:pt x="5874" y="646"/>
                  </a:cubicBezTo>
                  <a:cubicBezTo>
                    <a:pt x="5874" y="646"/>
                    <a:pt x="5834" y="652"/>
                    <a:pt x="5822" y="642"/>
                  </a:cubicBezTo>
                  <a:cubicBezTo>
                    <a:pt x="5810" y="632"/>
                    <a:pt x="5809" y="610"/>
                    <a:pt x="5756" y="592"/>
                  </a:cubicBezTo>
                  <a:cubicBezTo>
                    <a:pt x="5703" y="574"/>
                    <a:pt x="5687" y="567"/>
                    <a:pt x="5633" y="558"/>
                  </a:cubicBezTo>
                  <a:cubicBezTo>
                    <a:pt x="5579" y="549"/>
                    <a:pt x="5466" y="523"/>
                    <a:pt x="5412" y="510"/>
                  </a:cubicBezTo>
                  <a:cubicBezTo>
                    <a:pt x="5358" y="497"/>
                    <a:pt x="5297" y="488"/>
                    <a:pt x="5297" y="488"/>
                  </a:cubicBezTo>
                  <a:cubicBezTo>
                    <a:pt x="5175" y="490"/>
                    <a:pt x="5175" y="490"/>
                    <a:pt x="5175" y="490"/>
                  </a:cubicBezTo>
                  <a:cubicBezTo>
                    <a:pt x="5166" y="478"/>
                    <a:pt x="5166" y="478"/>
                    <a:pt x="5166" y="478"/>
                  </a:cubicBezTo>
                  <a:cubicBezTo>
                    <a:pt x="5135" y="480"/>
                    <a:pt x="5135" y="480"/>
                    <a:pt x="5135" y="480"/>
                  </a:cubicBezTo>
                  <a:cubicBezTo>
                    <a:pt x="5124" y="472"/>
                    <a:pt x="5124" y="472"/>
                    <a:pt x="5124" y="472"/>
                  </a:cubicBezTo>
                  <a:cubicBezTo>
                    <a:pt x="5088" y="471"/>
                    <a:pt x="5088" y="471"/>
                    <a:pt x="5088" y="471"/>
                  </a:cubicBezTo>
                  <a:cubicBezTo>
                    <a:pt x="5105" y="483"/>
                    <a:pt x="5105" y="483"/>
                    <a:pt x="5105" y="483"/>
                  </a:cubicBezTo>
                  <a:cubicBezTo>
                    <a:pt x="5100" y="497"/>
                    <a:pt x="5100" y="497"/>
                    <a:pt x="5100" y="497"/>
                  </a:cubicBezTo>
                  <a:cubicBezTo>
                    <a:pt x="5100" y="497"/>
                    <a:pt x="5199" y="520"/>
                    <a:pt x="5170" y="533"/>
                  </a:cubicBezTo>
                  <a:cubicBezTo>
                    <a:pt x="5141" y="546"/>
                    <a:pt x="5123" y="529"/>
                    <a:pt x="5123" y="529"/>
                  </a:cubicBezTo>
                  <a:cubicBezTo>
                    <a:pt x="5106" y="515"/>
                    <a:pt x="5106" y="515"/>
                    <a:pt x="5106" y="515"/>
                  </a:cubicBezTo>
                  <a:cubicBezTo>
                    <a:pt x="5061" y="515"/>
                    <a:pt x="5061" y="515"/>
                    <a:pt x="5061" y="515"/>
                  </a:cubicBezTo>
                  <a:cubicBezTo>
                    <a:pt x="5024" y="492"/>
                    <a:pt x="5024" y="492"/>
                    <a:pt x="5024" y="492"/>
                  </a:cubicBezTo>
                  <a:cubicBezTo>
                    <a:pt x="5024" y="492"/>
                    <a:pt x="5006" y="496"/>
                    <a:pt x="5002" y="499"/>
                  </a:cubicBezTo>
                  <a:cubicBezTo>
                    <a:pt x="4998" y="502"/>
                    <a:pt x="4966" y="501"/>
                    <a:pt x="4966" y="501"/>
                  </a:cubicBezTo>
                  <a:cubicBezTo>
                    <a:pt x="4962" y="493"/>
                    <a:pt x="4962" y="493"/>
                    <a:pt x="4962" y="493"/>
                  </a:cubicBezTo>
                  <a:cubicBezTo>
                    <a:pt x="4900" y="496"/>
                    <a:pt x="4900" y="496"/>
                    <a:pt x="4900" y="496"/>
                  </a:cubicBezTo>
                  <a:cubicBezTo>
                    <a:pt x="4884" y="484"/>
                    <a:pt x="4884" y="484"/>
                    <a:pt x="4884" y="484"/>
                  </a:cubicBezTo>
                  <a:cubicBezTo>
                    <a:pt x="4879" y="490"/>
                    <a:pt x="4879" y="490"/>
                    <a:pt x="4879" y="490"/>
                  </a:cubicBezTo>
                  <a:cubicBezTo>
                    <a:pt x="4879" y="490"/>
                    <a:pt x="4801" y="483"/>
                    <a:pt x="4806" y="493"/>
                  </a:cubicBezTo>
                  <a:cubicBezTo>
                    <a:pt x="4811" y="503"/>
                    <a:pt x="4840" y="527"/>
                    <a:pt x="4840" y="527"/>
                  </a:cubicBezTo>
                  <a:cubicBezTo>
                    <a:pt x="4840" y="527"/>
                    <a:pt x="4804" y="506"/>
                    <a:pt x="4799" y="501"/>
                  </a:cubicBezTo>
                  <a:cubicBezTo>
                    <a:pt x="4794" y="496"/>
                    <a:pt x="4728" y="488"/>
                    <a:pt x="4728" y="488"/>
                  </a:cubicBezTo>
                  <a:cubicBezTo>
                    <a:pt x="4728" y="488"/>
                    <a:pt x="4718" y="470"/>
                    <a:pt x="4693" y="457"/>
                  </a:cubicBezTo>
                  <a:cubicBezTo>
                    <a:pt x="4668" y="444"/>
                    <a:pt x="4630" y="438"/>
                    <a:pt x="4613" y="437"/>
                  </a:cubicBezTo>
                  <a:cubicBezTo>
                    <a:pt x="4596" y="436"/>
                    <a:pt x="4561" y="432"/>
                    <a:pt x="4561" y="432"/>
                  </a:cubicBezTo>
                  <a:cubicBezTo>
                    <a:pt x="4527" y="425"/>
                    <a:pt x="4527" y="425"/>
                    <a:pt x="4527" y="425"/>
                  </a:cubicBezTo>
                  <a:cubicBezTo>
                    <a:pt x="4518" y="429"/>
                    <a:pt x="4518" y="429"/>
                    <a:pt x="4518" y="429"/>
                  </a:cubicBezTo>
                  <a:cubicBezTo>
                    <a:pt x="4478" y="427"/>
                    <a:pt x="4478" y="427"/>
                    <a:pt x="4478" y="427"/>
                  </a:cubicBezTo>
                  <a:cubicBezTo>
                    <a:pt x="4478" y="427"/>
                    <a:pt x="4473" y="447"/>
                    <a:pt x="4451" y="444"/>
                  </a:cubicBezTo>
                  <a:cubicBezTo>
                    <a:pt x="4429" y="441"/>
                    <a:pt x="4400" y="439"/>
                    <a:pt x="4400" y="439"/>
                  </a:cubicBezTo>
                  <a:cubicBezTo>
                    <a:pt x="4400" y="439"/>
                    <a:pt x="4370" y="419"/>
                    <a:pt x="4353" y="418"/>
                  </a:cubicBezTo>
                  <a:cubicBezTo>
                    <a:pt x="4336" y="417"/>
                    <a:pt x="4327" y="420"/>
                    <a:pt x="4327" y="420"/>
                  </a:cubicBezTo>
                  <a:cubicBezTo>
                    <a:pt x="4321" y="409"/>
                    <a:pt x="4321" y="409"/>
                    <a:pt x="4321" y="409"/>
                  </a:cubicBezTo>
                  <a:cubicBezTo>
                    <a:pt x="4296" y="407"/>
                    <a:pt x="4296" y="407"/>
                    <a:pt x="4296" y="407"/>
                  </a:cubicBezTo>
                  <a:cubicBezTo>
                    <a:pt x="4253" y="403"/>
                    <a:pt x="4253" y="403"/>
                    <a:pt x="4253" y="403"/>
                  </a:cubicBezTo>
                  <a:cubicBezTo>
                    <a:pt x="4277" y="395"/>
                    <a:pt x="4277" y="395"/>
                    <a:pt x="4277" y="395"/>
                  </a:cubicBezTo>
                  <a:cubicBezTo>
                    <a:pt x="4251" y="382"/>
                    <a:pt x="4251" y="382"/>
                    <a:pt x="4251" y="382"/>
                  </a:cubicBezTo>
                  <a:cubicBezTo>
                    <a:pt x="4251" y="382"/>
                    <a:pt x="4158" y="369"/>
                    <a:pt x="4155" y="375"/>
                  </a:cubicBezTo>
                  <a:cubicBezTo>
                    <a:pt x="4152" y="381"/>
                    <a:pt x="4164" y="400"/>
                    <a:pt x="4149" y="401"/>
                  </a:cubicBezTo>
                  <a:cubicBezTo>
                    <a:pt x="4134" y="402"/>
                    <a:pt x="4114" y="398"/>
                    <a:pt x="4114" y="398"/>
                  </a:cubicBezTo>
                  <a:cubicBezTo>
                    <a:pt x="4126" y="390"/>
                    <a:pt x="4126" y="390"/>
                    <a:pt x="4126" y="390"/>
                  </a:cubicBezTo>
                  <a:cubicBezTo>
                    <a:pt x="4116" y="380"/>
                    <a:pt x="4116" y="380"/>
                    <a:pt x="4116" y="380"/>
                  </a:cubicBezTo>
                  <a:cubicBezTo>
                    <a:pt x="4116" y="380"/>
                    <a:pt x="4110" y="380"/>
                    <a:pt x="4096" y="382"/>
                  </a:cubicBezTo>
                  <a:cubicBezTo>
                    <a:pt x="4082" y="384"/>
                    <a:pt x="4068" y="379"/>
                    <a:pt x="4068" y="379"/>
                  </a:cubicBezTo>
                  <a:cubicBezTo>
                    <a:pt x="4079" y="374"/>
                    <a:pt x="4079" y="374"/>
                    <a:pt x="4079" y="374"/>
                  </a:cubicBezTo>
                  <a:cubicBezTo>
                    <a:pt x="4109" y="371"/>
                    <a:pt x="4109" y="371"/>
                    <a:pt x="4109" y="371"/>
                  </a:cubicBezTo>
                  <a:cubicBezTo>
                    <a:pt x="4147" y="394"/>
                    <a:pt x="4147" y="394"/>
                    <a:pt x="4147" y="394"/>
                  </a:cubicBezTo>
                  <a:cubicBezTo>
                    <a:pt x="4149" y="375"/>
                    <a:pt x="4149" y="375"/>
                    <a:pt x="4149" y="375"/>
                  </a:cubicBezTo>
                  <a:cubicBezTo>
                    <a:pt x="4110" y="362"/>
                    <a:pt x="4110" y="362"/>
                    <a:pt x="4110" y="362"/>
                  </a:cubicBezTo>
                  <a:cubicBezTo>
                    <a:pt x="4037" y="366"/>
                    <a:pt x="4037" y="366"/>
                    <a:pt x="4037" y="366"/>
                  </a:cubicBezTo>
                  <a:cubicBezTo>
                    <a:pt x="4036" y="357"/>
                    <a:pt x="4036" y="357"/>
                    <a:pt x="4036" y="357"/>
                  </a:cubicBezTo>
                  <a:cubicBezTo>
                    <a:pt x="3955" y="362"/>
                    <a:pt x="3955" y="362"/>
                    <a:pt x="3955" y="362"/>
                  </a:cubicBezTo>
                  <a:cubicBezTo>
                    <a:pt x="3924" y="349"/>
                    <a:pt x="3924" y="349"/>
                    <a:pt x="3924" y="349"/>
                  </a:cubicBezTo>
                  <a:cubicBezTo>
                    <a:pt x="3911" y="349"/>
                    <a:pt x="3911" y="349"/>
                    <a:pt x="3911" y="349"/>
                  </a:cubicBezTo>
                  <a:cubicBezTo>
                    <a:pt x="3936" y="365"/>
                    <a:pt x="3936" y="365"/>
                    <a:pt x="3936" y="365"/>
                  </a:cubicBezTo>
                  <a:cubicBezTo>
                    <a:pt x="3936" y="365"/>
                    <a:pt x="3884" y="364"/>
                    <a:pt x="3892" y="372"/>
                  </a:cubicBezTo>
                  <a:cubicBezTo>
                    <a:pt x="3900" y="380"/>
                    <a:pt x="3910" y="385"/>
                    <a:pt x="3910" y="385"/>
                  </a:cubicBezTo>
                  <a:cubicBezTo>
                    <a:pt x="3931" y="383"/>
                    <a:pt x="3931" y="383"/>
                    <a:pt x="3931" y="383"/>
                  </a:cubicBezTo>
                  <a:cubicBezTo>
                    <a:pt x="3931" y="388"/>
                    <a:pt x="3931" y="388"/>
                    <a:pt x="3931" y="388"/>
                  </a:cubicBezTo>
                  <a:cubicBezTo>
                    <a:pt x="3970" y="414"/>
                    <a:pt x="3970" y="414"/>
                    <a:pt x="3970" y="414"/>
                  </a:cubicBezTo>
                  <a:cubicBezTo>
                    <a:pt x="3970" y="414"/>
                    <a:pt x="3964" y="415"/>
                    <a:pt x="3949" y="414"/>
                  </a:cubicBezTo>
                  <a:cubicBezTo>
                    <a:pt x="3934" y="413"/>
                    <a:pt x="3914" y="398"/>
                    <a:pt x="3909" y="403"/>
                  </a:cubicBezTo>
                  <a:cubicBezTo>
                    <a:pt x="3904" y="408"/>
                    <a:pt x="3900" y="411"/>
                    <a:pt x="3900" y="411"/>
                  </a:cubicBezTo>
                  <a:cubicBezTo>
                    <a:pt x="3917" y="425"/>
                    <a:pt x="3917" y="425"/>
                    <a:pt x="3917" y="425"/>
                  </a:cubicBezTo>
                  <a:cubicBezTo>
                    <a:pt x="3881" y="420"/>
                    <a:pt x="3881" y="420"/>
                    <a:pt x="3881" y="420"/>
                  </a:cubicBezTo>
                  <a:cubicBezTo>
                    <a:pt x="3881" y="420"/>
                    <a:pt x="3832" y="404"/>
                    <a:pt x="3824" y="405"/>
                  </a:cubicBezTo>
                  <a:cubicBezTo>
                    <a:pt x="3816" y="406"/>
                    <a:pt x="3788" y="418"/>
                    <a:pt x="3788" y="418"/>
                  </a:cubicBezTo>
                  <a:cubicBezTo>
                    <a:pt x="3743" y="414"/>
                    <a:pt x="3743" y="414"/>
                    <a:pt x="3743" y="414"/>
                  </a:cubicBezTo>
                  <a:cubicBezTo>
                    <a:pt x="3743" y="414"/>
                    <a:pt x="3705" y="396"/>
                    <a:pt x="3702" y="392"/>
                  </a:cubicBezTo>
                  <a:cubicBezTo>
                    <a:pt x="3699" y="388"/>
                    <a:pt x="3692" y="398"/>
                    <a:pt x="3695" y="406"/>
                  </a:cubicBezTo>
                  <a:cubicBezTo>
                    <a:pt x="3698" y="414"/>
                    <a:pt x="3725" y="442"/>
                    <a:pt x="3709" y="443"/>
                  </a:cubicBezTo>
                  <a:cubicBezTo>
                    <a:pt x="3693" y="444"/>
                    <a:pt x="3614" y="415"/>
                    <a:pt x="3611" y="413"/>
                  </a:cubicBezTo>
                  <a:cubicBezTo>
                    <a:pt x="3608" y="411"/>
                    <a:pt x="3589" y="394"/>
                    <a:pt x="3589" y="394"/>
                  </a:cubicBezTo>
                  <a:cubicBezTo>
                    <a:pt x="3587" y="404"/>
                    <a:pt x="3587" y="404"/>
                    <a:pt x="3587" y="404"/>
                  </a:cubicBezTo>
                  <a:cubicBezTo>
                    <a:pt x="3550" y="393"/>
                    <a:pt x="3550" y="393"/>
                    <a:pt x="3550" y="393"/>
                  </a:cubicBezTo>
                  <a:cubicBezTo>
                    <a:pt x="3533" y="381"/>
                    <a:pt x="3533" y="381"/>
                    <a:pt x="3533" y="381"/>
                  </a:cubicBezTo>
                  <a:cubicBezTo>
                    <a:pt x="3533" y="381"/>
                    <a:pt x="3571" y="391"/>
                    <a:pt x="3577" y="386"/>
                  </a:cubicBezTo>
                  <a:cubicBezTo>
                    <a:pt x="3583" y="381"/>
                    <a:pt x="3554" y="367"/>
                    <a:pt x="3554" y="367"/>
                  </a:cubicBezTo>
                  <a:cubicBezTo>
                    <a:pt x="3531" y="367"/>
                    <a:pt x="3531" y="367"/>
                    <a:pt x="3531" y="367"/>
                  </a:cubicBezTo>
                  <a:cubicBezTo>
                    <a:pt x="3531" y="367"/>
                    <a:pt x="3542" y="361"/>
                    <a:pt x="3535" y="356"/>
                  </a:cubicBezTo>
                  <a:cubicBezTo>
                    <a:pt x="3528" y="351"/>
                    <a:pt x="3508" y="351"/>
                    <a:pt x="3508" y="351"/>
                  </a:cubicBezTo>
                  <a:cubicBezTo>
                    <a:pt x="3516" y="342"/>
                    <a:pt x="3516" y="342"/>
                    <a:pt x="3516" y="342"/>
                  </a:cubicBezTo>
                  <a:cubicBezTo>
                    <a:pt x="3516" y="342"/>
                    <a:pt x="3484" y="333"/>
                    <a:pt x="3480" y="333"/>
                  </a:cubicBezTo>
                  <a:cubicBezTo>
                    <a:pt x="3476" y="333"/>
                    <a:pt x="3461" y="323"/>
                    <a:pt x="3461" y="323"/>
                  </a:cubicBezTo>
                  <a:cubicBezTo>
                    <a:pt x="3430" y="323"/>
                    <a:pt x="3430" y="323"/>
                    <a:pt x="3430" y="323"/>
                  </a:cubicBezTo>
                  <a:cubicBezTo>
                    <a:pt x="3430" y="323"/>
                    <a:pt x="3439" y="326"/>
                    <a:pt x="3416" y="327"/>
                  </a:cubicBezTo>
                  <a:cubicBezTo>
                    <a:pt x="3393" y="328"/>
                    <a:pt x="3378" y="320"/>
                    <a:pt x="3378" y="320"/>
                  </a:cubicBezTo>
                  <a:cubicBezTo>
                    <a:pt x="3364" y="326"/>
                    <a:pt x="3364" y="326"/>
                    <a:pt x="3364" y="326"/>
                  </a:cubicBezTo>
                  <a:cubicBezTo>
                    <a:pt x="3362" y="317"/>
                    <a:pt x="3362" y="317"/>
                    <a:pt x="3362" y="317"/>
                  </a:cubicBezTo>
                  <a:cubicBezTo>
                    <a:pt x="3330" y="311"/>
                    <a:pt x="3330" y="311"/>
                    <a:pt x="3330" y="311"/>
                  </a:cubicBezTo>
                  <a:cubicBezTo>
                    <a:pt x="3323" y="305"/>
                    <a:pt x="3323" y="305"/>
                    <a:pt x="3323" y="305"/>
                  </a:cubicBezTo>
                  <a:cubicBezTo>
                    <a:pt x="3318" y="318"/>
                    <a:pt x="3318" y="318"/>
                    <a:pt x="3318" y="318"/>
                  </a:cubicBezTo>
                  <a:cubicBezTo>
                    <a:pt x="3309" y="319"/>
                    <a:pt x="3309" y="319"/>
                    <a:pt x="3309" y="319"/>
                  </a:cubicBezTo>
                  <a:cubicBezTo>
                    <a:pt x="3327" y="334"/>
                    <a:pt x="3327" y="334"/>
                    <a:pt x="3327" y="334"/>
                  </a:cubicBezTo>
                  <a:cubicBezTo>
                    <a:pt x="3344" y="354"/>
                    <a:pt x="3344" y="354"/>
                    <a:pt x="3344" y="354"/>
                  </a:cubicBezTo>
                  <a:cubicBezTo>
                    <a:pt x="3310" y="350"/>
                    <a:pt x="3310" y="350"/>
                    <a:pt x="3310" y="350"/>
                  </a:cubicBezTo>
                  <a:cubicBezTo>
                    <a:pt x="3306" y="344"/>
                    <a:pt x="3306" y="344"/>
                    <a:pt x="3306" y="344"/>
                  </a:cubicBezTo>
                  <a:cubicBezTo>
                    <a:pt x="3262" y="347"/>
                    <a:pt x="3262" y="347"/>
                    <a:pt x="3262" y="347"/>
                  </a:cubicBezTo>
                  <a:cubicBezTo>
                    <a:pt x="3251" y="351"/>
                    <a:pt x="3251" y="351"/>
                    <a:pt x="3251" y="351"/>
                  </a:cubicBezTo>
                  <a:cubicBezTo>
                    <a:pt x="3250" y="343"/>
                    <a:pt x="3250" y="343"/>
                    <a:pt x="3250" y="343"/>
                  </a:cubicBezTo>
                  <a:cubicBezTo>
                    <a:pt x="3221" y="349"/>
                    <a:pt x="3221" y="349"/>
                    <a:pt x="3221" y="349"/>
                  </a:cubicBezTo>
                  <a:cubicBezTo>
                    <a:pt x="3216" y="341"/>
                    <a:pt x="3216" y="341"/>
                    <a:pt x="3216" y="341"/>
                  </a:cubicBezTo>
                  <a:cubicBezTo>
                    <a:pt x="3178" y="342"/>
                    <a:pt x="3178" y="342"/>
                    <a:pt x="3178" y="342"/>
                  </a:cubicBezTo>
                  <a:cubicBezTo>
                    <a:pt x="3156" y="335"/>
                    <a:pt x="3156" y="335"/>
                    <a:pt x="3156" y="335"/>
                  </a:cubicBezTo>
                  <a:cubicBezTo>
                    <a:pt x="3167" y="321"/>
                    <a:pt x="3167" y="321"/>
                    <a:pt x="3167" y="321"/>
                  </a:cubicBezTo>
                  <a:cubicBezTo>
                    <a:pt x="3082" y="320"/>
                    <a:pt x="3082" y="320"/>
                    <a:pt x="3082" y="320"/>
                  </a:cubicBezTo>
                  <a:cubicBezTo>
                    <a:pt x="3077" y="314"/>
                    <a:pt x="3077" y="314"/>
                    <a:pt x="3077" y="314"/>
                  </a:cubicBezTo>
                  <a:cubicBezTo>
                    <a:pt x="3071" y="317"/>
                    <a:pt x="3071" y="317"/>
                    <a:pt x="3071" y="317"/>
                  </a:cubicBezTo>
                  <a:cubicBezTo>
                    <a:pt x="3065" y="313"/>
                    <a:pt x="3065" y="313"/>
                    <a:pt x="3065" y="313"/>
                  </a:cubicBezTo>
                  <a:cubicBezTo>
                    <a:pt x="3030" y="315"/>
                    <a:pt x="3030" y="315"/>
                    <a:pt x="3030" y="315"/>
                  </a:cubicBezTo>
                  <a:cubicBezTo>
                    <a:pt x="3034" y="323"/>
                    <a:pt x="3034" y="323"/>
                    <a:pt x="3034" y="323"/>
                  </a:cubicBezTo>
                  <a:cubicBezTo>
                    <a:pt x="2997" y="319"/>
                    <a:pt x="2997" y="319"/>
                    <a:pt x="2997" y="319"/>
                  </a:cubicBezTo>
                  <a:cubicBezTo>
                    <a:pt x="2987" y="324"/>
                    <a:pt x="2987" y="324"/>
                    <a:pt x="2987" y="324"/>
                  </a:cubicBezTo>
                  <a:cubicBezTo>
                    <a:pt x="3008" y="331"/>
                    <a:pt x="3008" y="331"/>
                    <a:pt x="3008" y="331"/>
                  </a:cubicBezTo>
                  <a:cubicBezTo>
                    <a:pt x="2981" y="330"/>
                    <a:pt x="2981" y="330"/>
                    <a:pt x="2981" y="330"/>
                  </a:cubicBezTo>
                  <a:cubicBezTo>
                    <a:pt x="2978" y="318"/>
                    <a:pt x="2978" y="318"/>
                    <a:pt x="2978" y="318"/>
                  </a:cubicBezTo>
                  <a:cubicBezTo>
                    <a:pt x="2961" y="303"/>
                    <a:pt x="2961" y="303"/>
                    <a:pt x="2961" y="303"/>
                  </a:cubicBezTo>
                  <a:cubicBezTo>
                    <a:pt x="2947" y="303"/>
                    <a:pt x="2947" y="303"/>
                    <a:pt x="2947" y="303"/>
                  </a:cubicBezTo>
                  <a:cubicBezTo>
                    <a:pt x="2954" y="318"/>
                    <a:pt x="2954" y="318"/>
                    <a:pt x="2954" y="318"/>
                  </a:cubicBezTo>
                  <a:cubicBezTo>
                    <a:pt x="2919" y="318"/>
                    <a:pt x="2919" y="318"/>
                    <a:pt x="2919" y="318"/>
                  </a:cubicBezTo>
                  <a:cubicBezTo>
                    <a:pt x="2915" y="313"/>
                    <a:pt x="2915" y="313"/>
                    <a:pt x="2915" y="313"/>
                  </a:cubicBezTo>
                  <a:cubicBezTo>
                    <a:pt x="2906" y="313"/>
                    <a:pt x="2906" y="313"/>
                    <a:pt x="2906" y="313"/>
                  </a:cubicBezTo>
                  <a:cubicBezTo>
                    <a:pt x="2902" y="303"/>
                    <a:pt x="2902" y="303"/>
                    <a:pt x="2902" y="303"/>
                  </a:cubicBezTo>
                  <a:cubicBezTo>
                    <a:pt x="2893" y="303"/>
                    <a:pt x="2893" y="303"/>
                    <a:pt x="2893" y="303"/>
                  </a:cubicBezTo>
                  <a:cubicBezTo>
                    <a:pt x="2882" y="306"/>
                    <a:pt x="2882" y="306"/>
                    <a:pt x="2882" y="306"/>
                  </a:cubicBezTo>
                  <a:cubicBezTo>
                    <a:pt x="2866" y="298"/>
                    <a:pt x="2866" y="298"/>
                    <a:pt x="2866" y="298"/>
                  </a:cubicBezTo>
                  <a:cubicBezTo>
                    <a:pt x="2846" y="312"/>
                    <a:pt x="2846" y="312"/>
                    <a:pt x="2846" y="312"/>
                  </a:cubicBezTo>
                  <a:cubicBezTo>
                    <a:pt x="2882" y="316"/>
                    <a:pt x="2882" y="316"/>
                    <a:pt x="2882" y="316"/>
                  </a:cubicBezTo>
                  <a:cubicBezTo>
                    <a:pt x="2890" y="317"/>
                    <a:pt x="2890" y="317"/>
                    <a:pt x="2890" y="317"/>
                  </a:cubicBezTo>
                  <a:cubicBezTo>
                    <a:pt x="2890" y="317"/>
                    <a:pt x="2877" y="328"/>
                    <a:pt x="2870" y="328"/>
                  </a:cubicBezTo>
                  <a:cubicBezTo>
                    <a:pt x="2863" y="328"/>
                    <a:pt x="2858" y="327"/>
                    <a:pt x="2852" y="329"/>
                  </a:cubicBezTo>
                  <a:cubicBezTo>
                    <a:pt x="2846" y="331"/>
                    <a:pt x="2844" y="337"/>
                    <a:pt x="2839" y="337"/>
                  </a:cubicBezTo>
                  <a:cubicBezTo>
                    <a:pt x="2834" y="337"/>
                    <a:pt x="2790" y="338"/>
                    <a:pt x="2790" y="338"/>
                  </a:cubicBezTo>
                  <a:cubicBezTo>
                    <a:pt x="2768" y="341"/>
                    <a:pt x="2768" y="341"/>
                    <a:pt x="2768" y="341"/>
                  </a:cubicBezTo>
                  <a:cubicBezTo>
                    <a:pt x="2758" y="358"/>
                    <a:pt x="2758" y="358"/>
                    <a:pt x="2758" y="358"/>
                  </a:cubicBezTo>
                  <a:cubicBezTo>
                    <a:pt x="2742" y="354"/>
                    <a:pt x="2742" y="354"/>
                    <a:pt x="2742" y="354"/>
                  </a:cubicBezTo>
                  <a:cubicBezTo>
                    <a:pt x="2742" y="354"/>
                    <a:pt x="2745" y="338"/>
                    <a:pt x="2753" y="334"/>
                  </a:cubicBezTo>
                  <a:cubicBezTo>
                    <a:pt x="2761" y="330"/>
                    <a:pt x="2773" y="330"/>
                    <a:pt x="2773" y="330"/>
                  </a:cubicBezTo>
                  <a:cubicBezTo>
                    <a:pt x="2778" y="319"/>
                    <a:pt x="2778" y="319"/>
                    <a:pt x="2778" y="319"/>
                  </a:cubicBezTo>
                  <a:cubicBezTo>
                    <a:pt x="2806" y="316"/>
                    <a:pt x="2806" y="316"/>
                    <a:pt x="2806" y="316"/>
                  </a:cubicBezTo>
                  <a:cubicBezTo>
                    <a:pt x="2836" y="294"/>
                    <a:pt x="2836" y="294"/>
                    <a:pt x="2836" y="294"/>
                  </a:cubicBezTo>
                  <a:cubicBezTo>
                    <a:pt x="2836" y="294"/>
                    <a:pt x="2835" y="281"/>
                    <a:pt x="2847" y="276"/>
                  </a:cubicBezTo>
                  <a:cubicBezTo>
                    <a:pt x="2859" y="271"/>
                    <a:pt x="2908" y="272"/>
                    <a:pt x="2906" y="254"/>
                  </a:cubicBezTo>
                  <a:cubicBezTo>
                    <a:pt x="2904" y="236"/>
                    <a:pt x="2889" y="232"/>
                    <a:pt x="2889" y="232"/>
                  </a:cubicBezTo>
                  <a:cubicBezTo>
                    <a:pt x="2862" y="234"/>
                    <a:pt x="2862" y="234"/>
                    <a:pt x="2862" y="234"/>
                  </a:cubicBezTo>
                  <a:cubicBezTo>
                    <a:pt x="2885" y="224"/>
                    <a:pt x="2885" y="224"/>
                    <a:pt x="2885" y="224"/>
                  </a:cubicBezTo>
                  <a:cubicBezTo>
                    <a:pt x="2885" y="224"/>
                    <a:pt x="2865" y="209"/>
                    <a:pt x="2860" y="210"/>
                  </a:cubicBezTo>
                  <a:cubicBezTo>
                    <a:pt x="2855" y="211"/>
                    <a:pt x="2838" y="212"/>
                    <a:pt x="2838" y="212"/>
                  </a:cubicBezTo>
                  <a:cubicBezTo>
                    <a:pt x="2838" y="212"/>
                    <a:pt x="2832" y="196"/>
                    <a:pt x="2819" y="196"/>
                  </a:cubicBezTo>
                  <a:cubicBezTo>
                    <a:pt x="2806" y="196"/>
                    <a:pt x="2792" y="201"/>
                    <a:pt x="2792" y="201"/>
                  </a:cubicBezTo>
                  <a:cubicBezTo>
                    <a:pt x="2756" y="192"/>
                    <a:pt x="2756" y="192"/>
                    <a:pt x="2756" y="192"/>
                  </a:cubicBezTo>
                  <a:cubicBezTo>
                    <a:pt x="2662" y="189"/>
                    <a:pt x="2662" y="189"/>
                    <a:pt x="2662" y="189"/>
                  </a:cubicBezTo>
                  <a:cubicBezTo>
                    <a:pt x="2665" y="201"/>
                    <a:pt x="2665" y="201"/>
                    <a:pt x="2665" y="201"/>
                  </a:cubicBezTo>
                  <a:cubicBezTo>
                    <a:pt x="2620" y="201"/>
                    <a:pt x="2620" y="201"/>
                    <a:pt x="2620" y="201"/>
                  </a:cubicBezTo>
                  <a:cubicBezTo>
                    <a:pt x="2620" y="201"/>
                    <a:pt x="2639" y="184"/>
                    <a:pt x="2627" y="179"/>
                  </a:cubicBezTo>
                  <a:cubicBezTo>
                    <a:pt x="2615" y="174"/>
                    <a:pt x="2564" y="180"/>
                    <a:pt x="2564" y="180"/>
                  </a:cubicBezTo>
                  <a:cubicBezTo>
                    <a:pt x="2523" y="176"/>
                    <a:pt x="2523" y="176"/>
                    <a:pt x="2523" y="176"/>
                  </a:cubicBezTo>
                  <a:cubicBezTo>
                    <a:pt x="2523" y="176"/>
                    <a:pt x="2570" y="174"/>
                    <a:pt x="2564" y="165"/>
                  </a:cubicBezTo>
                  <a:cubicBezTo>
                    <a:pt x="2558" y="156"/>
                    <a:pt x="2511" y="155"/>
                    <a:pt x="2511" y="155"/>
                  </a:cubicBezTo>
                  <a:cubicBezTo>
                    <a:pt x="2483" y="151"/>
                    <a:pt x="2483" y="151"/>
                    <a:pt x="2483" y="151"/>
                  </a:cubicBezTo>
                  <a:cubicBezTo>
                    <a:pt x="2480" y="161"/>
                    <a:pt x="2480" y="161"/>
                    <a:pt x="2480" y="161"/>
                  </a:cubicBezTo>
                  <a:cubicBezTo>
                    <a:pt x="2480" y="161"/>
                    <a:pt x="2431" y="159"/>
                    <a:pt x="2435" y="173"/>
                  </a:cubicBezTo>
                  <a:cubicBezTo>
                    <a:pt x="2439" y="187"/>
                    <a:pt x="2485" y="202"/>
                    <a:pt x="2485" y="202"/>
                  </a:cubicBezTo>
                  <a:cubicBezTo>
                    <a:pt x="2389" y="196"/>
                    <a:pt x="2389" y="196"/>
                    <a:pt x="2389" y="196"/>
                  </a:cubicBezTo>
                  <a:cubicBezTo>
                    <a:pt x="2423" y="210"/>
                    <a:pt x="2423" y="210"/>
                    <a:pt x="2423" y="210"/>
                  </a:cubicBezTo>
                  <a:cubicBezTo>
                    <a:pt x="2388" y="215"/>
                    <a:pt x="2388" y="215"/>
                    <a:pt x="2388" y="215"/>
                  </a:cubicBezTo>
                  <a:cubicBezTo>
                    <a:pt x="2388" y="215"/>
                    <a:pt x="2331" y="233"/>
                    <a:pt x="2321" y="227"/>
                  </a:cubicBezTo>
                  <a:cubicBezTo>
                    <a:pt x="2311" y="221"/>
                    <a:pt x="2326" y="209"/>
                    <a:pt x="2326" y="209"/>
                  </a:cubicBezTo>
                  <a:cubicBezTo>
                    <a:pt x="2326" y="209"/>
                    <a:pt x="2278" y="209"/>
                    <a:pt x="2269" y="211"/>
                  </a:cubicBezTo>
                  <a:cubicBezTo>
                    <a:pt x="2260" y="213"/>
                    <a:pt x="2246" y="225"/>
                    <a:pt x="2246" y="225"/>
                  </a:cubicBezTo>
                  <a:cubicBezTo>
                    <a:pt x="2246" y="225"/>
                    <a:pt x="2183" y="230"/>
                    <a:pt x="2168" y="233"/>
                  </a:cubicBezTo>
                  <a:cubicBezTo>
                    <a:pt x="2153" y="236"/>
                    <a:pt x="2120" y="243"/>
                    <a:pt x="2120" y="243"/>
                  </a:cubicBezTo>
                  <a:cubicBezTo>
                    <a:pt x="2091" y="266"/>
                    <a:pt x="2091" y="266"/>
                    <a:pt x="2091" y="266"/>
                  </a:cubicBezTo>
                  <a:cubicBezTo>
                    <a:pt x="2091" y="266"/>
                    <a:pt x="2059" y="264"/>
                    <a:pt x="2073" y="278"/>
                  </a:cubicBezTo>
                  <a:cubicBezTo>
                    <a:pt x="2087" y="292"/>
                    <a:pt x="2112" y="302"/>
                    <a:pt x="2112" y="302"/>
                  </a:cubicBezTo>
                  <a:cubicBezTo>
                    <a:pt x="2082" y="308"/>
                    <a:pt x="2082" y="308"/>
                    <a:pt x="2082" y="308"/>
                  </a:cubicBezTo>
                  <a:cubicBezTo>
                    <a:pt x="2068" y="317"/>
                    <a:pt x="2068" y="317"/>
                    <a:pt x="2068" y="317"/>
                  </a:cubicBezTo>
                  <a:cubicBezTo>
                    <a:pt x="2001" y="315"/>
                    <a:pt x="2001" y="315"/>
                    <a:pt x="2001" y="315"/>
                  </a:cubicBezTo>
                  <a:cubicBezTo>
                    <a:pt x="1996" y="320"/>
                    <a:pt x="1996" y="320"/>
                    <a:pt x="1996" y="320"/>
                  </a:cubicBezTo>
                  <a:cubicBezTo>
                    <a:pt x="1971" y="311"/>
                    <a:pt x="1971" y="311"/>
                    <a:pt x="1971" y="311"/>
                  </a:cubicBezTo>
                  <a:cubicBezTo>
                    <a:pt x="1960" y="318"/>
                    <a:pt x="1960" y="318"/>
                    <a:pt x="1960" y="318"/>
                  </a:cubicBezTo>
                  <a:cubicBezTo>
                    <a:pt x="1960" y="318"/>
                    <a:pt x="1922" y="314"/>
                    <a:pt x="1920" y="322"/>
                  </a:cubicBezTo>
                  <a:cubicBezTo>
                    <a:pt x="1918" y="330"/>
                    <a:pt x="1919" y="345"/>
                    <a:pt x="1930" y="347"/>
                  </a:cubicBezTo>
                  <a:cubicBezTo>
                    <a:pt x="1941" y="349"/>
                    <a:pt x="1947" y="365"/>
                    <a:pt x="1947" y="365"/>
                  </a:cubicBezTo>
                  <a:cubicBezTo>
                    <a:pt x="1947" y="365"/>
                    <a:pt x="1982" y="375"/>
                    <a:pt x="1991" y="375"/>
                  </a:cubicBezTo>
                  <a:cubicBezTo>
                    <a:pt x="2000" y="375"/>
                    <a:pt x="2019" y="380"/>
                    <a:pt x="2026" y="383"/>
                  </a:cubicBezTo>
                  <a:cubicBezTo>
                    <a:pt x="2033" y="386"/>
                    <a:pt x="2049" y="402"/>
                    <a:pt x="2038" y="402"/>
                  </a:cubicBezTo>
                  <a:cubicBezTo>
                    <a:pt x="2027" y="402"/>
                    <a:pt x="2003" y="404"/>
                    <a:pt x="2003" y="404"/>
                  </a:cubicBezTo>
                  <a:cubicBezTo>
                    <a:pt x="2003" y="404"/>
                    <a:pt x="1957" y="384"/>
                    <a:pt x="1941" y="380"/>
                  </a:cubicBezTo>
                  <a:cubicBezTo>
                    <a:pt x="1925" y="376"/>
                    <a:pt x="1901" y="373"/>
                    <a:pt x="1893" y="373"/>
                  </a:cubicBezTo>
                  <a:cubicBezTo>
                    <a:pt x="1885" y="373"/>
                    <a:pt x="1864" y="371"/>
                    <a:pt x="1866" y="379"/>
                  </a:cubicBezTo>
                  <a:cubicBezTo>
                    <a:pt x="1868" y="387"/>
                    <a:pt x="1894" y="397"/>
                    <a:pt x="1877" y="398"/>
                  </a:cubicBezTo>
                  <a:cubicBezTo>
                    <a:pt x="1860" y="399"/>
                    <a:pt x="1854" y="387"/>
                    <a:pt x="1844" y="387"/>
                  </a:cubicBezTo>
                  <a:cubicBezTo>
                    <a:pt x="1834" y="387"/>
                    <a:pt x="1820" y="377"/>
                    <a:pt x="1819" y="390"/>
                  </a:cubicBezTo>
                  <a:cubicBezTo>
                    <a:pt x="1818" y="403"/>
                    <a:pt x="1832" y="416"/>
                    <a:pt x="1847" y="415"/>
                  </a:cubicBezTo>
                  <a:cubicBezTo>
                    <a:pt x="1862" y="414"/>
                    <a:pt x="1885" y="421"/>
                    <a:pt x="1895" y="421"/>
                  </a:cubicBezTo>
                  <a:cubicBezTo>
                    <a:pt x="1905" y="421"/>
                    <a:pt x="1921" y="437"/>
                    <a:pt x="1921" y="437"/>
                  </a:cubicBezTo>
                  <a:cubicBezTo>
                    <a:pt x="1900" y="437"/>
                    <a:pt x="1900" y="437"/>
                    <a:pt x="1900" y="437"/>
                  </a:cubicBezTo>
                  <a:cubicBezTo>
                    <a:pt x="1900" y="437"/>
                    <a:pt x="1894" y="427"/>
                    <a:pt x="1880" y="427"/>
                  </a:cubicBezTo>
                  <a:cubicBezTo>
                    <a:pt x="1866" y="427"/>
                    <a:pt x="1823" y="425"/>
                    <a:pt x="1823" y="425"/>
                  </a:cubicBezTo>
                  <a:cubicBezTo>
                    <a:pt x="1820" y="417"/>
                    <a:pt x="1820" y="417"/>
                    <a:pt x="1820" y="417"/>
                  </a:cubicBezTo>
                  <a:cubicBezTo>
                    <a:pt x="1803" y="417"/>
                    <a:pt x="1803" y="417"/>
                    <a:pt x="1803" y="417"/>
                  </a:cubicBezTo>
                  <a:cubicBezTo>
                    <a:pt x="1800" y="406"/>
                    <a:pt x="1800" y="406"/>
                    <a:pt x="1800" y="406"/>
                  </a:cubicBezTo>
                  <a:cubicBezTo>
                    <a:pt x="1778" y="395"/>
                    <a:pt x="1778" y="395"/>
                    <a:pt x="1778" y="395"/>
                  </a:cubicBezTo>
                  <a:cubicBezTo>
                    <a:pt x="1778" y="395"/>
                    <a:pt x="1803" y="383"/>
                    <a:pt x="1793" y="374"/>
                  </a:cubicBezTo>
                  <a:cubicBezTo>
                    <a:pt x="1783" y="365"/>
                    <a:pt x="1769" y="354"/>
                    <a:pt x="1769" y="354"/>
                  </a:cubicBezTo>
                  <a:cubicBezTo>
                    <a:pt x="1748" y="353"/>
                    <a:pt x="1748" y="353"/>
                    <a:pt x="1748" y="353"/>
                  </a:cubicBezTo>
                  <a:cubicBezTo>
                    <a:pt x="1748" y="353"/>
                    <a:pt x="1778" y="370"/>
                    <a:pt x="1769" y="378"/>
                  </a:cubicBezTo>
                  <a:cubicBezTo>
                    <a:pt x="1760" y="386"/>
                    <a:pt x="1740" y="389"/>
                    <a:pt x="1740" y="389"/>
                  </a:cubicBezTo>
                  <a:cubicBezTo>
                    <a:pt x="1727" y="416"/>
                    <a:pt x="1727" y="416"/>
                    <a:pt x="1727" y="416"/>
                  </a:cubicBezTo>
                  <a:cubicBezTo>
                    <a:pt x="1776" y="441"/>
                    <a:pt x="1776" y="441"/>
                    <a:pt x="1776" y="441"/>
                  </a:cubicBezTo>
                  <a:cubicBezTo>
                    <a:pt x="1776" y="441"/>
                    <a:pt x="1789" y="436"/>
                    <a:pt x="1789" y="442"/>
                  </a:cubicBezTo>
                  <a:cubicBezTo>
                    <a:pt x="1789" y="448"/>
                    <a:pt x="1782" y="479"/>
                    <a:pt x="1782" y="479"/>
                  </a:cubicBezTo>
                  <a:cubicBezTo>
                    <a:pt x="1789" y="492"/>
                    <a:pt x="1789" y="492"/>
                    <a:pt x="1789" y="492"/>
                  </a:cubicBezTo>
                  <a:cubicBezTo>
                    <a:pt x="1813" y="496"/>
                    <a:pt x="1813" y="496"/>
                    <a:pt x="1813" y="496"/>
                  </a:cubicBezTo>
                  <a:cubicBezTo>
                    <a:pt x="1812" y="514"/>
                    <a:pt x="1812" y="514"/>
                    <a:pt x="1812" y="514"/>
                  </a:cubicBezTo>
                  <a:cubicBezTo>
                    <a:pt x="1852" y="522"/>
                    <a:pt x="1852" y="522"/>
                    <a:pt x="1852" y="522"/>
                  </a:cubicBezTo>
                  <a:cubicBezTo>
                    <a:pt x="1852" y="522"/>
                    <a:pt x="1882" y="510"/>
                    <a:pt x="1896" y="511"/>
                  </a:cubicBezTo>
                  <a:cubicBezTo>
                    <a:pt x="1910" y="512"/>
                    <a:pt x="1928" y="524"/>
                    <a:pt x="1928" y="524"/>
                  </a:cubicBezTo>
                  <a:cubicBezTo>
                    <a:pt x="1928" y="524"/>
                    <a:pt x="1957" y="528"/>
                    <a:pt x="1970" y="537"/>
                  </a:cubicBezTo>
                  <a:cubicBezTo>
                    <a:pt x="1983" y="546"/>
                    <a:pt x="1986" y="557"/>
                    <a:pt x="1986" y="557"/>
                  </a:cubicBezTo>
                  <a:cubicBezTo>
                    <a:pt x="1986" y="557"/>
                    <a:pt x="1953" y="561"/>
                    <a:pt x="1966" y="569"/>
                  </a:cubicBezTo>
                  <a:cubicBezTo>
                    <a:pt x="1979" y="577"/>
                    <a:pt x="1993" y="584"/>
                    <a:pt x="1993" y="584"/>
                  </a:cubicBezTo>
                  <a:cubicBezTo>
                    <a:pt x="2021" y="583"/>
                    <a:pt x="2021" y="583"/>
                    <a:pt x="2021" y="583"/>
                  </a:cubicBezTo>
                  <a:cubicBezTo>
                    <a:pt x="2021" y="583"/>
                    <a:pt x="2005" y="591"/>
                    <a:pt x="1992" y="591"/>
                  </a:cubicBezTo>
                  <a:cubicBezTo>
                    <a:pt x="1979" y="591"/>
                    <a:pt x="1963" y="582"/>
                    <a:pt x="1963" y="582"/>
                  </a:cubicBezTo>
                  <a:cubicBezTo>
                    <a:pt x="1963" y="582"/>
                    <a:pt x="1964" y="559"/>
                    <a:pt x="1949" y="550"/>
                  </a:cubicBezTo>
                  <a:cubicBezTo>
                    <a:pt x="1934" y="541"/>
                    <a:pt x="1922" y="536"/>
                    <a:pt x="1922" y="536"/>
                  </a:cubicBezTo>
                  <a:cubicBezTo>
                    <a:pt x="1922" y="536"/>
                    <a:pt x="1918" y="521"/>
                    <a:pt x="1906" y="522"/>
                  </a:cubicBezTo>
                  <a:cubicBezTo>
                    <a:pt x="1894" y="523"/>
                    <a:pt x="1862" y="529"/>
                    <a:pt x="1862" y="529"/>
                  </a:cubicBezTo>
                  <a:cubicBezTo>
                    <a:pt x="1862" y="529"/>
                    <a:pt x="1844" y="531"/>
                    <a:pt x="1845" y="542"/>
                  </a:cubicBezTo>
                  <a:cubicBezTo>
                    <a:pt x="1846" y="553"/>
                    <a:pt x="1878" y="571"/>
                    <a:pt x="1878" y="575"/>
                  </a:cubicBezTo>
                  <a:cubicBezTo>
                    <a:pt x="1878" y="579"/>
                    <a:pt x="1859" y="591"/>
                    <a:pt x="1859" y="591"/>
                  </a:cubicBezTo>
                  <a:cubicBezTo>
                    <a:pt x="1857" y="620"/>
                    <a:pt x="1857" y="620"/>
                    <a:pt x="1857" y="620"/>
                  </a:cubicBezTo>
                  <a:cubicBezTo>
                    <a:pt x="1829" y="634"/>
                    <a:pt x="1829" y="634"/>
                    <a:pt x="1829" y="634"/>
                  </a:cubicBezTo>
                  <a:cubicBezTo>
                    <a:pt x="1829" y="634"/>
                    <a:pt x="1823" y="655"/>
                    <a:pt x="1810" y="649"/>
                  </a:cubicBezTo>
                  <a:cubicBezTo>
                    <a:pt x="1797" y="643"/>
                    <a:pt x="1771" y="645"/>
                    <a:pt x="1771" y="645"/>
                  </a:cubicBezTo>
                  <a:cubicBezTo>
                    <a:pt x="1733" y="641"/>
                    <a:pt x="1733" y="641"/>
                    <a:pt x="1733" y="641"/>
                  </a:cubicBezTo>
                  <a:cubicBezTo>
                    <a:pt x="1733" y="641"/>
                    <a:pt x="1690" y="626"/>
                    <a:pt x="1701" y="625"/>
                  </a:cubicBezTo>
                  <a:cubicBezTo>
                    <a:pt x="1712" y="624"/>
                    <a:pt x="1735" y="623"/>
                    <a:pt x="1735" y="623"/>
                  </a:cubicBezTo>
                  <a:cubicBezTo>
                    <a:pt x="1748" y="627"/>
                    <a:pt x="1748" y="627"/>
                    <a:pt x="1748" y="627"/>
                  </a:cubicBezTo>
                  <a:cubicBezTo>
                    <a:pt x="1763" y="616"/>
                    <a:pt x="1763" y="616"/>
                    <a:pt x="1763" y="616"/>
                  </a:cubicBezTo>
                  <a:cubicBezTo>
                    <a:pt x="1763" y="616"/>
                    <a:pt x="1801" y="625"/>
                    <a:pt x="1801" y="614"/>
                  </a:cubicBezTo>
                  <a:cubicBezTo>
                    <a:pt x="1801" y="603"/>
                    <a:pt x="1803" y="588"/>
                    <a:pt x="1803" y="588"/>
                  </a:cubicBezTo>
                  <a:cubicBezTo>
                    <a:pt x="1819" y="583"/>
                    <a:pt x="1819" y="583"/>
                    <a:pt x="1819" y="583"/>
                  </a:cubicBezTo>
                  <a:cubicBezTo>
                    <a:pt x="1821" y="569"/>
                    <a:pt x="1821" y="569"/>
                    <a:pt x="1821" y="569"/>
                  </a:cubicBezTo>
                  <a:cubicBezTo>
                    <a:pt x="1810" y="567"/>
                    <a:pt x="1810" y="567"/>
                    <a:pt x="1810" y="567"/>
                  </a:cubicBezTo>
                  <a:cubicBezTo>
                    <a:pt x="1810" y="567"/>
                    <a:pt x="1826" y="547"/>
                    <a:pt x="1816" y="543"/>
                  </a:cubicBezTo>
                  <a:cubicBezTo>
                    <a:pt x="1806" y="539"/>
                    <a:pt x="1763" y="541"/>
                    <a:pt x="1761" y="525"/>
                  </a:cubicBezTo>
                  <a:cubicBezTo>
                    <a:pt x="1759" y="509"/>
                    <a:pt x="1761" y="490"/>
                    <a:pt x="1752" y="485"/>
                  </a:cubicBezTo>
                  <a:cubicBezTo>
                    <a:pt x="1743" y="480"/>
                    <a:pt x="1730" y="464"/>
                    <a:pt x="1730" y="464"/>
                  </a:cubicBezTo>
                  <a:cubicBezTo>
                    <a:pt x="1726" y="440"/>
                    <a:pt x="1726" y="440"/>
                    <a:pt x="1726" y="440"/>
                  </a:cubicBezTo>
                  <a:cubicBezTo>
                    <a:pt x="1684" y="417"/>
                    <a:pt x="1684" y="417"/>
                    <a:pt x="1684" y="417"/>
                  </a:cubicBezTo>
                  <a:cubicBezTo>
                    <a:pt x="1684" y="417"/>
                    <a:pt x="1711" y="396"/>
                    <a:pt x="1697" y="376"/>
                  </a:cubicBezTo>
                  <a:cubicBezTo>
                    <a:pt x="1683" y="356"/>
                    <a:pt x="1651" y="356"/>
                    <a:pt x="1651" y="356"/>
                  </a:cubicBezTo>
                  <a:cubicBezTo>
                    <a:pt x="1562" y="348"/>
                    <a:pt x="1562" y="348"/>
                    <a:pt x="1562" y="348"/>
                  </a:cubicBezTo>
                  <a:cubicBezTo>
                    <a:pt x="1555" y="368"/>
                    <a:pt x="1555" y="368"/>
                    <a:pt x="1555" y="368"/>
                  </a:cubicBezTo>
                  <a:cubicBezTo>
                    <a:pt x="1566" y="379"/>
                    <a:pt x="1566" y="379"/>
                    <a:pt x="1566" y="379"/>
                  </a:cubicBezTo>
                  <a:cubicBezTo>
                    <a:pt x="1561" y="402"/>
                    <a:pt x="1561" y="402"/>
                    <a:pt x="1561" y="402"/>
                  </a:cubicBezTo>
                  <a:cubicBezTo>
                    <a:pt x="1523" y="418"/>
                    <a:pt x="1523" y="418"/>
                    <a:pt x="1523" y="418"/>
                  </a:cubicBezTo>
                  <a:cubicBezTo>
                    <a:pt x="1517" y="437"/>
                    <a:pt x="1517" y="437"/>
                    <a:pt x="1517" y="437"/>
                  </a:cubicBezTo>
                  <a:cubicBezTo>
                    <a:pt x="1538" y="439"/>
                    <a:pt x="1538" y="439"/>
                    <a:pt x="1538" y="439"/>
                  </a:cubicBezTo>
                  <a:cubicBezTo>
                    <a:pt x="1561" y="474"/>
                    <a:pt x="1561" y="474"/>
                    <a:pt x="1561" y="474"/>
                  </a:cubicBezTo>
                  <a:cubicBezTo>
                    <a:pt x="1552" y="486"/>
                    <a:pt x="1552" y="486"/>
                    <a:pt x="1552" y="486"/>
                  </a:cubicBezTo>
                  <a:cubicBezTo>
                    <a:pt x="1571" y="501"/>
                    <a:pt x="1571" y="501"/>
                    <a:pt x="1571" y="501"/>
                  </a:cubicBezTo>
                  <a:cubicBezTo>
                    <a:pt x="1594" y="495"/>
                    <a:pt x="1594" y="495"/>
                    <a:pt x="1594" y="495"/>
                  </a:cubicBezTo>
                  <a:cubicBezTo>
                    <a:pt x="1594" y="495"/>
                    <a:pt x="1612" y="516"/>
                    <a:pt x="1625" y="519"/>
                  </a:cubicBezTo>
                  <a:cubicBezTo>
                    <a:pt x="1638" y="522"/>
                    <a:pt x="1651" y="522"/>
                    <a:pt x="1651" y="522"/>
                  </a:cubicBezTo>
                  <a:cubicBezTo>
                    <a:pt x="1648" y="559"/>
                    <a:pt x="1648" y="559"/>
                    <a:pt x="1648" y="559"/>
                  </a:cubicBezTo>
                  <a:cubicBezTo>
                    <a:pt x="1635" y="545"/>
                    <a:pt x="1635" y="545"/>
                    <a:pt x="1635" y="545"/>
                  </a:cubicBezTo>
                  <a:cubicBezTo>
                    <a:pt x="1625" y="551"/>
                    <a:pt x="1625" y="551"/>
                    <a:pt x="1625" y="551"/>
                  </a:cubicBezTo>
                  <a:cubicBezTo>
                    <a:pt x="1625" y="551"/>
                    <a:pt x="1572" y="524"/>
                    <a:pt x="1556" y="521"/>
                  </a:cubicBezTo>
                  <a:cubicBezTo>
                    <a:pt x="1540" y="518"/>
                    <a:pt x="1516" y="520"/>
                    <a:pt x="1516" y="520"/>
                  </a:cubicBezTo>
                  <a:cubicBezTo>
                    <a:pt x="1505" y="508"/>
                    <a:pt x="1505" y="508"/>
                    <a:pt x="1505" y="508"/>
                  </a:cubicBezTo>
                  <a:cubicBezTo>
                    <a:pt x="1499" y="522"/>
                    <a:pt x="1499" y="522"/>
                    <a:pt x="1499" y="522"/>
                  </a:cubicBezTo>
                  <a:cubicBezTo>
                    <a:pt x="1483" y="504"/>
                    <a:pt x="1483" y="504"/>
                    <a:pt x="1483" y="504"/>
                  </a:cubicBezTo>
                  <a:cubicBezTo>
                    <a:pt x="1483" y="504"/>
                    <a:pt x="1441" y="490"/>
                    <a:pt x="1434" y="490"/>
                  </a:cubicBezTo>
                  <a:cubicBezTo>
                    <a:pt x="1427" y="490"/>
                    <a:pt x="1406" y="491"/>
                    <a:pt x="1406" y="491"/>
                  </a:cubicBezTo>
                  <a:cubicBezTo>
                    <a:pt x="1406" y="491"/>
                    <a:pt x="1357" y="485"/>
                    <a:pt x="1353" y="488"/>
                  </a:cubicBezTo>
                  <a:cubicBezTo>
                    <a:pt x="1349" y="491"/>
                    <a:pt x="1340" y="491"/>
                    <a:pt x="1340" y="499"/>
                  </a:cubicBezTo>
                  <a:cubicBezTo>
                    <a:pt x="1340" y="507"/>
                    <a:pt x="1366" y="521"/>
                    <a:pt x="1366" y="521"/>
                  </a:cubicBezTo>
                  <a:cubicBezTo>
                    <a:pt x="1353" y="541"/>
                    <a:pt x="1353" y="541"/>
                    <a:pt x="1353" y="541"/>
                  </a:cubicBezTo>
                  <a:cubicBezTo>
                    <a:pt x="1344" y="534"/>
                    <a:pt x="1344" y="534"/>
                    <a:pt x="1344" y="534"/>
                  </a:cubicBezTo>
                  <a:cubicBezTo>
                    <a:pt x="1344" y="551"/>
                    <a:pt x="1344" y="551"/>
                    <a:pt x="1344" y="551"/>
                  </a:cubicBezTo>
                  <a:cubicBezTo>
                    <a:pt x="1344" y="551"/>
                    <a:pt x="1320" y="550"/>
                    <a:pt x="1320" y="545"/>
                  </a:cubicBezTo>
                  <a:cubicBezTo>
                    <a:pt x="1320" y="540"/>
                    <a:pt x="1325" y="518"/>
                    <a:pt x="1311" y="519"/>
                  </a:cubicBezTo>
                  <a:cubicBezTo>
                    <a:pt x="1297" y="520"/>
                    <a:pt x="1261" y="543"/>
                    <a:pt x="1256" y="546"/>
                  </a:cubicBezTo>
                  <a:cubicBezTo>
                    <a:pt x="1251" y="549"/>
                    <a:pt x="1240" y="535"/>
                    <a:pt x="1219" y="537"/>
                  </a:cubicBezTo>
                  <a:cubicBezTo>
                    <a:pt x="1198" y="539"/>
                    <a:pt x="1174" y="550"/>
                    <a:pt x="1172" y="558"/>
                  </a:cubicBezTo>
                  <a:cubicBezTo>
                    <a:pt x="1170" y="566"/>
                    <a:pt x="1123" y="562"/>
                    <a:pt x="1123" y="562"/>
                  </a:cubicBezTo>
                  <a:cubicBezTo>
                    <a:pt x="1131" y="545"/>
                    <a:pt x="1131" y="545"/>
                    <a:pt x="1131" y="545"/>
                  </a:cubicBezTo>
                  <a:cubicBezTo>
                    <a:pt x="1130" y="521"/>
                    <a:pt x="1130" y="521"/>
                    <a:pt x="1130" y="521"/>
                  </a:cubicBezTo>
                  <a:cubicBezTo>
                    <a:pt x="1130" y="521"/>
                    <a:pt x="1086" y="529"/>
                    <a:pt x="1086" y="538"/>
                  </a:cubicBezTo>
                  <a:cubicBezTo>
                    <a:pt x="1086" y="547"/>
                    <a:pt x="1092" y="554"/>
                    <a:pt x="1092" y="554"/>
                  </a:cubicBezTo>
                  <a:cubicBezTo>
                    <a:pt x="1074" y="555"/>
                    <a:pt x="1074" y="555"/>
                    <a:pt x="1074" y="555"/>
                  </a:cubicBezTo>
                  <a:cubicBezTo>
                    <a:pt x="1074" y="540"/>
                    <a:pt x="1074" y="540"/>
                    <a:pt x="1074" y="540"/>
                  </a:cubicBezTo>
                  <a:cubicBezTo>
                    <a:pt x="1060" y="545"/>
                    <a:pt x="1060" y="545"/>
                    <a:pt x="1060" y="545"/>
                  </a:cubicBezTo>
                  <a:cubicBezTo>
                    <a:pt x="1025" y="548"/>
                    <a:pt x="1025" y="548"/>
                    <a:pt x="1025" y="548"/>
                  </a:cubicBezTo>
                  <a:cubicBezTo>
                    <a:pt x="996" y="568"/>
                    <a:pt x="996" y="568"/>
                    <a:pt x="996" y="568"/>
                  </a:cubicBezTo>
                  <a:cubicBezTo>
                    <a:pt x="963" y="571"/>
                    <a:pt x="963" y="571"/>
                    <a:pt x="963" y="571"/>
                  </a:cubicBezTo>
                  <a:cubicBezTo>
                    <a:pt x="970" y="584"/>
                    <a:pt x="970" y="584"/>
                    <a:pt x="970" y="584"/>
                  </a:cubicBezTo>
                  <a:cubicBezTo>
                    <a:pt x="970" y="584"/>
                    <a:pt x="944" y="578"/>
                    <a:pt x="941" y="589"/>
                  </a:cubicBezTo>
                  <a:cubicBezTo>
                    <a:pt x="938" y="600"/>
                    <a:pt x="941" y="615"/>
                    <a:pt x="941" y="615"/>
                  </a:cubicBezTo>
                  <a:cubicBezTo>
                    <a:pt x="890" y="621"/>
                    <a:pt x="890" y="621"/>
                    <a:pt x="890" y="621"/>
                  </a:cubicBezTo>
                  <a:cubicBezTo>
                    <a:pt x="890" y="621"/>
                    <a:pt x="875" y="610"/>
                    <a:pt x="870" y="609"/>
                  </a:cubicBezTo>
                  <a:cubicBezTo>
                    <a:pt x="865" y="608"/>
                    <a:pt x="843" y="614"/>
                    <a:pt x="843" y="600"/>
                  </a:cubicBezTo>
                  <a:cubicBezTo>
                    <a:pt x="843" y="586"/>
                    <a:pt x="843" y="569"/>
                    <a:pt x="860" y="575"/>
                  </a:cubicBezTo>
                  <a:cubicBezTo>
                    <a:pt x="877" y="581"/>
                    <a:pt x="898" y="575"/>
                    <a:pt x="898" y="575"/>
                  </a:cubicBezTo>
                  <a:cubicBezTo>
                    <a:pt x="898" y="575"/>
                    <a:pt x="860" y="544"/>
                    <a:pt x="854" y="541"/>
                  </a:cubicBezTo>
                  <a:cubicBezTo>
                    <a:pt x="848" y="538"/>
                    <a:pt x="773" y="539"/>
                    <a:pt x="773" y="539"/>
                  </a:cubicBezTo>
                  <a:cubicBezTo>
                    <a:pt x="779" y="548"/>
                    <a:pt x="779" y="548"/>
                    <a:pt x="779" y="548"/>
                  </a:cubicBezTo>
                  <a:cubicBezTo>
                    <a:pt x="779" y="548"/>
                    <a:pt x="810" y="543"/>
                    <a:pt x="805" y="563"/>
                  </a:cubicBezTo>
                  <a:cubicBezTo>
                    <a:pt x="800" y="583"/>
                    <a:pt x="790" y="612"/>
                    <a:pt x="797" y="612"/>
                  </a:cubicBezTo>
                  <a:cubicBezTo>
                    <a:pt x="804" y="612"/>
                    <a:pt x="830" y="620"/>
                    <a:pt x="830" y="620"/>
                  </a:cubicBezTo>
                  <a:cubicBezTo>
                    <a:pt x="828" y="645"/>
                    <a:pt x="828" y="645"/>
                    <a:pt x="828" y="645"/>
                  </a:cubicBezTo>
                  <a:cubicBezTo>
                    <a:pt x="834" y="664"/>
                    <a:pt x="834" y="664"/>
                    <a:pt x="834" y="664"/>
                  </a:cubicBezTo>
                  <a:cubicBezTo>
                    <a:pt x="813" y="650"/>
                    <a:pt x="813" y="650"/>
                    <a:pt x="813" y="650"/>
                  </a:cubicBezTo>
                  <a:cubicBezTo>
                    <a:pt x="798" y="666"/>
                    <a:pt x="798" y="666"/>
                    <a:pt x="798" y="666"/>
                  </a:cubicBezTo>
                  <a:cubicBezTo>
                    <a:pt x="795" y="644"/>
                    <a:pt x="795" y="644"/>
                    <a:pt x="795" y="644"/>
                  </a:cubicBezTo>
                  <a:cubicBezTo>
                    <a:pt x="749" y="632"/>
                    <a:pt x="749" y="632"/>
                    <a:pt x="749" y="632"/>
                  </a:cubicBezTo>
                  <a:cubicBezTo>
                    <a:pt x="729" y="657"/>
                    <a:pt x="729" y="657"/>
                    <a:pt x="729" y="657"/>
                  </a:cubicBezTo>
                  <a:cubicBezTo>
                    <a:pt x="711" y="658"/>
                    <a:pt x="711" y="658"/>
                    <a:pt x="711" y="658"/>
                  </a:cubicBezTo>
                  <a:cubicBezTo>
                    <a:pt x="711" y="658"/>
                    <a:pt x="705" y="669"/>
                    <a:pt x="695" y="673"/>
                  </a:cubicBezTo>
                  <a:cubicBezTo>
                    <a:pt x="685" y="677"/>
                    <a:pt x="665" y="681"/>
                    <a:pt x="673" y="688"/>
                  </a:cubicBezTo>
                  <a:cubicBezTo>
                    <a:pt x="681" y="695"/>
                    <a:pt x="713" y="718"/>
                    <a:pt x="713" y="718"/>
                  </a:cubicBezTo>
                  <a:cubicBezTo>
                    <a:pt x="725" y="735"/>
                    <a:pt x="725" y="735"/>
                    <a:pt x="725" y="735"/>
                  </a:cubicBezTo>
                  <a:cubicBezTo>
                    <a:pt x="705" y="726"/>
                    <a:pt x="705" y="726"/>
                    <a:pt x="705" y="726"/>
                  </a:cubicBezTo>
                  <a:cubicBezTo>
                    <a:pt x="705" y="726"/>
                    <a:pt x="687" y="736"/>
                    <a:pt x="674" y="730"/>
                  </a:cubicBezTo>
                  <a:cubicBezTo>
                    <a:pt x="661" y="724"/>
                    <a:pt x="618" y="717"/>
                    <a:pt x="618" y="717"/>
                  </a:cubicBezTo>
                  <a:cubicBezTo>
                    <a:pt x="618" y="717"/>
                    <a:pt x="612" y="693"/>
                    <a:pt x="597" y="699"/>
                  </a:cubicBezTo>
                  <a:cubicBezTo>
                    <a:pt x="582" y="705"/>
                    <a:pt x="574" y="711"/>
                    <a:pt x="574" y="711"/>
                  </a:cubicBezTo>
                  <a:cubicBezTo>
                    <a:pt x="562" y="712"/>
                    <a:pt x="562" y="712"/>
                    <a:pt x="562" y="712"/>
                  </a:cubicBezTo>
                  <a:cubicBezTo>
                    <a:pt x="592" y="738"/>
                    <a:pt x="592" y="738"/>
                    <a:pt x="592" y="738"/>
                  </a:cubicBezTo>
                  <a:cubicBezTo>
                    <a:pt x="592" y="738"/>
                    <a:pt x="632" y="739"/>
                    <a:pt x="632" y="746"/>
                  </a:cubicBezTo>
                  <a:cubicBezTo>
                    <a:pt x="632" y="753"/>
                    <a:pt x="614" y="764"/>
                    <a:pt x="614" y="764"/>
                  </a:cubicBezTo>
                  <a:cubicBezTo>
                    <a:pt x="572" y="754"/>
                    <a:pt x="572" y="754"/>
                    <a:pt x="572" y="754"/>
                  </a:cubicBezTo>
                  <a:cubicBezTo>
                    <a:pt x="572" y="754"/>
                    <a:pt x="557" y="740"/>
                    <a:pt x="547" y="739"/>
                  </a:cubicBezTo>
                  <a:cubicBezTo>
                    <a:pt x="537" y="738"/>
                    <a:pt x="511" y="749"/>
                    <a:pt x="509" y="735"/>
                  </a:cubicBezTo>
                  <a:cubicBezTo>
                    <a:pt x="507" y="721"/>
                    <a:pt x="508" y="705"/>
                    <a:pt x="508" y="705"/>
                  </a:cubicBezTo>
                  <a:cubicBezTo>
                    <a:pt x="495" y="697"/>
                    <a:pt x="495" y="697"/>
                    <a:pt x="495" y="697"/>
                  </a:cubicBezTo>
                  <a:cubicBezTo>
                    <a:pt x="495" y="697"/>
                    <a:pt x="516" y="679"/>
                    <a:pt x="508" y="670"/>
                  </a:cubicBezTo>
                  <a:cubicBezTo>
                    <a:pt x="500" y="661"/>
                    <a:pt x="444" y="646"/>
                    <a:pt x="444" y="646"/>
                  </a:cubicBezTo>
                  <a:cubicBezTo>
                    <a:pt x="424" y="631"/>
                    <a:pt x="424" y="631"/>
                    <a:pt x="424" y="631"/>
                  </a:cubicBezTo>
                  <a:cubicBezTo>
                    <a:pt x="408" y="620"/>
                    <a:pt x="408" y="620"/>
                    <a:pt x="408" y="620"/>
                  </a:cubicBezTo>
                  <a:cubicBezTo>
                    <a:pt x="398" y="610"/>
                    <a:pt x="398" y="610"/>
                    <a:pt x="398" y="610"/>
                  </a:cubicBezTo>
                  <a:cubicBezTo>
                    <a:pt x="424" y="609"/>
                    <a:pt x="424" y="609"/>
                    <a:pt x="424" y="609"/>
                  </a:cubicBezTo>
                  <a:cubicBezTo>
                    <a:pt x="424" y="609"/>
                    <a:pt x="419" y="618"/>
                    <a:pt x="438" y="622"/>
                  </a:cubicBezTo>
                  <a:cubicBezTo>
                    <a:pt x="457" y="626"/>
                    <a:pt x="482" y="623"/>
                    <a:pt x="482" y="623"/>
                  </a:cubicBezTo>
                  <a:cubicBezTo>
                    <a:pt x="482" y="623"/>
                    <a:pt x="498" y="641"/>
                    <a:pt x="510" y="643"/>
                  </a:cubicBezTo>
                  <a:cubicBezTo>
                    <a:pt x="522" y="645"/>
                    <a:pt x="576" y="650"/>
                    <a:pt x="576" y="650"/>
                  </a:cubicBezTo>
                  <a:cubicBezTo>
                    <a:pt x="576" y="650"/>
                    <a:pt x="613" y="666"/>
                    <a:pt x="656" y="655"/>
                  </a:cubicBezTo>
                  <a:cubicBezTo>
                    <a:pt x="699" y="644"/>
                    <a:pt x="741" y="629"/>
                    <a:pt x="719" y="609"/>
                  </a:cubicBezTo>
                  <a:cubicBezTo>
                    <a:pt x="697" y="589"/>
                    <a:pt x="696" y="576"/>
                    <a:pt x="667" y="570"/>
                  </a:cubicBezTo>
                  <a:cubicBezTo>
                    <a:pt x="638" y="564"/>
                    <a:pt x="598" y="549"/>
                    <a:pt x="579" y="542"/>
                  </a:cubicBezTo>
                  <a:cubicBezTo>
                    <a:pt x="560" y="535"/>
                    <a:pt x="526" y="518"/>
                    <a:pt x="506" y="517"/>
                  </a:cubicBezTo>
                  <a:cubicBezTo>
                    <a:pt x="486" y="516"/>
                    <a:pt x="467" y="516"/>
                    <a:pt x="455" y="516"/>
                  </a:cubicBezTo>
                  <a:cubicBezTo>
                    <a:pt x="443" y="516"/>
                    <a:pt x="421" y="516"/>
                    <a:pt x="421" y="516"/>
                  </a:cubicBezTo>
                  <a:cubicBezTo>
                    <a:pt x="413" y="506"/>
                    <a:pt x="413" y="506"/>
                    <a:pt x="413" y="506"/>
                  </a:cubicBezTo>
                  <a:cubicBezTo>
                    <a:pt x="394" y="507"/>
                    <a:pt x="394" y="507"/>
                    <a:pt x="394" y="507"/>
                  </a:cubicBezTo>
                  <a:cubicBezTo>
                    <a:pt x="373" y="498"/>
                    <a:pt x="373" y="498"/>
                    <a:pt x="373" y="498"/>
                  </a:cubicBezTo>
                  <a:cubicBezTo>
                    <a:pt x="394" y="493"/>
                    <a:pt x="394" y="493"/>
                    <a:pt x="394" y="493"/>
                  </a:cubicBezTo>
                  <a:cubicBezTo>
                    <a:pt x="406" y="485"/>
                    <a:pt x="406" y="485"/>
                    <a:pt x="406" y="485"/>
                  </a:cubicBezTo>
                  <a:cubicBezTo>
                    <a:pt x="406" y="485"/>
                    <a:pt x="363" y="469"/>
                    <a:pt x="357" y="475"/>
                  </a:cubicBezTo>
                  <a:cubicBezTo>
                    <a:pt x="351" y="481"/>
                    <a:pt x="348" y="490"/>
                    <a:pt x="348" y="490"/>
                  </a:cubicBezTo>
                  <a:cubicBezTo>
                    <a:pt x="335" y="490"/>
                    <a:pt x="335" y="490"/>
                    <a:pt x="335" y="490"/>
                  </a:cubicBezTo>
                  <a:cubicBezTo>
                    <a:pt x="333" y="493"/>
                    <a:pt x="329" y="497"/>
                    <a:pt x="321" y="498"/>
                  </a:cubicBezTo>
                  <a:cubicBezTo>
                    <a:pt x="303" y="501"/>
                    <a:pt x="304" y="498"/>
                    <a:pt x="304" y="498"/>
                  </a:cubicBezTo>
                  <a:cubicBezTo>
                    <a:pt x="300" y="506"/>
                    <a:pt x="300" y="506"/>
                    <a:pt x="300" y="506"/>
                  </a:cubicBezTo>
                  <a:cubicBezTo>
                    <a:pt x="285" y="507"/>
                    <a:pt x="285" y="507"/>
                    <a:pt x="285" y="507"/>
                  </a:cubicBezTo>
                  <a:cubicBezTo>
                    <a:pt x="285" y="507"/>
                    <a:pt x="284" y="521"/>
                    <a:pt x="275" y="522"/>
                  </a:cubicBezTo>
                  <a:cubicBezTo>
                    <a:pt x="270" y="522"/>
                    <a:pt x="266" y="521"/>
                    <a:pt x="262" y="519"/>
                  </a:cubicBezTo>
                  <a:cubicBezTo>
                    <a:pt x="261" y="528"/>
                    <a:pt x="261" y="528"/>
                    <a:pt x="261" y="528"/>
                  </a:cubicBezTo>
                  <a:cubicBezTo>
                    <a:pt x="261" y="528"/>
                    <a:pt x="265" y="534"/>
                    <a:pt x="266" y="537"/>
                  </a:cubicBezTo>
                  <a:cubicBezTo>
                    <a:pt x="267" y="540"/>
                    <a:pt x="254" y="542"/>
                    <a:pt x="254" y="542"/>
                  </a:cubicBezTo>
                  <a:cubicBezTo>
                    <a:pt x="254" y="542"/>
                    <a:pt x="257" y="545"/>
                    <a:pt x="259" y="557"/>
                  </a:cubicBezTo>
                  <a:cubicBezTo>
                    <a:pt x="261" y="569"/>
                    <a:pt x="275" y="561"/>
                    <a:pt x="281" y="561"/>
                  </a:cubicBezTo>
                  <a:cubicBezTo>
                    <a:pt x="287" y="561"/>
                    <a:pt x="292" y="568"/>
                    <a:pt x="296" y="573"/>
                  </a:cubicBezTo>
                  <a:cubicBezTo>
                    <a:pt x="300" y="578"/>
                    <a:pt x="306" y="581"/>
                    <a:pt x="315" y="591"/>
                  </a:cubicBezTo>
                  <a:cubicBezTo>
                    <a:pt x="324" y="601"/>
                    <a:pt x="300" y="603"/>
                    <a:pt x="300" y="608"/>
                  </a:cubicBezTo>
                  <a:cubicBezTo>
                    <a:pt x="300" y="613"/>
                    <a:pt x="283" y="620"/>
                    <a:pt x="283" y="620"/>
                  </a:cubicBezTo>
                  <a:cubicBezTo>
                    <a:pt x="296" y="631"/>
                    <a:pt x="296" y="631"/>
                    <a:pt x="296" y="631"/>
                  </a:cubicBezTo>
                  <a:cubicBezTo>
                    <a:pt x="296" y="631"/>
                    <a:pt x="337" y="663"/>
                    <a:pt x="343" y="673"/>
                  </a:cubicBezTo>
                  <a:cubicBezTo>
                    <a:pt x="349" y="683"/>
                    <a:pt x="321" y="677"/>
                    <a:pt x="321" y="677"/>
                  </a:cubicBezTo>
                  <a:cubicBezTo>
                    <a:pt x="316" y="697"/>
                    <a:pt x="316" y="697"/>
                    <a:pt x="316" y="697"/>
                  </a:cubicBezTo>
                  <a:cubicBezTo>
                    <a:pt x="323" y="703"/>
                    <a:pt x="323" y="703"/>
                    <a:pt x="323" y="703"/>
                  </a:cubicBezTo>
                  <a:cubicBezTo>
                    <a:pt x="323" y="713"/>
                    <a:pt x="323" y="713"/>
                    <a:pt x="323" y="713"/>
                  </a:cubicBezTo>
                  <a:cubicBezTo>
                    <a:pt x="323" y="713"/>
                    <a:pt x="342" y="718"/>
                    <a:pt x="343" y="722"/>
                  </a:cubicBezTo>
                  <a:cubicBezTo>
                    <a:pt x="344" y="726"/>
                    <a:pt x="337" y="737"/>
                    <a:pt x="337" y="737"/>
                  </a:cubicBezTo>
                  <a:cubicBezTo>
                    <a:pt x="352" y="740"/>
                    <a:pt x="352" y="740"/>
                    <a:pt x="352" y="740"/>
                  </a:cubicBezTo>
                  <a:cubicBezTo>
                    <a:pt x="352" y="740"/>
                    <a:pt x="363" y="748"/>
                    <a:pt x="364" y="752"/>
                  </a:cubicBezTo>
                  <a:cubicBezTo>
                    <a:pt x="365" y="756"/>
                    <a:pt x="344" y="770"/>
                    <a:pt x="344" y="770"/>
                  </a:cubicBezTo>
                  <a:cubicBezTo>
                    <a:pt x="383" y="788"/>
                    <a:pt x="383" y="788"/>
                    <a:pt x="383" y="788"/>
                  </a:cubicBezTo>
                  <a:cubicBezTo>
                    <a:pt x="383" y="788"/>
                    <a:pt x="406" y="807"/>
                    <a:pt x="405" y="815"/>
                  </a:cubicBezTo>
                  <a:cubicBezTo>
                    <a:pt x="404" y="823"/>
                    <a:pt x="395" y="830"/>
                    <a:pt x="391" y="837"/>
                  </a:cubicBezTo>
                  <a:cubicBezTo>
                    <a:pt x="387" y="844"/>
                    <a:pt x="366" y="856"/>
                    <a:pt x="366" y="856"/>
                  </a:cubicBezTo>
                  <a:cubicBezTo>
                    <a:pt x="366" y="856"/>
                    <a:pt x="338" y="882"/>
                    <a:pt x="334" y="887"/>
                  </a:cubicBezTo>
                  <a:cubicBezTo>
                    <a:pt x="330" y="892"/>
                    <a:pt x="289" y="916"/>
                    <a:pt x="289" y="916"/>
                  </a:cubicBezTo>
                  <a:cubicBezTo>
                    <a:pt x="293" y="923"/>
                    <a:pt x="293" y="923"/>
                    <a:pt x="293" y="923"/>
                  </a:cubicBezTo>
                  <a:cubicBezTo>
                    <a:pt x="313" y="912"/>
                    <a:pt x="313" y="912"/>
                    <a:pt x="313" y="912"/>
                  </a:cubicBezTo>
                  <a:cubicBezTo>
                    <a:pt x="315" y="923"/>
                    <a:pt x="315" y="923"/>
                    <a:pt x="315" y="923"/>
                  </a:cubicBezTo>
                  <a:cubicBezTo>
                    <a:pt x="315" y="923"/>
                    <a:pt x="328" y="936"/>
                    <a:pt x="334" y="939"/>
                  </a:cubicBezTo>
                  <a:cubicBezTo>
                    <a:pt x="340" y="942"/>
                    <a:pt x="367" y="942"/>
                    <a:pt x="367" y="942"/>
                  </a:cubicBezTo>
                  <a:cubicBezTo>
                    <a:pt x="376" y="954"/>
                    <a:pt x="376" y="954"/>
                    <a:pt x="376" y="954"/>
                  </a:cubicBezTo>
                  <a:cubicBezTo>
                    <a:pt x="376" y="954"/>
                    <a:pt x="337" y="945"/>
                    <a:pt x="335" y="951"/>
                  </a:cubicBezTo>
                  <a:cubicBezTo>
                    <a:pt x="333" y="957"/>
                    <a:pt x="333" y="961"/>
                    <a:pt x="333" y="961"/>
                  </a:cubicBezTo>
                  <a:cubicBezTo>
                    <a:pt x="307" y="962"/>
                    <a:pt x="307" y="962"/>
                    <a:pt x="307" y="962"/>
                  </a:cubicBezTo>
                  <a:cubicBezTo>
                    <a:pt x="303" y="980"/>
                    <a:pt x="303" y="980"/>
                    <a:pt x="303" y="980"/>
                  </a:cubicBezTo>
                  <a:cubicBezTo>
                    <a:pt x="303" y="980"/>
                    <a:pt x="300" y="979"/>
                    <a:pt x="295" y="978"/>
                  </a:cubicBezTo>
                  <a:cubicBezTo>
                    <a:pt x="292" y="988"/>
                    <a:pt x="292" y="988"/>
                    <a:pt x="292" y="988"/>
                  </a:cubicBezTo>
                  <a:cubicBezTo>
                    <a:pt x="295" y="997"/>
                    <a:pt x="295" y="997"/>
                    <a:pt x="295" y="997"/>
                  </a:cubicBezTo>
                  <a:cubicBezTo>
                    <a:pt x="295" y="997"/>
                    <a:pt x="288" y="1001"/>
                    <a:pt x="284" y="1003"/>
                  </a:cubicBezTo>
                  <a:cubicBezTo>
                    <a:pt x="280" y="1005"/>
                    <a:pt x="281" y="1019"/>
                    <a:pt x="281" y="1019"/>
                  </a:cubicBezTo>
                  <a:cubicBezTo>
                    <a:pt x="290" y="1023"/>
                    <a:pt x="290" y="1023"/>
                    <a:pt x="290" y="1023"/>
                  </a:cubicBezTo>
                  <a:cubicBezTo>
                    <a:pt x="285" y="1041"/>
                    <a:pt x="285" y="1041"/>
                    <a:pt x="285" y="1041"/>
                  </a:cubicBezTo>
                  <a:cubicBezTo>
                    <a:pt x="292" y="1043"/>
                    <a:pt x="292" y="1043"/>
                    <a:pt x="292" y="1043"/>
                  </a:cubicBezTo>
                  <a:cubicBezTo>
                    <a:pt x="301" y="1055"/>
                    <a:pt x="301" y="1055"/>
                    <a:pt x="301" y="1055"/>
                  </a:cubicBezTo>
                  <a:cubicBezTo>
                    <a:pt x="288" y="1064"/>
                    <a:pt x="288" y="1064"/>
                    <a:pt x="288" y="1064"/>
                  </a:cubicBezTo>
                  <a:cubicBezTo>
                    <a:pt x="288" y="1072"/>
                    <a:pt x="288" y="1072"/>
                    <a:pt x="288" y="1072"/>
                  </a:cubicBezTo>
                  <a:cubicBezTo>
                    <a:pt x="288" y="1072"/>
                    <a:pt x="309" y="1082"/>
                    <a:pt x="310" y="1087"/>
                  </a:cubicBezTo>
                  <a:cubicBezTo>
                    <a:pt x="311" y="1092"/>
                    <a:pt x="298" y="1094"/>
                    <a:pt x="298" y="1094"/>
                  </a:cubicBezTo>
                  <a:cubicBezTo>
                    <a:pt x="297" y="1103"/>
                    <a:pt x="297" y="1103"/>
                    <a:pt x="297" y="1103"/>
                  </a:cubicBezTo>
                  <a:cubicBezTo>
                    <a:pt x="310" y="1107"/>
                    <a:pt x="310" y="1107"/>
                    <a:pt x="310" y="1107"/>
                  </a:cubicBezTo>
                  <a:cubicBezTo>
                    <a:pt x="310" y="1107"/>
                    <a:pt x="315" y="1118"/>
                    <a:pt x="322" y="1124"/>
                  </a:cubicBezTo>
                  <a:cubicBezTo>
                    <a:pt x="328" y="1129"/>
                    <a:pt x="328" y="1139"/>
                    <a:pt x="328" y="1143"/>
                  </a:cubicBezTo>
                  <a:cubicBezTo>
                    <a:pt x="332" y="1144"/>
                    <a:pt x="336" y="1144"/>
                    <a:pt x="339" y="1145"/>
                  </a:cubicBezTo>
                  <a:cubicBezTo>
                    <a:pt x="347" y="1146"/>
                    <a:pt x="348" y="1153"/>
                    <a:pt x="348" y="1153"/>
                  </a:cubicBezTo>
                  <a:cubicBezTo>
                    <a:pt x="354" y="1147"/>
                    <a:pt x="354" y="1147"/>
                    <a:pt x="354" y="1147"/>
                  </a:cubicBezTo>
                  <a:cubicBezTo>
                    <a:pt x="380" y="1153"/>
                    <a:pt x="380" y="1153"/>
                    <a:pt x="380" y="1153"/>
                  </a:cubicBezTo>
                  <a:cubicBezTo>
                    <a:pt x="382" y="1163"/>
                    <a:pt x="382" y="1163"/>
                    <a:pt x="382" y="1163"/>
                  </a:cubicBezTo>
                  <a:cubicBezTo>
                    <a:pt x="404" y="1151"/>
                    <a:pt x="404" y="1151"/>
                    <a:pt x="404" y="1151"/>
                  </a:cubicBezTo>
                  <a:cubicBezTo>
                    <a:pt x="404" y="1151"/>
                    <a:pt x="426" y="1162"/>
                    <a:pt x="437" y="1167"/>
                  </a:cubicBezTo>
                  <a:cubicBezTo>
                    <a:pt x="448" y="1172"/>
                    <a:pt x="434" y="1186"/>
                    <a:pt x="434" y="1186"/>
                  </a:cubicBezTo>
                  <a:cubicBezTo>
                    <a:pt x="442" y="1196"/>
                    <a:pt x="442" y="1196"/>
                    <a:pt x="442" y="1196"/>
                  </a:cubicBezTo>
                  <a:cubicBezTo>
                    <a:pt x="438" y="1208"/>
                    <a:pt x="438" y="1208"/>
                    <a:pt x="438" y="1208"/>
                  </a:cubicBezTo>
                  <a:cubicBezTo>
                    <a:pt x="438" y="1208"/>
                    <a:pt x="443" y="1213"/>
                    <a:pt x="451" y="1215"/>
                  </a:cubicBezTo>
                  <a:cubicBezTo>
                    <a:pt x="459" y="1217"/>
                    <a:pt x="462" y="1238"/>
                    <a:pt x="462" y="1238"/>
                  </a:cubicBezTo>
                  <a:cubicBezTo>
                    <a:pt x="482" y="1245"/>
                    <a:pt x="482" y="1245"/>
                    <a:pt x="482" y="1245"/>
                  </a:cubicBezTo>
                  <a:cubicBezTo>
                    <a:pt x="484" y="1260"/>
                    <a:pt x="484" y="1260"/>
                    <a:pt x="484" y="1260"/>
                  </a:cubicBezTo>
                  <a:cubicBezTo>
                    <a:pt x="484" y="1260"/>
                    <a:pt x="494" y="1258"/>
                    <a:pt x="507" y="1261"/>
                  </a:cubicBezTo>
                  <a:cubicBezTo>
                    <a:pt x="520" y="1264"/>
                    <a:pt x="512" y="1273"/>
                    <a:pt x="512" y="1273"/>
                  </a:cubicBezTo>
                  <a:cubicBezTo>
                    <a:pt x="526" y="1281"/>
                    <a:pt x="526" y="1281"/>
                    <a:pt x="526" y="1281"/>
                  </a:cubicBezTo>
                  <a:cubicBezTo>
                    <a:pt x="526" y="1281"/>
                    <a:pt x="517" y="1290"/>
                    <a:pt x="509" y="1297"/>
                  </a:cubicBezTo>
                  <a:cubicBezTo>
                    <a:pt x="501" y="1304"/>
                    <a:pt x="488" y="1296"/>
                    <a:pt x="488" y="1296"/>
                  </a:cubicBezTo>
                  <a:cubicBezTo>
                    <a:pt x="488" y="1296"/>
                    <a:pt x="486" y="1290"/>
                    <a:pt x="472" y="1293"/>
                  </a:cubicBezTo>
                  <a:cubicBezTo>
                    <a:pt x="458" y="1296"/>
                    <a:pt x="485" y="1318"/>
                    <a:pt x="485" y="1318"/>
                  </a:cubicBezTo>
                  <a:cubicBezTo>
                    <a:pt x="485" y="1318"/>
                    <a:pt x="485" y="1332"/>
                    <a:pt x="488" y="1333"/>
                  </a:cubicBezTo>
                  <a:cubicBezTo>
                    <a:pt x="490" y="1333"/>
                    <a:pt x="490" y="1343"/>
                    <a:pt x="491" y="1351"/>
                  </a:cubicBezTo>
                  <a:cubicBezTo>
                    <a:pt x="486" y="1351"/>
                    <a:pt x="481" y="1350"/>
                    <a:pt x="477" y="1349"/>
                  </a:cubicBezTo>
                  <a:cubicBezTo>
                    <a:pt x="490" y="1351"/>
                    <a:pt x="510" y="1355"/>
                    <a:pt x="516" y="1352"/>
                  </a:cubicBezTo>
                  <a:cubicBezTo>
                    <a:pt x="524" y="1348"/>
                    <a:pt x="520" y="1339"/>
                    <a:pt x="520" y="1339"/>
                  </a:cubicBezTo>
                  <a:cubicBezTo>
                    <a:pt x="538" y="1342"/>
                    <a:pt x="538" y="1342"/>
                    <a:pt x="538" y="1342"/>
                  </a:cubicBezTo>
                  <a:cubicBezTo>
                    <a:pt x="549" y="1337"/>
                    <a:pt x="549" y="1337"/>
                    <a:pt x="549" y="1337"/>
                  </a:cubicBezTo>
                  <a:cubicBezTo>
                    <a:pt x="579" y="1336"/>
                    <a:pt x="579" y="1336"/>
                    <a:pt x="579" y="1336"/>
                  </a:cubicBezTo>
                  <a:cubicBezTo>
                    <a:pt x="585" y="1350"/>
                    <a:pt x="585" y="1350"/>
                    <a:pt x="585" y="1350"/>
                  </a:cubicBezTo>
                  <a:cubicBezTo>
                    <a:pt x="585" y="1350"/>
                    <a:pt x="606" y="1356"/>
                    <a:pt x="604" y="1362"/>
                  </a:cubicBezTo>
                  <a:cubicBezTo>
                    <a:pt x="602" y="1368"/>
                    <a:pt x="594" y="1369"/>
                    <a:pt x="594" y="1369"/>
                  </a:cubicBezTo>
                  <a:cubicBezTo>
                    <a:pt x="599" y="1381"/>
                    <a:pt x="599" y="1381"/>
                    <a:pt x="599" y="1381"/>
                  </a:cubicBezTo>
                  <a:cubicBezTo>
                    <a:pt x="600" y="1392"/>
                    <a:pt x="600" y="1392"/>
                    <a:pt x="600" y="1392"/>
                  </a:cubicBezTo>
                  <a:cubicBezTo>
                    <a:pt x="623" y="1394"/>
                    <a:pt x="623" y="1394"/>
                    <a:pt x="623" y="1394"/>
                  </a:cubicBezTo>
                  <a:cubicBezTo>
                    <a:pt x="651" y="1406"/>
                    <a:pt x="651" y="1406"/>
                    <a:pt x="651" y="1406"/>
                  </a:cubicBezTo>
                  <a:cubicBezTo>
                    <a:pt x="658" y="1435"/>
                    <a:pt x="658" y="1435"/>
                    <a:pt x="658" y="1435"/>
                  </a:cubicBezTo>
                  <a:cubicBezTo>
                    <a:pt x="662" y="1438"/>
                    <a:pt x="662" y="1438"/>
                    <a:pt x="662" y="1438"/>
                  </a:cubicBezTo>
                  <a:cubicBezTo>
                    <a:pt x="680" y="1434"/>
                    <a:pt x="680" y="1434"/>
                    <a:pt x="680" y="1434"/>
                  </a:cubicBezTo>
                  <a:cubicBezTo>
                    <a:pt x="680" y="1434"/>
                    <a:pt x="688" y="1438"/>
                    <a:pt x="696" y="1442"/>
                  </a:cubicBezTo>
                  <a:cubicBezTo>
                    <a:pt x="704" y="1446"/>
                    <a:pt x="702" y="1441"/>
                    <a:pt x="713" y="1440"/>
                  </a:cubicBezTo>
                  <a:cubicBezTo>
                    <a:pt x="724" y="1439"/>
                    <a:pt x="733" y="1445"/>
                    <a:pt x="733" y="1445"/>
                  </a:cubicBezTo>
                  <a:cubicBezTo>
                    <a:pt x="733" y="1445"/>
                    <a:pt x="729" y="1435"/>
                    <a:pt x="738" y="1436"/>
                  </a:cubicBezTo>
                  <a:cubicBezTo>
                    <a:pt x="747" y="1437"/>
                    <a:pt x="749" y="1448"/>
                    <a:pt x="755" y="1452"/>
                  </a:cubicBezTo>
                  <a:cubicBezTo>
                    <a:pt x="761" y="1456"/>
                    <a:pt x="764" y="1461"/>
                    <a:pt x="764" y="1461"/>
                  </a:cubicBezTo>
                  <a:cubicBezTo>
                    <a:pt x="764" y="1461"/>
                    <a:pt x="776" y="1455"/>
                    <a:pt x="780" y="1455"/>
                  </a:cubicBezTo>
                  <a:cubicBezTo>
                    <a:pt x="784" y="1455"/>
                    <a:pt x="797" y="1464"/>
                    <a:pt x="797" y="1464"/>
                  </a:cubicBezTo>
                  <a:cubicBezTo>
                    <a:pt x="797" y="1464"/>
                    <a:pt x="811" y="1462"/>
                    <a:pt x="818" y="1464"/>
                  </a:cubicBezTo>
                  <a:cubicBezTo>
                    <a:pt x="825" y="1466"/>
                    <a:pt x="827" y="1472"/>
                    <a:pt x="827" y="1472"/>
                  </a:cubicBezTo>
                  <a:cubicBezTo>
                    <a:pt x="840" y="1481"/>
                    <a:pt x="840" y="1481"/>
                    <a:pt x="840" y="1481"/>
                  </a:cubicBezTo>
                  <a:cubicBezTo>
                    <a:pt x="840" y="1481"/>
                    <a:pt x="857" y="1475"/>
                    <a:pt x="858" y="1485"/>
                  </a:cubicBezTo>
                  <a:cubicBezTo>
                    <a:pt x="859" y="1495"/>
                    <a:pt x="860" y="1502"/>
                    <a:pt x="860" y="1502"/>
                  </a:cubicBezTo>
                  <a:cubicBezTo>
                    <a:pt x="846" y="1509"/>
                    <a:pt x="846" y="1509"/>
                    <a:pt x="846" y="1509"/>
                  </a:cubicBezTo>
                  <a:cubicBezTo>
                    <a:pt x="846" y="1509"/>
                    <a:pt x="863" y="1512"/>
                    <a:pt x="862" y="1518"/>
                  </a:cubicBezTo>
                  <a:cubicBezTo>
                    <a:pt x="861" y="1524"/>
                    <a:pt x="844" y="1522"/>
                    <a:pt x="845" y="1525"/>
                  </a:cubicBezTo>
                  <a:cubicBezTo>
                    <a:pt x="846" y="1528"/>
                    <a:pt x="858" y="1536"/>
                    <a:pt x="859" y="1542"/>
                  </a:cubicBezTo>
                  <a:cubicBezTo>
                    <a:pt x="860" y="1548"/>
                    <a:pt x="868" y="1561"/>
                    <a:pt x="856" y="1565"/>
                  </a:cubicBezTo>
                  <a:cubicBezTo>
                    <a:pt x="844" y="1569"/>
                    <a:pt x="821" y="1567"/>
                    <a:pt x="821" y="1567"/>
                  </a:cubicBezTo>
                  <a:cubicBezTo>
                    <a:pt x="821" y="1567"/>
                    <a:pt x="813" y="1576"/>
                    <a:pt x="810" y="1580"/>
                  </a:cubicBezTo>
                  <a:cubicBezTo>
                    <a:pt x="807" y="1584"/>
                    <a:pt x="794" y="1584"/>
                    <a:pt x="794" y="1584"/>
                  </a:cubicBezTo>
                  <a:cubicBezTo>
                    <a:pt x="797" y="1609"/>
                    <a:pt x="797" y="1609"/>
                    <a:pt x="797" y="1609"/>
                  </a:cubicBezTo>
                  <a:cubicBezTo>
                    <a:pt x="796" y="1610"/>
                    <a:pt x="795" y="1610"/>
                    <a:pt x="795" y="1610"/>
                  </a:cubicBezTo>
                  <a:cubicBezTo>
                    <a:pt x="796" y="1610"/>
                    <a:pt x="797" y="1609"/>
                    <a:pt x="799" y="1609"/>
                  </a:cubicBezTo>
                  <a:cubicBezTo>
                    <a:pt x="810" y="1603"/>
                    <a:pt x="839" y="1594"/>
                    <a:pt x="840" y="1603"/>
                  </a:cubicBezTo>
                  <a:cubicBezTo>
                    <a:pt x="841" y="1611"/>
                    <a:pt x="819" y="1627"/>
                    <a:pt x="819" y="1627"/>
                  </a:cubicBezTo>
                  <a:cubicBezTo>
                    <a:pt x="786" y="1637"/>
                    <a:pt x="786" y="1637"/>
                    <a:pt x="786" y="1637"/>
                  </a:cubicBezTo>
                  <a:cubicBezTo>
                    <a:pt x="816" y="1660"/>
                    <a:pt x="816" y="1660"/>
                    <a:pt x="816" y="1660"/>
                  </a:cubicBezTo>
                  <a:cubicBezTo>
                    <a:pt x="816" y="1660"/>
                    <a:pt x="792" y="1665"/>
                    <a:pt x="791" y="1675"/>
                  </a:cubicBezTo>
                  <a:cubicBezTo>
                    <a:pt x="790" y="1685"/>
                    <a:pt x="790" y="1696"/>
                    <a:pt x="790" y="1696"/>
                  </a:cubicBezTo>
                  <a:cubicBezTo>
                    <a:pt x="790" y="1696"/>
                    <a:pt x="777" y="1705"/>
                    <a:pt x="772" y="1705"/>
                  </a:cubicBezTo>
                  <a:cubicBezTo>
                    <a:pt x="767" y="1705"/>
                    <a:pt x="752" y="1694"/>
                    <a:pt x="752" y="1694"/>
                  </a:cubicBezTo>
                  <a:cubicBezTo>
                    <a:pt x="748" y="1705"/>
                    <a:pt x="748" y="1705"/>
                    <a:pt x="748" y="1705"/>
                  </a:cubicBezTo>
                  <a:cubicBezTo>
                    <a:pt x="748" y="1705"/>
                    <a:pt x="760" y="1718"/>
                    <a:pt x="763" y="1718"/>
                  </a:cubicBezTo>
                  <a:cubicBezTo>
                    <a:pt x="766" y="1718"/>
                    <a:pt x="775" y="1737"/>
                    <a:pt x="775" y="1737"/>
                  </a:cubicBezTo>
                  <a:cubicBezTo>
                    <a:pt x="800" y="1735"/>
                    <a:pt x="800" y="1735"/>
                    <a:pt x="800" y="1735"/>
                  </a:cubicBezTo>
                  <a:cubicBezTo>
                    <a:pt x="800" y="1735"/>
                    <a:pt x="818" y="1754"/>
                    <a:pt x="824" y="1754"/>
                  </a:cubicBezTo>
                  <a:cubicBezTo>
                    <a:pt x="830" y="1754"/>
                    <a:pt x="842" y="1755"/>
                    <a:pt x="842" y="1755"/>
                  </a:cubicBezTo>
                  <a:cubicBezTo>
                    <a:pt x="842" y="1755"/>
                    <a:pt x="873" y="1792"/>
                    <a:pt x="881" y="1795"/>
                  </a:cubicBezTo>
                  <a:cubicBezTo>
                    <a:pt x="889" y="1798"/>
                    <a:pt x="905" y="1805"/>
                    <a:pt x="905" y="1805"/>
                  </a:cubicBezTo>
                  <a:cubicBezTo>
                    <a:pt x="905" y="1805"/>
                    <a:pt x="904" y="1805"/>
                    <a:pt x="901" y="1804"/>
                  </a:cubicBezTo>
                  <a:cubicBezTo>
                    <a:pt x="914" y="1793"/>
                    <a:pt x="914" y="1793"/>
                    <a:pt x="914" y="1793"/>
                  </a:cubicBezTo>
                  <a:cubicBezTo>
                    <a:pt x="914" y="1793"/>
                    <a:pt x="939" y="1796"/>
                    <a:pt x="955" y="1803"/>
                  </a:cubicBezTo>
                  <a:cubicBezTo>
                    <a:pt x="971" y="1810"/>
                    <a:pt x="983" y="1812"/>
                    <a:pt x="996" y="1811"/>
                  </a:cubicBezTo>
                  <a:cubicBezTo>
                    <a:pt x="1009" y="1810"/>
                    <a:pt x="1029" y="1815"/>
                    <a:pt x="1029" y="1815"/>
                  </a:cubicBezTo>
                  <a:cubicBezTo>
                    <a:pt x="1061" y="1835"/>
                    <a:pt x="1061" y="1835"/>
                    <a:pt x="1061" y="1835"/>
                  </a:cubicBezTo>
                  <a:cubicBezTo>
                    <a:pt x="1061" y="1835"/>
                    <a:pt x="1061" y="1846"/>
                    <a:pt x="1080" y="1846"/>
                  </a:cubicBezTo>
                  <a:cubicBezTo>
                    <a:pt x="1099" y="1846"/>
                    <a:pt x="1091" y="1837"/>
                    <a:pt x="1109" y="1835"/>
                  </a:cubicBezTo>
                  <a:cubicBezTo>
                    <a:pt x="1127" y="1833"/>
                    <a:pt x="1137" y="1848"/>
                    <a:pt x="1137" y="1848"/>
                  </a:cubicBezTo>
                  <a:cubicBezTo>
                    <a:pt x="1157" y="1851"/>
                    <a:pt x="1157" y="1851"/>
                    <a:pt x="1157" y="1851"/>
                  </a:cubicBezTo>
                  <a:cubicBezTo>
                    <a:pt x="1157" y="1851"/>
                    <a:pt x="1152" y="1869"/>
                    <a:pt x="1152" y="1868"/>
                  </a:cubicBezTo>
                  <a:cubicBezTo>
                    <a:pt x="1169" y="1869"/>
                    <a:pt x="1180" y="1879"/>
                    <a:pt x="1187" y="1886"/>
                  </a:cubicBezTo>
                  <a:cubicBezTo>
                    <a:pt x="1187" y="1886"/>
                    <a:pt x="1187" y="1886"/>
                    <a:pt x="1187" y="1886"/>
                  </a:cubicBezTo>
                  <a:cubicBezTo>
                    <a:pt x="1194" y="1885"/>
                    <a:pt x="1205" y="1886"/>
                    <a:pt x="1214" y="1892"/>
                  </a:cubicBezTo>
                  <a:cubicBezTo>
                    <a:pt x="1227" y="1901"/>
                    <a:pt x="1236" y="1923"/>
                    <a:pt x="1252" y="1921"/>
                  </a:cubicBezTo>
                  <a:cubicBezTo>
                    <a:pt x="1268" y="1919"/>
                    <a:pt x="1262" y="1907"/>
                    <a:pt x="1262" y="1907"/>
                  </a:cubicBezTo>
                  <a:cubicBezTo>
                    <a:pt x="1262" y="1907"/>
                    <a:pt x="1278" y="1910"/>
                    <a:pt x="1279" y="1903"/>
                  </a:cubicBezTo>
                  <a:cubicBezTo>
                    <a:pt x="1280" y="1896"/>
                    <a:pt x="1281" y="1885"/>
                    <a:pt x="1281" y="1885"/>
                  </a:cubicBezTo>
                  <a:cubicBezTo>
                    <a:pt x="1274" y="1882"/>
                    <a:pt x="1274" y="1882"/>
                    <a:pt x="1274" y="1882"/>
                  </a:cubicBezTo>
                  <a:cubicBezTo>
                    <a:pt x="1274" y="1882"/>
                    <a:pt x="1269" y="1868"/>
                    <a:pt x="1264" y="1860"/>
                  </a:cubicBezTo>
                  <a:cubicBezTo>
                    <a:pt x="1259" y="1852"/>
                    <a:pt x="1240" y="1848"/>
                    <a:pt x="1240" y="1848"/>
                  </a:cubicBezTo>
                  <a:cubicBezTo>
                    <a:pt x="1240" y="1833"/>
                    <a:pt x="1240" y="1833"/>
                    <a:pt x="1240" y="1833"/>
                  </a:cubicBezTo>
                  <a:cubicBezTo>
                    <a:pt x="1240" y="1833"/>
                    <a:pt x="1232" y="1829"/>
                    <a:pt x="1223" y="1818"/>
                  </a:cubicBezTo>
                  <a:cubicBezTo>
                    <a:pt x="1214" y="1807"/>
                    <a:pt x="1226" y="1793"/>
                    <a:pt x="1221" y="1780"/>
                  </a:cubicBezTo>
                  <a:cubicBezTo>
                    <a:pt x="1216" y="1767"/>
                    <a:pt x="1195" y="1753"/>
                    <a:pt x="1195" y="1753"/>
                  </a:cubicBezTo>
                  <a:cubicBezTo>
                    <a:pt x="1195" y="1753"/>
                    <a:pt x="1186" y="1752"/>
                    <a:pt x="1177" y="1747"/>
                  </a:cubicBezTo>
                  <a:cubicBezTo>
                    <a:pt x="1168" y="1742"/>
                    <a:pt x="1190" y="1721"/>
                    <a:pt x="1190" y="1721"/>
                  </a:cubicBezTo>
                  <a:cubicBezTo>
                    <a:pt x="1190" y="1721"/>
                    <a:pt x="1205" y="1708"/>
                    <a:pt x="1208" y="1701"/>
                  </a:cubicBezTo>
                  <a:cubicBezTo>
                    <a:pt x="1211" y="1694"/>
                    <a:pt x="1197" y="1679"/>
                    <a:pt x="1197" y="1679"/>
                  </a:cubicBezTo>
                  <a:cubicBezTo>
                    <a:pt x="1197" y="1679"/>
                    <a:pt x="1211" y="1685"/>
                    <a:pt x="1214" y="1685"/>
                  </a:cubicBezTo>
                  <a:cubicBezTo>
                    <a:pt x="1217" y="1685"/>
                    <a:pt x="1229" y="1684"/>
                    <a:pt x="1232" y="1678"/>
                  </a:cubicBezTo>
                  <a:cubicBezTo>
                    <a:pt x="1235" y="1672"/>
                    <a:pt x="1238" y="1678"/>
                    <a:pt x="1250" y="1676"/>
                  </a:cubicBezTo>
                  <a:cubicBezTo>
                    <a:pt x="1262" y="1674"/>
                    <a:pt x="1245" y="1661"/>
                    <a:pt x="1245" y="1661"/>
                  </a:cubicBezTo>
                  <a:cubicBezTo>
                    <a:pt x="1245" y="1661"/>
                    <a:pt x="1261" y="1662"/>
                    <a:pt x="1264" y="1662"/>
                  </a:cubicBezTo>
                  <a:cubicBezTo>
                    <a:pt x="1266" y="1662"/>
                    <a:pt x="1265" y="1652"/>
                    <a:pt x="1264" y="1649"/>
                  </a:cubicBezTo>
                  <a:cubicBezTo>
                    <a:pt x="1257" y="1647"/>
                    <a:pt x="1231" y="1638"/>
                    <a:pt x="1231" y="1631"/>
                  </a:cubicBezTo>
                  <a:cubicBezTo>
                    <a:pt x="1231" y="1623"/>
                    <a:pt x="1254" y="1632"/>
                    <a:pt x="1254" y="1624"/>
                  </a:cubicBezTo>
                  <a:cubicBezTo>
                    <a:pt x="1254" y="1616"/>
                    <a:pt x="1215" y="1576"/>
                    <a:pt x="1210" y="1574"/>
                  </a:cubicBezTo>
                  <a:cubicBezTo>
                    <a:pt x="1205" y="1571"/>
                    <a:pt x="1181" y="1580"/>
                    <a:pt x="1169" y="1575"/>
                  </a:cubicBezTo>
                  <a:cubicBezTo>
                    <a:pt x="1157" y="1570"/>
                    <a:pt x="1171" y="1555"/>
                    <a:pt x="1159" y="1550"/>
                  </a:cubicBezTo>
                  <a:cubicBezTo>
                    <a:pt x="1147" y="1544"/>
                    <a:pt x="1137" y="1554"/>
                    <a:pt x="1137" y="1538"/>
                  </a:cubicBezTo>
                  <a:cubicBezTo>
                    <a:pt x="1137" y="1522"/>
                    <a:pt x="1145" y="1510"/>
                    <a:pt x="1145" y="1502"/>
                  </a:cubicBezTo>
                  <a:cubicBezTo>
                    <a:pt x="1145" y="1494"/>
                    <a:pt x="1139" y="1488"/>
                    <a:pt x="1139" y="1488"/>
                  </a:cubicBezTo>
                  <a:cubicBezTo>
                    <a:pt x="1137" y="1464"/>
                    <a:pt x="1137" y="1464"/>
                    <a:pt x="1137" y="1464"/>
                  </a:cubicBezTo>
                  <a:cubicBezTo>
                    <a:pt x="1137" y="1464"/>
                    <a:pt x="1150" y="1467"/>
                    <a:pt x="1150" y="1459"/>
                  </a:cubicBezTo>
                  <a:cubicBezTo>
                    <a:pt x="1150" y="1451"/>
                    <a:pt x="1142" y="1432"/>
                    <a:pt x="1154" y="1431"/>
                  </a:cubicBezTo>
                  <a:cubicBezTo>
                    <a:pt x="1166" y="1430"/>
                    <a:pt x="1194" y="1472"/>
                    <a:pt x="1209" y="1458"/>
                  </a:cubicBezTo>
                  <a:cubicBezTo>
                    <a:pt x="1223" y="1443"/>
                    <a:pt x="1205" y="1428"/>
                    <a:pt x="1205" y="1428"/>
                  </a:cubicBezTo>
                  <a:cubicBezTo>
                    <a:pt x="1223" y="1419"/>
                    <a:pt x="1223" y="1419"/>
                    <a:pt x="1223" y="1419"/>
                  </a:cubicBezTo>
                  <a:cubicBezTo>
                    <a:pt x="1223" y="1404"/>
                    <a:pt x="1223" y="1404"/>
                    <a:pt x="1223" y="1404"/>
                  </a:cubicBezTo>
                  <a:cubicBezTo>
                    <a:pt x="1223" y="1404"/>
                    <a:pt x="1251" y="1399"/>
                    <a:pt x="1259" y="1388"/>
                  </a:cubicBezTo>
                  <a:cubicBezTo>
                    <a:pt x="1267" y="1378"/>
                    <a:pt x="1245" y="1370"/>
                    <a:pt x="1267" y="1368"/>
                  </a:cubicBezTo>
                  <a:cubicBezTo>
                    <a:pt x="1290" y="1367"/>
                    <a:pt x="1282" y="1380"/>
                    <a:pt x="1298" y="1380"/>
                  </a:cubicBezTo>
                  <a:cubicBezTo>
                    <a:pt x="1314" y="1380"/>
                    <a:pt x="1327" y="1367"/>
                    <a:pt x="1334" y="1367"/>
                  </a:cubicBezTo>
                  <a:cubicBezTo>
                    <a:pt x="1341" y="1367"/>
                    <a:pt x="1342" y="1380"/>
                    <a:pt x="1351" y="1382"/>
                  </a:cubicBezTo>
                  <a:cubicBezTo>
                    <a:pt x="1361" y="1383"/>
                    <a:pt x="1385" y="1378"/>
                    <a:pt x="1389" y="1382"/>
                  </a:cubicBezTo>
                  <a:cubicBezTo>
                    <a:pt x="1393" y="1386"/>
                    <a:pt x="1395" y="1398"/>
                    <a:pt x="1395" y="1398"/>
                  </a:cubicBezTo>
                  <a:cubicBezTo>
                    <a:pt x="1419" y="1396"/>
                    <a:pt x="1419" y="1396"/>
                    <a:pt x="1419" y="1396"/>
                  </a:cubicBezTo>
                  <a:cubicBezTo>
                    <a:pt x="1426" y="1416"/>
                    <a:pt x="1426" y="1416"/>
                    <a:pt x="1426" y="1416"/>
                  </a:cubicBezTo>
                  <a:cubicBezTo>
                    <a:pt x="1426" y="1416"/>
                    <a:pt x="1434" y="1436"/>
                    <a:pt x="1442" y="1430"/>
                  </a:cubicBezTo>
                  <a:cubicBezTo>
                    <a:pt x="1450" y="1423"/>
                    <a:pt x="1427" y="1406"/>
                    <a:pt x="1438" y="1403"/>
                  </a:cubicBezTo>
                  <a:cubicBezTo>
                    <a:pt x="1449" y="1400"/>
                    <a:pt x="1490" y="1431"/>
                    <a:pt x="1493" y="1427"/>
                  </a:cubicBezTo>
                  <a:cubicBezTo>
                    <a:pt x="1495" y="1423"/>
                    <a:pt x="1513" y="1403"/>
                    <a:pt x="1522" y="1402"/>
                  </a:cubicBezTo>
                  <a:cubicBezTo>
                    <a:pt x="1531" y="1400"/>
                    <a:pt x="1542" y="1416"/>
                    <a:pt x="1558" y="1412"/>
                  </a:cubicBezTo>
                  <a:cubicBezTo>
                    <a:pt x="1574" y="1408"/>
                    <a:pt x="1585" y="1399"/>
                    <a:pt x="1593" y="1400"/>
                  </a:cubicBezTo>
                  <a:cubicBezTo>
                    <a:pt x="1601" y="1402"/>
                    <a:pt x="1613" y="1423"/>
                    <a:pt x="1623" y="1424"/>
                  </a:cubicBezTo>
                  <a:cubicBezTo>
                    <a:pt x="1634" y="1426"/>
                    <a:pt x="1657" y="1430"/>
                    <a:pt x="1657" y="1430"/>
                  </a:cubicBezTo>
                  <a:cubicBezTo>
                    <a:pt x="1663" y="1414"/>
                    <a:pt x="1663" y="1414"/>
                    <a:pt x="1663" y="1414"/>
                  </a:cubicBezTo>
                  <a:cubicBezTo>
                    <a:pt x="1663" y="1414"/>
                    <a:pt x="1723" y="1444"/>
                    <a:pt x="1719" y="1406"/>
                  </a:cubicBezTo>
                  <a:cubicBezTo>
                    <a:pt x="1715" y="1367"/>
                    <a:pt x="1665" y="1370"/>
                    <a:pt x="1665" y="1370"/>
                  </a:cubicBezTo>
                  <a:cubicBezTo>
                    <a:pt x="1642" y="1350"/>
                    <a:pt x="1642" y="1350"/>
                    <a:pt x="1642" y="1350"/>
                  </a:cubicBezTo>
                  <a:cubicBezTo>
                    <a:pt x="1642" y="1350"/>
                    <a:pt x="1675" y="1344"/>
                    <a:pt x="1677" y="1338"/>
                  </a:cubicBezTo>
                  <a:cubicBezTo>
                    <a:pt x="1678" y="1331"/>
                    <a:pt x="1665" y="1314"/>
                    <a:pt x="1665" y="1314"/>
                  </a:cubicBezTo>
                  <a:cubicBezTo>
                    <a:pt x="1671" y="1303"/>
                    <a:pt x="1671" y="1303"/>
                    <a:pt x="1671" y="1303"/>
                  </a:cubicBezTo>
                  <a:cubicBezTo>
                    <a:pt x="1671" y="1303"/>
                    <a:pt x="1709" y="1310"/>
                    <a:pt x="1709" y="1303"/>
                  </a:cubicBezTo>
                  <a:cubicBezTo>
                    <a:pt x="1709" y="1296"/>
                    <a:pt x="1666" y="1288"/>
                    <a:pt x="1666" y="1288"/>
                  </a:cubicBezTo>
                  <a:cubicBezTo>
                    <a:pt x="1677" y="1276"/>
                    <a:pt x="1677" y="1276"/>
                    <a:pt x="1677" y="1276"/>
                  </a:cubicBezTo>
                  <a:cubicBezTo>
                    <a:pt x="1658" y="1275"/>
                    <a:pt x="1658" y="1275"/>
                    <a:pt x="1658" y="1275"/>
                  </a:cubicBezTo>
                  <a:cubicBezTo>
                    <a:pt x="1658" y="1275"/>
                    <a:pt x="1642" y="1256"/>
                    <a:pt x="1687" y="1250"/>
                  </a:cubicBezTo>
                  <a:cubicBezTo>
                    <a:pt x="1733" y="1243"/>
                    <a:pt x="1765" y="1244"/>
                    <a:pt x="1765" y="1244"/>
                  </a:cubicBezTo>
                  <a:cubicBezTo>
                    <a:pt x="1769" y="1232"/>
                    <a:pt x="1769" y="1232"/>
                    <a:pt x="1769" y="1232"/>
                  </a:cubicBezTo>
                  <a:cubicBezTo>
                    <a:pt x="1811" y="1232"/>
                    <a:pt x="1811" y="1232"/>
                    <a:pt x="1811" y="1232"/>
                  </a:cubicBezTo>
                  <a:cubicBezTo>
                    <a:pt x="1811" y="1232"/>
                    <a:pt x="1811" y="1216"/>
                    <a:pt x="1819" y="1216"/>
                  </a:cubicBezTo>
                  <a:cubicBezTo>
                    <a:pt x="1827" y="1216"/>
                    <a:pt x="1855" y="1220"/>
                    <a:pt x="1877" y="1215"/>
                  </a:cubicBezTo>
                  <a:cubicBezTo>
                    <a:pt x="1898" y="1210"/>
                    <a:pt x="1918" y="1203"/>
                    <a:pt x="1918" y="1203"/>
                  </a:cubicBezTo>
                  <a:cubicBezTo>
                    <a:pt x="1918" y="1203"/>
                    <a:pt x="1915" y="1183"/>
                    <a:pt x="1949" y="1182"/>
                  </a:cubicBezTo>
                  <a:cubicBezTo>
                    <a:pt x="1982" y="1180"/>
                    <a:pt x="1995" y="1191"/>
                    <a:pt x="2001" y="1191"/>
                  </a:cubicBezTo>
                  <a:cubicBezTo>
                    <a:pt x="2006" y="1191"/>
                    <a:pt x="2013" y="1182"/>
                    <a:pt x="2021" y="1187"/>
                  </a:cubicBezTo>
                  <a:cubicBezTo>
                    <a:pt x="2029" y="1192"/>
                    <a:pt x="2034" y="1210"/>
                    <a:pt x="2034" y="1210"/>
                  </a:cubicBezTo>
                  <a:cubicBezTo>
                    <a:pt x="2034" y="1210"/>
                    <a:pt x="2046" y="1210"/>
                    <a:pt x="2046" y="1216"/>
                  </a:cubicBezTo>
                  <a:cubicBezTo>
                    <a:pt x="2046" y="1223"/>
                    <a:pt x="2045" y="1244"/>
                    <a:pt x="2050" y="1244"/>
                  </a:cubicBezTo>
                  <a:cubicBezTo>
                    <a:pt x="2055" y="1244"/>
                    <a:pt x="2083" y="1240"/>
                    <a:pt x="2083" y="1240"/>
                  </a:cubicBezTo>
                  <a:cubicBezTo>
                    <a:pt x="2090" y="1230"/>
                    <a:pt x="2090" y="1230"/>
                    <a:pt x="2090" y="1230"/>
                  </a:cubicBezTo>
                  <a:cubicBezTo>
                    <a:pt x="2109" y="1251"/>
                    <a:pt x="2109" y="1251"/>
                    <a:pt x="2109" y="1251"/>
                  </a:cubicBezTo>
                  <a:cubicBezTo>
                    <a:pt x="2122" y="1243"/>
                    <a:pt x="2122" y="1243"/>
                    <a:pt x="2122" y="1243"/>
                  </a:cubicBezTo>
                  <a:cubicBezTo>
                    <a:pt x="2139" y="1254"/>
                    <a:pt x="2139" y="1254"/>
                    <a:pt x="2139" y="1254"/>
                  </a:cubicBezTo>
                  <a:cubicBezTo>
                    <a:pt x="2139" y="1254"/>
                    <a:pt x="2145" y="1242"/>
                    <a:pt x="2154" y="1251"/>
                  </a:cubicBezTo>
                  <a:cubicBezTo>
                    <a:pt x="2163" y="1260"/>
                    <a:pt x="2142" y="1276"/>
                    <a:pt x="2153" y="1278"/>
                  </a:cubicBezTo>
                  <a:cubicBezTo>
                    <a:pt x="2163" y="1279"/>
                    <a:pt x="2165" y="1266"/>
                    <a:pt x="2171" y="1268"/>
                  </a:cubicBezTo>
                  <a:cubicBezTo>
                    <a:pt x="2178" y="1271"/>
                    <a:pt x="2193" y="1287"/>
                    <a:pt x="2201" y="1280"/>
                  </a:cubicBezTo>
                  <a:cubicBezTo>
                    <a:pt x="2209" y="1274"/>
                    <a:pt x="2201" y="1266"/>
                    <a:pt x="2207" y="1262"/>
                  </a:cubicBezTo>
                  <a:cubicBezTo>
                    <a:pt x="2214" y="1258"/>
                    <a:pt x="2222" y="1256"/>
                    <a:pt x="2222" y="1256"/>
                  </a:cubicBezTo>
                  <a:cubicBezTo>
                    <a:pt x="2231" y="1246"/>
                    <a:pt x="2231" y="1246"/>
                    <a:pt x="2231" y="1246"/>
                  </a:cubicBezTo>
                  <a:cubicBezTo>
                    <a:pt x="2255" y="1238"/>
                    <a:pt x="2255" y="1238"/>
                    <a:pt x="2255" y="1238"/>
                  </a:cubicBezTo>
                  <a:cubicBezTo>
                    <a:pt x="2255" y="1238"/>
                    <a:pt x="2267" y="1216"/>
                    <a:pt x="2275" y="1227"/>
                  </a:cubicBezTo>
                  <a:cubicBezTo>
                    <a:pt x="2283" y="1238"/>
                    <a:pt x="2263" y="1250"/>
                    <a:pt x="2263" y="1250"/>
                  </a:cubicBezTo>
                  <a:cubicBezTo>
                    <a:pt x="2263" y="1250"/>
                    <a:pt x="2331" y="1282"/>
                    <a:pt x="2337" y="1284"/>
                  </a:cubicBezTo>
                  <a:cubicBezTo>
                    <a:pt x="2342" y="1287"/>
                    <a:pt x="2414" y="1354"/>
                    <a:pt x="2429" y="1367"/>
                  </a:cubicBezTo>
                  <a:cubicBezTo>
                    <a:pt x="2443" y="1380"/>
                    <a:pt x="2467" y="1419"/>
                    <a:pt x="2485" y="1416"/>
                  </a:cubicBezTo>
                  <a:cubicBezTo>
                    <a:pt x="2502" y="1414"/>
                    <a:pt x="2498" y="1384"/>
                    <a:pt x="2509" y="1387"/>
                  </a:cubicBezTo>
                  <a:cubicBezTo>
                    <a:pt x="2519" y="1390"/>
                    <a:pt x="2515" y="1406"/>
                    <a:pt x="2519" y="1407"/>
                  </a:cubicBezTo>
                  <a:cubicBezTo>
                    <a:pt x="2523" y="1408"/>
                    <a:pt x="2541" y="1410"/>
                    <a:pt x="2541" y="1410"/>
                  </a:cubicBezTo>
                  <a:cubicBezTo>
                    <a:pt x="2541" y="1410"/>
                    <a:pt x="2555" y="1426"/>
                    <a:pt x="2567" y="1424"/>
                  </a:cubicBezTo>
                  <a:cubicBezTo>
                    <a:pt x="2579" y="1423"/>
                    <a:pt x="2595" y="1402"/>
                    <a:pt x="2618" y="1406"/>
                  </a:cubicBezTo>
                  <a:cubicBezTo>
                    <a:pt x="2641" y="1410"/>
                    <a:pt x="2662" y="1439"/>
                    <a:pt x="2662" y="1439"/>
                  </a:cubicBezTo>
                  <a:cubicBezTo>
                    <a:pt x="2662" y="1439"/>
                    <a:pt x="2697" y="1444"/>
                    <a:pt x="2698" y="1448"/>
                  </a:cubicBezTo>
                  <a:cubicBezTo>
                    <a:pt x="2699" y="1452"/>
                    <a:pt x="2715" y="1480"/>
                    <a:pt x="2715" y="1480"/>
                  </a:cubicBezTo>
                  <a:cubicBezTo>
                    <a:pt x="2762" y="1484"/>
                    <a:pt x="2762" y="1484"/>
                    <a:pt x="2762" y="1484"/>
                  </a:cubicBezTo>
                  <a:cubicBezTo>
                    <a:pt x="2773" y="1462"/>
                    <a:pt x="2773" y="1462"/>
                    <a:pt x="2773" y="1462"/>
                  </a:cubicBezTo>
                  <a:cubicBezTo>
                    <a:pt x="2786" y="1478"/>
                    <a:pt x="2786" y="1478"/>
                    <a:pt x="2786" y="1478"/>
                  </a:cubicBezTo>
                  <a:cubicBezTo>
                    <a:pt x="2810" y="1504"/>
                    <a:pt x="2810" y="1504"/>
                    <a:pt x="2810" y="1504"/>
                  </a:cubicBezTo>
                  <a:cubicBezTo>
                    <a:pt x="2815" y="1505"/>
                    <a:pt x="2819" y="1506"/>
                    <a:pt x="2819" y="1506"/>
                  </a:cubicBezTo>
                  <a:cubicBezTo>
                    <a:pt x="2819" y="1506"/>
                    <a:pt x="2832" y="1499"/>
                    <a:pt x="2840" y="1503"/>
                  </a:cubicBezTo>
                  <a:cubicBezTo>
                    <a:pt x="2847" y="1496"/>
                    <a:pt x="2847" y="1496"/>
                    <a:pt x="2847" y="1496"/>
                  </a:cubicBezTo>
                  <a:cubicBezTo>
                    <a:pt x="2846" y="1484"/>
                    <a:pt x="2846" y="1484"/>
                    <a:pt x="2846" y="1484"/>
                  </a:cubicBezTo>
                  <a:cubicBezTo>
                    <a:pt x="2887" y="1484"/>
                    <a:pt x="2887" y="1484"/>
                    <a:pt x="2887" y="1484"/>
                  </a:cubicBezTo>
                  <a:cubicBezTo>
                    <a:pt x="2885" y="1475"/>
                    <a:pt x="2885" y="1475"/>
                    <a:pt x="2885" y="1475"/>
                  </a:cubicBezTo>
                  <a:cubicBezTo>
                    <a:pt x="2901" y="1475"/>
                    <a:pt x="2901" y="1475"/>
                    <a:pt x="2901" y="1475"/>
                  </a:cubicBezTo>
                  <a:cubicBezTo>
                    <a:pt x="2901" y="1475"/>
                    <a:pt x="2892" y="1473"/>
                    <a:pt x="2901" y="1463"/>
                  </a:cubicBezTo>
                  <a:cubicBezTo>
                    <a:pt x="2910" y="1453"/>
                    <a:pt x="2921" y="1445"/>
                    <a:pt x="2921" y="1445"/>
                  </a:cubicBezTo>
                  <a:cubicBezTo>
                    <a:pt x="2930" y="1446"/>
                    <a:pt x="2930" y="1446"/>
                    <a:pt x="2930" y="1446"/>
                  </a:cubicBezTo>
                  <a:cubicBezTo>
                    <a:pt x="2941" y="1433"/>
                    <a:pt x="2941" y="1433"/>
                    <a:pt x="2941" y="1433"/>
                  </a:cubicBezTo>
                  <a:cubicBezTo>
                    <a:pt x="2957" y="1433"/>
                    <a:pt x="2957" y="1433"/>
                    <a:pt x="2957" y="1433"/>
                  </a:cubicBezTo>
                  <a:cubicBezTo>
                    <a:pt x="2957" y="1433"/>
                    <a:pt x="2958" y="1416"/>
                    <a:pt x="2965" y="1416"/>
                  </a:cubicBezTo>
                  <a:cubicBezTo>
                    <a:pt x="2972" y="1416"/>
                    <a:pt x="2981" y="1422"/>
                    <a:pt x="2981" y="1422"/>
                  </a:cubicBezTo>
                  <a:cubicBezTo>
                    <a:pt x="2993" y="1415"/>
                    <a:pt x="2993" y="1415"/>
                    <a:pt x="2993" y="1415"/>
                  </a:cubicBezTo>
                  <a:cubicBezTo>
                    <a:pt x="2993" y="1415"/>
                    <a:pt x="2993" y="1420"/>
                    <a:pt x="2996" y="1420"/>
                  </a:cubicBezTo>
                  <a:cubicBezTo>
                    <a:pt x="2999" y="1420"/>
                    <a:pt x="3015" y="1420"/>
                    <a:pt x="3015" y="1420"/>
                  </a:cubicBezTo>
                  <a:cubicBezTo>
                    <a:pt x="3020" y="1431"/>
                    <a:pt x="3020" y="1431"/>
                    <a:pt x="3020" y="1431"/>
                  </a:cubicBezTo>
                  <a:cubicBezTo>
                    <a:pt x="3020" y="1431"/>
                    <a:pt x="3064" y="1427"/>
                    <a:pt x="3071" y="1427"/>
                  </a:cubicBezTo>
                  <a:cubicBezTo>
                    <a:pt x="3078" y="1427"/>
                    <a:pt x="3076" y="1440"/>
                    <a:pt x="3085" y="1447"/>
                  </a:cubicBezTo>
                  <a:cubicBezTo>
                    <a:pt x="3094" y="1454"/>
                    <a:pt x="3116" y="1452"/>
                    <a:pt x="3116" y="1452"/>
                  </a:cubicBezTo>
                  <a:cubicBezTo>
                    <a:pt x="3118" y="1461"/>
                    <a:pt x="3118" y="1461"/>
                    <a:pt x="3118" y="1461"/>
                  </a:cubicBezTo>
                  <a:cubicBezTo>
                    <a:pt x="3137" y="1458"/>
                    <a:pt x="3137" y="1458"/>
                    <a:pt x="3137" y="1458"/>
                  </a:cubicBezTo>
                  <a:cubicBezTo>
                    <a:pt x="3139" y="1463"/>
                    <a:pt x="3139" y="1463"/>
                    <a:pt x="3139" y="1463"/>
                  </a:cubicBezTo>
                  <a:cubicBezTo>
                    <a:pt x="3139" y="1463"/>
                    <a:pt x="3141" y="1457"/>
                    <a:pt x="3152" y="1456"/>
                  </a:cubicBezTo>
                  <a:cubicBezTo>
                    <a:pt x="3163" y="1455"/>
                    <a:pt x="3172" y="1456"/>
                    <a:pt x="3172" y="1456"/>
                  </a:cubicBezTo>
                  <a:cubicBezTo>
                    <a:pt x="3173" y="1464"/>
                    <a:pt x="3173" y="1464"/>
                    <a:pt x="3173" y="1464"/>
                  </a:cubicBezTo>
                  <a:cubicBezTo>
                    <a:pt x="3203" y="1462"/>
                    <a:pt x="3203" y="1462"/>
                    <a:pt x="3203" y="1462"/>
                  </a:cubicBezTo>
                  <a:cubicBezTo>
                    <a:pt x="3203" y="1462"/>
                    <a:pt x="3197" y="1478"/>
                    <a:pt x="3214" y="1470"/>
                  </a:cubicBezTo>
                  <a:cubicBezTo>
                    <a:pt x="3231" y="1462"/>
                    <a:pt x="3229" y="1455"/>
                    <a:pt x="3229" y="1455"/>
                  </a:cubicBezTo>
                  <a:cubicBezTo>
                    <a:pt x="3229" y="1455"/>
                    <a:pt x="3241" y="1465"/>
                    <a:pt x="3241" y="1447"/>
                  </a:cubicBezTo>
                  <a:cubicBezTo>
                    <a:pt x="3241" y="1429"/>
                    <a:pt x="3226" y="1429"/>
                    <a:pt x="3226" y="1429"/>
                  </a:cubicBezTo>
                  <a:cubicBezTo>
                    <a:pt x="3210" y="1405"/>
                    <a:pt x="3210" y="1405"/>
                    <a:pt x="3210" y="1405"/>
                  </a:cubicBezTo>
                  <a:cubicBezTo>
                    <a:pt x="3206" y="1391"/>
                    <a:pt x="3206" y="1391"/>
                    <a:pt x="3206" y="1391"/>
                  </a:cubicBezTo>
                  <a:cubicBezTo>
                    <a:pt x="3206" y="1391"/>
                    <a:pt x="3200" y="1388"/>
                    <a:pt x="3200" y="1382"/>
                  </a:cubicBezTo>
                  <a:cubicBezTo>
                    <a:pt x="3200" y="1376"/>
                    <a:pt x="3211" y="1378"/>
                    <a:pt x="3211" y="1378"/>
                  </a:cubicBezTo>
                  <a:cubicBezTo>
                    <a:pt x="3209" y="1367"/>
                    <a:pt x="3209" y="1367"/>
                    <a:pt x="3209" y="1367"/>
                  </a:cubicBezTo>
                  <a:cubicBezTo>
                    <a:pt x="3209" y="1367"/>
                    <a:pt x="3213" y="1369"/>
                    <a:pt x="3218" y="1363"/>
                  </a:cubicBezTo>
                  <a:cubicBezTo>
                    <a:pt x="3223" y="1357"/>
                    <a:pt x="3222" y="1345"/>
                    <a:pt x="3222" y="1345"/>
                  </a:cubicBezTo>
                  <a:cubicBezTo>
                    <a:pt x="3231" y="1347"/>
                    <a:pt x="3231" y="1347"/>
                    <a:pt x="3231" y="1347"/>
                  </a:cubicBezTo>
                  <a:cubicBezTo>
                    <a:pt x="3231" y="1347"/>
                    <a:pt x="3254" y="1364"/>
                    <a:pt x="3272" y="1366"/>
                  </a:cubicBezTo>
                  <a:cubicBezTo>
                    <a:pt x="3290" y="1368"/>
                    <a:pt x="3310" y="1367"/>
                    <a:pt x="3310" y="1367"/>
                  </a:cubicBezTo>
                  <a:cubicBezTo>
                    <a:pt x="3310" y="1367"/>
                    <a:pt x="3329" y="1381"/>
                    <a:pt x="3339" y="1383"/>
                  </a:cubicBezTo>
                  <a:cubicBezTo>
                    <a:pt x="3349" y="1385"/>
                    <a:pt x="3361" y="1372"/>
                    <a:pt x="3370" y="1383"/>
                  </a:cubicBezTo>
                  <a:cubicBezTo>
                    <a:pt x="3379" y="1394"/>
                    <a:pt x="3401" y="1428"/>
                    <a:pt x="3401" y="1428"/>
                  </a:cubicBezTo>
                  <a:cubicBezTo>
                    <a:pt x="3416" y="1425"/>
                    <a:pt x="3416" y="1425"/>
                    <a:pt x="3416" y="1425"/>
                  </a:cubicBezTo>
                  <a:cubicBezTo>
                    <a:pt x="3416" y="1425"/>
                    <a:pt x="3418" y="1441"/>
                    <a:pt x="3428" y="1441"/>
                  </a:cubicBezTo>
                  <a:cubicBezTo>
                    <a:pt x="3438" y="1441"/>
                    <a:pt x="3445" y="1440"/>
                    <a:pt x="3445" y="1440"/>
                  </a:cubicBezTo>
                  <a:cubicBezTo>
                    <a:pt x="3445" y="1440"/>
                    <a:pt x="3462" y="1450"/>
                    <a:pt x="3475" y="1449"/>
                  </a:cubicBezTo>
                  <a:cubicBezTo>
                    <a:pt x="3488" y="1448"/>
                    <a:pt x="3506" y="1430"/>
                    <a:pt x="3535" y="1432"/>
                  </a:cubicBezTo>
                  <a:cubicBezTo>
                    <a:pt x="3564" y="1434"/>
                    <a:pt x="3566" y="1442"/>
                    <a:pt x="3566" y="1442"/>
                  </a:cubicBezTo>
                  <a:cubicBezTo>
                    <a:pt x="3593" y="1439"/>
                    <a:pt x="3593" y="1439"/>
                    <a:pt x="3593" y="1439"/>
                  </a:cubicBezTo>
                  <a:cubicBezTo>
                    <a:pt x="3593" y="1439"/>
                    <a:pt x="3604" y="1458"/>
                    <a:pt x="3616" y="1458"/>
                  </a:cubicBezTo>
                  <a:cubicBezTo>
                    <a:pt x="3628" y="1458"/>
                    <a:pt x="3647" y="1458"/>
                    <a:pt x="3650" y="1459"/>
                  </a:cubicBezTo>
                  <a:cubicBezTo>
                    <a:pt x="3653" y="1460"/>
                    <a:pt x="3661" y="1479"/>
                    <a:pt x="3664" y="1478"/>
                  </a:cubicBezTo>
                  <a:cubicBezTo>
                    <a:pt x="3667" y="1477"/>
                    <a:pt x="3678" y="1480"/>
                    <a:pt x="3678" y="1480"/>
                  </a:cubicBezTo>
                  <a:cubicBezTo>
                    <a:pt x="3678" y="1480"/>
                    <a:pt x="3673" y="1491"/>
                    <a:pt x="3693" y="1493"/>
                  </a:cubicBezTo>
                  <a:cubicBezTo>
                    <a:pt x="3713" y="1495"/>
                    <a:pt x="3723" y="1492"/>
                    <a:pt x="3723" y="1492"/>
                  </a:cubicBezTo>
                  <a:cubicBezTo>
                    <a:pt x="3723" y="1492"/>
                    <a:pt x="3730" y="1495"/>
                    <a:pt x="3733" y="1498"/>
                  </a:cubicBezTo>
                  <a:cubicBezTo>
                    <a:pt x="3736" y="1501"/>
                    <a:pt x="3760" y="1501"/>
                    <a:pt x="3760" y="1501"/>
                  </a:cubicBezTo>
                  <a:cubicBezTo>
                    <a:pt x="3760" y="1501"/>
                    <a:pt x="3772" y="1494"/>
                    <a:pt x="3776" y="1496"/>
                  </a:cubicBezTo>
                  <a:cubicBezTo>
                    <a:pt x="3780" y="1498"/>
                    <a:pt x="3788" y="1507"/>
                    <a:pt x="3793" y="1501"/>
                  </a:cubicBezTo>
                  <a:cubicBezTo>
                    <a:pt x="3798" y="1495"/>
                    <a:pt x="3796" y="1490"/>
                    <a:pt x="3805" y="1488"/>
                  </a:cubicBezTo>
                  <a:cubicBezTo>
                    <a:pt x="3814" y="1486"/>
                    <a:pt x="3831" y="1487"/>
                    <a:pt x="3831" y="1487"/>
                  </a:cubicBezTo>
                  <a:cubicBezTo>
                    <a:pt x="3841" y="1482"/>
                    <a:pt x="3841" y="1482"/>
                    <a:pt x="3841" y="1482"/>
                  </a:cubicBezTo>
                  <a:cubicBezTo>
                    <a:pt x="3841" y="1482"/>
                    <a:pt x="3853" y="1485"/>
                    <a:pt x="3863" y="1481"/>
                  </a:cubicBezTo>
                  <a:cubicBezTo>
                    <a:pt x="3873" y="1477"/>
                    <a:pt x="3870" y="1466"/>
                    <a:pt x="3870" y="1466"/>
                  </a:cubicBezTo>
                  <a:cubicBezTo>
                    <a:pt x="3893" y="1443"/>
                    <a:pt x="3893" y="1443"/>
                    <a:pt x="3893" y="1443"/>
                  </a:cubicBezTo>
                  <a:cubicBezTo>
                    <a:pt x="3893" y="1443"/>
                    <a:pt x="3920" y="1447"/>
                    <a:pt x="3929" y="1447"/>
                  </a:cubicBezTo>
                  <a:cubicBezTo>
                    <a:pt x="3938" y="1447"/>
                    <a:pt x="3948" y="1463"/>
                    <a:pt x="3962" y="1463"/>
                  </a:cubicBezTo>
                  <a:cubicBezTo>
                    <a:pt x="3976" y="1463"/>
                    <a:pt x="3982" y="1456"/>
                    <a:pt x="3982" y="1456"/>
                  </a:cubicBezTo>
                  <a:cubicBezTo>
                    <a:pt x="4000" y="1459"/>
                    <a:pt x="4000" y="1459"/>
                    <a:pt x="4000" y="1459"/>
                  </a:cubicBezTo>
                  <a:cubicBezTo>
                    <a:pt x="4011" y="1462"/>
                    <a:pt x="4011" y="1462"/>
                    <a:pt x="4011" y="1462"/>
                  </a:cubicBezTo>
                  <a:cubicBezTo>
                    <a:pt x="4034" y="1476"/>
                    <a:pt x="4034" y="1476"/>
                    <a:pt x="4034" y="1476"/>
                  </a:cubicBezTo>
                  <a:cubicBezTo>
                    <a:pt x="4058" y="1477"/>
                    <a:pt x="4058" y="1477"/>
                    <a:pt x="4058" y="1477"/>
                  </a:cubicBezTo>
                  <a:cubicBezTo>
                    <a:pt x="4058" y="1477"/>
                    <a:pt x="4061" y="1482"/>
                    <a:pt x="4071" y="1482"/>
                  </a:cubicBezTo>
                  <a:cubicBezTo>
                    <a:pt x="4081" y="1482"/>
                    <a:pt x="4085" y="1460"/>
                    <a:pt x="4085" y="1460"/>
                  </a:cubicBezTo>
                  <a:cubicBezTo>
                    <a:pt x="4085" y="1460"/>
                    <a:pt x="4096" y="1465"/>
                    <a:pt x="4109" y="1457"/>
                  </a:cubicBezTo>
                  <a:cubicBezTo>
                    <a:pt x="4122" y="1449"/>
                    <a:pt x="4098" y="1439"/>
                    <a:pt x="4098" y="1439"/>
                  </a:cubicBezTo>
                  <a:cubicBezTo>
                    <a:pt x="4097" y="1414"/>
                    <a:pt x="4097" y="1414"/>
                    <a:pt x="4097" y="1414"/>
                  </a:cubicBezTo>
                  <a:cubicBezTo>
                    <a:pt x="4097" y="1395"/>
                    <a:pt x="4097" y="1395"/>
                    <a:pt x="4097" y="1395"/>
                  </a:cubicBezTo>
                  <a:cubicBezTo>
                    <a:pt x="4097" y="1395"/>
                    <a:pt x="4092" y="1377"/>
                    <a:pt x="4094" y="1368"/>
                  </a:cubicBezTo>
                  <a:cubicBezTo>
                    <a:pt x="4096" y="1359"/>
                    <a:pt x="4108" y="1354"/>
                    <a:pt x="4109" y="1348"/>
                  </a:cubicBezTo>
                  <a:cubicBezTo>
                    <a:pt x="4110" y="1342"/>
                    <a:pt x="4083" y="1327"/>
                    <a:pt x="4083" y="1327"/>
                  </a:cubicBezTo>
                  <a:cubicBezTo>
                    <a:pt x="4083" y="1327"/>
                    <a:pt x="4071" y="1325"/>
                    <a:pt x="4056" y="1322"/>
                  </a:cubicBezTo>
                  <a:cubicBezTo>
                    <a:pt x="4041" y="1319"/>
                    <a:pt x="4063" y="1304"/>
                    <a:pt x="4063" y="1304"/>
                  </a:cubicBezTo>
                  <a:cubicBezTo>
                    <a:pt x="4083" y="1284"/>
                    <a:pt x="4083" y="1284"/>
                    <a:pt x="4083" y="1284"/>
                  </a:cubicBezTo>
                  <a:cubicBezTo>
                    <a:pt x="4107" y="1281"/>
                    <a:pt x="4107" y="1281"/>
                    <a:pt x="4107" y="1281"/>
                  </a:cubicBezTo>
                  <a:cubicBezTo>
                    <a:pt x="4111" y="1273"/>
                    <a:pt x="4111" y="1273"/>
                    <a:pt x="4111" y="1273"/>
                  </a:cubicBezTo>
                  <a:cubicBezTo>
                    <a:pt x="4139" y="1275"/>
                    <a:pt x="4139" y="1275"/>
                    <a:pt x="4139" y="1275"/>
                  </a:cubicBezTo>
                  <a:cubicBezTo>
                    <a:pt x="4174" y="1268"/>
                    <a:pt x="4174" y="1268"/>
                    <a:pt x="4174" y="1268"/>
                  </a:cubicBezTo>
                  <a:cubicBezTo>
                    <a:pt x="4199" y="1281"/>
                    <a:pt x="4199" y="1281"/>
                    <a:pt x="4199" y="1281"/>
                  </a:cubicBezTo>
                  <a:cubicBezTo>
                    <a:pt x="4225" y="1298"/>
                    <a:pt x="4225" y="1298"/>
                    <a:pt x="4225" y="1298"/>
                  </a:cubicBezTo>
                  <a:cubicBezTo>
                    <a:pt x="4240" y="1295"/>
                    <a:pt x="4240" y="1295"/>
                    <a:pt x="4240" y="1295"/>
                  </a:cubicBezTo>
                  <a:cubicBezTo>
                    <a:pt x="4240" y="1295"/>
                    <a:pt x="4259" y="1296"/>
                    <a:pt x="4266" y="1297"/>
                  </a:cubicBezTo>
                  <a:cubicBezTo>
                    <a:pt x="4273" y="1298"/>
                    <a:pt x="4294" y="1312"/>
                    <a:pt x="4294" y="1312"/>
                  </a:cubicBezTo>
                  <a:cubicBezTo>
                    <a:pt x="4296" y="1321"/>
                    <a:pt x="4296" y="1321"/>
                    <a:pt x="4296" y="1321"/>
                  </a:cubicBezTo>
                  <a:cubicBezTo>
                    <a:pt x="4296" y="1321"/>
                    <a:pt x="4314" y="1331"/>
                    <a:pt x="4319" y="1335"/>
                  </a:cubicBezTo>
                  <a:cubicBezTo>
                    <a:pt x="4324" y="1339"/>
                    <a:pt x="4339" y="1344"/>
                    <a:pt x="4339" y="1344"/>
                  </a:cubicBezTo>
                  <a:cubicBezTo>
                    <a:pt x="4342" y="1363"/>
                    <a:pt x="4342" y="1363"/>
                    <a:pt x="4342" y="1363"/>
                  </a:cubicBezTo>
                  <a:cubicBezTo>
                    <a:pt x="4374" y="1380"/>
                    <a:pt x="4374" y="1380"/>
                    <a:pt x="4374" y="1380"/>
                  </a:cubicBezTo>
                  <a:cubicBezTo>
                    <a:pt x="4385" y="1402"/>
                    <a:pt x="4385" y="1402"/>
                    <a:pt x="4385" y="1402"/>
                  </a:cubicBezTo>
                  <a:cubicBezTo>
                    <a:pt x="4385" y="1402"/>
                    <a:pt x="4406" y="1404"/>
                    <a:pt x="4416" y="1413"/>
                  </a:cubicBezTo>
                  <a:cubicBezTo>
                    <a:pt x="4426" y="1422"/>
                    <a:pt x="4444" y="1446"/>
                    <a:pt x="4444" y="1446"/>
                  </a:cubicBezTo>
                  <a:cubicBezTo>
                    <a:pt x="4451" y="1446"/>
                    <a:pt x="4451" y="1446"/>
                    <a:pt x="4451" y="1446"/>
                  </a:cubicBezTo>
                  <a:cubicBezTo>
                    <a:pt x="4455" y="1462"/>
                    <a:pt x="4455" y="1462"/>
                    <a:pt x="4455" y="1462"/>
                  </a:cubicBezTo>
                  <a:cubicBezTo>
                    <a:pt x="4455" y="1462"/>
                    <a:pt x="4474" y="1472"/>
                    <a:pt x="4482" y="1477"/>
                  </a:cubicBezTo>
                  <a:cubicBezTo>
                    <a:pt x="4490" y="1482"/>
                    <a:pt x="4507" y="1481"/>
                    <a:pt x="4517" y="1479"/>
                  </a:cubicBezTo>
                  <a:cubicBezTo>
                    <a:pt x="4527" y="1477"/>
                    <a:pt x="4543" y="1493"/>
                    <a:pt x="4543" y="1493"/>
                  </a:cubicBezTo>
                  <a:cubicBezTo>
                    <a:pt x="4543" y="1493"/>
                    <a:pt x="4551" y="1486"/>
                    <a:pt x="4555" y="1486"/>
                  </a:cubicBezTo>
                  <a:cubicBezTo>
                    <a:pt x="4559" y="1486"/>
                    <a:pt x="4597" y="1514"/>
                    <a:pt x="4597" y="1514"/>
                  </a:cubicBezTo>
                  <a:cubicBezTo>
                    <a:pt x="4621" y="1514"/>
                    <a:pt x="4621" y="1514"/>
                    <a:pt x="4621" y="1514"/>
                  </a:cubicBezTo>
                  <a:cubicBezTo>
                    <a:pt x="4630" y="1533"/>
                    <a:pt x="4630" y="1533"/>
                    <a:pt x="4630" y="1533"/>
                  </a:cubicBezTo>
                  <a:cubicBezTo>
                    <a:pt x="4630" y="1533"/>
                    <a:pt x="4646" y="1534"/>
                    <a:pt x="4649" y="1541"/>
                  </a:cubicBezTo>
                  <a:cubicBezTo>
                    <a:pt x="4652" y="1548"/>
                    <a:pt x="4653" y="1556"/>
                    <a:pt x="4653" y="1556"/>
                  </a:cubicBezTo>
                  <a:cubicBezTo>
                    <a:pt x="4678" y="1576"/>
                    <a:pt x="4678" y="1576"/>
                    <a:pt x="4678" y="1576"/>
                  </a:cubicBezTo>
                  <a:cubicBezTo>
                    <a:pt x="4695" y="1572"/>
                    <a:pt x="4695" y="1572"/>
                    <a:pt x="4695" y="1572"/>
                  </a:cubicBezTo>
                  <a:cubicBezTo>
                    <a:pt x="4703" y="1582"/>
                    <a:pt x="4703" y="1582"/>
                    <a:pt x="4703" y="1582"/>
                  </a:cubicBezTo>
                  <a:cubicBezTo>
                    <a:pt x="4716" y="1581"/>
                    <a:pt x="4716" y="1581"/>
                    <a:pt x="4716" y="1581"/>
                  </a:cubicBezTo>
                  <a:cubicBezTo>
                    <a:pt x="4716" y="1574"/>
                    <a:pt x="4716" y="1574"/>
                    <a:pt x="4716" y="1574"/>
                  </a:cubicBezTo>
                  <a:cubicBezTo>
                    <a:pt x="4735" y="1576"/>
                    <a:pt x="4735" y="1576"/>
                    <a:pt x="4735" y="1576"/>
                  </a:cubicBezTo>
                  <a:cubicBezTo>
                    <a:pt x="4735" y="1576"/>
                    <a:pt x="4736" y="1565"/>
                    <a:pt x="4739" y="1560"/>
                  </a:cubicBezTo>
                  <a:cubicBezTo>
                    <a:pt x="4742" y="1555"/>
                    <a:pt x="4770" y="1556"/>
                    <a:pt x="4770" y="1556"/>
                  </a:cubicBezTo>
                  <a:cubicBezTo>
                    <a:pt x="4775" y="1542"/>
                    <a:pt x="4775" y="1542"/>
                    <a:pt x="4775" y="1542"/>
                  </a:cubicBezTo>
                  <a:cubicBezTo>
                    <a:pt x="4775" y="1542"/>
                    <a:pt x="4800" y="1536"/>
                    <a:pt x="4810" y="1544"/>
                  </a:cubicBezTo>
                  <a:cubicBezTo>
                    <a:pt x="4820" y="1552"/>
                    <a:pt x="4814" y="1565"/>
                    <a:pt x="4814" y="1565"/>
                  </a:cubicBezTo>
                  <a:cubicBezTo>
                    <a:pt x="4832" y="1573"/>
                    <a:pt x="4832" y="1573"/>
                    <a:pt x="4832" y="1573"/>
                  </a:cubicBezTo>
                  <a:cubicBezTo>
                    <a:pt x="4832" y="1593"/>
                    <a:pt x="4832" y="1593"/>
                    <a:pt x="4832" y="1593"/>
                  </a:cubicBezTo>
                  <a:cubicBezTo>
                    <a:pt x="4820" y="1598"/>
                    <a:pt x="4820" y="1598"/>
                    <a:pt x="4820" y="1598"/>
                  </a:cubicBezTo>
                  <a:cubicBezTo>
                    <a:pt x="4828" y="1608"/>
                    <a:pt x="4828" y="1608"/>
                    <a:pt x="4828" y="1608"/>
                  </a:cubicBezTo>
                  <a:cubicBezTo>
                    <a:pt x="4828" y="1620"/>
                    <a:pt x="4828" y="1620"/>
                    <a:pt x="4828" y="1620"/>
                  </a:cubicBezTo>
                  <a:cubicBezTo>
                    <a:pt x="4835" y="1630"/>
                    <a:pt x="4835" y="1630"/>
                    <a:pt x="4835" y="1630"/>
                  </a:cubicBezTo>
                  <a:cubicBezTo>
                    <a:pt x="4835" y="1643"/>
                    <a:pt x="4835" y="1643"/>
                    <a:pt x="4835" y="1643"/>
                  </a:cubicBezTo>
                  <a:cubicBezTo>
                    <a:pt x="4846" y="1650"/>
                    <a:pt x="4846" y="1650"/>
                    <a:pt x="4846" y="1650"/>
                  </a:cubicBezTo>
                  <a:cubicBezTo>
                    <a:pt x="4843" y="1667"/>
                    <a:pt x="4843" y="1667"/>
                    <a:pt x="4843" y="1667"/>
                  </a:cubicBezTo>
                  <a:cubicBezTo>
                    <a:pt x="4846" y="1684"/>
                    <a:pt x="4846" y="1684"/>
                    <a:pt x="4846" y="1684"/>
                  </a:cubicBezTo>
                  <a:cubicBezTo>
                    <a:pt x="4846" y="1684"/>
                    <a:pt x="4834" y="1688"/>
                    <a:pt x="4839" y="1700"/>
                  </a:cubicBezTo>
                  <a:cubicBezTo>
                    <a:pt x="4844" y="1712"/>
                    <a:pt x="4846" y="1713"/>
                    <a:pt x="4839" y="1719"/>
                  </a:cubicBezTo>
                  <a:cubicBezTo>
                    <a:pt x="4832" y="1725"/>
                    <a:pt x="4796" y="1702"/>
                    <a:pt x="4785" y="1707"/>
                  </a:cubicBezTo>
                  <a:cubicBezTo>
                    <a:pt x="4774" y="1712"/>
                    <a:pt x="4786" y="1718"/>
                    <a:pt x="4784" y="1723"/>
                  </a:cubicBezTo>
                  <a:cubicBezTo>
                    <a:pt x="4782" y="1728"/>
                    <a:pt x="4769" y="1719"/>
                    <a:pt x="4766" y="1729"/>
                  </a:cubicBezTo>
                  <a:cubicBezTo>
                    <a:pt x="4763" y="1739"/>
                    <a:pt x="4778" y="1740"/>
                    <a:pt x="4792" y="1753"/>
                  </a:cubicBezTo>
                  <a:cubicBezTo>
                    <a:pt x="4806" y="1766"/>
                    <a:pt x="4810" y="1785"/>
                    <a:pt x="4812" y="1791"/>
                  </a:cubicBezTo>
                  <a:cubicBezTo>
                    <a:pt x="4814" y="1797"/>
                    <a:pt x="4825" y="1808"/>
                    <a:pt x="4825" y="1808"/>
                  </a:cubicBezTo>
                  <a:cubicBezTo>
                    <a:pt x="4826" y="1831"/>
                    <a:pt x="4826" y="1831"/>
                    <a:pt x="4826" y="1831"/>
                  </a:cubicBezTo>
                  <a:cubicBezTo>
                    <a:pt x="4809" y="1827"/>
                    <a:pt x="4809" y="1827"/>
                    <a:pt x="4809" y="1827"/>
                  </a:cubicBezTo>
                  <a:cubicBezTo>
                    <a:pt x="4802" y="1845"/>
                    <a:pt x="4802" y="1845"/>
                    <a:pt x="4802" y="1845"/>
                  </a:cubicBezTo>
                  <a:cubicBezTo>
                    <a:pt x="4821" y="1851"/>
                    <a:pt x="4821" y="1851"/>
                    <a:pt x="4821" y="1851"/>
                  </a:cubicBezTo>
                  <a:cubicBezTo>
                    <a:pt x="4844" y="1852"/>
                    <a:pt x="4844" y="1852"/>
                    <a:pt x="4844" y="1852"/>
                  </a:cubicBezTo>
                  <a:cubicBezTo>
                    <a:pt x="4844" y="1852"/>
                    <a:pt x="4838" y="1811"/>
                    <a:pt x="4847" y="1807"/>
                  </a:cubicBezTo>
                  <a:cubicBezTo>
                    <a:pt x="4856" y="1803"/>
                    <a:pt x="4863" y="1816"/>
                    <a:pt x="4863" y="1816"/>
                  </a:cubicBezTo>
                  <a:cubicBezTo>
                    <a:pt x="4872" y="1808"/>
                    <a:pt x="4872" y="1808"/>
                    <a:pt x="4872" y="1808"/>
                  </a:cubicBezTo>
                  <a:cubicBezTo>
                    <a:pt x="4872" y="1808"/>
                    <a:pt x="4888" y="1840"/>
                    <a:pt x="4896" y="1838"/>
                  </a:cubicBezTo>
                  <a:cubicBezTo>
                    <a:pt x="4904" y="1836"/>
                    <a:pt x="4923" y="1830"/>
                    <a:pt x="4923" y="1830"/>
                  </a:cubicBezTo>
                  <a:cubicBezTo>
                    <a:pt x="4923" y="1842"/>
                    <a:pt x="4923" y="1842"/>
                    <a:pt x="4923" y="1842"/>
                  </a:cubicBezTo>
                  <a:cubicBezTo>
                    <a:pt x="4923" y="1842"/>
                    <a:pt x="4978" y="1822"/>
                    <a:pt x="4980" y="1802"/>
                  </a:cubicBezTo>
                  <a:cubicBezTo>
                    <a:pt x="4982" y="1782"/>
                    <a:pt x="4985" y="1754"/>
                    <a:pt x="4985" y="1754"/>
                  </a:cubicBezTo>
                  <a:cubicBezTo>
                    <a:pt x="4999" y="1747"/>
                    <a:pt x="4999" y="1747"/>
                    <a:pt x="4999" y="1747"/>
                  </a:cubicBezTo>
                  <a:cubicBezTo>
                    <a:pt x="4999" y="1747"/>
                    <a:pt x="4997" y="1704"/>
                    <a:pt x="5006" y="1697"/>
                  </a:cubicBezTo>
                  <a:cubicBezTo>
                    <a:pt x="5015" y="1690"/>
                    <a:pt x="5017" y="1666"/>
                    <a:pt x="5019" y="1650"/>
                  </a:cubicBezTo>
                  <a:cubicBezTo>
                    <a:pt x="5021" y="1634"/>
                    <a:pt x="5010" y="1607"/>
                    <a:pt x="5010" y="1607"/>
                  </a:cubicBezTo>
                  <a:cubicBezTo>
                    <a:pt x="5010" y="1607"/>
                    <a:pt x="5024" y="1585"/>
                    <a:pt x="5024" y="1580"/>
                  </a:cubicBezTo>
                  <a:cubicBezTo>
                    <a:pt x="5024" y="1575"/>
                    <a:pt x="5016" y="1565"/>
                    <a:pt x="5016" y="1565"/>
                  </a:cubicBezTo>
                  <a:cubicBezTo>
                    <a:pt x="5016" y="1565"/>
                    <a:pt x="5033" y="1541"/>
                    <a:pt x="5029" y="1532"/>
                  </a:cubicBezTo>
                  <a:cubicBezTo>
                    <a:pt x="5025" y="1523"/>
                    <a:pt x="5013" y="1496"/>
                    <a:pt x="5013" y="1496"/>
                  </a:cubicBezTo>
                  <a:cubicBezTo>
                    <a:pt x="5013" y="1496"/>
                    <a:pt x="5005" y="1468"/>
                    <a:pt x="4998" y="1465"/>
                  </a:cubicBezTo>
                  <a:cubicBezTo>
                    <a:pt x="4991" y="1462"/>
                    <a:pt x="4986" y="1458"/>
                    <a:pt x="4986" y="1458"/>
                  </a:cubicBezTo>
                  <a:cubicBezTo>
                    <a:pt x="4990" y="1451"/>
                    <a:pt x="4990" y="1451"/>
                    <a:pt x="4990" y="1451"/>
                  </a:cubicBezTo>
                  <a:cubicBezTo>
                    <a:pt x="4990" y="1451"/>
                    <a:pt x="4971" y="1443"/>
                    <a:pt x="4965" y="1428"/>
                  </a:cubicBezTo>
                  <a:cubicBezTo>
                    <a:pt x="4959" y="1413"/>
                    <a:pt x="4957" y="1401"/>
                    <a:pt x="4957" y="1401"/>
                  </a:cubicBezTo>
                  <a:cubicBezTo>
                    <a:pt x="4948" y="1395"/>
                    <a:pt x="4948" y="1395"/>
                    <a:pt x="4948" y="1395"/>
                  </a:cubicBezTo>
                  <a:cubicBezTo>
                    <a:pt x="4948" y="1395"/>
                    <a:pt x="4955" y="1365"/>
                    <a:pt x="4948" y="1356"/>
                  </a:cubicBezTo>
                  <a:cubicBezTo>
                    <a:pt x="4941" y="1347"/>
                    <a:pt x="4936" y="1340"/>
                    <a:pt x="4936" y="1340"/>
                  </a:cubicBezTo>
                  <a:cubicBezTo>
                    <a:pt x="4924" y="1336"/>
                    <a:pt x="4924" y="1336"/>
                    <a:pt x="4924" y="1336"/>
                  </a:cubicBezTo>
                  <a:cubicBezTo>
                    <a:pt x="4924" y="1336"/>
                    <a:pt x="4920" y="1322"/>
                    <a:pt x="4913" y="1317"/>
                  </a:cubicBezTo>
                  <a:cubicBezTo>
                    <a:pt x="4906" y="1312"/>
                    <a:pt x="4889" y="1304"/>
                    <a:pt x="4889" y="1304"/>
                  </a:cubicBezTo>
                  <a:cubicBezTo>
                    <a:pt x="4875" y="1300"/>
                    <a:pt x="4875" y="1300"/>
                    <a:pt x="4875" y="1300"/>
                  </a:cubicBezTo>
                  <a:cubicBezTo>
                    <a:pt x="4872" y="1291"/>
                    <a:pt x="4872" y="1291"/>
                    <a:pt x="4872" y="1291"/>
                  </a:cubicBezTo>
                  <a:cubicBezTo>
                    <a:pt x="4872" y="1291"/>
                    <a:pt x="4900" y="1304"/>
                    <a:pt x="4903" y="1298"/>
                  </a:cubicBezTo>
                  <a:cubicBezTo>
                    <a:pt x="4906" y="1292"/>
                    <a:pt x="4885" y="1286"/>
                    <a:pt x="4885" y="1286"/>
                  </a:cubicBezTo>
                  <a:cubicBezTo>
                    <a:pt x="4830" y="1260"/>
                    <a:pt x="4830" y="1260"/>
                    <a:pt x="4830" y="1260"/>
                  </a:cubicBezTo>
                  <a:cubicBezTo>
                    <a:pt x="4830" y="1260"/>
                    <a:pt x="4802" y="1243"/>
                    <a:pt x="4794" y="1238"/>
                  </a:cubicBezTo>
                  <a:cubicBezTo>
                    <a:pt x="4786" y="1233"/>
                    <a:pt x="4772" y="1243"/>
                    <a:pt x="4772" y="1243"/>
                  </a:cubicBezTo>
                  <a:cubicBezTo>
                    <a:pt x="4746" y="1236"/>
                    <a:pt x="4746" y="1236"/>
                    <a:pt x="4746" y="1236"/>
                  </a:cubicBezTo>
                  <a:cubicBezTo>
                    <a:pt x="4771" y="1264"/>
                    <a:pt x="4771" y="1264"/>
                    <a:pt x="4771" y="1264"/>
                  </a:cubicBezTo>
                  <a:cubicBezTo>
                    <a:pt x="4767" y="1281"/>
                    <a:pt x="4767" y="1281"/>
                    <a:pt x="4767" y="1281"/>
                  </a:cubicBezTo>
                  <a:cubicBezTo>
                    <a:pt x="4759" y="1279"/>
                    <a:pt x="4759" y="1279"/>
                    <a:pt x="4759" y="1279"/>
                  </a:cubicBezTo>
                  <a:cubicBezTo>
                    <a:pt x="4758" y="1259"/>
                    <a:pt x="4758" y="1259"/>
                    <a:pt x="4758" y="1259"/>
                  </a:cubicBezTo>
                  <a:cubicBezTo>
                    <a:pt x="4748" y="1252"/>
                    <a:pt x="4748" y="1252"/>
                    <a:pt x="4748" y="1252"/>
                  </a:cubicBezTo>
                  <a:cubicBezTo>
                    <a:pt x="4746" y="1271"/>
                    <a:pt x="4746" y="1271"/>
                    <a:pt x="4746" y="1271"/>
                  </a:cubicBezTo>
                  <a:cubicBezTo>
                    <a:pt x="4717" y="1273"/>
                    <a:pt x="4717" y="1273"/>
                    <a:pt x="4717" y="1273"/>
                  </a:cubicBezTo>
                  <a:cubicBezTo>
                    <a:pt x="4717" y="1273"/>
                    <a:pt x="4724" y="1263"/>
                    <a:pt x="4719" y="1257"/>
                  </a:cubicBezTo>
                  <a:cubicBezTo>
                    <a:pt x="4714" y="1251"/>
                    <a:pt x="4701" y="1253"/>
                    <a:pt x="4701" y="1253"/>
                  </a:cubicBezTo>
                  <a:cubicBezTo>
                    <a:pt x="4696" y="1260"/>
                    <a:pt x="4696" y="1260"/>
                    <a:pt x="4696" y="1260"/>
                  </a:cubicBezTo>
                  <a:cubicBezTo>
                    <a:pt x="4681" y="1261"/>
                    <a:pt x="4681" y="1261"/>
                    <a:pt x="4681" y="1261"/>
                  </a:cubicBezTo>
                  <a:cubicBezTo>
                    <a:pt x="4672" y="1236"/>
                    <a:pt x="4672" y="1236"/>
                    <a:pt x="4672" y="1236"/>
                  </a:cubicBezTo>
                  <a:cubicBezTo>
                    <a:pt x="4668" y="1235"/>
                    <a:pt x="4668" y="1235"/>
                    <a:pt x="4668" y="1235"/>
                  </a:cubicBezTo>
                  <a:cubicBezTo>
                    <a:pt x="4660" y="1222"/>
                    <a:pt x="4660" y="1222"/>
                    <a:pt x="4660" y="1222"/>
                  </a:cubicBezTo>
                  <a:cubicBezTo>
                    <a:pt x="4612" y="1224"/>
                    <a:pt x="4612" y="1224"/>
                    <a:pt x="4612" y="1224"/>
                  </a:cubicBezTo>
                  <a:cubicBezTo>
                    <a:pt x="4606" y="1218"/>
                    <a:pt x="4606" y="1218"/>
                    <a:pt x="4606" y="1218"/>
                  </a:cubicBezTo>
                  <a:cubicBezTo>
                    <a:pt x="4606" y="1218"/>
                    <a:pt x="4580" y="1222"/>
                    <a:pt x="4580" y="1205"/>
                  </a:cubicBezTo>
                  <a:cubicBezTo>
                    <a:pt x="4580" y="1188"/>
                    <a:pt x="4602" y="1186"/>
                    <a:pt x="4602" y="1186"/>
                  </a:cubicBezTo>
                  <a:cubicBezTo>
                    <a:pt x="4602" y="1170"/>
                    <a:pt x="4602" y="1170"/>
                    <a:pt x="4602" y="1170"/>
                  </a:cubicBezTo>
                  <a:cubicBezTo>
                    <a:pt x="4602" y="1170"/>
                    <a:pt x="4621" y="1169"/>
                    <a:pt x="4622" y="1158"/>
                  </a:cubicBezTo>
                  <a:cubicBezTo>
                    <a:pt x="4623" y="1147"/>
                    <a:pt x="4633" y="1132"/>
                    <a:pt x="4633" y="1132"/>
                  </a:cubicBezTo>
                  <a:cubicBezTo>
                    <a:pt x="4623" y="1123"/>
                    <a:pt x="4623" y="1123"/>
                    <a:pt x="4623" y="1123"/>
                  </a:cubicBezTo>
                  <a:cubicBezTo>
                    <a:pt x="4630" y="1110"/>
                    <a:pt x="4630" y="1110"/>
                    <a:pt x="4630" y="1110"/>
                  </a:cubicBezTo>
                  <a:cubicBezTo>
                    <a:pt x="4623" y="1100"/>
                    <a:pt x="4623" y="1100"/>
                    <a:pt x="4623" y="1100"/>
                  </a:cubicBezTo>
                  <a:cubicBezTo>
                    <a:pt x="4637" y="1089"/>
                    <a:pt x="4637" y="1089"/>
                    <a:pt x="4637" y="1089"/>
                  </a:cubicBezTo>
                  <a:cubicBezTo>
                    <a:pt x="4651" y="1086"/>
                    <a:pt x="4651" y="1086"/>
                    <a:pt x="4651" y="1086"/>
                  </a:cubicBezTo>
                  <a:cubicBezTo>
                    <a:pt x="4645" y="1064"/>
                    <a:pt x="4645" y="1064"/>
                    <a:pt x="4645" y="1064"/>
                  </a:cubicBezTo>
                  <a:cubicBezTo>
                    <a:pt x="4660" y="1059"/>
                    <a:pt x="4660" y="1059"/>
                    <a:pt x="4660" y="1059"/>
                  </a:cubicBezTo>
                  <a:cubicBezTo>
                    <a:pt x="4642" y="1036"/>
                    <a:pt x="4642" y="1036"/>
                    <a:pt x="4642" y="1036"/>
                  </a:cubicBezTo>
                  <a:cubicBezTo>
                    <a:pt x="4664" y="1027"/>
                    <a:pt x="4664" y="1027"/>
                    <a:pt x="4664" y="1027"/>
                  </a:cubicBezTo>
                  <a:cubicBezTo>
                    <a:pt x="4664" y="1027"/>
                    <a:pt x="4657" y="997"/>
                    <a:pt x="4673" y="987"/>
                  </a:cubicBezTo>
                  <a:cubicBezTo>
                    <a:pt x="4689" y="977"/>
                    <a:pt x="4695" y="976"/>
                    <a:pt x="4695" y="976"/>
                  </a:cubicBezTo>
                  <a:cubicBezTo>
                    <a:pt x="4695" y="976"/>
                    <a:pt x="4720" y="980"/>
                    <a:pt x="4732" y="979"/>
                  </a:cubicBezTo>
                  <a:cubicBezTo>
                    <a:pt x="4744" y="978"/>
                    <a:pt x="4796" y="982"/>
                    <a:pt x="4796" y="982"/>
                  </a:cubicBezTo>
                  <a:cubicBezTo>
                    <a:pt x="4807" y="993"/>
                    <a:pt x="4807" y="993"/>
                    <a:pt x="4807" y="993"/>
                  </a:cubicBezTo>
                  <a:cubicBezTo>
                    <a:pt x="4820" y="988"/>
                    <a:pt x="4820" y="988"/>
                    <a:pt x="4820" y="988"/>
                  </a:cubicBezTo>
                  <a:cubicBezTo>
                    <a:pt x="4815" y="976"/>
                    <a:pt x="4815" y="976"/>
                    <a:pt x="4815" y="976"/>
                  </a:cubicBezTo>
                  <a:cubicBezTo>
                    <a:pt x="4865" y="989"/>
                    <a:pt x="4865" y="989"/>
                    <a:pt x="4865" y="989"/>
                  </a:cubicBezTo>
                  <a:cubicBezTo>
                    <a:pt x="4885" y="977"/>
                    <a:pt x="4885" y="977"/>
                    <a:pt x="4885" y="977"/>
                  </a:cubicBezTo>
                  <a:cubicBezTo>
                    <a:pt x="4904" y="992"/>
                    <a:pt x="4904" y="992"/>
                    <a:pt x="4904" y="992"/>
                  </a:cubicBezTo>
                  <a:cubicBezTo>
                    <a:pt x="4909" y="968"/>
                    <a:pt x="4909" y="968"/>
                    <a:pt x="4909" y="968"/>
                  </a:cubicBezTo>
                  <a:cubicBezTo>
                    <a:pt x="4909" y="968"/>
                    <a:pt x="4932" y="966"/>
                    <a:pt x="4948" y="967"/>
                  </a:cubicBezTo>
                  <a:cubicBezTo>
                    <a:pt x="4964" y="968"/>
                    <a:pt x="4970" y="982"/>
                    <a:pt x="4976" y="980"/>
                  </a:cubicBezTo>
                  <a:cubicBezTo>
                    <a:pt x="4982" y="978"/>
                    <a:pt x="5000" y="967"/>
                    <a:pt x="5000" y="967"/>
                  </a:cubicBezTo>
                  <a:cubicBezTo>
                    <a:pt x="5016" y="981"/>
                    <a:pt x="5016" y="981"/>
                    <a:pt x="5016" y="981"/>
                  </a:cubicBezTo>
                  <a:cubicBezTo>
                    <a:pt x="5044" y="986"/>
                    <a:pt x="5044" y="986"/>
                    <a:pt x="5044" y="986"/>
                  </a:cubicBezTo>
                  <a:cubicBezTo>
                    <a:pt x="5008" y="993"/>
                    <a:pt x="5008" y="993"/>
                    <a:pt x="5008" y="993"/>
                  </a:cubicBezTo>
                  <a:cubicBezTo>
                    <a:pt x="5008" y="993"/>
                    <a:pt x="5019" y="1014"/>
                    <a:pt x="5030" y="1009"/>
                  </a:cubicBezTo>
                  <a:cubicBezTo>
                    <a:pt x="5041" y="1004"/>
                    <a:pt x="5061" y="996"/>
                    <a:pt x="5061" y="996"/>
                  </a:cubicBezTo>
                  <a:cubicBezTo>
                    <a:pt x="5079" y="1005"/>
                    <a:pt x="5079" y="1005"/>
                    <a:pt x="5079" y="1005"/>
                  </a:cubicBezTo>
                  <a:cubicBezTo>
                    <a:pt x="5094" y="993"/>
                    <a:pt x="5094" y="993"/>
                    <a:pt x="5094" y="993"/>
                  </a:cubicBezTo>
                  <a:cubicBezTo>
                    <a:pt x="5094" y="993"/>
                    <a:pt x="5121" y="1002"/>
                    <a:pt x="5129" y="998"/>
                  </a:cubicBezTo>
                  <a:cubicBezTo>
                    <a:pt x="5137" y="994"/>
                    <a:pt x="5131" y="986"/>
                    <a:pt x="5131" y="986"/>
                  </a:cubicBezTo>
                  <a:cubicBezTo>
                    <a:pt x="5155" y="988"/>
                    <a:pt x="5155" y="988"/>
                    <a:pt x="5155" y="988"/>
                  </a:cubicBezTo>
                  <a:cubicBezTo>
                    <a:pt x="5122" y="970"/>
                    <a:pt x="5122" y="970"/>
                    <a:pt x="5122" y="970"/>
                  </a:cubicBezTo>
                  <a:cubicBezTo>
                    <a:pt x="5104" y="977"/>
                    <a:pt x="5104" y="977"/>
                    <a:pt x="5104" y="977"/>
                  </a:cubicBezTo>
                  <a:cubicBezTo>
                    <a:pt x="5099" y="965"/>
                    <a:pt x="5099" y="965"/>
                    <a:pt x="5099" y="965"/>
                  </a:cubicBezTo>
                  <a:cubicBezTo>
                    <a:pt x="5099" y="965"/>
                    <a:pt x="5084" y="942"/>
                    <a:pt x="5086" y="937"/>
                  </a:cubicBezTo>
                  <a:cubicBezTo>
                    <a:pt x="5088" y="932"/>
                    <a:pt x="5105" y="918"/>
                    <a:pt x="5105" y="918"/>
                  </a:cubicBezTo>
                  <a:cubicBezTo>
                    <a:pt x="5101" y="898"/>
                    <a:pt x="5101" y="898"/>
                    <a:pt x="5101" y="898"/>
                  </a:cubicBezTo>
                  <a:cubicBezTo>
                    <a:pt x="5110" y="890"/>
                    <a:pt x="5110" y="890"/>
                    <a:pt x="5110" y="890"/>
                  </a:cubicBezTo>
                  <a:cubicBezTo>
                    <a:pt x="5110" y="890"/>
                    <a:pt x="5084" y="877"/>
                    <a:pt x="5101" y="866"/>
                  </a:cubicBezTo>
                  <a:cubicBezTo>
                    <a:pt x="5118" y="855"/>
                    <a:pt x="5154" y="866"/>
                    <a:pt x="5154" y="866"/>
                  </a:cubicBezTo>
                  <a:cubicBezTo>
                    <a:pt x="5168" y="852"/>
                    <a:pt x="5168" y="852"/>
                    <a:pt x="5168" y="852"/>
                  </a:cubicBezTo>
                  <a:cubicBezTo>
                    <a:pt x="5190" y="871"/>
                    <a:pt x="5190" y="871"/>
                    <a:pt x="5190" y="871"/>
                  </a:cubicBezTo>
                  <a:cubicBezTo>
                    <a:pt x="5209" y="860"/>
                    <a:pt x="5209" y="860"/>
                    <a:pt x="5209" y="860"/>
                  </a:cubicBezTo>
                  <a:cubicBezTo>
                    <a:pt x="5209" y="860"/>
                    <a:pt x="5222" y="893"/>
                    <a:pt x="5229" y="896"/>
                  </a:cubicBezTo>
                  <a:cubicBezTo>
                    <a:pt x="5236" y="899"/>
                    <a:pt x="5257" y="895"/>
                    <a:pt x="5257" y="895"/>
                  </a:cubicBezTo>
                  <a:cubicBezTo>
                    <a:pt x="5257" y="895"/>
                    <a:pt x="5257" y="926"/>
                    <a:pt x="5268" y="922"/>
                  </a:cubicBezTo>
                  <a:cubicBezTo>
                    <a:pt x="5279" y="918"/>
                    <a:pt x="5294" y="878"/>
                    <a:pt x="5294" y="878"/>
                  </a:cubicBezTo>
                  <a:cubicBezTo>
                    <a:pt x="5310" y="869"/>
                    <a:pt x="5310" y="869"/>
                    <a:pt x="5310" y="869"/>
                  </a:cubicBezTo>
                  <a:cubicBezTo>
                    <a:pt x="5330" y="876"/>
                    <a:pt x="5330" y="876"/>
                    <a:pt x="5330" y="876"/>
                  </a:cubicBezTo>
                  <a:cubicBezTo>
                    <a:pt x="5329" y="867"/>
                    <a:pt x="5329" y="867"/>
                    <a:pt x="5329" y="867"/>
                  </a:cubicBezTo>
                  <a:cubicBezTo>
                    <a:pt x="5310" y="857"/>
                    <a:pt x="5310" y="857"/>
                    <a:pt x="5310" y="857"/>
                  </a:cubicBezTo>
                  <a:cubicBezTo>
                    <a:pt x="5310" y="857"/>
                    <a:pt x="5263" y="823"/>
                    <a:pt x="5274" y="822"/>
                  </a:cubicBezTo>
                  <a:cubicBezTo>
                    <a:pt x="5285" y="821"/>
                    <a:pt x="5339" y="823"/>
                    <a:pt x="5339" y="823"/>
                  </a:cubicBezTo>
                  <a:cubicBezTo>
                    <a:pt x="5373" y="823"/>
                    <a:pt x="5373" y="823"/>
                    <a:pt x="5373" y="823"/>
                  </a:cubicBezTo>
                  <a:cubicBezTo>
                    <a:pt x="5373" y="823"/>
                    <a:pt x="5376" y="837"/>
                    <a:pt x="5372" y="836"/>
                  </a:cubicBezTo>
                  <a:cubicBezTo>
                    <a:pt x="5368" y="835"/>
                    <a:pt x="5329" y="823"/>
                    <a:pt x="5331" y="837"/>
                  </a:cubicBezTo>
                  <a:cubicBezTo>
                    <a:pt x="5333" y="851"/>
                    <a:pt x="5356" y="864"/>
                    <a:pt x="5356" y="864"/>
                  </a:cubicBezTo>
                  <a:cubicBezTo>
                    <a:pt x="5358" y="881"/>
                    <a:pt x="5358" y="881"/>
                    <a:pt x="5358" y="881"/>
                  </a:cubicBezTo>
                  <a:cubicBezTo>
                    <a:pt x="5378" y="884"/>
                    <a:pt x="5378" y="884"/>
                    <a:pt x="5378" y="884"/>
                  </a:cubicBezTo>
                  <a:cubicBezTo>
                    <a:pt x="5374" y="897"/>
                    <a:pt x="5374" y="897"/>
                    <a:pt x="5374" y="897"/>
                  </a:cubicBezTo>
                  <a:cubicBezTo>
                    <a:pt x="5387" y="908"/>
                    <a:pt x="5387" y="908"/>
                    <a:pt x="5387" y="908"/>
                  </a:cubicBezTo>
                  <a:cubicBezTo>
                    <a:pt x="5369" y="911"/>
                    <a:pt x="5369" y="911"/>
                    <a:pt x="5369" y="911"/>
                  </a:cubicBezTo>
                  <a:cubicBezTo>
                    <a:pt x="5364" y="922"/>
                    <a:pt x="5364" y="922"/>
                    <a:pt x="5364" y="922"/>
                  </a:cubicBezTo>
                  <a:cubicBezTo>
                    <a:pt x="5352" y="926"/>
                    <a:pt x="5352" y="926"/>
                    <a:pt x="5352" y="926"/>
                  </a:cubicBezTo>
                  <a:cubicBezTo>
                    <a:pt x="5352" y="926"/>
                    <a:pt x="5365" y="948"/>
                    <a:pt x="5358" y="960"/>
                  </a:cubicBezTo>
                  <a:cubicBezTo>
                    <a:pt x="5351" y="972"/>
                    <a:pt x="5340" y="992"/>
                    <a:pt x="5340" y="999"/>
                  </a:cubicBezTo>
                  <a:cubicBezTo>
                    <a:pt x="5340" y="1006"/>
                    <a:pt x="5358" y="1012"/>
                    <a:pt x="5345" y="1029"/>
                  </a:cubicBezTo>
                  <a:cubicBezTo>
                    <a:pt x="5332" y="1046"/>
                    <a:pt x="5310" y="1051"/>
                    <a:pt x="5310" y="1051"/>
                  </a:cubicBezTo>
                  <a:cubicBezTo>
                    <a:pt x="5313" y="1063"/>
                    <a:pt x="5313" y="1063"/>
                    <a:pt x="5313" y="1063"/>
                  </a:cubicBezTo>
                  <a:cubicBezTo>
                    <a:pt x="5300" y="1063"/>
                    <a:pt x="5300" y="1063"/>
                    <a:pt x="5300" y="1063"/>
                  </a:cubicBezTo>
                  <a:cubicBezTo>
                    <a:pt x="5300" y="1063"/>
                    <a:pt x="5324" y="1073"/>
                    <a:pt x="5322" y="1090"/>
                  </a:cubicBezTo>
                  <a:cubicBezTo>
                    <a:pt x="5320" y="1107"/>
                    <a:pt x="5313" y="1118"/>
                    <a:pt x="5320" y="1135"/>
                  </a:cubicBezTo>
                  <a:cubicBezTo>
                    <a:pt x="5327" y="1152"/>
                    <a:pt x="5392" y="1206"/>
                    <a:pt x="5392" y="1206"/>
                  </a:cubicBezTo>
                  <a:cubicBezTo>
                    <a:pt x="5432" y="1247"/>
                    <a:pt x="5432" y="1247"/>
                    <a:pt x="5432" y="1247"/>
                  </a:cubicBezTo>
                  <a:cubicBezTo>
                    <a:pt x="5441" y="1244"/>
                    <a:pt x="5441" y="1244"/>
                    <a:pt x="5441" y="1244"/>
                  </a:cubicBezTo>
                  <a:cubicBezTo>
                    <a:pt x="5494" y="1308"/>
                    <a:pt x="5494" y="1308"/>
                    <a:pt x="5494" y="1308"/>
                  </a:cubicBezTo>
                  <a:cubicBezTo>
                    <a:pt x="5529" y="1319"/>
                    <a:pt x="5529" y="1319"/>
                    <a:pt x="5529" y="1319"/>
                  </a:cubicBezTo>
                  <a:cubicBezTo>
                    <a:pt x="5544" y="1337"/>
                    <a:pt x="5544" y="1337"/>
                    <a:pt x="5544" y="1337"/>
                  </a:cubicBezTo>
                  <a:cubicBezTo>
                    <a:pt x="5544" y="1337"/>
                    <a:pt x="5583" y="1385"/>
                    <a:pt x="5590" y="1389"/>
                  </a:cubicBezTo>
                  <a:cubicBezTo>
                    <a:pt x="5597" y="1393"/>
                    <a:pt x="5608" y="1393"/>
                    <a:pt x="5608" y="1393"/>
                  </a:cubicBezTo>
                  <a:cubicBezTo>
                    <a:pt x="5608" y="1393"/>
                    <a:pt x="5602" y="1411"/>
                    <a:pt x="5617" y="1405"/>
                  </a:cubicBezTo>
                  <a:cubicBezTo>
                    <a:pt x="5632" y="1399"/>
                    <a:pt x="5630" y="1386"/>
                    <a:pt x="5630" y="1386"/>
                  </a:cubicBezTo>
                  <a:cubicBezTo>
                    <a:pt x="5623" y="1378"/>
                    <a:pt x="5623" y="1378"/>
                    <a:pt x="5623" y="1378"/>
                  </a:cubicBezTo>
                  <a:cubicBezTo>
                    <a:pt x="5623" y="1378"/>
                    <a:pt x="5638" y="1358"/>
                    <a:pt x="5635" y="1349"/>
                  </a:cubicBezTo>
                  <a:cubicBezTo>
                    <a:pt x="5632" y="1340"/>
                    <a:pt x="5601" y="1323"/>
                    <a:pt x="5608" y="1310"/>
                  </a:cubicBezTo>
                  <a:cubicBezTo>
                    <a:pt x="5615" y="1297"/>
                    <a:pt x="5624" y="1289"/>
                    <a:pt x="5627" y="1288"/>
                  </a:cubicBezTo>
                  <a:cubicBezTo>
                    <a:pt x="5630" y="1287"/>
                    <a:pt x="5650" y="1295"/>
                    <a:pt x="5650" y="1295"/>
                  </a:cubicBezTo>
                  <a:cubicBezTo>
                    <a:pt x="5650" y="1295"/>
                    <a:pt x="5628" y="1269"/>
                    <a:pt x="5622" y="1265"/>
                  </a:cubicBezTo>
                  <a:cubicBezTo>
                    <a:pt x="5616" y="1261"/>
                    <a:pt x="5601" y="1255"/>
                    <a:pt x="5604" y="1240"/>
                  </a:cubicBezTo>
                  <a:cubicBezTo>
                    <a:pt x="5607" y="1225"/>
                    <a:pt x="5625" y="1220"/>
                    <a:pt x="5625" y="1220"/>
                  </a:cubicBezTo>
                  <a:cubicBezTo>
                    <a:pt x="5625" y="1220"/>
                    <a:pt x="5654" y="1232"/>
                    <a:pt x="5652" y="1217"/>
                  </a:cubicBezTo>
                  <a:cubicBezTo>
                    <a:pt x="5650" y="1202"/>
                    <a:pt x="5637" y="1198"/>
                    <a:pt x="5621" y="1190"/>
                  </a:cubicBezTo>
                  <a:cubicBezTo>
                    <a:pt x="5605" y="1182"/>
                    <a:pt x="5591" y="1163"/>
                    <a:pt x="5590" y="1152"/>
                  </a:cubicBezTo>
                  <a:cubicBezTo>
                    <a:pt x="5589" y="1141"/>
                    <a:pt x="5583" y="1129"/>
                    <a:pt x="5583" y="1129"/>
                  </a:cubicBezTo>
                  <a:cubicBezTo>
                    <a:pt x="5590" y="1126"/>
                    <a:pt x="5590" y="1126"/>
                    <a:pt x="5590" y="1126"/>
                  </a:cubicBezTo>
                  <a:cubicBezTo>
                    <a:pt x="5590" y="1126"/>
                    <a:pt x="5616" y="1151"/>
                    <a:pt x="5622" y="1146"/>
                  </a:cubicBezTo>
                  <a:cubicBezTo>
                    <a:pt x="5628" y="1141"/>
                    <a:pt x="5604" y="1114"/>
                    <a:pt x="5604" y="1114"/>
                  </a:cubicBezTo>
                  <a:cubicBezTo>
                    <a:pt x="5581" y="1111"/>
                    <a:pt x="5581" y="1111"/>
                    <a:pt x="5581" y="1111"/>
                  </a:cubicBezTo>
                  <a:cubicBezTo>
                    <a:pt x="5548" y="1083"/>
                    <a:pt x="5548" y="1083"/>
                    <a:pt x="5548" y="1083"/>
                  </a:cubicBezTo>
                  <a:cubicBezTo>
                    <a:pt x="5548" y="1083"/>
                    <a:pt x="5552" y="1062"/>
                    <a:pt x="5536" y="1055"/>
                  </a:cubicBezTo>
                  <a:cubicBezTo>
                    <a:pt x="5520" y="1048"/>
                    <a:pt x="5508" y="1048"/>
                    <a:pt x="5508" y="1048"/>
                  </a:cubicBezTo>
                  <a:cubicBezTo>
                    <a:pt x="5509" y="1060"/>
                    <a:pt x="5509" y="1060"/>
                    <a:pt x="5509" y="1060"/>
                  </a:cubicBezTo>
                  <a:cubicBezTo>
                    <a:pt x="5509" y="1060"/>
                    <a:pt x="5465" y="1050"/>
                    <a:pt x="5464" y="1034"/>
                  </a:cubicBezTo>
                  <a:cubicBezTo>
                    <a:pt x="5463" y="1018"/>
                    <a:pt x="5471" y="1007"/>
                    <a:pt x="5463" y="992"/>
                  </a:cubicBezTo>
                  <a:cubicBezTo>
                    <a:pt x="5455" y="977"/>
                    <a:pt x="5439" y="969"/>
                    <a:pt x="5439" y="969"/>
                  </a:cubicBezTo>
                  <a:cubicBezTo>
                    <a:pt x="5439" y="969"/>
                    <a:pt x="5441" y="953"/>
                    <a:pt x="5445" y="951"/>
                  </a:cubicBezTo>
                  <a:cubicBezTo>
                    <a:pt x="5449" y="949"/>
                    <a:pt x="5458" y="956"/>
                    <a:pt x="5458" y="956"/>
                  </a:cubicBezTo>
                  <a:cubicBezTo>
                    <a:pt x="5467" y="945"/>
                    <a:pt x="5467" y="945"/>
                    <a:pt x="5467" y="945"/>
                  </a:cubicBezTo>
                  <a:cubicBezTo>
                    <a:pt x="5492" y="964"/>
                    <a:pt x="5492" y="964"/>
                    <a:pt x="5492" y="964"/>
                  </a:cubicBezTo>
                  <a:cubicBezTo>
                    <a:pt x="5497" y="959"/>
                    <a:pt x="5497" y="959"/>
                    <a:pt x="5497" y="959"/>
                  </a:cubicBezTo>
                  <a:cubicBezTo>
                    <a:pt x="5489" y="951"/>
                    <a:pt x="5489" y="951"/>
                    <a:pt x="5489" y="951"/>
                  </a:cubicBezTo>
                  <a:cubicBezTo>
                    <a:pt x="5489" y="951"/>
                    <a:pt x="5495" y="919"/>
                    <a:pt x="5506" y="925"/>
                  </a:cubicBezTo>
                  <a:cubicBezTo>
                    <a:pt x="5517" y="931"/>
                    <a:pt x="5544" y="964"/>
                    <a:pt x="5544" y="964"/>
                  </a:cubicBezTo>
                  <a:cubicBezTo>
                    <a:pt x="5551" y="931"/>
                    <a:pt x="5551" y="931"/>
                    <a:pt x="5551" y="931"/>
                  </a:cubicBezTo>
                  <a:cubicBezTo>
                    <a:pt x="5551" y="931"/>
                    <a:pt x="5608" y="924"/>
                    <a:pt x="5617" y="924"/>
                  </a:cubicBezTo>
                  <a:cubicBezTo>
                    <a:pt x="5626" y="924"/>
                    <a:pt x="5663" y="944"/>
                    <a:pt x="5663" y="944"/>
                  </a:cubicBezTo>
                  <a:cubicBezTo>
                    <a:pt x="5691" y="955"/>
                    <a:pt x="5691" y="955"/>
                    <a:pt x="5691" y="955"/>
                  </a:cubicBezTo>
                  <a:cubicBezTo>
                    <a:pt x="5671" y="915"/>
                    <a:pt x="5671" y="915"/>
                    <a:pt x="5671" y="915"/>
                  </a:cubicBezTo>
                  <a:cubicBezTo>
                    <a:pt x="5671" y="915"/>
                    <a:pt x="5703" y="916"/>
                    <a:pt x="5705" y="905"/>
                  </a:cubicBezTo>
                  <a:cubicBezTo>
                    <a:pt x="5707" y="894"/>
                    <a:pt x="5697" y="876"/>
                    <a:pt x="5697" y="876"/>
                  </a:cubicBezTo>
                  <a:cubicBezTo>
                    <a:pt x="5710" y="877"/>
                    <a:pt x="5710" y="877"/>
                    <a:pt x="5710" y="877"/>
                  </a:cubicBezTo>
                  <a:cubicBezTo>
                    <a:pt x="5713" y="861"/>
                    <a:pt x="5713" y="861"/>
                    <a:pt x="5713" y="861"/>
                  </a:cubicBezTo>
                  <a:cubicBezTo>
                    <a:pt x="5713" y="861"/>
                    <a:pt x="5752" y="870"/>
                    <a:pt x="5758" y="855"/>
                  </a:cubicBezTo>
                  <a:cubicBezTo>
                    <a:pt x="5764" y="840"/>
                    <a:pt x="5784" y="828"/>
                    <a:pt x="5784" y="828"/>
                  </a:cubicBezTo>
                  <a:cubicBezTo>
                    <a:pt x="5770" y="811"/>
                    <a:pt x="5770" y="811"/>
                    <a:pt x="5770" y="811"/>
                  </a:cubicBezTo>
                  <a:cubicBezTo>
                    <a:pt x="5791" y="813"/>
                    <a:pt x="5791" y="813"/>
                    <a:pt x="5791" y="813"/>
                  </a:cubicBezTo>
                  <a:cubicBezTo>
                    <a:pt x="5794" y="825"/>
                    <a:pt x="5794" y="825"/>
                    <a:pt x="5794" y="825"/>
                  </a:cubicBezTo>
                  <a:cubicBezTo>
                    <a:pt x="5835" y="828"/>
                    <a:pt x="5835" y="828"/>
                    <a:pt x="5835" y="828"/>
                  </a:cubicBezTo>
                  <a:cubicBezTo>
                    <a:pt x="5835" y="828"/>
                    <a:pt x="5877" y="838"/>
                    <a:pt x="5877" y="832"/>
                  </a:cubicBezTo>
                  <a:cubicBezTo>
                    <a:pt x="5877" y="826"/>
                    <a:pt x="5873" y="814"/>
                    <a:pt x="5873" y="814"/>
                  </a:cubicBezTo>
                  <a:cubicBezTo>
                    <a:pt x="5848" y="811"/>
                    <a:pt x="5848" y="811"/>
                    <a:pt x="5848" y="811"/>
                  </a:cubicBezTo>
                  <a:cubicBezTo>
                    <a:pt x="5844" y="797"/>
                    <a:pt x="5844" y="797"/>
                    <a:pt x="5844" y="797"/>
                  </a:cubicBezTo>
                  <a:cubicBezTo>
                    <a:pt x="5844" y="797"/>
                    <a:pt x="5807" y="784"/>
                    <a:pt x="5795" y="780"/>
                  </a:cubicBezTo>
                  <a:cubicBezTo>
                    <a:pt x="5783" y="776"/>
                    <a:pt x="5774" y="782"/>
                    <a:pt x="5774" y="782"/>
                  </a:cubicBezTo>
                  <a:cubicBezTo>
                    <a:pt x="5778" y="770"/>
                    <a:pt x="5778" y="770"/>
                    <a:pt x="5778" y="770"/>
                  </a:cubicBezTo>
                  <a:cubicBezTo>
                    <a:pt x="5730" y="736"/>
                    <a:pt x="5730" y="736"/>
                    <a:pt x="5730" y="736"/>
                  </a:cubicBezTo>
                  <a:cubicBezTo>
                    <a:pt x="5719" y="747"/>
                    <a:pt x="5719" y="747"/>
                    <a:pt x="5719" y="747"/>
                  </a:cubicBezTo>
                  <a:cubicBezTo>
                    <a:pt x="5719" y="747"/>
                    <a:pt x="5699" y="742"/>
                    <a:pt x="5691" y="739"/>
                  </a:cubicBezTo>
                  <a:cubicBezTo>
                    <a:pt x="5683" y="736"/>
                    <a:pt x="5672" y="727"/>
                    <a:pt x="5672" y="727"/>
                  </a:cubicBezTo>
                  <a:cubicBezTo>
                    <a:pt x="5649" y="732"/>
                    <a:pt x="5649" y="732"/>
                    <a:pt x="5649" y="732"/>
                  </a:cubicBezTo>
                  <a:cubicBezTo>
                    <a:pt x="5630" y="730"/>
                    <a:pt x="5630" y="730"/>
                    <a:pt x="5630" y="730"/>
                  </a:cubicBezTo>
                  <a:cubicBezTo>
                    <a:pt x="5630" y="730"/>
                    <a:pt x="5599" y="712"/>
                    <a:pt x="5611" y="709"/>
                  </a:cubicBezTo>
                  <a:cubicBezTo>
                    <a:pt x="5623" y="706"/>
                    <a:pt x="5635" y="713"/>
                    <a:pt x="5644" y="715"/>
                  </a:cubicBezTo>
                  <a:cubicBezTo>
                    <a:pt x="5653" y="717"/>
                    <a:pt x="5697" y="724"/>
                    <a:pt x="5697" y="724"/>
                  </a:cubicBezTo>
                  <a:cubicBezTo>
                    <a:pt x="5697" y="724"/>
                    <a:pt x="5749" y="709"/>
                    <a:pt x="5749" y="702"/>
                  </a:cubicBezTo>
                  <a:cubicBezTo>
                    <a:pt x="5749" y="695"/>
                    <a:pt x="5719" y="679"/>
                    <a:pt x="5716" y="677"/>
                  </a:cubicBezTo>
                  <a:cubicBezTo>
                    <a:pt x="5713" y="675"/>
                    <a:pt x="5664" y="658"/>
                    <a:pt x="5679" y="649"/>
                  </a:cubicBezTo>
                  <a:cubicBezTo>
                    <a:pt x="5694" y="640"/>
                    <a:pt x="5719" y="660"/>
                    <a:pt x="5719" y="660"/>
                  </a:cubicBezTo>
                  <a:cubicBezTo>
                    <a:pt x="5719" y="660"/>
                    <a:pt x="5766" y="689"/>
                    <a:pt x="5780" y="687"/>
                  </a:cubicBezTo>
                  <a:cubicBezTo>
                    <a:pt x="5794" y="685"/>
                    <a:pt x="5799" y="671"/>
                    <a:pt x="5838" y="684"/>
                  </a:cubicBezTo>
                  <a:cubicBezTo>
                    <a:pt x="5877" y="697"/>
                    <a:pt x="5911" y="711"/>
                    <a:pt x="5922" y="713"/>
                  </a:cubicBezTo>
                  <a:cubicBezTo>
                    <a:pt x="5933" y="715"/>
                    <a:pt x="5976" y="727"/>
                    <a:pt x="5976" y="727"/>
                  </a:cubicBezTo>
                  <a:cubicBezTo>
                    <a:pt x="5976" y="727"/>
                    <a:pt x="6035" y="762"/>
                    <a:pt x="6031" y="744"/>
                  </a:cubicBezTo>
                  <a:cubicBezTo>
                    <a:pt x="6027" y="726"/>
                    <a:pt x="6007" y="715"/>
                    <a:pt x="6007" y="715"/>
                  </a:cubicBezTo>
                  <a:cubicBezTo>
                    <a:pt x="6019" y="706"/>
                    <a:pt x="6019" y="706"/>
                    <a:pt x="6019" y="706"/>
                  </a:cubicBezTo>
                  <a:cubicBezTo>
                    <a:pt x="5989" y="693"/>
                    <a:pt x="5989" y="693"/>
                    <a:pt x="5989" y="693"/>
                  </a:cubicBezTo>
                  <a:cubicBezTo>
                    <a:pt x="5995" y="689"/>
                    <a:pt x="5995" y="689"/>
                    <a:pt x="5995" y="689"/>
                  </a:cubicBezTo>
                  <a:cubicBezTo>
                    <a:pt x="5962" y="672"/>
                    <a:pt x="5962" y="672"/>
                    <a:pt x="5962" y="672"/>
                  </a:cubicBezTo>
                  <a:cubicBezTo>
                    <a:pt x="5998" y="679"/>
                    <a:pt x="5998" y="679"/>
                    <a:pt x="5998" y="679"/>
                  </a:cubicBezTo>
                  <a:cubicBezTo>
                    <a:pt x="5994" y="666"/>
                    <a:pt x="5994" y="666"/>
                    <a:pt x="5994" y="666"/>
                  </a:cubicBezTo>
                  <a:cubicBezTo>
                    <a:pt x="5994" y="666"/>
                    <a:pt x="6045" y="678"/>
                    <a:pt x="6034" y="664"/>
                  </a:cubicBezTo>
                  <a:close/>
                  <a:moveTo>
                    <a:pt x="3574" y="1289"/>
                  </a:moveTo>
                  <a:cubicBezTo>
                    <a:pt x="3574" y="1289"/>
                    <a:pt x="3571" y="1303"/>
                    <a:pt x="3570" y="1306"/>
                  </a:cubicBezTo>
                  <a:cubicBezTo>
                    <a:pt x="3569" y="1309"/>
                    <a:pt x="3556" y="1316"/>
                    <a:pt x="3556" y="1316"/>
                  </a:cubicBezTo>
                  <a:cubicBezTo>
                    <a:pt x="3556" y="1316"/>
                    <a:pt x="3544" y="1322"/>
                    <a:pt x="3540" y="1322"/>
                  </a:cubicBezTo>
                  <a:cubicBezTo>
                    <a:pt x="3535" y="1322"/>
                    <a:pt x="3536" y="1334"/>
                    <a:pt x="3536" y="1334"/>
                  </a:cubicBezTo>
                  <a:cubicBezTo>
                    <a:pt x="3536" y="1334"/>
                    <a:pt x="3534" y="1327"/>
                    <a:pt x="3514" y="1334"/>
                  </a:cubicBezTo>
                  <a:cubicBezTo>
                    <a:pt x="3493" y="1340"/>
                    <a:pt x="3522" y="1350"/>
                    <a:pt x="3522" y="1350"/>
                  </a:cubicBezTo>
                  <a:cubicBezTo>
                    <a:pt x="3522" y="1350"/>
                    <a:pt x="3512" y="1358"/>
                    <a:pt x="3510" y="1367"/>
                  </a:cubicBezTo>
                  <a:cubicBezTo>
                    <a:pt x="3509" y="1377"/>
                    <a:pt x="3494" y="1368"/>
                    <a:pt x="3494" y="1368"/>
                  </a:cubicBezTo>
                  <a:cubicBezTo>
                    <a:pt x="3494" y="1368"/>
                    <a:pt x="3491" y="1382"/>
                    <a:pt x="3471" y="1382"/>
                  </a:cubicBezTo>
                  <a:cubicBezTo>
                    <a:pt x="3450" y="1382"/>
                    <a:pt x="3451" y="1377"/>
                    <a:pt x="3451" y="1377"/>
                  </a:cubicBezTo>
                  <a:cubicBezTo>
                    <a:pt x="3428" y="1371"/>
                    <a:pt x="3428" y="1371"/>
                    <a:pt x="3428" y="1371"/>
                  </a:cubicBezTo>
                  <a:cubicBezTo>
                    <a:pt x="3439" y="1365"/>
                    <a:pt x="3439" y="1365"/>
                    <a:pt x="3439" y="1365"/>
                  </a:cubicBezTo>
                  <a:cubicBezTo>
                    <a:pt x="3461" y="1365"/>
                    <a:pt x="3461" y="1365"/>
                    <a:pt x="3461" y="1365"/>
                  </a:cubicBezTo>
                  <a:cubicBezTo>
                    <a:pt x="3462" y="1360"/>
                    <a:pt x="3462" y="1360"/>
                    <a:pt x="3462" y="1360"/>
                  </a:cubicBezTo>
                  <a:cubicBezTo>
                    <a:pt x="3462" y="1360"/>
                    <a:pt x="3478" y="1360"/>
                    <a:pt x="3485" y="1353"/>
                  </a:cubicBezTo>
                  <a:cubicBezTo>
                    <a:pt x="3491" y="1347"/>
                    <a:pt x="3492" y="1328"/>
                    <a:pt x="3492" y="1328"/>
                  </a:cubicBezTo>
                  <a:cubicBezTo>
                    <a:pt x="3492" y="1328"/>
                    <a:pt x="3496" y="1327"/>
                    <a:pt x="3505" y="1325"/>
                  </a:cubicBezTo>
                  <a:cubicBezTo>
                    <a:pt x="3514" y="1323"/>
                    <a:pt x="3514" y="1307"/>
                    <a:pt x="3514" y="1307"/>
                  </a:cubicBezTo>
                  <a:cubicBezTo>
                    <a:pt x="3514" y="1307"/>
                    <a:pt x="3507" y="1303"/>
                    <a:pt x="3508" y="1297"/>
                  </a:cubicBezTo>
                  <a:cubicBezTo>
                    <a:pt x="3509" y="1292"/>
                    <a:pt x="3528" y="1275"/>
                    <a:pt x="3528" y="1275"/>
                  </a:cubicBezTo>
                  <a:cubicBezTo>
                    <a:pt x="3528" y="1264"/>
                    <a:pt x="3528" y="1264"/>
                    <a:pt x="3528" y="1264"/>
                  </a:cubicBezTo>
                  <a:cubicBezTo>
                    <a:pt x="3542" y="1251"/>
                    <a:pt x="3542" y="1251"/>
                    <a:pt x="3542" y="1251"/>
                  </a:cubicBezTo>
                  <a:cubicBezTo>
                    <a:pt x="3534" y="1240"/>
                    <a:pt x="3534" y="1240"/>
                    <a:pt x="3534" y="1240"/>
                  </a:cubicBezTo>
                  <a:cubicBezTo>
                    <a:pt x="3533" y="1187"/>
                    <a:pt x="3533" y="1187"/>
                    <a:pt x="3533" y="1187"/>
                  </a:cubicBezTo>
                  <a:cubicBezTo>
                    <a:pt x="3533" y="1187"/>
                    <a:pt x="3518" y="1165"/>
                    <a:pt x="3536" y="1160"/>
                  </a:cubicBezTo>
                  <a:cubicBezTo>
                    <a:pt x="3555" y="1156"/>
                    <a:pt x="3551" y="1181"/>
                    <a:pt x="3551" y="1181"/>
                  </a:cubicBezTo>
                  <a:cubicBezTo>
                    <a:pt x="3551" y="1181"/>
                    <a:pt x="3560" y="1188"/>
                    <a:pt x="3564" y="1203"/>
                  </a:cubicBezTo>
                  <a:cubicBezTo>
                    <a:pt x="3569" y="1219"/>
                    <a:pt x="3571" y="1229"/>
                    <a:pt x="3571" y="1229"/>
                  </a:cubicBezTo>
                  <a:cubicBezTo>
                    <a:pt x="3585" y="1248"/>
                    <a:pt x="3585" y="1248"/>
                    <a:pt x="3585" y="1248"/>
                  </a:cubicBezTo>
                  <a:cubicBezTo>
                    <a:pt x="3579" y="1259"/>
                    <a:pt x="3579" y="1259"/>
                    <a:pt x="3579" y="1259"/>
                  </a:cubicBezTo>
                  <a:cubicBezTo>
                    <a:pt x="3579" y="1259"/>
                    <a:pt x="3566" y="1265"/>
                    <a:pt x="3568" y="1272"/>
                  </a:cubicBezTo>
                  <a:cubicBezTo>
                    <a:pt x="3569" y="1280"/>
                    <a:pt x="3585" y="1271"/>
                    <a:pt x="3585" y="1271"/>
                  </a:cubicBezTo>
                  <a:cubicBezTo>
                    <a:pt x="3587" y="1282"/>
                    <a:pt x="3587" y="1282"/>
                    <a:pt x="3587" y="1282"/>
                  </a:cubicBezTo>
                  <a:lnTo>
                    <a:pt x="3574" y="1289"/>
                  </a:lnTo>
                  <a:close/>
                  <a:moveTo>
                    <a:pt x="4656" y="1185"/>
                  </a:moveTo>
                  <a:cubicBezTo>
                    <a:pt x="4650" y="1193"/>
                    <a:pt x="4662" y="1221"/>
                    <a:pt x="4684" y="1223"/>
                  </a:cubicBezTo>
                  <a:cubicBezTo>
                    <a:pt x="4702" y="1225"/>
                    <a:pt x="4662" y="1177"/>
                    <a:pt x="4656" y="1185"/>
                  </a:cubicBezTo>
                  <a:close/>
                  <a:moveTo>
                    <a:pt x="1020" y="0"/>
                  </a:moveTo>
                  <a:cubicBezTo>
                    <a:pt x="986" y="0"/>
                    <a:pt x="986" y="0"/>
                    <a:pt x="986" y="0"/>
                  </a:cubicBezTo>
                  <a:cubicBezTo>
                    <a:pt x="986" y="10"/>
                    <a:pt x="986" y="10"/>
                    <a:pt x="986" y="10"/>
                  </a:cubicBezTo>
                  <a:cubicBezTo>
                    <a:pt x="1007" y="11"/>
                    <a:pt x="1007" y="11"/>
                    <a:pt x="1007" y="11"/>
                  </a:cubicBezTo>
                  <a:cubicBezTo>
                    <a:pt x="1021" y="10"/>
                    <a:pt x="1020" y="0"/>
                    <a:pt x="1020" y="0"/>
                  </a:cubicBezTo>
                  <a:close/>
                  <a:moveTo>
                    <a:pt x="1012" y="37"/>
                  </a:moveTo>
                  <a:cubicBezTo>
                    <a:pt x="1026" y="35"/>
                    <a:pt x="1035" y="23"/>
                    <a:pt x="1017" y="23"/>
                  </a:cubicBezTo>
                  <a:cubicBezTo>
                    <a:pt x="999" y="23"/>
                    <a:pt x="1002" y="38"/>
                    <a:pt x="1012" y="37"/>
                  </a:cubicBezTo>
                  <a:close/>
                  <a:moveTo>
                    <a:pt x="943" y="537"/>
                  </a:moveTo>
                  <a:cubicBezTo>
                    <a:pt x="965" y="542"/>
                    <a:pt x="973" y="535"/>
                    <a:pt x="980" y="531"/>
                  </a:cubicBezTo>
                  <a:cubicBezTo>
                    <a:pt x="987" y="527"/>
                    <a:pt x="993" y="519"/>
                    <a:pt x="993" y="519"/>
                  </a:cubicBezTo>
                  <a:cubicBezTo>
                    <a:pt x="1002" y="518"/>
                    <a:pt x="1002" y="518"/>
                    <a:pt x="1002" y="518"/>
                  </a:cubicBezTo>
                  <a:cubicBezTo>
                    <a:pt x="1002" y="518"/>
                    <a:pt x="994" y="507"/>
                    <a:pt x="968" y="501"/>
                  </a:cubicBezTo>
                  <a:cubicBezTo>
                    <a:pt x="942" y="495"/>
                    <a:pt x="927" y="518"/>
                    <a:pt x="927" y="518"/>
                  </a:cubicBezTo>
                  <a:cubicBezTo>
                    <a:pt x="927" y="521"/>
                    <a:pt x="921" y="533"/>
                    <a:pt x="943" y="537"/>
                  </a:cubicBezTo>
                  <a:close/>
                  <a:moveTo>
                    <a:pt x="996" y="48"/>
                  </a:moveTo>
                  <a:cubicBezTo>
                    <a:pt x="1007" y="61"/>
                    <a:pt x="1000" y="62"/>
                    <a:pt x="1023" y="55"/>
                  </a:cubicBezTo>
                  <a:cubicBezTo>
                    <a:pt x="1045" y="48"/>
                    <a:pt x="1020" y="45"/>
                    <a:pt x="1016" y="45"/>
                  </a:cubicBezTo>
                  <a:cubicBezTo>
                    <a:pt x="1012" y="45"/>
                    <a:pt x="996" y="48"/>
                    <a:pt x="996" y="48"/>
                  </a:cubicBezTo>
                  <a:close/>
                  <a:moveTo>
                    <a:pt x="966" y="65"/>
                  </a:moveTo>
                  <a:cubicBezTo>
                    <a:pt x="976" y="65"/>
                    <a:pt x="1009" y="63"/>
                    <a:pt x="1003" y="62"/>
                  </a:cubicBezTo>
                  <a:cubicBezTo>
                    <a:pt x="997" y="61"/>
                    <a:pt x="985" y="52"/>
                    <a:pt x="985" y="52"/>
                  </a:cubicBezTo>
                  <a:cubicBezTo>
                    <a:pt x="954" y="52"/>
                    <a:pt x="954" y="52"/>
                    <a:pt x="954" y="52"/>
                  </a:cubicBezTo>
                  <a:cubicBezTo>
                    <a:pt x="954" y="52"/>
                    <a:pt x="957" y="65"/>
                    <a:pt x="966" y="65"/>
                  </a:cubicBezTo>
                  <a:close/>
                  <a:moveTo>
                    <a:pt x="893" y="23"/>
                  </a:moveTo>
                  <a:cubicBezTo>
                    <a:pt x="876" y="24"/>
                    <a:pt x="885" y="35"/>
                    <a:pt x="885" y="35"/>
                  </a:cubicBezTo>
                  <a:cubicBezTo>
                    <a:pt x="910" y="30"/>
                    <a:pt x="910" y="21"/>
                    <a:pt x="893" y="23"/>
                  </a:cubicBezTo>
                  <a:close/>
                  <a:moveTo>
                    <a:pt x="940" y="48"/>
                  </a:moveTo>
                  <a:cubicBezTo>
                    <a:pt x="924" y="45"/>
                    <a:pt x="924" y="45"/>
                    <a:pt x="924" y="45"/>
                  </a:cubicBezTo>
                  <a:cubicBezTo>
                    <a:pt x="930" y="61"/>
                    <a:pt x="930" y="61"/>
                    <a:pt x="930" y="61"/>
                  </a:cubicBezTo>
                  <a:lnTo>
                    <a:pt x="940" y="48"/>
                  </a:lnTo>
                  <a:close/>
                  <a:moveTo>
                    <a:pt x="972" y="10"/>
                  </a:moveTo>
                  <a:cubicBezTo>
                    <a:pt x="972" y="27"/>
                    <a:pt x="972" y="27"/>
                    <a:pt x="972" y="27"/>
                  </a:cubicBezTo>
                  <a:cubicBezTo>
                    <a:pt x="995" y="20"/>
                    <a:pt x="995" y="20"/>
                    <a:pt x="995" y="20"/>
                  </a:cubicBezTo>
                  <a:lnTo>
                    <a:pt x="972" y="10"/>
                  </a:lnTo>
                  <a:close/>
                  <a:moveTo>
                    <a:pt x="936" y="31"/>
                  </a:moveTo>
                  <a:cubicBezTo>
                    <a:pt x="936" y="31"/>
                    <a:pt x="931" y="25"/>
                    <a:pt x="924" y="25"/>
                  </a:cubicBezTo>
                  <a:cubicBezTo>
                    <a:pt x="917" y="25"/>
                    <a:pt x="919" y="38"/>
                    <a:pt x="919" y="38"/>
                  </a:cubicBezTo>
                  <a:lnTo>
                    <a:pt x="936" y="31"/>
                  </a:lnTo>
                  <a:close/>
                  <a:moveTo>
                    <a:pt x="957" y="31"/>
                  </a:moveTo>
                  <a:cubicBezTo>
                    <a:pt x="938" y="39"/>
                    <a:pt x="938" y="39"/>
                    <a:pt x="938" y="39"/>
                  </a:cubicBezTo>
                  <a:cubicBezTo>
                    <a:pt x="957" y="39"/>
                    <a:pt x="957" y="39"/>
                    <a:pt x="957" y="39"/>
                  </a:cubicBezTo>
                  <a:lnTo>
                    <a:pt x="957" y="31"/>
                  </a:lnTo>
                  <a:close/>
                  <a:moveTo>
                    <a:pt x="979" y="42"/>
                  </a:moveTo>
                  <a:cubicBezTo>
                    <a:pt x="995" y="47"/>
                    <a:pt x="1009" y="30"/>
                    <a:pt x="990" y="28"/>
                  </a:cubicBezTo>
                  <a:cubicBezTo>
                    <a:pt x="972" y="27"/>
                    <a:pt x="964" y="38"/>
                    <a:pt x="979" y="42"/>
                  </a:cubicBezTo>
                  <a:close/>
                  <a:moveTo>
                    <a:pt x="966" y="23"/>
                  </a:moveTo>
                  <a:cubicBezTo>
                    <a:pt x="965" y="7"/>
                    <a:pt x="965" y="7"/>
                    <a:pt x="965" y="7"/>
                  </a:cubicBezTo>
                  <a:cubicBezTo>
                    <a:pt x="938" y="14"/>
                    <a:pt x="938" y="14"/>
                    <a:pt x="938" y="14"/>
                  </a:cubicBezTo>
                  <a:cubicBezTo>
                    <a:pt x="944" y="24"/>
                    <a:pt x="944" y="24"/>
                    <a:pt x="944" y="24"/>
                  </a:cubicBezTo>
                  <a:lnTo>
                    <a:pt x="966" y="23"/>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86" name="Qatar">
              <a:extLst>
                <a:ext uri="{FF2B5EF4-FFF2-40B4-BE49-F238E27FC236}">
                  <a16:creationId xmlns:a16="http://schemas.microsoft.com/office/drawing/2014/main" id="{55C173AD-413E-4CC5-A989-CDD50EC31000}"/>
                </a:ext>
              </a:extLst>
            </p:cNvPr>
            <p:cNvSpPr>
              <a:spLocks/>
            </p:cNvSpPr>
            <p:nvPr/>
          </p:nvSpPr>
          <p:spPr bwMode="gray">
            <a:xfrm>
              <a:off x="6937229" y="3291757"/>
              <a:ext cx="26992" cy="55537"/>
            </a:xfrm>
            <a:custGeom>
              <a:avLst/>
              <a:gdLst>
                <a:gd name="T0" fmla="*/ 16 w 49"/>
                <a:gd name="T1" fmla="*/ 90 h 98"/>
                <a:gd name="T2" fmla="*/ 24 w 49"/>
                <a:gd name="T3" fmla="*/ 98 h 98"/>
                <a:gd name="T4" fmla="*/ 30 w 49"/>
                <a:gd name="T5" fmla="*/ 96 h 98"/>
                <a:gd name="T6" fmla="*/ 30 w 49"/>
                <a:gd name="T7" fmla="*/ 95 h 98"/>
                <a:gd name="T8" fmla="*/ 47 w 49"/>
                <a:gd name="T9" fmla="*/ 35 h 98"/>
                <a:gd name="T10" fmla="*/ 22 w 49"/>
                <a:gd name="T11" fmla="*/ 3 h 98"/>
                <a:gd name="T12" fmla="*/ 9 w 49"/>
                <a:gd name="T13" fmla="*/ 47 h 98"/>
                <a:gd name="T14" fmla="*/ 1 w 49"/>
                <a:gd name="T15" fmla="*/ 84 h 98"/>
                <a:gd name="T16" fmla="*/ 0 w 49"/>
                <a:gd name="T17" fmla="*/ 83 h 98"/>
                <a:gd name="T18" fmla="*/ 6 w 49"/>
                <a:gd name="T19" fmla="*/ 93 h 98"/>
                <a:gd name="T20" fmla="*/ 16 w 49"/>
                <a:gd name="T21"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98">
                  <a:moveTo>
                    <a:pt x="16" y="90"/>
                  </a:moveTo>
                  <a:cubicBezTo>
                    <a:pt x="24" y="98"/>
                    <a:pt x="24" y="98"/>
                    <a:pt x="24" y="98"/>
                  </a:cubicBezTo>
                  <a:cubicBezTo>
                    <a:pt x="30" y="96"/>
                    <a:pt x="30" y="96"/>
                    <a:pt x="30" y="96"/>
                  </a:cubicBezTo>
                  <a:cubicBezTo>
                    <a:pt x="30" y="96"/>
                    <a:pt x="30" y="95"/>
                    <a:pt x="30" y="95"/>
                  </a:cubicBezTo>
                  <a:cubicBezTo>
                    <a:pt x="35" y="86"/>
                    <a:pt x="49" y="56"/>
                    <a:pt x="47" y="35"/>
                  </a:cubicBezTo>
                  <a:cubicBezTo>
                    <a:pt x="45" y="14"/>
                    <a:pt x="31" y="0"/>
                    <a:pt x="22" y="3"/>
                  </a:cubicBezTo>
                  <a:cubicBezTo>
                    <a:pt x="12" y="6"/>
                    <a:pt x="10" y="32"/>
                    <a:pt x="9" y="47"/>
                  </a:cubicBezTo>
                  <a:cubicBezTo>
                    <a:pt x="9" y="62"/>
                    <a:pt x="9" y="83"/>
                    <a:pt x="1" y="84"/>
                  </a:cubicBezTo>
                  <a:cubicBezTo>
                    <a:pt x="1" y="84"/>
                    <a:pt x="1" y="84"/>
                    <a:pt x="0" y="83"/>
                  </a:cubicBezTo>
                  <a:cubicBezTo>
                    <a:pt x="6" y="93"/>
                    <a:pt x="6" y="93"/>
                    <a:pt x="6" y="93"/>
                  </a:cubicBezTo>
                  <a:lnTo>
                    <a:pt x="16" y="90"/>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87" name="Philippines">
              <a:extLst>
                <a:ext uri="{FF2B5EF4-FFF2-40B4-BE49-F238E27FC236}">
                  <a16:creationId xmlns:a16="http://schemas.microsoft.com/office/drawing/2014/main" id="{6C8D740D-BF23-4480-BF81-02E539BF2AA0}"/>
                </a:ext>
              </a:extLst>
            </p:cNvPr>
            <p:cNvSpPr>
              <a:spLocks noEditPoints="1"/>
            </p:cNvSpPr>
            <p:nvPr/>
          </p:nvSpPr>
          <p:spPr bwMode="gray">
            <a:xfrm>
              <a:off x="8712361" y="3518664"/>
              <a:ext cx="273097" cy="449055"/>
            </a:xfrm>
            <a:custGeom>
              <a:avLst/>
              <a:gdLst>
                <a:gd name="T0" fmla="*/ 475 w 487"/>
                <a:gd name="T1" fmla="*/ 801 h 801"/>
                <a:gd name="T2" fmla="*/ 476 w 487"/>
                <a:gd name="T3" fmla="*/ 763 h 801"/>
                <a:gd name="T4" fmla="*/ 395 w 487"/>
                <a:gd name="T5" fmla="*/ 758 h 801"/>
                <a:gd name="T6" fmla="*/ 187 w 487"/>
                <a:gd name="T7" fmla="*/ 700 h 801"/>
                <a:gd name="T8" fmla="*/ 175 w 487"/>
                <a:gd name="T9" fmla="*/ 693 h 801"/>
                <a:gd name="T10" fmla="*/ 346 w 487"/>
                <a:gd name="T11" fmla="*/ 393 h 801"/>
                <a:gd name="T12" fmla="*/ 408 w 487"/>
                <a:gd name="T13" fmla="*/ 418 h 801"/>
                <a:gd name="T14" fmla="*/ 321 w 487"/>
                <a:gd name="T15" fmla="*/ 337 h 801"/>
                <a:gd name="T16" fmla="*/ 325 w 487"/>
                <a:gd name="T17" fmla="*/ 499 h 801"/>
                <a:gd name="T18" fmla="*/ 301 w 487"/>
                <a:gd name="T19" fmla="*/ 414 h 801"/>
                <a:gd name="T20" fmla="*/ 358 w 487"/>
                <a:gd name="T21" fmla="*/ 492 h 801"/>
                <a:gd name="T22" fmla="*/ 337 w 487"/>
                <a:gd name="T23" fmla="*/ 494 h 801"/>
                <a:gd name="T24" fmla="*/ 360 w 487"/>
                <a:gd name="T25" fmla="*/ 416 h 801"/>
                <a:gd name="T26" fmla="*/ 352 w 487"/>
                <a:gd name="T27" fmla="*/ 436 h 801"/>
                <a:gd name="T28" fmla="*/ 391 w 487"/>
                <a:gd name="T29" fmla="*/ 441 h 801"/>
                <a:gd name="T30" fmla="*/ 103 w 487"/>
                <a:gd name="T31" fmla="*/ 405 h 801"/>
                <a:gd name="T32" fmla="*/ 79 w 487"/>
                <a:gd name="T33" fmla="*/ 472 h 801"/>
                <a:gd name="T34" fmla="*/ 55 w 487"/>
                <a:gd name="T35" fmla="*/ 514 h 801"/>
                <a:gd name="T36" fmla="*/ 31 w 487"/>
                <a:gd name="T37" fmla="*/ 557 h 801"/>
                <a:gd name="T38" fmla="*/ 71 w 487"/>
                <a:gd name="T39" fmla="*/ 503 h 801"/>
                <a:gd name="T40" fmla="*/ 117 w 487"/>
                <a:gd name="T41" fmla="*/ 403 h 801"/>
                <a:gd name="T42" fmla="*/ 259 w 487"/>
                <a:gd name="T43" fmla="*/ 679 h 801"/>
                <a:gd name="T44" fmla="*/ 451 w 487"/>
                <a:gd name="T45" fmla="*/ 560 h 801"/>
                <a:gd name="T46" fmla="*/ 413 w 487"/>
                <a:gd name="T47" fmla="*/ 526 h 801"/>
                <a:gd name="T48" fmla="*/ 362 w 487"/>
                <a:gd name="T49" fmla="*/ 552 h 801"/>
                <a:gd name="T50" fmla="*/ 307 w 487"/>
                <a:gd name="T51" fmla="*/ 568 h 801"/>
                <a:gd name="T52" fmla="*/ 251 w 487"/>
                <a:gd name="T53" fmla="*/ 627 h 801"/>
                <a:gd name="T54" fmla="*/ 287 w 487"/>
                <a:gd name="T55" fmla="*/ 643 h 801"/>
                <a:gd name="T56" fmla="*/ 340 w 487"/>
                <a:gd name="T57" fmla="*/ 657 h 801"/>
                <a:gd name="T58" fmla="*/ 413 w 487"/>
                <a:gd name="T59" fmla="*/ 701 h 801"/>
                <a:gd name="T60" fmla="*/ 430 w 487"/>
                <a:gd name="T61" fmla="*/ 693 h 801"/>
                <a:gd name="T62" fmla="*/ 444 w 487"/>
                <a:gd name="T63" fmla="*/ 676 h 801"/>
                <a:gd name="T64" fmla="*/ 451 w 487"/>
                <a:gd name="T65" fmla="*/ 560 h 801"/>
                <a:gd name="T66" fmla="*/ 286 w 487"/>
                <a:gd name="T67" fmla="*/ 309 h 801"/>
                <a:gd name="T68" fmla="*/ 259 w 487"/>
                <a:gd name="T69" fmla="*/ 240 h 801"/>
                <a:gd name="T70" fmla="*/ 184 w 487"/>
                <a:gd name="T71" fmla="*/ 201 h 801"/>
                <a:gd name="T72" fmla="*/ 193 w 487"/>
                <a:gd name="T73" fmla="*/ 93 h 801"/>
                <a:gd name="T74" fmla="*/ 184 w 487"/>
                <a:gd name="T75" fmla="*/ 16 h 801"/>
                <a:gd name="T76" fmla="*/ 126 w 487"/>
                <a:gd name="T77" fmla="*/ 10 h 801"/>
                <a:gd name="T78" fmla="*/ 100 w 487"/>
                <a:gd name="T79" fmla="*/ 53 h 801"/>
                <a:gd name="T80" fmla="*/ 112 w 487"/>
                <a:gd name="T81" fmla="*/ 109 h 801"/>
                <a:gd name="T82" fmla="*/ 92 w 487"/>
                <a:gd name="T83" fmla="*/ 152 h 801"/>
                <a:gd name="T84" fmla="*/ 135 w 487"/>
                <a:gd name="T85" fmla="*/ 233 h 801"/>
                <a:gd name="T86" fmla="*/ 219 w 487"/>
                <a:gd name="T87" fmla="*/ 274 h 801"/>
                <a:gd name="T88" fmla="*/ 146 w 487"/>
                <a:gd name="T89" fmla="*/ 285 h 801"/>
                <a:gd name="T90" fmla="*/ 197 w 487"/>
                <a:gd name="T91" fmla="*/ 339 h 801"/>
                <a:gd name="T92" fmla="*/ 232 w 487"/>
                <a:gd name="T93" fmla="*/ 434 h 801"/>
                <a:gd name="T94" fmla="*/ 271 w 487"/>
                <a:gd name="T95" fmla="*/ 463 h 801"/>
                <a:gd name="T96" fmla="*/ 273 w 487"/>
                <a:gd name="T97" fmla="*/ 535 h 801"/>
                <a:gd name="T98" fmla="*/ 295 w 487"/>
                <a:gd name="T99" fmla="*/ 431 h 801"/>
                <a:gd name="T100" fmla="*/ 249 w 487"/>
                <a:gd name="T101" fmla="*/ 378 h 801"/>
                <a:gd name="T102" fmla="*/ 232 w 487"/>
                <a:gd name="T103" fmla="*/ 434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7" h="801">
                  <a:moveTo>
                    <a:pt x="476" y="763"/>
                  </a:moveTo>
                  <a:cubicBezTo>
                    <a:pt x="472" y="782"/>
                    <a:pt x="472" y="782"/>
                    <a:pt x="472" y="782"/>
                  </a:cubicBezTo>
                  <a:cubicBezTo>
                    <a:pt x="475" y="801"/>
                    <a:pt x="475" y="801"/>
                    <a:pt x="475" y="801"/>
                  </a:cubicBezTo>
                  <a:cubicBezTo>
                    <a:pt x="487" y="791"/>
                    <a:pt x="487" y="791"/>
                    <a:pt x="487" y="791"/>
                  </a:cubicBezTo>
                  <a:cubicBezTo>
                    <a:pt x="487" y="763"/>
                    <a:pt x="487" y="763"/>
                    <a:pt x="487" y="763"/>
                  </a:cubicBezTo>
                  <a:lnTo>
                    <a:pt x="476" y="763"/>
                  </a:lnTo>
                  <a:close/>
                  <a:moveTo>
                    <a:pt x="399" y="785"/>
                  </a:moveTo>
                  <a:cubicBezTo>
                    <a:pt x="410" y="763"/>
                    <a:pt x="410" y="763"/>
                    <a:pt x="410" y="763"/>
                  </a:cubicBezTo>
                  <a:cubicBezTo>
                    <a:pt x="395" y="758"/>
                    <a:pt x="395" y="758"/>
                    <a:pt x="395" y="758"/>
                  </a:cubicBezTo>
                  <a:lnTo>
                    <a:pt x="399" y="785"/>
                  </a:lnTo>
                  <a:close/>
                  <a:moveTo>
                    <a:pt x="175" y="693"/>
                  </a:moveTo>
                  <a:cubicBezTo>
                    <a:pt x="187" y="700"/>
                    <a:pt x="187" y="700"/>
                    <a:pt x="187" y="700"/>
                  </a:cubicBezTo>
                  <a:cubicBezTo>
                    <a:pt x="199" y="682"/>
                    <a:pt x="199" y="682"/>
                    <a:pt x="199" y="682"/>
                  </a:cubicBezTo>
                  <a:cubicBezTo>
                    <a:pt x="182" y="672"/>
                    <a:pt x="182" y="672"/>
                    <a:pt x="182" y="672"/>
                  </a:cubicBezTo>
                  <a:lnTo>
                    <a:pt x="175" y="693"/>
                  </a:lnTo>
                  <a:close/>
                  <a:moveTo>
                    <a:pt x="345" y="372"/>
                  </a:moveTo>
                  <a:cubicBezTo>
                    <a:pt x="370" y="385"/>
                    <a:pt x="370" y="385"/>
                    <a:pt x="370" y="385"/>
                  </a:cubicBezTo>
                  <a:cubicBezTo>
                    <a:pt x="370" y="401"/>
                    <a:pt x="346" y="393"/>
                    <a:pt x="346" y="393"/>
                  </a:cubicBezTo>
                  <a:cubicBezTo>
                    <a:pt x="389" y="427"/>
                    <a:pt x="389" y="427"/>
                    <a:pt x="389" y="427"/>
                  </a:cubicBezTo>
                  <a:cubicBezTo>
                    <a:pt x="391" y="413"/>
                    <a:pt x="391" y="413"/>
                    <a:pt x="391" y="413"/>
                  </a:cubicBezTo>
                  <a:cubicBezTo>
                    <a:pt x="408" y="418"/>
                    <a:pt x="408" y="418"/>
                    <a:pt x="408" y="418"/>
                  </a:cubicBezTo>
                  <a:cubicBezTo>
                    <a:pt x="394" y="395"/>
                    <a:pt x="394" y="395"/>
                    <a:pt x="394" y="395"/>
                  </a:cubicBezTo>
                  <a:cubicBezTo>
                    <a:pt x="394" y="395"/>
                    <a:pt x="391" y="370"/>
                    <a:pt x="379" y="357"/>
                  </a:cubicBezTo>
                  <a:cubicBezTo>
                    <a:pt x="367" y="344"/>
                    <a:pt x="328" y="321"/>
                    <a:pt x="321" y="337"/>
                  </a:cubicBezTo>
                  <a:cubicBezTo>
                    <a:pt x="312" y="357"/>
                    <a:pt x="345" y="372"/>
                    <a:pt x="345" y="372"/>
                  </a:cubicBezTo>
                  <a:close/>
                  <a:moveTo>
                    <a:pt x="318" y="445"/>
                  </a:moveTo>
                  <a:cubicBezTo>
                    <a:pt x="325" y="499"/>
                    <a:pt x="325" y="499"/>
                    <a:pt x="325" y="499"/>
                  </a:cubicBezTo>
                  <a:cubicBezTo>
                    <a:pt x="333" y="449"/>
                    <a:pt x="333" y="449"/>
                    <a:pt x="333" y="449"/>
                  </a:cubicBezTo>
                  <a:cubicBezTo>
                    <a:pt x="316" y="414"/>
                    <a:pt x="316" y="414"/>
                    <a:pt x="316" y="414"/>
                  </a:cubicBezTo>
                  <a:cubicBezTo>
                    <a:pt x="301" y="414"/>
                    <a:pt x="301" y="414"/>
                    <a:pt x="301" y="414"/>
                  </a:cubicBezTo>
                  <a:lnTo>
                    <a:pt x="318" y="445"/>
                  </a:lnTo>
                  <a:close/>
                  <a:moveTo>
                    <a:pt x="337" y="494"/>
                  </a:moveTo>
                  <a:cubicBezTo>
                    <a:pt x="358" y="492"/>
                    <a:pt x="358" y="492"/>
                    <a:pt x="358" y="492"/>
                  </a:cubicBezTo>
                  <a:cubicBezTo>
                    <a:pt x="361" y="475"/>
                    <a:pt x="361" y="475"/>
                    <a:pt x="361" y="475"/>
                  </a:cubicBezTo>
                  <a:cubicBezTo>
                    <a:pt x="343" y="469"/>
                    <a:pt x="343" y="469"/>
                    <a:pt x="343" y="469"/>
                  </a:cubicBezTo>
                  <a:lnTo>
                    <a:pt x="337" y="494"/>
                  </a:lnTo>
                  <a:close/>
                  <a:moveTo>
                    <a:pt x="391" y="441"/>
                  </a:moveTo>
                  <a:cubicBezTo>
                    <a:pt x="372" y="434"/>
                    <a:pt x="372" y="434"/>
                    <a:pt x="372" y="434"/>
                  </a:cubicBezTo>
                  <a:cubicBezTo>
                    <a:pt x="372" y="434"/>
                    <a:pt x="364" y="424"/>
                    <a:pt x="360" y="416"/>
                  </a:cubicBezTo>
                  <a:cubicBezTo>
                    <a:pt x="357" y="408"/>
                    <a:pt x="333" y="413"/>
                    <a:pt x="333" y="413"/>
                  </a:cubicBezTo>
                  <a:cubicBezTo>
                    <a:pt x="336" y="442"/>
                    <a:pt x="336" y="442"/>
                    <a:pt x="336" y="442"/>
                  </a:cubicBezTo>
                  <a:cubicBezTo>
                    <a:pt x="352" y="436"/>
                    <a:pt x="352" y="436"/>
                    <a:pt x="352" y="436"/>
                  </a:cubicBezTo>
                  <a:cubicBezTo>
                    <a:pt x="358" y="452"/>
                    <a:pt x="358" y="452"/>
                    <a:pt x="358" y="452"/>
                  </a:cubicBezTo>
                  <a:cubicBezTo>
                    <a:pt x="391" y="477"/>
                    <a:pt x="391" y="477"/>
                    <a:pt x="391" y="477"/>
                  </a:cubicBezTo>
                  <a:lnTo>
                    <a:pt x="391" y="441"/>
                  </a:lnTo>
                  <a:close/>
                  <a:moveTo>
                    <a:pt x="117" y="403"/>
                  </a:moveTo>
                  <a:cubicBezTo>
                    <a:pt x="107" y="388"/>
                    <a:pt x="107" y="388"/>
                    <a:pt x="107" y="388"/>
                  </a:cubicBezTo>
                  <a:cubicBezTo>
                    <a:pt x="103" y="405"/>
                    <a:pt x="103" y="405"/>
                    <a:pt x="103" y="405"/>
                  </a:cubicBezTo>
                  <a:cubicBezTo>
                    <a:pt x="103" y="405"/>
                    <a:pt x="84" y="421"/>
                    <a:pt x="91" y="436"/>
                  </a:cubicBezTo>
                  <a:cubicBezTo>
                    <a:pt x="98" y="450"/>
                    <a:pt x="115" y="450"/>
                    <a:pt x="105" y="457"/>
                  </a:cubicBezTo>
                  <a:cubicBezTo>
                    <a:pt x="95" y="463"/>
                    <a:pt x="79" y="472"/>
                    <a:pt x="79" y="472"/>
                  </a:cubicBezTo>
                  <a:cubicBezTo>
                    <a:pt x="72" y="490"/>
                    <a:pt x="72" y="490"/>
                    <a:pt x="72" y="490"/>
                  </a:cubicBezTo>
                  <a:cubicBezTo>
                    <a:pt x="57" y="499"/>
                    <a:pt x="57" y="499"/>
                    <a:pt x="57" y="499"/>
                  </a:cubicBezTo>
                  <a:cubicBezTo>
                    <a:pt x="57" y="499"/>
                    <a:pt x="62" y="508"/>
                    <a:pt x="55" y="514"/>
                  </a:cubicBezTo>
                  <a:cubicBezTo>
                    <a:pt x="48" y="521"/>
                    <a:pt x="23" y="532"/>
                    <a:pt x="23" y="532"/>
                  </a:cubicBezTo>
                  <a:cubicBezTo>
                    <a:pt x="23" y="532"/>
                    <a:pt x="0" y="568"/>
                    <a:pt x="11" y="576"/>
                  </a:cubicBezTo>
                  <a:cubicBezTo>
                    <a:pt x="31" y="557"/>
                    <a:pt x="31" y="557"/>
                    <a:pt x="31" y="557"/>
                  </a:cubicBezTo>
                  <a:cubicBezTo>
                    <a:pt x="31" y="557"/>
                    <a:pt x="28" y="542"/>
                    <a:pt x="36" y="542"/>
                  </a:cubicBezTo>
                  <a:cubicBezTo>
                    <a:pt x="45" y="542"/>
                    <a:pt x="55" y="539"/>
                    <a:pt x="62" y="534"/>
                  </a:cubicBezTo>
                  <a:cubicBezTo>
                    <a:pt x="69" y="529"/>
                    <a:pt x="62" y="513"/>
                    <a:pt x="71" y="503"/>
                  </a:cubicBezTo>
                  <a:cubicBezTo>
                    <a:pt x="79" y="493"/>
                    <a:pt x="127" y="478"/>
                    <a:pt x="127" y="467"/>
                  </a:cubicBezTo>
                  <a:cubicBezTo>
                    <a:pt x="127" y="455"/>
                    <a:pt x="117" y="444"/>
                    <a:pt x="115" y="434"/>
                  </a:cubicBezTo>
                  <a:cubicBezTo>
                    <a:pt x="114" y="424"/>
                    <a:pt x="117" y="403"/>
                    <a:pt x="117" y="403"/>
                  </a:cubicBezTo>
                  <a:close/>
                  <a:moveTo>
                    <a:pt x="232" y="684"/>
                  </a:moveTo>
                  <a:cubicBezTo>
                    <a:pt x="257" y="706"/>
                    <a:pt x="257" y="706"/>
                    <a:pt x="257" y="706"/>
                  </a:cubicBezTo>
                  <a:cubicBezTo>
                    <a:pt x="259" y="679"/>
                    <a:pt x="259" y="679"/>
                    <a:pt x="259" y="679"/>
                  </a:cubicBezTo>
                  <a:cubicBezTo>
                    <a:pt x="244" y="668"/>
                    <a:pt x="244" y="668"/>
                    <a:pt x="244" y="668"/>
                  </a:cubicBezTo>
                  <a:lnTo>
                    <a:pt x="232" y="684"/>
                  </a:lnTo>
                  <a:close/>
                  <a:moveTo>
                    <a:pt x="451" y="560"/>
                  </a:moveTo>
                  <a:cubicBezTo>
                    <a:pt x="451" y="560"/>
                    <a:pt x="451" y="529"/>
                    <a:pt x="441" y="524"/>
                  </a:cubicBezTo>
                  <a:cubicBezTo>
                    <a:pt x="430" y="519"/>
                    <a:pt x="405" y="483"/>
                    <a:pt x="396" y="491"/>
                  </a:cubicBezTo>
                  <a:cubicBezTo>
                    <a:pt x="388" y="499"/>
                    <a:pt x="420" y="522"/>
                    <a:pt x="413" y="526"/>
                  </a:cubicBezTo>
                  <a:cubicBezTo>
                    <a:pt x="406" y="529"/>
                    <a:pt x="376" y="532"/>
                    <a:pt x="376" y="532"/>
                  </a:cubicBezTo>
                  <a:cubicBezTo>
                    <a:pt x="376" y="553"/>
                    <a:pt x="376" y="553"/>
                    <a:pt x="376" y="553"/>
                  </a:cubicBezTo>
                  <a:cubicBezTo>
                    <a:pt x="362" y="552"/>
                    <a:pt x="362" y="552"/>
                    <a:pt x="362" y="552"/>
                  </a:cubicBezTo>
                  <a:cubicBezTo>
                    <a:pt x="358" y="567"/>
                    <a:pt x="358" y="567"/>
                    <a:pt x="358" y="567"/>
                  </a:cubicBezTo>
                  <a:cubicBezTo>
                    <a:pt x="341" y="576"/>
                    <a:pt x="341" y="576"/>
                    <a:pt x="341" y="576"/>
                  </a:cubicBezTo>
                  <a:cubicBezTo>
                    <a:pt x="341" y="576"/>
                    <a:pt x="316" y="560"/>
                    <a:pt x="307" y="568"/>
                  </a:cubicBezTo>
                  <a:cubicBezTo>
                    <a:pt x="299" y="576"/>
                    <a:pt x="283" y="604"/>
                    <a:pt x="283" y="604"/>
                  </a:cubicBezTo>
                  <a:cubicBezTo>
                    <a:pt x="283" y="604"/>
                    <a:pt x="273" y="585"/>
                    <a:pt x="268" y="594"/>
                  </a:cubicBezTo>
                  <a:cubicBezTo>
                    <a:pt x="263" y="604"/>
                    <a:pt x="251" y="627"/>
                    <a:pt x="251" y="627"/>
                  </a:cubicBezTo>
                  <a:cubicBezTo>
                    <a:pt x="264" y="640"/>
                    <a:pt x="264" y="640"/>
                    <a:pt x="264" y="640"/>
                  </a:cubicBezTo>
                  <a:cubicBezTo>
                    <a:pt x="278" y="627"/>
                    <a:pt x="278" y="627"/>
                    <a:pt x="278" y="627"/>
                  </a:cubicBezTo>
                  <a:cubicBezTo>
                    <a:pt x="287" y="643"/>
                    <a:pt x="287" y="643"/>
                    <a:pt x="287" y="643"/>
                  </a:cubicBezTo>
                  <a:cubicBezTo>
                    <a:pt x="287" y="643"/>
                    <a:pt x="314" y="621"/>
                    <a:pt x="321" y="621"/>
                  </a:cubicBezTo>
                  <a:cubicBezTo>
                    <a:pt x="328" y="621"/>
                    <a:pt x="350" y="642"/>
                    <a:pt x="350" y="642"/>
                  </a:cubicBezTo>
                  <a:cubicBezTo>
                    <a:pt x="350" y="642"/>
                    <a:pt x="340" y="648"/>
                    <a:pt x="340" y="657"/>
                  </a:cubicBezTo>
                  <a:cubicBezTo>
                    <a:pt x="340" y="665"/>
                    <a:pt x="358" y="701"/>
                    <a:pt x="367" y="704"/>
                  </a:cubicBezTo>
                  <a:cubicBezTo>
                    <a:pt x="376" y="707"/>
                    <a:pt x="400" y="714"/>
                    <a:pt x="400" y="714"/>
                  </a:cubicBezTo>
                  <a:cubicBezTo>
                    <a:pt x="413" y="701"/>
                    <a:pt x="413" y="701"/>
                    <a:pt x="413" y="701"/>
                  </a:cubicBezTo>
                  <a:cubicBezTo>
                    <a:pt x="415" y="717"/>
                    <a:pt x="415" y="717"/>
                    <a:pt x="415" y="717"/>
                  </a:cubicBezTo>
                  <a:cubicBezTo>
                    <a:pt x="429" y="719"/>
                    <a:pt x="429" y="719"/>
                    <a:pt x="429" y="719"/>
                  </a:cubicBezTo>
                  <a:cubicBezTo>
                    <a:pt x="430" y="693"/>
                    <a:pt x="430" y="693"/>
                    <a:pt x="430" y="693"/>
                  </a:cubicBezTo>
                  <a:cubicBezTo>
                    <a:pt x="430" y="693"/>
                    <a:pt x="410" y="671"/>
                    <a:pt x="415" y="658"/>
                  </a:cubicBezTo>
                  <a:cubicBezTo>
                    <a:pt x="420" y="645"/>
                    <a:pt x="427" y="642"/>
                    <a:pt x="427" y="642"/>
                  </a:cubicBezTo>
                  <a:cubicBezTo>
                    <a:pt x="444" y="676"/>
                    <a:pt x="444" y="676"/>
                    <a:pt x="444" y="676"/>
                  </a:cubicBezTo>
                  <a:cubicBezTo>
                    <a:pt x="444" y="676"/>
                    <a:pt x="463" y="650"/>
                    <a:pt x="463" y="634"/>
                  </a:cubicBezTo>
                  <a:cubicBezTo>
                    <a:pt x="463" y="617"/>
                    <a:pt x="451" y="599"/>
                    <a:pt x="451" y="599"/>
                  </a:cubicBezTo>
                  <a:lnTo>
                    <a:pt x="451" y="560"/>
                  </a:lnTo>
                  <a:close/>
                  <a:moveTo>
                    <a:pt x="230" y="258"/>
                  </a:moveTo>
                  <a:cubicBezTo>
                    <a:pt x="248" y="256"/>
                    <a:pt x="255" y="265"/>
                    <a:pt x="259" y="279"/>
                  </a:cubicBezTo>
                  <a:cubicBezTo>
                    <a:pt x="262" y="291"/>
                    <a:pt x="272" y="303"/>
                    <a:pt x="286" y="309"/>
                  </a:cubicBezTo>
                  <a:cubicBezTo>
                    <a:pt x="311" y="322"/>
                    <a:pt x="313" y="261"/>
                    <a:pt x="282" y="264"/>
                  </a:cubicBezTo>
                  <a:cubicBezTo>
                    <a:pt x="281" y="258"/>
                    <a:pt x="286" y="256"/>
                    <a:pt x="288" y="251"/>
                  </a:cubicBezTo>
                  <a:cubicBezTo>
                    <a:pt x="276" y="250"/>
                    <a:pt x="272" y="236"/>
                    <a:pt x="259" y="240"/>
                  </a:cubicBezTo>
                  <a:cubicBezTo>
                    <a:pt x="251" y="257"/>
                    <a:pt x="236" y="236"/>
                    <a:pt x="224" y="236"/>
                  </a:cubicBezTo>
                  <a:cubicBezTo>
                    <a:pt x="208" y="235"/>
                    <a:pt x="201" y="259"/>
                    <a:pt x="188" y="239"/>
                  </a:cubicBezTo>
                  <a:cubicBezTo>
                    <a:pt x="181" y="228"/>
                    <a:pt x="184" y="213"/>
                    <a:pt x="184" y="201"/>
                  </a:cubicBezTo>
                  <a:cubicBezTo>
                    <a:pt x="184" y="189"/>
                    <a:pt x="180" y="170"/>
                    <a:pt x="185" y="159"/>
                  </a:cubicBezTo>
                  <a:cubicBezTo>
                    <a:pt x="192" y="143"/>
                    <a:pt x="203" y="148"/>
                    <a:pt x="202" y="128"/>
                  </a:cubicBezTo>
                  <a:cubicBezTo>
                    <a:pt x="202" y="114"/>
                    <a:pt x="191" y="105"/>
                    <a:pt x="193" y="93"/>
                  </a:cubicBezTo>
                  <a:cubicBezTo>
                    <a:pt x="194" y="80"/>
                    <a:pt x="202" y="64"/>
                    <a:pt x="198" y="50"/>
                  </a:cubicBezTo>
                  <a:cubicBezTo>
                    <a:pt x="195" y="44"/>
                    <a:pt x="188" y="41"/>
                    <a:pt x="185" y="35"/>
                  </a:cubicBezTo>
                  <a:cubicBezTo>
                    <a:pt x="182" y="29"/>
                    <a:pt x="185" y="22"/>
                    <a:pt x="184" y="16"/>
                  </a:cubicBezTo>
                  <a:cubicBezTo>
                    <a:pt x="183" y="11"/>
                    <a:pt x="181" y="0"/>
                    <a:pt x="172" y="0"/>
                  </a:cubicBezTo>
                  <a:cubicBezTo>
                    <a:pt x="167" y="1"/>
                    <a:pt x="165" y="9"/>
                    <a:pt x="162" y="12"/>
                  </a:cubicBezTo>
                  <a:cubicBezTo>
                    <a:pt x="145" y="26"/>
                    <a:pt x="142" y="9"/>
                    <a:pt x="126" y="10"/>
                  </a:cubicBezTo>
                  <a:cubicBezTo>
                    <a:pt x="117" y="13"/>
                    <a:pt x="117" y="13"/>
                    <a:pt x="117" y="13"/>
                  </a:cubicBezTo>
                  <a:cubicBezTo>
                    <a:pt x="114" y="20"/>
                    <a:pt x="117" y="27"/>
                    <a:pt x="115" y="34"/>
                  </a:cubicBezTo>
                  <a:cubicBezTo>
                    <a:pt x="113" y="41"/>
                    <a:pt x="104" y="47"/>
                    <a:pt x="100" y="53"/>
                  </a:cubicBezTo>
                  <a:cubicBezTo>
                    <a:pt x="92" y="65"/>
                    <a:pt x="94" y="57"/>
                    <a:pt x="101" y="69"/>
                  </a:cubicBezTo>
                  <a:cubicBezTo>
                    <a:pt x="104" y="74"/>
                    <a:pt x="108" y="83"/>
                    <a:pt x="110" y="89"/>
                  </a:cubicBezTo>
                  <a:cubicBezTo>
                    <a:pt x="112" y="95"/>
                    <a:pt x="113" y="102"/>
                    <a:pt x="112" y="109"/>
                  </a:cubicBezTo>
                  <a:cubicBezTo>
                    <a:pt x="111" y="116"/>
                    <a:pt x="103" y="122"/>
                    <a:pt x="103" y="127"/>
                  </a:cubicBezTo>
                  <a:cubicBezTo>
                    <a:pt x="103" y="135"/>
                    <a:pt x="114" y="137"/>
                    <a:pt x="110" y="145"/>
                  </a:cubicBezTo>
                  <a:cubicBezTo>
                    <a:pt x="108" y="150"/>
                    <a:pt x="96" y="153"/>
                    <a:pt x="92" y="152"/>
                  </a:cubicBezTo>
                  <a:cubicBezTo>
                    <a:pt x="92" y="146"/>
                    <a:pt x="90" y="140"/>
                    <a:pt x="85" y="138"/>
                  </a:cubicBezTo>
                  <a:cubicBezTo>
                    <a:pt x="84" y="161"/>
                    <a:pt x="87" y="175"/>
                    <a:pt x="103" y="194"/>
                  </a:cubicBezTo>
                  <a:cubicBezTo>
                    <a:pt x="115" y="207"/>
                    <a:pt x="127" y="217"/>
                    <a:pt x="135" y="233"/>
                  </a:cubicBezTo>
                  <a:cubicBezTo>
                    <a:pt x="140" y="245"/>
                    <a:pt x="156" y="275"/>
                    <a:pt x="171" y="274"/>
                  </a:cubicBezTo>
                  <a:cubicBezTo>
                    <a:pt x="181" y="273"/>
                    <a:pt x="185" y="260"/>
                    <a:pt x="196" y="259"/>
                  </a:cubicBezTo>
                  <a:cubicBezTo>
                    <a:pt x="207" y="258"/>
                    <a:pt x="212" y="268"/>
                    <a:pt x="219" y="274"/>
                  </a:cubicBezTo>
                  <a:cubicBezTo>
                    <a:pt x="241" y="293"/>
                    <a:pt x="240" y="275"/>
                    <a:pt x="230" y="258"/>
                  </a:cubicBezTo>
                  <a:close/>
                  <a:moveTo>
                    <a:pt x="182" y="288"/>
                  </a:moveTo>
                  <a:cubicBezTo>
                    <a:pt x="175" y="282"/>
                    <a:pt x="146" y="285"/>
                    <a:pt x="146" y="285"/>
                  </a:cubicBezTo>
                  <a:cubicBezTo>
                    <a:pt x="167" y="313"/>
                    <a:pt x="167" y="313"/>
                    <a:pt x="167" y="313"/>
                  </a:cubicBezTo>
                  <a:cubicBezTo>
                    <a:pt x="180" y="357"/>
                    <a:pt x="180" y="357"/>
                    <a:pt x="180" y="357"/>
                  </a:cubicBezTo>
                  <a:cubicBezTo>
                    <a:pt x="180" y="357"/>
                    <a:pt x="192" y="347"/>
                    <a:pt x="197" y="339"/>
                  </a:cubicBezTo>
                  <a:cubicBezTo>
                    <a:pt x="203" y="331"/>
                    <a:pt x="191" y="315"/>
                    <a:pt x="191" y="315"/>
                  </a:cubicBezTo>
                  <a:cubicBezTo>
                    <a:pt x="191" y="315"/>
                    <a:pt x="189" y="295"/>
                    <a:pt x="182" y="288"/>
                  </a:cubicBezTo>
                  <a:close/>
                  <a:moveTo>
                    <a:pt x="232" y="434"/>
                  </a:moveTo>
                  <a:cubicBezTo>
                    <a:pt x="237" y="444"/>
                    <a:pt x="245" y="454"/>
                    <a:pt x="245" y="454"/>
                  </a:cubicBezTo>
                  <a:cubicBezTo>
                    <a:pt x="245" y="454"/>
                    <a:pt x="261" y="437"/>
                    <a:pt x="266" y="441"/>
                  </a:cubicBezTo>
                  <a:cubicBezTo>
                    <a:pt x="271" y="444"/>
                    <a:pt x="271" y="463"/>
                    <a:pt x="271" y="463"/>
                  </a:cubicBezTo>
                  <a:cubicBezTo>
                    <a:pt x="280" y="472"/>
                    <a:pt x="280" y="472"/>
                    <a:pt x="280" y="472"/>
                  </a:cubicBezTo>
                  <a:cubicBezTo>
                    <a:pt x="280" y="472"/>
                    <a:pt x="257" y="506"/>
                    <a:pt x="257" y="513"/>
                  </a:cubicBezTo>
                  <a:cubicBezTo>
                    <a:pt x="257" y="519"/>
                    <a:pt x="257" y="539"/>
                    <a:pt x="273" y="535"/>
                  </a:cubicBezTo>
                  <a:cubicBezTo>
                    <a:pt x="288" y="532"/>
                    <a:pt x="311" y="527"/>
                    <a:pt x="302" y="513"/>
                  </a:cubicBezTo>
                  <a:cubicBezTo>
                    <a:pt x="293" y="498"/>
                    <a:pt x="292" y="486"/>
                    <a:pt x="300" y="463"/>
                  </a:cubicBezTo>
                  <a:cubicBezTo>
                    <a:pt x="309" y="441"/>
                    <a:pt x="302" y="424"/>
                    <a:pt x="295" y="431"/>
                  </a:cubicBezTo>
                  <a:cubicBezTo>
                    <a:pt x="288" y="437"/>
                    <a:pt x="275" y="445"/>
                    <a:pt x="275" y="437"/>
                  </a:cubicBezTo>
                  <a:cubicBezTo>
                    <a:pt x="275" y="429"/>
                    <a:pt x="295" y="398"/>
                    <a:pt x="283" y="395"/>
                  </a:cubicBezTo>
                  <a:cubicBezTo>
                    <a:pt x="271" y="391"/>
                    <a:pt x="249" y="378"/>
                    <a:pt x="249" y="378"/>
                  </a:cubicBezTo>
                  <a:cubicBezTo>
                    <a:pt x="249" y="378"/>
                    <a:pt x="228" y="373"/>
                    <a:pt x="227" y="380"/>
                  </a:cubicBezTo>
                  <a:cubicBezTo>
                    <a:pt x="225" y="387"/>
                    <a:pt x="239" y="398"/>
                    <a:pt x="239" y="398"/>
                  </a:cubicBezTo>
                  <a:cubicBezTo>
                    <a:pt x="239" y="398"/>
                    <a:pt x="227" y="424"/>
                    <a:pt x="232" y="434"/>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13" name="Papua New Guinea">
              <a:extLst>
                <a:ext uri="{FF2B5EF4-FFF2-40B4-BE49-F238E27FC236}">
                  <a16:creationId xmlns:a16="http://schemas.microsoft.com/office/drawing/2014/main" id="{59DCEEEB-AF81-4053-9AF2-2511243FB9D9}"/>
                </a:ext>
              </a:extLst>
            </p:cNvPr>
            <p:cNvSpPr>
              <a:spLocks noEditPoints="1"/>
            </p:cNvSpPr>
            <p:nvPr/>
          </p:nvSpPr>
          <p:spPr bwMode="gray">
            <a:xfrm>
              <a:off x="9339532" y="4134328"/>
              <a:ext cx="409646" cy="274511"/>
            </a:xfrm>
            <a:custGeom>
              <a:avLst/>
              <a:gdLst>
                <a:gd name="T0" fmla="*/ 296 w 730"/>
                <a:gd name="T1" fmla="*/ 19 h 491"/>
                <a:gd name="T2" fmla="*/ 331 w 730"/>
                <a:gd name="T3" fmla="*/ 7 h 491"/>
                <a:gd name="T4" fmla="*/ 521 w 730"/>
                <a:gd name="T5" fmla="*/ 171 h 491"/>
                <a:gd name="T6" fmla="*/ 476 w 730"/>
                <a:gd name="T7" fmla="*/ 209 h 491"/>
                <a:gd name="T8" fmla="*/ 404 w 730"/>
                <a:gd name="T9" fmla="*/ 228 h 491"/>
                <a:gd name="T10" fmla="*/ 398 w 730"/>
                <a:gd name="T11" fmla="*/ 257 h 491"/>
                <a:gd name="T12" fmla="*/ 474 w 730"/>
                <a:gd name="T13" fmla="*/ 251 h 491"/>
                <a:gd name="T14" fmla="*/ 523 w 730"/>
                <a:gd name="T15" fmla="*/ 228 h 491"/>
                <a:gd name="T16" fmla="*/ 536 w 730"/>
                <a:gd name="T17" fmla="*/ 206 h 491"/>
                <a:gd name="T18" fmla="*/ 555 w 730"/>
                <a:gd name="T19" fmla="*/ 140 h 491"/>
                <a:gd name="T20" fmla="*/ 564 w 730"/>
                <a:gd name="T21" fmla="*/ 94 h 491"/>
                <a:gd name="T22" fmla="*/ 520 w 730"/>
                <a:gd name="T23" fmla="*/ 58 h 491"/>
                <a:gd name="T24" fmla="*/ 494 w 730"/>
                <a:gd name="T25" fmla="*/ 31 h 491"/>
                <a:gd name="T26" fmla="*/ 516 w 730"/>
                <a:gd name="T27" fmla="*/ 69 h 491"/>
                <a:gd name="T28" fmla="*/ 576 w 730"/>
                <a:gd name="T29" fmla="*/ 122 h 491"/>
                <a:gd name="T30" fmla="*/ 599 w 730"/>
                <a:gd name="T31" fmla="*/ 131 h 491"/>
                <a:gd name="T32" fmla="*/ 728 w 730"/>
                <a:gd name="T33" fmla="*/ 249 h 491"/>
                <a:gd name="T34" fmla="*/ 664 w 730"/>
                <a:gd name="T35" fmla="*/ 185 h 491"/>
                <a:gd name="T36" fmla="*/ 670 w 730"/>
                <a:gd name="T37" fmla="*/ 225 h 491"/>
                <a:gd name="T38" fmla="*/ 730 w 730"/>
                <a:gd name="T39" fmla="*/ 300 h 491"/>
                <a:gd name="T40" fmla="*/ 17 w 730"/>
                <a:gd name="T41" fmla="*/ 401 h 491"/>
                <a:gd name="T42" fmla="*/ 17 w 730"/>
                <a:gd name="T43" fmla="*/ 401 h 491"/>
                <a:gd name="T44" fmla="*/ 452 w 730"/>
                <a:gd name="T45" fmla="*/ 453 h 491"/>
                <a:gd name="T46" fmla="*/ 437 w 730"/>
                <a:gd name="T47" fmla="*/ 426 h 491"/>
                <a:gd name="T48" fmla="*/ 408 w 730"/>
                <a:gd name="T49" fmla="*/ 388 h 491"/>
                <a:gd name="T50" fmla="*/ 374 w 730"/>
                <a:gd name="T51" fmla="*/ 375 h 491"/>
                <a:gd name="T52" fmla="*/ 357 w 730"/>
                <a:gd name="T53" fmla="*/ 337 h 491"/>
                <a:gd name="T54" fmla="*/ 304 w 730"/>
                <a:gd name="T55" fmla="*/ 274 h 491"/>
                <a:gd name="T56" fmla="*/ 308 w 730"/>
                <a:gd name="T57" fmla="*/ 220 h 491"/>
                <a:gd name="T58" fmla="*/ 256 w 730"/>
                <a:gd name="T59" fmla="*/ 169 h 491"/>
                <a:gd name="T60" fmla="*/ 200 w 730"/>
                <a:gd name="T61" fmla="*/ 113 h 491"/>
                <a:gd name="T62" fmla="*/ 151 w 730"/>
                <a:gd name="T63" fmla="*/ 91 h 491"/>
                <a:gd name="T64" fmla="*/ 49 w 730"/>
                <a:gd name="T65" fmla="*/ 49 h 491"/>
                <a:gd name="T66" fmla="*/ 6 w 730"/>
                <a:gd name="T67" fmla="*/ 36 h 491"/>
                <a:gd name="T68" fmla="*/ 30 w 730"/>
                <a:gd name="T69" fmla="*/ 155 h 491"/>
                <a:gd name="T70" fmla="*/ 27 w 730"/>
                <a:gd name="T71" fmla="*/ 253 h 491"/>
                <a:gd name="T72" fmla="*/ 26 w 730"/>
                <a:gd name="T73" fmla="*/ 282 h 491"/>
                <a:gd name="T74" fmla="*/ 15 w 730"/>
                <a:gd name="T75" fmla="*/ 353 h 491"/>
                <a:gd name="T76" fmla="*/ 17 w 730"/>
                <a:gd name="T77" fmla="*/ 401 h 491"/>
                <a:gd name="T78" fmla="*/ 88 w 730"/>
                <a:gd name="T79" fmla="*/ 408 h 491"/>
                <a:gd name="T80" fmla="*/ 71 w 730"/>
                <a:gd name="T81" fmla="*/ 347 h 491"/>
                <a:gd name="T82" fmla="*/ 130 w 730"/>
                <a:gd name="T83" fmla="*/ 329 h 491"/>
                <a:gd name="T84" fmla="*/ 146 w 730"/>
                <a:gd name="T85" fmla="*/ 313 h 491"/>
                <a:gd name="T86" fmla="*/ 185 w 730"/>
                <a:gd name="T87" fmla="*/ 311 h 491"/>
                <a:gd name="T88" fmla="*/ 258 w 730"/>
                <a:gd name="T89" fmla="*/ 342 h 491"/>
                <a:gd name="T90" fmla="*/ 302 w 730"/>
                <a:gd name="T91" fmla="*/ 398 h 491"/>
                <a:gd name="T92" fmla="*/ 418 w 730"/>
                <a:gd name="T93" fmla="*/ 464 h 491"/>
                <a:gd name="T94" fmla="*/ 450 w 730"/>
                <a:gd name="T95" fmla="*/ 464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0" h="491">
                  <a:moveTo>
                    <a:pt x="331" y="7"/>
                  </a:moveTo>
                  <a:cubicBezTo>
                    <a:pt x="318" y="0"/>
                    <a:pt x="296" y="19"/>
                    <a:pt x="296" y="19"/>
                  </a:cubicBezTo>
                  <a:cubicBezTo>
                    <a:pt x="315" y="31"/>
                    <a:pt x="315" y="31"/>
                    <a:pt x="315" y="31"/>
                  </a:cubicBezTo>
                  <a:cubicBezTo>
                    <a:pt x="333" y="35"/>
                    <a:pt x="344" y="14"/>
                    <a:pt x="331" y="7"/>
                  </a:cubicBezTo>
                  <a:close/>
                  <a:moveTo>
                    <a:pt x="508" y="150"/>
                  </a:moveTo>
                  <a:cubicBezTo>
                    <a:pt x="499" y="159"/>
                    <a:pt x="521" y="171"/>
                    <a:pt x="521" y="171"/>
                  </a:cubicBezTo>
                  <a:cubicBezTo>
                    <a:pt x="523" y="184"/>
                    <a:pt x="523" y="184"/>
                    <a:pt x="523" y="184"/>
                  </a:cubicBezTo>
                  <a:cubicBezTo>
                    <a:pt x="476" y="209"/>
                    <a:pt x="476" y="209"/>
                    <a:pt x="476" y="209"/>
                  </a:cubicBezTo>
                  <a:cubicBezTo>
                    <a:pt x="476" y="209"/>
                    <a:pt x="452" y="207"/>
                    <a:pt x="436" y="210"/>
                  </a:cubicBezTo>
                  <a:cubicBezTo>
                    <a:pt x="420" y="213"/>
                    <a:pt x="414" y="222"/>
                    <a:pt x="404" y="228"/>
                  </a:cubicBezTo>
                  <a:cubicBezTo>
                    <a:pt x="394" y="234"/>
                    <a:pt x="388" y="222"/>
                    <a:pt x="382" y="234"/>
                  </a:cubicBezTo>
                  <a:cubicBezTo>
                    <a:pt x="398" y="257"/>
                    <a:pt x="398" y="257"/>
                    <a:pt x="398" y="257"/>
                  </a:cubicBezTo>
                  <a:cubicBezTo>
                    <a:pt x="463" y="260"/>
                    <a:pt x="463" y="260"/>
                    <a:pt x="463" y="260"/>
                  </a:cubicBezTo>
                  <a:cubicBezTo>
                    <a:pt x="474" y="251"/>
                    <a:pt x="474" y="251"/>
                    <a:pt x="474" y="251"/>
                  </a:cubicBezTo>
                  <a:cubicBezTo>
                    <a:pt x="474" y="251"/>
                    <a:pt x="486" y="251"/>
                    <a:pt x="499" y="250"/>
                  </a:cubicBezTo>
                  <a:cubicBezTo>
                    <a:pt x="513" y="248"/>
                    <a:pt x="523" y="228"/>
                    <a:pt x="523" y="228"/>
                  </a:cubicBezTo>
                  <a:cubicBezTo>
                    <a:pt x="542" y="223"/>
                    <a:pt x="542" y="223"/>
                    <a:pt x="542" y="223"/>
                  </a:cubicBezTo>
                  <a:cubicBezTo>
                    <a:pt x="536" y="206"/>
                    <a:pt x="536" y="206"/>
                    <a:pt x="536" y="206"/>
                  </a:cubicBezTo>
                  <a:cubicBezTo>
                    <a:pt x="554" y="209"/>
                    <a:pt x="554" y="209"/>
                    <a:pt x="554" y="209"/>
                  </a:cubicBezTo>
                  <a:cubicBezTo>
                    <a:pt x="554" y="209"/>
                    <a:pt x="562" y="157"/>
                    <a:pt x="555" y="140"/>
                  </a:cubicBezTo>
                  <a:cubicBezTo>
                    <a:pt x="548" y="122"/>
                    <a:pt x="517" y="141"/>
                    <a:pt x="508" y="150"/>
                  </a:cubicBezTo>
                  <a:close/>
                  <a:moveTo>
                    <a:pt x="564" y="94"/>
                  </a:moveTo>
                  <a:cubicBezTo>
                    <a:pt x="555" y="94"/>
                    <a:pt x="555" y="94"/>
                    <a:pt x="555" y="94"/>
                  </a:cubicBezTo>
                  <a:cubicBezTo>
                    <a:pt x="555" y="94"/>
                    <a:pt x="524" y="60"/>
                    <a:pt x="520" y="58"/>
                  </a:cubicBezTo>
                  <a:cubicBezTo>
                    <a:pt x="516" y="55"/>
                    <a:pt x="508" y="55"/>
                    <a:pt x="508" y="55"/>
                  </a:cubicBezTo>
                  <a:cubicBezTo>
                    <a:pt x="494" y="31"/>
                    <a:pt x="494" y="31"/>
                    <a:pt x="494" y="31"/>
                  </a:cubicBezTo>
                  <a:cubicBezTo>
                    <a:pt x="486" y="63"/>
                    <a:pt x="486" y="63"/>
                    <a:pt x="486" y="63"/>
                  </a:cubicBezTo>
                  <a:cubicBezTo>
                    <a:pt x="516" y="69"/>
                    <a:pt x="516" y="69"/>
                    <a:pt x="516" y="69"/>
                  </a:cubicBezTo>
                  <a:cubicBezTo>
                    <a:pt x="516" y="69"/>
                    <a:pt x="539" y="96"/>
                    <a:pt x="545" y="102"/>
                  </a:cubicBezTo>
                  <a:cubicBezTo>
                    <a:pt x="551" y="107"/>
                    <a:pt x="571" y="109"/>
                    <a:pt x="576" y="122"/>
                  </a:cubicBezTo>
                  <a:cubicBezTo>
                    <a:pt x="580" y="135"/>
                    <a:pt x="562" y="179"/>
                    <a:pt x="589" y="181"/>
                  </a:cubicBezTo>
                  <a:cubicBezTo>
                    <a:pt x="604" y="182"/>
                    <a:pt x="612" y="150"/>
                    <a:pt x="599" y="131"/>
                  </a:cubicBezTo>
                  <a:cubicBezTo>
                    <a:pt x="586" y="112"/>
                    <a:pt x="564" y="94"/>
                    <a:pt x="564" y="94"/>
                  </a:cubicBezTo>
                  <a:close/>
                  <a:moveTo>
                    <a:pt x="728" y="249"/>
                  </a:moveTo>
                  <a:cubicBezTo>
                    <a:pt x="687" y="202"/>
                    <a:pt x="687" y="202"/>
                    <a:pt x="687" y="202"/>
                  </a:cubicBezTo>
                  <a:cubicBezTo>
                    <a:pt x="687" y="202"/>
                    <a:pt x="683" y="177"/>
                    <a:pt x="664" y="185"/>
                  </a:cubicBezTo>
                  <a:cubicBezTo>
                    <a:pt x="653" y="190"/>
                    <a:pt x="659" y="206"/>
                    <a:pt x="659" y="206"/>
                  </a:cubicBezTo>
                  <a:cubicBezTo>
                    <a:pt x="670" y="225"/>
                    <a:pt x="670" y="225"/>
                    <a:pt x="670" y="225"/>
                  </a:cubicBezTo>
                  <a:cubicBezTo>
                    <a:pt x="687" y="257"/>
                    <a:pt x="687" y="257"/>
                    <a:pt x="687" y="257"/>
                  </a:cubicBezTo>
                  <a:cubicBezTo>
                    <a:pt x="730" y="300"/>
                    <a:pt x="730" y="300"/>
                    <a:pt x="730" y="300"/>
                  </a:cubicBezTo>
                  <a:lnTo>
                    <a:pt x="728" y="249"/>
                  </a:lnTo>
                  <a:close/>
                  <a:moveTo>
                    <a:pt x="17" y="401"/>
                  </a:moveTo>
                  <a:cubicBezTo>
                    <a:pt x="17" y="401"/>
                    <a:pt x="17" y="401"/>
                    <a:pt x="17" y="401"/>
                  </a:cubicBezTo>
                  <a:cubicBezTo>
                    <a:pt x="17" y="401"/>
                    <a:pt x="17" y="401"/>
                    <a:pt x="17" y="401"/>
                  </a:cubicBezTo>
                  <a:cubicBezTo>
                    <a:pt x="17" y="401"/>
                    <a:pt x="17" y="401"/>
                    <a:pt x="17" y="401"/>
                  </a:cubicBezTo>
                  <a:close/>
                  <a:moveTo>
                    <a:pt x="452" y="453"/>
                  </a:moveTo>
                  <a:cubicBezTo>
                    <a:pt x="425" y="436"/>
                    <a:pt x="425" y="436"/>
                    <a:pt x="425" y="436"/>
                  </a:cubicBezTo>
                  <a:cubicBezTo>
                    <a:pt x="437" y="426"/>
                    <a:pt x="437" y="426"/>
                    <a:pt x="437" y="426"/>
                  </a:cubicBezTo>
                  <a:cubicBezTo>
                    <a:pt x="437" y="426"/>
                    <a:pt x="413" y="425"/>
                    <a:pt x="406" y="418"/>
                  </a:cubicBezTo>
                  <a:cubicBezTo>
                    <a:pt x="400" y="411"/>
                    <a:pt x="408" y="397"/>
                    <a:pt x="408" y="388"/>
                  </a:cubicBezTo>
                  <a:cubicBezTo>
                    <a:pt x="408" y="379"/>
                    <a:pt x="375" y="396"/>
                    <a:pt x="375" y="396"/>
                  </a:cubicBezTo>
                  <a:cubicBezTo>
                    <a:pt x="374" y="375"/>
                    <a:pt x="374" y="375"/>
                    <a:pt x="374" y="375"/>
                  </a:cubicBezTo>
                  <a:cubicBezTo>
                    <a:pt x="357" y="367"/>
                    <a:pt x="357" y="367"/>
                    <a:pt x="357" y="367"/>
                  </a:cubicBezTo>
                  <a:cubicBezTo>
                    <a:pt x="357" y="337"/>
                    <a:pt x="357" y="337"/>
                    <a:pt x="357" y="337"/>
                  </a:cubicBezTo>
                  <a:cubicBezTo>
                    <a:pt x="321" y="311"/>
                    <a:pt x="321" y="311"/>
                    <a:pt x="321" y="311"/>
                  </a:cubicBezTo>
                  <a:cubicBezTo>
                    <a:pt x="304" y="274"/>
                    <a:pt x="304" y="274"/>
                    <a:pt x="304" y="274"/>
                  </a:cubicBezTo>
                  <a:cubicBezTo>
                    <a:pt x="304" y="274"/>
                    <a:pt x="342" y="261"/>
                    <a:pt x="342" y="245"/>
                  </a:cubicBezTo>
                  <a:cubicBezTo>
                    <a:pt x="342" y="229"/>
                    <a:pt x="308" y="220"/>
                    <a:pt x="308" y="220"/>
                  </a:cubicBezTo>
                  <a:cubicBezTo>
                    <a:pt x="306" y="216"/>
                    <a:pt x="256" y="202"/>
                    <a:pt x="256" y="202"/>
                  </a:cubicBezTo>
                  <a:cubicBezTo>
                    <a:pt x="256" y="202"/>
                    <a:pt x="252" y="189"/>
                    <a:pt x="256" y="169"/>
                  </a:cubicBezTo>
                  <a:cubicBezTo>
                    <a:pt x="260" y="150"/>
                    <a:pt x="232" y="147"/>
                    <a:pt x="232" y="147"/>
                  </a:cubicBezTo>
                  <a:cubicBezTo>
                    <a:pt x="200" y="113"/>
                    <a:pt x="200" y="113"/>
                    <a:pt x="200" y="113"/>
                  </a:cubicBezTo>
                  <a:cubicBezTo>
                    <a:pt x="175" y="114"/>
                    <a:pt x="175" y="114"/>
                    <a:pt x="175" y="114"/>
                  </a:cubicBezTo>
                  <a:cubicBezTo>
                    <a:pt x="151" y="91"/>
                    <a:pt x="151" y="91"/>
                    <a:pt x="151" y="91"/>
                  </a:cubicBezTo>
                  <a:cubicBezTo>
                    <a:pt x="131" y="87"/>
                    <a:pt x="131" y="87"/>
                    <a:pt x="131" y="87"/>
                  </a:cubicBezTo>
                  <a:cubicBezTo>
                    <a:pt x="49" y="49"/>
                    <a:pt x="49" y="49"/>
                    <a:pt x="49" y="49"/>
                  </a:cubicBezTo>
                  <a:cubicBezTo>
                    <a:pt x="33" y="55"/>
                    <a:pt x="33" y="55"/>
                    <a:pt x="33" y="55"/>
                  </a:cubicBezTo>
                  <a:cubicBezTo>
                    <a:pt x="6" y="36"/>
                    <a:pt x="6" y="36"/>
                    <a:pt x="6" y="36"/>
                  </a:cubicBezTo>
                  <a:cubicBezTo>
                    <a:pt x="32" y="55"/>
                    <a:pt x="32" y="55"/>
                    <a:pt x="32" y="55"/>
                  </a:cubicBezTo>
                  <a:cubicBezTo>
                    <a:pt x="32" y="75"/>
                    <a:pt x="30" y="139"/>
                    <a:pt x="30" y="155"/>
                  </a:cubicBezTo>
                  <a:cubicBezTo>
                    <a:pt x="30" y="175"/>
                    <a:pt x="22" y="197"/>
                    <a:pt x="24" y="212"/>
                  </a:cubicBezTo>
                  <a:cubicBezTo>
                    <a:pt x="26" y="227"/>
                    <a:pt x="27" y="253"/>
                    <a:pt x="27" y="253"/>
                  </a:cubicBezTo>
                  <a:cubicBezTo>
                    <a:pt x="27" y="253"/>
                    <a:pt x="0" y="271"/>
                    <a:pt x="11" y="277"/>
                  </a:cubicBezTo>
                  <a:cubicBezTo>
                    <a:pt x="22" y="284"/>
                    <a:pt x="26" y="282"/>
                    <a:pt x="26" y="282"/>
                  </a:cubicBezTo>
                  <a:cubicBezTo>
                    <a:pt x="26" y="282"/>
                    <a:pt x="23" y="319"/>
                    <a:pt x="21" y="327"/>
                  </a:cubicBezTo>
                  <a:cubicBezTo>
                    <a:pt x="19" y="334"/>
                    <a:pt x="15" y="353"/>
                    <a:pt x="15" y="353"/>
                  </a:cubicBezTo>
                  <a:cubicBezTo>
                    <a:pt x="19" y="369"/>
                    <a:pt x="19" y="369"/>
                    <a:pt x="19" y="369"/>
                  </a:cubicBezTo>
                  <a:cubicBezTo>
                    <a:pt x="17" y="401"/>
                    <a:pt x="17" y="401"/>
                    <a:pt x="17" y="401"/>
                  </a:cubicBezTo>
                  <a:cubicBezTo>
                    <a:pt x="34" y="405"/>
                    <a:pt x="75" y="396"/>
                    <a:pt x="75" y="396"/>
                  </a:cubicBezTo>
                  <a:cubicBezTo>
                    <a:pt x="88" y="408"/>
                    <a:pt x="88" y="408"/>
                    <a:pt x="88" y="408"/>
                  </a:cubicBezTo>
                  <a:cubicBezTo>
                    <a:pt x="88" y="408"/>
                    <a:pt x="114" y="398"/>
                    <a:pt x="126" y="388"/>
                  </a:cubicBezTo>
                  <a:cubicBezTo>
                    <a:pt x="138" y="377"/>
                    <a:pt x="71" y="347"/>
                    <a:pt x="71" y="347"/>
                  </a:cubicBezTo>
                  <a:cubicBezTo>
                    <a:pt x="71" y="347"/>
                    <a:pt x="126" y="355"/>
                    <a:pt x="138" y="353"/>
                  </a:cubicBezTo>
                  <a:cubicBezTo>
                    <a:pt x="150" y="350"/>
                    <a:pt x="130" y="329"/>
                    <a:pt x="130" y="329"/>
                  </a:cubicBezTo>
                  <a:cubicBezTo>
                    <a:pt x="130" y="329"/>
                    <a:pt x="146" y="341"/>
                    <a:pt x="151" y="338"/>
                  </a:cubicBezTo>
                  <a:cubicBezTo>
                    <a:pt x="156" y="336"/>
                    <a:pt x="146" y="313"/>
                    <a:pt x="146" y="313"/>
                  </a:cubicBezTo>
                  <a:cubicBezTo>
                    <a:pt x="146" y="313"/>
                    <a:pt x="156" y="322"/>
                    <a:pt x="163" y="324"/>
                  </a:cubicBezTo>
                  <a:cubicBezTo>
                    <a:pt x="169" y="325"/>
                    <a:pt x="179" y="312"/>
                    <a:pt x="185" y="311"/>
                  </a:cubicBezTo>
                  <a:cubicBezTo>
                    <a:pt x="192" y="309"/>
                    <a:pt x="202" y="329"/>
                    <a:pt x="209" y="333"/>
                  </a:cubicBezTo>
                  <a:cubicBezTo>
                    <a:pt x="215" y="337"/>
                    <a:pt x="240" y="332"/>
                    <a:pt x="258" y="342"/>
                  </a:cubicBezTo>
                  <a:cubicBezTo>
                    <a:pt x="277" y="353"/>
                    <a:pt x="270" y="376"/>
                    <a:pt x="277" y="388"/>
                  </a:cubicBezTo>
                  <a:cubicBezTo>
                    <a:pt x="283" y="400"/>
                    <a:pt x="296" y="392"/>
                    <a:pt x="302" y="398"/>
                  </a:cubicBezTo>
                  <a:cubicBezTo>
                    <a:pt x="307" y="405"/>
                    <a:pt x="316" y="446"/>
                    <a:pt x="330" y="456"/>
                  </a:cubicBezTo>
                  <a:cubicBezTo>
                    <a:pt x="345" y="466"/>
                    <a:pt x="409" y="460"/>
                    <a:pt x="418" y="464"/>
                  </a:cubicBezTo>
                  <a:cubicBezTo>
                    <a:pt x="427" y="468"/>
                    <a:pt x="447" y="491"/>
                    <a:pt x="459" y="491"/>
                  </a:cubicBezTo>
                  <a:cubicBezTo>
                    <a:pt x="471" y="491"/>
                    <a:pt x="450" y="464"/>
                    <a:pt x="450" y="464"/>
                  </a:cubicBezTo>
                  <a:lnTo>
                    <a:pt x="452" y="453"/>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87" name="Pakistan">
              <a:extLst>
                <a:ext uri="{FF2B5EF4-FFF2-40B4-BE49-F238E27FC236}">
                  <a16:creationId xmlns:a16="http://schemas.microsoft.com/office/drawing/2014/main" id="{52CBAF25-FCB1-4478-864E-2D7F476FE78D}"/>
                </a:ext>
              </a:extLst>
            </p:cNvPr>
            <p:cNvSpPr>
              <a:spLocks/>
            </p:cNvSpPr>
            <p:nvPr/>
          </p:nvSpPr>
          <p:spPr bwMode="gray">
            <a:xfrm>
              <a:off x="7180158" y="2968056"/>
              <a:ext cx="392180" cy="395105"/>
            </a:xfrm>
            <a:custGeom>
              <a:avLst/>
              <a:gdLst>
                <a:gd name="T0" fmla="*/ 639 w 701"/>
                <a:gd name="T1" fmla="*/ 64 h 705"/>
                <a:gd name="T2" fmla="*/ 584 w 701"/>
                <a:gd name="T3" fmla="*/ 14 h 705"/>
                <a:gd name="T4" fmla="*/ 541 w 701"/>
                <a:gd name="T5" fmla="*/ 0 h 705"/>
                <a:gd name="T6" fmla="*/ 479 w 701"/>
                <a:gd name="T7" fmla="*/ 10 h 705"/>
                <a:gd name="T8" fmla="*/ 408 w 701"/>
                <a:gd name="T9" fmla="*/ 46 h 705"/>
                <a:gd name="T10" fmla="*/ 433 w 701"/>
                <a:gd name="T11" fmla="*/ 110 h 705"/>
                <a:gd name="T12" fmla="*/ 418 w 701"/>
                <a:gd name="T13" fmla="*/ 160 h 705"/>
                <a:gd name="T14" fmla="*/ 395 w 701"/>
                <a:gd name="T15" fmla="*/ 168 h 705"/>
                <a:gd name="T16" fmla="*/ 370 w 701"/>
                <a:gd name="T17" fmla="*/ 171 h 705"/>
                <a:gd name="T18" fmla="*/ 401 w 701"/>
                <a:gd name="T19" fmla="*/ 197 h 705"/>
                <a:gd name="T20" fmla="*/ 363 w 701"/>
                <a:gd name="T21" fmla="*/ 238 h 705"/>
                <a:gd name="T22" fmla="*/ 348 w 701"/>
                <a:gd name="T23" fmla="*/ 293 h 705"/>
                <a:gd name="T24" fmla="*/ 305 w 701"/>
                <a:gd name="T25" fmla="*/ 289 h 705"/>
                <a:gd name="T26" fmla="*/ 266 w 701"/>
                <a:gd name="T27" fmla="*/ 312 h 705"/>
                <a:gd name="T28" fmla="*/ 242 w 701"/>
                <a:gd name="T29" fmla="*/ 355 h 705"/>
                <a:gd name="T30" fmla="*/ 157 w 701"/>
                <a:gd name="T31" fmla="*/ 404 h 705"/>
                <a:gd name="T32" fmla="*/ 100 w 701"/>
                <a:gd name="T33" fmla="*/ 405 h 705"/>
                <a:gd name="T34" fmla="*/ 0 w 701"/>
                <a:gd name="T35" fmla="*/ 389 h 705"/>
                <a:gd name="T36" fmla="*/ 77 w 701"/>
                <a:gd name="T37" fmla="*/ 462 h 705"/>
                <a:gd name="T38" fmla="*/ 98 w 701"/>
                <a:gd name="T39" fmla="*/ 492 h 705"/>
                <a:gd name="T40" fmla="*/ 120 w 701"/>
                <a:gd name="T41" fmla="*/ 529 h 705"/>
                <a:gd name="T42" fmla="*/ 85 w 701"/>
                <a:gd name="T43" fmla="*/ 575 h 705"/>
                <a:gd name="T44" fmla="*/ 60 w 701"/>
                <a:gd name="T45" fmla="*/ 600 h 705"/>
                <a:gd name="T46" fmla="*/ 110 w 701"/>
                <a:gd name="T47" fmla="*/ 635 h 705"/>
                <a:gd name="T48" fmla="*/ 208 w 701"/>
                <a:gd name="T49" fmla="*/ 615 h 705"/>
                <a:gd name="T50" fmla="*/ 299 w 701"/>
                <a:gd name="T51" fmla="*/ 662 h 705"/>
                <a:gd name="T52" fmla="*/ 381 w 701"/>
                <a:gd name="T53" fmla="*/ 705 h 705"/>
                <a:gd name="T54" fmla="*/ 416 w 701"/>
                <a:gd name="T55" fmla="*/ 689 h 705"/>
                <a:gd name="T56" fmla="*/ 467 w 701"/>
                <a:gd name="T57" fmla="*/ 679 h 705"/>
                <a:gd name="T58" fmla="*/ 492 w 701"/>
                <a:gd name="T59" fmla="*/ 654 h 705"/>
                <a:gd name="T60" fmla="*/ 455 w 701"/>
                <a:gd name="T61" fmla="*/ 604 h 705"/>
                <a:gd name="T62" fmla="*/ 447 w 701"/>
                <a:gd name="T63" fmla="*/ 559 h 705"/>
                <a:gd name="T64" fmla="*/ 423 w 701"/>
                <a:gd name="T65" fmla="*/ 522 h 705"/>
                <a:gd name="T66" fmla="*/ 470 w 701"/>
                <a:gd name="T67" fmla="*/ 500 h 705"/>
                <a:gd name="T68" fmla="*/ 518 w 701"/>
                <a:gd name="T69" fmla="*/ 472 h 705"/>
                <a:gd name="T70" fmla="*/ 560 w 701"/>
                <a:gd name="T71" fmla="*/ 425 h 705"/>
                <a:gd name="T72" fmla="*/ 581 w 701"/>
                <a:gd name="T73" fmla="*/ 358 h 705"/>
                <a:gd name="T74" fmla="*/ 604 w 701"/>
                <a:gd name="T75" fmla="*/ 297 h 705"/>
                <a:gd name="T76" fmla="*/ 624 w 701"/>
                <a:gd name="T77" fmla="*/ 248 h 705"/>
                <a:gd name="T78" fmla="*/ 583 w 701"/>
                <a:gd name="T79" fmla="*/ 225 h 705"/>
                <a:gd name="T80" fmla="*/ 567 w 701"/>
                <a:gd name="T81" fmla="*/ 194 h 705"/>
                <a:gd name="T82" fmla="*/ 548 w 701"/>
                <a:gd name="T83" fmla="*/ 161 h 705"/>
                <a:gd name="T84" fmla="*/ 557 w 701"/>
                <a:gd name="T85" fmla="*/ 123 h 705"/>
                <a:gd name="T86" fmla="*/ 643 w 701"/>
                <a:gd name="T87" fmla="*/ 123 h 705"/>
                <a:gd name="T88" fmla="*/ 667 w 701"/>
                <a:gd name="T89" fmla="*/ 122 h 705"/>
                <a:gd name="T90" fmla="*/ 700 w 701"/>
                <a:gd name="T91"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1" h="705">
                  <a:moveTo>
                    <a:pt x="671" y="81"/>
                  </a:moveTo>
                  <a:cubicBezTo>
                    <a:pt x="652" y="80"/>
                    <a:pt x="647" y="60"/>
                    <a:pt x="647" y="60"/>
                  </a:cubicBezTo>
                  <a:cubicBezTo>
                    <a:pt x="639" y="64"/>
                    <a:pt x="639" y="64"/>
                    <a:pt x="639" y="64"/>
                  </a:cubicBezTo>
                  <a:cubicBezTo>
                    <a:pt x="618" y="56"/>
                    <a:pt x="618" y="56"/>
                    <a:pt x="618" y="56"/>
                  </a:cubicBezTo>
                  <a:cubicBezTo>
                    <a:pt x="618" y="56"/>
                    <a:pt x="617" y="35"/>
                    <a:pt x="608" y="25"/>
                  </a:cubicBezTo>
                  <a:cubicBezTo>
                    <a:pt x="599" y="15"/>
                    <a:pt x="584" y="14"/>
                    <a:pt x="584" y="14"/>
                  </a:cubicBezTo>
                  <a:cubicBezTo>
                    <a:pt x="581" y="5"/>
                    <a:pt x="581" y="5"/>
                    <a:pt x="581" y="5"/>
                  </a:cubicBezTo>
                  <a:cubicBezTo>
                    <a:pt x="560" y="5"/>
                    <a:pt x="560" y="5"/>
                    <a:pt x="560" y="5"/>
                  </a:cubicBezTo>
                  <a:cubicBezTo>
                    <a:pt x="560" y="5"/>
                    <a:pt x="549" y="4"/>
                    <a:pt x="541" y="0"/>
                  </a:cubicBezTo>
                  <a:cubicBezTo>
                    <a:pt x="535" y="4"/>
                    <a:pt x="526" y="9"/>
                    <a:pt x="523" y="10"/>
                  </a:cubicBezTo>
                  <a:cubicBezTo>
                    <a:pt x="518" y="11"/>
                    <a:pt x="508" y="5"/>
                    <a:pt x="505" y="5"/>
                  </a:cubicBezTo>
                  <a:cubicBezTo>
                    <a:pt x="502" y="5"/>
                    <a:pt x="479" y="10"/>
                    <a:pt x="479" y="10"/>
                  </a:cubicBezTo>
                  <a:cubicBezTo>
                    <a:pt x="479" y="10"/>
                    <a:pt x="462" y="9"/>
                    <a:pt x="455" y="12"/>
                  </a:cubicBezTo>
                  <a:cubicBezTo>
                    <a:pt x="448" y="15"/>
                    <a:pt x="425" y="31"/>
                    <a:pt x="425" y="31"/>
                  </a:cubicBezTo>
                  <a:cubicBezTo>
                    <a:pt x="425" y="31"/>
                    <a:pt x="414" y="34"/>
                    <a:pt x="408" y="46"/>
                  </a:cubicBezTo>
                  <a:cubicBezTo>
                    <a:pt x="402" y="58"/>
                    <a:pt x="407" y="54"/>
                    <a:pt x="418" y="66"/>
                  </a:cubicBezTo>
                  <a:cubicBezTo>
                    <a:pt x="429" y="78"/>
                    <a:pt x="426" y="95"/>
                    <a:pt x="426" y="95"/>
                  </a:cubicBezTo>
                  <a:cubicBezTo>
                    <a:pt x="426" y="95"/>
                    <a:pt x="436" y="103"/>
                    <a:pt x="433" y="110"/>
                  </a:cubicBezTo>
                  <a:cubicBezTo>
                    <a:pt x="430" y="117"/>
                    <a:pt x="413" y="125"/>
                    <a:pt x="412" y="134"/>
                  </a:cubicBezTo>
                  <a:cubicBezTo>
                    <a:pt x="411" y="143"/>
                    <a:pt x="418" y="144"/>
                    <a:pt x="418" y="144"/>
                  </a:cubicBezTo>
                  <a:cubicBezTo>
                    <a:pt x="418" y="144"/>
                    <a:pt x="419" y="153"/>
                    <a:pt x="418" y="160"/>
                  </a:cubicBezTo>
                  <a:cubicBezTo>
                    <a:pt x="417" y="167"/>
                    <a:pt x="406" y="164"/>
                    <a:pt x="406" y="164"/>
                  </a:cubicBezTo>
                  <a:cubicBezTo>
                    <a:pt x="402" y="171"/>
                    <a:pt x="402" y="171"/>
                    <a:pt x="402" y="171"/>
                  </a:cubicBezTo>
                  <a:cubicBezTo>
                    <a:pt x="395" y="168"/>
                    <a:pt x="395" y="168"/>
                    <a:pt x="395" y="168"/>
                  </a:cubicBezTo>
                  <a:cubicBezTo>
                    <a:pt x="384" y="167"/>
                    <a:pt x="384" y="167"/>
                    <a:pt x="384" y="167"/>
                  </a:cubicBezTo>
                  <a:cubicBezTo>
                    <a:pt x="384" y="167"/>
                    <a:pt x="377" y="159"/>
                    <a:pt x="373" y="160"/>
                  </a:cubicBezTo>
                  <a:cubicBezTo>
                    <a:pt x="369" y="161"/>
                    <a:pt x="369" y="166"/>
                    <a:pt x="370" y="171"/>
                  </a:cubicBezTo>
                  <a:cubicBezTo>
                    <a:pt x="371" y="176"/>
                    <a:pt x="386" y="180"/>
                    <a:pt x="386" y="180"/>
                  </a:cubicBezTo>
                  <a:cubicBezTo>
                    <a:pt x="386" y="180"/>
                    <a:pt x="386" y="184"/>
                    <a:pt x="388" y="191"/>
                  </a:cubicBezTo>
                  <a:cubicBezTo>
                    <a:pt x="390" y="198"/>
                    <a:pt x="401" y="197"/>
                    <a:pt x="401" y="197"/>
                  </a:cubicBezTo>
                  <a:cubicBezTo>
                    <a:pt x="381" y="211"/>
                    <a:pt x="381" y="211"/>
                    <a:pt x="381" y="211"/>
                  </a:cubicBezTo>
                  <a:cubicBezTo>
                    <a:pt x="381" y="211"/>
                    <a:pt x="368" y="210"/>
                    <a:pt x="364" y="213"/>
                  </a:cubicBezTo>
                  <a:cubicBezTo>
                    <a:pt x="360" y="216"/>
                    <a:pt x="363" y="238"/>
                    <a:pt x="363" y="238"/>
                  </a:cubicBezTo>
                  <a:cubicBezTo>
                    <a:pt x="363" y="238"/>
                    <a:pt x="357" y="235"/>
                    <a:pt x="356" y="247"/>
                  </a:cubicBezTo>
                  <a:cubicBezTo>
                    <a:pt x="355" y="259"/>
                    <a:pt x="364" y="277"/>
                    <a:pt x="364" y="277"/>
                  </a:cubicBezTo>
                  <a:cubicBezTo>
                    <a:pt x="364" y="277"/>
                    <a:pt x="361" y="286"/>
                    <a:pt x="348" y="293"/>
                  </a:cubicBezTo>
                  <a:cubicBezTo>
                    <a:pt x="335" y="300"/>
                    <a:pt x="338" y="281"/>
                    <a:pt x="338" y="281"/>
                  </a:cubicBezTo>
                  <a:cubicBezTo>
                    <a:pt x="338" y="281"/>
                    <a:pt x="328" y="283"/>
                    <a:pt x="320" y="283"/>
                  </a:cubicBezTo>
                  <a:cubicBezTo>
                    <a:pt x="312" y="283"/>
                    <a:pt x="305" y="289"/>
                    <a:pt x="305" y="289"/>
                  </a:cubicBezTo>
                  <a:cubicBezTo>
                    <a:pt x="305" y="289"/>
                    <a:pt x="291" y="293"/>
                    <a:pt x="287" y="298"/>
                  </a:cubicBezTo>
                  <a:cubicBezTo>
                    <a:pt x="283" y="303"/>
                    <a:pt x="300" y="305"/>
                    <a:pt x="298" y="311"/>
                  </a:cubicBezTo>
                  <a:cubicBezTo>
                    <a:pt x="296" y="317"/>
                    <a:pt x="266" y="312"/>
                    <a:pt x="266" y="312"/>
                  </a:cubicBezTo>
                  <a:cubicBezTo>
                    <a:pt x="266" y="312"/>
                    <a:pt x="270" y="306"/>
                    <a:pt x="262" y="306"/>
                  </a:cubicBezTo>
                  <a:cubicBezTo>
                    <a:pt x="254" y="306"/>
                    <a:pt x="239" y="319"/>
                    <a:pt x="237" y="325"/>
                  </a:cubicBezTo>
                  <a:cubicBezTo>
                    <a:pt x="235" y="331"/>
                    <a:pt x="242" y="355"/>
                    <a:pt x="242" y="355"/>
                  </a:cubicBezTo>
                  <a:cubicBezTo>
                    <a:pt x="242" y="355"/>
                    <a:pt x="248" y="375"/>
                    <a:pt x="246" y="381"/>
                  </a:cubicBezTo>
                  <a:cubicBezTo>
                    <a:pt x="244" y="387"/>
                    <a:pt x="205" y="400"/>
                    <a:pt x="202" y="401"/>
                  </a:cubicBezTo>
                  <a:cubicBezTo>
                    <a:pt x="199" y="402"/>
                    <a:pt x="157" y="404"/>
                    <a:pt x="157" y="404"/>
                  </a:cubicBezTo>
                  <a:cubicBezTo>
                    <a:pt x="157" y="404"/>
                    <a:pt x="156" y="410"/>
                    <a:pt x="144" y="410"/>
                  </a:cubicBezTo>
                  <a:cubicBezTo>
                    <a:pt x="132" y="410"/>
                    <a:pt x="135" y="406"/>
                    <a:pt x="135" y="406"/>
                  </a:cubicBezTo>
                  <a:cubicBezTo>
                    <a:pt x="100" y="405"/>
                    <a:pt x="100" y="405"/>
                    <a:pt x="100" y="405"/>
                  </a:cubicBezTo>
                  <a:cubicBezTo>
                    <a:pt x="100" y="405"/>
                    <a:pt x="102" y="410"/>
                    <a:pt x="81" y="412"/>
                  </a:cubicBezTo>
                  <a:cubicBezTo>
                    <a:pt x="60" y="414"/>
                    <a:pt x="30" y="396"/>
                    <a:pt x="21" y="391"/>
                  </a:cubicBezTo>
                  <a:cubicBezTo>
                    <a:pt x="12" y="386"/>
                    <a:pt x="0" y="389"/>
                    <a:pt x="0" y="389"/>
                  </a:cubicBezTo>
                  <a:cubicBezTo>
                    <a:pt x="0" y="389"/>
                    <a:pt x="20" y="408"/>
                    <a:pt x="26" y="419"/>
                  </a:cubicBezTo>
                  <a:cubicBezTo>
                    <a:pt x="32" y="430"/>
                    <a:pt x="46" y="450"/>
                    <a:pt x="54" y="460"/>
                  </a:cubicBezTo>
                  <a:cubicBezTo>
                    <a:pt x="62" y="470"/>
                    <a:pt x="77" y="462"/>
                    <a:pt x="77" y="462"/>
                  </a:cubicBezTo>
                  <a:cubicBezTo>
                    <a:pt x="86" y="473"/>
                    <a:pt x="86" y="473"/>
                    <a:pt x="86" y="473"/>
                  </a:cubicBezTo>
                  <a:cubicBezTo>
                    <a:pt x="99" y="472"/>
                    <a:pt x="99" y="472"/>
                    <a:pt x="99" y="472"/>
                  </a:cubicBezTo>
                  <a:cubicBezTo>
                    <a:pt x="98" y="492"/>
                    <a:pt x="98" y="492"/>
                    <a:pt x="98" y="492"/>
                  </a:cubicBezTo>
                  <a:cubicBezTo>
                    <a:pt x="101" y="494"/>
                    <a:pt x="101" y="494"/>
                    <a:pt x="101" y="494"/>
                  </a:cubicBezTo>
                  <a:cubicBezTo>
                    <a:pt x="101" y="494"/>
                    <a:pt x="100" y="517"/>
                    <a:pt x="103" y="524"/>
                  </a:cubicBezTo>
                  <a:cubicBezTo>
                    <a:pt x="106" y="531"/>
                    <a:pt x="112" y="518"/>
                    <a:pt x="120" y="529"/>
                  </a:cubicBezTo>
                  <a:cubicBezTo>
                    <a:pt x="128" y="540"/>
                    <a:pt x="129" y="556"/>
                    <a:pt x="125" y="561"/>
                  </a:cubicBezTo>
                  <a:cubicBezTo>
                    <a:pt x="121" y="566"/>
                    <a:pt x="119" y="553"/>
                    <a:pt x="101" y="559"/>
                  </a:cubicBezTo>
                  <a:cubicBezTo>
                    <a:pt x="83" y="565"/>
                    <a:pt x="89" y="569"/>
                    <a:pt x="85" y="575"/>
                  </a:cubicBezTo>
                  <a:cubicBezTo>
                    <a:pt x="81" y="581"/>
                    <a:pt x="72" y="579"/>
                    <a:pt x="72" y="579"/>
                  </a:cubicBezTo>
                  <a:cubicBezTo>
                    <a:pt x="70" y="590"/>
                    <a:pt x="70" y="590"/>
                    <a:pt x="70" y="590"/>
                  </a:cubicBezTo>
                  <a:cubicBezTo>
                    <a:pt x="70" y="590"/>
                    <a:pt x="66" y="597"/>
                    <a:pt x="60" y="600"/>
                  </a:cubicBezTo>
                  <a:cubicBezTo>
                    <a:pt x="55" y="602"/>
                    <a:pt x="59" y="630"/>
                    <a:pt x="60" y="637"/>
                  </a:cubicBezTo>
                  <a:cubicBezTo>
                    <a:pt x="70" y="633"/>
                    <a:pt x="78" y="628"/>
                    <a:pt x="78" y="628"/>
                  </a:cubicBezTo>
                  <a:cubicBezTo>
                    <a:pt x="78" y="628"/>
                    <a:pt x="100" y="635"/>
                    <a:pt x="110" y="635"/>
                  </a:cubicBezTo>
                  <a:cubicBezTo>
                    <a:pt x="120" y="636"/>
                    <a:pt x="149" y="620"/>
                    <a:pt x="149" y="620"/>
                  </a:cubicBezTo>
                  <a:cubicBezTo>
                    <a:pt x="149" y="620"/>
                    <a:pt x="165" y="628"/>
                    <a:pt x="175" y="626"/>
                  </a:cubicBezTo>
                  <a:cubicBezTo>
                    <a:pt x="186" y="624"/>
                    <a:pt x="208" y="615"/>
                    <a:pt x="208" y="615"/>
                  </a:cubicBezTo>
                  <a:cubicBezTo>
                    <a:pt x="234" y="622"/>
                    <a:pt x="234" y="622"/>
                    <a:pt x="234" y="622"/>
                  </a:cubicBezTo>
                  <a:cubicBezTo>
                    <a:pt x="234" y="622"/>
                    <a:pt x="249" y="601"/>
                    <a:pt x="267" y="613"/>
                  </a:cubicBezTo>
                  <a:cubicBezTo>
                    <a:pt x="284" y="624"/>
                    <a:pt x="285" y="659"/>
                    <a:pt x="299" y="662"/>
                  </a:cubicBezTo>
                  <a:cubicBezTo>
                    <a:pt x="313" y="665"/>
                    <a:pt x="339" y="665"/>
                    <a:pt x="348" y="674"/>
                  </a:cubicBezTo>
                  <a:cubicBezTo>
                    <a:pt x="358" y="683"/>
                    <a:pt x="359" y="704"/>
                    <a:pt x="370" y="705"/>
                  </a:cubicBezTo>
                  <a:cubicBezTo>
                    <a:pt x="373" y="705"/>
                    <a:pt x="377" y="705"/>
                    <a:pt x="381" y="705"/>
                  </a:cubicBezTo>
                  <a:cubicBezTo>
                    <a:pt x="394" y="700"/>
                    <a:pt x="394" y="700"/>
                    <a:pt x="394" y="700"/>
                  </a:cubicBezTo>
                  <a:cubicBezTo>
                    <a:pt x="394" y="700"/>
                    <a:pt x="385" y="684"/>
                    <a:pt x="396" y="683"/>
                  </a:cubicBezTo>
                  <a:cubicBezTo>
                    <a:pt x="407" y="682"/>
                    <a:pt x="416" y="689"/>
                    <a:pt x="416" y="689"/>
                  </a:cubicBezTo>
                  <a:cubicBezTo>
                    <a:pt x="433" y="683"/>
                    <a:pt x="433" y="683"/>
                    <a:pt x="433" y="683"/>
                  </a:cubicBezTo>
                  <a:cubicBezTo>
                    <a:pt x="433" y="683"/>
                    <a:pt x="430" y="691"/>
                    <a:pt x="444" y="691"/>
                  </a:cubicBezTo>
                  <a:cubicBezTo>
                    <a:pt x="458" y="691"/>
                    <a:pt x="456" y="681"/>
                    <a:pt x="467" y="679"/>
                  </a:cubicBezTo>
                  <a:cubicBezTo>
                    <a:pt x="478" y="677"/>
                    <a:pt x="468" y="688"/>
                    <a:pt x="479" y="688"/>
                  </a:cubicBezTo>
                  <a:cubicBezTo>
                    <a:pt x="490" y="688"/>
                    <a:pt x="499" y="687"/>
                    <a:pt x="501" y="678"/>
                  </a:cubicBezTo>
                  <a:cubicBezTo>
                    <a:pt x="503" y="669"/>
                    <a:pt x="492" y="654"/>
                    <a:pt x="492" y="654"/>
                  </a:cubicBezTo>
                  <a:cubicBezTo>
                    <a:pt x="478" y="626"/>
                    <a:pt x="478" y="626"/>
                    <a:pt x="478" y="626"/>
                  </a:cubicBezTo>
                  <a:cubicBezTo>
                    <a:pt x="478" y="611"/>
                    <a:pt x="478" y="611"/>
                    <a:pt x="478" y="611"/>
                  </a:cubicBezTo>
                  <a:cubicBezTo>
                    <a:pt x="478" y="611"/>
                    <a:pt x="462" y="611"/>
                    <a:pt x="455" y="604"/>
                  </a:cubicBezTo>
                  <a:cubicBezTo>
                    <a:pt x="448" y="597"/>
                    <a:pt x="446" y="589"/>
                    <a:pt x="446" y="589"/>
                  </a:cubicBezTo>
                  <a:cubicBezTo>
                    <a:pt x="448" y="569"/>
                    <a:pt x="448" y="569"/>
                    <a:pt x="448" y="569"/>
                  </a:cubicBezTo>
                  <a:cubicBezTo>
                    <a:pt x="447" y="559"/>
                    <a:pt x="447" y="559"/>
                    <a:pt x="447" y="559"/>
                  </a:cubicBezTo>
                  <a:cubicBezTo>
                    <a:pt x="429" y="561"/>
                    <a:pt x="429" y="561"/>
                    <a:pt x="429" y="561"/>
                  </a:cubicBezTo>
                  <a:cubicBezTo>
                    <a:pt x="429" y="561"/>
                    <a:pt x="414" y="563"/>
                    <a:pt x="414" y="546"/>
                  </a:cubicBezTo>
                  <a:cubicBezTo>
                    <a:pt x="414" y="529"/>
                    <a:pt x="415" y="529"/>
                    <a:pt x="423" y="522"/>
                  </a:cubicBezTo>
                  <a:cubicBezTo>
                    <a:pt x="431" y="515"/>
                    <a:pt x="438" y="503"/>
                    <a:pt x="438" y="503"/>
                  </a:cubicBezTo>
                  <a:cubicBezTo>
                    <a:pt x="438" y="503"/>
                    <a:pt x="437" y="489"/>
                    <a:pt x="451" y="487"/>
                  </a:cubicBezTo>
                  <a:cubicBezTo>
                    <a:pt x="465" y="485"/>
                    <a:pt x="457" y="502"/>
                    <a:pt x="470" y="500"/>
                  </a:cubicBezTo>
                  <a:cubicBezTo>
                    <a:pt x="483" y="498"/>
                    <a:pt x="488" y="490"/>
                    <a:pt x="488" y="490"/>
                  </a:cubicBezTo>
                  <a:cubicBezTo>
                    <a:pt x="488" y="490"/>
                    <a:pt x="503" y="498"/>
                    <a:pt x="510" y="490"/>
                  </a:cubicBezTo>
                  <a:cubicBezTo>
                    <a:pt x="517" y="482"/>
                    <a:pt x="518" y="472"/>
                    <a:pt x="518" y="472"/>
                  </a:cubicBezTo>
                  <a:cubicBezTo>
                    <a:pt x="527" y="467"/>
                    <a:pt x="527" y="467"/>
                    <a:pt x="527" y="467"/>
                  </a:cubicBezTo>
                  <a:cubicBezTo>
                    <a:pt x="527" y="467"/>
                    <a:pt x="528" y="447"/>
                    <a:pt x="532" y="444"/>
                  </a:cubicBezTo>
                  <a:cubicBezTo>
                    <a:pt x="536" y="441"/>
                    <a:pt x="552" y="438"/>
                    <a:pt x="560" y="425"/>
                  </a:cubicBezTo>
                  <a:cubicBezTo>
                    <a:pt x="568" y="412"/>
                    <a:pt x="565" y="394"/>
                    <a:pt x="569" y="385"/>
                  </a:cubicBezTo>
                  <a:cubicBezTo>
                    <a:pt x="573" y="376"/>
                    <a:pt x="592" y="375"/>
                    <a:pt x="592" y="375"/>
                  </a:cubicBezTo>
                  <a:cubicBezTo>
                    <a:pt x="581" y="358"/>
                    <a:pt x="581" y="358"/>
                    <a:pt x="581" y="358"/>
                  </a:cubicBezTo>
                  <a:cubicBezTo>
                    <a:pt x="598" y="334"/>
                    <a:pt x="598" y="334"/>
                    <a:pt x="598" y="334"/>
                  </a:cubicBezTo>
                  <a:cubicBezTo>
                    <a:pt x="616" y="321"/>
                    <a:pt x="616" y="321"/>
                    <a:pt x="616" y="321"/>
                  </a:cubicBezTo>
                  <a:cubicBezTo>
                    <a:pt x="616" y="321"/>
                    <a:pt x="604" y="301"/>
                    <a:pt x="604" y="297"/>
                  </a:cubicBezTo>
                  <a:cubicBezTo>
                    <a:pt x="604" y="293"/>
                    <a:pt x="601" y="279"/>
                    <a:pt x="605" y="277"/>
                  </a:cubicBezTo>
                  <a:cubicBezTo>
                    <a:pt x="609" y="275"/>
                    <a:pt x="638" y="271"/>
                    <a:pt x="637" y="262"/>
                  </a:cubicBezTo>
                  <a:cubicBezTo>
                    <a:pt x="636" y="253"/>
                    <a:pt x="624" y="248"/>
                    <a:pt x="624" y="248"/>
                  </a:cubicBezTo>
                  <a:cubicBezTo>
                    <a:pt x="600" y="249"/>
                    <a:pt x="600" y="249"/>
                    <a:pt x="600" y="249"/>
                  </a:cubicBezTo>
                  <a:cubicBezTo>
                    <a:pt x="597" y="226"/>
                    <a:pt x="597" y="226"/>
                    <a:pt x="597" y="226"/>
                  </a:cubicBezTo>
                  <a:cubicBezTo>
                    <a:pt x="583" y="225"/>
                    <a:pt x="583" y="225"/>
                    <a:pt x="583" y="225"/>
                  </a:cubicBezTo>
                  <a:cubicBezTo>
                    <a:pt x="575" y="215"/>
                    <a:pt x="575" y="215"/>
                    <a:pt x="575" y="215"/>
                  </a:cubicBezTo>
                  <a:cubicBezTo>
                    <a:pt x="575" y="215"/>
                    <a:pt x="564" y="218"/>
                    <a:pt x="565" y="210"/>
                  </a:cubicBezTo>
                  <a:cubicBezTo>
                    <a:pt x="566" y="202"/>
                    <a:pt x="567" y="194"/>
                    <a:pt x="567" y="194"/>
                  </a:cubicBezTo>
                  <a:cubicBezTo>
                    <a:pt x="567" y="194"/>
                    <a:pt x="553" y="193"/>
                    <a:pt x="556" y="183"/>
                  </a:cubicBezTo>
                  <a:cubicBezTo>
                    <a:pt x="559" y="173"/>
                    <a:pt x="568" y="165"/>
                    <a:pt x="568" y="165"/>
                  </a:cubicBezTo>
                  <a:cubicBezTo>
                    <a:pt x="548" y="161"/>
                    <a:pt x="548" y="161"/>
                    <a:pt x="548" y="161"/>
                  </a:cubicBezTo>
                  <a:cubicBezTo>
                    <a:pt x="552" y="152"/>
                    <a:pt x="552" y="152"/>
                    <a:pt x="552" y="152"/>
                  </a:cubicBezTo>
                  <a:cubicBezTo>
                    <a:pt x="537" y="142"/>
                    <a:pt x="537" y="142"/>
                    <a:pt x="537" y="142"/>
                  </a:cubicBezTo>
                  <a:cubicBezTo>
                    <a:pt x="537" y="142"/>
                    <a:pt x="535" y="126"/>
                    <a:pt x="557" y="123"/>
                  </a:cubicBezTo>
                  <a:cubicBezTo>
                    <a:pt x="579" y="120"/>
                    <a:pt x="608" y="126"/>
                    <a:pt x="608" y="126"/>
                  </a:cubicBezTo>
                  <a:cubicBezTo>
                    <a:pt x="608" y="126"/>
                    <a:pt x="611" y="138"/>
                    <a:pt x="618" y="137"/>
                  </a:cubicBezTo>
                  <a:cubicBezTo>
                    <a:pt x="625" y="136"/>
                    <a:pt x="643" y="123"/>
                    <a:pt x="643" y="123"/>
                  </a:cubicBezTo>
                  <a:cubicBezTo>
                    <a:pt x="647" y="127"/>
                    <a:pt x="647" y="127"/>
                    <a:pt x="647" y="127"/>
                  </a:cubicBezTo>
                  <a:cubicBezTo>
                    <a:pt x="653" y="122"/>
                    <a:pt x="653" y="122"/>
                    <a:pt x="653" y="122"/>
                  </a:cubicBezTo>
                  <a:cubicBezTo>
                    <a:pt x="653" y="122"/>
                    <a:pt x="664" y="123"/>
                    <a:pt x="667" y="122"/>
                  </a:cubicBezTo>
                  <a:cubicBezTo>
                    <a:pt x="670" y="121"/>
                    <a:pt x="670" y="110"/>
                    <a:pt x="670" y="110"/>
                  </a:cubicBezTo>
                  <a:cubicBezTo>
                    <a:pt x="685" y="104"/>
                    <a:pt x="685" y="104"/>
                    <a:pt x="685" y="104"/>
                  </a:cubicBezTo>
                  <a:cubicBezTo>
                    <a:pt x="700" y="82"/>
                    <a:pt x="700" y="82"/>
                    <a:pt x="700" y="82"/>
                  </a:cubicBezTo>
                  <a:cubicBezTo>
                    <a:pt x="701" y="82"/>
                    <a:pt x="701" y="82"/>
                    <a:pt x="701" y="82"/>
                  </a:cubicBezTo>
                  <a:cubicBezTo>
                    <a:pt x="692" y="82"/>
                    <a:pt x="680" y="81"/>
                    <a:pt x="671" y="81"/>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85" name="Oman">
              <a:extLst>
                <a:ext uri="{FF2B5EF4-FFF2-40B4-BE49-F238E27FC236}">
                  <a16:creationId xmlns:a16="http://schemas.microsoft.com/office/drawing/2014/main" id="{B4032A6C-A582-461C-92ED-8529CF6A6CD5}"/>
                </a:ext>
              </a:extLst>
            </p:cNvPr>
            <p:cNvSpPr>
              <a:spLocks/>
            </p:cNvSpPr>
            <p:nvPr/>
          </p:nvSpPr>
          <p:spPr bwMode="gray">
            <a:xfrm>
              <a:off x="6980097" y="3329838"/>
              <a:ext cx="203235" cy="249123"/>
            </a:xfrm>
            <a:custGeom>
              <a:avLst/>
              <a:gdLst>
                <a:gd name="T0" fmla="*/ 169 w 364"/>
                <a:gd name="T1" fmla="*/ 375 h 445"/>
                <a:gd name="T2" fmla="*/ 220 w 364"/>
                <a:gd name="T3" fmla="*/ 358 h 445"/>
                <a:gd name="T4" fmla="*/ 228 w 364"/>
                <a:gd name="T5" fmla="*/ 330 h 445"/>
                <a:gd name="T6" fmla="*/ 269 w 364"/>
                <a:gd name="T7" fmla="*/ 304 h 445"/>
                <a:gd name="T8" fmla="*/ 283 w 364"/>
                <a:gd name="T9" fmla="*/ 249 h 445"/>
                <a:gd name="T10" fmla="*/ 312 w 364"/>
                <a:gd name="T11" fmla="*/ 249 h 445"/>
                <a:gd name="T12" fmla="*/ 318 w 364"/>
                <a:gd name="T13" fmla="*/ 218 h 445"/>
                <a:gd name="T14" fmla="*/ 355 w 364"/>
                <a:gd name="T15" fmla="*/ 184 h 445"/>
                <a:gd name="T16" fmla="*/ 359 w 364"/>
                <a:gd name="T17" fmla="*/ 134 h 445"/>
                <a:gd name="T18" fmla="*/ 339 w 364"/>
                <a:gd name="T19" fmla="*/ 127 h 445"/>
                <a:gd name="T20" fmla="*/ 302 w 364"/>
                <a:gd name="T21" fmla="*/ 74 h 445"/>
                <a:gd name="T22" fmla="*/ 237 w 364"/>
                <a:gd name="T23" fmla="*/ 52 h 445"/>
                <a:gd name="T24" fmla="*/ 191 w 364"/>
                <a:gd name="T25" fmla="*/ 23 h 445"/>
                <a:gd name="T26" fmla="*/ 184 w 364"/>
                <a:gd name="T27" fmla="*/ 7 h 445"/>
                <a:gd name="T28" fmla="*/ 168 w 364"/>
                <a:gd name="T29" fmla="*/ 13 h 445"/>
                <a:gd name="T30" fmla="*/ 158 w 364"/>
                <a:gd name="T31" fmla="*/ 0 h 445"/>
                <a:gd name="T32" fmla="*/ 151 w 364"/>
                <a:gd name="T33" fmla="*/ 34 h 445"/>
                <a:gd name="T34" fmla="*/ 161 w 364"/>
                <a:gd name="T35" fmla="*/ 51 h 445"/>
                <a:gd name="T36" fmla="*/ 149 w 364"/>
                <a:gd name="T37" fmla="*/ 52 h 445"/>
                <a:gd name="T38" fmla="*/ 141 w 364"/>
                <a:gd name="T39" fmla="*/ 79 h 445"/>
                <a:gd name="T40" fmla="*/ 128 w 364"/>
                <a:gd name="T41" fmla="*/ 108 h 445"/>
                <a:gd name="T42" fmla="*/ 141 w 364"/>
                <a:gd name="T43" fmla="*/ 142 h 445"/>
                <a:gd name="T44" fmla="*/ 159 w 364"/>
                <a:gd name="T45" fmla="*/ 161 h 445"/>
                <a:gd name="T46" fmla="*/ 133 w 364"/>
                <a:gd name="T47" fmla="*/ 276 h 445"/>
                <a:gd name="T48" fmla="*/ 0 w 364"/>
                <a:gd name="T49" fmla="*/ 325 h 445"/>
                <a:gd name="T50" fmla="*/ 54 w 364"/>
                <a:gd name="T51" fmla="*/ 445 h 445"/>
                <a:gd name="T52" fmla="*/ 162 w 364"/>
                <a:gd name="T53" fmla="*/ 410 h 445"/>
                <a:gd name="T54" fmla="*/ 169 w 364"/>
                <a:gd name="T55" fmla="*/ 37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4" h="445">
                  <a:moveTo>
                    <a:pt x="169" y="375"/>
                  </a:moveTo>
                  <a:cubicBezTo>
                    <a:pt x="169" y="375"/>
                    <a:pt x="211" y="369"/>
                    <a:pt x="220" y="358"/>
                  </a:cubicBezTo>
                  <a:cubicBezTo>
                    <a:pt x="228" y="348"/>
                    <a:pt x="228" y="330"/>
                    <a:pt x="228" y="330"/>
                  </a:cubicBezTo>
                  <a:cubicBezTo>
                    <a:pt x="228" y="330"/>
                    <a:pt x="260" y="319"/>
                    <a:pt x="269" y="304"/>
                  </a:cubicBezTo>
                  <a:cubicBezTo>
                    <a:pt x="279" y="288"/>
                    <a:pt x="274" y="250"/>
                    <a:pt x="283" y="249"/>
                  </a:cubicBezTo>
                  <a:cubicBezTo>
                    <a:pt x="292" y="248"/>
                    <a:pt x="302" y="260"/>
                    <a:pt x="312" y="249"/>
                  </a:cubicBezTo>
                  <a:cubicBezTo>
                    <a:pt x="323" y="238"/>
                    <a:pt x="318" y="218"/>
                    <a:pt x="318" y="218"/>
                  </a:cubicBezTo>
                  <a:cubicBezTo>
                    <a:pt x="355" y="184"/>
                    <a:pt x="355" y="184"/>
                    <a:pt x="355" y="184"/>
                  </a:cubicBezTo>
                  <a:cubicBezTo>
                    <a:pt x="355" y="184"/>
                    <a:pt x="364" y="144"/>
                    <a:pt x="359" y="134"/>
                  </a:cubicBezTo>
                  <a:cubicBezTo>
                    <a:pt x="355" y="124"/>
                    <a:pt x="339" y="127"/>
                    <a:pt x="339" y="127"/>
                  </a:cubicBezTo>
                  <a:cubicBezTo>
                    <a:pt x="339" y="127"/>
                    <a:pt x="317" y="87"/>
                    <a:pt x="302" y="74"/>
                  </a:cubicBezTo>
                  <a:cubicBezTo>
                    <a:pt x="287" y="61"/>
                    <a:pt x="237" y="52"/>
                    <a:pt x="237" y="52"/>
                  </a:cubicBezTo>
                  <a:cubicBezTo>
                    <a:pt x="237" y="52"/>
                    <a:pt x="194" y="38"/>
                    <a:pt x="191" y="23"/>
                  </a:cubicBezTo>
                  <a:cubicBezTo>
                    <a:pt x="190" y="18"/>
                    <a:pt x="187" y="13"/>
                    <a:pt x="184" y="7"/>
                  </a:cubicBezTo>
                  <a:cubicBezTo>
                    <a:pt x="168" y="13"/>
                    <a:pt x="168" y="13"/>
                    <a:pt x="168" y="13"/>
                  </a:cubicBezTo>
                  <a:cubicBezTo>
                    <a:pt x="168" y="13"/>
                    <a:pt x="162" y="0"/>
                    <a:pt x="158" y="0"/>
                  </a:cubicBezTo>
                  <a:cubicBezTo>
                    <a:pt x="154" y="0"/>
                    <a:pt x="147" y="30"/>
                    <a:pt x="151" y="34"/>
                  </a:cubicBezTo>
                  <a:cubicBezTo>
                    <a:pt x="155" y="38"/>
                    <a:pt x="165" y="49"/>
                    <a:pt x="161" y="51"/>
                  </a:cubicBezTo>
                  <a:cubicBezTo>
                    <a:pt x="157" y="53"/>
                    <a:pt x="151" y="45"/>
                    <a:pt x="149" y="52"/>
                  </a:cubicBezTo>
                  <a:cubicBezTo>
                    <a:pt x="147" y="59"/>
                    <a:pt x="141" y="79"/>
                    <a:pt x="141" y="79"/>
                  </a:cubicBezTo>
                  <a:cubicBezTo>
                    <a:pt x="141" y="79"/>
                    <a:pt x="128" y="102"/>
                    <a:pt x="128" y="108"/>
                  </a:cubicBezTo>
                  <a:cubicBezTo>
                    <a:pt x="128" y="114"/>
                    <a:pt x="141" y="138"/>
                    <a:pt x="141" y="142"/>
                  </a:cubicBezTo>
                  <a:cubicBezTo>
                    <a:pt x="141" y="146"/>
                    <a:pt x="159" y="161"/>
                    <a:pt x="159" y="161"/>
                  </a:cubicBezTo>
                  <a:cubicBezTo>
                    <a:pt x="133" y="276"/>
                    <a:pt x="133" y="276"/>
                    <a:pt x="133" y="276"/>
                  </a:cubicBezTo>
                  <a:cubicBezTo>
                    <a:pt x="0" y="325"/>
                    <a:pt x="0" y="325"/>
                    <a:pt x="0" y="325"/>
                  </a:cubicBezTo>
                  <a:cubicBezTo>
                    <a:pt x="54" y="445"/>
                    <a:pt x="54" y="445"/>
                    <a:pt x="54" y="445"/>
                  </a:cubicBezTo>
                  <a:cubicBezTo>
                    <a:pt x="81" y="434"/>
                    <a:pt x="159" y="415"/>
                    <a:pt x="162" y="410"/>
                  </a:cubicBezTo>
                  <a:cubicBezTo>
                    <a:pt x="167" y="404"/>
                    <a:pt x="169" y="375"/>
                    <a:pt x="169" y="375"/>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04" name="North Korea">
              <a:extLst>
                <a:ext uri="{FF2B5EF4-FFF2-40B4-BE49-F238E27FC236}">
                  <a16:creationId xmlns:a16="http://schemas.microsoft.com/office/drawing/2014/main" id="{3BA856E3-0509-414D-990C-CD3899171F06}"/>
                </a:ext>
              </a:extLst>
            </p:cNvPr>
            <p:cNvSpPr>
              <a:spLocks/>
            </p:cNvSpPr>
            <p:nvPr/>
          </p:nvSpPr>
          <p:spPr bwMode="gray">
            <a:xfrm>
              <a:off x="8677430" y="2791925"/>
              <a:ext cx="122258" cy="157090"/>
            </a:xfrm>
            <a:custGeom>
              <a:avLst/>
              <a:gdLst>
                <a:gd name="T0" fmla="*/ 182 w 220"/>
                <a:gd name="T1" fmla="*/ 0 h 280"/>
                <a:gd name="T2" fmla="*/ 160 w 220"/>
                <a:gd name="T3" fmla="*/ 0 h 280"/>
                <a:gd name="T4" fmla="*/ 171 w 220"/>
                <a:gd name="T5" fmla="*/ 27 h 280"/>
                <a:gd name="T6" fmla="*/ 153 w 220"/>
                <a:gd name="T7" fmla="*/ 28 h 280"/>
                <a:gd name="T8" fmla="*/ 153 w 220"/>
                <a:gd name="T9" fmla="*/ 49 h 280"/>
                <a:gd name="T10" fmla="*/ 113 w 220"/>
                <a:gd name="T11" fmla="*/ 50 h 280"/>
                <a:gd name="T12" fmla="*/ 135 w 220"/>
                <a:gd name="T13" fmla="*/ 71 h 280"/>
                <a:gd name="T14" fmla="*/ 134 w 220"/>
                <a:gd name="T15" fmla="*/ 81 h 280"/>
                <a:gd name="T16" fmla="*/ 87 w 220"/>
                <a:gd name="T17" fmla="*/ 77 h 280"/>
                <a:gd name="T18" fmla="*/ 61 w 220"/>
                <a:gd name="T19" fmla="*/ 63 h 280"/>
                <a:gd name="T20" fmla="*/ 47 w 220"/>
                <a:gd name="T21" fmla="*/ 115 h 280"/>
                <a:gd name="T22" fmla="*/ 13 w 220"/>
                <a:gd name="T23" fmla="*/ 138 h 280"/>
                <a:gd name="T24" fmla="*/ 7 w 220"/>
                <a:gd name="T25" fmla="*/ 154 h 280"/>
                <a:gd name="T26" fmla="*/ 0 w 220"/>
                <a:gd name="T27" fmla="*/ 165 h 280"/>
                <a:gd name="T28" fmla="*/ 8 w 220"/>
                <a:gd name="T29" fmla="*/ 152 h 280"/>
                <a:gd name="T30" fmla="*/ 14 w 220"/>
                <a:gd name="T31" fmla="*/ 166 h 280"/>
                <a:gd name="T32" fmla="*/ 26 w 220"/>
                <a:gd name="T33" fmla="*/ 180 h 280"/>
                <a:gd name="T34" fmla="*/ 33 w 220"/>
                <a:gd name="T35" fmla="*/ 168 h 280"/>
                <a:gd name="T36" fmla="*/ 47 w 220"/>
                <a:gd name="T37" fmla="*/ 181 h 280"/>
                <a:gd name="T38" fmla="*/ 64 w 220"/>
                <a:gd name="T39" fmla="*/ 182 h 280"/>
                <a:gd name="T40" fmla="*/ 68 w 220"/>
                <a:gd name="T41" fmla="*/ 223 h 280"/>
                <a:gd name="T42" fmla="*/ 93 w 220"/>
                <a:gd name="T43" fmla="*/ 223 h 280"/>
                <a:gd name="T44" fmla="*/ 96 w 220"/>
                <a:gd name="T45" fmla="*/ 233 h 280"/>
                <a:gd name="T46" fmla="*/ 69 w 220"/>
                <a:gd name="T47" fmla="*/ 234 h 280"/>
                <a:gd name="T48" fmla="*/ 80 w 220"/>
                <a:gd name="T49" fmla="*/ 263 h 280"/>
                <a:gd name="T50" fmla="*/ 87 w 220"/>
                <a:gd name="T51" fmla="*/ 274 h 280"/>
                <a:gd name="T52" fmla="*/ 106 w 220"/>
                <a:gd name="T53" fmla="*/ 266 h 280"/>
                <a:gd name="T54" fmla="*/ 135 w 220"/>
                <a:gd name="T55" fmla="*/ 279 h 280"/>
                <a:gd name="T56" fmla="*/ 153 w 220"/>
                <a:gd name="T57" fmla="*/ 275 h 280"/>
                <a:gd name="T58" fmla="*/ 166 w 220"/>
                <a:gd name="T59" fmla="*/ 265 h 280"/>
                <a:gd name="T60" fmla="*/ 169 w 220"/>
                <a:gd name="T61" fmla="*/ 252 h 280"/>
                <a:gd name="T62" fmla="*/ 207 w 220"/>
                <a:gd name="T63" fmla="*/ 246 h 280"/>
                <a:gd name="T64" fmla="*/ 217 w 220"/>
                <a:gd name="T65" fmla="*/ 236 h 280"/>
                <a:gd name="T66" fmla="*/ 208 w 220"/>
                <a:gd name="T67" fmla="*/ 224 h 280"/>
                <a:gd name="T68" fmla="*/ 177 w 220"/>
                <a:gd name="T69" fmla="*/ 207 h 280"/>
                <a:gd name="T70" fmla="*/ 162 w 220"/>
                <a:gd name="T71" fmla="*/ 202 h 280"/>
                <a:gd name="T72" fmla="*/ 169 w 220"/>
                <a:gd name="T73" fmla="*/ 189 h 280"/>
                <a:gd name="T74" fmla="*/ 154 w 220"/>
                <a:gd name="T75" fmla="*/ 167 h 280"/>
                <a:gd name="T76" fmla="*/ 190 w 220"/>
                <a:gd name="T77" fmla="*/ 146 h 280"/>
                <a:gd name="T78" fmla="*/ 200 w 220"/>
                <a:gd name="T79" fmla="*/ 117 h 280"/>
                <a:gd name="T80" fmla="*/ 216 w 220"/>
                <a:gd name="T81" fmla="*/ 109 h 280"/>
                <a:gd name="T82" fmla="*/ 211 w 220"/>
                <a:gd name="T83" fmla="*/ 88 h 280"/>
                <a:gd name="T84" fmla="*/ 196 w 220"/>
                <a:gd name="T85" fmla="*/ 60 h 280"/>
                <a:gd name="T86" fmla="*/ 220 w 220"/>
                <a:gd name="T87" fmla="*/ 38 h 280"/>
                <a:gd name="T88" fmla="*/ 211 w 220"/>
                <a:gd name="T89" fmla="*/ 23 h 280"/>
                <a:gd name="T90" fmla="*/ 192 w 220"/>
                <a:gd name="T91" fmla="*/ 17 h 280"/>
                <a:gd name="T92" fmla="*/ 182 w 220"/>
                <a:gd name="T9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0" h="280">
                  <a:moveTo>
                    <a:pt x="182" y="0"/>
                  </a:moveTo>
                  <a:cubicBezTo>
                    <a:pt x="160" y="0"/>
                    <a:pt x="160" y="0"/>
                    <a:pt x="160" y="0"/>
                  </a:cubicBezTo>
                  <a:cubicBezTo>
                    <a:pt x="160" y="0"/>
                    <a:pt x="173" y="22"/>
                    <a:pt x="171" y="27"/>
                  </a:cubicBezTo>
                  <a:cubicBezTo>
                    <a:pt x="169" y="32"/>
                    <a:pt x="153" y="28"/>
                    <a:pt x="153" y="28"/>
                  </a:cubicBezTo>
                  <a:cubicBezTo>
                    <a:pt x="153" y="28"/>
                    <a:pt x="163" y="40"/>
                    <a:pt x="153" y="49"/>
                  </a:cubicBezTo>
                  <a:cubicBezTo>
                    <a:pt x="143" y="58"/>
                    <a:pt x="119" y="42"/>
                    <a:pt x="113" y="50"/>
                  </a:cubicBezTo>
                  <a:cubicBezTo>
                    <a:pt x="107" y="58"/>
                    <a:pt x="135" y="71"/>
                    <a:pt x="135" y="71"/>
                  </a:cubicBezTo>
                  <a:cubicBezTo>
                    <a:pt x="134" y="81"/>
                    <a:pt x="134" y="81"/>
                    <a:pt x="134" y="81"/>
                  </a:cubicBezTo>
                  <a:cubicBezTo>
                    <a:pt x="134" y="81"/>
                    <a:pt x="94" y="82"/>
                    <a:pt x="87" y="77"/>
                  </a:cubicBezTo>
                  <a:cubicBezTo>
                    <a:pt x="80" y="72"/>
                    <a:pt x="65" y="61"/>
                    <a:pt x="61" y="63"/>
                  </a:cubicBezTo>
                  <a:cubicBezTo>
                    <a:pt x="57" y="65"/>
                    <a:pt x="62" y="103"/>
                    <a:pt x="47" y="115"/>
                  </a:cubicBezTo>
                  <a:cubicBezTo>
                    <a:pt x="32" y="127"/>
                    <a:pt x="25" y="128"/>
                    <a:pt x="13" y="138"/>
                  </a:cubicBezTo>
                  <a:cubicBezTo>
                    <a:pt x="3" y="146"/>
                    <a:pt x="5" y="152"/>
                    <a:pt x="7" y="154"/>
                  </a:cubicBezTo>
                  <a:cubicBezTo>
                    <a:pt x="0" y="165"/>
                    <a:pt x="0" y="165"/>
                    <a:pt x="0" y="165"/>
                  </a:cubicBezTo>
                  <a:cubicBezTo>
                    <a:pt x="8" y="152"/>
                    <a:pt x="8" y="152"/>
                    <a:pt x="8" y="152"/>
                  </a:cubicBezTo>
                  <a:cubicBezTo>
                    <a:pt x="14" y="166"/>
                    <a:pt x="14" y="166"/>
                    <a:pt x="14" y="166"/>
                  </a:cubicBezTo>
                  <a:cubicBezTo>
                    <a:pt x="26" y="180"/>
                    <a:pt x="26" y="180"/>
                    <a:pt x="26" y="180"/>
                  </a:cubicBezTo>
                  <a:cubicBezTo>
                    <a:pt x="33" y="168"/>
                    <a:pt x="33" y="168"/>
                    <a:pt x="33" y="168"/>
                  </a:cubicBezTo>
                  <a:cubicBezTo>
                    <a:pt x="33" y="168"/>
                    <a:pt x="42" y="181"/>
                    <a:pt x="47" y="181"/>
                  </a:cubicBezTo>
                  <a:cubicBezTo>
                    <a:pt x="52" y="181"/>
                    <a:pt x="60" y="175"/>
                    <a:pt x="64" y="182"/>
                  </a:cubicBezTo>
                  <a:cubicBezTo>
                    <a:pt x="68" y="189"/>
                    <a:pt x="68" y="223"/>
                    <a:pt x="68" y="223"/>
                  </a:cubicBezTo>
                  <a:cubicBezTo>
                    <a:pt x="93" y="223"/>
                    <a:pt x="93" y="223"/>
                    <a:pt x="93" y="223"/>
                  </a:cubicBezTo>
                  <a:cubicBezTo>
                    <a:pt x="96" y="233"/>
                    <a:pt x="96" y="233"/>
                    <a:pt x="96" y="233"/>
                  </a:cubicBezTo>
                  <a:cubicBezTo>
                    <a:pt x="96" y="233"/>
                    <a:pt x="73" y="221"/>
                    <a:pt x="69" y="234"/>
                  </a:cubicBezTo>
                  <a:cubicBezTo>
                    <a:pt x="65" y="247"/>
                    <a:pt x="80" y="263"/>
                    <a:pt x="80" y="263"/>
                  </a:cubicBezTo>
                  <a:cubicBezTo>
                    <a:pt x="87" y="274"/>
                    <a:pt x="87" y="274"/>
                    <a:pt x="87" y="274"/>
                  </a:cubicBezTo>
                  <a:cubicBezTo>
                    <a:pt x="106" y="266"/>
                    <a:pt x="106" y="266"/>
                    <a:pt x="106" y="266"/>
                  </a:cubicBezTo>
                  <a:cubicBezTo>
                    <a:pt x="106" y="266"/>
                    <a:pt x="126" y="280"/>
                    <a:pt x="135" y="279"/>
                  </a:cubicBezTo>
                  <a:cubicBezTo>
                    <a:pt x="144" y="278"/>
                    <a:pt x="153" y="275"/>
                    <a:pt x="153" y="275"/>
                  </a:cubicBezTo>
                  <a:cubicBezTo>
                    <a:pt x="153" y="275"/>
                    <a:pt x="165" y="268"/>
                    <a:pt x="166" y="265"/>
                  </a:cubicBezTo>
                  <a:cubicBezTo>
                    <a:pt x="167" y="262"/>
                    <a:pt x="155" y="260"/>
                    <a:pt x="169" y="252"/>
                  </a:cubicBezTo>
                  <a:cubicBezTo>
                    <a:pt x="183" y="245"/>
                    <a:pt x="207" y="246"/>
                    <a:pt x="207" y="246"/>
                  </a:cubicBezTo>
                  <a:cubicBezTo>
                    <a:pt x="217" y="236"/>
                    <a:pt x="217" y="236"/>
                    <a:pt x="217" y="236"/>
                  </a:cubicBezTo>
                  <a:cubicBezTo>
                    <a:pt x="212" y="229"/>
                    <a:pt x="208" y="224"/>
                    <a:pt x="208" y="224"/>
                  </a:cubicBezTo>
                  <a:cubicBezTo>
                    <a:pt x="177" y="207"/>
                    <a:pt x="177" y="207"/>
                    <a:pt x="177" y="207"/>
                  </a:cubicBezTo>
                  <a:cubicBezTo>
                    <a:pt x="177" y="207"/>
                    <a:pt x="155" y="215"/>
                    <a:pt x="162" y="202"/>
                  </a:cubicBezTo>
                  <a:cubicBezTo>
                    <a:pt x="169" y="189"/>
                    <a:pt x="169" y="189"/>
                    <a:pt x="169" y="189"/>
                  </a:cubicBezTo>
                  <a:cubicBezTo>
                    <a:pt x="169" y="189"/>
                    <a:pt x="144" y="178"/>
                    <a:pt x="154" y="167"/>
                  </a:cubicBezTo>
                  <a:cubicBezTo>
                    <a:pt x="164" y="156"/>
                    <a:pt x="185" y="160"/>
                    <a:pt x="190" y="146"/>
                  </a:cubicBezTo>
                  <a:cubicBezTo>
                    <a:pt x="195" y="132"/>
                    <a:pt x="200" y="117"/>
                    <a:pt x="200" y="117"/>
                  </a:cubicBezTo>
                  <a:cubicBezTo>
                    <a:pt x="216" y="109"/>
                    <a:pt x="216" y="109"/>
                    <a:pt x="216" y="109"/>
                  </a:cubicBezTo>
                  <a:cubicBezTo>
                    <a:pt x="211" y="88"/>
                    <a:pt x="211" y="88"/>
                    <a:pt x="211" y="88"/>
                  </a:cubicBezTo>
                  <a:cubicBezTo>
                    <a:pt x="211" y="88"/>
                    <a:pt x="195" y="77"/>
                    <a:pt x="196" y="60"/>
                  </a:cubicBezTo>
                  <a:cubicBezTo>
                    <a:pt x="197" y="43"/>
                    <a:pt x="220" y="38"/>
                    <a:pt x="220" y="38"/>
                  </a:cubicBezTo>
                  <a:cubicBezTo>
                    <a:pt x="211" y="23"/>
                    <a:pt x="211" y="23"/>
                    <a:pt x="211" y="23"/>
                  </a:cubicBezTo>
                  <a:cubicBezTo>
                    <a:pt x="192" y="17"/>
                    <a:pt x="192" y="17"/>
                    <a:pt x="192" y="17"/>
                  </a:cubicBezTo>
                  <a:lnTo>
                    <a:pt x="182" y="0"/>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96" name="Nepal">
              <a:extLst>
                <a:ext uri="{FF2B5EF4-FFF2-40B4-BE49-F238E27FC236}">
                  <a16:creationId xmlns:a16="http://schemas.microsoft.com/office/drawing/2014/main" id="{DC9AB942-2AFD-47CA-820A-EA2012F011E8}"/>
                </a:ext>
              </a:extLst>
            </p:cNvPr>
            <p:cNvSpPr>
              <a:spLocks/>
            </p:cNvSpPr>
            <p:nvPr/>
          </p:nvSpPr>
          <p:spPr bwMode="gray">
            <a:xfrm>
              <a:off x="7669192" y="3161641"/>
              <a:ext cx="223876" cy="130115"/>
            </a:xfrm>
            <a:custGeom>
              <a:avLst/>
              <a:gdLst>
                <a:gd name="T0" fmla="*/ 203 w 400"/>
                <a:gd name="T1" fmla="*/ 166 h 233"/>
                <a:gd name="T2" fmla="*/ 213 w 400"/>
                <a:gd name="T3" fmla="*/ 179 h 233"/>
                <a:gd name="T4" fmla="*/ 227 w 400"/>
                <a:gd name="T5" fmla="*/ 176 h 233"/>
                <a:gd name="T6" fmla="*/ 244 w 400"/>
                <a:gd name="T7" fmla="*/ 194 h 233"/>
                <a:gd name="T8" fmla="*/ 262 w 400"/>
                <a:gd name="T9" fmla="*/ 213 h 233"/>
                <a:gd name="T10" fmla="*/ 274 w 400"/>
                <a:gd name="T11" fmla="*/ 204 h 233"/>
                <a:gd name="T12" fmla="*/ 296 w 400"/>
                <a:gd name="T13" fmla="*/ 218 h 233"/>
                <a:gd name="T14" fmla="*/ 313 w 400"/>
                <a:gd name="T15" fmla="*/ 213 h 233"/>
                <a:gd name="T16" fmla="*/ 337 w 400"/>
                <a:gd name="T17" fmla="*/ 230 h 233"/>
                <a:gd name="T18" fmla="*/ 351 w 400"/>
                <a:gd name="T19" fmla="*/ 219 h 233"/>
                <a:gd name="T20" fmla="*/ 361 w 400"/>
                <a:gd name="T21" fmla="*/ 229 h 233"/>
                <a:gd name="T22" fmla="*/ 377 w 400"/>
                <a:gd name="T23" fmla="*/ 230 h 233"/>
                <a:gd name="T24" fmla="*/ 399 w 400"/>
                <a:gd name="T25" fmla="*/ 224 h 233"/>
                <a:gd name="T26" fmla="*/ 400 w 400"/>
                <a:gd name="T27" fmla="*/ 206 h 233"/>
                <a:gd name="T28" fmla="*/ 390 w 400"/>
                <a:gd name="T29" fmla="*/ 191 h 233"/>
                <a:gd name="T30" fmla="*/ 390 w 400"/>
                <a:gd name="T31" fmla="*/ 159 h 233"/>
                <a:gd name="T32" fmla="*/ 384 w 400"/>
                <a:gd name="T33" fmla="*/ 144 h 233"/>
                <a:gd name="T34" fmla="*/ 363 w 400"/>
                <a:gd name="T35" fmla="*/ 153 h 233"/>
                <a:gd name="T36" fmla="*/ 316 w 400"/>
                <a:gd name="T37" fmla="*/ 134 h 233"/>
                <a:gd name="T38" fmla="*/ 304 w 400"/>
                <a:gd name="T39" fmla="*/ 143 h 233"/>
                <a:gd name="T40" fmla="*/ 295 w 400"/>
                <a:gd name="T41" fmla="*/ 130 h 233"/>
                <a:gd name="T42" fmla="*/ 284 w 400"/>
                <a:gd name="T43" fmla="*/ 143 h 233"/>
                <a:gd name="T44" fmla="*/ 275 w 400"/>
                <a:gd name="T45" fmla="*/ 124 h 233"/>
                <a:gd name="T46" fmla="*/ 247 w 400"/>
                <a:gd name="T47" fmla="*/ 126 h 233"/>
                <a:gd name="T48" fmla="*/ 243 w 400"/>
                <a:gd name="T49" fmla="*/ 109 h 233"/>
                <a:gd name="T50" fmla="*/ 223 w 400"/>
                <a:gd name="T51" fmla="*/ 113 h 233"/>
                <a:gd name="T52" fmla="*/ 201 w 400"/>
                <a:gd name="T53" fmla="*/ 95 h 233"/>
                <a:gd name="T54" fmla="*/ 187 w 400"/>
                <a:gd name="T55" fmla="*/ 66 h 233"/>
                <a:gd name="T56" fmla="*/ 168 w 400"/>
                <a:gd name="T57" fmla="*/ 83 h 233"/>
                <a:gd name="T58" fmla="*/ 149 w 400"/>
                <a:gd name="T59" fmla="*/ 50 h 233"/>
                <a:gd name="T60" fmla="*/ 118 w 400"/>
                <a:gd name="T61" fmla="*/ 44 h 233"/>
                <a:gd name="T62" fmla="*/ 86 w 400"/>
                <a:gd name="T63" fmla="*/ 15 h 233"/>
                <a:gd name="T64" fmla="*/ 59 w 400"/>
                <a:gd name="T65" fmla="*/ 17 h 233"/>
                <a:gd name="T66" fmla="*/ 44 w 400"/>
                <a:gd name="T67" fmla="*/ 30 h 233"/>
                <a:gd name="T68" fmla="*/ 32 w 400"/>
                <a:gd name="T69" fmla="*/ 19 h 233"/>
                <a:gd name="T70" fmla="*/ 26 w 400"/>
                <a:gd name="T71" fmla="*/ 32 h 233"/>
                <a:gd name="T72" fmla="*/ 11 w 400"/>
                <a:gd name="T73" fmla="*/ 50 h 233"/>
                <a:gd name="T74" fmla="*/ 17 w 400"/>
                <a:gd name="T75" fmla="*/ 59 h 233"/>
                <a:gd name="T76" fmla="*/ 10 w 400"/>
                <a:gd name="T77" fmla="*/ 67 h 233"/>
                <a:gd name="T78" fmla="*/ 19 w 400"/>
                <a:gd name="T79" fmla="*/ 73 h 233"/>
                <a:gd name="T80" fmla="*/ 7 w 400"/>
                <a:gd name="T81" fmla="*/ 91 h 233"/>
                <a:gd name="T82" fmla="*/ 26 w 400"/>
                <a:gd name="T83" fmla="*/ 110 h 233"/>
                <a:gd name="T84" fmla="*/ 36 w 400"/>
                <a:gd name="T85" fmla="*/ 104 h 233"/>
                <a:gd name="T86" fmla="*/ 47 w 400"/>
                <a:gd name="T87" fmla="*/ 122 h 233"/>
                <a:gd name="T88" fmla="*/ 65 w 400"/>
                <a:gd name="T89" fmla="*/ 122 h 233"/>
                <a:gd name="T90" fmla="*/ 72 w 400"/>
                <a:gd name="T91" fmla="*/ 132 h 233"/>
                <a:gd name="T92" fmla="*/ 100 w 400"/>
                <a:gd name="T93" fmla="*/ 147 h 233"/>
                <a:gd name="T94" fmla="*/ 109 w 400"/>
                <a:gd name="T95" fmla="*/ 146 h 233"/>
                <a:gd name="T96" fmla="*/ 124 w 400"/>
                <a:gd name="T97" fmla="*/ 160 h 233"/>
                <a:gd name="T98" fmla="*/ 142 w 400"/>
                <a:gd name="T99" fmla="*/ 159 h 233"/>
                <a:gd name="T100" fmla="*/ 148 w 400"/>
                <a:gd name="T101" fmla="*/ 168 h 233"/>
                <a:gd name="T102" fmla="*/ 168 w 400"/>
                <a:gd name="T103" fmla="*/ 174 h 233"/>
                <a:gd name="T104" fmla="*/ 171 w 400"/>
                <a:gd name="T105" fmla="*/ 181 h 233"/>
                <a:gd name="T106" fmla="*/ 185 w 400"/>
                <a:gd name="T107" fmla="*/ 173 h 233"/>
                <a:gd name="T108" fmla="*/ 195 w 400"/>
                <a:gd name="T109" fmla="*/ 180 h 233"/>
                <a:gd name="T110" fmla="*/ 203 w 400"/>
                <a:gd name="T111" fmla="*/ 16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233">
                  <a:moveTo>
                    <a:pt x="203" y="166"/>
                  </a:moveTo>
                  <a:cubicBezTo>
                    <a:pt x="212" y="171"/>
                    <a:pt x="213" y="179"/>
                    <a:pt x="213" y="179"/>
                  </a:cubicBezTo>
                  <a:cubicBezTo>
                    <a:pt x="227" y="176"/>
                    <a:pt x="227" y="176"/>
                    <a:pt x="227" y="176"/>
                  </a:cubicBezTo>
                  <a:cubicBezTo>
                    <a:pt x="227" y="176"/>
                    <a:pt x="235" y="186"/>
                    <a:pt x="244" y="194"/>
                  </a:cubicBezTo>
                  <a:cubicBezTo>
                    <a:pt x="253" y="202"/>
                    <a:pt x="262" y="213"/>
                    <a:pt x="262" y="213"/>
                  </a:cubicBezTo>
                  <a:cubicBezTo>
                    <a:pt x="274" y="204"/>
                    <a:pt x="274" y="204"/>
                    <a:pt x="274" y="204"/>
                  </a:cubicBezTo>
                  <a:cubicBezTo>
                    <a:pt x="296" y="218"/>
                    <a:pt x="296" y="218"/>
                    <a:pt x="296" y="218"/>
                  </a:cubicBezTo>
                  <a:cubicBezTo>
                    <a:pt x="296" y="218"/>
                    <a:pt x="300" y="209"/>
                    <a:pt x="313" y="213"/>
                  </a:cubicBezTo>
                  <a:cubicBezTo>
                    <a:pt x="326" y="217"/>
                    <a:pt x="337" y="230"/>
                    <a:pt x="337" y="230"/>
                  </a:cubicBezTo>
                  <a:cubicBezTo>
                    <a:pt x="337" y="230"/>
                    <a:pt x="345" y="219"/>
                    <a:pt x="351" y="219"/>
                  </a:cubicBezTo>
                  <a:cubicBezTo>
                    <a:pt x="357" y="219"/>
                    <a:pt x="352" y="229"/>
                    <a:pt x="361" y="229"/>
                  </a:cubicBezTo>
                  <a:cubicBezTo>
                    <a:pt x="370" y="229"/>
                    <a:pt x="377" y="230"/>
                    <a:pt x="377" y="230"/>
                  </a:cubicBezTo>
                  <a:cubicBezTo>
                    <a:pt x="377" y="230"/>
                    <a:pt x="398" y="233"/>
                    <a:pt x="399" y="224"/>
                  </a:cubicBezTo>
                  <a:cubicBezTo>
                    <a:pt x="400" y="215"/>
                    <a:pt x="400" y="206"/>
                    <a:pt x="400" y="206"/>
                  </a:cubicBezTo>
                  <a:cubicBezTo>
                    <a:pt x="390" y="191"/>
                    <a:pt x="390" y="191"/>
                    <a:pt x="390" y="191"/>
                  </a:cubicBezTo>
                  <a:cubicBezTo>
                    <a:pt x="390" y="159"/>
                    <a:pt x="390" y="159"/>
                    <a:pt x="390" y="159"/>
                  </a:cubicBezTo>
                  <a:cubicBezTo>
                    <a:pt x="384" y="144"/>
                    <a:pt x="384" y="144"/>
                    <a:pt x="384" y="144"/>
                  </a:cubicBezTo>
                  <a:cubicBezTo>
                    <a:pt x="376" y="148"/>
                    <a:pt x="369" y="152"/>
                    <a:pt x="363" y="153"/>
                  </a:cubicBezTo>
                  <a:cubicBezTo>
                    <a:pt x="349" y="154"/>
                    <a:pt x="316" y="134"/>
                    <a:pt x="316" y="134"/>
                  </a:cubicBezTo>
                  <a:cubicBezTo>
                    <a:pt x="316" y="134"/>
                    <a:pt x="314" y="142"/>
                    <a:pt x="304" y="143"/>
                  </a:cubicBezTo>
                  <a:cubicBezTo>
                    <a:pt x="294" y="144"/>
                    <a:pt x="295" y="130"/>
                    <a:pt x="295" y="130"/>
                  </a:cubicBezTo>
                  <a:cubicBezTo>
                    <a:pt x="295" y="130"/>
                    <a:pt x="293" y="144"/>
                    <a:pt x="284" y="143"/>
                  </a:cubicBezTo>
                  <a:cubicBezTo>
                    <a:pt x="275" y="142"/>
                    <a:pt x="275" y="124"/>
                    <a:pt x="275" y="124"/>
                  </a:cubicBezTo>
                  <a:cubicBezTo>
                    <a:pt x="275" y="124"/>
                    <a:pt x="263" y="133"/>
                    <a:pt x="247" y="126"/>
                  </a:cubicBezTo>
                  <a:cubicBezTo>
                    <a:pt x="231" y="119"/>
                    <a:pt x="248" y="116"/>
                    <a:pt x="243" y="109"/>
                  </a:cubicBezTo>
                  <a:cubicBezTo>
                    <a:pt x="238" y="102"/>
                    <a:pt x="223" y="113"/>
                    <a:pt x="223" y="113"/>
                  </a:cubicBezTo>
                  <a:cubicBezTo>
                    <a:pt x="223" y="113"/>
                    <a:pt x="209" y="101"/>
                    <a:pt x="201" y="95"/>
                  </a:cubicBezTo>
                  <a:cubicBezTo>
                    <a:pt x="193" y="89"/>
                    <a:pt x="198" y="73"/>
                    <a:pt x="187" y="66"/>
                  </a:cubicBezTo>
                  <a:cubicBezTo>
                    <a:pt x="176" y="59"/>
                    <a:pt x="172" y="84"/>
                    <a:pt x="168" y="83"/>
                  </a:cubicBezTo>
                  <a:cubicBezTo>
                    <a:pt x="164" y="82"/>
                    <a:pt x="149" y="50"/>
                    <a:pt x="149" y="50"/>
                  </a:cubicBezTo>
                  <a:cubicBezTo>
                    <a:pt x="118" y="44"/>
                    <a:pt x="118" y="44"/>
                    <a:pt x="118" y="44"/>
                  </a:cubicBezTo>
                  <a:cubicBezTo>
                    <a:pt x="118" y="44"/>
                    <a:pt x="100" y="30"/>
                    <a:pt x="86" y="15"/>
                  </a:cubicBezTo>
                  <a:cubicBezTo>
                    <a:pt x="72" y="0"/>
                    <a:pt x="59" y="17"/>
                    <a:pt x="59" y="17"/>
                  </a:cubicBezTo>
                  <a:cubicBezTo>
                    <a:pt x="44" y="30"/>
                    <a:pt x="44" y="30"/>
                    <a:pt x="44" y="30"/>
                  </a:cubicBezTo>
                  <a:cubicBezTo>
                    <a:pt x="32" y="19"/>
                    <a:pt x="32" y="19"/>
                    <a:pt x="32" y="19"/>
                  </a:cubicBezTo>
                  <a:cubicBezTo>
                    <a:pt x="26" y="32"/>
                    <a:pt x="26" y="32"/>
                    <a:pt x="26" y="32"/>
                  </a:cubicBezTo>
                  <a:cubicBezTo>
                    <a:pt x="11" y="50"/>
                    <a:pt x="11" y="50"/>
                    <a:pt x="11" y="50"/>
                  </a:cubicBezTo>
                  <a:cubicBezTo>
                    <a:pt x="17" y="59"/>
                    <a:pt x="17" y="59"/>
                    <a:pt x="17" y="59"/>
                  </a:cubicBezTo>
                  <a:cubicBezTo>
                    <a:pt x="17" y="59"/>
                    <a:pt x="6" y="61"/>
                    <a:pt x="10" y="67"/>
                  </a:cubicBezTo>
                  <a:cubicBezTo>
                    <a:pt x="14" y="73"/>
                    <a:pt x="19" y="73"/>
                    <a:pt x="19" y="73"/>
                  </a:cubicBezTo>
                  <a:cubicBezTo>
                    <a:pt x="19" y="73"/>
                    <a:pt x="0" y="83"/>
                    <a:pt x="7" y="91"/>
                  </a:cubicBezTo>
                  <a:cubicBezTo>
                    <a:pt x="14" y="99"/>
                    <a:pt x="26" y="110"/>
                    <a:pt x="26" y="110"/>
                  </a:cubicBezTo>
                  <a:cubicBezTo>
                    <a:pt x="36" y="104"/>
                    <a:pt x="36" y="104"/>
                    <a:pt x="36" y="104"/>
                  </a:cubicBezTo>
                  <a:cubicBezTo>
                    <a:pt x="47" y="122"/>
                    <a:pt x="47" y="122"/>
                    <a:pt x="47" y="122"/>
                  </a:cubicBezTo>
                  <a:cubicBezTo>
                    <a:pt x="65" y="122"/>
                    <a:pt x="65" y="122"/>
                    <a:pt x="65" y="122"/>
                  </a:cubicBezTo>
                  <a:cubicBezTo>
                    <a:pt x="72" y="132"/>
                    <a:pt x="72" y="132"/>
                    <a:pt x="72" y="132"/>
                  </a:cubicBezTo>
                  <a:cubicBezTo>
                    <a:pt x="100" y="147"/>
                    <a:pt x="100" y="147"/>
                    <a:pt x="100" y="147"/>
                  </a:cubicBezTo>
                  <a:cubicBezTo>
                    <a:pt x="109" y="146"/>
                    <a:pt x="109" y="146"/>
                    <a:pt x="109" y="146"/>
                  </a:cubicBezTo>
                  <a:cubicBezTo>
                    <a:pt x="109" y="146"/>
                    <a:pt x="116" y="160"/>
                    <a:pt x="124" y="160"/>
                  </a:cubicBezTo>
                  <a:cubicBezTo>
                    <a:pt x="132" y="160"/>
                    <a:pt x="137" y="157"/>
                    <a:pt x="142" y="159"/>
                  </a:cubicBezTo>
                  <a:cubicBezTo>
                    <a:pt x="147" y="161"/>
                    <a:pt x="135" y="166"/>
                    <a:pt x="148" y="168"/>
                  </a:cubicBezTo>
                  <a:cubicBezTo>
                    <a:pt x="161" y="170"/>
                    <a:pt x="168" y="174"/>
                    <a:pt x="168" y="174"/>
                  </a:cubicBezTo>
                  <a:cubicBezTo>
                    <a:pt x="171" y="181"/>
                    <a:pt x="171" y="181"/>
                    <a:pt x="171" y="181"/>
                  </a:cubicBezTo>
                  <a:cubicBezTo>
                    <a:pt x="171" y="181"/>
                    <a:pt x="176" y="173"/>
                    <a:pt x="185" y="173"/>
                  </a:cubicBezTo>
                  <a:cubicBezTo>
                    <a:pt x="194" y="173"/>
                    <a:pt x="195" y="180"/>
                    <a:pt x="195" y="180"/>
                  </a:cubicBezTo>
                  <a:cubicBezTo>
                    <a:pt x="195" y="180"/>
                    <a:pt x="194" y="161"/>
                    <a:pt x="203" y="166"/>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01" name="Myanmar (Burma)">
              <a:extLst>
                <a:ext uri="{FF2B5EF4-FFF2-40B4-BE49-F238E27FC236}">
                  <a16:creationId xmlns:a16="http://schemas.microsoft.com/office/drawing/2014/main" id="{1946BCAC-5BB5-421D-8859-9DEE91BA011D}"/>
                </a:ext>
              </a:extLst>
            </p:cNvPr>
            <p:cNvSpPr>
              <a:spLocks/>
            </p:cNvSpPr>
            <p:nvPr/>
          </p:nvSpPr>
          <p:spPr bwMode="gray">
            <a:xfrm>
              <a:off x="8018502" y="3225112"/>
              <a:ext cx="238166" cy="560129"/>
            </a:xfrm>
            <a:custGeom>
              <a:avLst/>
              <a:gdLst>
                <a:gd name="T0" fmla="*/ 9 w 426"/>
                <a:gd name="T1" fmla="*/ 422 h 1001"/>
                <a:gd name="T2" fmla="*/ 81 w 426"/>
                <a:gd name="T3" fmla="*/ 465 h 1001"/>
                <a:gd name="T4" fmla="*/ 132 w 426"/>
                <a:gd name="T5" fmla="*/ 562 h 1001"/>
                <a:gd name="T6" fmla="*/ 145 w 426"/>
                <a:gd name="T7" fmla="*/ 654 h 1001"/>
                <a:gd name="T8" fmla="*/ 168 w 426"/>
                <a:gd name="T9" fmla="*/ 671 h 1001"/>
                <a:gd name="T10" fmla="*/ 240 w 426"/>
                <a:gd name="T11" fmla="*/ 641 h 1001"/>
                <a:gd name="T12" fmla="*/ 267 w 426"/>
                <a:gd name="T13" fmla="*/ 638 h 1001"/>
                <a:gd name="T14" fmla="*/ 303 w 426"/>
                <a:gd name="T15" fmla="*/ 745 h 1001"/>
                <a:gd name="T16" fmla="*/ 350 w 426"/>
                <a:gd name="T17" fmla="*/ 849 h 1001"/>
                <a:gd name="T18" fmla="*/ 337 w 426"/>
                <a:gd name="T19" fmla="*/ 918 h 1001"/>
                <a:gd name="T20" fmla="*/ 355 w 426"/>
                <a:gd name="T21" fmla="*/ 970 h 1001"/>
                <a:gd name="T22" fmla="*/ 375 w 426"/>
                <a:gd name="T23" fmla="*/ 956 h 1001"/>
                <a:gd name="T24" fmla="*/ 396 w 426"/>
                <a:gd name="T25" fmla="*/ 861 h 1001"/>
                <a:gd name="T26" fmla="*/ 344 w 426"/>
                <a:gd name="T27" fmla="*/ 760 h 1001"/>
                <a:gd name="T28" fmla="*/ 341 w 426"/>
                <a:gd name="T29" fmla="*/ 687 h 1001"/>
                <a:gd name="T30" fmla="*/ 344 w 426"/>
                <a:gd name="T31" fmla="*/ 653 h 1001"/>
                <a:gd name="T32" fmla="*/ 295 w 426"/>
                <a:gd name="T33" fmla="*/ 592 h 1001"/>
                <a:gd name="T34" fmla="*/ 273 w 426"/>
                <a:gd name="T35" fmla="*/ 554 h 1001"/>
                <a:gd name="T36" fmla="*/ 272 w 426"/>
                <a:gd name="T37" fmla="*/ 512 h 1001"/>
                <a:gd name="T38" fmla="*/ 318 w 426"/>
                <a:gd name="T39" fmla="*/ 477 h 1001"/>
                <a:gd name="T40" fmla="*/ 352 w 426"/>
                <a:gd name="T41" fmla="*/ 440 h 1001"/>
                <a:gd name="T42" fmla="*/ 399 w 426"/>
                <a:gd name="T43" fmla="*/ 414 h 1001"/>
                <a:gd name="T44" fmla="*/ 399 w 426"/>
                <a:gd name="T45" fmla="*/ 392 h 1001"/>
                <a:gd name="T46" fmla="*/ 397 w 426"/>
                <a:gd name="T47" fmla="*/ 380 h 1001"/>
                <a:gd name="T48" fmla="*/ 361 w 426"/>
                <a:gd name="T49" fmla="*/ 370 h 1001"/>
                <a:gd name="T50" fmla="*/ 326 w 426"/>
                <a:gd name="T51" fmla="*/ 329 h 1001"/>
                <a:gd name="T52" fmla="*/ 301 w 426"/>
                <a:gd name="T53" fmla="*/ 292 h 1001"/>
                <a:gd name="T54" fmla="*/ 297 w 426"/>
                <a:gd name="T55" fmla="*/ 237 h 1001"/>
                <a:gd name="T56" fmla="*/ 242 w 426"/>
                <a:gd name="T57" fmla="*/ 235 h 1001"/>
                <a:gd name="T58" fmla="*/ 233 w 426"/>
                <a:gd name="T59" fmla="*/ 203 h 1001"/>
                <a:gd name="T60" fmla="*/ 243 w 426"/>
                <a:gd name="T61" fmla="*/ 156 h 1001"/>
                <a:gd name="T62" fmla="*/ 253 w 426"/>
                <a:gd name="T63" fmla="*/ 133 h 1001"/>
                <a:gd name="T64" fmla="*/ 255 w 426"/>
                <a:gd name="T65" fmla="*/ 74 h 1001"/>
                <a:gd name="T66" fmla="*/ 211 w 426"/>
                <a:gd name="T67" fmla="*/ 15 h 1001"/>
                <a:gd name="T68" fmla="*/ 187 w 426"/>
                <a:gd name="T69" fmla="*/ 32 h 1001"/>
                <a:gd name="T70" fmla="*/ 159 w 426"/>
                <a:gd name="T71" fmla="*/ 69 h 1001"/>
                <a:gd name="T72" fmla="*/ 98 w 426"/>
                <a:gd name="T73" fmla="*/ 102 h 1001"/>
                <a:gd name="T74" fmla="*/ 96 w 426"/>
                <a:gd name="T75" fmla="*/ 158 h 1001"/>
                <a:gd name="T76" fmla="*/ 80 w 426"/>
                <a:gd name="T77" fmla="*/ 225 h 1001"/>
                <a:gd name="T78" fmla="*/ 26 w 426"/>
                <a:gd name="T79" fmla="*/ 244 h 1001"/>
                <a:gd name="T80" fmla="*/ 32 w 426"/>
                <a:gd name="T81" fmla="*/ 301 h 1001"/>
                <a:gd name="T82" fmla="*/ 31 w 426"/>
                <a:gd name="T83" fmla="*/ 342 h 1001"/>
                <a:gd name="T84" fmla="*/ 25 w 426"/>
                <a:gd name="T85" fmla="*/ 383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6" h="1001">
                  <a:moveTo>
                    <a:pt x="0" y="391"/>
                  </a:moveTo>
                  <a:cubicBezTo>
                    <a:pt x="5" y="391"/>
                    <a:pt x="9" y="391"/>
                    <a:pt x="9" y="391"/>
                  </a:cubicBezTo>
                  <a:cubicBezTo>
                    <a:pt x="9" y="422"/>
                    <a:pt x="9" y="422"/>
                    <a:pt x="9" y="422"/>
                  </a:cubicBezTo>
                  <a:cubicBezTo>
                    <a:pt x="9" y="422"/>
                    <a:pt x="32" y="428"/>
                    <a:pt x="41" y="438"/>
                  </a:cubicBezTo>
                  <a:cubicBezTo>
                    <a:pt x="51" y="448"/>
                    <a:pt x="59" y="470"/>
                    <a:pt x="59" y="470"/>
                  </a:cubicBezTo>
                  <a:cubicBezTo>
                    <a:pt x="81" y="465"/>
                    <a:pt x="81" y="465"/>
                    <a:pt x="81" y="465"/>
                  </a:cubicBezTo>
                  <a:cubicBezTo>
                    <a:pt x="67" y="494"/>
                    <a:pt x="67" y="494"/>
                    <a:pt x="67" y="494"/>
                  </a:cubicBezTo>
                  <a:cubicBezTo>
                    <a:pt x="67" y="494"/>
                    <a:pt x="98" y="501"/>
                    <a:pt x="110" y="510"/>
                  </a:cubicBezTo>
                  <a:cubicBezTo>
                    <a:pt x="122" y="519"/>
                    <a:pt x="130" y="555"/>
                    <a:pt x="132" y="562"/>
                  </a:cubicBezTo>
                  <a:cubicBezTo>
                    <a:pt x="134" y="568"/>
                    <a:pt x="148" y="581"/>
                    <a:pt x="148" y="581"/>
                  </a:cubicBezTo>
                  <a:cubicBezTo>
                    <a:pt x="137" y="593"/>
                    <a:pt x="137" y="593"/>
                    <a:pt x="137" y="593"/>
                  </a:cubicBezTo>
                  <a:cubicBezTo>
                    <a:pt x="145" y="654"/>
                    <a:pt x="145" y="654"/>
                    <a:pt x="145" y="654"/>
                  </a:cubicBezTo>
                  <a:cubicBezTo>
                    <a:pt x="134" y="662"/>
                    <a:pt x="134" y="662"/>
                    <a:pt x="134" y="662"/>
                  </a:cubicBezTo>
                  <a:cubicBezTo>
                    <a:pt x="134" y="662"/>
                    <a:pt x="140" y="681"/>
                    <a:pt x="149" y="680"/>
                  </a:cubicBezTo>
                  <a:cubicBezTo>
                    <a:pt x="158" y="679"/>
                    <a:pt x="168" y="671"/>
                    <a:pt x="168" y="671"/>
                  </a:cubicBezTo>
                  <a:cubicBezTo>
                    <a:pt x="168" y="671"/>
                    <a:pt x="172" y="686"/>
                    <a:pt x="183" y="681"/>
                  </a:cubicBezTo>
                  <a:cubicBezTo>
                    <a:pt x="195" y="677"/>
                    <a:pt x="206" y="654"/>
                    <a:pt x="206" y="654"/>
                  </a:cubicBezTo>
                  <a:cubicBezTo>
                    <a:pt x="206" y="654"/>
                    <a:pt x="228" y="650"/>
                    <a:pt x="240" y="641"/>
                  </a:cubicBezTo>
                  <a:cubicBezTo>
                    <a:pt x="252" y="631"/>
                    <a:pt x="238" y="602"/>
                    <a:pt x="245" y="596"/>
                  </a:cubicBezTo>
                  <a:cubicBezTo>
                    <a:pt x="253" y="590"/>
                    <a:pt x="268" y="617"/>
                    <a:pt x="268" y="617"/>
                  </a:cubicBezTo>
                  <a:cubicBezTo>
                    <a:pt x="267" y="638"/>
                    <a:pt x="267" y="638"/>
                    <a:pt x="267" y="638"/>
                  </a:cubicBezTo>
                  <a:cubicBezTo>
                    <a:pt x="267" y="638"/>
                    <a:pt x="288" y="639"/>
                    <a:pt x="289" y="656"/>
                  </a:cubicBezTo>
                  <a:cubicBezTo>
                    <a:pt x="289" y="673"/>
                    <a:pt x="296" y="685"/>
                    <a:pt x="298" y="698"/>
                  </a:cubicBezTo>
                  <a:cubicBezTo>
                    <a:pt x="300" y="712"/>
                    <a:pt x="303" y="745"/>
                    <a:pt x="303" y="745"/>
                  </a:cubicBezTo>
                  <a:cubicBezTo>
                    <a:pt x="303" y="745"/>
                    <a:pt x="304" y="757"/>
                    <a:pt x="311" y="766"/>
                  </a:cubicBezTo>
                  <a:cubicBezTo>
                    <a:pt x="319" y="775"/>
                    <a:pt x="322" y="788"/>
                    <a:pt x="322" y="788"/>
                  </a:cubicBezTo>
                  <a:cubicBezTo>
                    <a:pt x="350" y="849"/>
                    <a:pt x="350" y="849"/>
                    <a:pt x="350" y="849"/>
                  </a:cubicBezTo>
                  <a:cubicBezTo>
                    <a:pt x="360" y="879"/>
                    <a:pt x="360" y="879"/>
                    <a:pt x="360" y="879"/>
                  </a:cubicBezTo>
                  <a:cubicBezTo>
                    <a:pt x="360" y="879"/>
                    <a:pt x="346" y="876"/>
                    <a:pt x="345" y="884"/>
                  </a:cubicBezTo>
                  <a:cubicBezTo>
                    <a:pt x="343" y="893"/>
                    <a:pt x="337" y="918"/>
                    <a:pt x="337" y="918"/>
                  </a:cubicBezTo>
                  <a:cubicBezTo>
                    <a:pt x="366" y="908"/>
                    <a:pt x="366" y="908"/>
                    <a:pt x="366" y="908"/>
                  </a:cubicBezTo>
                  <a:cubicBezTo>
                    <a:pt x="358" y="945"/>
                    <a:pt x="358" y="945"/>
                    <a:pt x="358" y="945"/>
                  </a:cubicBezTo>
                  <a:cubicBezTo>
                    <a:pt x="358" y="945"/>
                    <a:pt x="354" y="957"/>
                    <a:pt x="355" y="970"/>
                  </a:cubicBezTo>
                  <a:cubicBezTo>
                    <a:pt x="356" y="982"/>
                    <a:pt x="363" y="1001"/>
                    <a:pt x="363" y="1001"/>
                  </a:cubicBezTo>
                  <a:cubicBezTo>
                    <a:pt x="363" y="1001"/>
                    <a:pt x="372" y="988"/>
                    <a:pt x="373" y="979"/>
                  </a:cubicBezTo>
                  <a:cubicBezTo>
                    <a:pt x="374" y="970"/>
                    <a:pt x="366" y="963"/>
                    <a:pt x="375" y="956"/>
                  </a:cubicBezTo>
                  <a:cubicBezTo>
                    <a:pt x="384" y="949"/>
                    <a:pt x="389" y="942"/>
                    <a:pt x="392" y="932"/>
                  </a:cubicBezTo>
                  <a:cubicBezTo>
                    <a:pt x="395" y="922"/>
                    <a:pt x="402" y="897"/>
                    <a:pt x="398" y="884"/>
                  </a:cubicBezTo>
                  <a:cubicBezTo>
                    <a:pt x="394" y="871"/>
                    <a:pt x="396" y="861"/>
                    <a:pt x="396" y="861"/>
                  </a:cubicBezTo>
                  <a:cubicBezTo>
                    <a:pt x="396" y="861"/>
                    <a:pt x="381" y="849"/>
                    <a:pt x="377" y="843"/>
                  </a:cubicBezTo>
                  <a:cubicBezTo>
                    <a:pt x="373" y="837"/>
                    <a:pt x="378" y="813"/>
                    <a:pt x="374" y="798"/>
                  </a:cubicBezTo>
                  <a:cubicBezTo>
                    <a:pt x="370" y="783"/>
                    <a:pt x="348" y="770"/>
                    <a:pt x="344" y="760"/>
                  </a:cubicBezTo>
                  <a:cubicBezTo>
                    <a:pt x="340" y="750"/>
                    <a:pt x="328" y="736"/>
                    <a:pt x="328" y="736"/>
                  </a:cubicBezTo>
                  <a:cubicBezTo>
                    <a:pt x="328" y="736"/>
                    <a:pt x="320" y="723"/>
                    <a:pt x="330" y="713"/>
                  </a:cubicBezTo>
                  <a:cubicBezTo>
                    <a:pt x="340" y="703"/>
                    <a:pt x="341" y="693"/>
                    <a:pt x="341" y="687"/>
                  </a:cubicBezTo>
                  <a:cubicBezTo>
                    <a:pt x="341" y="681"/>
                    <a:pt x="338" y="670"/>
                    <a:pt x="338" y="670"/>
                  </a:cubicBezTo>
                  <a:cubicBezTo>
                    <a:pt x="338" y="670"/>
                    <a:pt x="350" y="671"/>
                    <a:pt x="350" y="658"/>
                  </a:cubicBezTo>
                  <a:cubicBezTo>
                    <a:pt x="350" y="645"/>
                    <a:pt x="344" y="653"/>
                    <a:pt x="344" y="653"/>
                  </a:cubicBezTo>
                  <a:cubicBezTo>
                    <a:pt x="344" y="653"/>
                    <a:pt x="336" y="652"/>
                    <a:pt x="331" y="640"/>
                  </a:cubicBezTo>
                  <a:cubicBezTo>
                    <a:pt x="326" y="628"/>
                    <a:pt x="340" y="633"/>
                    <a:pt x="332" y="622"/>
                  </a:cubicBezTo>
                  <a:cubicBezTo>
                    <a:pt x="324" y="611"/>
                    <a:pt x="298" y="602"/>
                    <a:pt x="295" y="592"/>
                  </a:cubicBezTo>
                  <a:cubicBezTo>
                    <a:pt x="292" y="582"/>
                    <a:pt x="287" y="579"/>
                    <a:pt x="287" y="579"/>
                  </a:cubicBezTo>
                  <a:cubicBezTo>
                    <a:pt x="291" y="564"/>
                    <a:pt x="291" y="564"/>
                    <a:pt x="291" y="564"/>
                  </a:cubicBezTo>
                  <a:cubicBezTo>
                    <a:pt x="291" y="564"/>
                    <a:pt x="278" y="558"/>
                    <a:pt x="273" y="554"/>
                  </a:cubicBezTo>
                  <a:cubicBezTo>
                    <a:pt x="268" y="550"/>
                    <a:pt x="265" y="545"/>
                    <a:pt x="268" y="542"/>
                  </a:cubicBezTo>
                  <a:cubicBezTo>
                    <a:pt x="271" y="539"/>
                    <a:pt x="282" y="545"/>
                    <a:pt x="282" y="536"/>
                  </a:cubicBezTo>
                  <a:cubicBezTo>
                    <a:pt x="282" y="527"/>
                    <a:pt x="271" y="516"/>
                    <a:pt x="272" y="512"/>
                  </a:cubicBezTo>
                  <a:cubicBezTo>
                    <a:pt x="273" y="508"/>
                    <a:pt x="283" y="507"/>
                    <a:pt x="284" y="498"/>
                  </a:cubicBezTo>
                  <a:cubicBezTo>
                    <a:pt x="285" y="489"/>
                    <a:pt x="277" y="473"/>
                    <a:pt x="288" y="471"/>
                  </a:cubicBezTo>
                  <a:cubicBezTo>
                    <a:pt x="299" y="469"/>
                    <a:pt x="308" y="480"/>
                    <a:pt x="318" y="477"/>
                  </a:cubicBezTo>
                  <a:cubicBezTo>
                    <a:pt x="328" y="474"/>
                    <a:pt x="330" y="456"/>
                    <a:pt x="330" y="456"/>
                  </a:cubicBezTo>
                  <a:cubicBezTo>
                    <a:pt x="347" y="455"/>
                    <a:pt x="347" y="455"/>
                    <a:pt x="347" y="455"/>
                  </a:cubicBezTo>
                  <a:cubicBezTo>
                    <a:pt x="352" y="440"/>
                    <a:pt x="352" y="440"/>
                    <a:pt x="352" y="440"/>
                  </a:cubicBezTo>
                  <a:cubicBezTo>
                    <a:pt x="352" y="440"/>
                    <a:pt x="371" y="434"/>
                    <a:pt x="375" y="435"/>
                  </a:cubicBezTo>
                  <a:cubicBezTo>
                    <a:pt x="375" y="435"/>
                    <a:pt x="373" y="423"/>
                    <a:pt x="382" y="420"/>
                  </a:cubicBezTo>
                  <a:cubicBezTo>
                    <a:pt x="391" y="417"/>
                    <a:pt x="399" y="414"/>
                    <a:pt x="399" y="414"/>
                  </a:cubicBezTo>
                  <a:cubicBezTo>
                    <a:pt x="394" y="407"/>
                    <a:pt x="394" y="407"/>
                    <a:pt x="394" y="407"/>
                  </a:cubicBezTo>
                  <a:cubicBezTo>
                    <a:pt x="399" y="399"/>
                    <a:pt x="399" y="399"/>
                    <a:pt x="399" y="399"/>
                  </a:cubicBezTo>
                  <a:cubicBezTo>
                    <a:pt x="399" y="392"/>
                    <a:pt x="399" y="392"/>
                    <a:pt x="399" y="392"/>
                  </a:cubicBezTo>
                  <a:cubicBezTo>
                    <a:pt x="421" y="382"/>
                    <a:pt x="421" y="382"/>
                    <a:pt x="421" y="382"/>
                  </a:cubicBezTo>
                  <a:cubicBezTo>
                    <a:pt x="421" y="382"/>
                    <a:pt x="426" y="364"/>
                    <a:pt x="416" y="363"/>
                  </a:cubicBezTo>
                  <a:cubicBezTo>
                    <a:pt x="406" y="362"/>
                    <a:pt x="397" y="380"/>
                    <a:pt x="397" y="380"/>
                  </a:cubicBezTo>
                  <a:cubicBezTo>
                    <a:pt x="397" y="380"/>
                    <a:pt x="378" y="381"/>
                    <a:pt x="375" y="381"/>
                  </a:cubicBezTo>
                  <a:cubicBezTo>
                    <a:pt x="372" y="381"/>
                    <a:pt x="372" y="369"/>
                    <a:pt x="372" y="369"/>
                  </a:cubicBezTo>
                  <a:cubicBezTo>
                    <a:pt x="361" y="370"/>
                    <a:pt x="361" y="370"/>
                    <a:pt x="361" y="370"/>
                  </a:cubicBezTo>
                  <a:cubicBezTo>
                    <a:pt x="356" y="350"/>
                    <a:pt x="356" y="350"/>
                    <a:pt x="356" y="350"/>
                  </a:cubicBezTo>
                  <a:cubicBezTo>
                    <a:pt x="317" y="346"/>
                    <a:pt x="317" y="346"/>
                    <a:pt x="317" y="346"/>
                  </a:cubicBezTo>
                  <a:cubicBezTo>
                    <a:pt x="317" y="346"/>
                    <a:pt x="323" y="332"/>
                    <a:pt x="326" y="329"/>
                  </a:cubicBezTo>
                  <a:cubicBezTo>
                    <a:pt x="329" y="326"/>
                    <a:pt x="320" y="314"/>
                    <a:pt x="320" y="314"/>
                  </a:cubicBezTo>
                  <a:cubicBezTo>
                    <a:pt x="320" y="314"/>
                    <a:pt x="343" y="305"/>
                    <a:pt x="336" y="299"/>
                  </a:cubicBezTo>
                  <a:cubicBezTo>
                    <a:pt x="329" y="293"/>
                    <a:pt x="301" y="292"/>
                    <a:pt x="301" y="292"/>
                  </a:cubicBezTo>
                  <a:cubicBezTo>
                    <a:pt x="296" y="265"/>
                    <a:pt x="296" y="265"/>
                    <a:pt x="296" y="265"/>
                  </a:cubicBezTo>
                  <a:cubicBezTo>
                    <a:pt x="280" y="252"/>
                    <a:pt x="280" y="252"/>
                    <a:pt x="280" y="252"/>
                  </a:cubicBezTo>
                  <a:cubicBezTo>
                    <a:pt x="297" y="237"/>
                    <a:pt x="297" y="237"/>
                    <a:pt x="297" y="237"/>
                  </a:cubicBezTo>
                  <a:cubicBezTo>
                    <a:pt x="297" y="237"/>
                    <a:pt x="268" y="237"/>
                    <a:pt x="260" y="238"/>
                  </a:cubicBezTo>
                  <a:cubicBezTo>
                    <a:pt x="252" y="239"/>
                    <a:pt x="236" y="249"/>
                    <a:pt x="236" y="249"/>
                  </a:cubicBezTo>
                  <a:cubicBezTo>
                    <a:pt x="242" y="235"/>
                    <a:pt x="242" y="235"/>
                    <a:pt x="242" y="235"/>
                  </a:cubicBezTo>
                  <a:cubicBezTo>
                    <a:pt x="242" y="235"/>
                    <a:pt x="237" y="225"/>
                    <a:pt x="232" y="220"/>
                  </a:cubicBezTo>
                  <a:cubicBezTo>
                    <a:pt x="227" y="215"/>
                    <a:pt x="226" y="206"/>
                    <a:pt x="226" y="206"/>
                  </a:cubicBezTo>
                  <a:cubicBezTo>
                    <a:pt x="233" y="203"/>
                    <a:pt x="233" y="203"/>
                    <a:pt x="233" y="203"/>
                  </a:cubicBezTo>
                  <a:cubicBezTo>
                    <a:pt x="231" y="183"/>
                    <a:pt x="231" y="183"/>
                    <a:pt x="231" y="183"/>
                  </a:cubicBezTo>
                  <a:cubicBezTo>
                    <a:pt x="231" y="183"/>
                    <a:pt x="242" y="187"/>
                    <a:pt x="243" y="176"/>
                  </a:cubicBezTo>
                  <a:cubicBezTo>
                    <a:pt x="244" y="165"/>
                    <a:pt x="243" y="156"/>
                    <a:pt x="243" y="156"/>
                  </a:cubicBezTo>
                  <a:cubicBezTo>
                    <a:pt x="243" y="156"/>
                    <a:pt x="255" y="164"/>
                    <a:pt x="258" y="157"/>
                  </a:cubicBezTo>
                  <a:cubicBezTo>
                    <a:pt x="261" y="150"/>
                    <a:pt x="262" y="144"/>
                    <a:pt x="262" y="144"/>
                  </a:cubicBezTo>
                  <a:cubicBezTo>
                    <a:pt x="262" y="144"/>
                    <a:pt x="246" y="133"/>
                    <a:pt x="253" y="133"/>
                  </a:cubicBezTo>
                  <a:cubicBezTo>
                    <a:pt x="260" y="133"/>
                    <a:pt x="270" y="127"/>
                    <a:pt x="270" y="127"/>
                  </a:cubicBezTo>
                  <a:cubicBezTo>
                    <a:pt x="263" y="90"/>
                    <a:pt x="263" y="90"/>
                    <a:pt x="263" y="90"/>
                  </a:cubicBezTo>
                  <a:cubicBezTo>
                    <a:pt x="255" y="74"/>
                    <a:pt x="255" y="74"/>
                    <a:pt x="255" y="74"/>
                  </a:cubicBezTo>
                  <a:cubicBezTo>
                    <a:pt x="255" y="74"/>
                    <a:pt x="257" y="52"/>
                    <a:pt x="250" y="50"/>
                  </a:cubicBezTo>
                  <a:cubicBezTo>
                    <a:pt x="243" y="48"/>
                    <a:pt x="228" y="50"/>
                    <a:pt x="228" y="50"/>
                  </a:cubicBezTo>
                  <a:cubicBezTo>
                    <a:pt x="228" y="50"/>
                    <a:pt x="219" y="23"/>
                    <a:pt x="211" y="15"/>
                  </a:cubicBezTo>
                  <a:cubicBezTo>
                    <a:pt x="203" y="7"/>
                    <a:pt x="189" y="0"/>
                    <a:pt x="189" y="0"/>
                  </a:cubicBezTo>
                  <a:cubicBezTo>
                    <a:pt x="185" y="13"/>
                    <a:pt x="185" y="13"/>
                    <a:pt x="185" y="13"/>
                  </a:cubicBezTo>
                  <a:cubicBezTo>
                    <a:pt x="187" y="32"/>
                    <a:pt x="187" y="32"/>
                    <a:pt x="187" y="32"/>
                  </a:cubicBezTo>
                  <a:cubicBezTo>
                    <a:pt x="187" y="32"/>
                    <a:pt x="163" y="41"/>
                    <a:pt x="163" y="50"/>
                  </a:cubicBezTo>
                  <a:cubicBezTo>
                    <a:pt x="163" y="59"/>
                    <a:pt x="186" y="69"/>
                    <a:pt x="184" y="73"/>
                  </a:cubicBezTo>
                  <a:cubicBezTo>
                    <a:pt x="182" y="77"/>
                    <a:pt x="159" y="69"/>
                    <a:pt x="159" y="69"/>
                  </a:cubicBezTo>
                  <a:cubicBezTo>
                    <a:pt x="159" y="69"/>
                    <a:pt x="144" y="70"/>
                    <a:pt x="136" y="72"/>
                  </a:cubicBezTo>
                  <a:cubicBezTo>
                    <a:pt x="128" y="74"/>
                    <a:pt x="133" y="89"/>
                    <a:pt x="121" y="93"/>
                  </a:cubicBezTo>
                  <a:cubicBezTo>
                    <a:pt x="109" y="97"/>
                    <a:pt x="98" y="102"/>
                    <a:pt x="98" y="102"/>
                  </a:cubicBezTo>
                  <a:cubicBezTo>
                    <a:pt x="98" y="102"/>
                    <a:pt x="100" y="116"/>
                    <a:pt x="101" y="121"/>
                  </a:cubicBezTo>
                  <a:cubicBezTo>
                    <a:pt x="102" y="126"/>
                    <a:pt x="108" y="137"/>
                    <a:pt x="108" y="137"/>
                  </a:cubicBezTo>
                  <a:cubicBezTo>
                    <a:pt x="96" y="158"/>
                    <a:pt x="96" y="158"/>
                    <a:pt x="96" y="158"/>
                  </a:cubicBezTo>
                  <a:cubicBezTo>
                    <a:pt x="96" y="158"/>
                    <a:pt x="82" y="162"/>
                    <a:pt x="82" y="172"/>
                  </a:cubicBezTo>
                  <a:cubicBezTo>
                    <a:pt x="82" y="182"/>
                    <a:pt x="92" y="190"/>
                    <a:pt x="92" y="190"/>
                  </a:cubicBezTo>
                  <a:cubicBezTo>
                    <a:pt x="80" y="225"/>
                    <a:pt x="80" y="225"/>
                    <a:pt x="80" y="225"/>
                  </a:cubicBezTo>
                  <a:cubicBezTo>
                    <a:pt x="80" y="249"/>
                    <a:pt x="80" y="249"/>
                    <a:pt x="80" y="249"/>
                  </a:cubicBezTo>
                  <a:cubicBezTo>
                    <a:pt x="80" y="249"/>
                    <a:pt x="55" y="245"/>
                    <a:pt x="51" y="244"/>
                  </a:cubicBezTo>
                  <a:cubicBezTo>
                    <a:pt x="47" y="243"/>
                    <a:pt x="22" y="242"/>
                    <a:pt x="26" y="244"/>
                  </a:cubicBezTo>
                  <a:cubicBezTo>
                    <a:pt x="30" y="246"/>
                    <a:pt x="44" y="257"/>
                    <a:pt x="44" y="257"/>
                  </a:cubicBezTo>
                  <a:cubicBezTo>
                    <a:pt x="46" y="290"/>
                    <a:pt x="46" y="290"/>
                    <a:pt x="46" y="290"/>
                  </a:cubicBezTo>
                  <a:cubicBezTo>
                    <a:pt x="46" y="290"/>
                    <a:pt x="29" y="292"/>
                    <a:pt x="32" y="301"/>
                  </a:cubicBezTo>
                  <a:cubicBezTo>
                    <a:pt x="35" y="310"/>
                    <a:pt x="35" y="324"/>
                    <a:pt x="39" y="328"/>
                  </a:cubicBezTo>
                  <a:cubicBezTo>
                    <a:pt x="43" y="332"/>
                    <a:pt x="53" y="344"/>
                    <a:pt x="44" y="346"/>
                  </a:cubicBezTo>
                  <a:cubicBezTo>
                    <a:pt x="35" y="348"/>
                    <a:pt x="31" y="336"/>
                    <a:pt x="31" y="342"/>
                  </a:cubicBezTo>
                  <a:cubicBezTo>
                    <a:pt x="31" y="348"/>
                    <a:pt x="32" y="356"/>
                    <a:pt x="32" y="356"/>
                  </a:cubicBezTo>
                  <a:cubicBezTo>
                    <a:pt x="18" y="344"/>
                    <a:pt x="18" y="344"/>
                    <a:pt x="18" y="344"/>
                  </a:cubicBezTo>
                  <a:cubicBezTo>
                    <a:pt x="25" y="383"/>
                    <a:pt x="25" y="383"/>
                    <a:pt x="25" y="383"/>
                  </a:cubicBezTo>
                  <a:cubicBezTo>
                    <a:pt x="4" y="380"/>
                    <a:pt x="4" y="380"/>
                    <a:pt x="4" y="380"/>
                  </a:cubicBezTo>
                  <a:cubicBezTo>
                    <a:pt x="4" y="380"/>
                    <a:pt x="2" y="384"/>
                    <a:pt x="0" y="391"/>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00" name="Mongolia">
              <a:extLst>
                <a:ext uri="{FF2B5EF4-FFF2-40B4-BE49-F238E27FC236}">
                  <a16:creationId xmlns:a16="http://schemas.microsoft.com/office/drawing/2014/main" id="{993FF4B7-04C4-4500-A295-7ADDFACF5A2B}"/>
                </a:ext>
              </a:extLst>
            </p:cNvPr>
            <p:cNvSpPr>
              <a:spLocks/>
            </p:cNvSpPr>
            <p:nvPr/>
          </p:nvSpPr>
          <p:spPr bwMode="gray">
            <a:xfrm>
              <a:off x="7685070" y="2522175"/>
              <a:ext cx="787537" cy="312593"/>
            </a:xfrm>
            <a:custGeom>
              <a:avLst/>
              <a:gdLst>
                <a:gd name="T0" fmla="*/ 1353 w 1406"/>
                <a:gd name="T1" fmla="*/ 245 h 558"/>
                <a:gd name="T2" fmla="*/ 1312 w 1406"/>
                <a:gd name="T3" fmla="*/ 214 h 558"/>
                <a:gd name="T4" fmla="*/ 1247 w 1406"/>
                <a:gd name="T5" fmla="*/ 225 h 558"/>
                <a:gd name="T6" fmla="*/ 1182 w 1406"/>
                <a:gd name="T7" fmla="*/ 215 h 558"/>
                <a:gd name="T8" fmla="*/ 1179 w 1406"/>
                <a:gd name="T9" fmla="*/ 178 h 558"/>
                <a:gd name="T10" fmla="*/ 1162 w 1406"/>
                <a:gd name="T11" fmla="*/ 114 h 558"/>
                <a:gd name="T12" fmla="*/ 1091 w 1406"/>
                <a:gd name="T13" fmla="*/ 102 h 558"/>
                <a:gd name="T14" fmla="*/ 1025 w 1406"/>
                <a:gd name="T15" fmla="*/ 136 h 558"/>
                <a:gd name="T16" fmla="*/ 967 w 1406"/>
                <a:gd name="T17" fmla="*/ 143 h 558"/>
                <a:gd name="T18" fmla="*/ 922 w 1406"/>
                <a:gd name="T19" fmla="*/ 156 h 558"/>
                <a:gd name="T20" fmla="*/ 855 w 1406"/>
                <a:gd name="T21" fmla="*/ 148 h 558"/>
                <a:gd name="T22" fmla="*/ 812 w 1406"/>
                <a:gd name="T23" fmla="*/ 114 h 558"/>
                <a:gd name="T24" fmla="*/ 728 w 1406"/>
                <a:gd name="T25" fmla="*/ 97 h 558"/>
                <a:gd name="T26" fmla="*/ 607 w 1406"/>
                <a:gd name="T27" fmla="*/ 95 h 558"/>
                <a:gd name="T28" fmla="*/ 563 w 1406"/>
                <a:gd name="T29" fmla="*/ 83 h 558"/>
                <a:gd name="T30" fmla="*/ 472 w 1406"/>
                <a:gd name="T31" fmla="*/ 22 h 558"/>
                <a:gd name="T32" fmla="*/ 384 w 1406"/>
                <a:gd name="T33" fmla="*/ 0 h 558"/>
                <a:gd name="T34" fmla="*/ 373 w 1406"/>
                <a:gd name="T35" fmla="*/ 33 h 558"/>
                <a:gd name="T36" fmla="*/ 372 w 1406"/>
                <a:gd name="T37" fmla="*/ 60 h 558"/>
                <a:gd name="T38" fmla="*/ 391 w 1406"/>
                <a:gd name="T39" fmla="*/ 110 h 558"/>
                <a:gd name="T40" fmla="*/ 335 w 1406"/>
                <a:gd name="T41" fmla="*/ 119 h 558"/>
                <a:gd name="T42" fmla="*/ 301 w 1406"/>
                <a:gd name="T43" fmla="*/ 118 h 558"/>
                <a:gd name="T44" fmla="*/ 278 w 1406"/>
                <a:gd name="T45" fmla="*/ 107 h 558"/>
                <a:gd name="T46" fmla="*/ 182 w 1406"/>
                <a:gd name="T47" fmla="*/ 86 h 558"/>
                <a:gd name="T48" fmla="*/ 155 w 1406"/>
                <a:gd name="T49" fmla="*/ 70 h 558"/>
                <a:gd name="T50" fmla="*/ 119 w 1406"/>
                <a:gd name="T51" fmla="*/ 88 h 558"/>
                <a:gd name="T52" fmla="*/ 83 w 1406"/>
                <a:gd name="T53" fmla="*/ 100 h 558"/>
                <a:gd name="T54" fmla="*/ 47 w 1406"/>
                <a:gd name="T55" fmla="*/ 130 h 558"/>
                <a:gd name="T56" fmla="*/ 9 w 1406"/>
                <a:gd name="T57" fmla="*/ 151 h 558"/>
                <a:gd name="T58" fmla="*/ 18 w 1406"/>
                <a:gd name="T59" fmla="*/ 174 h 558"/>
                <a:gd name="T60" fmla="*/ 54 w 1406"/>
                <a:gd name="T61" fmla="*/ 203 h 558"/>
                <a:gd name="T62" fmla="*/ 107 w 1406"/>
                <a:gd name="T63" fmla="*/ 221 h 558"/>
                <a:gd name="T64" fmla="*/ 179 w 1406"/>
                <a:gd name="T65" fmla="*/ 276 h 558"/>
                <a:gd name="T66" fmla="*/ 192 w 1406"/>
                <a:gd name="T67" fmla="*/ 326 h 558"/>
                <a:gd name="T68" fmla="*/ 274 w 1406"/>
                <a:gd name="T69" fmla="*/ 374 h 558"/>
                <a:gd name="T70" fmla="*/ 361 w 1406"/>
                <a:gd name="T71" fmla="*/ 397 h 558"/>
                <a:gd name="T72" fmla="*/ 430 w 1406"/>
                <a:gd name="T73" fmla="*/ 429 h 558"/>
                <a:gd name="T74" fmla="*/ 502 w 1406"/>
                <a:gd name="T75" fmla="*/ 498 h 558"/>
                <a:gd name="T76" fmla="*/ 610 w 1406"/>
                <a:gd name="T77" fmla="*/ 499 h 558"/>
                <a:gd name="T78" fmla="*/ 679 w 1406"/>
                <a:gd name="T79" fmla="*/ 501 h 558"/>
                <a:gd name="T80" fmla="*/ 795 w 1406"/>
                <a:gd name="T81" fmla="*/ 531 h 558"/>
                <a:gd name="T82" fmla="*/ 873 w 1406"/>
                <a:gd name="T83" fmla="*/ 550 h 558"/>
                <a:gd name="T84" fmla="*/ 1066 w 1406"/>
                <a:gd name="T85" fmla="*/ 510 h 558"/>
                <a:gd name="T86" fmla="*/ 1112 w 1406"/>
                <a:gd name="T87" fmla="*/ 463 h 558"/>
                <a:gd name="T88" fmla="*/ 1108 w 1406"/>
                <a:gd name="T89" fmla="*/ 407 h 558"/>
                <a:gd name="T90" fmla="*/ 1160 w 1406"/>
                <a:gd name="T91" fmla="*/ 388 h 558"/>
                <a:gd name="T92" fmla="*/ 1213 w 1406"/>
                <a:gd name="T93" fmla="*/ 350 h 558"/>
                <a:gd name="T94" fmla="*/ 1270 w 1406"/>
                <a:gd name="T95" fmla="*/ 314 h 558"/>
                <a:gd name="T96" fmla="*/ 1320 w 1406"/>
                <a:gd name="T97" fmla="*/ 294 h 558"/>
                <a:gd name="T98" fmla="*/ 1355 w 1406"/>
                <a:gd name="T99" fmla="*/ 279 h 558"/>
                <a:gd name="T100" fmla="*/ 1394 w 1406"/>
                <a:gd name="T101" fmla="*/ 27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 h="558">
                  <a:moveTo>
                    <a:pt x="1394" y="273"/>
                  </a:moveTo>
                  <a:cubicBezTo>
                    <a:pt x="1385" y="267"/>
                    <a:pt x="1380" y="256"/>
                    <a:pt x="1380" y="256"/>
                  </a:cubicBezTo>
                  <a:cubicBezTo>
                    <a:pt x="1380" y="256"/>
                    <a:pt x="1362" y="252"/>
                    <a:pt x="1353" y="245"/>
                  </a:cubicBezTo>
                  <a:cubicBezTo>
                    <a:pt x="1344" y="238"/>
                    <a:pt x="1336" y="231"/>
                    <a:pt x="1336" y="231"/>
                  </a:cubicBezTo>
                  <a:cubicBezTo>
                    <a:pt x="1336" y="231"/>
                    <a:pt x="1333" y="231"/>
                    <a:pt x="1324" y="230"/>
                  </a:cubicBezTo>
                  <a:cubicBezTo>
                    <a:pt x="1315" y="229"/>
                    <a:pt x="1312" y="214"/>
                    <a:pt x="1312" y="214"/>
                  </a:cubicBezTo>
                  <a:cubicBezTo>
                    <a:pt x="1271" y="214"/>
                    <a:pt x="1271" y="214"/>
                    <a:pt x="1271" y="214"/>
                  </a:cubicBezTo>
                  <a:cubicBezTo>
                    <a:pt x="1271" y="214"/>
                    <a:pt x="1270" y="232"/>
                    <a:pt x="1264" y="234"/>
                  </a:cubicBezTo>
                  <a:cubicBezTo>
                    <a:pt x="1258" y="236"/>
                    <a:pt x="1247" y="225"/>
                    <a:pt x="1247" y="225"/>
                  </a:cubicBezTo>
                  <a:cubicBezTo>
                    <a:pt x="1247" y="225"/>
                    <a:pt x="1237" y="221"/>
                    <a:pt x="1218" y="222"/>
                  </a:cubicBezTo>
                  <a:cubicBezTo>
                    <a:pt x="1199" y="223"/>
                    <a:pt x="1215" y="230"/>
                    <a:pt x="1206" y="233"/>
                  </a:cubicBezTo>
                  <a:cubicBezTo>
                    <a:pt x="1197" y="236"/>
                    <a:pt x="1185" y="225"/>
                    <a:pt x="1182" y="215"/>
                  </a:cubicBezTo>
                  <a:cubicBezTo>
                    <a:pt x="1179" y="205"/>
                    <a:pt x="1184" y="202"/>
                    <a:pt x="1184" y="202"/>
                  </a:cubicBezTo>
                  <a:cubicBezTo>
                    <a:pt x="1180" y="196"/>
                    <a:pt x="1180" y="196"/>
                    <a:pt x="1180" y="196"/>
                  </a:cubicBezTo>
                  <a:cubicBezTo>
                    <a:pt x="1179" y="178"/>
                    <a:pt x="1179" y="178"/>
                    <a:pt x="1179" y="178"/>
                  </a:cubicBezTo>
                  <a:cubicBezTo>
                    <a:pt x="1174" y="172"/>
                    <a:pt x="1174" y="172"/>
                    <a:pt x="1174" y="172"/>
                  </a:cubicBezTo>
                  <a:cubicBezTo>
                    <a:pt x="1173" y="117"/>
                    <a:pt x="1173" y="117"/>
                    <a:pt x="1173" y="117"/>
                  </a:cubicBezTo>
                  <a:cubicBezTo>
                    <a:pt x="1162" y="114"/>
                    <a:pt x="1162" y="114"/>
                    <a:pt x="1162" y="114"/>
                  </a:cubicBezTo>
                  <a:cubicBezTo>
                    <a:pt x="1144" y="111"/>
                    <a:pt x="1144" y="111"/>
                    <a:pt x="1144" y="111"/>
                  </a:cubicBezTo>
                  <a:cubicBezTo>
                    <a:pt x="1144" y="111"/>
                    <a:pt x="1138" y="118"/>
                    <a:pt x="1124" y="118"/>
                  </a:cubicBezTo>
                  <a:cubicBezTo>
                    <a:pt x="1110" y="118"/>
                    <a:pt x="1100" y="102"/>
                    <a:pt x="1091" y="102"/>
                  </a:cubicBezTo>
                  <a:cubicBezTo>
                    <a:pt x="1082" y="102"/>
                    <a:pt x="1055" y="98"/>
                    <a:pt x="1055" y="98"/>
                  </a:cubicBezTo>
                  <a:cubicBezTo>
                    <a:pt x="1032" y="121"/>
                    <a:pt x="1032" y="121"/>
                    <a:pt x="1032" y="121"/>
                  </a:cubicBezTo>
                  <a:cubicBezTo>
                    <a:pt x="1032" y="121"/>
                    <a:pt x="1035" y="132"/>
                    <a:pt x="1025" y="136"/>
                  </a:cubicBezTo>
                  <a:cubicBezTo>
                    <a:pt x="1015" y="140"/>
                    <a:pt x="1003" y="137"/>
                    <a:pt x="1003" y="137"/>
                  </a:cubicBezTo>
                  <a:cubicBezTo>
                    <a:pt x="993" y="142"/>
                    <a:pt x="993" y="142"/>
                    <a:pt x="993" y="142"/>
                  </a:cubicBezTo>
                  <a:cubicBezTo>
                    <a:pt x="993" y="142"/>
                    <a:pt x="976" y="141"/>
                    <a:pt x="967" y="143"/>
                  </a:cubicBezTo>
                  <a:cubicBezTo>
                    <a:pt x="958" y="145"/>
                    <a:pt x="960" y="150"/>
                    <a:pt x="955" y="156"/>
                  </a:cubicBezTo>
                  <a:cubicBezTo>
                    <a:pt x="950" y="162"/>
                    <a:pt x="942" y="153"/>
                    <a:pt x="938" y="151"/>
                  </a:cubicBezTo>
                  <a:cubicBezTo>
                    <a:pt x="934" y="149"/>
                    <a:pt x="922" y="156"/>
                    <a:pt x="922" y="156"/>
                  </a:cubicBezTo>
                  <a:cubicBezTo>
                    <a:pt x="922" y="156"/>
                    <a:pt x="898" y="156"/>
                    <a:pt x="895" y="153"/>
                  </a:cubicBezTo>
                  <a:cubicBezTo>
                    <a:pt x="892" y="150"/>
                    <a:pt x="885" y="147"/>
                    <a:pt x="885" y="147"/>
                  </a:cubicBezTo>
                  <a:cubicBezTo>
                    <a:pt x="885" y="147"/>
                    <a:pt x="875" y="150"/>
                    <a:pt x="855" y="148"/>
                  </a:cubicBezTo>
                  <a:cubicBezTo>
                    <a:pt x="835" y="146"/>
                    <a:pt x="840" y="135"/>
                    <a:pt x="840" y="135"/>
                  </a:cubicBezTo>
                  <a:cubicBezTo>
                    <a:pt x="840" y="135"/>
                    <a:pt x="829" y="132"/>
                    <a:pt x="826" y="133"/>
                  </a:cubicBezTo>
                  <a:cubicBezTo>
                    <a:pt x="823" y="134"/>
                    <a:pt x="815" y="115"/>
                    <a:pt x="812" y="114"/>
                  </a:cubicBezTo>
                  <a:cubicBezTo>
                    <a:pt x="809" y="113"/>
                    <a:pt x="790" y="113"/>
                    <a:pt x="778" y="113"/>
                  </a:cubicBezTo>
                  <a:cubicBezTo>
                    <a:pt x="766" y="113"/>
                    <a:pt x="755" y="94"/>
                    <a:pt x="755" y="94"/>
                  </a:cubicBezTo>
                  <a:cubicBezTo>
                    <a:pt x="728" y="97"/>
                    <a:pt x="728" y="97"/>
                    <a:pt x="728" y="97"/>
                  </a:cubicBezTo>
                  <a:cubicBezTo>
                    <a:pt x="728" y="97"/>
                    <a:pt x="726" y="89"/>
                    <a:pt x="697" y="87"/>
                  </a:cubicBezTo>
                  <a:cubicBezTo>
                    <a:pt x="668" y="85"/>
                    <a:pt x="650" y="103"/>
                    <a:pt x="637" y="104"/>
                  </a:cubicBezTo>
                  <a:cubicBezTo>
                    <a:pt x="624" y="105"/>
                    <a:pt x="607" y="95"/>
                    <a:pt x="607" y="95"/>
                  </a:cubicBezTo>
                  <a:cubicBezTo>
                    <a:pt x="607" y="95"/>
                    <a:pt x="600" y="96"/>
                    <a:pt x="590" y="96"/>
                  </a:cubicBezTo>
                  <a:cubicBezTo>
                    <a:pt x="580" y="96"/>
                    <a:pt x="578" y="80"/>
                    <a:pt x="578" y="80"/>
                  </a:cubicBezTo>
                  <a:cubicBezTo>
                    <a:pt x="563" y="83"/>
                    <a:pt x="563" y="83"/>
                    <a:pt x="563" y="83"/>
                  </a:cubicBezTo>
                  <a:cubicBezTo>
                    <a:pt x="563" y="83"/>
                    <a:pt x="541" y="49"/>
                    <a:pt x="532" y="38"/>
                  </a:cubicBezTo>
                  <a:cubicBezTo>
                    <a:pt x="523" y="27"/>
                    <a:pt x="511" y="40"/>
                    <a:pt x="501" y="38"/>
                  </a:cubicBezTo>
                  <a:cubicBezTo>
                    <a:pt x="491" y="36"/>
                    <a:pt x="472" y="22"/>
                    <a:pt x="472" y="22"/>
                  </a:cubicBezTo>
                  <a:cubicBezTo>
                    <a:pt x="472" y="22"/>
                    <a:pt x="452" y="23"/>
                    <a:pt x="434" y="21"/>
                  </a:cubicBezTo>
                  <a:cubicBezTo>
                    <a:pt x="416" y="19"/>
                    <a:pt x="393" y="2"/>
                    <a:pt x="393" y="2"/>
                  </a:cubicBezTo>
                  <a:cubicBezTo>
                    <a:pt x="384" y="0"/>
                    <a:pt x="384" y="0"/>
                    <a:pt x="384" y="0"/>
                  </a:cubicBezTo>
                  <a:cubicBezTo>
                    <a:pt x="384" y="0"/>
                    <a:pt x="385" y="12"/>
                    <a:pt x="380" y="18"/>
                  </a:cubicBezTo>
                  <a:cubicBezTo>
                    <a:pt x="375" y="24"/>
                    <a:pt x="371" y="22"/>
                    <a:pt x="371" y="22"/>
                  </a:cubicBezTo>
                  <a:cubicBezTo>
                    <a:pt x="373" y="33"/>
                    <a:pt x="373" y="33"/>
                    <a:pt x="373" y="33"/>
                  </a:cubicBezTo>
                  <a:cubicBezTo>
                    <a:pt x="373" y="33"/>
                    <a:pt x="362" y="31"/>
                    <a:pt x="362" y="37"/>
                  </a:cubicBezTo>
                  <a:cubicBezTo>
                    <a:pt x="362" y="43"/>
                    <a:pt x="368" y="46"/>
                    <a:pt x="368" y="46"/>
                  </a:cubicBezTo>
                  <a:cubicBezTo>
                    <a:pt x="372" y="60"/>
                    <a:pt x="372" y="60"/>
                    <a:pt x="372" y="60"/>
                  </a:cubicBezTo>
                  <a:cubicBezTo>
                    <a:pt x="388" y="84"/>
                    <a:pt x="388" y="84"/>
                    <a:pt x="388" y="84"/>
                  </a:cubicBezTo>
                  <a:cubicBezTo>
                    <a:pt x="388" y="84"/>
                    <a:pt x="403" y="84"/>
                    <a:pt x="403" y="102"/>
                  </a:cubicBezTo>
                  <a:cubicBezTo>
                    <a:pt x="403" y="120"/>
                    <a:pt x="391" y="110"/>
                    <a:pt x="391" y="110"/>
                  </a:cubicBezTo>
                  <a:cubicBezTo>
                    <a:pt x="391" y="110"/>
                    <a:pt x="393" y="117"/>
                    <a:pt x="376" y="125"/>
                  </a:cubicBezTo>
                  <a:cubicBezTo>
                    <a:pt x="359" y="133"/>
                    <a:pt x="365" y="117"/>
                    <a:pt x="365" y="117"/>
                  </a:cubicBezTo>
                  <a:cubicBezTo>
                    <a:pt x="335" y="119"/>
                    <a:pt x="335" y="119"/>
                    <a:pt x="335" y="119"/>
                  </a:cubicBezTo>
                  <a:cubicBezTo>
                    <a:pt x="334" y="111"/>
                    <a:pt x="334" y="111"/>
                    <a:pt x="334" y="111"/>
                  </a:cubicBezTo>
                  <a:cubicBezTo>
                    <a:pt x="334" y="111"/>
                    <a:pt x="325" y="110"/>
                    <a:pt x="314" y="111"/>
                  </a:cubicBezTo>
                  <a:cubicBezTo>
                    <a:pt x="303" y="112"/>
                    <a:pt x="301" y="118"/>
                    <a:pt x="301" y="118"/>
                  </a:cubicBezTo>
                  <a:cubicBezTo>
                    <a:pt x="299" y="113"/>
                    <a:pt x="299" y="113"/>
                    <a:pt x="299" y="113"/>
                  </a:cubicBezTo>
                  <a:cubicBezTo>
                    <a:pt x="280" y="116"/>
                    <a:pt x="280" y="116"/>
                    <a:pt x="280" y="116"/>
                  </a:cubicBezTo>
                  <a:cubicBezTo>
                    <a:pt x="278" y="107"/>
                    <a:pt x="278" y="107"/>
                    <a:pt x="278" y="107"/>
                  </a:cubicBezTo>
                  <a:cubicBezTo>
                    <a:pt x="278" y="107"/>
                    <a:pt x="256" y="109"/>
                    <a:pt x="247" y="102"/>
                  </a:cubicBezTo>
                  <a:cubicBezTo>
                    <a:pt x="238" y="95"/>
                    <a:pt x="240" y="82"/>
                    <a:pt x="233" y="82"/>
                  </a:cubicBezTo>
                  <a:cubicBezTo>
                    <a:pt x="226" y="82"/>
                    <a:pt x="182" y="86"/>
                    <a:pt x="182" y="86"/>
                  </a:cubicBezTo>
                  <a:cubicBezTo>
                    <a:pt x="177" y="75"/>
                    <a:pt x="177" y="75"/>
                    <a:pt x="177" y="75"/>
                  </a:cubicBezTo>
                  <a:cubicBezTo>
                    <a:pt x="177" y="75"/>
                    <a:pt x="161" y="75"/>
                    <a:pt x="158" y="75"/>
                  </a:cubicBezTo>
                  <a:cubicBezTo>
                    <a:pt x="155" y="75"/>
                    <a:pt x="155" y="70"/>
                    <a:pt x="155" y="70"/>
                  </a:cubicBezTo>
                  <a:cubicBezTo>
                    <a:pt x="143" y="77"/>
                    <a:pt x="143" y="77"/>
                    <a:pt x="143" y="77"/>
                  </a:cubicBezTo>
                  <a:cubicBezTo>
                    <a:pt x="143" y="77"/>
                    <a:pt x="134" y="71"/>
                    <a:pt x="127" y="71"/>
                  </a:cubicBezTo>
                  <a:cubicBezTo>
                    <a:pt x="120" y="71"/>
                    <a:pt x="119" y="88"/>
                    <a:pt x="119" y="88"/>
                  </a:cubicBezTo>
                  <a:cubicBezTo>
                    <a:pt x="103" y="88"/>
                    <a:pt x="103" y="88"/>
                    <a:pt x="103" y="88"/>
                  </a:cubicBezTo>
                  <a:cubicBezTo>
                    <a:pt x="92" y="101"/>
                    <a:pt x="92" y="101"/>
                    <a:pt x="92" y="101"/>
                  </a:cubicBezTo>
                  <a:cubicBezTo>
                    <a:pt x="83" y="100"/>
                    <a:pt x="83" y="100"/>
                    <a:pt x="83" y="100"/>
                  </a:cubicBezTo>
                  <a:cubicBezTo>
                    <a:pt x="83" y="100"/>
                    <a:pt x="72" y="108"/>
                    <a:pt x="63" y="118"/>
                  </a:cubicBezTo>
                  <a:cubicBezTo>
                    <a:pt x="54" y="128"/>
                    <a:pt x="63" y="130"/>
                    <a:pt x="63" y="130"/>
                  </a:cubicBezTo>
                  <a:cubicBezTo>
                    <a:pt x="47" y="130"/>
                    <a:pt x="47" y="130"/>
                    <a:pt x="47" y="130"/>
                  </a:cubicBezTo>
                  <a:cubicBezTo>
                    <a:pt x="49" y="139"/>
                    <a:pt x="49" y="139"/>
                    <a:pt x="49" y="139"/>
                  </a:cubicBezTo>
                  <a:cubicBezTo>
                    <a:pt x="8" y="139"/>
                    <a:pt x="8" y="139"/>
                    <a:pt x="8" y="139"/>
                  </a:cubicBezTo>
                  <a:cubicBezTo>
                    <a:pt x="9" y="151"/>
                    <a:pt x="9" y="151"/>
                    <a:pt x="9" y="151"/>
                  </a:cubicBezTo>
                  <a:cubicBezTo>
                    <a:pt x="2" y="158"/>
                    <a:pt x="2" y="158"/>
                    <a:pt x="2" y="158"/>
                  </a:cubicBezTo>
                  <a:cubicBezTo>
                    <a:pt x="10" y="162"/>
                    <a:pt x="0" y="174"/>
                    <a:pt x="0" y="174"/>
                  </a:cubicBezTo>
                  <a:cubicBezTo>
                    <a:pt x="18" y="174"/>
                    <a:pt x="18" y="174"/>
                    <a:pt x="18" y="174"/>
                  </a:cubicBezTo>
                  <a:cubicBezTo>
                    <a:pt x="18" y="174"/>
                    <a:pt x="14" y="182"/>
                    <a:pt x="19" y="187"/>
                  </a:cubicBezTo>
                  <a:cubicBezTo>
                    <a:pt x="24" y="192"/>
                    <a:pt x="48" y="195"/>
                    <a:pt x="48" y="195"/>
                  </a:cubicBezTo>
                  <a:cubicBezTo>
                    <a:pt x="54" y="203"/>
                    <a:pt x="54" y="203"/>
                    <a:pt x="54" y="203"/>
                  </a:cubicBezTo>
                  <a:cubicBezTo>
                    <a:pt x="71" y="219"/>
                    <a:pt x="71" y="219"/>
                    <a:pt x="71" y="219"/>
                  </a:cubicBezTo>
                  <a:cubicBezTo>
                    <a:pt x="92" y="213"/>
                    <a:pt x="92" y="213"/>
                    <a:pt x="92" y="213"/>
                  </a:cubicBezTo>
                  <a:cubicBezTo>
                    <a:pt x="107" y="221"/>
                    <a:pt x="107" y="221"/>
                    <a:pt x="107" y="221"/>
                  </a:cubicBezTo>
                  <a:cubicBezTo>
                    <a:pt x="107" y="221"/>
                    <a:pt x="113" y="223"/>
                    <a:pt x="127" y="227"/>
                  </a:cubicBezTo>
                  <a:cubicBezTo>
                    <a:pt x="141" y="231"/>
                    <a:pt x="148" y="245"/>
                    <a:pt x="153" y="252"/>
                  </a:cubicBezTo>
                  <a:cubicBezTo>
                    <a:pt x="158" y="259"/>
                    <a:pt x="167" y="268"/>
                    <a:pt x="179" y="276"/>
                  </a:cubicBezTo>
                  <a:cubicBezTo>
                    <a:pt x="191" y="284"/>
                    <a:pt x="188" y="300"/>
                    <a:pt x="188" y="300"/>
                  </a:cubicBezTo>
                  <a:cubicBezTo>
                    <a:pt x="188" y="300"/>
                    <a:pt x="198" y="308"/>
                    <a:pt x="200" y="315"/>
                  </a:cubicBezTo>
                  <a:cubicBezTo>
                    <a:pt x="202" y="322"/>
                    <a:pt x="192" y="326"/>
                    <a:pt x="192" y="326"/>
                  </a:cubicBezTo>
                  <a:cubicBezTo>
                    <a:pt x="192" y="326"/>
                    <a:pt x="193" y="336"/>
                    <a:pt x="198" y="349"/>
                  </a:cubicBezTo>
                  <a:cubicBezTo>
                    <a:pt x="203" y="362"/>
                    <a:pt x="224" y="364"/>
                    <a:pt x="235" y="368"/>
                  </a:cubicBezTo>
                  <a:cubicBezTo>
                    <a:pt x="246" y="372"/>
                    <a:pt x="260" y="375"/>
                    <a:pt x="274" y="374"/>
                  </a:cubicBezTo>
                  <a:cubicBezTo>
                    <a:pt x="288" y="373"/>
                    <a:pt x="322" y="375"/>
                    <a:pt x="322" y="375"/>
                  </a:cubicBezTo>
                  <a:cubicBezTo>
                    <a:pt x="322" y="375"/>
                    <a:pt x="333" y="380"/>
                    <a:pt x="342" y="382"/>
                  </a:cubicBezTo>
                  <a:cubicBezTo>
                    <a:pt x="351" y="384"/>
                    <a:pt x="358" y="396"/>
                    <a:pt x="361" y="397"/>
                  </a:cubicBezTo>
                  <a:cubicBezTo>
                    <a:pt x="364" y="398"/>
                    <a:pt x="401" y="410"/>
                    <a:pt x="401" y="410"/>
                  </a:cubicBezTo>
                  <a:cubicBezTo>
                    <a:pt x="423" y="413"/>
                    <a:pt x="423" y="413"/>
                    <a:pt x="423" y="413"/>
                  </a:cubicBezTo>
                  <a:cubicBezTo>
                    <a:pt x="430" y="429"/>
                    <a:pt x="430" y="429"/>
                    <a:pt x="430" y="429"/>
                  </a:cubicBezTo>
                  <a:cubicBezTo>
                    <a:pt x="430" y="429"/>
                    <a:pt x="439" y="434"/>
                    <a:pt x="443" y="438"/>
                  </a:cubicBezTo>
                  <a:cubicBezTo>
                    <a:pt x="447" y="442"/>
                    <a:pt x="461" y="461"/>
                    <a:pt x="465" y="467"/>
                  </a:cubicBezTo>
                  <a:cubicBezTo>
                    <a:pt x="469" y="473"/>
                    <a:pt x="502" y="498"/>
                    <a:pt x="502" y="498"/>
                  </a:cubicBezTo>
                  <a:cubicBezTo>
                    <a:pt x="540" y="494"/>
                    <a:pt x="540" y="494"/>
                    <a:pt x="540" y="494"/>
                  </a:cubicBezTo>
                  <a:cubicBezTo>
                    <a:pt x="579" y="499"/>
                    <a:pt x="579" y="499"/>
                    <a:pt x="579" y="499"/>
                  </a:cubicBezTo>
                  <a:cubicBezTo>
                    <a:pt x="610" y="499"/>
                    <a:pt x="610" y="499"/>
                    <a:pt x="610" y="499"/>
                  </a:cubicBezTo>
                  <a:cubicBezTo>
                    <a:pt x="635" y="504"/>
                    <a:pt x="635" y="504"/>
                    <a:pt x="635" y="504"/>
                  </a:cubicBezTo>
                  <a:cubicBezTo>
                    <a:pt x="635" y="504"/>
                    <a:pt x="649" y="493"/>
                    <a:pt x="654" y="493"/>
                  </a:cubicBezTo>
                  <a:cubicBezTo>
                    <a:pt x="659" y="493"/>
                    <a:pt x="679" y="501"/>
                    <a:pt x="679" y="501"/>
                  </a:cubicBezTo>
                  <a:cubicBezTo>
                    <a:pt x="679" y="501"/>
                    <a:pt x="718" y="501"/>
                    <a:pt x="728" y="504"/>
                  </a:cubicBezTo>
                  <a:cubicBezTo>
                    <a:pt x="738" y="507"/>
                    <a:pt x="740" y="522"/>
                    <a:pt x="755" y="527"/>
                  </a:cubicBezTo>
                  <a:cubicBezTo>
                    <a:pt x="770" y="532"/>
                    <a:pt x="781" y="530"/>
                    <a:pt x="795" y="531"/>
                  </a:cubicBezTo>
                  <a:cubicBezTo>
                    <a:pt x="809" y="532"/>
                    <a:pt x="837" y="547"/>
                    <a:pt x="837" y="547"/>
                  </a:cubicBezTo>
                  <a:cubicBezTo>
                    <a:pt x="837" y="547"/>
                    <a:pt x="858" y="538"/>
                    <a:pt x="864" y="538"/>
                  </a:cubicBezTo>
                  <a:cubicBezTo>
                    <a:pt x="870" y="538"/>
                    <a:pt x="873" y="550"/>
                    <a:pt x="873" y="550"/>
                  </a:cubicBezTo>
                  <a:cubicBezTo>
                    <a:pt x="873" y="550"/>
                    <a:pt x="893" y="558"/>
                    <a:pt x="899" y="553"/>
                  </a:cubicBezTo>
                  <a:cubicBezTo>
                    <a:pt x="905" y="548"/>
                    <a:pt x="948" y="519"/>
                    <a:pt x="962" y="513"/>
                  </a:cubicBezTo>
                  <a:cubicBezTo>
                    <a:pt x="976" y="507"/>
                    <a:pt x="1066" y="510"/>
                    <a:pt x="1066" y="510"/>
                  </a:cubicBezTo>
                  <a:cubicBezTo>
                    <a:pt x="1078" y="497"/>
                    <a:pt x="1078" y="497"/>
                    <a:pt x="1078" y="497"/>
                  </a:cubicBezTo>
                  <a:cubicBezTo>
                    <a:pt x="1078" y="497"/>
                    <a:pt x="1095" y="499"/>
                    <a:pt x="1103" y="492"/>
                  </a:cubicBezTo>
                  <a:cubicBezTo>
                    <a:pt x="1111" y="485"/>
                    <a:pt x="1109" y="470"/>
                    <a:pt x="1112" y="463"/>
                  </a:cubicBezTo>
                  <a:cubicBezTo>
                    <a:pt x="1115" y="456"/>
                    <a:pt x="1125" y="459"/>
                    <a:pt x="1129" y="459"/>
                  </a:cubicBezTo>
                  <a:cubicBezTo>
                    <a:pt x="1133" y="459"/>
                    <a:pt x="1143" y="444"/>
                    <a:pt x="1144" y="439"/>
                  </a:cubicBezTo>
                  <a:cubicBezTo>
                    <a:pt x="1145" y="434"/>
                    <a:pt x="1114" y="411"/>
                    <a:pt x="1108" y="407"/>
                  </a:cubicBezTo>
                  <a:cubicBezTo>
                    <a:pt x="1102" y="403"/>
                    <a:pt x="1100" y="383"/>
                    <a:pt x="1106" y="373"/>
                  </a:cubicBezTo>
                  <a:cubicBezTo>
                    <a:pt x="1112" y="363"/>
                    <a:pt x="1130" y="369"/>
                    <a:pt x="1134" y="370"/>
                  </a:cubicBezTo>
                  <a:cubicBezTo>
                    <a:pt x="1138" y="371"/>
                    <a:pt x="1160" y="388"/>
                    <a:pt x="1160" y="388"/>
                  </a:cubicBezTo>
                  <a:cubicBezTo>
                    <a:pt x="1160" y="388"/>
                    <a:pt x="1187" y="387"/>
                    <a:pt x="1194" y="385"/>
                  </a:cubicBezTo>
                  <a:cubicBezTo>
                    <a:pt x="1201" y="383"/>
                    <a:pt x="1212" y="369"/>
                    <a:pt x="1212" y="369"/>
                  </a:cubicBezTo>
                  <a:cubicBezTo>
                    <a:pt x="1212" y="369"/>
                    <a:pt x="1210" y="353"/>
                    <a:pt x="1213" y="350"/>
                  </a:cubicBezTo>
                  <a:cubicBezTo>
                    <a:pt x="1216" y="347"/>
                    <a:pt x="1262" y="350"/>
                    <a:pt x="1262" y="350"/>
                  </a:cubicBezTo>
                  <a:cubicBezTo>
                    <a:pt x="1278" y="336"/>
                    <a:pt x="1278" y="336"/>
                    <a:pt x="1278" y="336"/>
                  </a:cubicBezTo>
                  <a:cubicBezTo>
                    <a:pt x="1278" y="336"/>
                    <a:pt x="1263" y="325"/>
                    <a:pt x="1270" y="314"/>
                  </a:cubicBezTo>
                  <a:cubicBezTo>
                    <a:pt x="1277" y="303"/>
                    <a:pt x="1302" y="302"/>
                    <a:pt x="1302" y="302"/>
                  </a:cubicBezTo>
                  <a:cubicBezTo>
                    <a:pt x="1302" y="291"/>
                    <a:pt x="1302" y="291"/>
                    <a:pt x="1302" y="291"/>
                  </a:cubicBezTo>
                  <a:cubicBezTo>
                    <a:pt x="1320" y="294"/>
                    <a:pt x="1320" y="294"/>
                    <a:pt x="1320" y="294"/>
                  </a:cubicBezTo>
                  <a:cubicBezTo>
                    <a:pt x="1326" y="291"/>
                    <a:pt x="1326" y="291"/>
                    <a:pt x="1326" y="291"/>
                  </a:cubicBezTo>
                  <a:cubicBezTo>
                    <a:pt x="1335" y="282"/>
                    <a:pt x="1335" y="282"/>
                    <a:pt x="1335" y="282"/>
                  </a:cubicBezTo>
                  <a:cubicBezTo>
                    <a:pt x="1335" y="282"/>
                    <a:pt x="1346" y="279"/>
                    <a:pt x="1355" y="279"/>
                  </a:cubicBezTo>
                  <a:cubicBezTo>
                    <a:pt x="1364" y="279"/>
                    <a:pt x="1372" y="288"/>
                    <a:pt x="1372" y="288"/>
                  </a:cubicBezTo>
                  <a:cubicBezTo>
                    <a:pt x="1372" y="288"/>
                    <a:pt x="1390" y="287"/>
                    <a:pt x="1398" y="286"/>
                  </a:cubicBezTo>
                  <a:cubicBezTo>
                    <a:pt x="1406" y="285"/>
                    <a:pt x="1403" y="279"/>
                    <a:pt x="1394" y="273"/>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11" name="Malaysia">
              <a:extLst>
                <a:ext uri="{FF2B5EF4-FFF2-40B4-BE49-F238E27FC236}">
                  <a16:creationId xmlns:a16="http://schemas.microsoft.com/office/drawing/2014/main" id="{5C31AF9E-343C-416F-A5E3-2A13025B60B7}"/>
                </a:ext>
              </a:extLst>
            </p:cNvPr>
            <p:cNvSpPr>
              <a:spLocks/>
            </p:cNvSpPr>
            <p:nvPr/>
          </p:nvSpPr>
          <p:spPr bwMode="gray">
            <a:xfrm>
              <a:off x="8531356" y="3859818"/>
              <a:ext cx="258807" cy="198346"/>
            </a:xfrm>
            <a:custGeom>
              <a:avLst/>
              <a:gdLst>
                <a:gd name="T0" fmla="*/ 9 w 461"/>
                <a:gd name="T1" fmla="*/ 338 h 355"/>
                <a:gd name="T2" fmla="*/ 43 w 461"/>
                <a:gd name="T3" fmla="*/ 352 h 355"/>
                <a:gd name="T4" fmla="*/ 61 w 461"/>
                <a:gd name="T5" fmla="*/ 342 h 355"/>
                <a:gd name="T6" fmla="*/ 98 w 461"/>
                <a:gd name="T7" fmla="*/ 345 h 355"/>
                <a:gd name="T8" fmla="*/ 121 w 461"/>
                <a:gd name="T9" fmla="*/ 318 h 355"/>
                <a:gd name="T10" fmla="*/ 150 w 461"/>
                <a:gd name="T11" fmla="*/ 318 h 355"/>
                <a:gd name="T12" fmla="*/ 182 w 461"/>
                <a:gd name="T13" fmla="*/ 335 h 355"/>
                <a:gd name="T14" fmla="*/ 203 w 461"/>
                <a:gd name="T15" fmla="*/ 322 h 355"/>
                <a:gd name="T16" fmla="*/ 219 w 461"/>
                <a:gd name="T17" fmla="*/ 322 h 355"/>
                <a:gd name="T18" fmla="*/ 236 w 461"/>
                <a:gd name="T19" fmla="*/ 299 h 355"/>
                <a:gd name="T20" fmla="*/ 235 w 461"/>
                <a:gd name="T21" fmla="*/ 287 h 355"/>
                <a:gd name="T22" fmla="*/ 257 w 461"/>
                <a:gd name="T23" fmla="*/ 268 h 355"/>
                <a:gd name="T24" fmla="*/ 252 w 461"/>
                <a:gd name="T25" fmla="*/ 243 h 355"/>
                <a:gd name="T26" fmla="*/ 265 w 461"/>
                <a:gd name="T27" fmla="*/ 235 h 355"/>
                <a:gd name="T28" fmla="*/ 275 w 461"/>
                <a:gd name="T29" fmla="*/ 204 h 355"/>
                <a:gd name="T30" fmla="*/ 284 w 461"/>
                <a:gd name="T31" fmla="*/ 165 h 355"/>
                <a:gd name="T32" fmla="*/ 344 w 461"/>
                <a:gd name="T33" fmla="*/ 166 h 355"/>
                <a:gd name="T34" fmla="*/ 375 w 461"/>
                <a:gd name="T35" fmla="*/ 190 h 355"/>
                <a:gd name="T36" fmla="*/ 374 w 461"/>
                <a:gd name="T37" fmla="*/ 189 h 355"/>
                <a:gd name="T38" fmla="*/ 387 w 461"/>
                <a:gd name="T39" fmla="*/ 186 h 355"/>
                <a:gd name="T40" fmla="*/ 378 w 461"/>
                <a:gd name="T41" fmla="*/ 144 h 355"/>
                <a:gd name="T42" fmla="*/ 402 w 461"/>
                <a:gd name="T43" fmla="*/ 162 h 355"/>
                <a:gd name="T44" fmla="*/ 427 w 461"/>
                <a:gd name="T45" fmla="*/ 160 h 355"/>
                <a:gd name="T46" fmla="*/ 408 w 461"/>
                <a:gd name="T47" fmla="*/ 126 h 355"/>
                <a:gd name="T48" fmla="*/ 444 w 461"/>
                <a:gd name="T49" fmla="*/ 131 h 355"/>
                <a:gd name="T50" fmla="*/ 461 w 461"/>
                <a:gd name="T51" fmla="*/ 111 h 355"/>
                <a:gd name="T52" fmla="*/ 444 w 461"/>
                <a:gd name="T53" fmla="*/ 105 h 355"/>
                <a:gd name="T54" fmla="*/ 433 w 461"/>
                <a:gd name="T55" fmla="*/ 88 h 355"/>
                <a:gd name="T56" fmla="*/ 393 w 461"/>
                <a:gd name="T57" fmla="*/ 77 h 355"/>
                <a:gd name="T58" fmla="*/ 380 w 461"/>
                <a:gd name="T59" fmla="*/ 46 h 355"/>
                <a:gd name="T60" fmla="*/ 354 w 461"/>
                <a:gd name="T61" fmla="*/ 42 h 355"/>
                <a:gd name="T62" fmla="*/ 343 w 461"/>
                <a:gd name="T63" fmla="*/ 1 h 355"/>
                <a:gd name="T64" fmla="*/ 339 w 461"/>
                <a:gd name="T65" fmla="*/ 14 h 355"/>
                <a:gd name="T66" fmla="*/ 329 w 461"/>
                <a:gd name="T67" fmla="*/ 0 h 355"/>
                <a:gd name="T68" fmla="*/ 323 w 461"/>
                <a:gd name="T69" fmla="*/ 41 h 355"/>
                <a:gd name="T70" fmla="*/ 301 w 461"/>
                <a:gd name="T71" fmla="*/ 50 h 355"/>
                <a:gd name="T72" fmla="*/ 293 w 461"/>
                <a:gd name="T73" fmla="*/ 77 h 355"/>
                <a:gd name="T74" fmla="*/ 276 w 461"/>
                <a:gd name="T75" fmla="*/ 83 h 355"/>
                <a:gd name="T76" fmla="*/ 283 w 461"/>
                <a:gd name="T77" fmla="*/ 107 h 355"/>
                <a:gd name="T78" fmla="*/ 243 w 461"/>
                <a:gd name="T79" fmla="*/ 101 h 355"/>
                <a:gd name="T80" fmla="*/ 227 w 461"/>
                <a:gd name="T81" fmla="*/ 136 h 355"/>
                <a:gd name="T82" fmla="*/ 200 w 461"/>
                <a:gd name="T83" fmla="*/ 166 h 355"/>
                <a:gd name="T84" fmla="*/ 176 w 461"/>
                <a:gd name="T85" fmla="*/ 213 h 355"/>
                <a:gd name="T86" fmla="*/ 110 w 461"/>
                <a:gd name="T87" fmla="*/ 235 h 355"/>
                <a:gd name="T88" fmla="*/ 69 w 461"/>
                <a:gd name="T89" fmla="*/ 262 h 355"/>
                <a:gd name="T90" fmla="*/ 60 w 461"/>
                <a:gd name="T91" fmla="*/ 285 h 355"/>
                <a:gd name="T92" fmla="*/ 65 w 461"/>
                <a:gd name="T93" fmla="*/ 317 h 355"/>
                <a:gd name="T94" fmla="*/ 23 w 461"/>
                <a:gd name="T95" fmla="*/ 305 h 355"/>
                <a:gd name="T96" fmla="*/ 0 w 461"/>
                <a:gd name="T97" fmla="*/ 322 h 355"/>
                <a:gd name="T98" fmla="*/ 0 w 461"/>
                <a:gd name="T99" fmla="*/ 322 h 355"/>
                <a:gd name="T100" fmla="*/ 9 w 461"/>
                <a:gd name="T101" fmla="*/ 33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 h="355">
                  <a:moveTo>
                    <a:pt x="9" y="338"/>
                  </a:moveTo>
                  <a:cubicBezTo>
                    <a:pt x="17" y="347"/>
                    <a:pt x="39" y="355"/>
                    <a:pt x="43" y="352"/>
                  </a:cubicBezTo>
                  <a:cubicBezTo>
                    <a:pt x="47" y="350"/>
                    <a:pt x="46" y="342"/>
                    <a:pt x="61" y="342"/>
                  </a:cubicBezTo>
                  <a:cubicBezTo>
                    <a:pt x="75" y="342"/>
                    <a:pt x="88" y="351"/>
                    <a:pt x="98" y="345"/>
                  </a:cubicBezTo>
                  <a:cubicBezTo>
                    <a:pt x="108" y="339"/>
                    <a:pt x="121" y="318"/>
                    <a:pt x="121" y="318"/>
                  </a:cubicBezTo>
                  <a:cubicBezTo>
                    <a:pt x="121" y="318"/>
                    <a:pt x="146" y="315"/>
                    <a:pt x="150" y="318"/>
                  </a:cubicBezTo>
                  <a:cubicBezTo>
                    <a:pt x="154" y="320"/>
                    <a:pt x="179" y="336"/>
                    <a:pt x="182" y="335"/>
                  </a:cubicBezTo>
                  <a:cubicBezTo>
                    <a:pt x="185" y="335"/>
                    <a:pt x="203" y="322"/>
                    <a:pt x="203" y="322"/>
                  </a:cubicBezTo>
                  <a:cubicBezTo>
                    <a:pt x="219" y="322"/>
                    <a:pt x="219" y="322"/>
                    <a:pt x="219" y="322"/>
                  </a:cubicBezTo>
                  <a:cubicBezTo>
                    <a:pt x="236" y="299"/>
                    <a:pt x="236" y="299"/>
                    <a:pt x="236" y="299"/>
                  </a:cubicBezTo>
                  <a:cubicBezTo>
                    <a:pt x="235" y="287"/>
                    <a:pt x="235" y="287"/>
                    <a:pt x="235" y="287"/>
                  </a:cubicBezTo>
                  <a:cubicBezTo>
                    <a:pt x="257" y="268"/>
                    <a:pt x="257" y="268"/>
                    <a:pt x="257" y="268"/>
                  </a:cubicBezTo>
                  <a:cubicBezTo>
                    <a:pt x="257" y="268"/>
                    <a:pt x="245" y="252"/>
                    <a:pt x="252" y="243"/>
                  </a:cubicBezTo>
                  <a:cubicBezTo>
                    <a:pt x="258" y="234"/>
                    <a:pt x="265" y="235"/>
                    <a:pt x="265" y="235"/>
                  </a:cubicBezTo>
                  <a:cubicBezTo>
                    <a:pt x="265" y="235"/>
                    <a:pt x="274" y="220"/>
                    <a:pt x="275" y="204"/>
                  </a:cubicBezTo>
                  <a:cubicBezTo>
                    <a:pt x="277" y="188"/>
                    <a:pt x="270" y="166"/>
                    <a:pt x="284" y="165"/>
                  </a:cubicBezTo>
                  <a:cubicBezTo>
                    <a:pt x="299" y="164"/>
                    <a:pt x="340" y="165"/>
                    <a:pt x="344" y="166"/>
                  </a:cubicBezTo>
                  <a:cubicBezTo>
                    <a:pt x="348" y="166"/>
                    <a:pt x="367" y="183"/>
                    <a:pt x="375" y="190"/>
                  </a:cubicBezTo>
                  <a:cubicBezTo>
                    <a:pt x="374" y="189"/>
                    <a:pt x="374" y="189"/>
                    <a:pt x="374" y="189"/>
                  </a:cubicBezTo>
                  <a:cubicBezTo>
                    <a:pt x="387" y="186"/>
                    <a:pt x="387" y="186"/>
                    <a:pt x="387" y="186"/>
                  </a:cubicBezTo>
                  <a:cubicBezTo>
                    <a:pt x="378" y="144"/>
                    <a:pt x="378" y="144"/>
                    <a:pt x="378" y="144"/>
                  </a:cubicBezTo>
                  <a:cubicBezTo>
                    <a:pt x="378" y="144"/>
                    <a:pt x="393" y="160"/>
                    <a:pt x="402" y="162"/>
                  </a:cubicBezTo>
                  <a:cubicBezTo>
                    <a:pt x="412" y="163"/>
                    <a:pt x="427" y="160"/>
                    <a:pt x="427" y="160"/>
                  </a:cubicBezTo>
                  <a:cubicBezTo>
                    <a:pt x="427" y="160"/>
                    <a:pt x="402" y="136"/>
                    <a:pt x="408" y="126"/>
                  </a:cubicBezTo>
                  <a:cubicBezTo>
                    <a:pt x="413" y="115"/>
                    <a:pt x="444" y="131"/>
                    <a:pt x="444" y="131"/>
                  </a:cubicBezTo>
                  <a:cubicBezTo>
                    <a:pt x="461" y="111"/>
                    <a:pt x="461" y="111"/>
                    <a:pt x="461" y="111"/>
                  </a:cubicBezTo>
                  <a:cubicBezTo>
                    <a:pt x="444" y="105"/>
                    <a:pt x="444" y="105"/>
                    <a:pt x="444" y="105"/>
                  </a:cubicBezTo>
                  <a:cubicBezTo>
                    <a:pt x="444" y="105"/>
                    <a:pt x="441" y="93"/>
                    <a:pt x="433" y="88"/>
                  </a:cubicBezTo>
                  <a:cubicBezTo>
                    <a:pt x="425" y="82"/>
                    <a:pt x="393" y="77"/>
                    <a:pt x="393" y="77"/>
                  </a:cubicBezTo>
                  <a:cubicBezTo>
                    <a:pt x="393" y="77"/>
                    <a:pt x="392" y="58"/>
                    <a:pt x="380" y="46"/>
                  </a:cubicBezTo>
                  <a:cubicBezTo>
                    <a:pt x="367" y="33"/>
                    <a:pt x="354" y="42"/>
                    <a:pt x="354" y="42"/>
                  </a:cubicBezTo>
                  <a:cubicBezTo>
                    <a:pt x="343" y="1"/>
                    <a:pt x="343" y="1"/>
                    <a:pt x="343" y="1"/>
                  </a:cubicBezTo>
                  <a:cubicBezTo>
                    <a:pt x="339" y="14"/>
                    <a:pt x="339" y="14"/>
                    <a:pt x="339" y="14"/>
                  </a:cubicBezTo>
                  <a:cubicBezTo>
                    <a:pt x="329" y="0"/>
                    <a:pt x="329" y="0"/>
                    <a:pt x="329" y="0"/>
                  </a:cubicBezTo>
                  <a:cubicBezTo>
                    <a:pt x="323" y="41"/>
                    <a:pt x="323" y="41"/>
                    <a:pt x="323" y="41"/>
                  </a:cubicBezTo>
                  <a:cubicBezTo>
                    <a:pt x="323" y="41"/>
                    <a:pt x="308" y="45"/>
                    <a:pt x="301" y="50"/>
                  </a:cubicBezTo>
                  <a:cubicBezTo>
                    <a:pt x="294" y="55"/>
                    <a:pt x="293" y="77"/>
                    <a:pt x="293" y="77"/>
                  </a:cubicBezTo>
                  <a:cubicBezTo>
                    <a:pt x="276" y="83"/>
                    <a:pt x="276" y="83"/>
                    <a:pt x="276" y="83"/>
                  </a:cubicBezTo>
                  <a:cubicBezTo>
                    <a:pt x="283" y="107"/>
                    <a:pt x="283" y="107"/>
                    <a:pt x="283" y="107"/>
                  </a:cubicBezTo>
                  <a:cubicBezTo>
                    <a:pt x="283" y="107"/>
                    <a:pt x="259" y="104"/>
                    <a:pt x="243" y="101"/>
                  </a:cubicBezTo>
                  <a:cubicBezTo>
                    <a:pt x="228" y="97"/>
                    <a:pt x="227" y="136"/>
                    <a:pt x="227" y="136"/>
                  </a:cubicBezTo>
                  <a:cubicBezTo>
                    <a:pt x="200" y="166"/>
                    <a:pt x="200" y="166"/>
                    <a:pt x="200" y="166"/>
                  </a:cubicBezTo>
                  <a:cubicBezTo>
                    <a:pt x="200" y="166"/>
                    <a:pt x="192" y="201"/>
                    <a:pt x="176" y="213"/>
                  </a:cubicBezTo>
                  <a:cubicBezTo>
                    <a:pt x="160" y="224"/>
                    <a:pt x="119" y="232"/>
                    <a:pt x="110" y="235"/>
                  </a:cubicBezTo>
                  <a:cubicBezTo>
                    <a:pt x="101" y="237"/>
                    <a:pt x="69" y="262"/>
                    <a:pt x="69" y="262"/>
                  </a:cubicBezTo>
                  <a:cubicBezTo>
                    <a:pt x="60" y="285"/>
                    <a:pt x="60" y="285"/>
                    <a:pt x="60" y="285"/>
                  </a:cubicBezTo>
                  <a:cubicBezTo>
                    <a:pt x="60" y="285"/>
                    <a:pt x="84" y="303"/>
                    <a:pt x="65" y="317"/>
                  </a:cubicBezTo>
                  <a:cubicBezTo>
                    <a:pt x="47" y="331"/>
                    <a:pt x="34" y="308"/>
                    <a:pt x="23" y="305"/>
                  </a:cubicBezTo>
                  <a:cubicBezTo>
                    <a:pt x="13" y="303"/>
                    <a:pt x="0" y="322"/>
                    <a:pt x="0" y="322"/>
                  </a:cubicBezTo>
                  <a:cubicBezTo>
                    <a:pt x="0" y="322"/>
                    <a:pt x="0" y="322"/>
                    <a:pt x="0" y="322"/>
                  </a:cubicBezTo>
                  <a:cubicBezTo>
                    <a:pt x="3" y="328"/>
                    <a:pt x="5" y="334"/>
                    <a:pt x="9" y="338"/>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90" name="Malaysia">
              <a:extLst>
                <a:ext uri="{FF2B5EF4-FFF2-40B4-BE49-F238E27FC236}">
                  <a16:creationId xmlns:a16="http://schemas.microsoft.com/office/drawing/2014/main" id="{02781CCE-697C-4257-B728-D39B235951D9}"/>
                </a:ext>
              </a:extLst>
            </p:cNvPr>
            <p:cNvSpPr>
              <a:spLocks/>
            </p:cNvSpPr>
            <p:nvPr/>
          </p:nvSpPr>
          <p:spPr bwMode="gray">
            <a:xfrm>
              <a:off x="8266196" y="3880447"/>
              <a:ext cx="115907" cy="163437"/>
            </a:xfrm>
            <a:custGeom>
              <a:avLst/>
              <a:gdLst>
                <a:gd name="T0" fmla="*/ 1 w 207"/>
                <a:gd name="T1" fmla="*/ 30 h 293"/>
                <a:gd name="T2" fmla="*/ 6 w 207"/>
                <a:gd name="T3" fmla="*/ 91 h 293"/>
                <a:gd name="T4" fmla="*/ 38 w 207"/>
                <a:gd name="T5" fmla="*/ 99 h 293"/>
                <a:gd name="T6" fmla="*/ 39 w 207"/>
                <a:gd name="T7" fmla="*/ 153 h 293"/>
                <a:gd name="T8" fmla="*/ 62 w 207"/>
                <a:gd name="T9" fmla="*/ 153 h 293"/>
                <a:gd name="T10" fmla="*/ 65 w 207"/>
                <a:gd name="T11" fmla="*/ 203 h 293"/>
                <a:gd name="T12" fmla="*/ 114 w 207"/>
                <a:gd name="T13" fmla="*/ 236 h 293"/>
                <a:gd name="T14" fmla="*/ 121 w 207"/>
                <a:gd name="T15" fmla="*/ 258 h 293"/>
                <a:gd name="T16" fmla="*/ 153 w 207"/>
                <a:gd name="T17" fmla="*/ 271 h 293"/>
                <a:gd name="T18" fmla="*/ 169 w 207"/>
                <a:gd name="T19" fmla="*/ 293 h 293"/>
                <a:gd name="T20" fmla="*/ 202 w 207"/>
                <a:gd name="T21" fmla="*/ 290 h 293"/>
                <a:gd name="T22" fmla="*/ 205 w 207"/>
                <a:gd name="T23" fmla="*/ 252 h 293"/>
                <a:gd name="T24" fmla="*/ 172 w 207"/>
                <a:gd name="T25" fmla="*/ 210 h 293"/>
                <a:gd name="T26" fmla="*/ 170 w 207"/>
                <a:gd name="T27" fmla="*/ 184 h 293"/>
                <a:gd name="T28" fmla="*/ 168 w 207"/>
                <a:gd name="T29" fmla="*/ 160 h 293"/>
                <a:gd name="T30" fmla="*/ 167 w 207"/>
                <a:gd name="T31" fmla="*/ 87 h 293"/>
                <a:gd name="T32" fmla="*/ 115 w 207"/>
                <a:gd name="T33" fmla="*/ 41 h 293"/>
                <a:gd name="T34" fmla="*/ 103 w 207"/>
                <a:gd name="T35" fmla="*/ 31 h 293"/>
                <a:gd name="T36" fmla="*/ 91 w 207"/>
                <a:gd name="T37" fmla="*/ 55 h 293"/>
                <a:gd name="T38" fmla="*/ 72 w 207"/>
                <a:gd name="T39" fmla="*/ 47 h 293"/>
                <a:gd name="T40" fmla="*/ 49 w 207"/>
                <a:gd name="T41" fmla="*/ 54 h 293"/>
                <a:gd name="T42" fmla="*/ 52 w 207"/>
                <a:gd name="T43" fmla="*/ 32 h 293"/>
                <a:gd name="T44" fmla="*/ 45 w 207"/>
                <a:gd name="T45" fmla="*/ 28 h 293"/>
                <a:gd name="T46" fmla="*/ 39 w 207"/>
                <a:gd name="T47" fmla="*/ 16 h 293"/>
                <a:gd name="T48" fmla="*/ 21 w 207"/>
                <a:gd name="T49" fmla="*/ 12 h 293"/>
                <a:gd name="T50" fmla="*/ 12 w 207"/>
                <a:gd name="T51" fmla="*/ 1 h 293"/>
                <a:gd name="T52" fmla="*/ 7 w 207"/>
                <a:gd name="T53" fmla="*/ 17 h 293"/>
                <a:gd name="T54" fmla="*/ 0 w 207"/>
                <a:gd name="T55" fmla="*/ 29 h 293"/>
                <a:gd name="T56" fmla="*/ 1 w 207"/>
                <a:gd name="T57" fmla="*/ 3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7" h="293">
                  <a:moveTo>
                    <a:pt x="1" y="30"/>
                  </a:moveTo>
                  <a:cubicBezTo>
                    <a:pt x="6" y="91"/>
                    <a:pt x="6" y="91"/>
                    <a:pt x="6" y="91"/>
                  </a:cubicBezTo>
                  <a:cubicBezTo>
                    <a:pt x="6" y="91"/>
                    <a:pt x="38" y="79"/>
                    <a:pt x="38" y="99"/>
                  </a:cubicBezTo>
                  <a:cubicBezTo>
                    <a:pt x="37" y="119"/>
                    <a:pt x="28" y="141"/>
                    <a:pt x="39" y="153"/>
                  </a:cubicBezTo>
                  <a:cubicBezTo>
                    <a:pt x="50" y="166"/>
                    <a:pt x="62" y="153"/>
                    <a:pt x="62" y="153"/>
                  </a:cubicBezTo>
                  <a:cubicBezTo>
                    <a:pt x="62" y="153"/>
                    <a:pt x="55" y="194"/>
                    <a:pt x="65" y="203"/>
                  </a:cubicBezTo>
                  <a:cubicBezTo>
                    <a:pt x="75" y="212"/>
                    <a:pt x="114" y="236"/>
                    <a:pt x="114" y="236"/>
                  </a:cubicBezTo>
                  <a:cubicBezTo>
                    <a:pt x="114" y="236"/>
                    <a:pt x="116" y="256"/>
                    <a:pt x="121" y="258"/>
                  </a:cubicBezTo>
                  <a:cubicBezTo>
                    <a:pt x="126" y="259"/>
                    <a:pt x="153" y="271"/>
                    <a:pt x="153" y="271"/>
                  </a:cubicBezTo>
                  <a:cubicBezTo>
                    <a:pt x="169" y="293"/>
                    <a:pt x="169" y="293"/>
                    <a:pt x="169" y="293"/>
                  </a:cubicBezTo>
                  <a:cubicBezTo>
                    <a:pt x="202" y="290"/>
                    <a:pt x="202" y="290"/>
                    <a:pt x="202" y="290"/>
                  </a:cubicBezTo>
                  <a:cubicBezTo>
                    <a:pt x="202" y="290"/>
                    <a:pt x="207" y="270"/>
                    <a:pt x="205" y="252"/>
                  </a:cubicBezTo>
                  <a:cubicBezTo>
                    <a:pt x="203" y="235"/>
                    <a:pt x="173" y="215"/>
                    <a:pt x="172" y="210"/>
                  </a:cubicBezTo>
                  <a:cubicBezTo>
                    <a:pt x="171" y="205"/>
                    <a:pt x="177" y="193"/>
                    <a:pt x="170" y="184"/>
                  </a:cubicBezTo>
                  <a:cubicBezTo>
                    <a:pt x="162" y="175"/>
                    <a:pt x="168" y="173"/>
                    <a:pt x="168" y="160"/>
                  </a:cubicBezTo>
                  <a:cubicBezTo>
                    <a:pt x="169" y="148"/>
                    <a:pt x="172" y="109"/>
                    <a:pt x="167" y="87"/>
                  </a:cubicBezTo>
                  <a:cubicBezTo>
                    <a:pt x="163" y="65"/>
                    <a:pt x="121" y="50"/>
                    <a:pt x="115" y="41"/>
                  </a:cubicBezTo>
                  <a:cubicBezTo>
                    <a:pt x="113" y="38"/>
                    <a:pt x="108" y="34"/>
                    <a:pt x="103" y="31"/>
                  </a:cubicBezTo>
                  <a:cubicBezTo>
                    <a:pt x="100" y="39"/>
                    <a:pt x="95" y="50"/>
                    <a:pt x="91" y="55"/>
                  </a:cubicBezTo>
                  <a:cubicBezTo>
                    <a:pt x="85" y="63"/>
                    <a:pt x="83" y="46"/>
                    <a:pt x="72" y="47"/>
                  </a:cubicBezTo>
                  <a:cubicBezTo>
                    <a:pt x="61" y="48"/>
                    <a:pt x="62" y="58"/>
                    <a:pt x="49" y="54"/>
                  </a:cubicBezTo>
                  <a:cubicBezTo>
                    <a:pt x="36" y="50"/>
                    <a:pt x="52" y="38"/>
                    <a:pt x="52" y="32"/>
                  </a:cubicBezTo>
                  <a:cubicBezTo>
                    <a:pt x="52" y="26"/>
                    <a:pt x="45" y="28"/>
                    <a:pt x="45" y="28"/>
                  </a:cubicBezTo>
                  <a:cubicBezTo>
                    <a:pt x="45" y="28"/>
                    <a:pt x="46" y="20"/>
                    <a:pt x="39" y="16"/>
                  </a:cubicBezTo>
                  <a:cubicBezTo>
                    <a:pt x="32" y="12"/>
                    <a:pt x="21" y="12"/>
                    <a:pt x="21" y="12"/>
                  </a:cubicBezTo>
                  <a:cubicBezTo>
                    <a:pt x="21" y="12"/>
                    <a:pt x="19" y="0"/>
                    <a:pt x="12" y="1"/>
                  </a:cubicBezTo>
                  <a:cubicBezTo>
                    <a:pt x="5" y="2"/>
                    <a:pt x="6" y="8"/>
                    <a:pt x="7" y="17"/>
                  </a:cubicBezTo>
                  <a:cubicBezTo>
                    <a:pt x="7" y="21"/>
                    <a:pt x="4" y="25"/>
                    <a:pt x="0" y="29"/>
                  </a:cubicBezTo>
                  <a:cubicBezTo>
                    <a:pt x="1" y="29"/>
                    <a:pt x="1" y="30"/>
                    <a:pt x="1" y="30"/>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96" name="Lebanon">
              <a:extLst>
                <a:ext uri="{FF2B5EF4-FFF2-40B4-BE49-F238E27FC236}">
                  <a16:creationId xmlns:a16="http://schemas.microsoft.com/office/drawing/2014/main" id="{86337226-3BF2-4AC5-AE58-ED3DD5970CB6}"/>
                </a:ext>
              </a:extLst>
            </p:cNvPr>
            <p:cNvSpPr>
              <a:spLocks/>
            </p:cNvSpPr>
            <p:nvPr/>
          </p:nvSpPr>
          <p:spPr bwMode="gray">
            <a:xfrm>
              <a:off x="6506940" y="3041047"/>
              <a:ext cx="42869" cy="58711"/>
            </a:xfrm>
            <a:custGeom>
              <a:avLst/>
              <a:gdLst>
                <a:gd name="T0" fmla="*/ 46 w 76"/>
                <a:gd name="T1" fmla="*/ 66 h 105"/>
                <a:gd name="T2" fmla="*/ 50 w 76"/>
                <a:gd name="T3" fmla="*/ 46 h 105"/>
                <a:gd name="T4" fmla="*/ 71 w 76"/>
                <a:gd name="T5" fmla="*/ 34 h 105"/>
                <a:gd name="T6" fmla="*/ 64 w 76"/>
                <a:gd name="T7" fmla="*/ 10 h 105"/>
                <a:gd name="T8" fmla="*/ 65 w 76"/>
                <a:gd name="T9" fmla="*/ 0 h 105"/>
                <a:gd name="T10" fmla="*/ 40 w 76"/>
                <a:gd name="T11" fmla="*/ 0 h 105"/>
                <a:gd name="T12" fmla="*/ 37 w 76"/>
                <a:gd name="T13" fmla="*/ 0 h 105"/>
                <a:gd name="T14" fmla="*/ 36 w 76"/>
                <a:gd name="T15" fmla="*/ 5 h 105"/>
                <a:gd name="T16" fmla="*/ 20 w 76"/>
                <a:gd name="T17" fmla="*/ 21 h 105"/>
                <a:gd name="T18" fmla="*/ 11 w 76"/>
                <a:gd name="T19" fmla="*/ 45 h 105"/>
                <a:gd name="T20" fmla="*/ 0 w 76"/>
                <a:gd name="T21" fmla="*/ 89 h 105"/>
                <a:gd name="T22" fmla="*/ 1 w 76"/>
                <a:gd name="T23" fmla="*/ 105 h 105"/>
                <a:gd name="T24" fmla="*/ 6 w 76"/>
                <a:gd name="T25" fmla="*/ 100 h 105"/>
                <a:gd name="T26" fmla="*/ 13 w 76"/>
                <a:gd name="T27" fmla="*/ 87 h 105"/>
                <a:gd name="T28" fmla="*/ 27 w 76"/>
                <a:gd name="T29" fmla="*/ 86 h 105"/>
                <a:gd name="T30" fmla="*/ 31 w 76"/>
                <a:gd name="T31" fmla="*/ 69 h 105"/>
                <a:gd name="T32" fmla="*/ 46 w 76"/>
                <a:gd name="T33" fmla="*/ 6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05">
                  <a:moveTo>
                    <a:pt x="46" y="66"/>
                  </a:moveTo>
                  <a:cubicBezTo>
                    <a:pt x="46" y="66"/>
                    <a:pt x="41" y="49"/>
                    <a:pt x="50" y="46"/>
                  </a:cubicBezTo>
                  <a:cubicBezTo>
                    <a:pt x="59" y="43"/>
                    <a:pt x="66" y="46"/>
                    <a:pt x="71" y="34"/>
                  </a:cubicBezTo>
                  <a:cubicBezTo>
                    <a:pt x="76" y="22"/>
                    <a:pt x="64" y="10"/>
                    <a:pt x="64" y="10"/>
                  </a:cubicBezTo>
                  <a:cubicBezTo>
                    <a:pt x="65" y="0"/>
                    <a:pt x="65" y="0"/>
                    <a:pt x="65" y="0"/>
                  </a:cubicBezTo>
                  <a:cubicBezTo>
                    <a:pt x="40" y="0"/>
                    <a:pt x="40" y="0"/>
                    <a:pt x="40" y="0"/>
                  </a:cubicBezTo>
                  <a:cubicBezTo>
                    <a:pt x="37" y="0"/>
                    <a:pt x="37" y="0"/>
                    <a:pt x="37" y="0"/>
                  </a:cubicBezTo>
                  <a:cubicBezTo>
                    <a:pt x="37" y="2"/>
                    <a:pt x="37" y="4"/>
                    <a:pt x="36" y="5"/>
                  </a:cubicBezTo>
                  <a:cubicBezTo>
                    <a:pt x="29" y="15"/>
                    <a:pt x="20" y="21"/>
                    <a:pt x="20" y="21"/>
                  </a:cubicBezTo>
                  <a:cubicBezTo>
                    <a:pt x="11" y="45"/>
                    <a:pt x="11" y="45"/>
                    <a:pt x="11" y="45"/>
                  </a:cubicBezTo>
                  <a:cubicBezTo>
                    <a:pt x="11" y="45"/>
                    <a:pt x="1" y="69"/>
                    <a:pt x="0" y="89"/>
                  </a:cubicBezTo>
                  <a:cubicBezTo>
                    <a:pt x="0" y="94"/>
                    <a:pt x="0" y="100"/>
                    <a:pt x="1" y="105"/>
                  </a:cubicBezTo>
                  <a:cubicBezTo>
                    <a:pt x="6" y="100"/>
                    <a:pt x="6" y="100"/>
                    <a:pt x="6" y="100"/>
                  </a:cubicBezTo>
                  <a:cubicBezTo>
                    <a:pt x="13" y="87"/>
                    <a:pt x="13" y="87"/>
                    <a:pt x="13" y="87"/>
                  </a:cubicBezTo>
                  <a:cubicBezTo>
                    <a:pt x="13" y="87"/>
                    <a:pt x="22" y="93"/>
                    <a:pt x="27" y="86"/>
                  </a:cubicBezTo>
                  <a:cubicBezTo>
                    <a:pt x="32" y="79"/>
                    <a:pt x="31" y="69"/>
                    <a:pt x="31" y="69"/>
                  </a:cubicBezTo>
                  <a:cubicBezTo>
                    <a:pt x="46" y="66"/>
                    <a:pt x="46" y="66"/>
                    <a:pt x="46" y="66"/>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93" name="Laos">
              <a:extLst>
                <a:ext uri="{FF2B5EF4-FFF2-40B4-BE49-F238E27FC236}">
                  <a16:creationId xmlns:a16="http://schemas.microsoft.com/office/drawing/2014/main" id="{6EF7E530-BEB8-4587-B2BF-DE7DB2E02216}"/>
                </a:ext>
              </a:extLst>
            </p:cNvPr>
            <p:cNvSpPr>
              <a:spLocks/>
            </p:cNvSpPr>
            <p:nvPr/>
          </p:nvSpPr>
          <p:spPr bwMode="gray">
            <a:xfrm>
              <a:off x="8226503" y="3406003"/>
              <a:ext cx="227051" cy="263403"/>
            </a:xfrm>
            <a:custGeom>
              <a:avLst/>
              <a:gdLst>
                <a:gd name="T0" fmla="*/ 28 w 404"/>
                <a:gd name="T1" fmla="*/ 124 h 470"/>
                <a:gd name="T2" fmla="*/ 47 w 404"/>
                <a:gd name="T3" fmla="*/ 163 h 470"/>
                <a:gd name="T4" fmla="*/ 68 w 404"/>
                <a:gd name="T5" fmla="*/ 160 h 470"/>
                <a:gd name="T6" fmla="*/ 74 w 404"/>
                <a:gd name="T7" fmla="*/ 196 h 470"/>
                <a:gd name="T8" fmla="*/ 73 w 404"/>
                <a:gd name="T9" fmla="*/ 224 h 470"/>
                <a:gd name="T10" fmla="*/ 88 w 404"/>
                <a:gd name="T11" fmla="*/ 254 h 470"/>
                <a:gd name="T12" fmla="*/ 143 w 404"/>
                <a:gd name="T13" fmla="*/ 245 h 470"/>
                <a:gd name="T14" fmla="*/ 187 w 404"/>
                <a:gd name="T15" fmla="*/ 228 h 470"/>
                <a:gd name="T16" fmla="*/ 215 w 404"/>
                <a:gd name="T17" fmla="*/ 247 h 470"/>
                <a:gd name="T18" fmla="*/ 248 w 404"/>
                <a:gd name="T19" fmla="*/ 298 h 470"/>
                <a:gd name="T20" fmla="*/ 283 w 404"/>
                <a:gd name="T21" fmla="*/ 347 h 470"/>
                <a:gd name="T22" fmla="*/ 294 w 404"/>
                <a:gd name="T23" fmla="*/ 367 h 470"/>
                <a:gd name="T24" fmla="*/ 302 w 404"/>
                <a:gd name="T25" fmla="*/ 425 h 470"/>
                <a:gd name="T26" fmla="*/ 290 w 404"/>
                <a:gd name="T27" fmla="*/ 448 h 470"/>
                <a:gd name="T28" fmla="*/ 327 w 404"/>
                <a:gd name="T29" fmla="*/ 462 h 470"/>
                <a:gd name="T30" fmla="*/ 334 w 404"/>
                <a:gd name="T31" fmla="*/ 434 h 470"/>
                <a:gd name="T32" fmla="*/ 365 w 404"/>
                <a:gd name="T33" fmla="*/ 435 h 470"/>
                <a:gd name="T34" fmla="*/ 390 w 404"/>
                <a:gd name="T35" fmla="*/ 430 h 470"/>
                <a:gd name="T36" fmla="*/ 391 w 404"/>
                <a:gd name="T37" fmla="*/ 410 h 470"/>
                <a:gd name="T38" fmla="*/ 369 w 404"/>
                <a:gd name="T39" fmla="*/ 369 h 470"/>
                <a:gd name="T40" fmla="*/ 361 w 404"/>
                <a:gd name="T41" fmla="*/ 331 h 470"/>
                <a:gd name="T42" fmla="*/ 334 w 404"/>
                <a:gd name="T43" fmla="*/ 299 h 470"/>
                <a:gd name="T44" fmla="*/ 319 w 404"/>
                <a:gd name="T45" fmla="*/ 289 h 470"/>
                <a:gd name="T46" fmla="*/ 285 w 404"/>
                <a:gd name="T47" fmla="*/ 236 h 470"/>
                <a:gd name="T48" fmla="*/ 256 w 404"/>
                <a:gd name="T49" fmla="*/ 203 h 470"/>
                <a:gd name="T50" fmla="*/ 193 w 404"/>
                <a:gd name="T51" fmla="*/ 168 h 470"/>
                <a:gd name="T52" fmla="*/ 218 w 404"/>
                <a:gd name="T53" fmla="*/ 156 h 470"/>
                <a:gd name="T54" fmla="*/ 212 w 404"/>
                <a:gd name="T55" fmla="*/ 112 h 470"/>
                <a:gd name="T56" fmla="*/ 184 w 404"/>
                <a:gd name="T57" fmla="*/ 79 h 470"/>
                <a:gd name="T58" fmla="*/ 160 w 404"/>
                <a:gd name="T59" fmla="*/ 90 h 470"/>
                <a:gd name="T60" fmla="*/ 128 w 404"/>
                <a:gd name="T61" fmla="*/ 63 h 470"/>
                <a:gd name="T62" fmla="*/ 118 w 404"/>
                <a:gd name="T63" fmla="*/ 40 h 470"/>
                <a:gd name="T64" fmla="*/ 91 w 404"/>
                <a:gd name="T65" fmla="*/ 2 h 470"/>
                <a:gd name="T66" fmla="*/ 60 w 404"/>
                <a:gd name="T67" fmla="*/ 22 h 470"/>
                <a:gd name="T68" fmla="*/ 79 w 404"/>
                <a:gd name="T69" fmla="*/ 72 h 470"/>
                <a:gd name="T70" fmla="*/ 48 w 404"/>
                <a:gd name="T71" fmla="*/ 57 h 470"/>
                <a:gd name="T72" fmla="*/ 26 w 404"/>
                <a:gd name="T73" fmla="*/ 74 h 470"/>
                <a:gd name="T74" fmla="*/ 26 w 404"/>
                <a:gd name="T75" fmla="*/ 89 h 470"/>
                <a:gd name="T76" fmla="*/ 2 w 404"/>
                <a:gd name="T77" fmla="*/ 11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4" h="470">
                  <a:moveTo>
                    <a:pt x="17" y="121"/>
                  </a:moveTo>
                  <a:cubicBezTo>
                    <a:pt x="17" y="121"/>
                    <a:pt x="27" y="116"/>
                    <a:pt x="28" y="124"/>
                  </a:cubicBezTo>
                  <a:cubicBezTo>
                    <a:pt x="29" y="132"/>
                    <a:pt x="22" y="153"/>
                    <a:pt x="28" y="158"/>
                  </a:cubicBezTo>
                  <a:cubicBezTo>
                    <a:pt x="34" y="163"/>
                    <a:pt x="47" y="163"/>
                    <a:pt x="47" y="163"/>
                  </a:cubicBezTo>
                  <a:cubicBezTo>
                    <a:pt x="45" y="155"/>
                    <a:pt x="45" y="155"/>
                    <a:pt x="45" y="155"/>
                  </a:cubicBezTo>
                  <a:cubicBezTo>
                    <a:pt x="45" y="155"/>
                    <a:pt x="68" y="146"/>
                    <a:pt x="68" y="160"/>
                  </a:cubicBezTo>
                  <a:cubicBezTo>
                    <a:pt x="68" y="174"/>
                    <a:pt x="66" y="180"/>
                    <a:pt x="66" y="180"/>
                  </a:cubicBezTo>
                  <a:cubicBezTo>
                    <a:pt x="66" y="180"/>
                    <a:pt x="74" y="187"/>
                    <a:pt x="74" y="196"/>
                  </a:cubicBezTo>
                  <a:cubicBezTo>
                    <a:pt x="74" y="205"/>
                    <a:pt x="60" y="216"/>
                    <a:pt x="60" y="216"/>
                  </a:cubicBezTo>
                  <a:cubicBezTo>
                    <a:pt x="60" y="216"/>
                    <a:pt x="73" y="215"/>
                    <a:pt x="73" y="224"/>
                  </a:cubicBezTo>
                  <a:cubicBezTo>
                    <a:pt x="73" y="233"/>
                    <a:pt x="49" y="264"/>
                    <a:pt x="59" y="267"/>
                  </a:cubicBezTo>
                  <a:cubicBezTo>
                    <a:pt x="69" y="270"/>
                    <a:pt x="88" y="254"/>
                    <a:pt x="88" y="254"/>
                  </a:cubicBezTo>
                  <a:cubicBezTo>
                    <a:pt x="88" y="254"/>
                    <a:pt x="101" y="229"/>
                    <a:pt x="108" y="231"/>
                  </a:cubicBezTo>
                  <a:cubicBezTo>
                    <a:pt x="115" y="233"/>
                    <a:pt x="129" y="244"/>
                    <a:pt x="143" y="245"/>
                  </a:cubicBezTo>
                  <a:cubicBezTo>
                    <a:pt x="157" y="246"/>
                    <a:pt x="154" y="221"/>
                    <a:pt x="164" y="220"/>
                  </a:cubicBezTo>
                  <a:cubicBezTo>
                    <a:pt x="174" y="219"/>
                    <a:pt x="187" y="228"/>
                    <a:pt x="187" y="228"/>
                  </a:cubicBezTo>
                  <a:cubicBezTo>
                    <a:pt x="187" y="228"/>
                    <a:pt x="194" y="226"/>
                    <a:pt x="202" y="228"/>
                  </a:cubicBezTo>
                  <a:cubicBezTo>
                    <a:pt x="210" y="230"/>
                    <a:pt x="197" y="236"/>
                    <a:pt x="215" y="247"/>
                  </a:cubicBezTo>
                  <a:cubicBezTo>
                    <a:pt x="233" y="258"/>
                    <a:pt x="247" y="270"/>
                    <a:pt x="247" y="270"/>
                  </a:cubicBezTo>
                  <a:cubicBezTo>
                    <a:pt x="248" y="298"/>
                    <a:pt x="248" y="298"/>
                    <a:pt x="248" y="298"/>
                  </a:cubicBezTo>
                  <a:cubicBezTo>
                    <a:pt x="248" y="298"/>
                    <a:pt x="255" y="318"/>
                    <a:pt x="260" y="327"/>
                  </a:cubicBezTo>
                  <a:cubicBezTo>
                    <a:pt x="265" y="336"/>
                    <a:pt x="283" y="343"/>
                    <a:pt x="283" y="347"/>
                  </a:cubicBezTo>
                  <a:cubicBezTo>
                    <a:pt x="283" y="351"/>
                    <a:pt x="285" y="364"/>
                    <a:pt x="285" y="364"/>
                  </a:cubicBezTo>
                  <a:cubicBezTo>
                    <a:pt x="285" y="364"/>
                    <a:pt x="288" y="357"/>
                    <a:pt x="294" y="367"/>
                  </a:cubicBezTo>
                  <a:cubicBezTo>
                    <a:pt x="300" y="377"/>
                    <a:pt x="285" y="390"/>
                    <a:pt x="287" y="394"/>
                  </a:cubicBezTo>
                  <a:cubicBezTo>
                    <a:pt x="289" y="398"/>
                    <a:pt x="312" y="413"/>
                    <a:pt x="302" y="425"/>
                  </a:cubicBezTo>
                  <a:cubicBezTo>
                    <a:pt x="296" y="432"/>
                    <a:pt x="291" y="436"/>
                    <a:pt x="287" y="439"/>
                  </a:cubicBezTo>
                  <a:cubicBezTo>
                    <a:pt x="287" y="442"/>
                    <a:pt x="287" y="447"/>
                    <a:pt x="290" y="448"/>
                  </a:cubicBezTo>
                  <a:cubicBezTo>
                    <a:pt x="294" y="449"/>
                    <a:pt x="310" y="450"/>
                    <a:pt x="310" y="450"/>
                  </a:cubicBezTo>
                  <a:cubicBezTo>
                    <a:pt x="310" y="450"/>
                    <a:pt x="319" y="470"/>
                    <a:pt x="327" y="462"/>
                  </a:cubicBezTo>
                  <a:cubicBezTo>
                    <a:pt x="335" y="454"/>
                    <a:pt x="323" y="442"/>
                    <a:pt x="323" y="442"/>
                  </a:cubicBezTo>
                  <a:cubicBezTo>
                    <a:pt x="334" y="434"/>
                    <a:pt x="334" y="434"/>
                    <a:pt x="334" y="434"/>
                  </a:cubicBezTo>
                  <a:cubicBezTo>
                    <a:pt x="343" y="426"/>
                    <a:pt x="343" y="426"/>
                    <a:pt x="343" y="426"/>
                  </a:cubicBezTo>
                  <a:cubicBezTo>
                    <a:pt x="365" y="435"/>
                    <a:pt x="365" y="435"/>
                    <a:pt x="365" y="435"/>
                  </a:cubicBezTo>
                  <a:cubicBezTo>
                    <a:pt x="373" y="426"/>
                    <a:pt x="373" y="426"/>
                    <a:pt x="373" y="426"/>
                  </a:cubicBezTo>
                  <a:cubicBezTo>
                    <a:pt x="390" y="430"/>
                    <a:pt x="390" y="430"/>
                    <a:pt x="390" y="430"/>
                  </a:cubicBezTo>
                  <a:cubicBezTo>
                    <a:pt x="390" y="430"/>
                    <a:pt x="396" y="431"/>
                    <a:pt x="400" y="423"/>
                  </a:cubicBezTo>
                  <a:cubicBezTo>
                    <a:pt x="404" y="415"/>
                    <a:pt x="391" y="410"/>
                    <a:pt x="391" y="410"/>
                  </a:cubicBezTo>
                  <a:cubicBezTo>
                    <a:pt x="402" y="389"/>
                    <a:pt x="402" y="389"/>
                    <a:pt x="402" y="389"/>
                  </a:cubicBezTo>
                  <a:cubicBezTo>
                    <a:pt x="402" y="389"/>
                    <a:pt x="383" y="380"/>
                    <a:pt x="369" y="369"/>
                  </a:cubicBezTo>
                  <a:cubicBezTo>
                    <a:pt x="355" y="358"/>
                    <a:pt x="369" y="355"/>
                    <a:pt x="377" y="350"/>
                  </a:cubicBezTo>
                  <a:cubicBezTo>
                    <a:pt x="385" y="345"/>
                    <a:pt x="361" y="331"/>
                    <a:pt x="361" y="331"/>
                  </a:cubicBezTo>
                  <a:cubicBezTo>
                    <a:pt x="361" y="331"/>
                    <a:pt x="351" y="330"/>
                    <a:pt x="344" y="323"/>
                  </a:cubicBezTo>
                  <a:cubicBezTo>
                    <a:pt x="337" y="316"/>
                    <a:pt x="334" y="299"/>
                    <a:pt x="334" y="299"/>
                  </a:cubicBezTo>
                  <a:cubicBezTo>
                    <a:pt x="320" y="300"/>
                    <a:pt x="320" y="300"/>
                    <a:pt x="320" y="300"/>
                  </a:cubicBezTo>
                  <a:cubicBezTo>
                    <a:pt x="319" y="289"/>
                    <a:pt x="319" y="289"/>
                    <a:pt x="319" y="289"/>
                  </a:cubicBezTo>
                  <a:cubicBezTo>
                    <a:pt x="319" y="289"/>
                    <a:pt x="308" y="278"/>
                    <a:pt x="295" y="267"/>
                  </a:cubicBezTo>
                  <a:cubicBezTo>
                    <a:pt x="282" y="256"/>
                    <a:pt x="285" y="236"/>
                    <a:pt x="285" y="236"/>
                  </a:cubicBezTo>
                  <a:cubicBezTo>
                    <a:pt x="285" y="236"/>
                    <a:pt x="263" y="228"/>
                    <a:pt x="259" y="224"/>
                  </a:cubicBezTo>
                  <a:cubicBezTo>
                    <a:pt x="255" y="220"/>
                    <a:pt x="256" y="203"/>
                    <a:pt x="256" y="203"/>
                  </a:cubicBezTo>
                  <a:cubicBezTo>
                    <a:pt x="256" y="203"/>
                    <a:pt x="238" y="198"/>
                    <a:pt x="232" y="193"/>
                  </a:cubicBezTo>
                  <a:cubicBezTo>
                    <a:pt x="226" y="188"/>
                    <a:pt x="193" y="168"/>
                    <a:pt x="193" y="168"/>
                  </a:cubicBezTo>
                  <a:cubicBezTo>
                    <a:pt x="193" y="168"/>
                    <a:pt x="193" y="156"/>
                    <a:pt x="191" y="152"/>
                  </a:cubicBezTo>
                  <a:cubicBezTo>
                    <a:pt x="189" y="148"/>
                    <a:pt x="218" y="156"/>
                    <a:pt x="218" y="156"/>
                  </a:cubicBezTo>
                  <a:cubicBezTo>
                    <a:pt x="218" y="156"/>
                    <a:pt x="237" y="142"/>
                    <a:pt x="243" y="132"/>
                  </a:cubicBezTo>
                  <a:cubicBezTo>
                    <a:pt x="249" y="122"/>
                    <a:pt x="230" y="120"/>
                    <a:pt x="212" y="112"/>
                  </a:cubicBezTo>
                  <a:cubicBezTo>
                    <a:pt x="194" y="104"/>
                    <a:pt x="214" y="98"/>
                    <a:pt x="214" y="98"/>
                  </a:cubicBezTo>
                  <a:cubicBezTo>
                    <a:pt x="214" y="98"/>
                    <a:pt x="192" y="80"/>
                    <a:pt x="184" y="79"/>
                  </a:cubicBezTo>
                  <a:cubicBezTo>
                    <a:pt x="176" y="78"/>
                    <a:pt x="179" y="90"/>
                    <a:pt x="172" y="98"/>
                  </a:cubicBezTo>
                  <a:cubicBezTo>
                    <a:pt x="165" y="106"/>
                    <a:pt x="160" y="90"/>
                    <a:pt x="160" y="90"/>
                  </a:cubicBezTo>
                  <a:cubicBezTo>
                    <a:pt x="151" y="90"/>
                    <a:pt x="151" y="90"/>
                    <a:pt x="151" y="90"/>
                  </a:cubicBezTo>
                  <a:cubicBezTo>
                    <a:pt x="151" y="90"/>
                    <a:pt x="138" y="76"/>
                    <a:pt x="128" y="63"/>
                  </a:cubicBezTo>
                  <a:cubicBezTo>
                    <a:pt x="118" y="50"/>
                    <a:pt x="131" y="41"/>
                    <a:pt x="127" y="37"/>
                  </a:cubicBezTo>
                  <a:cubicBezTo>
                    <a:pt x="123" y="33"/>
                    <a:pt x="118" y="40"/>
                    <a:pt x="118" y="40"/>
                  </a:cubicBezTo>
                  <a:cubicBezTo>
                    <a:pt x="118" y="40"/>
                    <a:pt x="102" y="22"/>
                    <a:pt x="96" y="15"/>
                  </a:cubicBezTo>
                  <a:cubicBezTo>
                    <a:pt x="93" y="12"/>
                    <a:pt x="92" y="7"/>
                    <a:pt x="91" y="2"/>
                  </a:cubicBezTo>
                  <a:cubicBezTo>
                    <a:pt x="67" y="0"/>
                    <a:pt x="67" y="0"/>
                    <a:pt x="67" y="0"/>
                  </a:cubicBezTo>
                  <a:cubicBezTo>
                    <a:pt x="67" y="0"/>
                    <a:pt x="59" y="9"/>
                    <a:pt x="60" y="22"/>
                  </a:cubicBezTo>
                  <a:cubicBezTo>
                    <a:pt x="61" y="35"/>
                    <a:pt x="79" y="47"/>
                    <a:pt x="79" y="47"/>
                  </a:cubicBezTo>
                  <a:cubicBezTo>
                    <a:pt x="79" y="72"/>
                    <a:pt x="79" y="72"/>
                    <a:pt x="79" y="72"/>
                  </a:cubicBezTo>
                  <a:cubicBezTo>
                    <a:pt x="50" y="70"/>
                    <a:pt x="50" y="70"/>
                    <a:pt x="50" y="70"/>
                  </a:cubicBezTo>
                  <a:cubicBezTo>
                    <a:pt x="48" y="57"/>
                    <a:pt x="48" y="57"/>
                    <a:pt x="48" y="57"/>
                  </a:cubicBezTo>
                  <a:cubicBezTo>
                    <a:pt x="26" y="67"/>
                    <a:pt x="26" y="67"/>
                    <a:pt x="26" y="67"/>
                  </a:cubicBezTo>
                  <a:cubicBezTo>
                    <a:pt x="26" y="74"/>
                    <a:pt x="26" y="74"/>
                    <a:pt x="26" y="74"/>
                  </a:cubicBezTo>
                  <a:cubicBezTo>
                    <a:pt x="21" y="82"/>
                    <a:pt x="21" y="82"/>
                    <a:pt x="21" y="82"/>
                  </a:cubicBezTo>
                  <a:cubicBezTo>
                    <a:pt x="26" y="89"/>
                    <a:pt x="26" y="89"/>
                    <a:pt x="26" y="89"/>
                  </a:cubicBezTo>
                  <a:cubicBezTo>
                    <a:pt x="26" y="89"/>
                    <a:pt x="18" y="92"/>
                    <a:pt x="9" y="95"/>
                  </a:cubicBezTo>
                  <a:cubicBezTo>
                    <a:pt x="0" y="98"/>
                    <a:pt x="2" y="110"/>
                    <a:pt x="2" y="110"/>
                  </a:cubicBezTo>
                  <a:cubicBezTo>
                    <a:pt x="6" y="111"/>
                    <a:pt x="17" y="121"/>
                    <a:pt x="17" y="121"/>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92" name="Kyrgyzstan">
              <a:extLst>
                <a:ext uri="{FF2B5EF4-FFF2-40B4-BE49-F238E27FC236}">
                  <a16:creationId xmlns:a16="http://schemas.microsoft.com/office/drawing/2014/main" id="{9E1E560C-0044-473F-9982-64832952B539}"/>
                </a:ext>
              </a:extLst>
            </p:cNvPr>
            <p:cNvSpPr>
              <a:spLocks/>
            </p:cNvSpPr>
            <p:nvPr/>
          </p:nvSpPr>
          <p:spPr bwMode="gray">
            <a:xfrm>
              <a:off x="7332583" y="2785579"/>
              <a:ext cx="250869" cy="117421"/>
            </a:xfrm>
            <a:custGeom>
              <a:avLst/>
              <a:gdLst>
                <a:gd name="T0" fmla="*/ 46 w 449"/>
                <a:gd name="T1" fmla="*/ 96 h 211"/>
                <a:gd name="T2" fmla="*/ 76 w 449"/>
                <a:gd name="T3" fmla="*/ 107 h 211"/>
                <a:gd name="T4" fmla="*/ 84 w 449"/>
                <a:gd name="T5" fmla="*/ 98 h 211"/>
                <a:gd name="T6" fmla="*/ 95 w 449"/>
                <a:gd name="T7" fmla="*/ 106 h 211"/>
                <a:gd name="T8" fmla="*/ 114 w 449"/>
                <a:gd name="T9" fmla="*/ 117 h 211"/>
                <a:gd name="T10" fmla="*/ 132 w 449"/>
                <a:gd name="T11" fmla="*/ 124 h 211"/>
                <a:gd name="T12" fmla="*/ 129 w 449"/>
                <a:gd name="T13" fmla="*/ 141 h 211"/>
                <a:gd name="T14" fmla="*/ 115 w 449"/>
                <a:gd name="T15" fmla="*/ 149 h 211"/>
                <a:gd name="T16" fmla="*/ 84 w 449"/>
                <a:gd name="T17" fmla="*/ 152 h 211"/>
                <a:gd name="T18" fmla="*/ 65 w 449"/>
                <a:gd name="T19" fmla="*/ 160 h 211"/>
                <a:gd name="T20" fmla="*/ 25 w 449"/>
                <a:gd name="T21" fmla="*/ 158 h 211"/>
                <a:gd name="T22" fmla="*/ 0 w 449"/>
                <a:gd name="T23" fmla="*/ 177 h 211"/>
                <a:gd name="T24" fmla="*/ 32 w 449"/>
                <a:gd name="T25" fmla="*/ 190 h 211"/>
                <a:gd name="T26" fmla="*/ 66 w 449"/>
                <a:gd name="T27" fmla="*/ 192 h 211"/>
                <a:gd name="T28" fmla="*/ 100 w 449"/>
                <a:gd name="T29" fmla="*/ 191 h 211"/>
                <a:gd name="T30" fmla="*/ 134 w 449"/>
                <a:gd name="T31" fmla="*/ 205 h 211"/>
                <a:gd name="T32" fmla="*/ 154 w 449"/>
                <a:gd name="T33" fmla="*/ 202 h 211"/>
                <a:gd name="T34" fmla="*/ 190 w 449"/>
                <a:gd name="T35" fmla="*/ 194 h 211"/>
                <a:gd name="T36" fmla="*/ 211 w 449"/>
                <a:gd name="T37" fmla="*/ 195 h 211"/>
                <a:gd name="T38" fmla="*/ 231 w 449"/>
                <a:gd name="T39" fmla="*/ 157 h 211"/>
                <a:gd name="T40" fmla="*/ 250 w 449"/>
                <a:gd name="T41" fmla="*/ 145 h 211"/>
                <a:gd name="T42" fmla="*/ 278 w 449"/>
                <a:gd name="T43" fmla="*/ 155 h 211"/>
                <a:gd name="T44" fmla="*/ 304 w 449"/>
                <a:gd name="T45" fmla="*/ 153 h 211"/>
                <a:gd name="T46" fmla="*/ 327 w 449"/>
                <a:gd name="T47" fmla="*/ 112 h 211"/>
                <a:gd name="T48" fmla="*/ 378 w 449"/>
                <a:gd name="T49" fmla="*/ 98 h 211"/>
                <a:gd name="T50" fmla="*/ 429 w 449"/>
                <a:gd name="T51" fmla="*/ 65 h 211"/>
                <a:gd name="T52" fmla="*/ 443 w 449"/>
                <a:gd name="T53" fmla="*/ 46 h 211"/>
                <a:gd name="T54" fmla="*/ 401 w 449"/>
                <a:gd name="T55" fmla="*/ 41 h 211"/>
                <a:gd name="T56" fmla="*/ 372 w 449"/>
                <a:gd name="T57" fmla="*/ 23 h 211"/>
                <a:gd name="T58" fmla="*/ 332 w 449"/>
                <a:gd name="T59" fmla="*/ 16 h 211"/>
                <a:gd name="T60" fmla="*/ 238 w 449"/>
                <a:gd name="T61" fmla="*/ 14 h 211"/>
                <a:gd name="T62" fmla="*/ 194 w 449"/>
                <a:gd name="T63" fmla="*/ 12 h 211"/>
                <a:gd name="T64" fmla="*/ 144 w 449"/>
                <a:gd name="T65" fmla="*/ 5 h 211"/>
                <a:gd name="T66" fmla="*/ 138 w 449"/>
                <a:gd name="T67" fmla="*/ 37 h 211"/>
                <a:gd name="T68" fmla="*/ 61 w 449"/>
                <a:gd name="T69" fmla="*/ 18 h 211"/>
                <a:gd name="T70" fmla="*/ 57 w 449"/>
                <a:gd name="T71" fmla="*/ 5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9" h="211">
                  <a:moveTo>
                    <a:pt x="23" y="88"/>
                  </a:moveTo>
                  <a:cubicBezTo>
                    <a:pt x="46" y="96"/>
                    <a:pt x="46" y="96"/>
                    <a:pt x="46" y="96"/>
                  </a:cubicBezTo>
                  <a:cubicBezTo>
                    <a:pt x="46" y="96"/>
                    <a:pt x="47" y="101"/>
                    <a:pt x="52" y="105"/>
                  </a:cubicBezTo>
                  <a:cubicBezTo>
                    <a:pt x="57" y="109"/>
                    <a:pt x="76" y="107"/>
                    <a:pt x="76" y="107"/>
                  </a:cubicBezTo>
                  <a:cubicBezTo>
                    <a:pt x="75" y="98"/>
                    <a:pt x="75" y="98"/>
                    <a:pt x="75" y="98"/>
                  </a:cubicBezTo>
                  <a:cubicBezTo>
                    <a:pt x="84" y="98"/>
                    <a:pt x="84" y="98"/>
                    <a:pt x="84" y="98"/>
                  </a:cubicBezTo>
                  <a:cubicBezTo>
                    <a:pt x="84" y="88"/>
                    <a:pt x="84" y="88"/>
                    <a:pt x="84" y="88"/>
                  </a:cubicBezTo>
                  <a:cubicBezTo>
                    <a:pt x="95" y="106"/>
                    <a:pt x="95" y="106"/>
                    <a:pt x="95" y="106"/>
                  </a:cubicBezTo>
                  <a:cubicBezTo>
                    <a:pt x="108" y="106"/>
                    <a:pt x="108" y="106"/>
                    <a:pt x="108" y="106"/>
                  </a:cubicBezTo>
                  <a:cubicBezTo>
                    <a:pt x="114" y="117"/>
                    <a:pt x="114" y="117"/>
                    <a:pt x="114" y="117"/>
                  </a:cubicBezTo>
                  <a:cubicBezTo>
                    <a:pt x="127" y="119"/>
                    <a:pt x="127" y="119"/>
                    <a:pt x="127" y="119"/>
                  </a:cubicBezTo>
                  <a:cubicBezTo>
                    <a:pt x="132" y="124"/>
                    <a:pt x="132" y="124"/>
                    <a:pt x="132" y="124"/>
                  </a:cubicBezTo>
                  <a:cubicBezTo>
                    <a:pt x="132" y="124"/>
                    <a:pt x="161" y="118"/>
                    <a:pt x="151" y="130"/>
                  </a:cubicBezTo>
                  <a:cubicBezTo>
                    <a:pt x="141" y="142"/>
                    <a:pt x="129" y="141"/>
                    <a:pt x="129" y="141"/>
                  </a:cubicBezTo>
                  <a:cubicBezTo>
                    <a:pt x="129" y="147"/>
                    <a:pt x="129" y="147"/>
                    <a:pt x="129" y="147"/>
                  </a:cubicBezTo>
                  <a:cubicBezTo>
                    <a:pt x="115" y="149"/>
                    <a:pt x="115" y="149"/>
                    <a:pt x="115" y="149"/>
                  </a:cubicBezTo>
                  <a:cubicBezTo>
                    <a:pt x="115" y="149"/>
                    <a:pt x="113" y="158"/>
                    <a:pt x="104" y="162"/>
                  </a:cubicBezTo>
                  <a:cubicBezTo>
                    <a:pt x="95" y="166"/>
                    <a:pt x="91" y="150"/>
                    <a:pt x="84" y="152"/>
                  </a:cubicBezTo>
                  <a:cubicBezTo>
                    <a:pt x="80" y="153"/>
                    <a:pt x="71" y="156"/>
                    <a:pt x="64" y="159"/>
                  </a:cubicBezTo>
                  <a:cubicBezTo>
                    <a:pt x="65" y="159"/>
                    <a:pt x="65" y="159"/>
                    <a:pt x="65" y="160"/>
                  </a:cubicBezTo>
                  <a:cubicBezTo>
                    <a:pt x="64" y="164"/>
                    <a:pt x="62" y="175"/>
                    <a:pt x="55" y="171"/>
                  </a:cubicBezTo>
                  <a:cubicBezTo>
                    <a:pt x="48" y="167"/>
                    <a:pt x="38" y="157"/>
                    <a:pt x="25" y="158"/>
                  </a:cubicBezTo>
                  <a:cubicBezTo>
                    <a:pt x="12" y="159"/>
                    <a:pt x="9" y="174"/>
                    <a:pt x="9" y="174"/>
                  </a:cubicBezTo>
                  <a:cubicBezTo>
                    <a:pt x="0" y="177"/>
                    <a:pt x="0" y="177"/>
                    <a:pt x="0" y="177"/>
                  </a:cubicBezTo>
                  <a:cubicBezTo>
                    <a:pt x="0" y="177"/>
                    <a:pt x="3" y="197"/>
                    <a:pt x="10" y="196"/>
                  </a:cubicBezTo>
                  <a:cubicBezTo>
                    <a:pt x="17" y="195"/>
                    <a:pt x="32" y="190"/>
                    <a:pt x="32" y="190"/>
                  </a:cubicBezTo>
                  <a:cubicBezTo>
                    <a:pt x="32" y="190"/>
                    <a:pt x="49" y="195"/>
                    <a:pt x="54" y="193"/>
                  </a:cubicBezTo>
                  <a:cubicBezTo>
                    <a:pt x="59" y="191"/>
                    <a:pt x="66" y="192"/>
                    <a:pt x="66" y="192"/>
                  </a:cubicBezTo>
                  <a:cubicBezTo>
                    <a:pt x="66" y="192"/>
                    <a:pt x="72" y="202"/>
                    <a:pt x="78" y="201"/>
                  </a:cubicBezTo>
                  <a:cubicBezTo>
                    <a:pt x="84" y="200"/>
                    <a:pt x="95" y="192"/>
                    <a:pt x="100" y="191"/>
                  </a:cubicBezTo>
                  <a:cubicBezTo>
                    <a:pt x="105" y="190"/>
                    <a:pt x="116" y="208"/>
                    <a:pt x="119" y="208"/>
                  </a:cubicBezTo>
                  <a:cubicBezTo>
                    <a:pt x="122" y="208"/>
                    <a:pt x="134" y="205"/>
                    <a:pt x="134" y="205"/>
                  </a:cubicBezTo>
                  <a:cubicBezTo>
                    <a:pt x="134" y="205"/>
                    <a:pt x="130" y="211"/>
                    <a:pt x="140" y="208"/>
                  </a:cubicBezTo>
                  <a:cubicBezTo>
                    <a:pt x="150" y="205"/>
                    <a:pt x="154" y="202"/>
                    <a:pt x="154" y="202"/>
                  </a:cubicBezTo>
                  <a:cubicBezTo>
                    <a:pt x="182" y="203"/>
                    <a:pt x="182" y="203"/>
                    <a:pt x="182" y="203"/>
                  </a:cubicBezTo>
                  <a:cubicBezTo>
                    <a:pt x="190" y="194"/>
                    <a:pt x="190" y="194"/>
                    <a:pt x="190" y="194"/>
                  </a:cubicBezTo>
                  <a:cubicBezTo>
                    <a:pt x="199" y="197"/>
                    <a:pt x="199" y="197"/>
                    <a:pt x="199" y="197"/>
                  </a:cubicBezTo>
                  <a:cubicBezTo>
                    <a:pt x="199" y="197"/>
                    <a:pt x="211" y="199"/>
                    <a:pt x="211" y="195"/>
                  </a:cubicBezTo>
                  <a:cubicBezTo>
                    <a:pt x="211" y="191"/>
                    <a:pt x="200" y="178"/>
                    <a:pt x="199" y="175"/>
                  </a:cubicBezTo>
                  <a:cubicBezTo>
                    <a:pt x="198" y="172"/>
                    <a:pt x="231" y="157"/>
                    <a:pt x="231" y="157"/>
                  </a:cubicBezTo>
                  <a:cubicBezTo>
                    <a:pt x="231" y="147"/>
                    <a:pt x="231" y="147"/>
                    <a:pt x="231" y="147"/>
                  </a:cubicBezTo>
                  <a:cubicBezTo>
                    <a:pt x="250" y="145"/>
                    <a:pt x="250" y="145"/>
                    <a:pt x="250" y="145"/>
                  </a:cubicBezTo>
                  <a:cubicBezTo>
                    <a:pt x="250" y="145"/>
                    <a:pt x="255" y="136"/>
                    <a:pt x="261" y="136"/>
                  </a:cubicBezTo>
                  <a:cubicBezTo>
                    <a:pt x="267" y="136"/>
                    <a:pt x="278" y="155"/>
                    <a:pt x="278" y="155"/>
                  </a:cubicBezTo>
                  <a:cubicBezTo>
                    <a:pt x="285" y="148"/>
                    <a:pt x="285" y="148"/>
                    <a:pt x="285" y="148"/>
                  </a:cubicBezTo>
                  <a:cubicBezTo>
                    <a:pt x="304" y="153"/>
                    <a:pt x="304" y="153"/>
                    <a:pt x="304" y="153"/>
                  </a:cubicBezTo>
                  <a:cubicBezTo>
                    <a:pt x="304" y="153"/>
                    <a:pt x="309" y="144"/>
                    <a:pt x="310" y="135"/>
                  </a:cubicBezTo>
                  <a:cubicBezTo>
                    <a:pt x="311" y="126"/>
                    <a:pt x="319" y="113"/>
                    <a:pt x="327" y="112"/>
                  </a:cubicBezTo>
                  <a:cubicBezTo>
                    <a:pt x="335" y="111"/>
                    <a:pt x="354" y="119"/>
                    <a:pt x="366" y="119"/>
                  </a:cubicBezTo>
                  <a:cubicBezTo>
                    <a:pt x="378" y="119"/>
                    <a:pt x="378" y="101"/>
                    <a:pt x="378" y="98"/>
                  </a:cubicBezTo>
                  <a:cubicBezTo>
                    <a:pt x="378" y="95"/>
                    <a:pt x="397" y="78"/>
                    <a:pt x="397" y="78"/>
                  </a:cubicBezTo>
                  <a:cubicBezTo>
                    <a:pt x="429" y="65"/>
                    <a:pt x="429" y="65"/>
                    <a:pt x="429" y="65"/>
                  </a:cubicBezTo>
                  <a:cubicBezTo>
                    <a:pt x="429" y="65"/>
                    <a:pt x="443" y="65"/>
                    <a:pt x="446" y="64"/>
                  </a:cubicBezTo>
                  <a:cubicBezTo>
                    <a:pt x="449" y="63"/>
                    <a:pt x="447" y="51"/>
                    <a:pt x="443" y="46"/>
                  </a:cubicBezTo>
                  <a:cubicBezTo>
                    <a:pt x="429" y="41"/>
                    <a:pt x="429" y="41"/>
                    <a:pt x="429" y="41"/>
                  </a:cubicBezTo>
                  <a:cubicBezTo>
                    <a:pt x="401" y="41"/>
                    <a:pt x="401" y="41"/>
                    <a:pt x="401" y="41"/>
                  </a:cubicBezTo>
                  <a:cubicBezTo>
                    <a:pt x="384" y="23"/>
                    <a:pt x="384" y="23"/>
                    <a:pt x="384" y="23"/>
                  </a:cubicBezTo>
                  <a:cubicBezTo>
                    <a:pt x="372" y="23"/>
                    <a:pt x="372" y="23"/>
                    <a:pt x="372" y="23"/>
                  </a:cubicBezTo>
                  <a:cubicBezTo>
                    <a:pt x="364" y="15"/>
                    <a:pt x="364" y="15"/>
                    <a:pt x="364" y="15"/>
                  </a:cubicBezTo>
                  <a:cubicBezTo>
                    <a:pt x="332" y="16"/>
                    <a:pt x="332" y="16"/>
                    <a:pt x="332" y="16"/>
                  </a:cubicBezTo>
                  <a:cubicBezTo>
                    <a:pt x="332" y="16"/>
                    <a:pt x="302" y="12"/>
                    <a:pt x="294" y="13"/>
                  </a:cubicBezTo>
                  <a:cubicBezTo>
                    <a:pt x="286" y="14"/>
                    <a:pt x="238" y="14"/>
                    <a:pt x="238" y="14"/>
                  </a:cubicBezTo>
                  <a:cubicBezTo>
                    <a:pt x="226" y="18"/>
                    <a:pt x="226" y="18"/>
                    <a:pt x="226" y="18"/>
                  </a:cubicBezTo>
                  <a:cubicBezTo>
                    <a:pt x="226" y="18"/>
                    <a:pt x="198" y="12"/>
                    <a:pt x="194" y="12"/>
                  </a:cubicBezTo>
                  <a:cubicBezTo>
                    <a:pt x="190" y="12"/>
                    <a:pt x="180" y="0"/>
                    <a:pt x="170" y="0"/>
                  </a:cubicBezTo>
                  <a:cubicBezTo>
                    <a:pt x="160" y="0"/>
                    <a:pt x="147" y="2"/>
                    <a:pt x="144" y="5"/>
                  </a:cubicBezTo>
                  <a:cubicBezTo>
                    <a:pt x="141" y="8"/>
                    <a:pt x="149" y="43"/>
                    <a:pt x="149" y="43"/>
                  </a:cubicBezTo>
                  <a:cubicBezTo>
                    <a:pt x="138" y="37"/>
                    <a:pt x="138" y="37"/>
                    <a:pt x="138" y="37"/>
                  </a:cubicBezTo>
                  <a:cubicBezTo>
                    <a:pt x="115" y="37"/>
                    <a:pt x="115" y="37"/>
                    <a:pt x="115" y="37"/>
                  </a:cubicBezTo>
                  <a:cubicBezTo>
                    <a:pt x="115" y="37"/>
                    <a:pt x="84" y="17"/>
                    <a:pt x="61" y="18"/>
                  </a:cubicBezTo>
                  <a:cubicBezTo>
                    <a:pt x="38" y="19"/>
                    <a:pt x="37" y="48"/>
                    <a:pt x="37" y="48"/>
                  </a:cubicBezTo>
                  <a:cubicBezTo>
                    <a:pt x="37" y="48"/>
                    <a:pt x="55" y="49"/>
                    <a:pt x="57" y="54"/>
                  </a:cubicBezTo>
                  <a:cubicBezTo>
                    <a:pt x="59" y="59"/>
                    <a:pt x="23" y="88"/>
                    <a:pt x="23" y="88"/>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89" name="Kuwait">
              <a:extLst>
                <a:ext uri="{FF2B5EF4-FFF2-40B4-BE49-F238E27FC236}">
                  <a16:creationId xmlns:a16="http://schemas.microsoft.com/office/drawing/2014/main" id="{33EA914E-358C-4FDE-8344-8BE12387D0F6}"/>
                </a:ext>
              </a:extLst>
            </p:cNvPr>
            <p:cNvSpPr>
              <a:spLocks/>
            </p:cNvSpPr>
            <p:nvPr/>
          </p:nvSpPr>
          <p:spPr bwMode="gray">
            <a:xfrm>
              <a:off x="6816557" y="3179097"/>
              <a:ext cx="49221" cy="46017"/>
            </a:xfrm>
            <a:custGeom>
              <a:avLst/>
              <a:gdLst>
                <a:gd name="T0" fmla="*/ 35 w 89"/>
                <a:gd name="T1" fmla="*/ 0 h 81"/>
                <a:gd name="T2" fmla="*/ 20 w 89"/>
                <a:gd name="T3" fmla="*/ 2 h 81"/>
                <a:gd name="T4" fmla="*/ 11 w 89"/>
                <a:gd name="T5" fmla="*/ 29 h 81"/>
                <a:gd name="T6" fmla="*/ 0 w 89"/>
                <a:gd name="T7" fmla="*/ 49 h 81"/>
                <a:gd name="T8" fmla="*/ 40 w 89"/>
                <a:gd name="T9" fmla="*/ 55 h 81"/>
                <a:gd name="T10" fmla="*/ 50 w 89"/>
                <a:gd name="T11" fmla="*/ 81 h 81"/>
                <a:gd name="T12" fmla="*/ 89 w 89"/>
                <a:gd name="T13" fmla="*/ 80 h 81"/>
                <a:gd name="T14" fmla="*/ 64 w 89"/>
                <a:gd name="T15" fmla="*/ 47 h 81"/>
                <a:gd name="T16" fmla="*/ 64 w 89"/>
                <a:gd name="T17" fmla="*/ 46 h 81"/>
                <a:gd name="T18" fmla="*/ 56 w 89"/>
                <a:gd name="T19" fmla="*/ 41 h 81"/>
                <a:gd name="T20" fmla="*/ 55 w 89"/>
                <a:gd name="T21" fmla="*/ 27 h 81"/>
                <a:gd name="T22" fmla="*/ 73 w 89"/>
                <a:gd name="T23" fmla="*/ 25 h 81"/>
                <a:gd name="T24" fmla="*/ 77 w 89"/>
                <a:gd name="T25" fmla="*/ 16 h 81"/>
                <a:gd name="T26" fmla="*/ 68 w 89"/>
                <a:gd name="T27" fmla="*/ 8 h 81"/>
                <a:gd name="T28" fmla="*/ 59 w 89"/>
                <a:gd name="T29" fmla="*/ 13 h 81"/>
                <a:gd name="T30" fmla="*/ 55 w 89"/>
                <a:gd name="T31" fmla="*/ 0 h 81"/>
                <a:gd name="T32" fmla="*/ 35 w 89"/>
                <a:gd name="T3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81">
                  <a:moveTo>
                    <a:pt x="35" y="0"/>
                  </a:moveTo>
                  <a:cubicBezTo>
                    <a:pt x="20" y="2"/>
                    <a:pt x="20" y="2"/>
                    <a:pt x="20" y="2"/>
                  </a:cubicBezTo>
                  <a:cubicBezTo>
                    <a:pt x="20" y="2"/>
                    <a:pt x="13" y="17"/>
                    <a:pt x="11" y="29"/>
                  </a:cubicBezTo>
                  <a:cubicBezTo>
                    <a:pt x="10" y="38"/>
                    <a:pt x="3" y="45"/>
                    <a:pt x="0" y="49"/>
                  </a:cubicBezTo>
                  <a:cubicBezTo>
                    <a:pt x="21" y="50"/>
                    <a:pt x="38" y="52"/>
                    <a:pt x="40" y="55"/>
                  </a:cubicBezTo>
                  <a:cubicBezTo>
                    <a:pt x="46" y="62"/>
                    <a:pt x="36" y="80"/>
                    <a:pt x="50" y="81"/>
                  </a:cubicBezTo>
                  <a:cubicBezTo>
                    <a:pt x="58" y="81"/>
                    <a:pt x="76" y="81"/>
                    <a:pt x="89" y="80"/>
                  </a:cubicBezTo>
                  <a:cubicBezTo>
                    <a:pt x="79" y="72"/>
                    <a:pt x="63" y="58"/>
                    <a:pt x="64" y="47"/>
                  </a:cubicBezTo>
                  <a:cubicBezTo>
                    <a:pt x="64" y="47"/>
                    <a:pt x="64" y="47"/>
                    <a:pt x="64" y="46"/>
                  </a:cubicBezTo>
                  <a:cubicBezTo>
                    <a:pt x="56" y="41"/>
                    <a:pt x="56" y="41"/>
                    <a:pt x="56" y="41"/>
                  </a:cubicBezTo>
                  <a:cubicBezTo>
                    <a:pt x="55" y="27"/>
                    <a:pt x="55" y="27"/>
                    <a:pt x="55" y="27"/>
                  </a:cubicBezTo>
                  <a:cubicBezTo>
                    <a:pt x="55" y="27"/>
                    <a:pt x="69" y="25"/>
                    <a:pt x="73" y="25"/>
                  </a:cubicBezTo>
                  <a:cubicBezTo>
                    <a:pt x="77" y="25"/>
                    <a:pt x="77" y="16"/>
                    <a:pt x="77" y="16"/>
                  </a:cubicBezTo>
                  <a:cubicBezTo>
                    <a:pt x="77" y="16"/>
                    <a:pt x="77" y="8"/>
                    <a:pt x="68" y="8"/>
                  </a:cubicBezTo>
                  <a:cubicBezTo>
                    <a:pt x="59" y="8"/>
                    <a:pt x="59" y="13"/>
                    <a:pt x="59" y="13"/>
                  </a:cubicBezTo>
                  <a:cubicBezTo>
                    <a:pt x="55" y="0"/>
                    <a:pt x="55" y="0"/>
                    <a:pt x="55" y="0"/>
                  </a:cubicBezTo>
                  <a:lnTo>
                    <a:pt x="35" y="0"/>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16" name="Kazakhstan">
              <a:extLst>
                <a:ext uri="{FF2B5EF4-FFF2-40B4-BE49-F238E27FC236}">
                  <a16:creationId xmlns:a16="http://schemas.microsoft.com/office/drawing/2014/main" id="{844E2EF6-7D8E-4841-A7D0-53AD5B649FF7}"/>
                </a:ext>
              </a:extLst>
            </p:cNvPr>
            <p:cNvSpPr>
              <a:spLocks noEditPoints="1"/>
            </p:cNvSpPr>
            <p:nvPr/>
          </p:nvSpPr>
          <p:spPr bwMode="gray">
            <a:xfrm>
              <a:off x="6732404" y="2430141"/>
              <a:ext cx="936788" cy="434773"/>
            </a:xfrm>
            <a:custGeom>
              <a:avLst/>
              <a:gdLst>
                <a:gd name="T0" fmla="*/ 545 w 1673"/>
                <a:gd name="T1" fmla="*/ 518 h 778"/>
                <a:gd name="T2" fmla="*/ 1655 w 1673"/>
                <a:gd name="T3" fmla="*/ 327 h 778"/>
                <a:gd name="T4" fmla="*/ 1625 w 1673"/>
                <a:gd name="T5" fmla="*/ 304 h 778"/>
                <a:gd name="T6" fmla="*/ 1481 w 1673"/>
                <a:gd name="T7" fmla="*/ 226 h 778"/>
                <a:gd name="T8" fmla="*/ 1372 w 1673"/>
                <a:gd name="T9" fmla="*/ 207 h 778"/>
                <a:gd name="T10" fmla="*/ 1126 w 1673"/>
                <a:gd name="T11" fmla="*/ 70 h 778"/>
                <a:gd name="T12" fmla="*/ 1085 w 1673"/>
                <a:gd name="T13" fmla="*/ 76 h 778"/>
                <a:gd name="T14" fmla="*/ 1016 w 1673"/>
                <a:gd name="T15" fmla="*/ 98 h 778"/>
                <a:gd name="T16" fmla="*/ 972 w 1673"/>
                <a:gd name="T17" fmla="*/ 71 h 778"/>
                <a:gd name="T18" fmla="*/ 909 w 1673"/>
                <a:gd name="T19" fmla="*/ 36 h 778"/>
                <a:gd name="T20" fmla="*/ 812 w 1673"/>
                <a:gd name="T21" fmla="*/ 2 h 778"/>
                <a:gd name="T22" fmla="*/ 674 w 1673"/>
                <a:gd name="T23" fmla="*/ 52 h 778"/>
                <a:gd name="T24" fmla="*/ 521 w 1673"/>
                <a:gd name="T25" fmla="*/ 95 h 778"/>
                <a:gd name="T26" fmla="*/ 534 w 1673"/>
                <a:gd name="T27" fmla="*/ 123 h 778"/>
                <a:gd name="T28" fmla="*/ 528 w 1673"/>
                <a:gd name="T29" fmla="*/ 190 h 778"/>
                <a:gd name="T30" fmla="*/ 486 w 1673"/>
                <a:gd name="T31" fmla="*/ 244 h 778"/>
                <a:gd name="T32" fmla="*/ 356 w 1673"/>
                <a:gd name="T33" fmla="*/ 247 h 778"/>
                <a:gd name="T34" fmla="*/ 282 w 1673"/>
                <a:gd name="T35" fmla="*/ 216 h 778"/>
                <a:gd name="T36" fmla="*/ 197 w 1673"/>
                <a:gd name="T37" fmla="*/ 187 h 778"/>
                <a:gd name="T38" fmla="*/ 86 w 1673"/>
                <a:gd name="T39" fmla="*/ 224 h 778"/>
                <a:gd name="T40" fmla="*/ 17 w 1673"/>
                <a:gd name="T41" fmla="*/ 251 h 778"/>
                <a:gd name="T42" fmla="*/ 8 w 1673"/>
                <a:gd name="T43" fmla="*/ 322 h 778"/>
                <a:gd name="T44" fmla="*/ 73 w 1673"/>
                <a:gd name="T45" fmla="*/ 394 h 778"/>
                <a:gd name="T46" fmla="*/ 136 w 1673"/>
                <a:gd name="T47" fmla="*/ 460 h 778"/>
                <a:gd name="T48" fmla="*/ 289 w 1673"/>
                <a:gd name="T49" fmla="*/ 455 h 778"/>
                <a:gd name="T50" fmla="*/ 352 w 1673"/>
                <a:gd name="T51" fmla="*/ 524 h 778"/>
                <a:gd name="T52" fmla="*/ 338 w 1673"/>
                <a:gd name="T53" fmla="*/ 531 h 778"/>
                <a:gd name="T54" fmla="*/ 218 w 1673"/>
                <a:gd name="T55" fmla="*/ 544 h 778"/>
                <a:gd name="T56" fmla="*/ 228 w 1673"/>
                <a:gd name="T57" fmla="*/ 598 h 778"/>
                <a:gd name="T58" fmla="*/ 274 w 1673"/>
                <a:gd name="T59" fmla="*/ 654 h 778"/>
                <a:gd name="T60" fmla="*/ 328 w 1673"/>
                <a:gd name="T61" fmla="*/ 709 h 778"/>
                <a:gd name="T62" fmla="*/ 408 w 1673"/>
                <a:gd name="T63" fmla="*/ 690 h 778"/>
                <a:gd name="T64" fmla="*/ 468 w 1673"/>
                <a:gd name="T65" fmla="*/ 729 h 778"/>
                <a:gd name="T66" fmla="*/ 536 w 1673"/>
                <a:gd name="T67" fmla="*/ 513 h 778"/>
                <a:gd name="T68" fmla="*/ 582 w 1673"/>
                <a:gd name="T69" fmla="*/ 492 h 778"/>
                <a:gd name="T70" fmla="*/ 604 w 1673"/>
                <a:gd name="T71" fmla="*/ 479 h 778"/>
                <a:gd name="T72" fmla="*/ 584 w 1673"/>
                <a:gd name="T73" fmla="*/ 460 h 778"/>
                <a:gd name="T74" fmla="*/ 636 w 1673"/>
                <a:gd name="T75" fmla="*/ 455 h 778"/>
                <a:gd name="T76" fmla="*/ 590 w 1673"/>
                <a:gd name="T77" fmla="*/ 493 h 778"/>
                <a:gd name="T78" fmla="*/ 610 w 1673"/>
                <a:gd name="T79" fmla="*/ 549 h 778"/>
                <a:gd name="T80" fmla="*/ 812 w 1673"/>
                <a:gd name="T81" fmla="*/ 616 h 778"/>
                <a:gd name="T82" fmla="*/ 902 w 1673"/>
                <a:gd name="T83" fmla="*/ 699 h 778"/>
                <a:gd name="T84" fmla="*/ 1006 w 1673"/>
                <a:gd name="T85" fmla="*/ 770 h 778"/>
                <a:gd name="T86" fmla="*/ 1056 w 1673"/>
                <a:gd name="T87" fmla="*/ 719 h 778"/>
                <a:gd name="T88" fmla="*/ 1123 w 1673"/>
                <a:gd name="T89" fmla="*/ 686 h 778"/>
                <a:gd name="T90" fmla="*/ 1208 w 1673"/>
                <a:gd name="T91" fmla="*/ 672 h 778"/>
                <a:gd name="T92" fmla="*/ 1264 w 1673"/>
                <a:gd name="T93" fmla="*/ 647 h 778"/>
                <a:gd name="T94" fmla="*/ 1402 w 1673"/>
                <a:gd name="T95" fmla="*/ 651 h 778"/>
                <a:gd name="T96" fmla="*/ 1471 w 1673"/>
                <a:gd name="T97" fmla="*/ 676 h 778"/>
                <a:gd name="T98" fmla="*/ 1503 w 1673"/>
                <a:gd name="T99" fmla="*/ 659 h 778"/>
                <a:gd name="T100" fmla="*/ 1484 w 1673"/>
                <a:gd name="T101" fmla="*/ 587 h 778"/>
                <a:gd name="T102" fmla="*/ 1516 w 1673"/>
                <a:gd name="T103" fmla="*/ 518 h 778"/>
                <a:gd name="T104" fmla="*/ 1541 w 1673"/>
                <a:gd name="T105" fmla="*/ 513 h 778"/>
                <a:gd name="T106" fmla="*/ 1614 w 1673"/>
                <a:gd name="T107" fmla="*/ 434 h 778"/>
                <a:gd name="T108" fmla="*/ 1641 w 1673"/>
                <a:gd name="T109" fmla="*/ 397 h 778"/>
                <a:gd name="T110" fmla="*/ 1385 w 1673"/>
                <a:gd name="T111" fmla="*/ 465 h 778"/>
                <a:gd name="T112" fmla="*/ 1320 w 1673"/>
                <a:gd name="T113" fmla="*/ 467 h 778"/>
                <a:gd name="T114" fmla="*/ 1246 w 1673"/>
                <a:gd name="T115" fmla="*/ 460 h 778"/>
                <a:gd name="T116" fmla="*/ 1195 w 1673"/>
                <a:gd name="T117" fmla="*/ 489 h 778"/>
                <a:gd name="T118" fmla="*/ 1200 w 1673"/>
                <a:gd name="T119" fmla="*/ 542 h 778"/>
                <a:gd name="T120" fmla="*/ 1193 w 1673"/>
                <a:gd name="T121" fmla="*/ 448 h 778"/>
                <a:gd name="T122" fmla="*/ 1306 w 1673"/>
                <a:gd name="T123" fmla="*/ 458 h 778"/>
                <a:gd name="T124" fmla="*/ 1385 w 1673"/>
                <a:gd name="T125" fmla="*/ 465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73" h="778">
                  <a:moveTo>
                    <a:pt x="565" y="505"/>
                  </a:moveTo>
                  <a:cubicBezTo>
                    <a:pt x="558" y="500"/>
                    <a:pt x="557" y="497"/>
                    <a:pt x="557" y="497"/>
                  </a:cubicBezTo>
                  <a:cubicBezTo>
                    <a:pt x="548" y="511"/>
                    <a:pt x="548" y="511"/>
                    <a:pt x="548" y="511"/>
                  </a:cubicBezTo>
                  <a:cubicBezTo>
                    <a:pt x="545" y="518"/>
                    <a:pt x="545" y="518"/>
                    <a:pt x="545" y="518"/>
                  </a:cubicBezTo>
                  <a:cubicBezTo>
                    <a:pt x="578" y="534"/>
                    <a:pt x="578" y="534"/>
                    <a:pt x="578" y="534"/>
                  </a:cubicBezTo>
                  <a:cubicBezTo>
                    <a:pt x="580" y="525"/>
                    <a:pt x="580" y="525"/>
                    <a:pt x="580" y="525"/>
                  </a:cubicBezTo>
                  <a:cubicBezTo>
                    <a:pt x="580" y="525"/>
                    <a:pt x="572" y="510"/>
                    <a:pt x="565" y="505"/>
                  </a:cubicBezTo>
                  <a:close/>
                  <a:moveTo>
                    <a:pt x="1655" y="327"/>
                  </a:moveTo>
                  <a:cubicBezTo>
                    <a:pt x="1656" y="321"/>
                    <a:pt x="1666" y="322"/>
                    <a:pt x="1673" y="324"/>
                  </a:cubicBezTo>
                  <a:cubicBezTo>
                    <a:pt x="1649" y="298"/>
                    <a:pt x="1649" y="298"/>
                    <a:pt x="1649" y="298"/>
                  </a:cubicBezTo>
                  <a:cubicBezTo>
                    <a:pt x="1636" y="282"/>
                    <a:pt x="1636" y="282"/>
                    <a:pt x="1636" y="282"/>
                  </a:cubicBezTo>
                  <a:cubicBezTo>
                    <a:pt x="1625" y="304"/>
                    <a:pt x="1625" y="304"/>
                    <a:pt x="1625" y="304"/>
                  </a:cubicBezTo>
                  <a:cubicBezTo>
                    <a:pt x="1578" y="300"/>
                    <a:pt x="1578" y="300"/>
                    <a:pt x="1578" y="300"/>
                  </a:cubicBezTo>
                  <a:cubicBezTo>
                    <a:pt x="1578" y="300"/>
                    <a:pt x="1562" y="272"/>
                    <a:pt x="1561" y="268"/>
                  </a:cubicBezTo>
                  <a:cubicBezTo>
                    <a:pt x="1560" y="264"/>
                    <a:pt x="1525" y="259"/>
                    <a:pt x="1525" y="259"/>
                  </a:cubicBezTo>
                  <a:cubicBezTo>
                    <a:pt x="1525" y="259"/>
                    <a:pt x="1504" y="230"/>
                    <a:pt x="1481" y="226"/>
                  </a:cubicBezTo>
                  <a:cubicBezTo>
                    <a:pt x="1458" y="222"/>
                    <a:pt x="1442" y="243"/>
                    <a:pt x="1430" y="244"/>
                  </a:cubicBezTo>
                  <a:cubicBezTo>
                    <a:pt x="1418" y="246"/>
                    <a:pt x="1404" y="230"/>
                    <a:pt x="1404" y="230"/>
                  </a:cubicBezTo>
                  <a:cubicBezTo>
                    <a:pt x="1404" y="230"/>
                    <a:pt x="1386" y="228"/>
                    <a:pt x="1382" y="227"/>
                  </a:cubicBezTo>
                  <a:cubicBezTo>
                    <a:pt x="1378" y="226"/>
                    <a:pt x="1382" y="210"/>
                    <a:pt x="1372" y="207"/>
                  </a:cubicBezTo>
                  <a:cubicBezTo>
                    <a:pt x="1361" y="204"/>
                    <a:pt x="1365" y="234"/>
                    <a:pt x="1348" y="236"/>
                  </a:cubicBezTo>
                  <a:cubicBezTo>
                    <a:pt x="1330" y="239"/>
                    <a:pt x="1306" y="200"/>
                    <a:pt x="1292" y="187"/>
                  </a:cubicBezTo>
                  <a:cubicBezTo>
                    <a:pt x="1277" y="174"/>
                    <a:pt x="1205" y="107"/>
                    <a:pt x="1200" y="104"/>
                  </a:cubicBezTo>
                  <a:cubicBezTo>
                    <a:pt x="1194" y="102"/>
                    <a:pt x="1126" y="70"/>
                    <a:pt x="1126" y="70"/>
                  </a:cubicBezTo>
                  <a:cubicBezTo>
                    <a:pt x="1126" y="70"/>
                    <a:pt x="1146" y="58"/>
                    <a:pt x="1138" y="47"/>
                  </a:cubicBezTo>
                  <a:cubicBezTo>
                    <a:pt x="1130" y="36"/>
                    <a:pt x="1118" y="58"/>
                    <a:pt x="1118" y="58"/>
                  </a:cubicBezTo>
                  <a:cubicBezTo>
                    <a:pt x="1094" y="66"/>
                    <a:pt x="1094" y="66"/>
                    <a:pt x="1094" y="66"/>
                  </a:cubicBezTo>
                  <a:cubicBezTo>
                    <a:pt x="1085" y="76"/>
                    <a:pt x="1085" y="76"/>
                    <a:pt x="1085" y="76"/>
                  </a:cubicBezTo>
                  <a:cubicBezTo>
                    <a:pt x="1085" y="76"/>
                    <a:pt x="1077" y="78"/>
                    <a:pt x="1070" y="82"/>
                  </a:cubicBezTo>
                  <a:cubicBezTo>
                    <a:pt x="1064" y="86"/>
                    <a:pt x="1072" y="94"/>
                    <a:pt x="1064" y="100"/>
                  </a:cubicBezTo>
                  <a:cubicBezTo>
                    <a:pt x="1056" y="107"/>
                    <a:pt x="1041" y="91"/>
                    <a:pt x="1034" y="88"/>
                  </a:cubicBezTo>
                  <a:cubicBezTo>
                    <a:pt x="1028" y="86"/>
                    <a:pt x="1026" y="99"/>
                    <a:pt x="1016" y="98"/>
                  </a:cubicBezTo>
                  <a:cubicBezTo>
                    <a:pt x="1005" y="96"/>
                    <a:pt x="1026" y="80"/>
                    <a:pt x="1017" y="71"/>
                  </a:cubicBezTo>
                  <a:cubicBezTo>
                    <a:pt x="1008" y="62"/>
                    <a:pt x="1002" y="74"/>
                    <a:pt x="1002" y="74"/>
                  </a:cubicBezTo>
                  <a:cubicBezTo>
                    <a:pt x="985" y="63"/>
                    <a:pt x="985" y="63"/>
                    <a:pt x="985" y="63"/>
                  </a:cubicBezTo>
                  <a:cubicBezTo>
                    <a:pt x="972" y="71"/>
                    <a:pt x="972" y="71"/>
                    <a:pt x="972" y="71"/>
                  </a:cubicBezTo>
                  <a:cubicBezTo>
                    <a:pt x="953" y="50"/>
                    <a:pt x="953" y="50"/>
                    <a:pt x="953" y="50"/>
                  </a:cubicBezTo>
                  <a:cubicBezTo>
                    <a:pt x="946" y="60"/>
                    <a:pt x="946" y="60"/>
                    <a:pt x="946" y="60"/>
                  </a:cubicBezTo>
                  <a:cubicBezTo>
                    <a:pt x="946" y="60"/>
                    <a:pt x="918" y="64"/>
                    <a:pt x="913" y="64"/>
                  </a:cubicBezTo>
                  <a:cubicBezTo>
                    <a:pt x="908" y="64"/>
                    <a:pt x="909" y="43"/>
                    <a:pt x="909" y="36"/>
                  </a:cubicBezTo>
                  <a:cubicBezTo>
                    <a:pt x="909" y="30"/>
                    <a:pt x="897" y="30"/>
                    <a:pt x="897" y="30"/>
                  </a:cubicBezTo>
                  <a:cubicBezTo>
                    <a:pt x="897" y="30"/>
                    <a:pt x="892" y="12"/>
                    <a:pt x="884" y="7"/>
                  </a:cubicBezTo>
                  <a:cubicBezTo>
                    <a:pt x="876" y="2"/>
                    <a:pt x="869" y="11"/>
                    <a:pt x="864" y="11"/>
                  </a:cubicBezTo>
                  <a:cubicBezTo>
                    <a:pt x="858" y="11"/>
                    <a:pt x="845" y="0"/>
                    <a:pt x="812" y="2"/>
                  </a:cubicBezTo>
                  <a:cubicBezTo>
                    <a:pt x="778" y="3"/>
                    <a:pt x="781" y="23"/>
                    <a:pt x="781" y="23"/>
                  </a:cubicBezTo>
                  <a:cubicBezTo>
                    <a:pt x="781" y="23"/>
                    <a:pt x="761" y="30"/>
                    <a:pt x="740" y="35"/>
                  </a:cubicBezTo>
                  <a:cubicBezTo>
                    <a:pt x="718" y="40"/>
                    <a:pt x="690" y="36"/>
                    <a:pt x="682" y="36"/>
                  </a:cubicBezTo>
                  <a:cubicBezTo>
                    <a:pt x="674" y="36"/>
                    <a:pt x="674" y="52"/>
                    <a:pt x="674" y="52"/>
                  </a:cubicBezTo>
                  <a:cubicBezTo>
                    <a:pt x="632" y="52"/>
                    <a:pt x="632" y="52"/>
                    <a:pt x="632" y="52"/>
                  </a:cubicBezTo>
                  <a:cubicBezTo>
                    <a:pt x="628" y="64"/>
                    <a:pt x="628" y="64"/>
                    <a:pt x="628" y="64"/>
                  </a:cubicBezTo>
                  <a:cubicBezTo>
                    <a:pt x="628" y="64"/>
                    <a:pt x="596" y="63"/>
                    <a:pt x="550" y="70"/>
                  </a:cubicBezTo>
                  <a:cubicBezTo>
                    <a:pt x="505" y="76"/>
                    <a:pt x="521" y="95"/>
                    <a:pt x="521" y="95"/>
                  </a:cubicBezTo>
                  <a:cubicBezTo>
                    <a:pt x="540" y="96"/>
                    <a:pt x="540" y="96"/>
                    <a:pt x="540" y="96"/>
                  </a:cubicBezTo>
                  <a:cubicBezTo>
                    <a:pt x="529" y="108"/>
                    <a:pt x="529" y="108"/>
                    <a:pt x="529" y="108"/>
                  </a:cubicBezTo>
                  <a:cubicBezTo>
                    <a:pt x="529" y="108"/>
                    <a:pt x="572" y="116"/>
                    <a:pt x="572" y="123"/>
                  </a:cubicBezTo>
                  <a:cubicBezTo>
                    <a:pt x="572" y="130"/>
                    <a:pt x="534" y="123"/>
                    <a:pt x="534" y="123"/>
                  </a:cubicBezTo>
                  <a:cubicBezTo>
                    <a:pt x="528" y="134"/>
                    <a:pt x="528" y="134"/>
                    <a:pt x="528" y="134"/>
                  </a:cubicBezTo>
                  <a:cubicBezTo>
                    <a:pt x="528" y="134"/>
                    <a:pt x="541" y="151"/>
                    <a:pt x="540" y="158"/>
                  </a:cubicBezTo>
                  <a:cubicBezTo>
                    <a:pt x="538" y="164"/>
                    <a:pt x="505" y="170"/>
                    <a:pt x="505" y="170"/>
                  </a:cubicBezTo>
                  <a:cubicBezTo>
                    <a:pt x="528" y="190"/>
                    <a:pt x="528" y="190"/>
                    <a:pt x="528" y="190"/>
                  </a:cubicBezTo>
                  <a:cubicBezTo>
                    <a:pt x="528" y="190"/>
                    <a:pt x="578" y="187"/>
                    <a:pt x="582" y="226"/>
                  </a:cubicBezTo>
                  <a:cubicBezTo>
                    <a:pt x="586" y="264"/>
                    <a:pt x="526" y="234"/>
                    <a:pt x="526" y="234"/>
                  </a:cubicBezTo>
                  <a:cubicBezTo>
                    <a:pt x="520" y="250"/>
                    <a:pt x="520" y="250"/>
                    <a:pt x="520" y="250"/>
                  </a:cubicBezTo>
                  <a:cubicBezTo>
                    <a:pt x="520" y="250"/>
                    <a:pt x="497" y="246"/>
                    <a:pt x="486" y="244"/>
                  </a:cubicBezTo>
                  <a:cubicBezTo>
                    <a:pt x="476" y="243"/>
                    <a:pt x="464" y="222"/>
                    <a:pt x="456" y="220"/>
                  </a:cubicBezTo>
                  <a:cubicBezTo>
                    <a:pt x="448" y="219"/>
                    <a:pt x="437" y="228"/>
                    <a:pt x="421" y="232"/>
                  </a:cubicBezTo>
                  <a:cubicBezTo>
                    <a:pt x="405" y="236"/>
                    <a:pt x="394" y="220"/>
                    <a:pt x="385" y="222"/>
                  </a:cubicBezTo>
                  <a:cubicBezTo>
                    <a:pt x="376" y="223"/>
                    <a:pt x="358" y="243"/>
                    <a:pt x="356" y="247"/>
                  </a:cubicBezTo>
                  <a:cubicBezTo>
                    <a:pt x="353" y="251"/>
                    <a:pt x="312" y="220"/>
                    <a:pt x="301" y="223"/>
                  </a:cubicBezTo>
                  <a:cubicBezTo>
                    <a:pt x="290" y="226"/>
                    <a:pt x="313" y="243"/>
                    <a:pt x="305" y="250"/>
                  </a:cubicBezTo>
                  <a:cubicBezTo>
                    <a:pt x="297" y="256"/>
                    <a:pt x="289" y="236"/>
                    <a:pt x="289" y="236"/>
                  </a:cubicBezTo>
                  <a:cubicBezTo>
                    <a:pt x="282" y="216"/>
                    <a:pt x="282" y="216"/>
                    <a:pt x="282" y="216"/>
                  </a:cubicBezTo>
                  <a:cubicBezTo>
                    <a:pt x="258" y="218"/>
                    <a:pt x="258" y="218"/>
                    <a:pt x="258" y="218"/>
                  </a:cubicBezTo>
                  <a:cubicBezTo>
                    <a:pt x="258" y="218"/>
                    <a:pt x="256" y="206"/>
                    <a:pt x="252" y="202"/>
                  </a:cubicBezTo>
                  <a:cubicBezTo>
                    <a:pt x="248" y="198"/>
                    <a:pt x="224" y="203"/>
                    <a:pt x="214" y="202"/>
                  </a:cubicBezTo>
                  <a:cubicBezTo>
                    <a:pt x="205" y="200"/>
                    <a:pt x="204" y="187"/>
                    <a:pt x="197" y="187"/>
                  </a:cubicBezTo>
                  <a:cubicBezTo>
                    <a:pt x="190" y="187"/>
                    <a:pt x="177" y="200"/>
                    <a:pt x="161" y="200"/>
                  </a:cubicBezTo>
                  <a:cubicBezTo>
                    <a:pt x="145" y="200"/>
                    <a:pt x="153" y="187"/>
                    <a:pt x="130" y="188"/>
                  </a:cubicBezTo>
                  <a:cubicBezTo>
                    <a:pt x="108" y="190"/>
                    <a:pt x="130" y="198"/>
                    <a:pt x="122" y="208"/>
                  </a:cubicBezTo>
                  <a:cubicBezTo>
                    <a:pt x="114" y="219"/>
                    <a:pt x="86" y="224"/>
                    <a:pt x="86" y="224"/>
                  </a:cubicBezTo>
                  <a:cubicBezTo>
                    <a:pt x="86" y="239"/>
                    <a:pt x="86" y="239"/>
                    <a:pt x="86" y="239"/>
                  </a:cubicBezTo>
                  <a:cubicBezTo>
                    <a:pt x="68" y="248"/>
                    <a:pt x="68" y="248"/>
                    <a:pt x="68" y="248"/>
                  </a:cubicBezTo>
                  <a:cubicBezTo>
                    <a:pt x="68" y="248"/>
                    <a:pt x="86" y="263"/>
                    <a:pt x="72" y="278"/>
                  </a:cubicBezTo>
                  <a:cubicBezTo>
                    <a:pt x="57" y="292"/>
                    <a:pt x="29" y="250"/>
                    <a:pt x="17" y="251"/>
                  </a:cubicBezTo>
                  <a:cubicBezTo>
                    <a:pt x="5" y="252"/>
                    <a:pt x="13" y="271"/>
                    <a:pt x="13" y="279"/>
                  </a:cubicBezTo>
                  <a:cubicBezTo>
                    <a:pt x="13" y="287"/>
                    <a:pt x="0" y="284"/>
                    <a:pt x="0" y="284"/>
                  </a:cubicBezTo>
                  <a:cubicBezTo>
                    <a:pt x="2" y="308"/>
                    <a:pt x="2" y="308"/>
                    <a:pt x="2" y="308"/>
                  </a:cubicBezTo>
                  <a:cubicBezTo>
                    <a:pt x="2" y="308"/>
                    <a:pt x="8" y="314"/>
                    <a:pt x="8" y="322"/>
                  </a:cubicBezTo>
                  <a:cubicBezTo>
                    <a:pt x="8" y="330"/>
                    <a:pt x="0" y="342"/>
                    <a:pt x="0" y="358"/>
                  </a:cubicBezTo>
                  <a:cubicBezTo>
                    <a:pt x="0" y="374"/>
                    <a:pt x="10" y="364"/>
                    <a:pt x="22" y="370"/>
                  </a:cubicBezTo>
                  <a:cubicBezTo>
                    <a:pt x="34" y="375"/>
                    <a:pt x="20" y="390"/>
                    <a:pt x="32" y="395"/>
                  </a:cubicBezTo>
                  <a:cubicBezTo>
                    <a:pt x="44" y="400"/>
                    <a:pt x="68" y="391"/>
                    <a:pt x="73" y="394"/>
                  </a:cubicBezTo>
                  <a:cubicBezTo>
                    <a:pt x="78" y="396"/>
                    <a:pt x="117" y="436"/>
                    <a:pt x="117" y="444"/>
                  </a:cubicBezTo>
                  <a:cubicBezTo>
                    <a:pt x="117" y="452"/>
                    <a:pt x="94" y="443"/>
                    <a:pt x="94" y="451"/>
                  </a:cubicBezTo>
                  <a:cubicBezTo>
                    <a:pt x="94" y="459"/>
                    <a:pt x="129" y="470"/>
                    <a:pt x="129" y="470"/>
                  </a:cubicBezTo>
                  <a:cubicBezTo>
                    <a:pt x="136" y="460"/>
                    <a:pt x="136" y="460"/>
                    <a:pt x="136" y="460"/>
                  </a:cubicBezTo>
                  <a:cubicBezTo>
                    <a:pt x="136" y="460"/>
                    <a:pt x="145" y="462"/>
                    <a:pt x="152" y="455"/>
                  </a:cubicBezTo>
                  <a:cubicBezTo>
                    <a:pt x="158" y="448"/>
                    <a:pt x="208" y="427"/>
                    <a:pt x="214" y="430"/>
                  </a:cubicBezTo>
                  <a:cubicBezTo>
                    <a:pt x="221" y="432"/>
                    <a:pt x="242" y="448"/>
                    <a:pt x="252" y="448"/>
                  </a:cubicBezTo>
                  <a:cubicBezTo>
                    <a:pt x="261" y="448"/>
                    <a:pt x="269" y="430"/>
                    <a:pt x="289" y="455"/>
                  </a:cubicBezTo>
                  <a:cubicBezTo>
                    <a:pt x="309" y="480"/>
                    <a:pt x="293" y="488"/>
                    <a:pt x="290" y="496"/>
                  </a:cubicBezTo>
                  <a:cubicBezTo>
                    <a:pt x="288" y="504"/>
                    <a:pt x="309" y="520"/>
                    <a:pt x="316" y="523"/>
                  </a:cubicBezTo>
                  <a:cubicBezTo>
                    <a:pt x="322" y="526"/>
                    <a:pt x="333" y="511"/>
                    <a:pt x="341" y="507"/>
                  </a:cubicBezTo>
                  <a:cubicBezTo>
                    <a:pt x="349" y="503"/>
                    <a:pt x="352" y="516"/>
                    <a:pt x="352" y="524"/>
                  </a:cubicBezTo>
                  <a:cubicBezTo>
                    <a:pt x="352" y="532"/>
                    <a:pt x="364" y="542"/>
                    <a:pt x="364" y="542"/>
                  </a:cubicBezTo>
                  <a:cubicBezTo>
                    <a:pt x="337" y="543"/>
                    <a:pt x="337" y="543"/>
                    <a:pt x="337" y="543"/>
                  </a:cubicBezTo>
                  <a:cubicBezTo>
                    <a:pt x="337" y="543"/>
                    <a:pt x="338" y="563"/>
                    <a:pt x="325" y="554"/>
                  </a:cubicBezTo>
                  <a:cubicBezTo>
                    <a:pt x="312" y="544"/>
                    <a:pt x="338" y="531"/>
                    <a:pt x="338" y="531"/>
                  </a:cubicBezTo>
                  <a:cubicBezTo>
                    <a:pt x="338" y="531"/>
                    <a:pt x="290" y="528"/>
                    <a:pt x="282" y="526"/>
                  </a:cubicBezTo>
                  <a:cubicBezTo>
                    <a:pt x="274" y="523"/>
                    <a:pt x="232" y="515"/>
                    <a:pt x="232" y="515"/>
                  </a:cubicBezTo>
                  <a:cubicBezTo>
                    <a:pt x="240" y="538"/>
                    <a:pt x="240" y="538"/>
                    <a:pt x="240" y="538"/>
                  </a:cubicBezTo>
                  <a:cubicBezTo>
                    <a:pt x="240" y="538"/>
                    <a:pt x="224" y="531"/>
                    <a:pt x="218" y="544"/>
                  </a:cubicBezTo>
                  <a:cubicBezTo>
                    <a:pt x="213" y="558"/>
                    <a:pt x="249" y="559"/>
                    <a:pt x="248" y="567"/>
                  </a:cubicBezTo>
                  <a:cubicBezTo>
                    <a:pt x="246" y="575"/>
                    <a:pt x="198" y="550"/>
                    <a:pt x="193" y="562"/>
                  </a:cubicBezTo>
                  <a:cubicBezTo>
                    <a:pt x="188" y="574"/>
                    <a:pt x="221" y="582"/>
                    <a:pt x="221" y="582"/>
                  </a:cubicBezTo>
                  <a:cubicBezTo>
                    <a:pt x="221" y="582"/>
                    <a:pt x="221" y="590"/>
                    <a:pt x="228" y="598"/>
                  </a:cubicBezTo>
                  <a:cubicBezTo>
                    <a:pt x="234" y="606"/>
                    <a:pt x="248" y="622"/>
                    <a:pt x="248" y="622"/>
                  </a:cubicBezTo>
                  <a:cubicBezTo>
                    <a:pt x="246" y="636"/>
                    <a:pt x="246" y="636"/>
                    <a:pt x="246" y="636"/>
                  </a:cubicBezTo>
                  <a:cubicBezTo>
                    <a:pt x="269" y="639"/>
                    <a:pt x="269" y="639"/>
                    <a:pt x="269" y="639"/>
                  </a:cubicBezTo>
                  <a:cubicBezTo>
                    <a:pt x="274" y="654"/>
                    <a:pt x="274" y="654"/>
                    <a:pt x="274" y="654"/>
                  </a:cubicBezTo>
                  <a:cubicBezTo>
                    <a:pt x="274" y="654"/>
                    <a:pt x="309" y="654"/>
                    <a:pt x="320" y="664"/>
                  </a:cubicBezTo>
                  <a:cubicBezTo>
                    <a:pt x="330" y="675"/>
                    <a:pt x="308" y="686"/>
                    <a:pt x="306" y="696"/>
                  </a:cubicBezTo>
                  <a:cubicBezTo>
                    <a:pt x="305" y="707"/>
                    <a:pt x="316" y="708"/>
                    <a:pt x="316" y="708"/>
                  </a:cubicBezTo>
                  <a:cubicBezTo>
                    <a:pt x="317" y="704"/>
                    <a:pt x="323" y="707"/>
                    <a:pt x="328" y="709"/>
                  </a:cubicBezTo>
                  <a:cubicBezTo>
                    <a:pt x="330" y="703"/>
                    <a:pt x="336" y="683"/>
                    <a:pt x="344" y="682"/>
                  </a:cubicBezTo>
                  <a:cubicBezTo>
                    <a:pt x="349" y="681"/>
                    <a:pt x="357" y="682"/>
                    <a:pt x="363" y="683"/>
                  </a:cubicBezTo>
                  <a:cubicBezTo>
                    <a:pt x="364" y="681"/>
                    <a:pt x="364" y="679"/>
                    <a:pt x="365" y="678"/>
                  </a:cubicBezTo>
                  <a:cubicBezTo>
                    <a:pt x="368" y="674"/>
                    <a:pt x="400" y="686"/>
                    <a:pt x="408" y="690"/>
                  </a:cubicBezTo>
                  <a:cubicBezTo>
                    <a:pt x="416" y="694"/>
                    <a:pt x="426" y="707"/>
                    <a:pt x="426" y="707"/>
                  </a:cubicBezTo>
                  <a:cubicBezTo>
                    <a:pt x="426" y="707"/>
                    <a:pt x="444" y="732"/>
                    <a:pt x="454" y="738"/>
                  </a:cubicBezTo>
                  <a:cubicBezTo>
                    <a:pt x="463" y="742"/>
                    <a:pt x="464" y="732"/>
                    <a:pt x="468" y="729"/>
                  </a:cubicBezTo>
                  <a:cubicBezTo>
                    <a:pt x="468" y="729"/>
                    <a:pt x="468" y="729"/>
                    <a:pt x="468" y="729"/>
                  </a:cubicBezTo>
                  <a:cubicBezTo>
                    <a:pt x="433" y="542"/>
                    <a:pt x="433" y="542"/>
                    <a:pt x="433" y="542"/>
                  </a:cubicBezTo>
                  <a:cubicBezTo>
                    <a:pt x="529" y="511"/>
                    <a:pt x="529" y="511"/>
                    <a:pt x="529" y="511"/>
                  </a:cubicBezTo>
                  <a:cubicBezTo>
                    <a:pt x="536" y="514"/>
                    <a:pt x="536" y="514"/>
                    <a:pt x="536" y="514"/>
                  </a:cubicBezTo>
                  <a:cubicBezTo>
                    <a:pt x="536" y="513"/>
                    <a:pt x="536" y="513"/>
                    <a:pt x="536" y="513"/>
                  </a:cubicBezTo>
                  <a:cubicBezTo>
                    <a:pt x="536" y="513"/>
                    <a:pt x="540" y="501"/>
                    <a:pt x="541" y="491"/>
                  </a:cubicBezTo>
                  <a:cubicBezTo>
                    <a:pt x="542" y="481"/>
                    <a:pt x="561" y="486"/>
                    <a:pt x="561" y="486"/>
                  </a:cubicBezTo>
                  <a:cubicBezTo>
                    <a:pt x="566" y="501"/>
                    <a:pt x="566" y="501"/>
                    <a:pt x="566" y="501"/>
                  </a:cubicBezTo>
                  <a:cubicBezTo>
                    <a:pt x="566" y="501"/>
                    <a:pt x="580" y="495"/>
                    <a:pt x="582" y="492"/>
                  </a:cubicBezTo>
                  <a:cubicBezTo>
                    <a:pt x="584" y="489"/>
                    <a:pt x="568" y="471"/>
                    <a:pt x="568" y="471"/>
                  </a:cubicBezTo>
                  <a:cubicBezTo>
                    <a:pt x="578" y="471"/>
                    <a:pt x="578" y="471"/>
                    <a:pt x="578" y="471"/>
                  </a:cubicBezTo>
                  <a:cubicBezTo>
                    <a:pt x="587" y="480"/>
                    <a:pt x="587" y="480"/>
                    <a:pt x="587" y="480"/>
                  </a:cubicBezTo>
                  <a:cubicBezTo>
                    <a:pt x="604" y="479"/>
                    <a:pt x="604" y="479"/>
                    <a:pt x="604" y="479"/>
                  </a:cubicBezTo>
                  <a:cubicBezTo>
                    <a:pt x="604" y="479"/>
                    <a:pt x="618" y="483"/>
                    <a:pt x="621" y="479"/>
                  </a:cubicBezTo>
                  <a:cubicBezTo>
                    <a:pt x="624" y="475"/>
                    <a:pt x="619" y="471"/>
                    <a:pt x="615" y="471"/>
                  </a:cubicBezTo>
                  <a:cubicBezTo>
                    <a:pt x="611" y="471"/>
                    <a:pt x="603" y="466"/>
                    <a:pt x="603" y="466"/>
                  </a:cubicBezTo>
                  <a:cubicBezTo>
                    <a:pt x="603" y="466"/>
                    <a:pt x="587" y="470"/>
                    <a:pt x="584" y="460"/>
                  </a:cubicBezTo>
                  <a:cubicBezTo>
                    <a:pt x="581" y="450"/>
                    <a:pt x="604" y="452"/>
                    <a:pt x="604" y="452"/>
                  </a:cubicBezTo>
                  <a:cubicBezTo>
                    <a:pt x="613" y="444"/>
                    <a:pt x="613" y="444"/>
                    <a:pt x="613" y="444"/>
                  </a:cubicBezTo>
                  <a:cubicBezTo>
                    <a:pt x="613" y="444"/>
                    <a:pt x="625" y="461"/>
                    <a:pt x="628" y="461"/>
                  </a:cubicBezTo>
                  <a:cubicBezTo>
                    <a:pt x="631" y="461"/>
                    <a:pt x="636" y="455"/>
                    <a:pt x="636" y="455"/>
                  </a:cubicBezTo>
                  <a:cubicBezTo>
                    <a:pt x="636" y="455"/>
                    <a:pt x="645" y="465"/>
                    <a:pt x="642" y="471"/>
                  </a:cubicBezTo>
                  <a:cubicBezTo>
                    <a:pt x="639" y="477"/>
                    <a:pt x="625" y="481"/>
                    <a:pt x="625" y="481"/>
                  </a:cubicBezTo>
                  <a:cubicBezTo>
                    <a:pt x="625" y="481"/>
                    <a:pt x="617" y="488"/>
                    <a:pt x="613" y="492"/>
                  </a:cubicBezTo>
                  <a:cubicBezTo>
                    <a:pt x="609" y="496"/>
                    <a:pt x="593" y="491"/>
                    <a:pt x="590" y="493"/>
                  </a:cubicBezTo>
                  <a:cubicBezTo>
                    <a:pt x="587" y="495"/>
                    <a:pt x="587" y="506"/>
                    <a:pt x="587" y="506"/>
                  </a:cubicBezTo>
                  <a:cubicBezTo>
                    <a:pt x="587" y="506"/>
                    <a:pt x="602" y="512"/>
                    <a:pt x="606" y="513"/>
                  </a:cubicBezTo>
                  <a:cubicBezTo>
                    <a:pt x="610" y="514"/>
                    <a:pt x="613" y="523"/>
                    <a:pt x="607" y="532"/>
                  </a:cubicBezTo>
                  <a:cubicBezTo>
                    <a:pt x="604" y="536"/>
                    <a:pt x="607" y="542"/>
                    <a:pt x="610" y="549"/>
                  </a:cubicBezTo>
                  <a:cubicBezTo>
                    <a:pt x="656" y="571"/>
                    <a:pt x="656" y="571"/>
                    <a:pt x="656" y="571"/>
                  </a:cubicBezTo>
                  <a:cubicBezTo>
                    <a:pt x="705" y="619"/>
                    <a:pt x="705" y="619"/>
                    <a:pt x="705" y="619"/>
                  </a:cubicBezTo>
                  <a:cubicBezTo>
                    <a:pt x="705" y="619"/>
                    <a:pt x="742" y="612"/>
                    <a:pt x="758" y="612"/>
                  </a:cubicBezTo>
                  <a:cubicBezTo>
                    <a:pt x="774" y="612"/>
                    <a:pt x="812" y="616"/>
                    <a:pt x="812" y="616"/>
                  </a:cubicBezTo>
                  <a:cubicBezTo>
                    <a:pt x="812" y="616"/>
                    <a:pt x="830" y="604"/>
                    <a:pt x="837" y="604"/>
                  </a:cubicBezTo>
                  <a:cubicBezTo>
                    <a:pt x="844" y="604"/>
                    <a:pt x="874" y="647"/>
                    <a:pt x="874" y="647"/>
                  </a:cubicBezTo>
                  <a:cubicBezTo>
                    <a:pt x="874" y="647"/>
                    <a:pt x="889" y="646"/>
                    <a:pt x="894" y="647"/>
                  </a:cubicBezTo>
                  <a:cubicBezTo>
                    <a:pt x="900" y="648"/>
                    <a:pt x="893" y="696"/>
                    <a:pt x="902" y="699"/>
                  </a:cubicBezTo>
                  <a:cubicBezTo>
                    <a:pt x="912" y="702"/>
                    <a:pt x="912" y="688"/>
                    <a:pt x="921" y="699"/>
                  </a:cubicBezTo>
                  <a:cubicBezTo>
                    <a:pt x="930" y="710"/>
                    <a:pt x="932" y="734"/>
                    <a:pt x="942" y="739"/>
                  </a:cubicBezTo>
                  <a:cubicBezTo>
                    <a:pt x="953" y="744"/>
                    <a:pt x="1000" y="735"/>
                    <a:pt x="1006" y="744"/>
                  </a:cubicBezTo>
                  <a:cubicBezTo>
                    <a:pt x="1013" y="754"/>
                    <a:pt x="996" y="767"/>
                    <a:pt x="1006" y="770"/>
                  </a:cubicBezTo>
                  <a:cubicBezTo>
                    <a:pt x="1017" y="772"/>
                    <a:pt x="1028" y="778"/>
                    <a:pt x="1028" y="778"/>
                  </a:cubicBezTo>
                  <a:cubicBezTo>
                    <a:pt x="1028" y="778"/>
                    <a:pt x="1020" y="754"/>
                    <a:pt x="1029" y="747"/>
                  </a:cubicBezTo>
                  <a:cubicBezTo>
                    <a:pt x="1038" y="740"/>
                    <a:pt x="1046" y="740"/>
                    <a:pt x="1046" y="740"/>
                  </a:cubicBezTo>
                  <a:cubicBezTo>
                    <a:pt x="1046" y="740"/>
                    <a:pt x="1045" y="722"/>
                    <a:pt x="1056" y="719"/>
                  </a:cubicBezTo>
                  <a:cubicBezTo>
                    <a:pt x="1066" y="716"/>
                    <a:pt x="1078" y="714"/>
                    <a:pt x="1078" y="714"/>
                  </a:cubicBezTo>
                  <a:cubicBezTo>
                    <a:pt x="1086" y="696"/>
                    <a:pt x="1086" y="696"/>
                    <a:pt x="1086" y="696"/>
                  </a:cubicBezTo>
                  <a:cubicBezTo>
                    <a:pt x="1104" y="695"/>
                    <a:pt x="1104" y="695"/>
                    <a:pt x="1104" y="695"/>
                  </a:cubicBezTo>
                  <a:cubicBezTo>
                    <a:pt x="1123" y="686"/>
                    <a:pt x="1123" y="686"/>
                    <a:pt x="1123" y="686"/>
                  </a:cubicBezTo>
                  <a:cubicBezTo>
                    <a:pt x="1117" y="683"/>
                    <a:pt x="1107" y="683"/>
                    <a:pt x="1107" y="683"/>
                  </a:cubicBezTo>
                  <a:cubicBezTo>
                    <a:pt x="1107" y="683"/>
                    <a:pt x="1108" y="654"/>
                    <a:pt x="1131" y="653"/>
                  </a:cubicBezTo>
                  <a:cubicBezTo>
                    <a:pt x="1154" y="652"/>
                    <a:pt x="1185" y="672"/>
                    <a:pt x="1185" y="672"/>
                  </a:cubicBezTo>
                  <a:cubicBezTo>
                    <a:pt x="1208" y="672"/>
                    <a:pt x="1208" y="672"/>
                    <a:pt x="1208" y="672"/>
                  </a:cubicBezTo>
                  <a:cubicBezTo>
                    <a:pt x="1219" y="678"/>
                    <a:pt x="1219" y="678"/>
                    <a:pt x="1219" y="678"/>
                  </a:cubicBezTo>
                  <a:cubicBezTo>
                    <a:pt x="1219" y="678"/>
                    <a:pt x="1211" y="643"/>
                    <a:pt x="1214" y="640"/>
                  </a:cubicBezTo>
                  <a:cubicBezTo>
                    <a:pt x="1217" y="637"/>
                    <a:pt x="1230" y="635"/>
                    <a:pt x="1240" y="635"/>
                  </a:cubicBezTo>
                  <a:cubicBezTo>
                    <a:pt x="1250" y="635"/>
                    <a:pt x="1260" y="647"/>
                    <a:pt x="1264" y="647"/>
                  </a:cubicBezTo>
                  <a:cubicBezTo>
                    <a:pt x="1268" y="647"/>
                    <a:pt x="1296" y="653"/>
                    <a:pt x="1296" y="653"/>
                  </a:cubicBezTo>
                  <a:cubicBezTo>
                    <a:pt x="1308" y="649"/>
                    <a:pt x="1308" y="649"/>
                    <a:pt x="1308" y="649"/>
                  </a:cubicBezTo>
                  <a:cubicBezTo>
                    <a:pt x="1308" y="649"/>
                    <a:pt x="1356" y="649"/>
                    <a:pt x="1364" y="648"/>
                  </a:cubicBezTo>
                  <a:cubicBezTo>
                    <a:pt x="1372" y="647"/>
                    <a:pt x="1402" y="651"/>
                    <a:pt x="1402" y="651"/>
                  </a:cubicBezTo>
                  <a:cubicBezTo>
                    <a:pt x="1434" y="650"/>
                    <a:pt x="1434" y="650"/>
                    <a:pt x="1434" y="650"/>
                  </a:cubicBezTo>
                  <a:cubicBezTo>
                    <a:pt x="1442" y="658"/>
                    <a:pt x="1442" y="658"/>
                    <a:pt x="1442" y="658"/>
                  </a:cubicBezTo>
                  <a:cubicBezTo>
                    <a:pt x="1454" y="658"/>
                    <a:pt x="1454" y="658"/>
                    <a:pt x="1454" y="658"/>
                  </a:cubicBezTo>
                  <a:cubicBezTo>
                    <a:pt x="1471" y="676"/>
                    <a:pt x="1471" y="676"/>
                    <a:pt x="1471" y="676"/>
                  </a:cubicBezTo>
                  <a:cubicBezTo>
                    <a:pt x="1499" y="676"/>
                    <a:pt x="1499" y="676"/>
                    <a:pt x="1499" y="676"/>
                  </a:cubicBezTo>
                  <a:cubicBezTo>
                    <a:pt x="1513" y="681"/>
                    <a:pt x="1513" y="681"/>
                    <a:pt x="1513" y="681"/>
                  </a:cubicBezTo>
                  <a:cubicBezTo>
                    <a:pt x="1512" y="680"/>
                    <a:pt x="1512" y="680"/>
                    <a:pt x="1512" y="680"/>
                  </a:cubicBezTo>
                  <a:cubicBezTo>
                    <a:pt x="1507" y="675"/>
                    <a:pt x="1503" y="664"/>
                    <a:pt x="1503" y="659"/>
                  </a:cubicBezTo>
                  <a:cubicBezTo>
                    <a:pt x="1503" y="654"/>
                    <a:pt x="1517" y="656"/>
                    <a:pt x="1517" y="656"/>
                  </a:cubicBezTo>
                  <a:cubicBezTo>
                    <a:pt x="1517" y="656"/>
                    <a:pt x="1506" y="644"/>
                    <a:pt x="1506" y="641"/>
                  </a:cubicBezTo>
                  <a:cubicBezTo>
                    <a:pt x="1506" y="638"/>
                    <a:pt x="1522" y="641"/>
                    <a:pt x="1522" y="634"/>
                  </a:cubicBezTo>
                  <a:cubicBezTo>
                    <a:pt x="1522" y="627"/>
                    <a:pt x="1492" y="596"/>
                    <a:pt x="1484" y="587"/>
                  </a:cubicBezTo>
                  <a:cubicBezTo>
                    <a:pt x="1476" y="578"/>
                    <a:pt x="1476" y="552"/>
                    <a:pt x="1476" y="552"/>
                  </a:cubicBezTo>
                  <a:cubicBezTo>
                    <a:pt x="1476" y="552"/>
                    <a:pt x="1458" y="555"/>
                    <a:pt x="1451" y="546"/>
                  </a:cubicBezTo>
                  <a:cubicBezTo>
                    <a:pt x="1444" y="537"/>
                    <a:pt x="1475" y="530"/>
                    <a:pt x="1481" y="529"/>
                  </a:cubicBezTo>
                  <a:cubicBezTo>
                    <a:pt x="1487" y="528"/>
                    <a:pt x="1511" y="518"/>
                    <a:pt x="1516" y="518"/>
                  </a:cubicBezTo>
                  <a:cubicBezTo>
                    <a:pt x="1521" y="518"/>
                    <a:pt x="1530" y="532"/>
                    <a:pt x="1530" y="532"/>
                  </a:cubicBezTo>
                  <a:cubicBezTo>
                    <a:pt x="1543" y="525"/>
                    <a:pt x="1543" y="525"/>
                    <a:pt x="1543" y="525"/>
                  </a:cubicBezTo>
                  <a:cubicBezTo>
                    <a:pt x="1543" y="525"/>
                    <a:pt x="1550" y="539"/>
                    <a:pt x="1559" y="528"/>
                  </a:cubicBezTo>
                  <a:cubicBezTo>
                    <a:pt x="1568" y="517"/>
                    <a:pt x="1545" y="515"/>
                    <a:pt x="1541" y="513"/>
                  </a:cubicBezTo>
                  <a:cubicBezTo>
                    <a:pt x="1537" y="511"/>
                    <a:pt x="1541" y="459"/>
                    <a:pt x="1541" y="447"/>
                  </a:cubicBezTo>
                  <a:cubicBezTo>
                    <a:pt x="1541" y="435"/>
                    <a:pt x="1540" y="420"/>
                    <a:pt x="1546" y="420"/>
                  </a:cubicBezTo>
                  <a:cubicBezTo>
                    <a:pt x="1552" y="420"/>
                    <a:pt x="1577" y="432"/>
                    <a:pt x="1585" y="434"/>
                  </a:cubicBezTo>
                  <a:cubicBezTo>
                    <a:pt x="1593" y="436"/>
                    <a:pt x="1614" y="434"/>
                    <a:pt x="1614" y="434"/>
                  </a:cubicBezTo>
                  <a:cubicBezTo>
                    <a:pt x="1623" y="442"/>
                    <a:pt x="1623" y="442"/>
                    <a:pt x="1623" y="442"/>
                  </a:cubicBezTo>
                  <a:cubicBezTo>
                    <a:pt x="1634" y="430"/>
                    <a:pt x="1634" y="430"/>
                    <a:pt x="1634" y="430"/>
                  </a:cubicBezTo>
                  <a:cubicBezTo>
                    <a:pt x="1634" y="430"/>
                    <a:pt x="1642" y="431"/>
                    <a:pt x="1649" y="426"/>
                  </a:cubicBezTo>
                  <a:cubicBezTo>
                    <a:pt x="1656" y="421"/>
                    <a:pt x="1650" y="410"/>
                    <a:pt x="1641" y="397"/>
                  </a:cubicBezTo>
                  <a:cubicBezTo>
                    <a:pt x="1632" y="384"/>
                    <a:pt x="1622" y="375"/>
                    <a:pt x="1627" y="361"/>
                  </a:cubicBezTo>
                  <a:cubicBezTo>
                    <a:pt x="1632" y="347"/>
                    <a:pt x="1661" y="357"/>
                    <a:pt x="1667" y="348"/>
                  </a:cubicBezTo>
                  <a:cubicBezTo>
                    <a:pt x="1673" y="339"/>
                    <a:pt x="1654" y="336"/>
                    <a:pt x="1655" y="327"/>
                  </a:cubicBezTo>
                  <a:close/>
                  <a:moveTo>
                    <a:pt x="1385" y="465"/>
                  </a:moveTo>
                  <a:cubicBezTo>
                    <a:pt x="1380" y="470"/>
                    <a:pt x="1363" y="466"/>
                    <a:pt x="1363" y="466"/>
                  </a:cubicBezTo>
                  <a:cubicBezTo>
                    <a:pt x="1363" y="466"/>
                    <a:pt x="1361" y="472"/>
                    <a:pt x="1356" y="473"/>
                  </a:cubicBezTo>
                  <a:cubicBezTo>
                    <a:pt x="1351" y="474"/>
                    <a:pt x="1340" y="464"/>
                    <a:pt x="1340" y="464"/>
                  </a:cubicBezTo>
                  <a:cubicBezTo>
                    <a:pt x="1320" y="467"/>
                    <a:pt x="1320" y="467"/>
                    <a:pt x="1320" y="467"/>
                  </a:cubicBezTo>
                  <a:cubicBezTo>
                    <a:pt x="1299" y="463"/>
                    <a:pt x="1299" y="463"/>
                    <a:pt x="1299" y="463"/>
                  </a:cubicBezTo>
                  <a:cubicBezTo>
                    <a:pt x="1287" y="464"/>
                    <a:pt x="1287" y="464"/>
                    <a:pt x="1287" y="464"/>
                  </a:cubicBezTo>
                  <a:cubicBezTo>
                    <a:pt x="1270" y="459"/>
                    <a:pt x="1270" y="459"/>
                    <a:pt x="1270" y="459"/>
                  </a:cubicBezTo>
                  <a:cubicBezTo>
                    <a:pt x="1270" y="459"/>
                    <a:pt x="1259" y="460"/>
                    <a:pt x="1246" y="460"/>
                  </a:cubicBezTo>
                  <a:cubicBezTo>
                    <a:pt x="1233" y="460"/>
                    <a:pt x="1236" y="454"/>
                    <a:pt x="1236" y="454"/>
                  </a:cubicBezTo>
                  <a:cubicBezTo>
                    <a:pt x="1236" y="454"/>
                    <a:pt x="1228" y="462"/>
                    <a:pt x="1222" y="464"/>
                  </a:cubicBezTo>
                  <a:cubicBezTo>
                    <a:pt x="1216" y="466"/>
                    <a:pt x="1215" y="476"/>
                    <a:pt x="1209" y="484"/>
                  </a:cubicBezTo>
                  <a:cubicBezTo>
                    <a:pt x="1203" y="492"/>
                    <a:pt x="1195" y="489"/>
                    <a:pt x="1195" y="489"/>
                  </a:cubicBezTo>
                  <a:cubicBezTo>
                    <a:pt x="1199" y="507"/>
                    <a:pt x="1199" y="507"/>
                    <a:pt x="1199" y="507"/>
                  </a:cubicBezTo>
                  <a:cubicBezTo>
                    <a:pt x="1191" y="514"/>
                    <a:pt x="1191" y="514"/>
                    <a:pt x="1191" y="514"/>
                  </a:cubicBezTo>
                  <a:cubicBezTo>
                    <a:pt x="1201" y="525"/>
                    <a:pt x="1201" y="525"/>
                    <a:pt x="1201" y="525"/>
                  </a:cubicBezTo>
                  <a:cubicBezTo>
                    <a:pt x="1200" y="542"/>
                    <a:pt x="1200" y="542"/>
                    <a:pt x="1200" y="542"/>
                  </a:cubicBezTo>
                  <a:cubicBezTo>
                    <a:pt x="1196" y="541"/>
                    <a:pt x="1167" y="507"/>
                    <a:pt x="1167" y="507"/>
                  </a:cubicBezTo>
                  <a:cubicBezTo>
                    <a:pt x="1167" y="507"/>
                    <a:pt x="1163" y="492"/>
                    <a:pt x="1163" y="481"/>
                  </a:cubicBezTo>
                  <a:cubicBezTo>
                    <a:pt x="1163" y="470"/>
                    <a:pt x="1181" y="467"/>
                    <a:pt x="1185" y="466"/>
                  </a:cubicBezTo>
                  <a:cubicBezTo>
                    <a:pt x="1189" y="465"/>
                    <a:pt x="1187" y="454"/>
                    <a:pt x="1193" y="448"/>
                  </a:cubicBezTo>
                  <a:cubicBezTo>
                    <a:pt x="1199" y="442"/>
                    <a:pt x="1224" y="448"/>
                    <a:pt x="1228" y="448"/>
                  </a:cubicBezTo>
                  <a:cubicBezTo>
                    <a:pt x="1232" y="448"/>
                    <a:pt x="1240" y="442"/>
                    <a:pt x="1253" y="443"/>
                  </a:cubicBezTo>
                  <a:cubicBezTo>
                    <a:pt x="1266" y="444"/>
                    <a:pt x="1274" y="451"/>
                    <a:pt x="1281" y="452"/>
                  </a:cubicBezTo>
                  <a:cubicBezTo>
                    <a:pt x="1288" y="453"/>
                    <a:pt x="1293" y="456"/>
                    <a:pt x="1306" y="458"/>
                  </a:cubicBezTo>
                  <a:cubicBezTo>
                    <a:pt x="1319" y="460"/>
                    <a:pt x="1315" y="449"/>
                    <a:pt x="1328" y="449"/>
                  </a:cubicBezTo>
                  <a:cubicBezTo>
                    <a:pt x="1341" y="449"/>
                    <a:pt x="1360" y="454"/>
                    <a:pt x="1360" y="454"/>
                  </a:cubicBezTo>
                  <a:cubicBezTo>
                    <a:pt x="1360" y="454"/>
                    <a:pt x="1370" y="445"/>
                    <a:pt x="1384" y="443"/>
                  </a:cubicBezTo>
                  <a:cubicBezTo>
                    <a:pt x="1398" y="441"/>
                    <a:pt x="1390" y="460"/>
                    <a:pt x="1385" y="465"/>
                  </a:cubicBezTo>
                  <a:close/>
                </a:path>
              </a:pathLst>
            </a:custGeom>
            <a:solidFill>
              <a:schemeClr val="accent1"/>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04" name="Jordan">
              <a:extLst>
                <a:ext uri="{FF2B5EF4-FFF2-40B4-BE49-F238E27FC236}">
                  <a16:creationId xmlns:a16="http://schemas.microsoft.com/office/drawing/2014/main" id="{CC0C0B1B-3CE3-4CF8-AD24-7C75FE11CFDE}"/>
                </a:ext>
              </a:extLst>
            </p:cNvPr>
            <p:cNvSpPr>
              <a:spLocks/>
            </p:cNvSpPr>
            <p:nvPr/>
          </p:nvSpPr>
          <p:spPr bwMode="gray">
            <a:xfrm>
              <a:off x="6518056" y="3080717"/>
              <a:ext cx="104793" cy="131702"/>
            </a:xfrm>
            <a:custGeom>
              <a:avLst/>
              <a:gdLst>
                <a:gd name="T0" fmla="*/ 169 w 186"/>
                <a:gd name="T1" fmla="*/ 44 h 236"/>
                <a:gd name="T2" fmla="*/ 169 w 186"/>
                <a:gd name="T3" fmla="*/ 30 h 236"/>
                <a:gd name="T4" fmla="*/ 157 w 186"/>
                <a:gd name="T5" fmla="*/ 0 h 236"/>
                <a:gd name="T6" fmla="*/ 73 w 186"/>
                <a:gd name="T7" fmla="*/ 57 h 236"/>
                <a:gd name="T8" fmla="*/ 45 w 186"/>
                <a:gd name="T9" fmla="*/ 45 h 236"/>
                <a:gd name="T10" fmla="*/ 23 w 186"/>
                <a:gd name="T11" fmla="*/ 33 h 236"/>
                <a:gd name="T12" fmla="*/ 19 w 186"/>
                <a:gd name="T13" fmla="*/ 36 h 236"/>
                <a:gd name="T14" fmla="*/ 16 w 186"/>
                <a:gd name="T15" fmla="*/ 45 h 236"/>
                <a:gd name="T16" fmla="*/ 17 w 186"/>
                <a:gd name="T17" fmla="*/ 93 h 236"/>
                <a:gd name="T18" fmla="*/ 10 w 186"/>
                <a:gd name="T19" fmla="*/ 107 h 236"/>
                <a:gd name="T20" fmla="*/ 16 w 186"/>
                <a:gd name="T21" fmla="*/ 115 h 236"/>
                <a:gd name="T22" fmla="*/ 15 w 186"/>
                <a:gd name="T23" fmla="*/ 134 h 236"/>
                <a:gd name="T24" fmla="*/ 4 w 186"/>
                <a:gd name="T25" fmla="*/ 158 h 236"/>
                <a:gd name="T26" fmla="*/ 0 w 186"/>
                <a:gd name="T27" fmla="*/ 211 h 236"/>
                <a:gd name="T28" fmla="*/ 2 w 186"/>
                <a:gd name="T29" fmla="*/ 217 h 236"/>
                <a:gd name="T30" fmla="*/ 3 w 186"/>
                <a:gd name="T31" fmla="*/ 217 h 236"/>
                <a:gd name="T32" fmla="*/ 55 w 186"/>
                <a:gd name="T33" fmla="*/ 225 h 236"/>
                <a:gd name="T34" fmla="*/ 77 w 186"/>
                <a:gd name="T35" fmla="*/ 185 h 236"/>
                <a:gd name="T36" fmla="*/ 108 w 186"/>
                <a:gd name="T37" fmla="*/ 180 h 236"/>
                <a:gd name="T38" fmla="*/ 122 w 186"/>
                <a:gd name="T39" fmla="*/ 147 h 236"/>
                <a:gd name="T40" fmla="*/ 96 w 186"/>
                <a:gd name="T41" fmla="*/ 108 h 236"/>
                <a:gd name="T42" fmla="*/ 64 w 186"/>
                <a:gd name="T43" fmla="*/ 100 h 236"/>
                <a:gd name="T44" fmla="*/ 96 w 186"/>
                <a:gd name="T45" fmla="*/ 94 h 236"/>
                <a:gd name="T46" fmla="*/ 124 w 186"/>
                <a:gd name="T47" fmla="*/ 94 h 236"/>
                <a:gd name="T48" fmla="*/ 132 w 186"/>
                <a:gd name="T49" fmla="*/ 80 h 236"/>
                <a:gd name="T50" fmla="*/ 166 w 186"/>
                <a:gd name="T51" fmla="*/ 76 h 236"/>
                <a:gd name="T52" fmla="*/ 185 w 186"/>
                <a:gd name="T53" fmla="*/ 62 h 236"/>
                <a:gd name="T54" fmla="*/ 186 w 186"/>
                <a:gd name="T55" fmla="*/ 53 h 236"/>
                <a:gd name="T56" fmla="*/ 169 w 186"/>
                <a:gd name="T57"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 h="236">
                  <a:moveTo>
                    <a:pt x="169" y="44"/>
                  </a:moveTo>
                  <a:cubicBezTo>
                    <a:pt x="169" y="30"/>
                    <a:pt x="169" y="30"/>
                    <a:pt x="169" y="30"/>
                  </a:cubicBezTo>
                  <a:cubicBezTo>
                    <a:pt x="157" y="0"/>
                    <a:pt x="157" y="0"/>
                    <a:pt x="157" y="0"/>
                  </a:cubicBezTo>
                  <a:cubicBezTo>
                    <a:pt x="154" y="2"/>
                    <a:pt x="94" y="57"/>
                    <a:pt x="73" y="57"/>
                  </a:cubicBezTo>
                  <a:cubicBezTo>
                    <a:pt x="52" y="57"/>
                    <a:pt x="45" y="45"/>
                    <a:pt x="45" y="45"/>
                  </a:cubicBezTo>
                  <a:cubicBezTo>
                    <a:pt x="23" y="33"/>
                    <a:pt x="23" y="33"/>
                    <a:pt x="23" y="33"/>
                  </a:cubicBezTo>
                  <a:cubicBezTo>
                    <a:pt x="19" y="36"/>
                    <a:pt x="19" y="36"/>
                    <a:pt x="19" y="36"/>
                  </a:cubicBezTo>
                  <a:cubicBezTo>
                    <a:pt x="16" y="45"/>
                    <a:pt x="16" y="45"/>
                    <a:pt x="16" y="45"/>
                  </a:cubicBezTo>
                  <a:cubicBezTo>
                    <a:pt x="17" y="93"/>
                    <a:pt x="17" y="93"/>
                    <a:pt x="17" y="93"/>
                  </a:cubicBezTo>
                  <a:cubicBezTo>
                    <a:pt x="17" y="93"/>
                    <a:pt x="10" y="103"/>
                    <a:pt x="10" y="107"/>
                  </a:cubicBezTo>
                  <a:cubicBezTo>
                    <a:pt x="10" y="111"/>
                    <a:pt x="12" y="111"/>
                    <a:pt x="16" y="115"/>
                  </a:cubicBezTo>
                  <a:cubicBezTo>
                    <a:pt x="20" y="119"/>
                    <a:pt x="18" y="127"/>
                    <a:pt x="15" y="134"/>
                  </a:cubicBezTo>
                  <a:cubicBezTo>
                    <a:pt x="12" y="141"/>
                    <a:pt x="4" y="146"/>
                    <a:pt x="4" y="158"/>
                  </a:cubicBezTo>
                  <a:cubicBezTo>
                    <a:pt x="4" y="170"/>
                    <a:pt x="0" y="211"/>
                    <a:pt x="0" y="211"/>
                  </a:cubicBezTo>
                  <a:cubicBezTo>
                    <a:pt x="2" y="217"/>
                    <a:pt x="2" y="217"/>
                    <a:pt x="2" y="217"/>
                  </a:cubicBezTo>
                  <a:cubicBezTo>
                    <a:pt x="2" y="217"/>
                    <a:pt x="3" y="217"/>
                    <a:pt x="3" y="217"/>
                  </a:cubicBezTo>
                  <a:cubicBezTo>
                    <a:pt x="10" y="216"/>
                    <a:pt x="41" y="236"/>
                    <a:pt x="55" y="225"/>
                  </a:cubicBezTo>
                  <a:cubicBezTo>
                    <a:pt x="69" y="214"/>
                    <a:pt x="71" y="187"/>
                    <a:pt x="77" y="185"/>
                  </a:cubicBezTo>
                  <a:cubicBezTo>
                    <a:pt x="83" y="183"/>
                    <a:pt x="100" y="187"/>
                    <a:pt x="108" y="180"/>
                  </a:cubicBezTo>
                  <a:cubicBezTo>
                    <a:pt x="116" y="173"/>
                    <a:pt x="122" y="147"/>
                    <a:pt x="122" y="147"/>
                  </a:cubicBezTo>
                  <a:cubicBezTo>
                    <a:pt x="122" y="147"/>
                    <a:pt x="103" y="112"/>
                    <a:pt x="96" y="108"/>
                  </a:cubicBezTo>
                  <a:cubicBezTo>
                    <a:pt x="89" y="104"/>
                    <a:pt x="57" y="107"/>
                    <a:pt x="64" y="100"/>
                  </a:cubicBezTo>
                  <a:cubicBezTo>
                    <a:pt x="71" y="93"/>
                    <a:pt x="96" y="94"/>
                    <a:pt x="96" y="94"/>
                  </a:cubicBezTo>
                  <a:cubicBezTo>
                    <a:pt x="124" y="94"/>
                    <a:pt x="124" y="94"/>
                    <a:pt x="124" y="94"/>
                  </a:cubicBezTo>
                  <a:cubicBezTo>
                    <a:pt x="132" y="80"/>
                    <a:pt x="132" y="80"/>
                    <a:pt x="132" y="80"/>
                  </a:cubicBezTo>
                  <a:cubicBezTo>
                    <a:pt x="132" y="80"/>
                    <a:pt x="160" y="82"/>
                    <a:pt x="166" y="76"/>
                  </a:cubicBezTo>
                  <a:cubicBezTo>
                    <a:pt x="172" y="70"/>
                    <a:pt x="185" y="62"/>
                    <a:pt x="185" y="62"/>
                  </a:cubicBezTo>
                  <a:cubicBezTo>
                    <a:pt x="186" y="53"/>
                    <a:pt x="186" y="53"/>
                    <a:pt x="186" y="53"/>
                  </a:cubicBezTo>
                  <a:lnTo>
                    <a:pt x="169" y="44"/>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03" name="Jerusalem">
              <a:extLst>
                <a:ext uri="{FF2B5EF4-FFF2-40B4-BE49-F238E27FC236}">
                  <a16:creationId xmlns:a16="http://schemas.microsoft.com/office/drawing/2014/main" id="{FECA3F26-B168-4901-94BD-2D65C6E210C6}"/>
                </a:ext>
              </a:extLst>
            </p:cNvPr>
            <p:cNvSpPr>
              <a:spLocks/>
            </p:cNvSpPr>
            <p:nvPr/>
          </p:nvSpPr>
          <p:spPr bwMode="gray">
            <a:xfrm>
              <a:off x="6510117" y="3106105"/>
              <a:ext cx="17465" cy="39670"/>
            </a:xfrm>
            <a:custGeom>
              <a:avLst/>
              <a:gdLst>
                <a:gd name="T0" fmla="*/ 21 w 32"/>
                <a:gd name="T1" fmla="*/ 54 h 70"/>
                <a:gd name="T2" fmla="*/ 27 w 32"/>
                <a:gd name="T3" fmla="*/ 56 h 70"/>
                <a:gd name="T4" fmla="*/ 32 w 32"/>
                <a:gd name="T5" fmla="*/ 47 h 70"/>
                <a:gd name="T6" fmla="*/ 31 w 32"/>
                <a:gd name="T7" fmla="*/ 1 h 70"/>
                <a:gd name="T8" fmla="*/ 13 w 32"/>
                <a:gd name="T9" fmla="*/ 2 h 70"/>
                <a:gd name="T10" fmla="*/ 6 w 32"/>
                <a:gd name="T11" fmla="*/ 21 h 70"/>
                <a:gd name="T12" fmla="*/ 6 w 32"/>
                <a:gd name="T13" fmla="*/ 40 h 70"/>
                <a:gd name="T14" fmla="*/ 7 w 32"/>
                <a:gd name="T15" fmla="*/ 62 h 70"/>
                <a:gd name="T16" fmla="*/ 21 w 32"/>
                <a:gd name="T1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70">
                  <a:moveTo>
                    <a:pt x="21" y="54"/>
                  </a:moveTo>
                  <a:cubicBezTo>
                    <a:pt x="22" y="53"/>
                    <a:pt x="24" y="54"/>
                    <a:pt x="27" y="56"/>
                  </a:cubicBezTo>
                  <a:cubicBezTo>
                    <a:pt x="29" y="51"/>
                    <a:pt x="32" y="47"/>
                    <a:pt x="32" y="47"/>
                  </a:cubicBezTo>
                  <a:cubicBezTo>
                    <a:pt x="31" y="1"/>
                    <a:pt x="31" y="1"/>
                    <a:pt x="31" y="1"/>
                  </a:cubicBezTo>
                  <a:cubicBezTo>
                    <a:pt x="26" y="0"/>
                    <a:pt x="17" y="0"/>
                    <a:pt x="13" y="2"/>
                  </a:cubicBezTo>
                  <a:cubicBezTo>
                    <a:pt x="7" y="6"/>
                    <a:pt x="6" y="21"/>
                    <a:pt x="6" y="21"/>
                  </a:cubicBezTo>
                  <a:cubicBezTo>
                    <a:pt x="6" y="21"/>
                    <a:pt x="7" y="34"/>
                    <a:pt x="6" y="40"/>
                  </a:cubicBezTo>
                  <a:cubicBezTo>
                    <a:pt x="5" y="46"/>
                    <a:pt x="0" y="54"/>
                    <a:pt x="7" y="62"/>
                  </a:cubicBezTo>
                  <a:cubicBezTo>
                    <a:pt x="13" y="70"/>
                    <a:pt x="18" y="55"/>
                    <a:pt x="21" y="54"/>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08" name="Japan">
              <a:extLst>
                <a:ext uri="{FF2B5EF4-FFF2-40B4-BE49-F238E27FC236}">
                  <a16:creationId xmlns:a16="http://schemas.microsoft.com/office/drawing/2014/main" id="{02A990CD-3D3C-4609-9CFD-60EF41A70608}"/>
                </a:ext>
              </a:extLst>
            </p:cNvPr>
            <p:cNvSpPr>
              <a:spLocks noEditPoints="1"/>
            </p:cNvSpPr>
            <p:nvPr/>
          </p:nvSpPr>
          <p:spPr bwMode="gray">
            <a:xfrm>
              <a:off x="8817155" y="2711000"/>
              <a:ext cx="331845" cy="644228"/>
            </a:xfrm>
            <a:custGeom>
              <a:avLst/>
              <a:gdLst>
                <a:gd name="T0" fmla="*/ 529 w 591"/>
                <a:gd name="T1" fmla="*/ 401 h 1153"/>
                <a:gd name="T2" fmla="*/ 547 w 591"/>
                <a:gd name="T3" fmla="*/ 349 h 1153"/>
                <a:gd name="T4" fmla="*/ 492 w 591"/>
                <a:gd name="T5" fmla="*/ 276 h 1153"/>
                <a:gd name="T6" fmla="*/ 448 w 591"/>
                <a:gd name="T7" fmla="*/ 241 h 1153"/>
                <a:gd name="T8" fmla="*/ 441 w 591"/>
                <a:gd name="T9" fmla="*/ 258 h 1153"/>
                <a:gd name="T10" fmla="*/ 418 w 591"/>
                <a:gd name="T11" fmla="*/ 264 h 1153"/>
                <a:gd name="T12" fmla="*/ 456 w 591"/>
                <a:gd name="T13" fmla="*/ 373 h 1153"/>
                <a:gd name="T14" fmla="*/ 443 w 591"/>
                <a:gd name="T15" fmla="*/ 450 h 1153"/>
                <a:gd name="T16" fmla="*/ 383 w 591"/>
                <a:gd name="T17" fmla="*/ 448 h 1153"/>
                <a:gd name="T18" fmla="*/ 367 w 591"/>
                <a:gd name="T19" fmla="*/ 514 h 1153"/>
                <a:gd name="T20" fmla="*/ 259 w 591"/>
                <a:gd name="T21" fmla="*/ 546 h 1153"/>
                <a:gd name="T22" fmla="*/ 179 w 591"/>
                <a:gd name="T23" fmla="*/ 601 h 1153"/>
                <a:gd name="T24" fmla="*/ 241 w 591"/>
                <a:gd name="T25" fmla="*/ 607 h 1153"/>
                <a:gd name="T26" fmla="*/ 331 w 591"/>
                <a:gd name="T27" fmla="*/ 584 h 1153"/>
                <a:gd name="T28" fmla="*/ 407 w 591"/>
                <a:gd name="T29" fmla="*/ 654 h 1153"/>
                <a:gd name="T30" fmla="*/ 415 w 591"/>
                <a:gd name="T31" fmla="*/ 583 h 1153"/>
                <a:gd name="T32" fmla="*/ 464 w 591"/>
                <a:gd name="T33" fmla="*/ 585 h 1153"/>
                <a:gd name="T34" fmla="*/ 528 w 591"/>
                <a:gd name="T35" fmla="*/ 556 h 1153"/>
                <a:gd name="T36" fmla="*/ 578 w 591"/>
                <a:gd name="T37" fmla="*/ 538 h 1153"/>
                <a:gd name="T38" fmla="*/ 299 w 591"/>
                <a:gd name="T39" fmla="*/ 628 h 1153"/>
                <a:gd name="T40" fmla="*/ 276 w 591"/>
                <a:gd name="T41" fmla="*/ 674 h 1153"/>
                <a:gd name="T42" fmla="*/ 358 w 591"/>
                <a:gd name="T43" fmla="*/ 638 h 1153"/>
                <a:gd name="T44" fmla="*/ 256 w 591"/>
                <a:gd name="T45" fmla="*/ 689 h 1153"/>
                <a:gd name="T46" fmla="*/ 184 w 591"/>
                <a:gd name="T47" fmla="*/ 634 h 1153"/>
                <a:gd name="T48" fmla="*/ 174 w 591"/>
                <a:gd name="T49" fmla="*/ 687 h 1153"/>
                <a:gd name="T50" fmla="*/ 182 w 591"/>
                <a:gd name="T51" fmla="*/ 727 h 1153"/>
                <a:gd name="T52" fmla="*/ 233 w 591"/>
                <a:gd name="T53" fmla="*/ 780 h 1153"/>
                <a:gd name="T54" fmla="*/ 172 w 591"/>
                <a:gd name="T55" fmla="*/ 718 h 1153"/>
                <a:gd name="T56" fmla="*/ 432 w 591"/>
                <a:gd name="T57" fmla="*/ 423 h 1153"/>
                <a:gd name="T58" fmla="*/ 411 w 591"/>
                <a:gd name="T59" fmla="*/ 400 h 1153"/>
                <a:gd name="T60" fmla="*/ 374 w 591"/>
                <a:gd name="T61" fmla="*/ 72 h 1153"/>
                <a:gd name="T62" fmla="*/ 354 w 591"/>
                <a:gd name="T63" fmla="*/ 123 h 1153"/>
                <a:gd name="T64" fmla="*/ 390 w 591"/>
                <a:gd name="T65" fmla="*/ 198 h 1153"/>
                <a:gd name="T66" fmla="*/ 437 w 591"/>
                <a:gd name="T67" fmla="*/ 205 h 1153"/>
                <a:gd name="T68" fmla="*/ 409 w 591"/>
                <a:gd name="T69" fmla="*/ 179 h 1153"/>
                <a:gd name="T70" fmla="*/ 557 w 591"/>
                <a:gd name="T71" fmla="*/ 147 h 1153"/>
                <a:gd name="T72" fmla="*/ 523 w 591"/>
                <a:gd name="T73" fmla="*/ 96 h 1153"/>
                <a:gd name="T74" fmla="*/ 194 w 591"/>
                <a:gd name="T75" fmla="*/ 984 h 1153"/>
                <a:gd name="T76" fmla="*/ 208 w 591"/>
                <a:gd name="T77" fmla="*/ 933 h 1153"/>
                <a:gd name="T78" fmla="*/ 208 w 591"/>
                <a:gd name="T79" fmla="*/ 933 h 1153"/>
                <a:gd name="T80" fmla="*/ 230 w 591"/>
                <a:gd name="T81" fmla="*/ 810 h 1153"/>
                <a:gd name="T82" fmla="*/ 252 w 591"/>
                <a:gd name="T83" fmla="*/ 792 h 1153"/>
                <a:gd name="T84" fmla="*/ 252 w 591"/>
                <a:gd name="T85" fmla="*/ 792 h 1153"/>
                <a:gd name="T86" fmla="*/ 32 w 591"/>
                <a:gd name="T87" fmla="*/ 1144 h 1153"/>
                <a:gd name="T88" fmla="*/ 90 w 591"/>
                <a:gd name="T89" fmla="*/ 1125 h 1153"/>
                <a:gd name="T90" fmla="*/ 16 w 591"/>
                <a:gd name="T91" fmla="*/ 1134 h 1153"/>
                <a:gd name="T92" fmla="*/ 184 w 591"/>
                <a:gd name="T93" fmla="*/ 1008 h 1153"/>
                <a:gd name="T94" fmla="*/ 198 w 591"/>
                <a:gd name="T95" fmla="*/ 1014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1" h="1153">
                  <a:moveTo>
                    <a:pt x="591" y="531"/>
                  </a:moveTo>
                  <a:cubicBezTo>
                    <a:pt x="591" y="531"/>
                    <a:pt x="559" y="513"/>
                    <a:pt x="560" y="499"/>
                  </a:cubicBezTo>
                  <a:cubicBezTo>
                    <a:pt x="561" y="485"/>
                    <a:pt x="562" y="459"/>
                    <a:pt x="556" y="447"/>
                  </a:cubicBezTo>
                  <a:cubicBezTo>
                    <a:pt x="550" y="435"/>
                    <a:pt x="526" y="418"/>
                    <a:pt x="529" y="401"/>
                  </a:cubicBezTo>
                  <a:cubicBezTo>
                    <a:pt x="532" y="384"/>
                    <a:pt x="548" y="389"/>
                    <a:pt x="548" y="389"/>
                  </a:cubicBezTo>
                  <a:cubicBezTo>
                    <a:pt x="545" y="362"/>
                    <a:pt x="545" y="362"/>
                    <a:pt x="545" y="362"/>
                  </a:cubicBezTo>
                  <a:cubicBezTo>
                    <a:pt x="537" y="356"/>
                    <a:pt x="537" y="356"/>
                    <a:pt x="537" y="356"/>
                  </a:cubicBezTo>
                  <a:cubicBezTo>
                    <a:pt x="547" y="349"/>
                    <a:pt x="547" y="349"/>
                    <a:pt x="547" y="349"/>
                  </a:cubicBezTo>
                  <a:cubicBezTo>
                    <a:pt x="547" y="349"/>
                    <a:pt x="542" y="331"/>
                    <a:pt x="538" y="321"/>
                  </a:cubicBezTo>
                  <a:cubicBezTo>
                    <a:pt x="534" y="311"/>
                    <a:pt x="520" y="303"/>
                    <a:pt x="520" y="303"/>
                  </a:cubicBezTo>
                  <a:cubicBezTo>
                    <a:pt x="516" y="290"/>
                    <a:pt x="516" y="290"/>
                    <a:pt x="516" y="290"/>
                  </a:cubicBezTo>
                  <a:cubicBezTo>
                    <a:pt x="516" y="290"/>
                    <a:pt x="501" y="283"/>
                    <a:pt x="492" y="276"/>
                  </a:cubicBezTo>
                  <a:cubicBezTo>
                    <a:pt x="483" y="269"/>
                    <a:pt x="468" y="253"/>
                    <a:pt x="468" y="244"/>
                  </a:cubicBezTo>
                  <a:cubicBezTo>
                    <a:pt x="468" y="235"/>
                    <a:pt x="465" y="231"/>
                    <a:pt x="465" y="231"/>
                  </a:cubicBezTo>
                  <a:cubicBezTo>
                    <a:pt x="465" y="231"/>
                    <a:pt x="442" y="214"/>
                    <a:pt x="439" y="226"/>
                  </a:cubicBezTo>
                  <a:cubicBezTo>
                    <a:pt x="436" y="238"/>
                    <a:pt x="448" y="241"/>
                    <a:pt x="448" y="241"/>
                  </a:cubicBezTo>
                  <a:cubicBezTo>
                    <a:pt x="455" y="237"/>
                    <a:pt x="455" y="237"/>
                    <a:pt x="455" y="237"/>
                  </a:cubicBezTo>
                  <a:cubicBezTo>
                    <a:pt x="455" y="237"/>
                    <a:pt x="463" y="256"/>
                    <a:pt x="459" y="256"/>
                  </a:cubicBezTo>
                  <a:cubicBezTo>
                    <a:pt x="455" y="256"/>
                    <a:pt x="450" y="249"/>
                    <a:pt x="450" y="249"/>
                  </a:cubicBezTo>
                  <a:cubicBezTo>
                    <a:pt x="441" y="258"/>
                    <a:pt x="441" y="258"/>
                    <a:pt x="441" y="258"/>
                  </a:cubicBezTo>
                  <a:cubicBezTo>
                    <a:pt x="428" y="237"/>
                    <a:pt x="428" y="237"/>
                    <a:pt x="428" y="237"/>
                  </a:cubicBezTo>
                  <a:cubicBezTo>
                    <a:pt x="416" y="237"/>
                    <a:pt x="416" y="237"/>
                    <a:pt x="416" y="237"/>
                  </a:cubicBezTo>
                  <a:cubicBezTo>
                    <a:pt x="430" y="261"/>
                    <a:pt x="430" y="261"/>
                    <a:pt x="430" y="261"/>
                  </a:cubicBezTo>
                  <a:cubicBezTo>
                    <a:pt x="418" y="264"/>
                    <a:pt x="418" y="264"/>
                    <a:pt x="418" y="264"/>
                  </a:cubicBezTo>
                  <a:cubicBezTo>
                    <a:pt x="437" y="296"/>
                    <a:pt x="437" y="296"/>
                    <a:pt x="437" y="296"/>
                  </a:cubicBezTo>
                  <a:cubicBezTo>
                    <a:pt x="430" y="304"/>
                    <a:pt x="430" y="304"/>
                    <a:pt x="430" y="304"/>
                  </a:cubicBezTo>
                  <a:cubicBezTo>
                    <a:pt x="430" y="304"/>
                    <a:pt x="466" y="322"/>
                    <a:pt x="464" y="337"/>
                  </a:cubicBezTo>
                  <a:cubicBezTo>
                    <a:pt x="462" y="352"/>
                    <a:pt x="456" y="373"/>
                    <a:pt x="456" y="373"/>
                  </a:cubicBezTo>
                  <a:cubicBezTo>
                    <a:pt x="454" y="391"/>
                    <a:pt x="454" y="391"/>
                    <a:pt x="454" y="391"/>
                  </a:cubicBezTo>
                  <a:cubicBezTo>
                    <a:pt x="454" y="391"/>
                    <a:pt x="475" y="404"/>
                    <a:pt x="465" y="411"/>
                  </a:cubicBezTo>
                  <a:cubicBezTo>
                    <a:pt x="455" y="418"/>
                    <a:pt x="447" y="414"/>
                    <a:pt x="447" y="414"/>
                  </a:cubicBezTo>
                  <a:cubicBezTo>
                    <a:pt x="447" y="414"/>
                    <a:pt x="454" y="444"/>
                    <a:pt x="443" y="450"/>
                  </a:cubicBezTo>
                  <a:cubicBezTo>
                    <a:pt x="432" y="456"/>
                    <a:pt x="409" y="464"/>
                    <a:pt x="409" y="464"/>
                  </a:cubicBezTo>
                  <a:cubicBezTo>
                    <a:pt x="409" y="473"/>
                    <a:pt x="409" y="473"/>
                    <a:pt x="409" y="473"/>
                  </a:cubicBezTo>
                  <a:cubicBezTo>
                    <a:pt x="409" y="473"/>
                    <a:pt x="398" y="477"/>
                    <a:pt x="389" y="467"/>
                  </a:cubicBezTo>
                  <a:cubicBezTo>
                    <a:pt x="380" y="457"/>
                    <a:pt x="383" y="448"/>
                    <a:pt x="383" y="448"/>
                  </a:cubicBezTo>
                  <a:cubicBezTo>
                    <a:pt x="386" y="435"/>
                    <a:pt x="386" y="435"/>
                    <a:pt x="386" y="435"/>
                  </a:cubicBezTo>
                  <a:cubicBezTo>
                    <a:pt x="386" y="435"/>
                    <a:pt x="360" y="440"/>
                    <a:pt x="364" y="450"/>
                  </a:cubicBezTo>
                  <a:cubicBezTo>
                    <a:pt x="368" y="460"/>
                    <a:pt x="381" y="474"/>
                    <a:pt x="379" y="481"/>
                  </a:cubicBezTo>
                  <a:cubicBezTo>
                    <a:pt x="377" y="488"/>
                    <a:pt x="363" y="504"/>
                    <a:pt x="367" y="514"/>
                  </a:cubicBezTo>
                  <a:cubicBezTo>
                    <a:pt x="371" y="524"/>
                    <a:pt x="384" y="539"/>
                    <a:pt x="374" y="540"/>
                  </a:cubicBezTo>
                  <a:cubicBezTo>
                    <a:pt x="364" y="541"/>
                    <a:pt x="338" y="529"/>
                    <a:pt x="329" y="530"/>
                  </a:cubicBezTo>
                  <a:cubicBezTo>
                    <a:pt x="320" y="531"/>
                    <a:pt x="281" y="546"/>
                    <a:pt x="278" y="546"/>
                  </a:cubicBezTo>
                  <a:cubicBezTo>
                    <a:pt x="275" y="546"/>
                    <a:pt x="259" y="546"/>
                    <a:pt x="259" y="546"/>
                  </a:cubicBezTo>
                  <a:cubicBezTo>
                    <a:pt x="251" y="538"/>
                    <a:pt x="251" y="538"/>
                    <a:pt x="251" y="538"/>
                  </a:cubicBezTo>
                  <a:cubicBezTo>
                    <a:pt x="229" y="555"/>
                    <a:pt x="229" y="555"/>
                    <a:pt x="229" y="555"/>
                  </a:cubicBezTo>
                  <a:cubicBezTo>
                    <a:pt x="229" y="555"/>
                    <a:pt x="202" y="600"/>
                    <a:pt x="198" y="600"/>
                  </a:cubicBezTo>
                  <a:cubicBezTo>
                    <a:pt x="194" y="600"/>
                    <a:pt x="179" y="601"/>
                    <a:pt x="179" y="601"/>
                  </a:cubicBezTo>
                  <a:cubicBezTo>
                    <a:pt x="179" y="601"/>
                    <a:pt x="184" y="625"/>
                    <a:pt x="191" y="625"/>
                  </a:cubicBezTo>
                  <a:cubicBezTo>
                    <a:pt x="198" y="625"/>
                    <a:pt x="210" y="621"/>
                    <a:pt x="210" y="621"/>
                  </a:cubicBezTo>
                  <a:cubicBezTo>
                    <a:pt x="210" y="621"/>
                    <a:pt x="229" y="632"/>
                    <a:pt x="234" y="630"/>
                  </a:cubicBezTo>
                  <a:cubicBezTo>
                    <a:pt x="239" y="628"/>
                    <a:pt x="241" y="607"/>
                    <a:pt x="241" y="607"/>
                  </a:cubicBezTo>
                  <a:cubicBezTo>
                    <a:pt x="256" y="615"/>
                    <a:pt x="256" y="615"/>
                    <a:pt x="256" y="615"/>
                  </a:cubicBezTo>
                  <a:cubicBezTo>
                    <a:pt x="256" y="615"/>
                    <a:pt x="290" y="598"/>
                    <a:pt x="295" y="595"/>
                  </a:cubicBezTo>
                  <a:cubicBezTo>
                    <a:pt x="300" y="592"/>
                    <a:pt x="313" y="601"/>
                    <a:pt x="321" y="600"/>
                  </a:cubicBezTo>
                  <a:cubicBezTo>
                    <a:pt x="329" y="599"/>
                    <a:pt x="314" y="584"/>
                    <a:pt x="331" y="584"/>
                  </a:cubicBezTo>
                  <a:cubicBezTo>
                    <a:pt x="348" y="584"/>
                    <a:pt x="352" y="593"/>
                    <a:pt x="352" y="593"/>
                  </a:cubicBezTo>
                  <a:cubicBezTo>
                    <a:pt x="352" y="593"/>
                    <a:pt x="372" y="580"/>
                    <a:pt x="376" y="588"/>
                  </a:cubicBezTo>
                  <a:cubicBezTo>
                    <a:pt x="380" y="596"/>
                    <a:pt x="367" y="615"/>
                    <a:pt x="367" y="615"/>
                  </a:cubicBezTo>
                  <a:cubicBezTo>
                    <a:pt x="367" y="615"/>
                    <a:pt x="387" y="654"/>
                    <a:pt x="407" y="654"/>
                  </a:cubicBezTo>
                  <a:cubicBezTo>
                    <a:pt x="427" y="654"/>
                    <a:pt x="425" y="616"/>
                    <a:pt x="425" y="616"/>
                  </a:cubicBezTo>
                  <a:cubicBezTo>
                    <a:pt x="447" y="612"/>
                    <a:pt x="447" y="612"/>
                    <a:pt x="447" y="612"/>
                  </a:cubicBezTo>
                  <a:cubicBezTo>
                    <a:pt x="447" y="612"/>
                    <a:pt x="430" y="592"/>
                    <a:pt x="427" y="591"/>
                  </a:cubicBezTo>
                  <a:cubicBezTo>
                    <a:pt x="424" y="590"/>
                    <a:pt x="415" y="583"/>
                    <a:pt x="415" y="583"/>
                  </a:cubicBezTo>
                  <a:cubicBezTo>
                    <a:pt x="426" y="568"/>
                    <a:pt x="426" y="568"/>
                    <a:pt x="426" y="568"/>
                  </a:cubicBezTo>
                  <a:cubicBezTo>
                    <a:pt x="435" y="567"/>
                    <a:pt x="429" y="581"/>
                    <a:pt x="439" y="581"/>
                  </a:cubicBezTo>
                  <a:cubicBezTo>
                    <a:pt x="449" y="581"/>
                    <a:pt x="452" y="594"/>
                    <a:pt x="452" y="594"/>
                  </a:cubicBezTo>
                  <a:cubicBezTo>
                    <a:pt x="464" y="585"/>
                    <a:pt x="464" y="585"/>
                    <a:pt x="464" y="585"/>
                  </a:cubicBezTo>
                  <a:cubicBezTo>
                    <a:pt x="464" y="585"/>
                    <a:pt x="479" y="593"/>
                    <a:pt x="494" y="589"/>
                  </a:cubicBezTo>
                  <a:cubicBezTo>
                    <a:pt x="509" y="585"/>
                    <a:pt x="491" y="564"/>
                    <a:pt x="508" y="566"/>
                  </a:cubicBezTo>
                  <a:cubicBezTo>
                    <a:pt x="525" y="568"/>
                    <a:pt x="516" y="596"/>
                    <a:pt x="527" y="590"/>
                  </a:cubicBezTo>
                  <a:cubicBezTo>
                    <a:pt x="538" y="584"/>
                    <a:pt x="520" y="561"/>
                    <a:pt x="528" y="556"/>
                  </a:cubicBezTo>
                  <a:cubicBezTo>
                    <a:pt x="536" y="551"/>
                    <a:pt x="541" y="553"/>
                    <a:pt x="541" y="553"/>
                  </a:cubicBezTo>
                  <a:cubicBezTo>
                    <a:pt x="541" y="553"/>
                    <a:pt x="543" y="522"/>
                    <a:pt x="555" y="534"/>
                  </a:cubicBezTo>
                  <a:cubicBezTo>
                    <a:pt x="567" y="546"/>
                    <a:pt x="548" y="571"/>
                    <a:pt x="568" y="570"/>
                  </a:cubicBezTo>
                  <a:cubicBezTo>
                    <a:pt x="588" y="569"/>
                    <a:pt x="578" y="538"/>
                    <a:pt x="578" y="538"/>
                  </a:cubicBezTo>
                  <a:lnTo>
                    <a:pt x="591" y="531"/>
                  </a:lnTo>
                  <a:close/>
                  <a:moveTo>
                    <a:pt x="338" y="618"/>
                  </a:moveTo>
                  <a:cubicBezTo>
                    <a:pt x="338" y="618"/>
                    <a:pt x="321" y="605"/>
                    <a:pt x="312" y="606"/>
                  </a:cubicBezTo>
                  <a:cubicBezTo>
                    <a:pt x="292" y="608"/>
                    <a:pt x="299" y="628"/>
                    <a:pt x="299" y="628"/>
                  </a:cubicBezTo>
                  <a:cubicBezTo>
                    <a:pt x="299" y="628"/>
                    <a:pt x="282" y="622"/>
                    <a:pt x="272" y="624"/>
                  </a:cubicBezTo>
                  <a:cubicBezTo>
                    <a:pt x="262" y="626"/>
                    <a:pt x="269" y="648"/>
                    <a:pt x="269" y="648"/>
                  </a:cubicBezTo>
                  <a:cubicBezTo>
                    <a:pt x="257" y="659"/>
                    <a:pt x="257" y="659"/>
                    <a:pt x="257" y="659"/>
                  </a:cubicBezTo>
                  <a:cubicBezTo>
                    <a:pt x="257" y="659"/>
                    <a:pt x="270" y="667"/>
                    <a:pt x="276" y="674"/>
                  </a:cubicBezTo>
                  <a:cubicBezTo>
                    <a:pt x="282" y="681"/>
                    <a:pt x="305" y="695"/>
                    <a:pt x="305" y="695"/>
                  </a:cubicBezTo>
                  <a:cubicBezTo>
                    <a:pt x="305" y="695"/>
                    <a:pt x="299" y="664"/>
                    <a:pt x="314" y="654"/>
                  </a:cubicBezTo>
                  <a:cubicBezTo>
                    <a:pt x="329" y="644"/>
                    <a:pt x="351" y="672"/>
                    <a:pt x="351" y="672"/>
                  </a:cubicBezTo>
                  <a:cubicBezTo>
                    <a:pt x="351" y="672"/>
                    <a:pt x="356" y="650"/>
                    <a:pt x="358" y="638"/>
                  </a:cubicBezTo>
                  <a:cubicBezTo>
                    <a:pt x="360" y="626"/>
                    <a:pt x="351" y="615"/>
                    <a:pt x="351" y="615"/>
                  </a:cubicBezTo>
                  <a:lnTo>
                    <a:pt x="338" y="618"/>
                  </a:lnTo>
                  <a:close/>
                  <a:moveTo>
                    <a:pt x="241" y="709"/>
                  </a:moveTo>
                  <a:cubicBezTo>
                    <a:pt x="241" y="698"/>
                    <a:pt x="256" y="689"/>
                    <a:pt x="256" y="689"/>
                  </a:cubicBezTo>
                  <a:cubicBezTo>
                    <a:pt x="255" y="677"/>
                    <a:pt x="232" y="662"/>
                    <a:pt x="232" y="662"/>
                  </a:cubicBezTo>
                  <a:cubicBezTo>
                    <a:pt x="232" y="662"/>
                    <a:pt x="231" y="652"/>
                    <a:pt x="224" y="649"/>
                  </a:cubicBezTo>
                  <a:cubicBezTo>
                    <a:pt x="217" y="646"/>
                    <a:pt x="212" y="648"/>
                    <a:pt x="212" y="648"/>
                  </a:cubicBezTo>
                  <a:cubicBezTo>
                    <a:pt x="212" y="648"/>
                    <a:pt x="191" y="634"/>
                    <a:pt x="184" y="634"/>
                  </a:cubicBezTo>
                  <a:cubicBezTo>
                    <a:pt x="177" y="634"/>
                    <a:pt x="168" y="646"/>
                    <a:pt x="168" y="646"/>
                  </a:cubicBezTo>
                  <a:cubicBezTo>
                    <a:pt x="143" y="660"/>
                    <a:pt x="143" y="660"/>
                    <a:pt x="143" y="660"/>
                  </a:cubicBezTo>
                  <a:cubicBezTo>
                    <a:pt x="162" y="693"/>
                    <a:pt x="162" y="693"/>
                    <a:pt x="162" y="693"/>
                  </a:cubicBezTo>
                  <a:cubicBezTo>
                    <a:pt x="174" y="687"/>
                    <a:pt x="174" y="687"/>
                    <a:pt x="174" y="687"/>
                  </a:cubicBezTo>
                  <a:cubicBezTo>
                    <a:pt x="174" y="687"/>
                    <a:pt x="167" y="668"/>
                    <a:pt x="175" y="672"/>
                  </a:cubicBezTo>
                  <a:cubicBezTo>
                    <a:pt x="183" y="676"/>
                    <a:pt x="195" y="697"/>
                    <a:pt x="195" y="697"/>
                  </a:cubicBezTo>
                  <a:cubicBezTo>
                    <a:pt x="194" y="722"/>
                    <a:pt x="194" y="722"/>
                    <a:pt x="194" y="722"/>
                  </a:cubicBezTo>
                  <a:cubicBezTo>
                    <a:pt x="182" y="727"/>
                    <a:pt x="182" y="727"/>
                    <a:pt x="182" y="727"/>
                  </a:cubicBezTo>
                  <a:cubicBezTo>
                    <a:pt x="182" y="727"/>
                    <a:pt x="193" y="774"/>
                    <a:pt x="203" y="776"/>
                  </a:cubicBezTo>
                  <a:cubicBezTo>
                    <a:pt x="213" y="778"/>
                    <a:pt x="211" y="746"/>
                    <a:pt x="211" y="746"/>
                  </a:cubicBezTo>
                  <a:cubicBezTo>
                    <a:pt x="232" y="753"/>
                    <a:pt x="232" y="753"/>
                    <a:pt x="232" y="753"/>
                  </a:cubicBezTo>
                  <a:cubicBezTo>
                    <a:pt x="232" y="753"/>
                    <a:pt x="229" y="780"/>
                    <a:pt x="233" y="780"/>
                  </a:cubicBezTo>
                  <a:cubicBezTo>
                    <a:pt x="237" y="780"/>
                    <a:pt x="251" y="756"/>
                    <a:pt x="251" y="756"/>
                  </a:cubicBezTo>
                  <a:cubicBezTo>
                    <a:pt x="251" y="756"/>
                    <a:pt x="241" y="720"/>
                    <a:pt x="241" y="709"/>
                  </a:cubicBezTo>
                  <a:close/>
                  <a:moveTo>
                    <a:pt x="183" y="693"/>
                  </a:moveTo>
                  <a:cubicBezTo>
                    <a:pt x="172" y="718"/>
                    <a:pt x="172" y="718"/>
                    <a:pt x="172" y="718"/>
                  </a:cubicBezTo>
                  <a:cubicBezTo>
                    <a:pt x="184" y="715"/>
                    <a:pt x="184" y="715"/>
                    <a:pt x="184" y="715"/>
                  </a:cubicBezTo>
                  <a:lnTo>
                    <a:pt x="183" y="693"/>
                  </a:lnTo>
                  <a:close/>
                  <a:moveTo>
                    <a:pt x="424" y="424"/>
                  </a:moveTo>
                  <a:cubicBezTo>
                    <a:pt x="432" y="423"/>
                    <a:pt x="432" y="423"/>
                    <a:pt x="432" y="423"/>
                  </a:cubicBezTo>
                  <a:cubicBezTo>
                    <a:pt x="431" y="407"/>
                    <a:pt x="431" y="407"/>
                    <a:pt x="431" y="407"/>
                  </a:cubicBezTo>
                  <a:cubicBezTo>
                    <a:pt x="425" y="405"/>
                    <a:pt x="425" y="405"/>
                    <a:pt x="425" y="405"/>
                  </a:cubicBezTo>
                  <a:cubicBezTo>
                    <a:pt x="415" y="392"/>
                    <a:pt x="415" y="392"/>
                    <a:pt x="415" y="392"/>
                  </a:cubicBezTo>
                  <a:cubicBezTo>
                    <a:pt x="411" y="400"/>
                    <a:pt x="411" y="400"/>
                    <a:pt x="411" y="400"/>
                  </a:cubicBezTo>
                  <a:cubicBezTo>
                    <a:pt x="419" y="409"/>
                    <a:pt x="419" y="409"/>
                    <a:pt x="419" y="409"/>
                  </a:cubicBezTo>
                  <a:lnTo>
                    <a:pt x="424" y="424"/>
                  </a:lnTo>
                  <a:close/>
                  <a:moveTo>
                    <a:pt x="372" y="57"/>
                  </a:moveTo>
                  <a:cubicBezTo>
                    <a:pt x="374" y="72"/>
                    <a:pt x="374" y="72"/>
                    <a:pt x="374" y="72"/>
                  </a:cubicBezTo>
                  <a:cubicBezTo>
                    <a:pt x="374" y="72"/>
                    <a:pt x="391" y="83"/>
                    <a:pt x="391" y="90"/>
                  </a:cubicBezTo>
                  <a:cubicBezTo>
                    <a:pt x="391" y="97"/>
                    <a:pt x="384" y="110"/>
                    <a:pt x="384" y="110"/>
                  </a:cubicBezTo>
                  <a:cubicBezTo>
                    <a:pt x="384" y="110"/>
                    <a:pt x="402" y="132"/>
                    <a:pt x="397" y="133"/>
                  </a:cubicBezTo>
                  <a:cubicBezTo>
                    <a:pt x="391" y="134"/>
                    <a:pt x="359" y="125"/>
                    <a:pt x="354" y="123"/>
                  </a:cubicBezTo>
                  <a:cubicBezTo>
                    <a:pt x="348" y="122"/>
                    <a:pt x="369" y="143"/>
                    <a:pt x="369" y="143"/>
                  </a:cubicBezTo>
                  <a:cubicBezTo>
                    <a:pt x="352" y="161"/>
                    <a:pt x="352" y="161"/>
                    <a:pt x="352" y="161"/>
                  </a:cubicBezTo>
                  <a:cubicBezTo>
                    <a:pt x="352" y="161"/>
                    <a:pt x="358" y="173"/>
                    <a:pt x="361" y="179"/>
                  </a:cubicBezTo>
                  <a:cubicBezTo>
                    <a:pt x="363" y="184"/>
                    <a:pt x="390" y="198"/>
                    <a:pt x="390" y="198"/>
                  </a:cubicBezTo>
                  <a:cubicBezTo>
                    <a:pt x="390" y="198"/>
                    <a:pt x="381" y="231"/>
                    <a:pt x="404" y="230"/>
                  </a:cubicBezTo>
                  <a:cubicBezTo>
                    <a:pt x="414" y="229"/>
                    <a:pt x="398" y="211"/>
                    <a:pt x="410" y="211"/>
                  </a:cubicBezTo>
                  <a:cubicBezTo>
                    <a:pt x="423" y="211"/>
                    <a:pt x="433" y="211"/>
                    <a:pt x="433" y="211"/>
                  </a:cubicBezTo>
                  <a:cubicBezTo>
                    <a:pt x="437" y="205"/>
                    <a:pt x="437" y="205"/>
                    <a:pt x="437" y="205"/>
                  </a:cubicBezTo>
                  <a:cubicBezTo>
                    <a:pt x="412" y="189"/>
                    <a:pt x="412" y="189"/>
                    <a:pt x="412" y="189"/>
                  </a:cubicBezTo>
                  <a:cubicBezTo>
                    <a:pt x="399" y="189"/>
                    <a:pt x="399" y="189"/>
                    <a:pt x="399" y="189"/>
                  </a:cubicBezTo>
                  <a:cubicBezTo>
                    <a:pt x="399" y="189"/>
                    <a:pt x="365" y="176"/>
                    <a:pt x="381" y="169"/>
                  </a:cubicBezTo>
                  <a:cubicBezTo>
                    <a:pt x="398" y="162"/>
                    <a:pt x="409" y="179"/>
                    <a:pt x="409" y="179"/>
                  </a:cubicBezTo>
                  <a:cubicBezTo>
                    <a:pt x="409" y="179"/>
                    <a:pt x="423" y="168"/>
                    <a:pt x="433" y="166"/>
                  </a:cubicBezTo>
                  <a:cubicBezTo>
                    <a:pt x="442" y="165"/>
                    <a:pt x="513" y="202"/>
                    <a:pt x="519" y="198"/>
                  </a:cubicBezTo>
                  <a:cubicBezTo>
                    <a:pt x="524" y="194"/>
                    <a:pt x="505" y="155"/>
                    <a:pt x="523" y="148"/>
                  </a:cubicBezTo>
                  <a:cubicBezTo>
                    <a:pt x="541" y="141"/>
                    <a:pt x="539" y="157"/>
                    <a:pt x="557" y="147"/>
                  </a:cubicBezTo>
                  <a:cubicBezTo>
                    <a:pt x="575" y="137"/>
                    <a:pt x="578" y="130"/>
                    <a:pt x="578" y="130"/>
                  </a:cubicBezTo>
                  <a:cubicBezTo>
                    <a:pt x="542" y="107"/>
                    <a:pt x="542" y="107"/>
                    <a:pt x="542" y="107"/>
                  </a:cubicBezTo>
                  <a:cubicBezTo>
                    <a:pt x="542" y="107"/>
                    <a:pt x="542" y="83"/>
                    <a:pt x="535" y="78"/>
                  </a:cubicBezTo>
                  <a:cubicBezTo>
                    <a:pt x="528" y="72"/>
                    <a:pt x="523" y="96"/>
                    <a:pt x="523" y="96"/>
                  </a:cubicBezTo>
                  <a:cubicBezTo>
                    <a:pt x="523" y="96"/>
                    <a:pt x="455" y="80"/>
                    <a:pt x="440" y="69"/>
                  </a:cubicBezTo>
                  <a:cubicBezTo>
                    <a:pt x="424" y="58"/>
                    <a:pt x="350" y="0"/>
                    <a:pt x="340" y="11"/>
                  </a:cubicBezTo>
                  <a:cubicBezTo>
                    <a:pt x="330" y="22"/>
                    <a:pt x="372" y="57"/>
                    <a:pt x="372" y="57"/>
                  </a:cubicBezTo>
                  <a:close/>
                  <a:moveTo>
                    <a:pt x="194" y="984"/>
                  </a:moveTo>
                  <a:cubicBezTo>
                    <a:pt x="209" y="984"/>
                    <a:pt x="209" y="984"/>
                    <a:pt x="209" y="984"/>
                  </a:cubicBezTo>
                  <a:cubicBezTo>
                    <a:pt x="192" y="972"/>
                    <a:pt x="192" y="972"/>
                    <a:pt x="192" y="972"/>
                  </a:cubicBezTo>
                  <a:lnTo>
                    <a:pt x="194" y="984"/>
                  </a:lnTo>
                  <a:close/>
                  <a:moveTo>
                    <a:pt x="208" y="933"/>
                  </a:moveTo>
                  <a:cubicBezTo>
                    <a:pt x="210" y="942"/>
                    <a:pt x="214" y="942"/>
                    <a:pt x="214" y="942"/>
                  </a:cubicBezTo>
                  <a:cubicBezTo>
                    <a:pt x="224" y="944"/>
                    <a:pt x="225" y="934"/>
                    <a:pt x="225" y="934"/>
                  </a:cubicBezTo>
                  <a:cubicBezTo>
                    <a:pt x="225" y="934"/>
                    <a:pt x="240" y="933"/>
                    <a:pt x="233" y="922"/>
                  </a:cubicBezTo>
                  <a:cubicBezTo>
                    <a:pt x="226" y="912"/>
                    <a:pt x="205" y="924"/>
                    <a:pt x="208" y="933"/>
                  </a:cubicBezTo>
                  <a:close/>
                  <a:moveTo>
                    <a:pt x="214" y="956"/>
                  </a:moveTo>
                  <a:cubicBezTo>
                    <a:pt x="204" y="952"/>
                    <a:pt x="205" y="961"/>
                    <a:pt x="205" y="961"/>
                  </a:cubicBezTo>
                  <a:cubicBezTo>
                    <a:pt x="220" y="968"/>
                    <a:pt x="225" y="960"/>
                    <a:pt x="214" y="956"/>
                  </a:cubicBezTo>
                  <a:close/>
                  <a:moveTo>
                    <a:pt x="230" y="810"/>
                  </a:moveTo>
                  <a:cubicBezTo>
                    <a:pt x="230" y="814"/>
                    <a:pt x="217" y="820"/>
                    <a:pt x="217" y="820"/>
                  </a:cubicBezTo>
                  <a:cubicBezTo>
                    <a:pt x="234" y="829"/>
                    <a:pt x="234" y="829"/>
                    <a:pt x="234" y="829"/>
                  </a:cubicBezTo>
                  <a:cubicBezTo>
                    <a:pt x="234" y="829"/>
                    <a:pt x="230" y="806"/>
                    <a:pt x="230" y="810"/>
                  </a:cubicBezTo>
                  <a:close/>
                  <a:moveTo>
                    <a:pt x="252" y="792"/>
                  </a:moveTo>
                  <a:cubicBezTo>
                    <a:pt x="252" y="796"/>
                    <a:pt x="248" y="805"/>
                    <a:pt x="248" y="805"/>
                  </a:cubicBezTo>
                  <a:cubicBezTo>
                    <a:pt x="257" y="825"/>
                    <a:pt x="257" y="825"/>
                    <a:pt x="257" y="825"/>
                  </a:cubicBezTo>
                  <a:cubicBezTo>
                    <a:pt x="258" y="814"/>
                    <a:pt x="258" y="814"/>
                    <a:pt x="258" y="814"/>
                  </a:cubicBezTo>
                  <a:cubicBezTo>
                    <a:pt x="258" y="814"/>
                    <a:pt x="252" y="788"/>
                    <a:pt x="252" y="792"/>
                  </a:cubicBezTo>
                  <a:close/>
                  <a:moveTo>
                    <a:pt x="32" y="1144"/>
                  </a:moveTo>
                  <a:cubicBezTo>
                    <a:pt x="36" y="1144"/>
                    <a:pt x="54" y="1138"/>
                    <a:pt x="54" y="1138"/>
                  </a:cubicBezTo>
                  <a:cubicBezTo>
                    <a:pt x="36" y="1129"/>
                    <a:pt x="36" y="1129"/>
                    <a:pt x="36" y="1129"/>
                  </a:cubicBezTo>
                  <a:cubicBezTo>
                    <a:pt x="36" y="1129"/>
                    <a:pt x="28" y="1144"/>
                    <a:pt x="32" y="1144"/>
                  </a:cubicBezTo>
                  <a:close/>
                  <a:moveTo>
                    <a:pt x="81" y="1117"/>
                  </a:moveTo>
                  <a:cubicBezTo>
                    <a:pt x="72" y="1100"/>
                    <a:pt x="72" y="1100"/>
                    <a:pt x="72" y="1100"/>
                  </a:cubicBezTo>
                  <a:cubicBezTo>
                    <a:pt x="72" y="1110"/>
                    <a:pt x="72" y="1110"/>
                    <a:pt x="72" y="1110"/>
                  </a:cubicBezTo>
                  <a:cubicBezTo>
                    <a:pt x="70" y="1126"/>
                    <a:pt x="85" y="1133"/>
                    <a:pt x="90" y="1125"/>
                  </a:cubicBezTo>
                  <a:cubicBezTo>
                    <a:pt x="96" y="1117"/>
                    <a:pt x="81" y="1117"/>
                    <a:pt x="81" y="1117"/>
                  </a:cubicBezTo>
                  <a:close/>
                  <a:moveTo>
                    <a:pt x="16" y="1134"/>
                  </a:moveTo>
                  <a:cubicBezTo>
                    <a:pt x="0" y="1133"/>
                    <a:pt x="9" y="1150"/>
                    <a:pt x="9" y="1150"/>
                  </a:cubicBezTo>
                  <a:cubicBezTo>
                    <a:pt x="21" y="1153"/>
                    <a:pt x="32" y="1136"/>
                    <a:pt x="16" y="1134"/>
                  </a:cubicBezTo>
                  <a:close/>
                  <a:moveTo>
                    <a:pt x="118" y="1033"/>
                  </a:moveTo>
                  <a:cubicBezTo>
                    <a:pt x="118" y="1041"/>
                    <a:pt x="129" y="1041"/>
                    <a:pt x="129" y="1041"/>
                  </a:cubicBezTo>
                  <a:cubicBezTo>
                    <a:pt x="136" y="1029"/>
                    <a:pt x="118" y="1025"/>
                    <a:pt x="118" y="1033"/>
                  </a:cubicBezTo>
                  <a:close/>
                  <a:moveTo>
                    <a:pt x="184" y="1008"/>
                  </a:moveTo>
                  <a:cubicBezTo>
                    <a:pt x="174" y="1018"/>
                    <a:pt x="165" y="1050"/>
                    <a:pt x="165" y="1050"/>
                  </a:cubicBezTo>
                  <a:cubicBezTo>
                    <a:pt x="178" y="1053"/>
                    <a:pt x="178" y="1053"/>
                    <a:pt x="178" y="1053"/>
                  </a:cubicBezTo>
                  <a:cubicBezTo>
                    <a:pt x="178" y="1053"/>
                    <a:pt x="190" y="1032"/>
                    <a:pt x="186" y="1032"/>
                  </a:cubicBezTo>
                  <a:cubicBezTo>
                    <a:pt x="182" y="1032"/>
                    <a:pt x="198" y="1014"/>
                    <a:pt x="198" y="1014"/>
                  </a:cubicBezTo>
                  <a:cubicBezTo>
                    <a:pt x="198" y="1014"/>
                    <a:pt x="193" y="997"/>
                    <a:pt x="184" y="1008"/>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05" name="Israel">
              <a:extLst>
                <a:ext uri="{FF2B5EF4-FFF2-40B4-BE49-F238E27FC236}">
                  <a16:creationId xmlns:a16="http://schemas.microsoft.com/office/drawing/2014/main" id="{D3900D0E-9BDE-4A72-959B-0AF9B333CB4B}"/>
                </a:ext>
              </a:extLst>
            </p:cNvPr>
            <p:cNvSpPr>
              <a:spLocks/>
            </p:cNvSpPr>
            <p:nvPr/>
          </p:nvSpPr>
          <p:spPr bwMode="gray">
            <a:xfrm>
              <a:off x="6495826" y="3077543"/>
              <a:ext cx="36518" cy="120594"/>
            </a:xfrm>
            <a:custGeom>
              <a:avLst/>
              <a:gdLst>
                <a:gd name="T0" fmla="*/ 0 w 67"/>
                <a:gd name="T1" fmla="*/ 113 h 216"/>
                <a:gd name="T2" fmla="*/ 36 w 67"/>
                <a:gd name="T3" fmla="*/ 206 h 216"/>
                <a:gd name="T4" fmla="*/ 41 w 67"/>
                <a:gd name="T5" fmla="*/ 216 h 216"/>
                <a:gd name="T6" fmla="*/ 45 w 67"/>
                <a:gd name="T7" fmla="*/ 163 h 216"/>
                <a:gd name="T8" fmla="*/ 56 w 67"/>
                <a:gd name="T9" fmla="*/ 139 h 216"/>
                <a:gd name="T10" fmla="*/ 57 w 67"/>
                <a:gd name="T11" fmla="*/ 120 h 216"/>
                <a:gd name="T12" fmla="*/ 51 w 67"/>
                <a:gd name="T13" fmla="*/ 112 h 216"/>
                <a:gd name="T14" fmla="*/ 53 w 67"/>
                <a:gd name="T15" fmla="*/ 107 h 216"/>
                <a:gd name="T16" fmla="*/ 47 w 67"/>
                <a:gd name="T17" fmla="*/ 105 h 216"/>
                <a:gd name="T18" fmla="*/ 33 w 67"/>
                <a:gd name="T19" fmla="*/ 113 h 216"/>
                <a:gd name="T20" fmla="*/ 32 w 67"/>
                <a:gd name="T21" fmla="*/ 91 h 216"/>
                <a:gd name="T22" fmla="*/ 32 w 67"/>
                <a:gd name="T23" fmla="*/ 72 h 216"/>
                <a:gd name="T24" fmla="*/ 39 w 67"/>
                <a:gd name="T25" fmla="*/ 53 h 216"/>
                <a:gd name="T26" fmla="*/ 57 w 67"/>
                <a:gd name="T27" fmla="*/ 52 h 216"/>
                <a:gd name="T28" fmla="*/ 57 w 67"/>
                <a:gd name="T29" fmla="*/ 50 h 216"/>
                <a:gd name="T30" fmla="*/ 60 w 67"/>
                <a:gd name="T31" fmla="*/ 41 h 216"/>
                <a:gd name="T32" fmla="*/ 57 w 67"/>
                <a:gd name="T33" fmla="*/ 11 h 216"/>
                <a:gd name="T34" fmla="*/ 67 w 67"/>
                <a:gd name="T35" fmla="*/ 0 h 216"/>
                <a:gd name="T36" fmla="*/ 52 w 67"/>
                <a:gd name="T37" fmla="*/ 3 h 216"/>
                <a:gd name="T38" fmla="*/ 48 w 67"/>
                <a:gd name="T39" fmla="*/ 20 h 216"/>
                <a:gd name="T40" fmla="*/ 34 w 67"/>
                <a:gd name="T41" fmla="*/ 21 h 216"/>
                <a:gd name="T42" fmla="*/ 27 w 67"/>
                <a:gd name="T43" fmla="*/ 34 h 216"/>
                <a:gd name="T44" fmla="*/ 22 w 67"/>
                <a:gd name="T45" fmla="*/ 39 h 216"/>
                <a:gd name="T46" fmla="*/ 27 w 67"/>
                <a:gd name="T47" fmla="*/ 63 h 216"/>
                <a:gd name="T48" fmla="*/ 13 w 67"/>
                <a:gd name="T49" fmla="*/ 89 h 216"/>
                <a:gd name="T50" fmla="*/ 11 w 67"/>
                <a:gd name="T51" fmla="*/ 105 h 216"/>
                <a:gd name="T52" fmla="*/ 0 w 67"/>
                <a:gd name="T53" fmla="*/ 11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 h="216">
                  <a:moveTo>
                    <a:pt x="0" y="113"/>
                  </a:moveTo>
                  <a:cubicBezTo>
                    <a:pt x="36" y="206"/>
                    <a:pt x="36" y="206"/>
                    <a:pt x="36" y="206"/>
                  </a:cubicBezTo>
                  <a:cubicBezTo>
                    <a:pt x="41" y="216"/>
                    <a:pt x="41" y="216"/>
                    <a:pt x="41" y="216"/>
                  </a:cubicBezTo>
                  <a:cubicBezTo>
                    <a:pt x="41" y="216"/>
                    <a:pt x="45" y="175"/>
                    <a:pt x="45" y="163"/>
                  </a:cubicBezTo>
                  <a:cubicBezTo>
                    <a:pt x="45" y="151"/>
                    <a:pt x="53" y="146"/>
                    <a:pt x="56" y="139"/>
                  </a:cubicBezTo>
                  <a:cubicBezTo>
                    <a:pt x="59" y="132"/>
                    <a:pt x="61" y="124"/>
                    <a:pt x="57" y="120"/>
                  </a:cubicBezTo>
                  <a:cubicBezTo>
                    <a:pt x="53" y="116"/>
                    <a:pt x="51" y="116"/>
                    <a:pt x="51" y="112"/>
                  </a:cubicBezTo>
                  <a:cubicBezTo>
                    <a:pt x="51" y="111"/>
                    <a:pt x="52" y="109"/>
                    <a:pt x="53" y="107"/>
                  </a:cubicBezTo>
                  <a:cubicBezTo>
                    <a:pt x="50" y="105"/>
                    <a:pt x="48" y="104"/>
                    <a:pt x="47" y="105"/>
                  </a:cubicBezTo>
                  <a:cubicBezTo>
                    <a:pt x="44" y="106"/>
                    <a:pt x="39" y="121"/>
                    <a:pt x="33" y="113"/>
                  </a:cubicBezTo>
                  <a:cubicBezTo>
                    <a:pt x="26" y="105"/>
                    <a:pt x="31" y="97"/>
                    <a:pt x="32" y="91"/>
                  </a:cubicBezTo>
                  <a:cubicBezTo>
                    <a:pt x="33" y="85"/>
                    <a:pt x="32" y="72"/>
                    <a:pt x="32" y="72"/>
                  </a:cubicBezTo>
                  <a:cubicBezTo>
                    <a:pt x="32" y="72"/>
                    <a:pt x="33" y="57"/>
                    <a:pt x="39" y="53"/>
                  </a:cubicBezTo>
                  <a:cubicBezTo>
                    <a:pt x="43" y="51"/>
                    <a:pt x="52" y="51"/>
                    <a:pt x="57" y="52"/>
                  </a:cubicBezTo>
                  <a:cubicBezTo>
                    <a:pt x="57" y="50"/>
                    <a:pt x="57" y="50"/>
                    <a:pt x="57" y="50"/>
                  </a:cubicBezTo>
                  <a:cubicBezTo>
                    <a:pt x="60" y="41"/>
                    <a:pt x="60" y="41"/>
                    <a:pt x="60" y="41"/>
                  </a:cubicBezTo>
                  <a:cubicBezTo>
                    <a:pt x="57" y="11"/>
                    <a:pt x="57" y="11"/>
                    <a:pt x="57" y="11"/>
                  </a:cubicBezTo>
                  <a:cubicBezTo>
                    <a:pt x="67" y="0"/>
                    <a:pt x="67" y="0"/>
                    <a:pt x="67" y="0"/>
                  </a:cubicBezTo>
                  <a:cubicBezTo>
                    <a:pt x="52" y="3"/>
                    <a:pt x="52" y="3"/>
                    <a:pt x="52" y="3"/>
                  </a:cubicBezTo>
                  <a:cubicBezTo>
                    <a:pt x="52" y="3"/>
                    <a:pt x="53" y="13"/>
                    <a:pt x="48" y="20"/>
                  </a:cubicBezTo>
                  <a:cubicBezTo>
                    <a:pt x="43" y="27"/>
                    <a:pt x="34" y="21"/>
                    <a:pt x="34" y="21"/>
                  </a:cubicBezTo>
                  <a:cubicBezTo>
                    <a:pt x="27" y="34"/>
                    <a:pt x="27" y="34"/>
                    <a:pt x="27" y="34"/>
                  </a:cubicBezTo>
                  <a:cubicBezTo>
                    <a:pt x="22" y="39"/>
                    <a:pt x="22" y="39"/>
                    <a:pt x="22" y="39"/>
                  </a:cubicBezTo>
                  <a:cubicBezTo>
                    <a:pt x="23" y="52"/>
                    <a:pt x="27" y="63"/>
                    <a:pt x="27" y="63"/>
                  </a:cubicBezTo>
                  <a:cubicBezTo>
                    <a:pt x="13" y="89"/>
                    <a:pt x="13" y="89"/>
                    <a:pt x="13" y="89"/>
                  </a:cubicBezTo>
                  <a:cubicBezTo>
                    <a:pt x="11" y="105"/>
                    <a:pt x="11" y="105"/>
                    <a:pt x="11" y="105"/>
                  </a:cubicBezTo>
                  <a:lnTo>
                    <a:pt x="0" y="113"/>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88" name="Iraq">
              <a:extLst>
                <a:ext uri="{FF2B5EF4-FFF2-40B4-BE49-F238E27FC236}">
                  <a16:creationId xmlns:a16="http://schemas.microsoft.com/office/drawing/2014/main" id="{A363C381-3649-4150-B8BA-D11AEBA05BD6}"/>
                </a:ext>
              </a:extLst>
            </p:cNvPr>
            <p:cNvSpPr>
              <a:spLocks/>
            </p:cNvSpPr>
            <p:nvPr/>
          </p:nvSpPr>
          <p:spPr bwMode="gray">
            <a:xfrm>
              <a:off x="6605383" y="2958536"/>
              <a:ext cx="254044" cy="247535"/>
            </a:xfrm>
            <a:custGeom>
              <a:avLst/>
              <a:gdLst>
                <a:gd name="T0" fmla="*/ 448 w 454"/>
                <a:gd name="T1" fmla="*/ 378 h 442"/>
                <a:gd name="T2" fmla="*/ 432 w 454"/>
                <a:gd name="T3" fmla="*/ 365 h 442"/>
                <a:gd name="T4" fmla="*/ 428 w 454"/>
                <a:gd name="T5" fmla="*/ 346 h 442"/>
                <a:gd name="T6" fmla="*/ 415 w 454"/>
                <a:gd name="T7" fmla="*/ 340 h 442"/>
                <a:gd name="T8" fmla="*/ 415 w 454"/>
                <a:gd name="T9" fmla="*/ 295 h 442"/>
                <a:gd name="T10" fmla="*/ 393 w 454"/>
                <a:gd name="T11" fmla="*/ 270 h 442"/>
                <a:gd name="T12" fmla="*/ 380 w 454"/>
                <a:gd name="T13" fmla="*/ 258 h 442"/>
                <a:gd name="T14" fmla="*/ 348 w 454"/>
                <a:gd name="T15" fmla="*/ 240 h 442"/>
                <a:gd name="T16" fmla="*/ 335 w 454"/>
                <a:gd name="T17" fmla="*/ 239 h 442"/>
                <a:gd name="T18" fmla="*/ 335 w 454"/>
                <a:gd name="T19" fmla="*/ 212 h 442"/>
                <a:gd name="T20" fmla="*/ 291 w 454"/>
                <a:gd name="T21" fmla="*/ 182 h 442"/>
                <a:gd name="T22" fmla="*/ 299 w 454"/>
                <a:gd name="T23" fmla="*/ 168 h 442"/>
                <a:gd name="T24" fmla="*/ 291 w 454"/>
                <a:gd name="T25" fmla="*/ 154 h 442"/>
                <a:gd name="T26" fmla="*/ 305 w 454"/>
                <a:gd name="T27" fmla="*/ 148 h 442"/>
                <a:gd name="T28" fmla="*/ 304 w 454"/>
                <a:gd name="T29" fmla="*/ 135 h 442"/>
                <a:gd name="T30" fmla="*/ 305 w 454"/>
                <a:gd name="T31" fmla="*/ 126 h 442"/>
                <a:gd name="T32" fmla="*/ 318 w 454"/>
                <a:gd name="T33" fmla="*/ 118 h 442"/>
                <a:gd name="T34" fmla="*/ 307 w 454"/>
                <a:gd name="T35" fmla="*/ 97 h 442"/>
                <a:gd name="T36" fmla="*/ 318 w 454"/>
                <a:gd name="T37" fmla="*/ 80 h 442"/>
                <a:gd name="T38" fmla="*/ 299 w 454"/>
                <a:gd name="T39" fmla="*/ 85 h 442"/>
                <a:gd name="T40" fmla="*/ 288 w 454"/>
                <a:gd name="T41" fmla="*/ 73 h 442"/>
                <a:gd name="T42" fmla="*/ 274 w 454"/>
                <a:gd name="T43" fmla="*/ 71 h 442"/>
                <a:gd name="T44" fmla="*/ 265 w 454"/>
                <a:gd name="T45" fmla="*/ 50 h 442"/>
                <a:gd name="T46" fmla="*/ 249 w 454"/>
                <a:gd name="T47" fmla="*/ 8 h 442"/>
                <a:gd name="T48" fmla="*/ 222 w 454"/>
                <a:gd name="T49" fmla="*/ 19 h 442"/>
                <a:gd name="T50" fmla="*/ 210 w 454"/>
                <a:gd name="T51" fmla="*/ 1 h 442"/>
                <a:gd name="T52" fmla="*/ 196 w 454"/>
                <a:gd name="T53" fmla="*/ 10 h 442"/>
                <a:gd name="T54" fmla="*/ 179 w 454"/>
                <a:gd name="T55" fmla="*/ 1 h 442"/>
                <a:gd name="T56" fmla="*/ 153 w 454"/>
                <a:gd name="T57" fmla="*/ 1 h 442"/>
                <a:gd name="T58" fmla="*/ 142 w 454"/>
                <a:gd name="T59" fmla="*/ 17 h 442"/>
                <a:gd name="T60" fmla="*/ 140 w 454"/>
                <a:gd name="T61" fmla="*/ 17 h 442"/>
                <a:gd name="T62" fmla="*/ 124 w 454"/>
                <a:gd name="T63" fmla="*/ 37 h 442"/>
                <a:gd name="T64" fmla="*/ 92 w 454"/>
                <a:gd name="T65" fmla="*/ 53 h 442"/>
                <a:gd name="T66" fmla="*/ 103 w 454"/>
                <a:gd name="T67" fmla="*/ 75 h 442"/>
                <a:gd name="T68" fmla="*/ 107 w 454"/>
                <a:gd name="T69" fmla="*/ 110 h 442"/>
                <a:gd name="T70" fmla="*/ 98 w 454"/>
                <a:gd name="T71" fmla="*/ 129 h 442"/>
                <a:gd name="T72" fmla="*/ 104 w 454"/>
                <a:gd name="T73" fmla="*/ 154 h 442"/>
                <a:gd name="T74" fmla="*/ 43 w 454"/>
                <a:gd name="T75" fmla="*/ 181 h 442"/>
                <a:gd name="T76" fmla="*/ 0 w 454"/>
                <a:gd name="T77" fmla="*/ 216 h 442"/>
                <a:gd name="T78" fmla="*/ 0 w 454"/>
                <a:gd name="T79" fmla="*/ 216 h 442"/>
                <a:gd name="T80" fmla="*/ 12 w 454"/>
                <a:gd name="T81" fmla="*/ 246 h 442"/>
                <a:gd name="T82" fmla="*/ 12 w 454"/>
                <a:gd name="T83" fmla="*/ 260 h 442"/>
                <a:gd name="T84" fmla="*/ 29 w 454"/>
                <a:gd name="T85" fmla="*/ 269 h 442"/>
                <a:gd name="T86" fmla="*/ 28 w 454"/>
                <a:gd name="T87" fmla="*/ 278 h 442"/>
                <a:gd name="T88" fmla="*/ 44 w 454"/>
                <a:gd name="T89" fmla="*/ 287 h 442"/>
                <a:gd name="T90" fmla="*/ 78 w 454"/>
                <a:gd name="T91" fmla="*/ 287 h 442"/>
                <a:gd name="T92" fmla="*/ 127 w 454"/>
                <a:gd name="T93" fmla="*/ 321 h 442"/>
                <a:gd name="T94" fmla="*/ 160 w 454"/>
                <a:gd name="T95" fmla="*/ 341 h 442"/>
                <a:gd name="T96" fmla="*/ 288 w 454"/>
                <a:gd name="T97" fmla="*/ 438 h 442"/>
                <a:gd name="T98" fmla="*/ 376 w 454"/>
                <a:gd name="T99" fmla="*/ 442 h 442"/>
                <a:gd name="T100" fmla="*/ 376 w 454"/>
                <a:gd name="T101" fmla="*/ 442 h 442"/>
                <a:gd name="T102" fmla="*/ 387 w 454"/>
                <a:gd name="T103" fmla="*/ 422 h 442"/>
                <a:gd name="T104" fmla="*/ 396 w 454"/>
                <a:gd name="T105" fmla="*/ 395 h 442"/>
                <a:gd name="T106" fmla="*/ 411 w 454"/>
                <a:gd name="T107" fmla="*/ 393 h 442"/>
                <a:gd name="T108" fmla="*/ 431 w 454"/>
                <a:gd name="T109" fmla="*/ 393 h 442"/>
                <a:gd name="T110" fmla="*/ 433 w 454"/>
                <a:gd name="T111" fmla="*/ 398 h 442"/>
                <a:gd name="T112" fmla="*/ 451 w 454"/>
                <a:gd name="T113" fmla="*/ 392 h 442"/>
                <a:gd name="T114" fmla="*/ 454 w 454"/>
                <a:gd name="T115" fmla="*/ 387 h 442"/>
                <a:gd name="T116" fmla="*/ 448 w 454"/>
                <a:gd name="T117" fmla="*/ 3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4" h="442">
                  <a:moveTo>
                    <a:pt x="448" y="378"/>
                  </a:moveTo>
                  <a:cubicBezTo>
                    <a:pt x="447" y="369"/>
                    <a:pt x="432" y="365"/>
                    <a:pt x="432" y="365"/>
                  </a:cubicBezTo>
                  <a:cubicBezTo>
                    <a:pt x="428" y="346"/>
                    <a:pt x="428" y="346"/>
                    <a:pt x="428" y="346"/>
                  </a:cubicBezTo>
                  <a:cubicBezTo>
                    <a:pt x="428" y="346"/>
                    <a:pt x="423" y="346"/>
                    <a:pt x="415" y="340"/>
                  </a:cubicBezTo>
                  <a:cubicBezTo>
                    <a:pt x="407" y="334"/>
                    <a:pt x="415" y="295"/>
                    <a:pt x="415" y="295"/>
                  </a:cubicBezTo>
                  <a:cubicBezTo>
                    <a:pt x="393" y="270"/>
                    <a:pt x="393" y="270"/>
                    <a:pt x="393" y="270"/>
                  </a:cubicBezTo>
                  <a:cubicBezTo>
                    <a:pt x="393" y="270"/>
                    <a:pt x="391" y="258"/>
                    <a:pt x="380" y="258"/>
                  </a:cubicBezTo>
                  <a:cubicBezTo>
                    <a:pt x="369" y="258"/>
                    <a:pt x="348" y="240"/>
                    <a:pt x="348" y="240"/>
                  </a:cubicBezTo>
                  <a:cubicBezTo>
                    <a:pt x="335" y="239"/>
                    <a:pt x="335" y="239"/>
                    <a:pt x="335" y="239"/>
                  </a:cubicBezTo>
                  <a:cubicBezTo>
                    <a:pt x="335" y="212"/>
                    <a:pt x="335" y="212"/>
                    <a:pt x="335" y="212"/>
                  </a:cubicBezTo>
                  <a:cubicBezTo>
                    <a:pt x="335" y="212"/>
                    <a:pt x="293" y="191"/>
                    <a:pt x="291" y="182"/>
                  </a:cubicBezTo>
                  <a:cubicBezTo>
                    <a:pt x="289" y="173"/>
                    <a:pt x="299" y="168"/>
                    <a:pt x="299" y="168"/>
                  </a:cubicBezTo>
                  <a:cubicBezTo>
                    <a:pt x="299" y="168"/>
                    <a:pt x="290" y="161"/>
                    <a:pt x="291" y="154"/>
                  </a:cubicBezTo>
                  <a:cubicBezTo>
                    <a:pt x="292" y="147"/>
                    <a:pt x="305" y="148"/>
                    <a:pt x="305" y="148"/>
                  </a:cubicBezTo>
                  <a:cubicBezTo>
                    <a:pt x="304" y="135"/>
                    <a:pt x="304" y="135"/>
                    <a:pt x="304" y="135"/>
                  </a:cubicBezTo>
                  <a:cubicBezTo>
                    <a:pt x="305" y="126"/>
                    <a:pt x="305" y="126"/>
                    <a:pt x="305" y="126"/>
                  </a:cubicBezTo>
                  <a:cubicBezTo>
                    <a:pt x="305" y="126"/>
                    <a:pt x="315" y="126"/>
                    <a:pt x="318" y="118"/>
                  </a:cubicBezTo>
                  <a:cubicBezTo>
                    <a:pt x="321" y="110"/>
                    <a:pt x="307" y="101"/>
                    <a:pt x="307" y="97"/>
                  </a:cubicBezTo>
                  <a:cubicBezTo>
                    <a:pt x="307" y="93"/>
                    <a:pt x="323" y="84"/>
                    <a:pt x="318" y="80"/>
                  </a:cubicBezTo>
                  <a:cubicBezTo>
                    <a:pt x="313" y="76"/>
                    <a:pt x="299" y="85"/>
                    <a:pt x="299" y="85"/>
                  </a:cubicBezTo>
                  <a:cubicBezTo>
                    <a:pt x="288" y="73"/>
                    <a:pt x="288" y="73"/>
                    <a:pt x="288" y="73"/>
                  </a:cubicBezTo>
                  <a:cubicBezTo>
                    <a:pt x="274" y="71"/>
                    <a:pt x="274" y="71"/>
                    <a:pt x="274" y="71"/>
                  </a:cubicBezTo>
                  <a:cubicBezTo>
                    <a:pt x="274" y="71"/>
                    <a:pt x="277" y="61"/>
                    <a:pt x="265" y="50"/>
                  </a:cubicBezTo>
                  <a:cubicBezTo>
                    <a:pt x="256" y="42"/>
                    <a:pt x="251" y="19"/>
                    <a:pt x="249" y="8"/>
                  </a:cubicBezTo>
                  <a:cubicBezTo>
                    <a:pt x="222" y="19"/>
                    <a:pt x="222" y="19"/>
                    <a:pt x="222" y="19"/>
                  </a:cubicBezTo>
                  <a:cubicBezTo>
                    <a:pt x="222" y="19"/>
                    <a:pt x="224" y="2"/>
                    <a:pt x="210" y="1"/>
                  </a:cubicBezTo>
                  <a:cubicBezTo>
                    <a:pt x="196" y="0"/>
                    <a:pt x="204" y="8"/>
                    <a:pt x="196" y="10"/>
                  </a:cubicBezTo>
                  <a:cubicBezTo>
                    <a:pt x="188" y="12"/>
                    <a:pt x="179" y="1"/>
                    <a:pt x="179" y="1"/>
                  </a:cubicBezTo>
                  <a:cubicBezTo>
                    <a:pt x="153" y="1"/>
                    <a:pt x="153" y="1"/>
                    <a:pt x="153" y="1"/>
                  </a:cubicBezTo>
                  <a:cubicBezTo>
                    <a:pt x="153" y="1"/>
                    <a:pt x="154" y="14"/>
                    <a:pt x="142" y="17"/>
                  </a:cubicBezTo>
                  <a:cubicBezTo>
                    <a:pt x="141" y="17"/>
                    <a:pt x="141" y="17"/>
                    <a:pt x="140" y="17"/>
                  </a:cubicBezTo>
                  <a:cubicBezTo>
                    <a:pt x="138" y="24"/>
                    <a:pt x="133" y="33"/>
                    <a:pt x="124" y="37"/>
                  </a:cubicBezTo>
                  <a:cubicBezTo>
                    <a:pt x="108" y="44"/>
                    <a:pt x="96" y="39"/>
                    <a:pt x="92" y="53"/>
                  </a:cubicBezTo>
                  <a:cubicBezTo>
                    <a:pt x="88" y="67"/>
                    <a:pt x="103" y="75"/>
                    <a:pt x="103" y="75"/>
                  </a:cubicBezTo>
                  <a:cubicBezTo>
                    <a:pt x="103" y="75"/>
                    <a:pt x="111" y="105"/>
                    <a:pt x="107" y="110"/>
                  </a:cubicBezTo>
                  <a:cubicBezTo>
                    <a:pt x="103" y="115"/>
                    <a:pt x="97" y="122"/>
                    <a:pt x="98" y="129"/>
                  </a:cubicBezTo>
                  <a:cubicBezTo>
                    <a:pt x="99" y="136"/>
                    <a:pt x="116" y="145"/>
                    <a:pt x="104" y="154"/>
                  </a:cubicBezTo>
                  <a:cubicBezTo>
                    <a:pt x="92" y="163"/>
                    <a:pt x="43" y="181"/>
                    <a:pt x="43" y="181"/>
                  </a:cubicBezTo>
                  <a:cubicBezTo>
                    <a:pt x="0" y="216"/>
                    <a:pt x="0" y="216"/>
                    <a:pt x="0" y="216"/>
                  </a:cubicBezTo>
                  <a:cubicBezTo>
                    <a:pt x="0" y="216"/>
                    <a:pt x="0" y="216"/>
                    <a:pt x="0" y="216"/>
                  </a:cubicBezTo>
                  <a:cubicBezTo>
                    <a:pt x="12" y="246"/>
                    <a:pt x="12" y="246"/>
                    <a:pt x="12" y="246"/>
                  </a:cubicBezTo>
                  <a:cubicBezTo>
                    <a:pt x="12" y="260"/>
                    <a:pt x="12" y="260"/>
                    <a:pt x="12" y="260"/>
                  </a:cubicBezTo>
                  <a:cubicBezTo>
                    <a:pt x="29" y="269"/>
                    <a:pt x="29" y="269"/>
                    <a:pt x="29" y="269"/>
                  </a:cubicBezTo>
                  <a:cubicBezTo>
                    <a:pt x="28" y="278"/>
                    <a:pt x="28" y="278"/>
                    <a:pt x="28" y="278"/>
                  </a:cubicBezTo>
                  <a:cubicBezTo>
                    <a:pt x="28" y="278"/>
                    <a:pt x="35" y="288"/>
                    <a:pt x="44" y="287"/>
                  </a:cubicBezTo>
                  <a:cubicBezTo>
                    <a:pt x="53" y="286"/>
                    <a:pt x="78" y="287"/>
                    <a:pt x="78" y="287"/>
                  </a:cubicBezTo>
                  <a:cubicBezTo>
                    <a:pt x="78" y="287"/>
                    <a:pt x="115" y="315"/>
                    <a:pt x="127" y="321"/>
                  </a:cubicBezTo>
                  <a:cubicBezTo>
                    <a:pt x="139" y="327"/>
                    <a:pt x="160" y="341"/>
                    <a:pt x="160" y="341"/>
                  </a:cubicBezTo>
                  <a:cubicBezTo>
                    <a:pt x="288" y="438"/>
                    <a:pt x="288" y="438"/>
                    <a:pt x="288" y="438"/>
                  </a:cubicBezTo>
                  <a:cubicBezTo>
                    <a:pt x="288" y="438"/>
                    <a:pt x="339" y="439"/>
                    <a:pt x="376" y="442"/>
                  </a:cubicBezTo>
                  <a:cubicBezTo>
                    <a:pt x="376" y="442"/>
                    <a:pt x="376" y="442"/>
                    <a:pt x="376" y="442"/>
                  </a:cubicBezTo>
                  <a:cubicBezTo>
                    <a:pt x="379" y="438"/>
                    <a:pt x="386" y="431"/>
                    <a:pt x="387" y="422"/>
                  </a:cubicBezTo>
                  <a:cubicBezTo>
                    <a:pt x="389" y="410"/>
                    <a:pt x="396" y="395"/>
                    <a:pt x="396" y="395"/>
                  </a:cubicBezTo>
                  <a:cubicBezTo>
                    <a:pt x="411" y="393"/>
                    <a:pt x="411" y="393"/>
                    <a:pt x="411" y="393"/>
                  </a:cubicBezTo>
                  <a:cubicBezTo>
                    <a:pt x="431" y="393"/>
                    <a:pt x="431" y="393"/>
                    <a:pt x="431" y="393"/>
                  </a:cubicBezTo>
                  <a:cubicBezTo>
                    <a:pt x="433" y="398"/>
                    <a:pt x="433" y="398"/>
                    <a:pt x="433" y="398"/>
                  </a:cubicBezTo>
                  <a:cubicBezTo>
                    <a:pt x="451" y="392"/>
                    <a:pt x="451" y="392"/>
                    <a:pt x="451" y="392"/>
                  </a:cubicBezTo>
                  <a:cubicBezTo>
                    <a:pt x="454" y="387"/>
                    <a:pt x="454" y="387"/>
                    <a:pt x="454" y="387"/>
                  </a:cubicBezTo>
                  <a:cubicBezTo>
                    <a:pt x="451" y="384"/>
                    <a:pt x="448" y="381"/>
                    <a:pt x="448" y="378"/>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90" name="Iran">
              <a:extLst>
                <a:ext uri="{FF2B5EF4-FFF2-40B4-BE49-F238E27FC236}">
                  <a16:creationId xmlns:a16="http://schemas.microsoft.com/office/drawing/2014/main" id="{11DAB7D1-B5D0-4FB1-BE21-017D4D71A5E7}"/>
                </a:ext>
              </a:extLst>
            </p:cNvPr>
            <p:cNvSpPr>
              <a:spLocks/>
            </p:cNvSpPr>
            <p:nvPr/>
          </p:nvSpPr>
          <p:spPr bwMode="gray">
            <a:xfrm>
              <a:off x="6714939" y="2885544"/>
              <a:ext cx="536668" cy="441121"/>
            </a:xfrm>
            <a:custGeom>
              <a:avLst/>
              <a:gdLst>
                <a:gd name="T0" fmla="*/ 900 w 959"/>
                <a:gd name="T1" fmla="*/ 739 h 789"/>
                <a:gd name="T2" fmla="*/ 931 w 959"/>
                <a:gd name="T3" fmla="*/ 708 h 789"/>
                <a:gd name="T4" fmla="*/ 933 w 959"/>
                <a:gd name="T5" fmla="*/ 673 h 789"/>
                <a:gd name="T6" fmla="*/ 929 w 959"/>
                <a:gd name="T7" fmla="*/ 621 h 789"/>
                <a:gd name="T8" fmla="*/ 884 w 959"/>
                <a:gd name="T9" fmla="*/ 609 h 789"/>
                <a:gd name="T10" fmla="*/ 825 w 959"/>
                <a:gd name="T11" fmla="*/ 533 h 789"/>
                <a:gd name="T12" fmla="*/ 839 w 959"/>
                <a:gd name="T13" fmla="*/ 453 h 789"/>
                <a:gd name="T14" fmla="*/ 784 w 959"/>
                <a:gd name="T15" fmla="*/ 364 h 789"/>
                <a:gd name="T16" fmla="*/ 780 w 959"/>
                <a:gd name="T17" fmla="*/ 315 h 789"/>
                <a:gd name="T18" fmla="*/ 784 w 959"/>
                <a:gd name="T19" fmla="*/ 280 h 789"/>
                <a:gd name="T20" fmla="*/ 799 w 959"/>
                <a:gd name="T21" fmla="*/ 225 h 789"/>
                <a:gd name="T22" fmla="*/ 786 w 959"/>
                <a:gd name="T23" fmla="*/ 189 h 789"/>
                <a:gd name="T24" fmla="*/ 723 w 959"/>
                <a:gd name="T25" fmla="*/ 149 h 789"/>
                <a:gd name="T26" fmla="*/ 648 w 959"/>
                <a:gd name="T27" fmla="*/ 116 h 789"/>
                <a:gd name="T28" fmla="*/ 602 w 959"/>
                <a:gd name="T29" fmla="*/ 103 h 789"/>
                <a:gd name="T30" fmla="*/ 556 w 959"/>
                <a:gd name="T31" fmla="*/ 85 h 789"/>
                <a:gd name="T32" fmla="*/ 487 w 959"/>
                <a:gd name="T33" fmla="*/ 115 h 789"/>
                <a:gd name="T34" fmla="*/ 452 w 959"/>
                <a:gd name="T35" fmla="*/ 133 h 789"/>
                <a:gd name="T36" fmla="*/ 399 w 959"/>
                <a:gd name="T37" fmla="*/ 164 h 789"/>
                <a:gd name="T38" fmla="*/ 309 w 959"/>
                <a:gd name="T39" fmla="*/ 155 h 789"/>
                <a:gd name="T40" fmla="*/ 233 w 959"/>
                <a:gd name="T41" fmla="*/ 110 h 789"/>
                <a:gd name="T42" fmla="*/ 199 w 959"/>
                <a:gd name="T43" fmla="*/ 69 h 789"/>
                <a:gd name="T44" fmla="*/ 181 w 959"/>
                <a:gd name="T45" fmla="*/ 33 h 789"/>
                <a:gd name="T46" fmla="*/ 128 w 959"/>
                <a:gd name="T47" fmla="*/ 35 h 789"/>
                <a:gd name="T48" fmla="*/ 45 w 959"/>
                <a:gd name="T49" fmla="*/ 30 h 789"/>
                <a:gd name="T50" fmla="*/ 0 w 959"/>
                <a:gd name="T51" fmla="*/ 24 h 789"/>
                <a:gd name="T52" fmla="*/ 24 w 959"/>
                <a:gd name="T53" fmla="*/ 78 h 789"/>
                <a:gd name="T54" fmla="*/ 37 w 959"/>
                <a:gd name="T55" fmla="*/ 129 h 789"/>
                <a:gd name="T56" fmla="*/ 79 w 959"/>
                <a:gd name="T57" fmla="*/ 203 h 789"/>
                <a:gd name="T58" fmla="*/ 123 w 959"/>
                <a:gd name="T59" fmla="*/ 212 h 789"/>
                <a:gd name="T60" fmla="*/ 110 w 959"/>
                <a:gd name="T61" fmla="*/ 258 h 789"/>
                <a:gd name="T62" fmla="*/ 96 w 959"/>
                <a:gd name="T63" fmla="*/ 286 h 789"/>
                <a:gd name="T64" fmla="*/ 140 w 959"/>
                <a:gd name="T65" fmla="*/ 344 h 789"/>
                <a:gd name="T66" fmla="*/ 185 w 959"/>
                <a:gd name="T67" fmla="*/ 390 h 789"/>
                <a:gd name="T68" fmla="*/ 220 w 959"/>
                <a:gd name="T69" fmla="*/ 472 h 789"/>
                <a:gd name="T70" fmla="*/ 253 w 959"/>
                <a:gd name="T71" fmla="*/ 510 h 789"/>
                <a:gd name="T72" fmla="*/ 298 w 959"/>
                <a:gd name="T73" fmla="*/ 516 h 789"/>
                <a:gd name="T74" fmla="*/ 316 w 959"/>
                <a:gd name="T75" fmla="*/ 524 h 789"/>
                <a:gd name="T76" fmla="*/ 338 w 959"/>
                <a:gd name="T77" fmla="*/ 541 h 789"/>
                <a:gd name="T78" fmla="*/ 371 w 959"/>
                <a:gd name="T79" fmla="*/ 583 h 789"/>
                <a:gd name="T80" fmla="*/ 387 w 959"/>
                <a:gd name="T81" fmla="*/ 600 h 789"/>
                <a:gd name="T82" fmla="*/ 431 w 959"/>
                <a:gd name="T83" fmla="*/ 644 h 789"/>
                <a:gd name="T84" fmla="*/ 526 w 959"/>
                <a:gd name="T85" fmla="*/ 703 h 789"/>
                <a:gd name="T86" fmla="*/ 565 w 959"/>
                <a:gd name="T87" fmla="*/ 715 h 789"/>
                <a:gd name="T88" fmla="*/ 606 w 959"/>
                <a:gd name="T89" fmla="*/ 691 h 789"/>
                <a:gd name="T90" fmla="*/ 641 w 959"/>
                <a:gd name="T91" fmla="*/ 682 h 789"/>
                <a:gd name="T92" fmla="*/ 718 w 959"/>
                <a:gd name="T93" fmla="*/ 752 h 789"/>
                <a:gd name="T94" fmla="*/ 805 w 959"/>
                <a:gd name="T95" fmla="*/ 781 h 789"/>
                <a:gd name="T96" fmla="*/ 889 w 959"/>
                <a:gd name="T97" fmla="*/ 786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9" h="789">
                  <a:moveTo>
                    <a:pt x="890" y="786"/>
                  </a:moveTo>
                  <a:cubicBezTo>
                    <a:pt x="889" y="779"/>
                    <a:pt x="885" y="751"/>
                    <a:pt x="890" y="749"/>
                  </a:cubicBezTo>
                  <a:cubicBezTo>
                    <a:pt x="896" y="746"/>
                    <a:pt x="900" y="739"/>
                    <a:pt x="900" y="739"/>
                  </a:cubicBezTo>
                  <a:cubicBezTo>
                    <a:pt x="902" y="728"/>
                    <a:pt x="902" y="728"/>
                    <a:pt x="902" y="728"/>
                  </a:cubicBezTo>
                  <a:cubicBezTo>
                    <a:pt x="902" y="728"/>
                    <a:pt x="911" y="730"/>
                    <a:pt x="915" y="724"/>
                  </a:cubicBezTo>
                  <a:cubicBezTo>
                    <a:pt x="919" y="718"/>
                    <a:pt x="913" y="714"/>
                    <a:pt x="931" y="708"/>
                  </a:cubicBezTo>
                  <a:cubicBezTo>
                    <a:pt x="949" y="702"/>
                    <a:pt x="951" y="715"/>
                    <a:pt x="955" y="710"/>
                  </a:cubicBezTo>
                  <a:cubicBezTo>
                    <a:pt x="959" y="705"/>
                    <a:pt x="958" y="689"/>
                    <a:pt x="950" y="678"/>
                  </a:cubicBezTo>
                  <a:cubicBezTo>
                    <a:pt x="942" y="667"/>
                    <a:pt x="936" y="680"/>
                    <a:pt x="933" y="673"/>
                  </a:cubicBezTo>
                  <a:cubicBezTo>
                    <a:pt x="930" y="666"/>
                    <a:pt x="931" y="643"/>
                    <a:pt x="931" y="643"/>
                  </a:cubicBezTo>
                  <a:cubicBezTo>
                    <a:pt x="928" y="641"/>
                    <a:pt x="928" y="641"/>
                    <a:pt x="928" y="641"/>
                  </a:cubicBezTo>
                  <a:cubicBezTo>
                    <a:pt x="929" y="621"/>
                    <a:pt x="929" y="621"/>
                    <a:pt x="929" y="621"/>
                  </a:cubicBezTo>
                  <a:cubicBezTo>
                    <a:pt x="916" y="622"/>
                    <a:pt x="916" y="622"/>
                    <a:pt x="916" y="622"/>
                  </a:cubicBezTo>
                  <a:cubicBezTo>
                    <a:pt x="907" y="611"/>
                    <a:pt x="907" y="611"/>
                    <a:pt x="907" y="611"/>
                  </a:cubicBezTo>
                  <a:cubicBezTo>
                    <a:pt x="907" y="611"/>
                    <a:pt x="892" y="619"/>
                    <a:pt x="884" y="609"/>
                  </a:cubicBezTo>
                  <a:cubicBezTo>
                    <a:pt x="876" y="599"/>
                    <a:pt x="862" y="579"/>
                    <a:pt x="856" y="568"/>
                  </a:cubicBezTo>
                  <a:cubicBezTo>
                    <a:pt x="850" y="557"/>
                    <a:pt x="830" y="538"/>
                    <a:pt x="830" y="538"/>
                  </a:cubicBezTo>
                  <a:cubicBezTo>
                    <a:pt x="830" y="538"/>
                    <a:pt x="825" y="537"/>
                    <a:pt x="825" y="533"/>
                  </a:cubicBezTo>
                  <a:cubicBezTo>
                    <a:pt x="825" y="529"/>
                    <a:pt x="841" y="515"/>
                    <a:pt x="848" y="505"/>
                  </a:cubicBezTo>
                  <a:cubicBezTo>
                    <a:pt x="855" y="495"/>
                    <a:pt x="866" y="482"/>
                    <a:pt x="860" y="465"/>
                  </a:cubicBezTo>
                  <a:cubicBezTo>
                    <a:pt x="854" y="448"/>
                    <a:pt x="839" y="453"/>
                    <a:pt x="839" y="453"/>
                  </a:cubicBezTo>
                  <a:cubicBezTo>
                    <a:pt x="839" y="453"/>
                    <a:pt x="809" y="453"/>
                    <a:pt x="809" y="445"/>
                  </a:cubicBezTo>
                  <a:cubicBezTo>
                    <a:pt x="809" y="437"/>
                    <a:pt x="809" y="423"/>
                    <a:pt x="809" y="412"/>
                  </a:cubicBezTo>
                  <a:cubicBezTo>
                    <a:pt x="809" y="401"/>
                    <a:pt x="782" y="377"/>
                    <a:pt x="784" y="364"/>
                  </a:cubicBezTo>
                  <a:cubicBezTo>
                    <a:pt x="786" y="351"/>
                    <a:pt x="801" y="343"/>
                    <a:pt x="800" y="337"/>
                  </a:cubicBezTo>
                  <a:cubicBezTo>
                    <a:pt x="799" y="331"/>
                    <a:pt x="778" y="334"/>
                    <a:pt x="778" y="334"/>
                  </a:cubicBezTo>
                  <a:cubicBezTo>
                    <a:pt x="780" y="315"/>
                    <a:pt x="780" y="315"/>
                    <a:pt x="780" y="315"/>
                  </a:cubicBezTo>
                  <a:cubicBezTo>
                    <a:pt x="780" y="315"/>
                    <a:pt x="769" y="306"/>
                    <a:pt x="772" y="301"/>
                  </a:cubicBezTo>
                  <a:cubicBezTo>
                    <a:pt x="775" y="296"/>
                    <a:pt x="789" y="291"/>
                    <a:pt x="789" y="291"/>
                  </a:cubicBezTo>
                  <a:cubicBezTo>
                    <a:pt x="784" y="280"/>
                    <a:pt x="784" y="280"/>
                    <a:pt x="784" y="280"/>
                  </a:cubicBezTo>
                  <a:cubicBezTo>
                    <a:pt x="798" y="276"/>
                    <a:pt x="798" y="276"/>
                    <a:pt x="798" y="276"/>
                  </a:cubicBezTo>
                  <a:cubicBezTo>
                    <a:pt x="798" y="276"/>
                    <a:pt x="791" y="246"/>
                    <a:pt x="792" y="239"/>
                  </a:cubicBezTo>
                  <a:cubicBezTo>
                    <a:pt x="793" y="232"/>
                    <a:pt x="799" y="225"/>
                    <a:pt x="799" y="225"/>
                  </a:cubicBezTo>
                  <a:cubicBezTo>
                    <a:pt x="792" y="207"/>
                    <a:pt x="792" y="207"/>
                    <a:pt x="792" y="207"/>
                  </a:cubicBezTo>
                  <a:cubicBezTo>
                    <a:pt x="793" y="192"/>
                    <a:pt x="793" y="192"/>
                    <a:pt x="793" y="192"/>
                  </a:cubicBezTo>
                  <a:cubicBezTo>
                    <a:pt x="786" y="189"/>
                    <a:pt x="786" y="189"/>
                    <a:pt x="786" y="189"/>
                  </a:cubicBezTo>
                  <a:cubicBezTo>
                    <a:pt x="785" y="167"/>
                    <a:pt x="785" y="167"/>
                    <a:pt x="785" y="167"/>
                  </a:cubicBezTo>
                  <a:cubicBezTo>
                    <a:pt x="743" y="169"/>
                    <a:pt x="743" y="169"/>
                    <a:pt x="743" y="169"/>
                  </a:cubicBezTo>
                  <a:cubicBezTo>
                    <a:pt x="743" y="169"/>
                    <a:pt x="729" y="153"/>
                    <a:pt x="723" y="149"/>
                  </a:cubicBezTo>
                  <a:cubicBezTo>
                    <a:pt x="717" y="145"/>
                    <a:pt x="704" y="143"/>
                    <a:pt x="704" y="143"/>
                  </a:cubicBezTo>
                  <a:cubicBezTo>
                    <a:pt x="704" y="143"/>
                    <a:pt x="696" y="125"/>
                    <a:pt x="691" y="121"/>
                  </a:cubicBezTo>
                  <a:cubicBezTo>
                    <a:pt x="686" y="117"/>
                    <a:pt x="648" y="116"/>
                    <a:pt x="648" y="116"/>
                  </a:cubicBezTo>
                  <a:cubicBezTo>
                    <a:pt x="645" y="120"/>
                    <a:pt x="645" y="120"/>
                    <a:pt x="645" y="120"/>
                  </a:cubicBezTo>
                  <a:cubicBezTo>
                    <a:pt x="645" y="120"/>
                    <a:pt x="624" y="103"/>
                    <a:pt x="619" y="103"/>
                  </a:cubicBezTo>
                  <a:cubicBezTo>
                    <a:pt x="614" y="103"/>
                    <a:pt x="602" y="103"/>
                    <a:pt x="602" y="103"/>
                  </a:cubicBezTo>
                  <a:cubicBezTo>
                    <a:pt x="602" y="103"/>
                    <a:pt x="601" y="89"/>
                    <a:pt x="595" y="85"/>
                  </a:cubicBezTo>
                  <a:cubicBezTo>
                    <a:pt x="589" y="81"/>
                    <a:pt x="580" y="86"/>
                    <a:pt x="580" y="86"/>
                  </a:cubicBezTo>
                  <a:cubicBezTo>
                    <a:pt x="580" y="86"/>
                    <a:pt x="559" y="83"/>
                    <a:pt x="556" y="85"/>
                  </a:cubicBezTo>
                  <a:cubicBezTo>
                    <a:pt x="553" y="87"/>
                    <a:pt x="551" y="93"/>
                    <a:pt x="551" y="93"/>
                  </a:cubicBezTo>
                  <a:cubicBezTo>
                    <a:pt x="551" y="93"/>
                    <a:pt x="535" y="88"/>
                    <a:pt x="524" y="90"/>
                  </a:cubicBezTo>
                  <a:cubicBezTo>
                    <a:pt x="513" y="92"/>
                    <a:pt x="487" y="115"/>
                    <a:pt x="487" y="115"/>
                  </a:cubicBezTo>
                  <a:cubicBezTo>
                    <a:pt x="487" y="123"/>
                    <a:pt x="487" y="123"/>
                    <a:pt x="487" y="123"/>
                  </a:cubicBezTo>
                  <a:cubicBezTo>
                    <a:pt x="487" y="123"/>
                    <a:pt x="476" y="132"/>
                    <a:pt x="472" y="133"/>
                  </a:cubicBezTo>
                  <a:cubicBezTo>
                    <a:pt x="468" y="134"/>
                    <a:pt x="452" y="133"/>
                    <a:pt x="452" y="133"/>
                  </a:cubicBezTo>
                  <a:cubicBezTo>
                    <a:pt x="452" y="133"/>
                    <a:pt x="472" y="159"/>
                    <a:pt x="460" y="161"/>
                  </a:cubicBezTo>
                  <a:cubicBezTo>
                    <a:pt x="448" y="163"/>
                    <a:pt x="437" y="156"/>
                    <a:pt x="437" y="156"/>
                  </a:cubicBezTo>
                  <a:cubicBezTo>
                    <a:pt x="437" y="156"/>
                    <a:pt x="412" y="161"/>
                    <a:pt x="399" y="164"/>
                  </a:cubicBezTo>
                  <a:cubicBezTo>
                    <a:pt x="386" y="167"/>
                    <a:pt x="379" y="176"/>
                    <a:pt x="371" y="175"/>
                  </a:cubicBezTo>
                  <a:cubicBezTo>
                    <a:pt x="363" y="174"/>
                    <a:pt x="355" y="165"/>
                    <a:pt x="345" y="165"/>
                  </a:cubicBezTo>
                  <a:cubicBezTo>
                    <a:pt x="335" y="165"/>
                    <a:pt x="323" y="165"/>
                    <a:pt x="309" y="155"/>
                  </a:cubicBezTo>
                  <a:cubicBezTo>
                    <a:pt x="295" y="145"/>
                    <a:pt x="287" y="128"/>
                    <a:pt x="287" y="128"/>
                  </a:cubicBezTo>
                  <a:cubicBezTo>
                    <a:pt x="287" y="128"/>
                    <a:pt x="258" y="125"/>
                    <a:pt x="255" y="125"/>
                  </a:cubicBezTo>
                  <a:cubicBezTo>
                    <a:pt x="252" y="125"/>
                    <a:pt x="240" y="118"/>
                    <a:pt x="233" y="110"/>
                  </a:cubicBezTo>
                  <a:cubicBezTo>
                    <a:pt x="226" y="102"/>
                    <a:pt x="218" y="80"/>
                    <a:pt x="218" y="80"/>
                  </a:cubicBezTo>
                  <a:cubicBezTo>
                    <a:pt x="208" y="78"/>
                    <a:pt x="208" y="78"/>
                    <a:pt x="208" y="78"/>
                  </a:cubicBezTo>
                  <a:cubicBezTo>
                    <a:pt x="208" y="78"/>
                    <a:pt x="205" y="72"/>
                    <a:pt x="199" y="69"/>
                  </a:cubicBezTo>
                  <a:cubicBezTo>
                    <a:pt x="193" y="66"/>
                    <a:pt x="180" y="58"/>
                    <a:pt x="180" y="53"/>
                  </a:cubicBezTo>
                  <a:cubicBezTo>
                    <a:pt x="180" y="48"/>
                    <a:pt x="190" y="52"/>
                    <a:pt x="190" y="46"/>
                  </a:cubicBezTo>
                  <a:cubicBezTo>
                    <a:pt x="190" y="40"/>
                    <a:pt x="181" y="38"/>
                    <a:pt x="181" y="33"/>
                  </a:cubicBezTo>
                  <a:cubicBezTo>
                    <a:pt x="181" y="28"/>
                    <a:pt x="190" y="28"/>
                    <a:pt x="188" y="22"/>
                  </a:cubicBezTo>
                  <a:cubicBezTo>
                    <a:pt x="186" y="16"/>
                    <a:pt x="179" y="4"/>
                    <a:pt x="173" y="4"/>
                  </a:cubicBezTo>
                  <a:cubicBezTo>
                    <a:pt x="167" y="4"/>
                    <a:pt x="131" y="31"/>
                    <a:pt x="128" y="35"/>
                  </a:cubicBezTo>
                  <a:cubicBezTo>
                    <a:pt x="125" y="39"/>
                    <a:pt x="117" y="50"/>
                    <a:pt x="114" y="51"/>
                  </a:cubicBezTo>
                  <a:cubicBezTo>
                    <a:pt x="111" y="52"/>
                    <a:pt x="102" y="52"/>
                    <a:pt x="87" y="52"/>
                  </a:cubicBezTo>
                  <a:cubicBezTo>
                    <a:pt x="72" y="52"/>
                    <a:pt x="55" y="38"/>
                    <a:pt x="45" y="30"/>
                  </a:cubicBezTo>
                  <a:cubicBezTo>
                    <a:pt x="35" y="22"/>
                    <a:pt x="38" y="4"/>
                    <a:pt x="29" y="2"/>
                  </a:cubicBezTo>
                  <a:cubicBezTo>
                    <a:pt x="20" y="0"/>
                    <a:pt x="16" y="22"/>
                    <a:pt x="16" y="22"/>
                  </a:cubicBezTo>
                  <a:cubicBezTo>
                    <a:pt x="0" y="24"/>
                    <a:pt x="0" y="24"/>
                    <a:pt x="0" y="24"/>
                  </a:cubicBezTo>
                  <a:cubicBezTo>
                    <a:pt x="11" y="40"/>
                    <a:pt x="11" y="40"/>
                    <a:pt x="11" y="40"/>
                  </a:cubicBezTo>
                  <a:cubicBezTo>
                    <a:pt x="12" y="55"/>
                    <a:pt x="12" y="55"/>
                    <a:pt x="12" y="55"/>
                  </a:cubicBezTo>
                  <a:cubicBezTo>
                    <a:pt x="12" y="55"/>
                    <a:pt x="19" y="76"/>
                    <a:pt x="24" y="78"/>
                  </a:cubicBezTo>
                  <a:cubicBezTo>
                    <a:pt x="29" y="80"/>
                    <a:pt x="16" y="99"/>
                    <a:pt x="16" y="99"/>
                  </a:cubicBezTo>
                  <a:cubicBezTo>
                    <a:pt x="37" y="111"/>
                    <a:pt x="37" y="111"/>
                    <a:pt x="37" y="111"/>
                  </a:cubicBezTo>
                  <a:cubicBezTo>
                    <a:pt x="37" y="129"/>
                    <a:pt x="37" y="129"/>
                    <a:pt x="37" y="129"/>
                  </a:cubicBezTo>
                  <a:cubicBezTo>
                    <a:pt x="53" y="134"/>
                    <a:pt x="53" y="134"/>
                    <a:pt x="53" y="134"/>
                  </a:cubicBezTo>
                  <a:cubicBezTo>
                    <a:pt x="53" y="134"/>
                    <a:pt x="58" y="171"/>
                    <a:pt x="70" y="182"/>
                  </a:cubicBezTo>
                  <a:cubicBezTo>
                    <a:pt x="82" y="193"/>
                    <a:pt x="79" y="203"/>
                    <a:pt x="79" y="203"/>
                  </a:cubicBezTo>
                  <a:cubicBezTo>
                    <a:pt x="93" y="205"/>
                    <a:pt x="93" y="205"/>
                    <a:pt x="93" y="205"/>
                  </a:cubicBezTo>
                  <a:cubicBezTo>
                    <a:pt x="104" y="217"/>
                    <a:pt x="104" y="217"/>
                    <a:pt x="104" y="217"/>
                  </a:cubicBezTo>
                  <a:cubicBezTo>
                    <a:pt x="104" y="217"/>
                    <a:pt x="118" y="208"/>
                    <a:pt x="123" y="212"/>
                  </a:cubicBezTo>
                  <a:cubicBezTo>
                    <a:pt x="128" y="216"/>
                    <a:pt x="112" y="225"/>
                    <a:pt x="112" y="229"/>
                  </a:cubicBezTo>
                  <a:cubicBezTo>
                    <a:pt x="112" y="233"/>
                    <a:pt x="126" y="242"/>
                    <a:pt x="123" y="250"/>
                  </a:cubicBezTo>
                  <a:cubicBezTo>
                    <a:pt x="120" y="258"/>
                    <a:pt x="110" y="258"/>
                    <a:pt x="110" y="258"/>
                  </a:cubicBezTo>
                  <a:cubicBezTo>
                    <a:pt x="109" y="267"/>
                    <a:pt x="109" y="267"/>
                    <a:pt x="109" y="267"/>
                  </a:cubicBezTo>
                  <a:cubicBezTo>
                    <a:pt x="110" y="280"/>
                    <a:pt x="110" y="280"/>
                    <a:pt x="110" y="280"/>
                  </a:cubicBezTo>
                  <a:cubicBezTo>
                    <a:pt x="110" y="280"/>
                    <a:pt x="97" y="279"/>
                    <a:pt x="96" y="286"/>
                  </a:cubicBezTo>
                  <a:cubicBezTo>
                    <a:pt x="95" y="293"/>
                    <a:pt x="104" y="300"/>
                    <a:pt x="104" y="300"/>
                  </a:cubicBezTo>
                  <a:cubicBezTo>
                    <a:pt x="104" y="300"/>
                    <a:pt x="94" y="305"/>
                    <a:pt x="96" y="314"/>
                  </a:cubicBezTo>
                  <a:cubicBezTo>
                    <a:pt x="98" y="323"/>
                    <a:pt x="140" y="344"/>
                    <a:pt x="140" y="344"/>
                  </a:cubicBezTo>
                  <a:cubicBezTo>
                    <a:pt x="140" y="371"/>
                    <a:pt x="140" y="371"/>
                    <a:pt x="140" y="371"/>
                  </a:cubicBezTo>
                  <a:cubicBezTo>
                    <a:pt x="153" y="372"/>
                    <a:pt x="153" y="372"/>
                    <a:pt x="153" y="372"/>
                  </a:cubicBezTo>
                  <a:cubicBezTo>
                    <a:pt x="153" y="372"/>
                    <a:pt x="174" y="390"/>
                    <a:pt x="185" y="390"/>
                  </a:cubicBezTo>
                  <a:cubicBezTo>
                    <a:pt x="196" y="390"/>
                    <a:pt x="198" y="402"/>
                    <a:pt x="198" y="402"/>
                  </a:cubicBezTo>
                  <a:cubicBezTo>
                    <a:pt x="220" y="427"/>
                    <a:pt x="220" y="427"/>
                    <a:pt x="220" y="427"/>
                  </a:cubicBezTo>
                  <a:cubicBezTo>
                    <a:pt x="220" y="427"/>
                    <a:pt x="212" y="466"/>
                    <a:pt x="220" y="472"/>
                  </a:cubicBezTo>
                  <a:cubicBezTo>
                    <a:pt x="228" y="478"/>
                    <a:pt x="233" y="478"/>
                    <a:pt x="233" y="478"/>
                  </a:cubicBezTo>
                  <a:cubicBezTo>
                    <a:pt x="237" y="497"/>
                    <a:pt x="237" y="497"/>
                    <a:pt x="237" y="497"/>
                  </a:cubicBezTo>
                  <a:cubicBezTo>
                    <a:pt x="237" y="497"/>
                    <a:pt x="252" y="501"/>
                    <a:pt x="253" y="510"/>
                  </a:cubicBezTo>
                  <a:cubicBezTo>
                    <a:pt x="254" y="519"/>
                    <a:pt x="275" y="533"/>
                    <a:pt x="282" y="528"/>
                  </a:cubicBezTo>
                  <a:cubicBezTo>
                    <a:pt x="289" y="523"/>
                    <a:pt x="267" y="512"/>
                    <a:pt x="283" y="505"/>
                  </a:cubicBezTo>
                  <a:cubicBezTo>
                    <a:pt x="299" y="498"/>
                    <a:pt x="298" y="516"/>
                    <a:pt x="298" y="516"/>
                  </a:cubicBezTo>
                  <a:cubicBezTo>
                    <a:pt x="305" y="522"/>
                    <a:pt x="305" y="522"/>
                    <a:pt x="305" y="522"/>
                  </a:cubicBezTo>
                  <a:cubicBezTo>
                    <a:pt x="306" y="521"/>
                    <a:pt x="308" y="521"/>
                    <a:pt x="311" y="522"/>
                  </a:cubicBezTo>
                  <a:cubicBezTo>
                    <a:pt x="313" y="523"/>
                    <a:pt x="314" y="523"/>
                    <a:pt x="316" y="524"/>
                  </a:cubicBezTo>
                  <a:cubicBezTo>
                    <a:pt x="317" y="523"/>
                    <a:pt x="318" y="521"/>
                    <a:pt x="318" y="520"/>
                  </a:cubicBezTo>
                  <a:cubicBezTo>
                    <a:pt x="319" y="516"/>
                    <a:pt x="330" y="513"/>
                    <a:pt x="333" y="515"/>
                  </a:cubicBezTo>
                  <a:cubicBezTo>
                    <a:pt x="336" y="517"/>
                    <a:pt x="331" y="538"/>
                    <a:pt x="338" y="541"/>
                  </a:cubicBezTo>
                  <a:cubicBezTo>
                    <a:pt x="345" y="544"/>
                    <a:pt x="360" y="555"/>
                    <a:pt x="360" y="555"/>
                  </a:cubicBezTo>
                  <a:cubicBezTo>
                    <a:pt x="360" y="555"/>
                    <a:pt x="358" y="560"/>
                    <a:pt x="358" y="565"/>
                  </a:cubicBezTo>
                  <a:cubicBezTo>
                    <a:pt x="363" y="571"/>
                    <a:pt x="368" y="577"/>
                    <a:pt x="371" y="583"/>
                  </a:cubicBezTo>
                  <a:cubicBezTo>
                    <a:pt x="371" y="583"/>
                    <a:pt x="371" y="583"/>
                    <a:pt x="371" y="583"/>
                  </a:cubicBezTo>
                  <a:cubicBezTo>
                    <a:pt x="375" y="585"/>
                    <a:pt x="378" y="587"/>
                    <a:pt x="378" y="587"/>
                  </a:cubicBezTo>
                  <a:cubicBezTo>
                    <a:pt x="387" y="600"/>
                    <a:pt x="387" y="600"/>
                    <a:pt x="387" y="600"/>
                  </a:cubicBezTo>
                  <a:cubicBezTo>
                    <a:pt x="387" y="600"/>
                    <a:pt x="389" y="624"/>
                    <a:pt x="399" y="626"/>
                  </a:cubicBezTo>
                  <a:cubicBezTo>
                    <a:pt x="409" y="628"/>
                    <a:pt x="409" y="644"/>
                    <a:pt x="409" y="644"/>
                  </a:cubicBezTo>
                  <a:cubicBezTo>
                    <a:pt x="431" y="644"/>
                    <a:pt x="431" y="644"/>
                    <a:pt x="431" y="644"/>
                  </a:cubicBezTo>
                  <a:cubicBezTo>
                    <a:pt x="443" y="656"/>
                    <a:pt x="443" y="656"/>
                    <a:pt x="443" y="656"/>
                  </a:cubicBezTo>
                  <a:cubicBezTo>
                    <a:pt x="451" y="654"/>
                    <a:pt x="458" y="652"/>
                    <a:pt x="465" y="656"/>
                  </a:cubicBezTo>
                  <a:cubicBezTo>
                    <a:pt x="475" y="661"/>
                    <a:pt x="504" y="686"/>
                    <a:pt x="526" y="703"/>
                  </a:cubicBezTo>
                  <a:cubicBezTo>
                    <a:pt x="527" y="704"/>
                    <a:pt x="528" y="704"/>
                    <a:pt x="529" y="704"/>
                  </a:cubicBezTo>
                  <a:cubicBezTo>
                    <a:pt x="535" y="704"/>
                    <a:pt x="546" y="706"/>
                    <a:pt x="546" y="706"/>
                  </a:cubicBezTo>
                  <a:cubicBezTo>
                    <a:pt x="546" y="706"/>
                    <a:pt x="549" y="720"/>
                    <a:pt x="565" y="715"/>
                  </a:cubicBezTo>
                  <a:cubicBezTo>
                    <a:pt x="581" y="710"/>
                    <a:pt x="584" y="703"/>
                    <a:pt x="584" y="703"/>
                  </a:cubicBezTo>
                  <a:cubicBezTo>
                    <a:pt x="600" y="705"/>
                    <a:pt x="600" y="705"/>
                    <a:pt x="600" y="705"/>
                  </a:cubicBezTo>
                  <a:cubicBezTo>
                    <a:pt x="606" y="691"/>
                    <a:pt x="606" y="691"/>
                    <a:pt x="606" y="691"/>
                  </a:cubicBezTo>
                  <a:cubicBezTo>
                    <a:pt x="620" y="689"/>
                    <a:pt x="620" y="689"/>
                    <a:pt x="620" y="689"/>
                  </a:cubicBezTo>
                  <a:cubicBezTo>
                    <a:pt x="636" y="674"/>
                    <a:pt x="636" y="674"/>
                    <a:pt x="636" y="674"/>
                  </a:cubicBezTo>
                  <a:cubicBezTo>
                    <a:pt x="641" y="682"/>
                    <a:pt x="641" y="682"/>
                    <a:pt x="641" y="682"/>
                  </a:cubicBezTo>
                  <a:cubicBezTo>
                    <a:pt x="649" y="680"/>
                    <a:pt x="656" y="679"/>
                    <a:pt x="659" y="683"/>
                  </a:cubicBezTo>
                  <a:cubicBezTo>
                    <a:pt x="672" y="694"/>
                    <a:pt x="686" y="717"/>
                    <a:pt x="688" y="735"/>
                  </a:cubicBezTo>
                  <a:cubicBezTo>
                    <a:pt x="690" y="754"/>
                    <a:pt x="718" y="752"/>
                    <a:pt x="718" y="752"/>
                  </a:cubicBezTo>
                  <a:cubicBezTo>
                    <a:pt x="718" y="752"/>
                    <a:pt x="717" y="759"/>
                    <a:pt x="730" y="762"/>
                  </a:cubicBezTo>
                  <a:cubicBezTo>
                    <a:pt x="743" y="765"/>
                    <a:pt x="774" y="761"/>
                    <a:pt x="774" y="761"/>
                  </a:cubicBezTo>
                  <a:cubicBezTo>
                    <a:pt x="774" y="761"/>
                    <a:pt x="800" y="781"/>
                    <a:pt x="805" y="781"/>
                  </a:cubicBezTo>
                  <a:cubicBezTo>
                    <a:pt x="810" y="781"/>
                    <a:pt x="828" y="772"/>
                    <a:pt x="828" y="772"/>
                  </a:cubicBezTo>
                  <a:cubicBezTo>
                    <a:pt x="828" y="772"/>
                    <a:pt x="854" y="788"/>
                    <a:pt x="872" y="789"/>
                  </a:cubicBezTo>
                  <a:cubicBezTo>
                    <a:pt x="878" y="789"/>
                    <a:pt x="884" y="788"/>
                    <a:pt x="889" y="786"/>
                  </a:cubicBezTo>
                  <a:lnTo>
                    <a:pt x="890" y="786"/>
                  </a:lnTo>
                  <a:close/>
                </a:path>
              </a:pathLst>
            </a:custGeom>
            <a:solidFill>
              <a:schemeClr val="accent1"/>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14" name="Indonesia">
              <a:extLst>
                <a:ext uri="{FF2B5EF4-FFF2-40B4-BE49-F238E27FC236}">
                  <a16:creationId xmlns:a16="http://schemas.microsoft.com/office/drawing/2014/main" id="{BC6839C7-6BEE-4BE4-97D6-1C002BE9842D}"/>
                </a:ext>
              </a:extLst>
            </p:cNvPr>
            <p:cNvSpPr>
              <a:spLocks noEditPoints="1"/>
            </p:cNvSpPr>
            <p:nvPr/>
          </p:nvSpPr>
          <p:spPr bwMode="gray">
            <a:xfrm>
              <a:off x="8137586" y="3910594"/>
              <a:ext cx="1220999" cy="491897"/>
            </a:xfrm>
            <a:custGeom>
              <a:avLst/>
              <a:gdLst>
                <a:gd name="T0" fmla="*/ 455 w 2179"/>
                <a:gd name="T1" fmla="*/ 287 h 879"/>
                <a:gd name="T2" fmla="*/ 603 w 2179"/>
                <a:gd name="T3" fmla="*/ 446 h 879"/>
                <a:gd name="T4" fmla="*/ 558 w 2179"/>
                <a:gd name="T5" fmla="*/ 443 h 879"/>
                <a:gd name="T6" fmla="*/ 162 w 2179"/>
                <a:gd name="T7" fmla="*/ 330 h 879"/>
                <a:gd name="T8" fmla="*/ 40 w 2179"/>
                <a:gd name="T9" fmla="*/ 174 h 879"/>
                <a:gd name="T10" fmla="*/ 1708 w 2179"/>
                <a:gd name="T11" fmla="*/ 314 h 879"/>
                <a:gd name="T12" fmla="*/ 1627 w 2179"/>
                <a:gd name="T13" fmla="*/ 412 h 879"/>
                <a:gd name="T14" fmla="*/ 1950 w 2179"/>
                <a:gd name="T15" fmla="*/ 413 h 879"/>
                <a:gd name="T16" fmla="*/ 1124 w 2179"/>
                <a:gd name="T17" fmla="*/ 485 h 879"/>
                <a:gd name="T18" fmla="*/ 1210 w 2179"/>
                <a:gd name="T19" fmla="*/ 476 h 879"/>
                <a:gd name="T20" fmla="*/ 1285 w 2179"/>
                <a:gd name="T21" fmla="*/ 614 h 879"/>
                <a:gd name="T22" fmla="*/ 1291 w 2179"/>
                <a:gd name="T23" fmla="*/ 446 h 879"/>
                <a:gd name="T24" fmla="*/ 1240 w 2179"/>
                <a:gd name="T25" fmla="*/ 370 h 879"/>
                <a:gd name="T26" fmla="*/ 1415 w 2179"/>
                <a:gd name="T27" fmla="*/ 258 h 879"/>
                <a:gd name="T28" fmla="*/ 1253 w 2179"/>
                <a:gd name="T29" fmla="*/ 232 h 879"/>
                <a:gd name="T30" fmla="*/ 1328 w 2179"/>
                <a:gd name="T31" fmla="*/ 387 h 879"/>
                <a:gd name="T32" fmla="*/ 1127 w 2179"/>
                <a:gd name="T33" fmla="*/ 743 h 879"/>
                <a:gd name="T34" fmla="*/ 1542 w 2179"/>
                <a:gd name="T35" fmla="*/ 370 h 879"/>
                <a:gd name="T36" fmla="*/ 1603 w 2179"/>
                <a:gd name="T37" fmla="*/ 288 h 879"/>
                <a:gd name="T38" fmla="*/ 1548 w 2179"/>
                <a:gd name="T39" fmla="*/ 230 h 879"/>
                <a:gd name="T40" fmla="*/ 1517 w 2179"/>
                <a:gd name="T41" fmla="*/ 471 h 879"/>
                <a:gd name="T42" fmla="*/ 1634 w 2179"/>
                <a:gd name="T43" fmla="*/ 448 h 879"/>
                <a:gd name="T44" fmla="*/ 1654 w 2179"/>
                <a:gd name="T45" fmla="*/ 509 h 879"/>
                <a:gd name="T46" fmla="*/ 2007 w 2179"/>
                <a:gd name="T47" fmla="*/ 423 h 879"/>
                <a:gd name="T48" fmla="*/ 1820 w 2179"/>
                <a:gd name="T49" fmla="*/ 350 h 879"/>
                <a:gd name="T50" fmla="*/ 1749 w 2179"/>
                <a:gd name="T51" fmla="*/ 393 h 879"/>
                <a:gd name="T52" fmla="*/ 1790 w 2179"/>
                <a:gd name="T53" fmla="*/ 530 h 879"/>
                <a:gd name="T54" fmla="*/ 1964 w 2179"/>
                <a:gd name="T55" fmla="*/ 567 h 879"/>
                <a:gd name="T56" fmla="*/ 2077 w 2179"/>
                <a:gd name="T57" fmla="*/ 729 h 879"/>
                <a:gd name="T58" fmla="*/ 2168 w 2179"/>
                <a:gd name="T59" fmla="*/ 726 h 879"/>
                <a:gd name="T60" fmla="*/ 258 w 2179"/>
                <a:gd name="T61" fmla="*/ 478 h 879"/>
                <a:gd name="T62" fmla="*/ 2037 w 2179"/>
                <a:gd name="T63" fmla="*/ 711 h 879"/>
                <a:gd name="T64" fmla="*/ 1860 w 2179"/>
                <a:gd name="T65" fmla="*/ 679 h 879"/>
                <a:gd name="T66" fmla="*/ 1427 w 2179"/>
                <a:gd name="T67" fmla="*/ 403 h 879"/>
                <a:gd name="T68" fmla="*/ 863 w 2179"/>
                <a:gd name="T69" fmla="*/ 677 h 879"/>
                <a:gd name="T70" fmla="*/ 499 w 2179"/>
                <a:gd name="T71" fmla="*/ 620 h 879"/>
                <a:gd name="T72" fmla="*/ 450 w 2179"/>
                <a:gd name="T73" fmla="*/ 413 h 879"/>
                <a:gd name="T74" fmla="*/ 340 w 2179"/>
                <a:gd name="T75" fmla="*/ 238 h 879"/>
                <a:gd name="T76" fmla="*/ 151 w 2179"/>
                <a:gd name="T77" fmla="*/ 72 h 879"/>
                <a:gd name="T78" fmla="*/ 119 w 2179"/>
                <a:gd name="T79" fmla="*/ 154 h 879"/>
                <a:gd name="T80" fmla="*/ 275 w 2179"/>
                <a:gd name="T81" fmla="*/ 408 h 879"/>
                <a:gd name="T82" fmla="*/ 444 w 2179"/>
                <a:gd name="T83" fmla="*/ 630 h 879"/>
                <a:gd name="T84" fmla="*/ 1408 w 2179"/>
                <a:gd name="T85" fmla="*/ 828 h 879"/>
                <a:gd name="T86" fmla="*/ 778 w 2179"/>
                <a:gd name="T87" fmla="*/ 674 h 879"/>
                <a:gd name="T88" fmla="*/ 535 w 2179"/>
                <a:gd name="T89" fmla="*/ 624 h 879"/>
                <a:gd name="T90" fmla="*/ 705 w 2179"/>
                <a:gd name="T91" fmla="*/ 728 h 879"/>
                <a:gd name="T92" fmla="*/ 1004 w 2179"/>
                <a:gd name="T93" fmla="*/ 484 h 879"/>
                <a:gd name="T94" fmla="*/ 1139 w 2179"/>
                <a:gd name="T95" fmla="*/ 271 h 879"/>
                <a:gd name="T96" fmla="*/ 1086 w 2179"/>
                <a:gd name="T97" fmla="*/ 110 h 879"/>
                <a:gd name="T98" fmla="*/ 939 w 2179"/>
                <a:gd name="T99" fmla="*/ 208 h 879"/>
                <a:gd name="T100" fmla="*/ 712 w 2179"/>
                <a:gd name="T101" fmla="*/ 247 h 879"/>
                <a:gd name="T102" fmla="*/ 716 w 2179"/>
                <a:gd name="T103" fmla="*/ 388 h 879"/>
                <a:gd name="T104" fmla="*/ 822 w 2179"/>
                <a:gd name="T105" fmla="*/ 472 h 879"/>
                <a:gd name="T106" fmla="*/ 974 w 2179"/>
                <a:gd name="T107" fmla="*/ 755 h 879"/>
                <a:gd name="T108" fmla="*/ 1187 w 2179"/>
                <a:gd name="T109" fmla="*/ 827 h 879"/>
                <a:gd name="T110" fmla="*/ 1151 w 2179"/>
                <a:gd name="T111" fmla="*/ 787 h 879"/>
                <a:gd name="T112" fmla="*/ 1056 w 2179"/>
                <a:gd name="T113" fmla="*/ 774 h 879"/>
                <a:gd name="T114" fmla="*/ 1067 w 2179"/>
                <a:gd name="T115" fmla="*/ 771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79" h="879">
                  <a:moveTo>
                    <a:pt x="1196" y="656"/>
                  </a:moveTo>
                  <a:cubicBezTo>
                    <a:pt x="1210" y="655"/>
                    <a:pt x="1210" y="655"/>
                    <a:pt x="1210" y="655"/>
                  </a:cubicBezTo>
                  <a:cubicBezTo>
                    <a:pt x="1218" y="637"/>
                    <a:pt x="1218" y="637"/>
                    <a:pt x="1218" y="637"/>
                  </a:cubicBezTo>
                  <a:cubicBezTo>
                    <a:pt x="1215" y="622"/>
                    <a:pt x="1215" y="622"/>
                    <a:pt x="1215" y="622"/>
                  </a:cubicBezTo>
                  <a:lnTo>
                    <a:pt x="1196" y="656"/>
                  </a:lnTo>
                  <a:close/>
                  <a:moveTo>
                    <a:pt x="453" y="310"/>
                  </a:moveTo>
                  <a:cubicBezTo>
                    <a:pt x="472" y="321"/>
                    <a:pt x="472" y="321"/>
                    <a:pt x="472" y="321"/>
                  </a:cubicBezTo>
                  <a:cubicBezTo>
                    <a:pt x="472" y="300"/>
                    <a:pt x="472" y="300"/>
                    <a:pt x="472" y="300"/>
                  </a:cubicBezTo>
                  <a:cubicBezTo>
                    <a:pt x="455" y="287"/>
                    <a:pt x="455" y="287"/>
                    <a:pt x="455" y="287"/>
                  </a:cubicBezTo>
                  <a:lnTo>
                    <a:pt x="453" y="310"/>
                  </a:lnTo>
                  <a:close/>
                  <a:moveTo>
                    <a:pt x="455" y="331"/>
                  </a:moveTo>
                  <a:cubicBezTo>
                    <a:pt x="441" y="344"/>
                    <a:pt x="441" y="344"/>
                    <a:pt x="441" y="344"/>
                  </a:cubicBezTo>
                  <a:cubicBezTo>
                    <a:pt x="458" y="365"/>
                    <a:pt x="458" y="365"/>
                    <a:pt x="458" y="365"/>
                  </a:cubicBezTo>
                  <a:lnTo>
                    <a:pt x="455" y="331"/>
                  </a:lnTo>
                  <a:close/>
                  <a:moveTo>
                    <a:pt x="611" y="478"/>
                  </a:moveTo>
                  <a:cubicBezTo>
                    <a:pt x="624" y="491"/>
                    <a:pt x="624" y="491"/>
                    <a:pt x="624" y="491"/>
                  </a:cubicBezTo>
                  <a:cubicBezTo>
                    <a:pt x="630" y="474"/>
                    <a:pt x="630" y="474"/>
                    <a:pt x="630" y="474"/>
                  </a:cubicBezTo>
                  <a:cubicBezTo>
                    <a:pt x="630" y="474"/>
                    <a:pt x="622" y="444"/>
                    <a:pt x="603" y="446"/>
                  </a:cubicBezTo>
                  <a:cubicBezTo>
                    <a:pt x="584" y="447"/>
                    <a:pt x="590" y="466"/>
                    <a:pt x="596" y="484"/>
                  </a:cubicBezTo>
                  <a:lnTo>
                    <a:pt x="611" y="478"/>
                  </a:lnTo>
                  <a:close/>
                  <a:moveTo>
                    <a:pt x="459" y="249"/>
                  </a:moveTo>
                  <a:cubicBezTo>
                    <a:pt x="454" y="237"/>
                    <a:pt x="440" y="244"/>
                    <a:pt x="450" y="260"/>
                  </a:cubicBezTo>
                  <a:cubicBezTo>
                    <a:pt x="461" y="279"/>
                    <a:pt x="464" y="261"/>
                    <a:pt x="459" y="249"/>
                  </a:cubicBezTo>
                  <a:close/>
                  <a:moveTo>
                    <a:pt x="507" y="418"/>
                  </a:moveTo>
                  <a:cubicBezTo>
                    <a:pt x="507" y="418"/>
                    <a:pt x="512" y="447"/>
                    <a:pt x="523" y="459"/>
                  </a:cubicBezTo>
                  <a:cubicBezTo>
                    <a:pt x="533" y="471"/>
                    <a:pt x="559" y="471"/>
                    <a:pt x="559" y="471"/>
                  </a:cubicBezTo>
                  <a:cubicBezTo>
                    <a:pt x="558" y="443"/>
                    <a:pt x="558" y="443"/>
                    <a:pt x="558" y="443"/>
                  </a:cubicBezTo>
                  <a:cubicBezTo>
                    <a:pt x="546" y="435"/>
                    <a:pt x="546" y="435"/>
                    <a:pt x="546" y="435"/>
                  </a:cubicBezTo>
                  <a:cubicBezTo>
                    <a:pt x="545" y="415"/>
                    <a:pt x="545" y="415"/>
                    <a:pt x="545" y="415"/>
                  </a:cubicBezTo>
                  <a:cubicBezTo>
                    <a:pt x="545" y="415"/>
                    <a:pt x="530" y="390"/>
                    <a:pt x="508" y="384"/>
                  </a:cubicBezTo>
                  <a:cubicBezTo>
                    <a:pt x="486" y="378"/>
                    <a:pt x="487" y="403"/>
                    <a:pt x="487" y="403"/>
                  </a:cubicBezTo>
                  <a:cubicBezTo>
                    <a:pt x="487" y="403"/>
                    <a:pt x="473" y="399"/>
                    <a:pt x="480" y="419"/>
                  </a:cubicBezTo>
                  <a:lnTo>
                    <a:pt x="507" y="418"/>
                  </a:lnTo>
                  <a:close/>
                  <a:moveTo>
                    <a:pt x="169" y="296"/>
                  </a:moveTo>
                  <a:cubicBezTo>
                    <a:pt x="154" y="310"/>
                    <a:pt x="154" y="310"/>
                    <a:pt x="154" y="310"/>
                  </a:cubicBezTo>
                  <a:cubicBezTo>
                    <a:pt x="162" y="330"/>
                    <a:pt x="162" y="330"/>
                    <a:pt x="162" y="330"/>
                  </a:cubicBezTo>
                  <a:cubicBezTo>
                    <a:pt x="162" y="330"/>
                    <a:pt x="152" y="348"/>
                    <a:pt x="164" y="344"/>
                  </a:cubicBezTo>
                  <a:cubicBezTo>
                    <a:pt x="171" y="341"/>
                    <a:pt x="168" y="316"/>
                    <a:pt x="168" y="316"/>
                  </a:cubicBezTo>
                  <a:cubicBezTo>
                    <a:pt x="175" y="307"/>
                    <a:pt x="175" y="307"/>
                    <a:pt x="175" y="307"/>
                  </a:cubicBezTo>
                  <a:lnTo>
                    <a:pt x="169" y="296"/>
                  </a:lnTo>
                  <a:close/>
                  <a:moveTo>
                    <a:pt x="180" y="360"/>
                  </a:moveTo>
                  <a:cubicBezTo>
                    <a:pt x="170" y="372"/>
                    <a:pt x="176" y="414"/>
                    <a:pt x="198" y="410"/>
                  </a:cubicBezTo>
                  <a:cubicBezTo>
                    <a:pt x="207" y="408"/>
                    <a:pt x="191" y="348"/>
                    <a:pt x="180" y="360"/>
                  </a:cubicBezTo>
                  <a:close/>
                  <a:moveTo>
                    <a:pt x="35" y="152"/>
                  </a:moveTo>
                  <a:cubicBezTo>
                    <a:pt x="30" y="157"/>
                    <a:pt x="28" y="173"/>
                    <a:pt x="40" y="174"/>
                  </a:cubicBezTo>
                  <a:cubicBezTo>
                    <a:pt x="52" y="176"/>
                    <a:pt x="55" y="189"/>
                    <a:pt x="66" y="181"/>
                  </a:cubicBezTo>
                  <a:cubicBezTo>
                    <a:pt x="73" y="175"/>
                    <a:pt x="40" y="146"/>
                    <a:pt x="35" y="152"/>
                  </a:cubicBezTo>
                  <a:close/>
                  <a:moveTo>
                    <a:pt x="112" y="221"/>
                  </a:moveTo>
                  <a:cubicBezTo>
                    <a:pt x="104" y="221"/>
                    <a:pt x="94" y="234"/>
                    <a:pt x="106" y="242"/>
                  </a:cubicBezTo>
                  <a:cubicBezTo>
                    <a:pt x="118" y="250"/>
                    <a:pt x="122" y="280"/>
                    <a:pt x="134" y="280"/>
                  </a:cubicBezTo>
                  <a:cubicBezTo>
                    <a:pt x="141" y="280"/>
                    <a:pt x="142" y="249"/>
                    <a:pt x="138" y="245"/>
                  </a:cubicBezTo>
                  <a:cubicBezTo>
                    <a:pt x="134" y="241"/>
                    <a:pt x="120" y="221"/>
                    <a:pt x="112" y="221"/>
                  </a:cubicBezTo>
                  <a:close/>
                  <a:moveTo>
                    <a:pt x="1721" y="328"/>
                  </a:moveTo>
                  <a:cubicBezTo>
                    <a:pt x="1721" y="328"/>
                    <a:pt x="1725" y="316"/>
                    <a:pt x="1708" y="314"/>
                  </a:cubicBezTo>
                  <a:cubicBezTo>
                    <a:pt x="1691" y="311"/>
                    <a:pt x="1680" y="316"/>
                    <a:pt x="1680" y="316"/>
                  </a:cubicBezTo>
                  <a:cubicBezTo>
                    <a:pt x="1684" y="334"/>
                    <a:pt x="1684" y="334"/>
                    <a:pt x="1684" y="334"/>
                  </a:cubicBezTo>
                  <a:cubicBezTo>
                    <a:pt x="1693" y="333"/>
                    <a:pt x="1721" y="328"/>
                    <a:pt x="1721" y="328"/>
                  </a:cubicBezTo>
                  <a:close/>
                  <a:moveTo>
                    <a:pt x="230" y="434"/>
                  </a:moveTo>
                  <a:cubicBezTo>
                    <a:pt x="239" y="433"/>
                    <a:pt x="226" y="413"/>
                    <a:pt x="218" y="418"/>
                  </a:cubicBezTo>
                  <a:cubicBezTo>
                    <a:pt x="211" y="422"/>
                    <a:pt x="220" y="436"/>
                    <a:pt x="230" y="434"/>
                  </a:cubicBezTo>
                  <a:close/>
                  <a:moveTo>
                    <a:pt x="1652" y="438"/>
                  </a:moveTo>
                  <a:cubicBezTo>
                    <a:pt x="1674" y="429"/>
                    <a:pt x="1672" y="413"/>
                    <a:pt x="1672" y="413"/>
                  </a:cubicBezTo>
                  <a:cubicBezTo>
                    <a:pt x="1627" y="412"/>
                    <a:pt x="1627" y="412"/>
                    <a:pt x="1627" y="412"/>
                  </a:cubicBezTo>
                  <a:cubicBezTo>
                    <a:pt x="1627" y="412"/>
                    <a:pt x="1630" y="447"/>
                    <a:pt x="1652" y="438"/>
                  </a:cubicBezTo>
                  <a:close/>
                  <a:moveTo>
                    <a:pt x="1609" y="194"/>
                  </a:moveTo>
                  <a:cubicBezTo>
                    <a:pt x="1624" y="182"/>
                    <a:pt x="1618" y="175"/>
                    <a:pt x="1605" y="171"/>
                  </a:cubicBezTo>
                  <a:cubicBezTo>
                    <a:pt x="1592" y="167"/>
                    <a:pt x="1586" y="172"/>
                    <a:pt x="1586" y="172"/>
                  </a:cubicBezTo>
                  <a:cubicBezTo>
                    <a:pt x="1586" y="172"/>
                    <a:pt x="1601" y="202"/>
                    <a:pt x="1609" y="194"/>
                  </a:cubicBezTo>
                  <a:close/>
                  <a:moveTo>
                    <a:pt x="1918" y="353"/>
                  </a:moveTo>
                  <a:cubicBezTo>
                    <a:pt x="1937" y="362"/>
                    <a:pt x="1945" y="353"/>
                    <a:pt x="1930" y="346"/>
                  </a:cubicBezTo>
                  <a:cubicBezTo>
                    <a:pt x="1916" y="340"/>
                    <a:pt x="1910" y="349"/>
                    <a:pt x="1918" y="353"/>
                  </a:cubicBezTo>
                  <a:close/>
                  <a:moveTo>
                    <a:pt x="1950" y="413"/>
                  </a:moveTo>
                  <a:cubicBezTo>
                    <a:pt x="1959" y="413"/>
                    <a:pt x="1986" y="406"/>
                    <a:pt x="1986" y="406"/>
                  </a:cubicBezTo>
                  <a:cubicBezTo>
                    <a:pt x="1986" y="406"/>
                    <a:pt x="1962" y="396"/>
                    <a:pt x="1957" y="395"/>
                  </a:cubicBezTo>
                  <a:cubicBezTo>
                    <a:pt x="1953" y="394"/>
                    <a:pt x="1924" y="400"/>
                    <a:pt x="1924" y="400"/>
                  </a:cubicBezTo>
                  <a:cubicBezTo>
                    <a:pt x="1924" y="400"/>
                    <a:pt x="1940" y="413"/>
                    <a:pt x="1950" y="413"/>
                  </a:cubicBezTo>
                  <a:close/>
                  <a:moveTo>
                    <a:pt x="1145" y="370"/>
                  </a:moveTo>
                  <a:cubicBezTo>
                    <a:pt x="1142" y="380"/>
                    <a:pt x="1161" y="400"/>
                    <a:pt x="1153" y="409"/>
                  </a:cubicBezTo>
                  <a:cubicBezTo>
                    <a:pt x="1145" y="418"/>
                    <a:pt x="1122" y="424"/>
                    <a:pt x="1120" y="437"/>
                  </a:cubicBezTo>
                  <a:cubicBezTo>
                    <a:pt x="1119" y="451"/>
                    <a:pt x="1130" y="464"/>
                    <a:pt x="1130" y="464"/>
                  </a:cubicBezTo>
                  <a:cubicBezTo>
                    <a:pt x="1130" y="464"/>
                    <a:pt x="1114" y="478"/>
                    <a:pt x="1124" y="485"/>
                  </a:cubicBezTo>
                  <a:cubicBezTo>
                    <a:pt x="1135" y="492"/>
                    <a:pt x="1153" y="477"/>
                    <a:pt x="1157" y="489"/>
                  </a:cubicBezTo>
                  <a:cubicBezTo>
                    <a:pt x="1161" y="501"/>
                    <a:pt x="1153" y="510"/>
                    <a:pt x="1153" y="510"/>
                  </a:cubicBezTo>
                  <a:cubicBezTo>
                    <a:pt x="1164" y="524"/>
                    <a:pt x="1164" y="524"/>
                    <a:pt x="1164" y="524"/>
                  </a:cubicBezTo>
                  <a:cubicBezTo>
                    <a:pt x="1158" y="568"/>
                    <a:pt x="1158" y="568"/>
                    <a:pt x="1158" y="568"/>
                  </a:cubicBezTo>
                  <a:cubicBezTo>
                    <a:pt x="1158" y="568"/>
                    <a:pt x="1134" y="582"/>
                    <a:pt x="1146" y="606"/>
                  </a:cubicBezTo>
                  <a:cubicBezTo>
                    <a:pt x="1157" y="630"/>
                    <a:pt x="1173" y="630"/>
                    <a:pt x="1191" y="612"/>
                  </a:cubicBezTo>
                  <a:cubicBezTo>
                    <a:pt x="1208" y="595"/>
                    <a:pt x="1188" y="566"/>
                    <a:pt x="1188" y="566"/>
                  </a:cubicBezTo>
                  <a:cubicBezTo>
                    <a:pt x="1188" y="566"/>
                    <a:pt x="1209" y="551"/>
                    <a:pt x="1209" y="530"/>
                  </a:cubicBezTo>
                  <a:cubicBezTo>
                    <a:pt x="1208" y="508"/>
                    <a:pt x="1217" y="489"/>
                    <a:pt x="1210" y="476"/>
                  </a:cubicBezTo>
                  <a:cubicBezTo>
                    <a:pt x="1202" y="464"/>
                    <a:pt x="1198" y="439"/>
                    <a:pt x="1200" y="434"/>
                  </a:cubicBezTo>
                  <a:cubicBezTo>
                    <a:pt x="1201" y="429"/>
                    <a:pt x="1207" y="401"/>
                    <a:pt x="1217" y="419"/>
                  </a:cubicBezTo>
                  <a:cubicBezTo>
                    <a:pt x="1228" y="437"/>
                    <a:pt x="1228" y="468"/>
                    <a:pt x="1228" y="468"/>
                  </a:cubicBezTo>
                  <a:cubicBezTo>
                    <a:pt x="1251" y="494"/>
                    <a:pt x="1251" y="494"/>
                    <a:pt x="1251" y="494"/>
                  </a:cubicBezTo>
                  <a:cubicBezTo>
                    <a:pt x="1248" y="529"/>
                    <a:pt x="1248" y="529"/>
                    <a:pt x="1248" y="529"/>
                  </a:cubicBezTo>
                  <a:cubicBezTo>
                    <a:pt x="1265" y="551"/>
                    <a:pt x="1265" y="551"/>
                    <a:pt x="1265" y="551"/>
                  </a:cubicBezTo>
                  <a:cubicBezTo>
                    <a:pt x="1266" y="575"/>
                    <a:pt x="1266" y="575"/>
                    <a:pt x="1266" y="575"/>
                  </a:cubicBezTo>
                  <a:cubicBezTo>
                    <a:pt x="1275" y="624"/>
                    <a:pt x="1275" y="624"/>
                    <a:pt x="1275" y="624"/>
                  </a:cubicBezTo>
                  <a:cubicBezTo>
                    <a:pt x="1285" y="614"/>
                    <a:pt x="1285" y="614"/>
                    <a:pt x="1285" y="614"/>
                  </a:cubicBezTo>
                  <a:cubicBezTo>
                    <a:pt x="1312" y="622"/>
                    <a:pt x="1312" y="622"/>
                    <a:pt x="1312" y="622"/>
                  </a:cubicBezTo>
                  <a:cubicBezTo>
                    <a:pt x="1312" y="622"/>
                    <a:pt x="1314" y="605"/>
                    <a:pt x="1313" y="592"/>
                  </a:cubicBezTo>
                  <a:cubicBezTo>
                    <a:pt x="1312" y="579"/>
                    <a:pt x="1319" y="572"/>
                    <a:pt x="1319" y="572"/>
                  </a:cubicBezTo>
                  <a:cubicBezTo>
                    <a:pt x="1325" y="588"/>
                    <a:pt x="1325" y="588"/>
                    <a:pt x="1325" y="588"/>
                  </a:cubicBezTo>
                  <a:cubicBezTo>
                    <a:pt x="1325" y="588"/>
                    <a:pt x="1342" y="590"/>
                    <a:pt x="1344" y="574"/>
                  </a:cubicBezTo>
                  <a:cubicBezTo>
                    <a:pt x="1345" y="558"/>
                    <a:pt x="1341" y="546"/>
                    <a:pt x="1341" y="546"/>
                  </a:cubicBezTo>
                  <a:cubicBezTo>
                    <a:pt x="1341" y="546"/>
                    <a:pt x="1301" y="514"/>
                    <a:pt x="1303" y="502"/>
                  </a:cubicBezTo>
                  <a:cubicBezTo>
                    <a:pt x="1305" y="490"/>
                    <a:pt x="1324" y="477"/>
                    <a:pt x="1313" y="467"/>
                  </a:cubicBezTo>
                  <a:cubicBezTo>
                    <a:pt x="1301" y="457"/>
                    <a:pt x="1292" y="454"/>
                    <a:pt x="1291" y="446"/>
                  </a:cubicBezTo>
                  <a:cubicBezTo>
                    <a:pt x="1291" y="437"/>
                    <a:pt x="1304" y="418"/>
                    <a:pt x="1290" y="412"/>
                  </a:cubicBezTo>
                  <a:cubicBezTo>
                    <a:pt x="1277" y="407"/>
                    <a:pt x="1257" y="390"/>
                    <a:pt x="1257" y="390"/>
                  </a:cubicBezTo>
                  <a:cubicBezTo>
                    <a:pt x="1257" y="390"/>
                    <a:pt x="1279" y="395"/>
                    <a:pt x="1289" y="385"/>
                  </a:cubicBezTo>
                  <a:cubicBezTo>
                    <a:pt x="1298" y="376"/>
                    <a:pt x="1308" y="354"/>
                    <a:pt x="1308" y="354"/>
                  </a:cubicBezTo>
                  <a:cubicBezTo>
                    <a:pt x="1308" y="354"/>
                    <a:pt x="1347" y="356"/>
                    <a:pt x="1348" y="348"/>
                  </a:cubicBezTo>
                  <a:cubicBezTo>
                    <a:pt x="1349" y="339"/>
                    <a:pt x="1338" y="324"/>
                    <a:pt x="1328" y="323"/>
                  </a:cubicBezTo>
                  <a:cubicBezTo>
                    <a:pt x="1317" y="323"/>
                    <a:pt x="1310" y="341"/>
                    <a:pt x="1310" y="341"/>
                  </a:cubicBezTo>
                  <a:cubicBezTo>
                    <a:pt x="1310" y="341"/>
                    <a:pt x="1281" y="333"/>
                    <a:pt x="1269" y="337"/>
                  </a:cubicBezTo>
                  <a:cubicBezTo>
                    <a:pt x="1258" y="340"/>
                    <a:pt x="1252" y="369"/>
                    <a:pt x="1240" y="370"/>
                  </a:cubicBezTo>
                  <a:cubicBezTo>
                    <a:pt x="1229" y="370"/>
                    <a:pt x="1230" y="350"/>
                    <a:pt x="1213" y="340"/>
                  </a:cubicBezTo>
                  <a:cubicBezTo>
                    <a:pt x="1196" y="330"/>
                    <a:pt x="1188" y="333"/>
                    <a:pt x="1188" y="333"/>
                  </a:cubicBezTo>
                  <a:cubicBezTo>
                    <a:pt x="1188" y="333"/>
                    <a:pt x="1193" y="274"/>
                    <a:pt x="1209" y="273"/>
                  </a:cubicBezTo>
                  <a:cubicBezTo>
                    <a:pt x="1225" y="272"/>
                    <a:pt x="1255" y="283"/>
                    <a:pt x="1269" y="279"/>
                  </a:cubicBezTo>
                  <a:cubicBezTo>
                    <a:pt x="1282" y="276"/>
                    <a:pt x="1273" y="264"/>
                    <a:pt x="1284" y="266"/>
                  </a:cubicBezTo>
                  <a:cubicBezTo>
                    <a:pt x="1296" y="267"/>
                    <a:pt x="1349" y="293"/>
                    <a:pt x="1359" y="294"/>
                  </a:cubicBezTo>
                  <a:cubicBezTo>
                    <a:pt x="1370" y="294"/>
                    <a:pt x="1372" y="285"/>
                    <a:pt x="1379" y="281"/>
                  </a:cubicBezTo>
                  <a:cubicBezTo>
                    <a:pt x="1386" y="277"/>
                    <a:pt x="1399" y="283"/>
                    <a:pt x="1408" y="278"/>
                  </a:cubicBezTo>
                  <a:cubicBezTo>
                    <a:pt x="1417" y="272"/>
                    <a:pt x="1406" y="267"/>
                    <a:pt x="1415" y="258"/>
                  </a:cubicBezTo>
                  <a:cubicBezTo>
                    <a:pt x="1423" y="249"/>
                    <a:pt x="1443" y="240"/>
                    <a:pt x="1443" y="240"/>
                  </a:cubicBezTo>
                  <a:cubicBezTo>
                    <a:pt x="1436" y="220"/>
                    <a:pt x="1436" y="220"/>
                    <a:pt x="1436" y="220"/>
                  </a:cubicBezTo>
                  <a:cubicBezTo>
                    <a:pt x="1384" y="242"/>
                    <a:pt x="1384" y="242"/>
                    <a:pt x="1384" y="242"/>
                  </a:cubicBezTo>
                  <a:cubicBezTo>
                    <a:pt x="1384" y="242"/>
                    <a:pt x="1396" y="255"/>
                    <a:pt x="1381" y="256"/>
                  </a:cubicBezTo>
                  <a:cubicBezTo>
                    <a:pt x="1366" y="257"/>
                    <a:pt x="1353" y="248"/>
                    <a:pt x="1344" y="248"/>
                  </a:cubicBezTo>
                  <a:cubicBezTo>
                    <a:pt x="1336" y="248"/>
                    <a:pt x="1321" y="261"/>
                    <a:pt x="1311" y="259"/>
                  </a:cubicBezTo>
                  <a:cubicBezTo>
                    <a:pt x="1300" y="256"/>
                    <a:pt x="1275" y="244"/>
                    <a:pt x="1268" y="244"/>
                  </a:cubicBezTo>
                  <a:cubicBezTo>
                    <a:pt x="1261" y="244"/>
                    <a:pt x="1245" y="244"/>
                    <a:pt x="1245" y="244"/>
                  </a:cubicBezTo>
                  <a:cubicBezTo>
                    <a:pt x="1253" y="232"/>
                    <a:pt x="1253" y="232"/>
                    <a:pt x="1253" y="232"/>
                  </a:cubicBezTo>
                  <a:cubicBezTo>
                    <a:pt x="1253" y="232"/>
                    <a:pt x="1226" y="225"/>
                    <a:pt x="1223" y="228"/>
                  </a:cubicBezTo>
                  <a:cubicBezTo>
                    <a:pt x="1219" y="232"/>
                    <a:pt x="1224" y="249"/>
                    <a:pt x="1212" y="256"/>
                  </a:cubicBezTo>
                  <a:cubicBezTo>
                    <a:pt x="1201" y="263"/>
                    <a:pt x="1179" y="261"/>
                    <a:pt x="1179" y="267"/>
                  </a:cubicBezTo>
                  <a:cubicBezTo>
                    <a:pt x="1179" y="273"/>
                    <a:pt x="1178" y="287"/>
                    <a:pt x="1178" y="287"/>
                  </a:cubicBezTo>
                  <a:cubicBezTo>
                    <a:pt x="1164" y="289"/>
                    <a:pt x="1164" y="289"/>
                    <a:pt x="1164" y="289"/>
                  </a:cubicBezTo>
                  <a:cubicBezTo>
                    <a:pt x="1174" y="336"/>
                    <a:pt x="1174" y="336"/>
                    <a:pt x="1174" y="336"/>
                  </a:cubicBezTo>
                  <a:cubicBezTo>
                    <a:pt x="1164" y="335"/>
                    <a:pt x="1164" y="335"/>
                    <a:pt x="1164" y="335"/>
                  </a:cubicBezTo>
                  <a:cubicBezTo>
                    <a:pt x="1164" y="335"/>
                    <a:pt x="1147" y="360"/>
                    <a:pt x="1145" y="370"/>
                  </a:cubicBezTo>
                  <a:close/>
                  <a:moveTo>
                    <a:pt x="1328" y="387"/>
                  </a:moveTo>
                  <a:cubicBezTo>
                    <a:pt x="1328" y="400"/>
                    <a:pt x="1328" y="400"/>
                    <a:pt x="1328" y="400"/>
                  </a:cubicBezTo>
                  <a:cubicBezTo>
                    <a:pt x="1328" y="400"/>
                    <a:pt x="1343" y="412"/>
                    <a:pt x="1350" y="395"/>
                  </a:cubicBezTo>
                  <a:cubicBezTo>
                    <a:pt x="1358" y="379"/>
                    <a:pt x="1328" y="387"/>
                    <a:pt x="1328" y="387"/>
                  </a:cubicBezTo>
                  <a:close/>
                  <a:moveTo>
                    <a:pt x="1127" y="743"/>
                  </a:moveTo>
                  <a:cubicBezTo>
                    <a:pt x="1118" y="740"/>
                    <a:pt x="1111" y="746"/>
                    <a:pt x="1111" y="746"/>
                  </a:cubicBezTo>
                  <a:cubicBezTo>
                    <a:pt x="1080" y="739"/>
                    <a:pt x="1080" y="739"/>
                    <a:pt x="1080" y="739"/>
                  </a:cubicBezTo>
                  <a:cubicBezTo>
                    <a:pt x="1099" y="766"/>
                    <a:pt x="1099" y="766"/>
                    <a:pt x="1099" y="766"/>
                  </a:cubicBezTo>
                  <a:cubicBezTo>
                    <a:pt x="1099" y="766"/>
                    <a:pt x="1126" y="793"/>
                    <a:pt x="1132" y="775"/>
                  </a:cubicBezTo>
                  <a:cubicBezTo>
                    <a:pt x="1137" y="758"/>
                    <a:pt x="1136" y="746"/>
                    <a:pt x="1127" y="743"/>
                  </a:cubicBezTo>
                  <a:close/>
                  <a:moveTo>
                    <a:pt x="1400" y="740"/>
                  </a:moveTo>
                  <a:cubicBezTo>
                    <a:pt x="1379" y="754"/>
                    <a:pt x="1379" y="754"/>
                    <a:pt x="1379" y="754"/>
                  </a:cubicBezTo>
                  <a:cubicBezTo>
                    <a:pt x="1400" y="759"/>
                    <a:pt x="1400" y="759"/>
                    <a:pt x="1400" y="759"/>
                  </a:cubicBezTo>
                  <a:lnTo>
                    <a:pt x="1400" y="740"/>
                  </a:lnTo>
                  <a:close/>
                  <a:moveTo>
                    <a:pt x="327" y="200"/>
                  </a:moveTo>
                  <a:cubicBezTo>
                    <a:pt x="315" y="190"/>
                    <a:pt x="304" y="196"/>
                    <a:pt x="310" y="212"/>
                  </a:cubicBezTo>
                  <a:cubicBezTo>
                    <a:pt x="314" y="226"/>
                    <a:pt x="339" y="209"/>
                    <a:pt x="327" y="200"/>
                  </a:cubicBezTo>
                  <a:close/>
                  <a:moveTo>
                    <a:pt x="1569" y="393"/>
                  </a:moveTo>
                  <a:cubicBezTo>
                    <a:pt x="1561" y="383"/>
                    <a:pt x="1542" y="370"/>
                    <a:pt x="1542" y="370"/>
                  </a:cubicBezTo>
                  <a:cubicBezTo>
                    <a:pt x="1540" y="400"/>
                    <a:pt x="1540" y="400"/>
                    <a:pt x="1540" y="400"/>
                  </a:cubicBezTo>
                  <a:cubicBezTo>
                    <a:pt x="1552" y="408"/>
                    <a:pt x="1578" y="404"/>
                    <a:pt x="1569" y="393"/>
                  </a:cubicBezTo>
                  <a:close/>
                  <a:moveTo>
                    <a:pt x="1543" y="318"/>
                  </a:moveTo>
                  <a:cubicBezTo>
                    <a:pt x="1552" y="325"/>
                    <a:pt x="1590" y="359"/>
                    <a:pt x="1599" y="356"/>
                  </a:cubicBezTo>
                  <a:cubicBezTo>
                    <a:pt x="1608" y="353"/>
                    <a:pt x="1598" y="340"/>
                    <a:pt x="1587" y="334"/>
                  </a:cubicBezTo>
                  <a:cubicBezTo>
                    <a:pt x="1577" y="328"/>
                    <a:pt x="1571" y="316"/>
                    <a:pt x="1581" y="306"/>
                  </a:cubicBezTo>
                  <a:cubicBezTo>
                    <a:pt x="1592" y="296"/>
                    <a:pt x="1611" y="306"/>
                    <a:pt x="1611" y="306"/>
                  </a:cubicBezTo>
                  <a:cubicBezTo>
                    <a:pt x="1620" y="299"/>
                    <a:pt x="1620" y="299"/>
                    <a:pt x="1620" y="299"/>
                  </a:cubicBezTo>
                  <a:cubicBezTo>
                    <a:pt x="1603" y="288"/>
                    <a:pt x="1603" y="288"/>
                    <a:pt x="1603" y="288"/>
                  </a:cubicBezTo>
                  <a:cubicBezTo>
                    <a:pt x="1603" y="288"/>
                    <a:pt x="1617" y="281"/>
                    <a:pt x="1620" y="269"/>
                  </a:cubicBezTo>
                  <a:cubicBezTo>
                    <a:pt x="1623" y="258"/>
                    <a:pt x="1608" y="250"/>
                    <a:pt x="1598" y="249"/>
                  </a:cubicBezTo>
                  <a:cubicBezTo>
                    <a:pt x="1587" y="247"/>
                    <a:pt x="1577" y="274"/>
                    <a:pt x="1565" y="275"/>
                  </a:cubicBezTo>
                  <a:cubicBezTo>
                    <a:pt x="1554" y="277"/>
                    <a:pt x="1557" y="250"/>
                    <a:pt x="1557" y="250"/>
                  </a:cubicBezTo>
                  <a:cubicBezTo>
                    <a:pt x="1557" y="250"/>
                    <a:pt x="1567" y="237"/>
                    <a:pt x="1570" y="227"/>
                  </a:cubicBezTo>
                  <a:cubicBezTo>
                    <a:pt x="1573" y="216"/>
                    <a:pt x="1567" y="211"/>
                    <a:pt x="1567" y="211"/>
                  </a:cubicBezTo>
                  <a:cubicBezTo>
                    <a:pt x="1576" y="184"/>
                    <a:pt x="1576" y="184"/>
                    <a:pt x="1576" y="184"/>
                  </a:cubicBezTo>
                  <a:cubicBezTo>
                    <a:pt x="1548" y="211"/>
                    <a:pt x="1548" y="211"/>
                    <a:pt x="1548" y="211"/>
                  </a:cubicBezTo>
                  <a:cubicBezTo>
                    <a:pt x="1548" y="230"/>
                    <a:pt x="1548" y="230"/>
                    <a:pt x="1548" y="230"/>
                  </a:cubicBezTo>
                  <a:cubicBezTo>
                    <a:pt x="1548" y="230"/>
                    <a:pt x="1525" y="240"/>
                    <a:pt x="1527" y="265"/>
                  </a:cubicBezTo>
                  <a:cubicBezTo>
                    <a:pt x="1529" y="281"/>
                    <a:pt x="1540" y="284"/>
                    <a:pt x="1543" y="293"/>
                  </a:cubicBezTo>
                  <a:cubicBezTo>
                    <a:pt x="1546" y="302"/>
                    <a:pt x="1535" y="310"/>
                    <a:pt x="1543" y="318"/>
                  </a:cubicBezTo>
                  <a:close/>
                  <a:moveTo>
                    <a:pt x="1505" y="474"/>
                  </a:moveTo>
                  <a:cubicBezTo>
                    <a:pt x="1496" y="464"/>
                    <a:pt x="1496" y="464"/>
                    <a:pt x="1496" y="464"/>
                  </a:cubicBezTo>
                  <a:cubicBezTo>
                    <a:pt x="1482" y="475"/>
                    <a:pt x="1482" y="475"/>
                    <a:pt x="1482" y="475"/>
                  </a:cubicBezTo>
                  <a:cubicBezTo>
                    <a:pt x="1482" y="475"/>
                    <a:pt x="1475" y="494"/>
                    <a:pt x="1489" y="503"/>
                  </a:cubicBezTo>
                  <a:cubicBezTo>
                    <a:pt x="1502" y="513"/>
                    <a:pt x="1521" y="509"/>
                    <a:pt x="1521" y="509"/>
                  </a:cubicBezTo>
                  <a:cubicBezTo>
                    <a:pt x="1529" y="498"/>
                    <a:pt x="1517" y="471"/>
                    <a:pt x="1517" y="471"/>
                  </a:cubicBezTo>
                  <a:lnTo>
                    <a:pt x="1505" y="474"/>
                  </a:lnTo>
                  <a:close/>
                  <a:moveTo>
                    <a:pt x="1437" y="740"/>
                  </a:moveTo>
                  <a:cubicBezTo>
                    <a:pt x="1487" y="728"/>
                    <a:pt x="1487" y="728"/>
                    <a:pt x="1487" y="728"/>
                  </a:cubicBezTo>
                  <a:cubicBezTo>
                    <a:pt x="1449" y="718"/>
                    <a:pt x="1449" y="718"/>
                    <a:pt x="1449" y="718"/>
                  </a:cubicBezTo>
                  <a:lnTo>
                    <a:pt x="1437" y="740"/>
                  </a:lnTo>
                  <a:close/>
                  <a:moveTo>
                    <a:pt x="1700" y="502"/>
                  </a:moveTo>
                  <a:cubicBezTo>
                    <a:pt x="1686" y="490"/>
                    <a:pt x="1686" y="490"/>
                    <a:pt x="1686" y="490"/>
                  </a:cubicBezTo>
                  <a:cubicBezTo>
                    <a:pt x="1687" y="479"/>
                    <a:pt x="1687" y="479"/>
                    <a:pt x="1687" y="479"/>
                  </a:cubicBezTo>
                  <a:cubicBezTo>
                    <a:pt x="1687" y="479"/>
                    <a:pt x="1681" y="458"/>
                    <a:pt x="1634" y="448"/>
                  </a:cubicBezTo>
                  <a:cubicBezTo>
                    <a:pt x="1618" y="444"/>
                    <a:pt x="1608" y="454"/>
                    <a:pt x="1597" y="459"/>
                  </a:cubicBezTo>
                  <a:cubicBezTo>
                    <a:pt x="1591" y="461"/>
                    <a:pt x="1583" y="457"/>
                    <a:pt x="1579" y="460"/>
                  </a:cubicBezTo>
                  <a:cubicBezTo>
                    <a:pt x="1566" y="468"/>
                    <a:pt x="1562" y="484"/>
                    <a:pt x="1566" y="487"/>
                  </a:cubicBezTo>
                  <a:cubicBezTo>
                    <a:pt x="1573" y="493"/>
                    <a:pt x="1580" y="479"/>
                    <a:pt x="1580" y="479"/>
                  </a:cubicBezTo>
                  <a:cubicBezTo>
                    <a:pt x="1580" y="479"/>
                    <a:pt x="1580" y="495"/>
                    <a:pt x="1591" y="497"/>
                  </a:cubicBezTo>
                  <a:cubicBezTo>
                    <a:pt x="1602" y="498"/>
                    <a:pt x="1604" y="478"/>
                    <a:pt x="1604" y="478"/>
                  </a:cubicBezTo>
                  <a:cubicBezTo>
                    <a:pt x="1604" y="478"/>
                    <a:pt x="1612" y="489"/>
                    <a:pt x="1619" y="489"/>
                  </a:cubicBezTo>
                  <a:cubicBezTo>
                    <a:pt x="1626" y="489"/>
                    <a:pt x="1644" y="474"/>
                    <a:pt x="1644" y="474"/>
                  </a:cubicBezTo>
                  <a:cubicBezTo>
                    <a:pt x="1654" y="509"/>
                    <a:pt x="1654" y="509"/>
                    <a:pt x="1654" y="509"/>
                  </a:cubicBezTo>
                  <a:cubicBezTo>
                    <a:pt x="1673" y="495"/>
                    <a:pt x="1673" y="495"/>
                    <a:pt x="1673" y="495"/>
                  </a:cubicBezTo>
                  <a:cubicBezTo>
                    <a:pt x="1695" y="519"/>
                    <a:pt x="1695" y="519"/>
                    <a:pt x="1695" y="519"/>
                  </a:cubicBezTo>
                  <a:lnTo>
                    <a:pt x="1700" y="502"/>
                  </a:lnTo>
                  <a:close/>
                  <a:moveTo>
                    <a:pt x="2179" y="454"/>
                  </a:moveTo>
                  <a:cubicBezTo>
                    <a:pt x="2153" y="435"/>
                    <a:pt x="2153" y="435"/>
                    <a:pt x="2153" y="435"/>
                  </a:cubicBezTo>
                  <a:cubicBezTo>
                    <a:pt x="2153" y="435"/>
                    <a:pt x="2134" y="437"/>
                    <a:pt x="2124" y="437"/>
                  </a:cubicBezTo>
                  <a:cubicBezTo>
                    <a:pt x="2113" y="437"/>
                    <a:pt x="2045" y="394"/>
                    <a:pt x="2032" y="390"/>
                  </a:cubicBezTo>
                  <a:cubicBezTo>
                    <a:pt x="2019" y="386"/>
                    <a:pt x="1998" y="405"/>
                    <a:pt x="1998" y="405"/>
                  </a:cubicBezTo>
                  <a:cubicBezTo>
                    <a:pt x="2007" y="423"/>
                    <a:pt x="2007" y="423"/>
                    <a:pt x="2007" y="423"/>
                  </a:cubicBezTo>
                  <a:cubicBezTo>
                    <a:pt x="1956" y="428"/>
                    <a:pt x="1956" y="428"/>
                    <a:pt x="1956" y="428"/>
                  </a:cubicBezTo>
                  <a:cubicBezTo>
                    <a:pt x="1960" y="446"/>
                    <a:pt x="1960" y="446"/>
                    <a:pt x="1960" y="446"/>
                  </a:cubicBezTo>
                  <a:cubicBezTo>
                    <a:pt x="1960" y="446"/>
                    <a:pt x="1950" y="477"/>
                    <a:pt x="1913" y="484"/>
                  </a:cubicBezTo>
                  <a:cubicBezTo>
                    <a:pt x="1876" y="492"/>
                    <a:pt x="1886" y="443"/>
                    <a:pt x="1880" y="443"/>
                  </a:cubicBezTo>
                  <a:cubicBezTo>
                    <a:pt x="1875" y="443"/>
                    <a:pt x="1869" y="465"/>
                    <a:pt x="1869" y="465"/>
                  </a:cubicBezTo>
                  <a:cubicBezTo>
                    <a:pt x="1869" y="465"/>
                    <a:pt x="1861" y="448"/>
                    <a:pt x="1861" y="439"/>
                  </a:cubicBezTo>
                  <a:cubicBezTo>
                    <a:pt x="1861" y="429"/>
                    <a:pt x="1862" y="402"/>
                    <a:pt x="1859" y="385"/>
                  </a:cubicBezTo>
                  <a:cubicBezTo>
                    <a:pt x="1857" y="368"/>
                    <a:pt x="1846" y="350"/>
                    <a:pt x="1846" y="350"/>
                  </a:cubicBezTo>
                  <a:cubicBezTo>
                    <a:pt x="1820" y="350"/>
                    <a:pt x="1820" y="350"/>
                    <a:pt x="1820" y="350"/>
                  </a:cubicBezTo>
                  <a:cubicBezTo>
                    <a:pt x="1820" y="350"/>
                    <a:pt x="1799" y="326"/>
                    <a:pt x="1781" y="326"/>
                  </a:cubicBezTo>
                  <a:cubicBezTo>
                    <a:pt x="1763" y="326"/>
                    <a:pt x="1744" y="351"/>
                    <a:pt x="1744" y="351"/>
                  </a:cubicBezTo>
                  <a:cubicBezTo>
                    <a:pt x="1728" y="355"/>
                    <a:pt x="1728" y="355"/>
                    <a:pt x="1728" y="355"/>
                  </a:cubicBezTo>
                  <a:cubicBezTo>
                    <a:pt x="1723" y="367"/>
                    <a:pt x="1723" y="367"/>
                    <a:pt x="1723" y="367"/>
                  </a:cubicBezTo>
                  <a:cubicBezTo>
                    <a:pt x="1711" y="373"/>
                    <a:pt x="1711" y="373"/>
                    <a:pt x="1711" y="373"/>
                  </a:cubicBezTo>
                  <a:cubicBezTo>
                    <a:pt x="1711" y="364"/>
                    <a:pt x="1711" y="364"/>
                    <a:pt x="1711" y="364"/>
                  </a:cubicBezTo>
                  <a:cubicBezTo>
                    <a:pt x="1711" y="364"/>
                    <a:pt x="1704" y="352"/>
                    <a:pt x="1693" y="356"/>
                  </a:cubicBezTo>
                  <a:cubicBezTo>
                    <a:pt x="1693" y="356"/>
                    <a:pt x="1693" y="369"/>
                    <a:pt x="1702" y="382"/>
                  </a:cubicBezTo>
                  <a:cubicBezTo>
                    <a:pt x="1711" y="395"/>
                    <a:pt x="1732" y="388"/>
                    <a:pt x="1749" y="393"/>
                  </a:cubicBezTo>
                  <a:cubicBezTo>
                    <a:pt x="1766" y="398"/>
                    <a:pt x="1751" y="406"/>
                    <a:pt x="1760" y="422"/>
                  </a:cubicBezTo>
                  <a:cubicBezTo>
                    <a:pt x="1769" y="437"/>
                    <a:pt x="1799" y="424"/>
                    <a:pt x="1821" y="424"/>
                  </a:cubicBezTo>
                  <a:cubicBezTo>
                    <a:pt x="1844" y="424"/>
                    <a:pt x="1845" y="429"/>
                    <a:pt x="1845" y="440"/>
                  </a:cubicBezTo>
                  <a:cubicBezTo>
                    <a:pt x="1845" y="450"/>
                    <a:pt x="1819" y="440"/>
                    <a:pt x="1811" y="441"/>
                  </a:cubicBezTo>
                  <a:cubicBezTo>
                    <a:pt x="1803" y="443"/>
                    <a:pt x="1785" y="454"/>
                    <a:pt x="1785" y="454"/>
                  </a:cubicBezTo>
                  <a:cubicBezTo>
                    <a:pt x="1785" y="454"/>
                    <a:pt x="1757" y="454"/>
                    <a:pt x="1751" y="461"/>
                  </a:cubicBezTo>
                  <a:cubicBezTo>
                    <a:pt x="1744" y="467"/>
                    <a:pt x="1774" y="474"/>
                    <a:pt x="1781" y="478"/>
                  </a:cubicBezTo>
                  <a:cubicBezTo>
                    <a:pt x="1787" y="482"/>
                    <a:pt x="1797" y="498"/>
                    <a:pt x="1797" y="498"/>
                  </a:cubicBezTo>
                  <a:cubicBezTo>
                    <a:pt x="1797" y="498"/>
                    <a:pt x="1781" y="517"/>
                    <a:pt x="1790" y="530"/>
                  </a:cubicBezTo>
                  <a:cubicBezTo>
                    <a:pt x="1799" y="543"/>
                    <a:pt x="1819" y="508"/>
                    <a:pt x="1819" y="504"/>
                  </a:cubicBezTo>
                  <a:cubicBezTo>
                    <a:pt x="1819" y="500"/>
                    <a:pt x="1838" y="471"/>
                    <a:pt x="1838" y="471"/>
                  </a:cubicBezTo>
                  <a:cubicBezTo>
                    <a:pt x="1836" y="496"/>
                    <a:pt x="1836" y="496"/>
                    <a:pt x="1836" y="496"/>
                  </a:cubicBezTo>
                  <a:cubicBezTo>
                    <a:pt x="1836" y="496"/>
                    <a:pt x="1849" y="509"/>
                    <a:pt x="1859" y="518"/>
                  </a:cubicBezTo>
                  <a:cubicBezTo>
                    <a:pt x="1870" y="528"/>
                    <a:pt x="1891" y="520"/>
                    <a:pt x="1891" y="520"/>
                  </a:cubicBezTo>
                  <a:cubicBezTo>
                    <a:pt x="1882" y="529"/>
                    <a:pt x="1882" y="529"/>
                    <a:pt x="1882" y="529"/>
                  </a:cubicBezTo>
                  <a:cubicBezTo>
                    <a:pt x="1903" y="549"/>
                    <a:pt x="1903" y="549"/>
                    <a:pt x="1903" y="549"/>
                  </a:cubicBezTo>
                  <a:cubicBezTo>
                    <a:pt x="1941" y="550"/>
                    <a:pt x="1941" y="550"/>
                    <a:pt x="1941" y="550"/>
                  </a:cubicBezTo>
                  <a:cubicBezTo>
                    <a:pt x="1964" y="567"/>
                    <a:pt x="1964" y="567"/>
                    <a:pt x="1964" y="567"/>
                  </a:cubicBezTo>
                  <a:cubicBezTo>
                    <a:pt x="1964" y="567"/>
                    <a:pt x="2006" y="581"/>
                    <a:pt x="2030" y="598"/>
                  </a:cubicBezTo>
                  <a:cubicBezTo>
                    <a:pt x="2053" y="615"/>
                    <a:pt x="2048" y="621"/>
                    <a:pt x="2049" y="640"/>
                  </a:cubicBezTo>
                  <a:cubicBezTo>
                    <a:pt x="2051" y="660"/>
                    <a:pt x="2073" y="669"/>
                    <a:pt x="2073" y="669"/>
                  </a:cubicBezTo>
                  <a:cubicBezTo>
                    <a:pt x="2073" y="669"/>
                    <a:pt x="2056" y="672"/>
                    <a:pt x="2056" y="681"/>
                  </a:cubicBezTo>
                  <a:cubicBezTo>
                    <a:pt x="2056" y="690"/>
                    <a:pt x="2082" y="691"/>
                    <a:pt x="2082" y="691"/>
                  </a:cubicBezTo>
                  <a:cubicBezTo>
                    <a:pt x="2066" y="697"/>
                    <a:pt x="2066" y="697"/>
                    <a:pt x="2066" y="697"/>
                  </a:cubicBezTo>
                  <a:cubicBezTo>
                    <a:pt x="2067" y="705"/>
                    <a:pt x="2067" y="705"/>
                    <a:pt x="2067" y="705"/>
                  </a:cubicBezTo>
                  <a:cubicBezTo>
                    <a:pt x="2072" y="708"/>
                    <a:pt x="2072" y="708"/>
                    <a:pt x="2072" y="708"/>
                  </a:cubicBezTo>
                  <a:cubicBezTo>
                    <a:pt x="2077" y="729"/>
                    <a:pt x="2077" y="729"/>
                    <a:pt x="2077" y="729"/>
                  </a:cubicBezTo>
                  <a:cubicBezTo>
                    <a:pt x="2067" y="750"/>
                    <a:pt x="2067" y="750"/>
                    <a:pt x="2067" y="750"/>
                  </a:cubicBezTo>
                  <a:cubicBezTo>
                    <a:pt x="2073" y="749"/>
                    <a:pt x="2078" y="748"/>
                    <a:pt x="2081" y="749"/>
                  </a:cubicBezTo>
                  <a:cubicBezTo>
                    <a:pt x="2086" y="752"/>
                    <a:pt x="2120" y="737"/>
                    <a:pt x="2120" y="737"/>
                  </a:cubicBezTo>
                  <a:cubicBezTo>
                    <a:pt x="2120" y="755"/>
                    <a:pt x="2120" y="755"/>
                    <a:pt x="2120" y="755"/>
                  </a:cubicBezTo>
                  <a:cubicBezTo>
                    <a:pt x="2120" y="755"/>
                    <a:pt x="2147" y="788"/>
                    <a:pt x="2159" y="797"/>
                  </a:cubicBezTo>
                  <a:cubicBezTo>
                    <a:pt x="2161" y="798"/>
                    <a:pt x="2162" y="799"/>
                    <a:pt x="2164" y="800"/>
                  </a:cubicBezTo>
                  <a:cubicBezTo>
                    <a:pt x="2166" y="768"/>
                    <a:pt x="2166" y="768"/>
                    <a:pt x="2166" y="768"/>
                  </a:cubicBezTo>
                  <a:cubicBezTo>
                    <a:pt x="2162" y="752"/>
                    <a:pt x="2162" y="752"/>
                    <a:pt x="2162" y="752"/>
                  </a:cubicBezTo>
                  <a:cubicBezTo>
                    <a:pt x="2162" y="752"/>
                    <a:pt x="2166" y="733"/>
                    <a:pt x="2168" y="726"/>
                  </a:cubicBezTo>
                  <a:cubicBezTo>
                    <a:pt x="2170" y="718"/>
                    <a:pt x="2173" y="681"/>
                    <a:pt x="2173" y="681"/>
                  </a:cubicBezTo>
                  <a:cubicBezTo>
                    <a:pt x="2173" y="681"/>
                    <a:pt x="2169" y="683"/>
                    <a:pt x="2158" y="676"/>
                  </a:cubicBezTo>
                  <a:cubicBezTo>
                    <a:pt x="2147" y="670"/>
                    <a:pt x="2174" y="652"/>
                    <a:pt x="2174" y="652"/>
                  </a:cubicBezTo>
                  <a:cubicBezTo>
                    <a:pt x="2174" y="652"/>
                    <a:pt x="2173" y="626"/>
                    <a:pt x="2171" y="611"/>
                  </a:cubicBezTo>
                  <a:cubicBezTo>
                    <a:pt x="2169" y="596"/>
                    <a:pt x="2177" y="574"/>
                    <a:pt x="2177" y="554"/>
                  </a:cubicBezTo>
                  <a:cubicBezTo>
                    <a:pt x="2177" y="538"/>
                    <a:pt x="2179" y="474"/>
                    <a:pt x="2179" y="454"/>
                  </a:cubicBezTo>
                  <a:close/>
                  <a:moveTo>
                    <a:pt x="228" y="446"/>
                  </a:moveTo>
                  <a:cubicBezTo>
                    <a:pt x="220" y="453"/>
                    <a:pt x="238" y="462"/>
                    <a:pt x="238" y="462"/>
                  </a:cubicBezTo>
                  <a:cubicBezTo>
                    <a:pt x="238" y="462"/>
                    <a:pt x="250" y="486"/>
                    <a:pt x="258" y="478"/>
                  </a:cubicBezTo>
                  <a:cubicBezTo>
                    <a:pt x="266" y="470"/>
                    <a:pt x="234" y="442"/>
                    <a:pt x="228" y="446"/>
                  </a:cubicBezTo>
                  <a:close/>
                  <a:moveTo>
                    <a:pt x="1691" y="739"/>
                  </a:moveTo>
                  <a:cubicBezTo>
                    <a:pt x="1701" y="745"/>
                    <a:pt x="1701" y="745"/>
                    <a:pt x="1701" y="745"/>
                  </a:cubicBezTo>
                  <a:cubicBezTo>
                    <a:pt x="1720" y="730"/>
                    <a:pt x="1720" y="730"/>
                    <a:pt x="1720" y="730"/>
                  </a:cubicBezTo>
                  <a:cubicBezTo>
                    <a:pt x="1720" y="730"/>
                    <a:pt x="1742" y="738"/>
                    <a:pt x="1742" y="716"/>
                  </a:cubicBezTo>
                  <a:cubicBezTo>
                    <a:pt x="1742" y="694"/>
                    <a:pt x="1691" y="720"/>
                    <a:pt x="1691" y="739"/>
                  </a:cubicBezTo>
                  <a:close/>
                  <a:moveTo>
                    <a:pt x="2068" y="714"/>
                  </a:moveTo>
                  <a:cubicBezTo>
                    <a:pt x="2067" y="713"/>
                    <a:pt x="2067" y="713"/>
                    <a:pt x="2067" y="713"/>
                  </a:cubicBezTo>
                  <a:cubicBezTo>
                    <a:pt x="2065" y="710"/>
                    <a:pt x="2056" y="702"/>
                    <a:pt x="2037" y="711"/>
                  </a:cubicBezTo>
                  <a:cubicBezTo>
                    <a:pt x="2015" y="721"/>
                    <a:pt x="2011" y="759"/>
                    <a:pt x="2011" y="759"/>
                  </a:cubicBezTo>
                  <a:cubicBezTo>
                    <a:pt x="2053" y="754"/>
                    <a:pt x="2053" y="754"/>
                    <a:pt x="2053" y="754"/>
                  </a:cubicBezTo>
                  <a:cubicBezTo>
                    <a:pt x="2053" y="754"/>
                    <a:pt x="2059" y="752"/>
                    <a:pt x="2066" y="750"/>
                  </a:cubicBezTo>
                  <a:cubicBezTo>
                    <a:pt x="2072" y="728"/>
                    <a:pt x="2072" y="728"/>
                    <a:pt x="2072" y="728"/>
                  </a:cubicBezTo>
                  <a:lnTo>
                    <a:pt x="2068" y="714"/>
                  </a:lnTo>
                  <a:close/>
                  <a:moveTo>
                    <a:pt x="1857" y="631"/>
                  </a:moveTo>
                  <a:cubicBezTo>
                    <a:pt x="1847" y="641"/>
                    <a:pt x="1847" y="641"/>
                    <a:pt x="1847" y="641"/>
                  </a:cubicBezTo>
                  <a:cubicBezTo>
                    <a:pt x="1849" y="676"/>
                    <a:pt x="1849" y="676"/>
                    <a:pt x="1849" y="676"/>
                  </a:cubicBezTo>
                  <a:cubicBezTo>
                    <a:pt x="1860" y="679"/>
                    <a:pt x="1860" y="679"/>
                    <a:pt x="1860" y="679"/>
                  </a:cubicBezTo>
                  <a:cubicBezTo>
                    <a:pt x="1859" y="666"/>
                    <a:pt x="1859" y="666"/>
                    <a:pt x="1859" y="666"/>
                  </a:cubicBezTo>
                  <a:cubicBezTo>
                    <a:pt x="1866" y="663"/>
                    <a:pt x="1866" y="663"/>
                    <a:pt x="1866" y="663"/>
                  </a:cubicBezTo>
                  <a:cubicBezTo>
                    <a:pt x="1865" y="648"/>
                    <a:pt x="1865" y="648"/>
                    <a:pt x="1865" y="648"/>
                  </a:cubicBezTo>
                  <a:cubicBezTo>
                    <a:pt x="1856" y="648"/>
                    <a:pt x="1856" y="648"/>
                    <a:pt x="1856" y="648"/>
                  </a:cubicBezTo>
                  <a:cubicBezTo>
                    <a:pt x="1868" y="628"/>
                    <a:pt x="1868" y="628"/>
                    <a:pt x="1868" y="628"/>
                  </a:cubicBezTo>
                  <a:cubicBezTo>
                    <a:pt x="1881" y="606"/>
                    <a:pt x="1881" y="606"/>
                    <a:pt x="1881" y="606"/>
                  </a:cubicBezTo>
                  <a:cubicBezTo>
                    <a:pt x="1862" y="610"/>
                    <a:pt x="1862" y="610"/>
                    <a:pt x="1862" y="610"/>
                  </a:cubicBezTo>
                  <a:lnTo>
                    <a:pt x="1857" y="631"/>
                  </a:lnTo>
                  <a:close/>
                  <a:moveTo>
                    <a:pt x="1427" y="403"/>
                  </a:moveTo>
                  <a:cubicBezTo>
                    <a:pt x="1427" y="403"/>
                    <a:pt x="1405" y="391"/>
                    <a:pt x="1398" y="394"/>
                  </a:cubicBezTo>
                  <a:cubicBezTo>
                    <a:pt x="1392" y="397"/>
                    <a:pt x="1389" y="406"/>
                    <a:pt x="1389" y="406"/>
                  </a:cubicBezTo>
                  <a:cubicBezTo>
                    <a:pt x="1396" y="420"/>
                    <a:pt x="1427" y="415"/>
                    <a:pt x="1427" y="415"/>
                  </a:cubicBezTo>
                  <a:cubicBezTo>
                    <a:pt x="1480" y="405"/>
                    <a:pt x="1480" y="405"/>
                    <a:pt x="1480" y="405"/>
                  </a:cubicBezTo>
                  <a:lnTo>
                    <a:pt x="1427" y="403"/>
                  </a:lnTo>
                  <a:close/>
                  <a:moveTo>
                    <a:pt x="879" y="696"/>
                  </a:moveTo>
                  <a:cubicBezTo>
                    <a:pt x="917" y="669"/>
                    <a:pt x="917" y="669"/>
                    <a:pt x="917" y="669"/>
                  </a:cubicBezTo>
                  <a:cubicBezTo>
                    <a:pt x="914" y="663"/>
                    <a:pt x="914" y="663"/>
                    <a:pt x="914" y="663"/>
                  </a:cubicBezTo>
                  <a:cubicBezTo>
                    <a:pt x="914" y="663"/>
                    <a:pt x="864" y="667"/>
                    <a:pt x="863" y="677"/>
                  </a:cubicBezTo>
                  <a:cubicBezTo>
                    <a:pt x="858" y="702"/>
                    <a:pt x="879" y="696"/>
                    <a:pt x="879" y="696"/>
                  </a:cubicBezTo>
                  <a:close/>
                  <a:moveTo>
                    <a:pt x="959" y="747"/>
                  </a:moveTo>
                  <a:cubicBezTo>
                    <a:pt x="949" y="747"/>
                    <a:pt x="933" y="747"/>
                    <a:pt x="933" y="747"/>
                  </a:cubicBezTo>
                  <a:cubicBezTo>
                    <a:pt x="930" y="766"/>
                    <a:pt x="930" y="766"/>
                    <a:pt x="930" y="766"/>
                  </a:cubicBezTo>
                  <a:cubicBezTo>
                    <a:pt x="930" y="766"/>
                    <a:pt x="940" y="794"/>
                    <a:pt x="953" y="783"/>
                  </a:cubicBezTo>
                  <a:cubicBezTo>
                    <a:pt x="966" y="773"/>
                    <a:pt x="969" y="747"/>
                    <a:pt x="959" y="747"/>
                  </a:cubicBezTo>
                  <a:close/>
                  <a:moveTo>
                    <a:pt x="475" y="622"/>
                  </a:moveTo>
                  <a:cubicBezTo>
                    <a:pt x="480" y="617"/>
                    <a:pt x="480" y="602"/>
                    <a:pt x="480" y="602"/>
                  </a:cubicBezTo>
                  <a:cubicBezTo>
                    <a:pt x="499" y="620"/>
                    <a:pt x="499" y="620"/>
                    <a:pt x="499" y="620"/>
                  </a:cubicBezTo>
                  <a:cubicBezTo>
                    <a:pt x="499" y="620"/>
                    <a:pt x="507" y="597"/>
                    <a:pt x="507" y="581"/>
                  </a:cubicBezTo>
                  <a:cubicBezTo>
                    <a:pt x="507" y="565"/>
                    <a:pt x="516" y="521"/>
                    <a:pt x="516" y="521"/>
                  </a:cubicBezTo>
                  <a:cubicBezTo>
                    <a:pt x="516" y="521"/>
                    <a:pt x="507" y="516"/>
                    <a:pt x="507" y="506"/>
                  </a:cubicBezTo>
                  <a:cubicBezTo>
                    <a:pt x="507" y="497"/>
                    <a:pt x="526" y="482"/>
                    <a:pt x="520" y="477"/>
                  </a:cubicBezTo>
                  <a:cubicBezTo>
                    <a:pt x="515" y="472"/>
                    <a:pt x="510" y="468"/>
                    <a:pt x="510" y="468"/>
                  </a:cubicBezTo>
                  <a:cubicBezTo>
                    <a:pt x="502" y="437"/>
                    <a:pt x="502" y="437"/>
                    <a:pt x="502" y="437"/>
                  </a:cubicBezTo>
                  <a:cubicBezTo>
                    <a:pt x="474" y="438"/>
                    <a:pt x="474" y="438"/>
                    <a:pt x="474" y="438"/>
                  </a:cubicBezTo>
                  <a:cubicBezTo>
                    <a:pt x="474" y="438"/>
                    <a:pt x="478" y="420"/>
                    <a:pt x="471" y="416"/>
                  </a:cubicBezTo>
                  <a:cubicBezTo>
                    <a:pt x="464" y="412"/>
                    <a:pt x="450" y="413"/>
                    <a:pt x="450" y="413"/>
                  </a:cubicBezTo>
                  <a:cubicBezTo>
                    <a:pt x="444" y="366"/>
                    <a:pt x="444" y="366"/>
                    <a:pt x="444" y="366"/>
                  </a:cubicBezTo>
                  <a:cubicBezTo>
                    <a:pt x="444" y="366"/>
                    <a:pt x="402" y="370"/>
                    <a:pt x="399" y="357"/>
                  </a:cubicBezTo>
                  <a:cubicBezTo>
                    <a:pt x="396" y="344"/>
                    <a:pt x="410" y="328"/>
                    <a:pt x="410" y="328"/>
                  </a:cubicBezTo>
                  <a:cubicBezTo>
                    <a:pt x="394" y="326"/>
                    <a:pt x="394" y="326"/>
                    <a:pt x="394" y="326"/>
                  </a:cubicBezTo>
                  <a:cubicBezTo>
                    <a:pt x="394" y="326"/>
                    <a:pt x="419" y="297"/>
                    <a:pt x="410" y="289"/>
                  </a:cubicBezTo>
                  <a:cubicBezTo>
                    <a:pt x="400" y="281"/>
                    <a:pt x="358" y="300"/>
                    <a:pt x="358" y="300"/>
                  </a:cubicBezTo>
                  <a:cubicBezTo>
                    <a:pt x="358" y="300"/>
                    <a:pt x="383" y="276"/>
                    <a:pt x="375" y="272"/>
                  </a:cubicBezTo>
                  <a:cubicBezTo>
                    <a:pt x="367" y="268"/>
                    <a:pt x="343" y="264"/>
                    <a:pt x="343" y="264"/>
                  </a:cubicBezTo>
                  <a:cubicBezTo>
                    <a:pt x="343" y="264"/>
                    <a:pt x="354" y="256"/>
                    <a:pt x="340" y="238"/>
                  </a:cubicBezTo>
                  <a:cubicBezTo>
                    <a:pt x="327" y="221"/>
                    <a:pt x="304" y="220"/>
                    <a:pt x="304" y="220"/>
                  </a:cubicBezTo>
                  <a:cubicBezTo>
                    <a:pt x="304" y="220"/>
                    <a:pt x="298" y="200"/>
                    <a:pt x="291" y="192"/>
                  </a:cubicBezTo>
                  <a:cubicBezTo>
                    <a:pt x="284" y="184"/>
                    <a:pt x="275" y="190"/>
                    <a:pt x="275" y="190"/>
                  </a:cubicBezTo>
                  <a:cubicBezTo>
                    <a:pt x="279" y="205"/>
                    <a:pt x="279" y="205"/>
                    <a:pt x="279" y="205"/>
                  </a:cubicBezTo>
                  <a:cubicBezTo>
                    <a:pt x="279" y="205"/>
                    <a:pt x="254" y="186"/>
                    <a:pt x="248" y="180"/>
                  </a:cubicBezTo>
                  <a:cubicBezTo>
                    <a:pt x="243" y="173"/>
                    <a:pt x="232" y="146"/>
                    <a:pt x="232" y="146"/>
                  </a:cubicBezTo>
                  <a:cubicBezTo>
                    <a:pt x="232" y="146"/>
                    <a:pt x="202" y="125"/>
                    <a:pt x="188" y="113"/>
                  </a:cubicBezTo>
                  <a:cubicBezTo>
                    <a:pt x="175" y="101"/>
                    <a:pt x="152" y="82"/>
                    <a:pt x="152" y="82"/>
                  </a:cubicBezTo>
                  <a:cubicBezTo>
                    <a:pt x="152" y="82"/>
                    <a:pt x="156" y="77"/>
                    <a:pt x="151" y="72"/>
                  </a:cubicBezTo>
                  <a:cubicBezTo>
                    <a:pt x="146" y="66"/>
                    <a:pt x="139" y="60"/>
                    <a:pt x="139" y="60"/>
                  </a:cubicBezTo>
                  <a:cubicBezTo>
                    <a:pt x="139" y="60"/>
                    <a:pt x="128" y="41"/>
                    <a:pt x="120" y="34"/>
                  </a:cubicBezTo>
                  <a:cubicBezTo>
                    <a:pt x="112" y="28"/>
                    <a:pt x="104" y="29"/>
                    <a:pt x="104" y="29"/>
                  </a:cubicBezTo>
                  <a:cubicBezTo>
                    <a:pt x="47" y="25"/>
                    <a:pt x="47" y="25"/>
                    <a:pt x="47" y="25"/>
                  </a:cubicBezTo>
                  <a:cubicBezTo>
                    <a:pt x="47" y="25"/>
                    <a:pt x="27" y="0"/>
                    <a:pt x="16" y="2"/>
                  </a:cubicBezTo>
                  <a:cubicBezTo>
                    <a:pt x="6" y="5"/>
                    <a:pt x="0" y="29"/>
                    <a:pt x="7" y="41"/>
                  </a:cubicBezTo>
                  <a:cubicBezTo>
                    <a:pt x="14" y="53"/>
                    <a:pt x="88" y="121"/>
                    <a:pt x="88" y="121"/>
                  </a:cubicBezTo>
                  <a:cubicBezTo>
                    <a:pt x="111" y="157"/>
                    <a:pt x="111" y="157"/>
                    <a:pt x="111" y="157"/>
                  </a:cubicBezTo>
                  <a:cubicBezTo>
                    <a:pt x="119" y="154"/>
                    <a:pt x="119" y="154"/>
                    <a:pt x="119" y="154"/>
                  </a:cubicBezTo>
                  <a:cubicBezTo>
                    <a:pt x="119" y="154"/>
                    <a:pt x="122" y="178"/>
                    <a:pt x="128" y="184"/>
                  </a:cubicBezTo>
                  <a:cubicBezTo>
                    <a:pt x="135" y="189"/>
                    <a:pt x="170" y="202"/>
                    <a:pt x="178" y="218"/>
                  </a:cubicBezTo>
                  <a:cubicBezTo>
                    <a:pt x="186" y="234"/>
                    <a:pt x="194" y="266"/>
                    <a:pt x="194" y="266"/>
                  </a:cubicBezTo>
                  <a:cubicBezTo>
                    <a:pt x="194" y="266"/>
                    <a:pt x="191" y="301"/>
                    <a:pt x="199" y="301"/>
                  </a:cubicBezTo>
                  <a:cubicBezTo>
                    <a:pt x="207" y="301"/>
                    <a:pt x="219" y="293"/>
                    <a:pt x="222" y="302"/>
                  </a:cubicBezTo>
                  <a:cubicBezTo>
                    <a:pt x="224" y="312"/>
                    <a:pt x="230" y="328"/>
                    <a:pt x="230" y="328"/>
                  </a:cubicBezTo>
                  <a:cubicBezTo>
                    <a:pt x="255" y="349"/>
                    <a:pt x="255" y="349"/>
                    <a:pt x="255" y="349"/>
                  </a:cubicBezTo>
                  <a:cubicBezTo>
                    <a:pt x="254" y="365"/>
                    <a:pt x="254" y="365"/>
                    <a:pt x="254" y="365"/>
                  </a:cubicBezTo>
                  <a:cubicBezTo>
                    <a:pt x="275" y="408"/>
                    <a:pt x="275" y="408"/>
                    <a:pt x="275" y="408"/>
                  </a:cubicBezTo>
                  <a:cubicBezTo>
                    <a:pt x="275" y="408"/>
                    <a:pt x="268" y="421"/>
                    <a:pt x="278" y="436"/>
                  </a:cubicBezTo>
                  <a:cubicBezTo>
                    <a:pt x="287" y="450"/>
                    <a:pt x="296" y="453"/>
                    <a:pt x="296" y="453"/>
                  </a:cubicBezTo>
                  <a:cubicBezTo>
                    <a:pt x="296" y="453"/>
                    <a:pt x="306" y="477"/>
                    <a:pt x="314" y="485"/>
                  </a:cubicBezTo>
                  <a:cubicBezTo>
                    <a:pt x="322" y="493"/>
                    <a:pt x="343" y="501"/>
                    <a:pt x="343" y="501"/>
                  </a:cubicBezTo>
                  <a:cubicBezTo>
                    <a:pt x="343" y="526"/>
                    <a:pt x="343" y="526"/>
                    <a:pt x="343" y="526"/>
                  </a:cubicBezTo>
                  <a:cubicBezTo>
                    <a:pt x="343" y="526"/>
                    <a:pt x="392" y="568"/>
                    <a:pt x="395" y="572"/>
                  </a:cubicBezTo>
                  <a:cubicBezTo>
                    <a:pt x="398" y="576"/>
                    <a:pt x="411" y="577"/>
                    <a:pt x="411" y="577"/>
                  </a:cubicBezTo>
                  <a:cubicBezTo>
                    <a:pt x="411" y="577"/>
                    <a:pt x="422" y="602"/>
                    <a:pt x="430" y="606"/>
                  </a:cubicBezTo>
                  <a:cubicBezTo>
                    <a:pt x="438" y="610"/>
                    <a:pt x="440" y="632"/>
                    <a:pt x="444" y="630"/>
                  </a:cubicBezTo>
                  <a:cubicBezTo>
                    <a:pt x="448" y="629"/>
                    <a:pt x="442" y="608"/>
                    <a:pt x="447" y="605"/>
                  </a:cubicBezTo>
                  <a:cubicBezTo>
                    <a:pt x="452" y="602"/>
                    <a:pt x="470" y="628"/>
                    <a:pt x="475" y="622"/>
                  </a:cubicBezTo>
                  <a:close/>
                  <a:moveTo>
                    <a:pt x="1416" y="798"/>
                  </a:moveTo>
                  <a:cubicBezTo>
                    <a:pt x="1409" y="784"/>
                    <a:pt x="1409" y="784"/>
                    <a:pt x="1409" y="784"/>
                  </a:cubicBezTo>
                  <a:cubicBezTo>
                    <a:pt x="1404" y="785"/>
                    <a:pt x="1397" y="786"/>
                    <a:pt x="1392" y="790"/>
                  </a:cubicBezTo>
                  <a:cubicBezTo>
                    <a:pt x="1380" y="797"/>
                    <a:pt x="1380" y="812"/>
                    <a:pt x="1380" y="812"/>
                  </a:cubicBezTo>
                  <a:cubicBezTo>
                    <a:pt x="1380" y="812"/>
                    <a:pt x="1369" y="809"/>
                    <a:pt x="1357" y="820"/>
                  </a:cubicBezTo>
                  <a:cubicBezTo>
                    <a:pt x="1345" y="832"/>
                    <a:pt x="1322" y="855"/>
                    <a:pt x="1342" y="870"/>
                  </a:cubicBezTo>
                  <a:cubicBezTo>
                    <a:pt x="1353" y="879"/>
                    <a:pt x="1393" y="842"/>
                    <a:pt x="1408" y="828"/>
                  </a:cubicBezTo>
                  <a:cubicBezTo>
                    <a:pt x="1405" y="827"/>
                    <a:pt x="1402" y="823"/>
                    <a:pt x="1406" y="817"/>
                  </a:cubicBezTo>
                  <a:cubicBezTo>
                    <a:pt x="1412" y="805"/>
                    <a:pt x="1416" y="798"/>
                    <a:pt x="1416" y="798"/>
                  </a:cubicBezTo>
                  <a:close/>
                  <a:moveTo>
                    <a:pt x="921" y="753"/>
                  </a:moveTo>
                  <a:cubicBezTo>
                    <a:pt x="921" y="734"/>
                    <a:pt x="894" y="734"/>
                    <a:pt x="879" y="731"/>
                  </a:cubicBezTo>
                  <a:cubicBezTo>
                    <a:pt x="865" y="728"/>
                    <a:pt x="866" y="759"/>
                    <a:pt x="866" y="759"/>
                  </a:cubicBezTo>
                  <a:cubicBezTo>
                    <a:pt x="841" y="740"/>
                    <a:pt x="841" y="740"/>
                    <a:pt x="841" y="740"/>
                  </a:cubicBezTo>
                  <a:cubicBezTo>
                    <a:pt x="841" y="740"/>
                    <a:pt x="847" y="724"/>
                    <a:pt x="847" y="700"/>
                  </a:cubicBezTo>
                  <a:cubicBezTo>
                    <a:pt x="847" y="677"/>
                    <a:pt x="799" y="686"/>
                    <a:pt x="799" y="686"/>
                  </a:cubicBezTo>
                  <a:cubicBezTo>
                    <a:pt x="778" y="674"/>
                    <a:pt x="778" y="674"/>
                    <a:pt x="778" y="674"/>
                  </a:cubicBezTo>
                  <a:cubicBezTo>
                    <a:pt x="775" y="659"/>
                    <a:pt x="775" y="659"/>
                    <a:pt x="775" y="659"/>
                  </a:cubicBezTo>
                  <a:cubicBezTo>
                    <a:pt x="749" y="659"/>
                    <a:pt x="749" y="659"/>
                    <a:pt x="749" y="659"/>
                  </a:cubicBezTo>
                  <a:cubicBezTo>
                    <a:pt x="749" y="659"/>
                    <a:pt x="744" y="680"/>
                    <a:pt x="744" y="684"/>
                  </a:cubicBezTo>
                  <a:cubicBezTo>
                    <a:pt x="744" y="688"/>
                    <a:pt x="709" y="677"/>
                    <a:pt x="693" y="674"/>
                  </a:cubicBezTo>
                  <a:cubicBezTo>
                    <a:pt x="677" y="671"/>
                    <a:pt x="648" y="672"/>
                    <a:pt x="648" y="672"/>
                  </a:cubicBezTo>
                  <a:cubicBezTo>
                    <a:pt x="648" y="672"/>
                    <a:pt x="630" y="650"/>
                    <a:pt x="621" y="640"/>
                  </a:cubicBezTo>
                  <a:cubicBezTo>
                    <a:pt x="612" y="630"/>
                    <a:pt x="598" y="641"/>
                    <a:pt x="598" y="641"/>
                  </a:cubicBezTo>
                  <a:cubicBezTo>
                    <a:pt x="598" y="641"/>
                    <a:pt x="573" y="628"/>
                    <a:pt x="567" y="627"/>
                  </a:cubicBezTo>
                  <a:cubicBezTo>
                    <a:pt x="561" y="625"/>
                    <a:pt x="535" y="624"/>
                    <a:pt x="535" y="624"/>
                  </a:cubicBezTo>
                  <a:cubicBezTo>
                    <a:pt x="535" y="624"/>
                    <a:pt x="524" y="615"/>
                    <a:pt x="511" y="619"/>
                  </a:cubicBezTo>
                  <a:cubicBezTo>
                    <a:pt x="498" y="624"/>
                    <a:pt x="498" y="652"/>
                    <a:pt x="491" y="656"/>
                  </a:cubicBezTo>
                  <a:cubicBezTo>
                    <a:pt x="483" y="661"/>
                    <a:pt x="469" y="666"/>
                    <a:pt x="472" y="677"/>
                  </a:cubicBezTo>
                  <a:cubicBezTo>
                    <a:pt x="496" y="672"/>
                    <a:pt x="496" y="672"/>
                    <a:pt x="496" y="672"/>
                  </a:cubicBezTo>
                  <a:cubicBezTo>
                    <a:pt x="527" y="675"/>
                    <a:pt x="527" y="675"/>
                    <a:pt x="527" y="675"/>
                  </a:cubicBezTo>
                  <a:cubicBezTo>
                    <a:pt x="527" y="675"/>
                    <a:pt x="504" y="688"/>
                    <a:pt x="514" y="699"/>
                  </a:cubicBezTo>
                  <a:cubicBezTo>
                    <a:pt x="524" y="709"/>
                    <a:pt x="558" y="691"/>
                    <a:pt x="558" y="691"/>
                  </a:cubicBezTo>
                  <a:cubicBezTo>
                    <a:pt x="558" y="691"/>
                    <a:pt x="608" y="718"/>
                    <a:pt x="623" y="722"/>
                  </a:cubicBezTo>
                  <a:cubicBezTo>
                    <a:pt x="637" y="727"/>
                    <a:pt x="687" y="728"/>
                    <a:pt x="705" y="728"/>
                  </a:cubicBezTo>
                  <a:cubicBezTo>
                    <a:pt x="722" y="728"/>
                    <a:pt x="727" y="747"/>
                    <a:pt x="737" y="756"/>
                  </a:cubicBezTo>
                  <a:cubicBezTo>
                    <a:pt x="747" y="765"/>
                    <a:pt x="780" y="771"/>
                    <a:pt x="794" y="772"/>
                  </a:cubicBezTo>
                  <a:cubicBezTo>
                    <a:pt x="809" y="774"/>
                    <a:pt x="815" y="771"/>
                    <a:pt x="837" y="772"/>
                  </a:cubicBezTo>
                  <a:cubicBezTo>
                    <a:pt x="859" y="774"/>
                    <a:pt x="877" y="801"/>
                    <a:pt x="885" y="806"/>
                  </a:cubicBezTo>
                  <a:cubicBezTo>
                    <a:pt x="894" y="810"/>
                    <a:pt x="904" y="801"/>
                    <a:pt x="904" y="801"/>
                  </a:cubicBezTo>
                  <a:cubicBezTo>
                    <a:pt x="904" y="801"/>
                    <a:pt x="921" y="810"/>
                    <a:pt x="921" y="804"/>
                  </a:cubicBezTo>
                  <a:cubicBezTo>
                    <a:pt x="921" y="793"/>
                    <a:pt x="910" y="778"/>
                    <a:pt x="910" y="778"/>
                  </a:cubicBezTo>
                  <a:cubicBezTo>
                    <a:pt x="910" y="778"/>
                    <a:pt x="921" y="772"/>
                    <a:pt x="921" y="753"/>
                  </a:cubicBezTo>
                  <a:close/>
                  <a:moveTo>
                    <a:pt x="1004" y="484"/>
                  </a:moveTo>
                  <a:cubicBezTo>
                    <a:pt x="1004" y="484"/>
                    <a:pt x="1025" y="467"/>
                    <a:pt x="1031" y="460"/>
                  </a:cubicBezTo>
                  <a:cubicBezTo>
                    <a:pt x="1036" y="453"/>
                    <a:pt x="1055" y="403"/>
                    <a:pt x="1055" y="403"/>
                  </a:cubicBezTo>
                  <a:cubicBezTo>
                    <a:pt x="1055" y="403"/>
                    <a:pt x="1037" y="401"/>
                    <a:pt x="1034" y="388"/>
                  </a:cubicBezTo>
                  <a:cubicBezTo>
                    <a:pt x="1031" y="376"/>
                    <a:pt x="1037" y="361"/>
                    <a:pt x="1042" y="348"/>
                  </a:cubicBezTo>
                  <a:cubicBezTo>
                    <a:pt x="1048" y="334"/>
                    <a:pt x="1070" y="336"/>
                    <a:pt x="1083" y="334"/>
                  </a:cubicBezTo>
                  <a:cubicBezTo>
                    <a:pt x="1095" y="333"/>
                    <a:pt x="1102" y="309"/>
                    <a:pt x="1101" y="301"/>
                  </a:cubicBezTo>
                  <a:cubicBezTo>
                    <a:pt x="1099" y="293"/>
                    <a:pt x="1079" y="301"/>
                    <a:pt x="1079" y="301"/>
                  </a:cubicBezTo>
                  <a:cubicBezTo>
                    <a:pt x="1079" y="301"/>
                    <a:pt x="1076" y="288"/>
                    <a:pt x="1088" y="275"/>
                  </a:cubicBezTo>
                  <a:cubicBezTo>
                    <a:pt x="1101" y="264"/>
                    <a:pt x="1128" y="269"/>
                    <a:pt x="1139" y="271"/>
                  </a:cubicBezTo>
                  <a:cubicBezTo>
                    <a:pt x="1150" y="274"/>
                    <a:pt x="1150" y="257"/>
                    <a:pt x="1150" y="257"/>
                  </a:cubicBezTo>
                  <a:cubicBezTo>
                    <a:pt x="1124" y="235"/>
                    <a:pt x="1124" y="235"/>
                    <a:pt x="1124" y="235"/>
                  </a:cubicBezTo>
                  <a:cubicBezTo>
                    <a:pt x="1124" y="208"/>
                    <a:pt x="1124" y="208"/>
                    <a:pt x="1124" y="208"/>
                  </a:cubicBezTo>
                  <a:cubicBezTo>
                    <a:pt x="1124" y="208"/>
                    <a:pt x="1105" y="207"/>
                    <a:pt x="1105" y="199"/>
                  </a:cubicBezTo>
                  <a:cubicBezTo>
                    <a:pt x="1105" y="191"/>
                    <a:pt x="1117" y="179"/>
                    <a:pt x="1116" y="168"/>
                  </a:cubicBezTo>
                  <a:cubicBezTo>
                    <a:pt x="1115" y="156"/>
                    <a:pt x="1082" y="153"/>
                    <a:pt x="1082" y="153"/>
                  </a:cubicBezTo>
                  <a:cubicBezTo>
                    <a:pt x="1093" y="135"/>
                    <a:pt x="1093" y="135"/>
                    <a:pt x="1093" y="135"/>
                  </a:cubicBezTo>
                  <a:cubicBezTo>
                    <a:pt x="1082" y="130"/>
                    <a:pt x="1082" y="130"/>
                    <a:pt x="1082" y="130"/>
                  </a:cubicBezTo>
                  <a:cubicBezTo>
                    <a:pt x="1086" y="110"/>
                    <a:pt x="1086" y="110"/>
                    <a:pt x="1086" y="110"/>
                  </a:cubicBezTo>
                  <a:cubicBezTo>
                    <a:pt x="1078" y="99"/>
                    <a:pt x="1078" y="99"/>
                    <a:pt x="1078" y="99"/>
                  </a:cubicBezTo>
                  <a:cubicBezTo>
                    <a:pt x="1070" y="92"/>
                    <a:pt x="1051" y="75"/>
                    <a:pt x="1047" y="75"/>
                  </a:cubicBezTo>
                  <a:cubicBezTo>
                    <a:pt x="1043" y="74"/>
                    <a:pt x="1002" y="73"/>
                    <a:pt x="987" y="74"/>
                  </a:cubicBezTo>
                  <a:cubicBezTo>
                    <a:pt x="973" y="75"/>
                    <a:pt x="980" y="97"/>
                    <a:pt x="978" y="113"/>
                  </a:cubicBezTo>
                  <a:cubicBezTo>
                    <a:pt x="977" y="129"/>
                    <a:pt x="968" y="144"/>
                    <a:pt x="968" y="144"/>
                  </a:cubicBezTo>
                  <a:cubicBezTo>
                    <a:pt x="968" y="144"/>
                    <a:pt x="961" y="143"/>
                    <a:pt x="955" y="152"/>
                  </a:cubicBezTo>
                  <a:cubicBezTo>
                    <a:pt x="948" y="161"/>
                    <a:pt x="960" y="177"/>
                    <a:pt x="960" y="177"/>
                  </a:cubicBezTo>
                  <a:cubicBezTo>
                    <a:pt x="938" y="196"/>
                    <a:pt x="938" y="196"/>
                    <a:pt x="938" y="196"/>
                  </a:cubicBezTo>
                  <a:cubicBezTo>
                    <a:pt x="939" y="208"/>
                    <a:pt x="939" y="208"/>
                    <a:pt x="939" y="208"/>
                  </a:cubicBezTo>
                  <a:cubicBezTo>
                    <a:pt x="922" y="231"/>
                    <a:pt x="922" y="231"/>
                    <a:pt x="922" y="231"/>
                  </a:cubicBezTo>
                  <a:cubicBezTo>
                    <a:pt x="906" y="231"/>
                    <a:pt x="906" y="231"/>
                    <a:pt x="906" y="231"/>
                  </a:cubicBezTo>
                  <a:cubicBezTo>
                    <a:pt x="906" y="231"/>
                    <a:pt x="888" y="244"/>
                    <a:pt x="885" y="244"/>
                  </a:cubicBezTo>
                  <a:cubicBezTo>
                    <a:pt x="882" y="245"/>
                    <a:pt x="857" y="229"/>
                    <a:pt x="853" y="227"/>
                  </a:cubicBezTo>
                  <a:cubicBezTo>
                    <a:pt x="849" y="224"/>
                    <a:pt x="824" y="227"/>
                    <a:pt x="824" y="227"/>
                  </a:cubicBezTo>
                  <a:cubicBezTo>
                    <a:pt x="824" y="227"/>
                    <a:pt x="811" y="248"/>
                    <a:pt x="801" y="254"/>
                  </a:cubicBezTo>
                  <a:cubicBezTo>
                    <a:pt x="791" y="260"/>
                    <a:pt x="778" y="251"/>
                    <a:pt x="764" y="251"/>
                  </a:cubicBezTo>
                  <a:cubicBezTo>
                    <a:pt x="749" y="251"/>
                    <a:pt x="750" y="259"/>
                    <a:pt x="746" y="261"/>
                  </a:cubicBezTo>
                  <a:cubicBezTo>
                    <a:pt x="742" y="264"/>
                    <a:pt x="720" y="256"/>
                    <a:pt x="712" y="247"/>
                  </a:cubicBezTo>
                  <a:cubicBezTo>
                    <a:pt x="708" y="243"/>
                    <a:pt x="706" y="237"/>
                    <a:pt x="703" y="231"/>
                  </a:cubicBezTo>
                  <a:cubicBezTo>
                    <a:pt x="703" y="231"/>
                    <a:pt x="703" y="231"/>
                    <a:pt x="703" y="231"/>
                  </a:cubicBezTo>
                  <a:cubicBezTo>
                    <a:pt x="703" y="231"/>
                    <a:pt x="684" y="213"/>
                    <a:pt x="671" y="227"/>
                  </a:cubicBezTo>
                  <a:cubicBezTo>
                    <a:pt x="657" y="242"/>
                    <a:pt x="650" y="278"/>
                    <a:pt x="650" y="278"/>
                  </a:cubicBezTo>
                  <a:cubicBezTo>
                    <a:pt x="666" y="300"/>
                    <a:pt x="666" y="300"/>
                    <a:pt x="666" y="300"/>
                  </a:cubicBezTo>
                  <a:cubicBezTo>
                    <a:pt x="673" y="335"/>
                    <a:pt x="673" y="335"/>
                    <a:pt x="673" y="335"/>
                  </a:cubicBezTo>
                  <a:cubicBezTo>
                    <a:pt x="704" y="353"/>
                    <a:pt x="704" y="353"/>
                    <a:pt x="704" y="353"/>
                  </a:cubicBezTo>
                  <a:cubicBezTo>
                    <a:pt x="699" y="377"/>
                    <a:pt x="699" y="377"/>
                    <a:pt x="699" y="377"/>
                  </a:cubicBezTo>
                  <a:cubicBezTo>
                    <a:pt x="716" y="388"/>
                    <a:pt x="716" y="388"/>
                    <a:pt x="716" y="388"/>
                  </a:cubicBezTo>
                  <a:cubicBezTo>
                    <a:pt x="705" y="407"/>
                    <a:pt x="705" y="407"/>
                    <a:pt x="705" y="407"/>
                  </a:cubicBezTo>
                  <a:cubicBezTo>
                    <a:pt x="718" y="425"/>
                    <a:pt x="718" y="425"/>
                    <a:pt x="718" y="425"/>
                  </a:cubicBezTo>
                  <a:cubicBezTo>
                    <a:pt x="707" y="432"/>
                    <a:pt x="707" y="432"/>
                    <a:pt x="707" y="432"/>
                  </a:cubicBezTo>
                  <a:cubicBezTo>
                    <a:pt x="717" y="470"/>
                    <a:pt x="717" y="470"/>
                    <a:pt x="717" y="470"/>
                  </a:cubicBezTo>
                  <a:cubicBezTo>
                    <a:pt x="745" y="466"/>
                    <a:pt x="745" y="466"/>
                    <a:pt x="745" y="466"/>
                  </a:cubicBezTo>
                  <a:cubicBezTo>
                    <a:pt x="765" y="473"/>
                    <a:pt x="765" y="473"/>
                    <a:pt x="765" y="473"/>
                  </a:cubicBezTo>
                  <a:cubicBezTo>
                    <a:pt x="765" y="473"/>
                    <a:pt x="777" y="451"/>
                    <a:pt x="789" y="451"/>
                  </a:cubicBezTo>
                  <a:cubicBezTo>
                    <a:pt x="801" y="451"/>
                    <a:pt x="789" y="483"/>
                    <a:pt x="801" y="493"/>
                  </a:cubicBezTo>
                  <a:cubicBezTo>
                    <a:pt x="812" y="502"/>
                    <a:pt x="822" y="472"/>
                    <a:pt x="822" y="472"/>
                  </a:cubicBezTo>
                  <a:cubicBezTo>
                    <a:pt x="840" y="484"/>
                    <a:pt x="840" y="484"/>
                    <a:pt x="840" y="484"/>
                  </a:cubicBezTo>
                  <a:cubicBezTo>
                    <a:pt x="840" y="484"/>
                    <a:pt x="856" y="470"/>
                    <a:pt x="865" y="470"/>
                  </a:cubicBezTo>
                  <a:cubicBezTo>
                    <a:pt x="874" y="469"/>
                    <a:pt x="868" y="495"/>
                    <a:pt x="878" y="498"/>
                  </a:cubicBezTo>
                  <a:cubicBezTo>
                    <a:pt x="888" y="502"/>
                    <a:pt x="919" y="486"/>
                    <a:pt x="935" y="489"/>
                  </a:cubicBezTo>
                  <a:cubicBezTo>
                    <a:pt x="951" y="493"/>
                    <a:pt x="936" y="542"/>
                    <a:pt x="936" y="542"/>
                  </a:cubicBezTo>
                  <a:cubicBezTo>
                    <a:pt x="936" y="542"/>
                    <a:pt x="950" y="538"/>
                    <a:pt x="966" y="531"/>
                  </a:cubicBezTo>
                  <a:cubicBezTo>
                    <a:pt x="982" y="523"/>
                    <a:pt x="1004" y="484"/>
                    <a:pt x="1004" y="484"/>
                  </a:cubicBezTo>
                  <a:close/>
                  <a:moveTo>
                    <a:pt x="990" y="745"/>
                  </a:moveTo>
                  <a:cubicBezTo>
                    <a:pt x="980" y="744"/>
                    <a:pt x="974" y="755"/>
                    <a:pt x="974" y="755"/>
                  </a:cubicBezTo>
                  <a:cubicBezTo>
                    <a:pt x="974" y="755"/>
                    <a:pt x="991" y="770"/>
                    <a:pt x="1002" y="763"/>
                  </a:cubicBezTo>
                  <a:cubicBezTo>
                    <a:pt x="1012" y="755"/>
                    <a:pt x="1000" y="747"/>
                    <a:pt x="990" y="745"/>
                  </a:cubicBezTo>
                  <a:close/>
                  <a:moveTo>
                    <a:pt x="1148" y="822"/>
                  </a:moveTo>
                  <a:cubicBezTo>
                    <a:pt x="1125" y="815"/>
                    <a:pt x="1125" y="815"/>
                    <a:pt x="1125" y="815"/>
                  </a:cubicBezTo>
                  <a:cubicBezTo>
                    <a:pt x="1118" y="821"/>
                    <a:pt x="1119" y="822"/>
                    <a:pt x="1129" y="838"/>
                  </a:cubicBezTo>
                  <a:cubicBezTo>
                    <a:pt x="1140" y="854"/>
                    <a:pt x="1147" y="843"/>
                    <a:pt x="1160" y="843"/>
                  </a:cubicBezTo>
                  <a:cubicBezTo>
                    <a:pt x="1173" y="843"/>
                    <a:pt x="1163" y="852"/>
                    <a:pt x="1173" y="862"/>
                  </a:cubicBezTo>
                  <a:cubicBezTo>
                    <a:pt x="1184" y="872"/>
                    <a:pt x="1204" y="863"/>
                    <a:pt x="1204" y="863"/>
                  </a:cubicBezTo>
                  <a:cubicBezTo>
                    <a:pt x="1204" y="863"/>
                    <a:pt x="1200" y="844"/>
                    <a:pt x="1187" y="827"/>
                  </a:cubicBezTo>
                  <a:cubicBezTo>
                    <a:pt x="1173" y="809"/>
                    <a:pt x="1148" y="822"/>
                    <a:pt x="1148" y="822"/>
                  </a:cubicBezTo>
                  <a:close/>
                  <a:moveTo>
                    <a:pt x="1312" y="751"/>
                  </a:moveTo>
                  <a:cubicBezTo>
                    <a:pt x="1293" y="767"/>
                    <a:pt x="1293" y="767"/>
                    <a:pt x="1293" y="767"/>
                  </a:cubicBezTo>
                  <a:cubicBezTo>
                    <a:pt x="1293" y="767"/>
                    <a:pt x="1282" y="755"/>
                    <a:pt x="1271" y="756"/>
                  </a:cubicBezTo>
                  <a:cubicBezTo>
                    <a:pt x="1261" y="758"/>
                    <a:pt x="1249" y="771"/>
                    <a:pt x="1249" y="771"/>
                  </a:cubicBezTo>
                  <a:cubicBezTo>
                    <a:pt x="1249" y="771"/>
                    <a:pt x="1239" y="745"/>
                    <a:pt x="1221" y="748"/>
                  </a:cubicBezTo>
                  <a:cubicBezTo>
                    <a:pt x="1204" y="751"/>
                    <a:pt x="1182" y="777"/>
                    <a:pt x="1182" y="777"/>
                  </a:cubicBezTo>
                  <a:cubicBezTo>
                    <a:pt x="1158" y="775"/>
                    <a:pt x="1158" y="775"/>
                    <a:pt x="1158" y="775"/>
                  </a:cubicBezTo>
                  <a:cubicBezTo>
                    <a:pt x="1151" y="787"/>
                    <a:pt x="1151" y="787"/>
                    <a:pt x="1151" y="787"/>
                  </a:cubicBezTo>
                  <a:cubicBezTo>
                    <a:pt x="1167" y="784"/>
                    <a:pt x="1167" y="784"/>
                    <a:pt x="1167" y="784"/>
                  </a:cubicBezTo>
                  <a:cubicBezTo>
                    <a:pt x="1167" y="784"/>
                    <a:pt x="1179" y="790"/>
                    <a:pt x="1191" y="795"/>
                  </a:cubicBezTo>
                  <a:cubicBezTo>
                    <a:pt x="1202" y="799"/>
                    <a:pt x="1214" y="781"/>
                    <a:pt x="1214" y="781"/>
                  </a:cubicBezTo>
                  <a:cubicBezTo>
                    <a:pt x="1276" y="780"/>
                    <a:pt x="1276" y="780"/>
                    <a:pt x="1276" y="780"/>
                  </a:cubicBezTo>
                  <a:cubicBezTo>
                    <a:pt x="1308" y="775"/>
                    <a:pt x="1308" y="775"/>
                    <a:pt x="1308" y="775"/>
                  </a:cubicBezTo>
                  <a:cubicBezTo>
                    <a:pt x="1334" y="752"/>
                    <a:pt x="1334" y="752"/>
                    <a:pt x="1334" y="752"/>
                  </a:cubicBezTo>
                  <a:cubicBezTo>
                    <a:pt x="1333" y="742"/>
                    <a:pt x="1333" y="742"/>
                    <a:pt x="1333" y="742"/>
                  </a:cubicBezTo>
                  <a:lnTo>
                    <a:pt x="1312" y="751"/>
                  </a:lnTo>
                  <a:close/>
                  <a:moveTo>
                    <a:pt x="1056" y="774"/>
                  </a:moveTo>
                  <a:cubicBezTo>
                    <a:pt x="1056" y="774"/>
                    <a:pt x="1042" y="759"/>
                    <a:pt x="1034" y="761"/>
                  </a:cubicBezTo>
                  <a:cubicBezTo>
                    <a:pt x="1025" y="762"/>
                    <a:pt x="1006" y="791"/>
                    <a:pt x="1006" y="791"/>
                  </a:cubicBezTo>
                  <a:cubicBezTo>
                    <a:pt x="1041" y="796"/>
                    <a:pt x="1041" y="796"/>
                    <a:pt x="1041" y="796"/>
                  </a:cubicBezTo>
                  <a:cubicBezTo>
                    <a:pt x="1042" y="810"/>
                    <a:pt x="1042" y="810"/>
                    <a:pt x="1042" y="810"/>
                  </a:cubicBezTo>
                  <a:cubicBezTo>
                    <a:pt x="1057" y="808"/>
                    <a:pt x="1057" y="808"/>
                    <a:pt x="1057" y="808"/>
                  </a:cubicBezTo>
                  <a:cubicBezTo>
                    <a:pt x="1063" y="794"/>
                    <a:pt x="1063" y="794"/>
                    <a:pt x="1063" y="794"/>
                  </a:cubicBezTo>
                  <a:cubicBezTo>
                    <a:pt x="1082" y="805"/>
                    <a:pt x="1082" y="805"/>
                    <a:pt x="1082" y="805"/>
                  </a:cubicBezTo>
                  <a:cubicBezTo>
                    <a:pt x="1101" y="783"/>
                    <a:pt x="1101" y="783"/>
                    <a:pt x="1101" y="783"/>
                  </a:cubicBezTo>
                  <a:cubicBezTo>
                    <a:pt x="1067" y="771"/>
                    <a:pt x="1067" y="771"/>
                    <a:pt x="1067" y="771"/>
                  </a:cubicBezTo>
                  <a:lnTo>
                    <a:pt x="1056" y="774"/>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99" name="India">
              <a:extLst>
                <a:ext uri="{FF2B5EF4-FFF2-40B4-BE49-F238E27FC236}">
                  <a16:creationId xmlns:a16="http://schemas.microsoft.com/office/drawing/2014/main" id="{A81DEE01-8A09-4171-BE25-F0B3324611A4}"/>
                </a:ext>
              </a:extLst>
            </p:cNvPr>
            <p:cNvSpPr>
              <a:spLocks noEditPoints="1"/>
            </p:cNvSpPr>
            <p:nvPr/>
          </p:nvSpPr>
          <p:spPr bwMode="gray">
            <a:xfrm>
              <a:off x="7392920" y="2998205"/>
              <a:ext cx="730377" cy="883829"/>
            </a:xfrm>
            <a:custGeom>
              <a:avLst/>
              <a:gdLst>
                <a:gd name="T0" fmla="*/ 1202 w 1304"/>
                <a:gd name="T1" fmla="*/ 1237 h 1578"/>
                <a:gd name="T2" fmla="*/ 1259 w 1304"/>
                <a:gd name="T3" fmla="*/ 1543 h 1578"/>
                <a:gd name="T4" fmla="*/ 1302 w 1304"/>
                <a:gd name="T5" fmla="*/ 417 h 1578"/>
                <a:gd name="T6" fmla="*/ 1231 w 1304"/>
                <a:gd name="T7" fmla="*/ 379 h 1578"/>
                <a:gd name="T8" fmla="*/ 1133 w 1304"/>
                <a:gd name="T9" fmla="*/ 390 h 1578"/>
                <a:gd name="T10" fmla="*/ 1045 w 1304"/>
                <a:gd name="T11" fmla="*/ 450 h 1578"/>
                <a:gd name="T12" fmla="*/ 1042 w 1304"/>
                <a:gd name="T13" fmla="*/ 497 h 1578"/>
                <a:gd name="T14" fmla="*/ 926 w 1304"/>
                <a:gd name="T15" fmla="*/ 487 h 1578"/>
                <a:gd name="T16" fmla="*/ 882 w 1304"/>
                <a:gd name="T17" fmla="*/ 450 h 1578"/>
                <a:gd name="T18" fmla="*/ 853 w 1304"/>
                <a:gd name="T19" fmla="*/ 520 h 1578"/>
                <a:gd name="T20" fmla="*/ 766 w 1304"/>
                <a:gd name="T21" fmla="*/ 495 h 1578"/>
                <a:gd name="T22" fmla="*/ 695 w 1304"/>
                <a:gd name="T23" fmla="*/ 457 h 1578"/>
                <a:gd name="T24" fmla="*/ 640 w 1304"/>
                <a:gd name="T25" fmla="*/ 459 h 1578"/>
                <a:gd name="T26" fmla="*/ 564 w 1304"/>
                <a:gd name="T27" fmla="*/ 423 h 1578"/>
                <a:gd name="T28" fmla="*/ 499 w 1304"/>
                <a:gd name="T29" fmla="*/ 382 h 1578"/>
                <a:gd name="T30" fmla="*/ 518 w 1304"/>
                <a:gd name="T31" fmla="*/ 323 h 1578"/>
                <a:gd name="T32" fmla="*/ 481 w 1304"/>
                <a:gd name="T33" fmla="*/ 283 h 1578"/>
                <a:gd name="T34" fmla="*/ 412 w 1304"/>
                <a:gd name="T35" fmla="*/ 221 h 1578"/>
                <a:gd name="T36" fmla="*/ 423 w 1304"/>
                <a:gd name="T37" fmla="*/ 194 h 1578"/>
                <a:gd name="T38" fmla="*/ 395 w 1304"/>
                <a:gd name="T39" fmla="*/ 129 h 1578"/>
                <a:gd name="T40" fmla="*/ 438 w 1304"/>
                <a:gd name="T41" fmla="*/ 69 h 1578"/>
                <a:gd name="T42" fmla="*/ 319 w 1304"/>
                <a:gd name="T43" fmla="*/ 29 h 1578"/>
                <a:gd name="T44" fmla="*/ 266 w 1304"/>
                <a:gd name="T45" fmla="*/ 74 h 1578"/>
                <a:gd name="T46" fmla="*/ 156 w 1304"/>
                <a:gd name="T47" fmla="*/ 89 h 1578"/>
                <a:gd name="T48" fmla="*/ 186 w 1304"/>
                <a:gd name="T49" fmla="*/ 141 h 1578"/>
                <a:gd name="T50" fmla="*/ 219 w 1304"/>
                <a:gd name="T51" fmla="*/ 196 h 1578"/>
                <a:gd name="T52" fmla="*/ 235 w 1304"/>
                <a:gd name="T53" fmla="*/ 268 h 1578"/>
                <a:gd name="T54" fmla="*/ 179 w 1304"/>
                <a:gd name="T55" fmla="*/ 372 h 1578"/>
                <a:gd name="T56" fmla="*/ 107 w 1304"/>
                <a:gd name="T57" fmla="*/ 437 h 1578"/>
                <a:gd name="T58" fmla="*/ 33 w 1304"/>
                <a:gd name="T59" fmla="*/ 493 h 1578"/>
                <a:gd name="T60" fmla="*/ 74 w 1304"/>
                <a:gd name="T61" fmla="*/ 551 h 1578"/>
                <a:gd name="T62" fmla="*/ 98 w 1304"/>
                <a:gd name="T63" fmla="*/ 635 h 1578"/>
                <a:gd name="T64" fmla="*/ 15 w 1304"/>
                <a:gd name="T65" fmla="*/ 630 h 1578"/>
                <a:gd name="T66" fmla="*/ 78 w 1304"/>
                <a:gd name="T67" fmla="*/ 697 h 1578"/>
                <a:gd name="T68" fmla="*/ 70 w 1304"/>
                <a:gd name="T69" fmla="*/ 779 h 1578"/>
                <a:gd name="T70" fmla="*/ 213 w 1304"/>
                <a:gd name="T71" fmla="*/ 781 h 1578"/>
                <a:gd name="T72" fmla="*/ 267 w 1304"/>
                <a:gd name="T73" fmla="*/ 1062 h 1578"/>
                <a:gd name="T74" fmla="*/ 407 w 1304"/>
                <a:gd name="T75" fmla="*/ 1335 h 1578"/>
                <a:gd name="T76" fmla="*/ 550 w 1304"/>
                <a:gd name="T77" fmla="*/ 1443 h 1578"/>
                <a:gd name="T78" fmla="*/ 601 w 1304"/>
                <a:gd name="T79" fmla="*/ 1311 h 1578"/>
                <a:gd name="T80" fmla="*/ 594 w 1304"/>
                <a:gd name="T81" fmla="*/ 1107 h 1578"/>
                <a:gd name="T82" fmla="*/ 688 w 1304"/>
                <a:gd name="T83" fmla="*/ 1044 h 1578"/>
                <a:gd name="T84" fmla="*/ 820 w 1304"/>
                <a:gd name="T85" fmla="*/ 866 h 1578"/>
                <a:gd name="T86" fmla="*/ 873 w 1304"/>
                <a:gd name="T87" fmla="*/ 795 h 1578"/>
                <a:gd name="T88" fmla="*/ 942 w 1304"/>
                <a:gd name="T89" fmla="*/ 744 h 1578"/>
                <a:gd name="T90" fmla="*/ 959 w 1304"/>
                <a:gd name="T91" fmla="*/ 697 h 1578"/>
                <a:gd name="T92" fmla="*/ 917 w 1304"/>
                <a:gd name="T93" fmla="*/ 604 h 1578"/>
                <a:gd name="T94" fmla="*/ 897 w 1304"/>
                <a:gd name="T95" fmla="*/ 546 h 1578"/>
                <a:gd name="T96" fmla="*/ 925 w 1304"/>
                <a:gd name="T97" fmla="*/ 515 h 1578"/>
                <a:gd name="T98" fmla="*/ 972 w 1304"/>
                <a:gd name="T99" fmla="*/ 534 h 1578"/>
                <a:gd name="T100" fmla="*/ 1049 w 1304"/>
                <a:gd name="T101" fmla="*/ 590 h 1578"/>
                <a:gd name="T102" fmla="*/ 1063 w 1304"/>
                <a:gd name="T103" fmla="*/ 641 h 1578"/>
                <a:gd name="T104" fmla="*/ 1099 w 1304"/>
                <a:gd name="T105" fmla="*/ 664 h 1578"/>
                <a:gd name="T106" fmla="*/ 1161 w 1304"/>
                <a:gd name="T107" fmla="*/ 750 h 1578"/>
                <a:gd name="T108" fmla="*/ 1143 w 1304"/>
                <a:gd name="T109" fmla="*/ 648 h 1578"/>
                <a:gd name="T110" fmla="*/ 1199 w 1304"/>
                <a:gd name="T111" fmla="*/ 576 h 1578"/>
                <a:gd name="T112" fmla="*/ 1238 w 1304"/>
                <a:gd name="T113" fmla="*/ 497 h 1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4" h="1578">
                  <a:moveTo>
                    <a:pt x="1204" y="1196"/>
                  </a:moveTo>
                  <a:cubicBezTo>
                    <a:pt x="1184" y="1198"/>
                    <a:pt x="1188" y="1259"/>
                    <a:pt x="1188" y="1259"/>
                  </a:cubicBezTo>
                  <a:cubicBezTo>
                    <a:pt x="1191" y="1325"/>
                    <a:pt x="1191" y="1325"/>
                    <a:pt x="1191" y="1325"/>
                  </a:cubicBezTo>
                  <a:cubicBezTo>
                    <a:pt x="1202" y="1305"/>
                    <a:pt x="1202" y="1305"/>
                    <a:pt x="1202" y="1305"/>
                  </a:cubicBezTo>
                  <a:cubicBezTo>
                    <a:pt x="1202" y="1237"/>
                    <a:pt x="1202" y="1237"/>
                    <a:pt x="1202" y="1237"/>
                  </a:cubicBezTo>
                  <a:cubicBezTo>
                    <a:pt x="1202" y="1237"/>
                    <a:pt x="1220" y="1194"/>
                    <a:pt x="1204" y="1196"/>
                  </a:cubicBezTo>
                  <a:close/>
                  <a:moveTo>
                    <a:pt x="1195" y="1357"/>
                  </a:moveTo>
                  <a:cubicBezTo>
                    <a:pt x="1180" y="1357"/>
                    <a:pt x="1196" y="1389"/>
                    <a:pt x="1196" y="1389"/>
                  </a:cubicBezTo>
                  <a:cubicBezTo>
                    <a:pt x="1196" y="1389"/>
                    <a:pt x="1209" y="1357"/>
                    <a:pt x="1195" y="1357"/>
                  </a:cubicBezTo>
                  <a:close/>
                  <a:moveTo>
                    <a:pt x="1259" y="1543"/>
                  </a:moveTo>
                  <a:cubicBezTo>
                    <a:pt x="1251" y="1544"/>
                    <a:pt x="1255" y="1578"/>
                    <a:pt x="1270" y="1578"/>
                  </a:cubicBezTo>
                  <a:cubicBezTo>
                    <a:pt x="1270" y="1578"/>
                    <a:pt x="1267" y="1542"/>
                    <a:pt x="1259" y="1543"/>
                  </a:cubicBezTo>
                  <a:close/>
                  <a:moveTo>
                    <a:pt x="1280" y="454"/>
                  </a:moveTo>
                  <a:cubicBezTo>
                    <a:pt x="1280" y="445"/>
                    <a:pt x="1304" y="436"/>
                    <a:pt x="1304" y="436"/>
                  </a:cubicBezTo>
                  <a:cubicBezTo>
                    <a:pt x="1302" y="417"/>
                    <a:pt x="1302" y="417"/>
                    <a:pt x="1302" y="417"/>
                  </a:cubicBezTo>
                  <a:cubicBezTo>
                    <a:pt x="1302" y="417"/>
                    <a:pt x="1287" y="413"/>
                    <a:pt x="1280" y="413"/>
                  </a:cubicBezTo>
                  <a:cubicBezTo>
                    <a:pt x="1273" y="413"/>
                    <a:pt x="1258" y="413"/>
                    <a:pt x="1250" y="411"/>
                  </a:cubicBezTo>
                  <a:cubicBezTo>
                    <a:pt x="1242" y="409"/>
                    <a:pt x="1262" y="400"/>
                    <a:pt x="1262" y="400"/>
                  </a:cubicBezTo>
                  <a:cubicBezTo>
                    <a:pt x="1251" y="380"/>
                    <a:pt x="1251" y="380"/>
                    <a:pt x="1251" y="380"/>
                  </a:cubicBezTo>
                  <a:cubicBezTo>
                    <a:pt x="1251" y="380"/>
                    <a:pt x="1240" y="381"/>
                    <a:pt x="1231" y="379"/>
                  </a:cubicBezTo>
                  <a:cubicBezTo>
                    <a:pt x="1222" y="377"/>
                    <a:pt x="1238" y="369"/>
                    <a:pt x="1238" y="369"/>
                  </a:cubicBezTo>
                  <a:cubicBezTo>
                    <a:pt x="1238" y="369"/>
                    <a:pt x="1237" y="364"/>
                    <a:pt x="1219" y="355"/>
                  </a:cubicBezTo>
                  <a:cubicBezTo>
                    <a:pt x="1201" y="346"/>
                    <a:pt x="1209" y="377"/>
                    <a:pt x="1198" y="377"/>
                  </a:cubicBezTo>
                  <a:cubicBezTo>
                    <a:pt x="1187" y="377"/>
                    <a:pt x="1173" y="363"/>
                    <a:pt x="1165" y="363"/>
                  </a:cubicBezTo>
                  <a:cubicBezTo>
                    <a:pt x="1157" y="363"/>
                    <a:pt x="1140" y="382"/>
                    <a:pt x="1133" y="390"/>
                  </a:cubicBezTo>
                  <a:cubicBezTo>
                    <a:pt x="1126" y="398"/>
                    <a:pt x="1102" y="394"/>
                    <a:pt x="1102" y="394"/>
                  </a:cubicBezTo>
                  <a:cubicBezTo>
                    <a:pt x="1102" y="394"/>
                    <a:pt x="1109" y="410"/>
                    <a:pt x="1107" y="415"/>
                  </a:cubicBezTo>
                  <a:cubicBezTo>
                    <a:pt x="1105" y="420"/>
                    <a:pt x="1084" y="422"/>
                    <a:pt x="1084" y="422"/>
                  </a:cubicBezTo>
                  <a:cubicBezTo>
                    <a:pt x="1084" y="422"/>
                    <a:pt x="1092" y="438"/>
                    <a:pt x="1084" y="445"/>
                  </a:cubicBezTo>
                  <a:cubicBezTo>
                    <a:pt x="1076" y="452"/>
                    <a:pt x="1045" y="450"/>
                    <a:pt x="1045" y="450"/>
                  </a:cubicBezTo>
                  <a:cubicBezTo>
                    <a:pt x="1045" y="450"/>
                    <a:pt x="1039" y="452"/>
                    <a:pt x="1043" y="459"/>
                  </a:cubicBezTo>
                  <a:cubicBezTo>
                    <a:pt x="1047" y="466"/>
                    <a:pt x="1064" y="465"/>
                    <a:pt x="1064" y="465"/>
                  </a:cubicBezTo>
                  <a:cubicBezTo>
                    <a:pt x="1064" y="479"/>
                    <a:pt x="1064" y="479"/>
                    <a:pt x="1064" y="479"/>
                  </a:cubicBezTo>
                  <a:cubicBezTo>
                    <a:pt x="1064" y="479"/>
                    <a:pt x="1079" y="490"/>
                    <a:pt x="1065" y="497"/>
                  </a:cubicBezTo>
                  <a:cubicBezTo>
                    <a:pt x="1051" y="504"/>
                    <a:pt x="1042" y="497"/>
                    <a:pt x="1042" y="497"/>
                  </a:cubicBezTo>
                  <a:cubicBezTo>
                    <a:pt x="1042" y="497"/>
                    <a:pt x="1034" y="501"/>
                    <a:pt x="1016" y="501"/>
                  </a:cubicBezTo>
                  <a:cubicBezTo>
                    <a:pt x="998" y="501"/>
                    <a:pt x="1000" y="495"/>
                    <a:pt x="991" y="495"/>
                  </a:cubicBezTo>
                  <a:cubicBezTo>
                    <a:pt x="982" y="495"/>
                    <a:pt x="988" y="503"/>
                    <a:pt x="969" y="503"/>
                  </a:cubicBezTo>
                  <a:cubicBezTo>
                    <a:pt x="950" y="503"/>
                    <a:pt x="953" y="492"/>
                    <a:pt x="953" y="492"/>
                  </a:cubicBezTo>
                  <a:cubicBezTo>
                    <a:pt x="953" y="492"/>
                    <a:pt x="949" y="503"/>
                    <a:pt x="926" y="487"/>
                  </a:cubicBezTo>
                  <a:cubicBezTo>
                    <a:pt x="903" y="471"/>
                    <a:pt x="921" y="467"/>
                    <a:pt x="921" y="467"/>
                  </a:cubicBezTo>
                  <a:cubicBezTo>
                    <a:pt x="921" y="467"/>
                    <a:pt x="916" y="468"/>
                    <a:pt x="911" y="466"/>
                  </a:cubicBezTo>
                  <a:cubicBezTo>
                    <a:pt x="906" y="464"/>
                    <a:pt x="917" y="436"/>
                    <a:pt x="906" y="427"/>
                  </a:cubicBezTo>
                  <a:cubicBezTo>
                    <a:pt x="899" y="422"/>
                    <a:pt x="888" y="428"/>
                    <a:pt x="876" y="435"/>
                  </a:cubicBezTo>
                  <a:cubicBezTo>
                    <a:pt x="882" y="450"/>
                    <a:pt x="882" y="450"/>
                    <a:pt x="882" y="450"/>
                  </a:cubicBezTo>
                  <a:cubicBezTo>
                    <a:pt x="882" y="482"/>
                    <a:pt x="882" y="482"/>
                    <a:pt x="882" y="482"/>
                  </a:cubicBezTo>
                  <a:cubicBezTo>
                    <a:pt x="892" y="497"/>
                    <a:pt x="892" y="497"/>
                    <a:pt x="892" y="497"/>
                  </a:cubicBezTo>
                  <a:cubicBezTo>
                    <a:pt x="892" y="497"/>
                    <a:pt x="892" y="506"/>
                    <a:pt x="891" y="515"/>
                  </a:cubicBezTo>
                  <a:cubicBezTo>
                    <a:pt x="890" y="524"/>
                    <a:pt x="869" y="521"/>
                    <a:pt x="869" y="521"/>
                  </a:cubicBezTo>
                  <a:cubicBezTo>
                    <a:pt x="869" y="521"/>
                    <a:pt x="862" y="520"/>
                    <a:pt x="853" y="520"/>
                  </a:cubicBezTo>
                  <a:cubicBezTo>
                    <a:pt x="844" y="520"/>
                    <a:pt x="849" y="510"/>
                    <a:pt x="843" y="510"/>
                  </a:cubicBezTo>
                  <a:cubicBezTo>
                    <a:pt x="837" y="510"/>
                    <a:pt x="829" y="521"/>
                    <a:pt x="829" y="521"/>
                  </a:cubicBezTo>
                  <a:cubicBezTo>
                    <a:pt x="829" y="521"/>
                    <a:pt x="818" y="508"/>
                    <a:pt x="805" y="504"/>
                  </a:cubicBezTo>
                  <a:cubicBezTo>
                    <a:pt x="792" y="500"/>
                    <a:pt x="788" y="509"/>
                    <a:pt x="788" y="509"/>
                  </a:cubicBezTo>
                  <a:cubicBezTo>
                    <a:pt x="766" y="495"/>
                    <a:pt x="766" y="495"/>
                    <a:pt x="766" y="495"/>
                  </a:cubicBezTo>
                  <a:cubicBezTo>
                    <a:pt x="754" y="504"/>
                    <a:pt x="754" y="504"/>
                    <a:pt x="754" y="504"/>
                  </a:cubicBezTo>
                  <a:cubicBezTo>
                    <a:pt x="754" y="504"/>
                    <a:pt x="745" y="493"/>
                    <a:pt x="736" y="485"/>
                  </a:cubicBezTo>
                  <a:cubicBezTo>
                    <a:pt x="727" y="477"/>
                    <a:pt x="719" y="467"/>
                    <a:pt x="719" y="467"/>
                  </a:cubicBezTo>
                  <a:cubicBezTo>
                    <a:pt x="705" y="470"/>
                    <a:pt x="705" y="470"/>
                    <a:pt x="705" y="470"/>
                  </a:cubicBezTo>
                  <a:cubicBezTo>
                    <a:pt x="705" y="470"/>
                    <a:pt x="704" y="462"/>
                    <a:pt x="695" y="457"/>
                  </a:cubicBezTo>
                  <a:cubicBezTo>
                    <a:pt x="686" y="452"/>
                    <a:pt x="687" y="471"/>
                    <a:pt x="687" y="471"/>
                  </a:cubicBezTo>
                  <a:cubicBezTo>
                    <a:pt x="687" y="471"/>
                    <a:pt x="686" y="464"/>
                    <a:pt x="677" y="464"/>
                  </a:cubicBezTo>
                  <a:cubicBezTo>
                    <a:pt x="668" y="464"/>
                    <a:pt x="663" y="472"/>
                    <a:pt x="663" y="472"/>
                  </a:cubicBezTo>
                  <a:cubicBezTo>
                    <a:pt x="660" y="465"/>
                    <a:pt x="660" y="465"/>
                    <a:pt x="660" y="465"/>
                  </a:cubicBezTo>
                  <a:cubicBezTo>
                    <a:pt x="660" y="465"/>
                    <a:pt x="653" y="461"/>
                    <a:pt x="640" y="459"/>
                  </a:cubicBezTo>
                  <a:cubicBezTo>
                    <a:pt x="627" y="457"/>
                    <a:pt x="639" y="452"/>
                    <a:pt x="634" y="450"/>
                  </a:cubicBezTo>
                  <a:cubicBezTo>
                    <a:pt x="629" y="448"/>
                    <a:pt x="624" y="451"/>
                    <a:pt x="616" y="451"/>
                  </a:cubicBezTo>
                  <a:cubicBezTo>
                    <a:pt x="608" y="451"/>
                    <a:pt x="601" y="437"/>
                    <a:pt x="601" y="437"/>
                  </a:cubicBezTo>
                  <a:cubicBezTo>
                    <a:pt x="592" y="438"/>
                    <a:pt x="592" y="438"/>
                    <a:pt x="592" y="438"/>
                  </a:cubicBezTo>
                  <a:cubicBezTo>
                    <a:pt x="564" y="423"/>
                    <a:pt x="564" y="423"/>
                    <a:pt x="564" y="423"/>
                  </a:cubicBezTo>
                  <a:cubicBezTo>
                    <a:pt x="557" y="413"/>
                    <a:pt x="557" y="413"/>
                    <a:pt x="557" y="413"/>
                  </a:cubicBezTo>
                  <a:cubicBezTo>
                    <a:pt x="539" y="413"/>
                    <a:pt x="539" y="413"/>
                    <a:pt x="539" y="413"/>
                  </a:cubicBezTo>
                  <a:cubicBezTo>
                    <a:pt x="528" y="395"/>
                    <a:pt x="528" y="395"/>
                    <a:pt x="528" y="395"/>
                  </a:cubicBezTo>
                  <a:cubicBezTo>
                    <a:pt x="518" y="401"/>
                    <a:pt x="518" y="401"/>
                    <a:pt x="518" y="401"/>
                  </a:cubicBezTo>
                  <a:cubicBezTo>
                    <a:pt x="518" y="401"/>
                    <a:pt x="506" y="390"/>
                    <a:pt x="499" y="382"/>
                  </a:cubicBezTo>
                  <a:cubicBezTo>
                    <a:pt x="492" y="374"/>
                    <a:pt x="511" y="364"/>
                    <a:pt x="511" y="364"/>
                  </a:cubicBezTo>
                  <a:cubicBezTo>
                    <a:pt x="511" y="364"/>
                    <a:pt x="506" y="364"/>
                    <a:pt x="502" y="358"/>
                  </a:cubicBezTo>
                  <a:cubicBezTo>
                    <a:pt x="498" y="352"/>
                    <a:pt x="509" y="350"/>
                    <a:pt x="509" y="350"/>
                  </a:cubicBezTo>
                  <a:cubicBezTo>
                    <a:pt x="503" y="341"/>
                    <a:pt x="503" y="341"/>
                    <a:pt x="503" y="341"/>
                  </a:cubicBezTo>
                  <a:cubicBezTo>
                    <a:pt x="518" y="323"/>
                    <a:pt x="518" y="323"/>
                    <a:pt x="518" y="323"/>
                  </a:cubicBezTo>
                  <a:cubicBezTo>
                    <a:pt x="524" y="310"/>
                    <a:pt x="524" y="310"/>
                    <a:pt x="524" y="310"/>
                  </a:cubicBezTo>
                  <a:cubicBezTo>
                    <a:pt x="509" y="296"/>
                    <a:pt x="509" y="296"/>
                    <a:pt x="509" y="296"/>
                  </a:cubicBezTo>
                  <a:cubicBezTo>
                    <a:pt x="509" y="296"/>
                    <a:pt x="498" y="296"/>
                    <a:pt x="492" y="293"/>
                  </a:cubicBezTo>
                  <a:cubicBezTo>
                    <a:pt x="486" y="290"/>
                    <a:pt x="492" y="282"/>
                    <a:pt x="492" y="282"/>
                  </a:cubicBezTo>
                  <a:cubicBezTo>
                    <a:pt x="481" y="283"/>
                    <a:pt x="481" y="283"/>
                    <a:pt x="481" y="283"/>
                  </a:cubicBezTo>
                  <a:cubicBezTo>
                    <a:pt x="466" y="272"/>
                    <a:pt x="466" y="272"/>
                    <a:pt x="466" y="272"/>
                  </a:cubicBezTo>
                  <a:cubicBezTo>
                    <a:pt x="466" y="272"/>
                    <a:pt x="456" y="270"/>
                    <a:pt x="445" y="266"/>
                  </a:cubicBezTo>
                  <a:cubicBezTo>
                    <a:pt x="434" y="262"/>
                    <a:pt x="430" y="247"/>
                    <a:pt x="430" y="247"/>
                  </a:cubicBezTo>
                  <a:cubicBezTo>
                    <a:pt x="430" y="247"/>
                    <a:pt x="419" y="252"/>
                    <a:pt x="412" y="249"/>
                  </a:cubicBezTo>
                  <a:cubicBezTo>
                    <a:pt x="405" y="246"/>
                    <a:pt x="412" y="221"/>
                    <a:pt x="412" y="221"/>
                  </a:cubicBezTo>
                  <a:cubicBezTo>
                    <a:pt x="412" y="221"/>
                    <a:pt x="392" y="210"/>
                    <a:pt x="390" y="200"/>
                  </a:cubicBezTo>
                  <a:cubicBezTo>
                    <a:pt x="388" y="190"/>
                    <a:pt x="401" y="185"/>
                    <a:pt x="405" y="185"/>
                  </a:cubicBezTo>
                  <a:cubicBezTo>
                    <a:pt x="409" y="185"/>
                    <a:pt x="407" y="195"/>
                    <a:pt x="407" y="195"/>
                  </a:cubicBezTo>
                  <a:cubicBezTo>
                    <a:pt x="417" y="203"/>
                    <a:pt x="417" y="203"/>
                    <a:pt x="417" y="203"/>
                  </a:cubicBezTo>
                  <a:cubicBezTo>
                    <a:pt x="423" y="194"/>
                    <a:pt x="423" y="194"/>
                    <a:pt x="423" y="194"/>
                  </a:cubicBezTo>
                  <a:cubicBezTo>
                    <a:pt x="423" y="194"/>
                    <a:pt x="432" y="191"/>
                    <a:pt x="440" y="186"/>
                  </a:cubicBezTo>
                  <a:cubicBezTo>
                    <a:pt x="448" y="181"/>
                    <a:pt x="429" y="166"/>
                    <a:pt x="429" y="166"/>
                  </a:cubicBezTo>
                  <a:cubicBezTo>
                    <a:pt x="424" y="157"/>
                    <a:pt x="424" y="157"/>
                    <a:pt x="424" y="157"/>
                  </a:cubicBezTo>
                  <a:cubicBezTo>
                    <a:pt x="424" y="157"/>
                    <a:pt x="419" y="154"/>
                    <a:pt x="404" y="147"/>
                  </a:cubicBezTo>
                  <a:cubicBezTo>
                    <a:pt x="389" y="140"/>
                    <a:pt x="395" y="129"/>
                    <a:pt x="395" y="129"/>
                  </a:cubicBezTo>
                  <a:cubicBezTo>
                    <a:pt x="406" y="123"/>
                    <a:pt x="406" y="123"/>
                    <a:pt x="406" y="123"/>
                  </a:cubicBezTo>
                  <a:cubicBezTo>
                    <a:pt x="394" y="107"/>
                    <a:pt x="394" y="107"/>
                    <a:pt x="394" y="107"/>
                  </a:cubicBezTo>
                  <a:cubicBezTo>
                    <a:pt x="394" y="107"/>
                    <a:pt x="413" y="108"/>
                    <a:pt x="422" y="103"/>
                  </a:cubicBezTo>
                  <a:cubicBezTo>
                    <a:pt x="431" y="98"/>
                    <a:pt x="425" y="74"/>
                    <a:pt x="425" y="74"/>
                  </a:cubicBezTo>
                  <a:cubicBezTo>
                    <a:pt x="425" y="74"/>
                    <a:pt x="434" y="74"/>
                    <a:pt x="438" y="69"/>
                  </a:cubicBezTo>
                  <a:cubicBezTo>
                    <a:pt x="442" y="64"/>
                    <a:pt x="438" y="28"/>
                    <a:pt x="438" y="28"/>
                  </a:cubicBezTo>
                  <a:cubicBezTo>
                    <a:pt x="438" y="28"/>
                    <a:pt x="424" y="30"/>
                    <a:pt x="413" y="28"/>
                  </a:cubicBezTo>
                  <a:cubicBezTo>
                    <a:pt x="402" y="26"/>
                    <a:pt x="400" y="12"/>
                    <a:pt x="383" y="6"/>
                  </a:cubicBezTo>
                  <a:cubicBezTo>
                    <a:pt x="366" y="0"/>
                    <a:pt x="335" y="29"/>
                    <a:pt x="335" y="29"/>
                  </a:cubicBezTo>
                  <a:cubicBezTo>
                    <a:pt x="335" y="29"/>
                    <a:pt x="328" y="29"/>
                    <a:pt x="319" y="29"/>
                  </a:cubicBezTo>
                  <a:cubicBezTo>
                    <a:pt x="304" y="51"/>
                    <a:pt x="304" y="51"/>
                    <a:pt x="304" y="51"/>
                  </a:cubicBezTo>
                  <a:cubicBezTo>
                    <a:pt x="289" y="57"/>
                    <a:pt x="289" y="57"/>
                    <a:pt x="289" y="57"/>
                  </a:cubicBezTo>
                  <a:cubicBezTo>
                    <a:pt x="289" y="57"/>
                    <a:pt x="289" y="68"/>
                    <a:pt x="286" y="69"/>
                  </a:cubicBezTo>
                  <a:cubicBezTo>
                    <a:pt x="283" y="70"/>
                    <a:pt x="272" y="69"/>
                    <a:pt x="272" y="69"/>
                  </a:cubicBezTo>
                  <a:cubicBezTo>
                    <a:pt x="266" y="74"/>
                    <a:pt x="266" y="74"/>
                    <a:pt x="266" y="74"/>
                  </a:cubicBezTo>
                  <a:cubicBezTo>
                    <a:pt x="262" y="70"/>
                    <a:pt x="262" y="70"/>
                    <a:pt x="262" y="70"/>
                  </a:cubicBezTo>
                  <a:cubicBezTo>
                    <a:pt x="262" y="70"/>
                    <a:pt x="244" y="83"/>
                    <a:pt x="237" y="84"/>
                  </a:cubicBezTo>
                  <a:cubicBezTo>
                    <a:pt x="230" y="85"/>
                    <a:pt x="227" y="73"/>
                    <a:pt x="227" y="73"/>
                  </a:cubicBezTo>
                  <a:cubicBezTo>
                    <a:pt x="227" y="73"/>
                    <a:pt x="198" y="67"/>
                    <a:pt x="176" y="70"/>
                  </a:cubicBezTo>
                  <a:cubicBezTo>
                    <a:pt x="154" y="73"/>
                    <a:pt x="156" y="89"/>
                    <a:pt x="156" y="89"/>
                  </a:cubicBezTo>
                  <a:cubicBezTo>
                    <a:pt x="171" y="99"/>
                    <a:pt x="171" y="99"/>
                    <a:pt x="171" y="99"/>
                  </a:cubicBezTo>
                  <a:cubicBezTo>
                    <a:pt x="167" y="108"/>
                    <a:pt x="167" y="108"/>
                    <a:pt x="167" y="108"/>
                  </a:cubicBezTo>
                  <a:cubicBezTo>
                    <a:pt x="187" y="112"/>
                    <a:pt x="187" y="112"/>
                    <a:pt x="187" y="112"/>
                  </a:cubicBezTo>
                  <a:cubicBezTo>
                    <a:pt x="187" y="112"/>
                    <a:pt x="178" y="120"/>
                    <a:pt x="175" y="130"/>
                  </a:cubicBezTo>
                  <a:cubicBezTo>
                    <a:pt x="172" y="140"/>
                    <a:pt x="186" y="141"/>
                    <a:pt x="186" y="141"/>
                  </a:cubicBezTo>
                  <a:cubicBezTo>
                    <a:pt x="186" y="141"/>
                    <a:pt x="185" y="149"/>
                    <a:pt x="184" y="157"/>
                  </a:cubicBezTo>
                  <a:cubicBezTo>
                    <a:pt x="183" y="165"/>
                    <a:pt x="194" y="162"/>
                    <a:pt x="194" y="162"/>
                  </a:cubicBezTo>
                  <a:cubicBezTo>
                    <a:pt x="202" y="172"/>
                    <a:pt x="202" y="172"/>
                    <a:pt x="202" y="172"/>
                  </a:cubicBezTo>
                  <a:cubicBezTo>
                    <a:pt x="216" y="173"/>
                    <a:pt x="216" y="173"/>
                    <a:pt x="216" y="173"/>
                  </a:cubicBezTo>
                  <a:cubicBezTo>
                    <a:pt x="219" y="196"/>
                    <a:pt x="219" y="196"/>
                    <a:pt x="219" y="196"/>
                  </a:cubicBezTo>
                  <a:cubicBezTo>
                    <a:pt x="243" y="195"/>
                    <a:pt x="243" y="195"/>
                    <a:pt x="243" y="195"/>
                  </a:cubicBezTo>
                  <a:cubicBezTo>
                    <a:pt x="243" y="195"/>
                    <a:pt x="255" y="200"/>
                    <a:pt x="256" y="209"/>
                  </a:cubicBezTo>
                  <a:cubicBezTo>
                    <a:pt x="257" y="218"/>
                    <a:pt x="228" y="222"/>
                    <a:pt x="224" y="224"/>
                  </a:cubicBezTo>
                  <a:cubicBezTo>
                    <a:pt x="220" y="226"/>
                    <a:pt x="223" y="240"/>
                    <a:pt x="223" y="244"/>
                  </a:cubicBezTo>
                  <a:cubicBezTo>
                    <a:pt x="223" y="248"/>
                    <a:pt x="235" y="268"/>
                    <a:pt x="235" y="268"/>
                  </a:cubicBezTo>
                  <a:cubicBezTo>
                    <a:pt x="217" y="281"/>
                    <a:pt x="217" y="281"/>
                    <a:pt x="217" y="281"/>
                  </a:cubicBezTo>
                  <a:cubicBezTo>
                    <a:pt x="200" y="305"/>
                    <a:pt x="200" y="305"/>
                    <a:pt x="200" y="305"/>
                  </a:cubicBezTo>
                  <a:cubicBezTo>
                    <a:pt x="211" y="322"/>
                    <a:pt x="211" y="322"/>
                    <a:pt x="211" y="322"/>
                  </a:cubicBezTo>
                  <a:cubicBezTo>
                    <a:pt x="211" y="322"/>
                    <a:pt x="192" y="323"/>
                    <a:pt x="188" y="332"/>
                  </a:cubicBezTo>
                  <a:cubicBezTo>
                    <a:pt x="184" y="341"/>
                    <a:pt x="187" y="359"/>
                    <a:pt x="179" y="372"/>
                  </a:cubicBezTo>
                  <a:cubicBezTo>
                    <a:pt x="171" y="385"/>
                    <a:pt x="155" y="388"/>
                    <a:pt x="151" y="391"/>
                  </a:cubicBezTo>
                  <a:cubicBezTo>
                    <a:pt x="147" y="394"/>
                    <a:pt x="146" y="414"/>
                    <a:pt x="146" y="414"/>
                  </a:cubicBezTo>
                  <a:cubicBezTo>
                    <a:pt x="137" y="419"/>
                    <a:pt x="137" y="419"/>
                    <a:pt x="137" y="419"/>
                  </a:cubicBezTo>
                  <a:cubicBezTo>
                    <a:pt x="137" y="419"/>
                    <a:pt x="136" y="429"/>
                    <a:pt x="129" y="437"/>
                  </a:cubicBezTo>
                  <a:cubicBezTo>
                    <a:pt x="122" y="445"/>
                    <a:pt x="107" y="437"/>
                    <a:pt x="107" y="437"/>
                  </a:cubicBezTo>
                  <a:cubicBezTo>
                    <a:pt x="107" y="437"/>
                    <a:pt x="102" y="445"/>
                    <a:pt x="89" y="447"/>
                  </a:cubicBezTo>
                  <a:cubicBezTo>
                    <a:pt x="76" y="449"/>
                    <a:pt x="84" y="432"/>
                    <a:pt x="70" y="434"/>
                  </a:cubicBezTo>
                  <a:cubicBezTo>
                    <a:pt x="56" y="436"/>
                    <a:pt x="57" y="450"/>
                    <a:pt x="57" y="450"/>
                  </a:cubicBezTo>
                  <a:cubicBezTo>
                    <a:pt x="57" y="450"/>
                    <a:pt x="50" y="462"/>
                    <a:pt x="42" y="469"/>
                  </a:cubicBezTo>
                  <a:cubicBezTo>
                    <a:pt x="34" y="476"/>
                    <a:pt x="33" y="476"/>
                    <a:pt x="33" y="493"/>
                  </a:cubicBezTo>
                  <a:cubicBezTo>
                    <a:pt x="33" y="510"/>
                    <a:pt x="48" y="508"/>
                    <a:pt x="48" y="508"/>
                  </a:cubicBezTo>
                  <a:cubicBezTo>
                    <a:pt x="66" y="506"/>
                    <a:pt x="66" y="506"/>
                    <a:pt x="66" y="506"/>
                  </a:cubicBezTo>
                  <a:cubicBezTo>
                    <a:pt x="67" y="516"/>
                    <a:pt x="67" y="516"/>
                    <a:pt x="67" y="516"/>
                  </a:cubicBezTo>
                  <a:cubicBezTo>
                    <a:pt x="65" y="536"/>
                    <a:pt x="65" y="536"/>
                    <a:pt x="65" y="536"/>
                  </a:cubicBezTo>
                  <a:cubicBezTo>
                    <a:pt x="65" y="536"/>
                    <a:pt x="67" y="544"/>
                    <a:pt x="74" y="551"/>
                  </a:cubicBezTo>
                  <a:cubicBezTo>
                    <a:pt x="81" y="558"/>
                    <a:pt x="97" y="558"/>
                    <a:pt x="97" y="558"/>
                  </a:cubicBezTo>
                  <a:cubicBezTo>
                    <a:pt x="97" y="573"/>
                    <a:pt x="97" y="573"/>
                    <a:pt x="97" y="573"/>
                  </a:cubicBezTo>
                  <a:cubicBezTo>
                    <a:pt x="111" y="601"/>
                    <a:pt x="111" y="601"/>
                    <a:pt x="111" y="601"/>
                  </a:cubicBezTo>
                  <a:cubicBezTo>
                    <a:pt x="111" y="601"/>
                    <a:pt x="122" y="616"/>
                    <a:pt x="120" y="625"/>
                  </a:cubicBezTo>
                  <a:cubicBezTo>
                    <a:pt x="118" y="634"/>
                    <a:pt x="109" y="635"/>
                    <a:pt x="98" y="635"/>
                  </a:cubicBezTo>
                  <a:cubicBezTo>
                    <a:pt x="87" y="635"/>
                    <a:pt x="97" y="624"/>
                    <a:pt x="86" y="626"/>
                  </a:cubicBezTo>
                  <a:cubicBezTo>
                    <a:pt x="75" y="628"/>
                    <a:pt x="77" y="638"/>
                    <a:pt x="63" y="638"/>
                  </a:cubicBezTo>
                  <a:cubicBezTo>
                    <a:pt x="49" y="638"/>
                    <a:pt x="52" y="630"/>
                    <a:pt x="52" y="630"/>
                  </a:cubicBezTo>
                  <a:cubicBezTo>
                    <a:pt x="35" y="636"/>
                    <a:pt x="35" y="636"/>
                    <a:pt x="35" y="636"/>
                  </a:cubicBezTo>
                  <a:cubicBezTo>
                    <a:pt x="35" y="636"/>
                    <a:pt x="26" y="629"/>
                    <a:pt x="15" y="630"/>
                  </a:cubicBezTo>
                  <a:cubicBezTo>
                    <a:pt x="4" y="631"/>
                    <a:pt x="13" y="647"/>
                    <a:pt x="13" y="647"/>
                  </a:cubicBezTo>
                  <a:cubicBezTo>
                    <a:pt x="0" y="652"/>
                    <a:pt x="0" y="652"/>
                    <a:pt x="0" y="652"/>
                  </a:cubicBezTo>
                  <a:cubicBezTo>
                    <a:pt x="11" y="653"/>
                    <a:pt x="23" y="653"/>
                    <a:pt x="23" y="653"/>
                  </a:cubicBezTo>
                  <a:cubicBezTo>
                    <a:pt x="23" y="653"/>
                    <a:pt x="13" y="677"/>
                    <a:pt x="26" y="686"/>
                  </a:cubicBezTo>
                  <a:cubicBezTo>
                    <a:pt x="38" y="696"/>
                    <a:pt x="71" y="699"/>
                    <a:pt x="78" y="697"/>
                  </a:cubicBezTo>
                  <a:cubicBezTo>
                    <a:pt x="84" y="695"/>
                    <a:pt x="108" y="678"/>
                    <a:pt x="108" y="678"/>
                  </a:cubicBezTo>
                  <a:cubicBezTo>
                    <a:pt x="108" y="678"/>
                    <a:pt x="118" y="690"/>
                    <a:pt x="106" y="701"/>
                  </a:cubicBezTo>
                  <a:cubicBezTo>
                    <a:pt x="94" y="712"/>
                    <a:pt x="70" y="719"/>
                    <a:pt x="70" y="719"/>
                  </a:cubicBezTo>
                  <a:cubicBezTo>
                    <a:pt x="70" y="719"/>
                    <a:pt x="32" y="724"/>
                    <a:pt x="30" y="735"/>
                  </a:cubicBezTo>
                  <a:cubicBezTo>
                    <a:pt x="28" y="746"/>
                    <a:pt x="58" y="770"/>
                    <a:pt x="70" y="779"/>
                  </a:cubicBezTo>
                  <a:cubicBezTo>
                    <a:pt x="83" y="788"/>
                    <a:pt x="106" y="816"/>
                    <a:pt x="136" y="818"/>
                  </a:cubicBezTo>
                  <a:cubicBezTo>
                    <a:pt x="167" y="821"/>
                    <a:pt x="205" y="794"/>
                    <a:pt x="201" y="775"/>
                  </a:cubicBezTo>
                  <a:cubicBezTo>
                    <a:pt x="197" y="757"/>
                    <a:pt x="207" y="742"/>
                    <a:pt x="217" y="733"/>
                  </a:cubicBezTo>
                  <a:cubicBezTo>
                    <a:pt x="226" y="723"/>
                    <a:pt x="248" y="718"/>
                    <a:pt x="238" y="735"/>
                  </a:cubicBezTo>
                  <a:cubicBezTo>
                    <a:pt x="229" y="752"/>
                    <a:pt x="206" y="767"/>
                    <a:pt x="213" y="781"/>
                  </a:cubicBezTo>
                  <a:cubicBezTo>
                    <a:pt x="220" y="795"/>
                    <a:pt x="238" y="793"/>
                    <a:pt x="238" y="808"/>
                  </a:cubicBezTo>
                  <a:cubicBezTo>
                    <a:pt x="237" y="822"/>
                    <a:pt x="233" y="838"/>
                    <a:pt x="227" y="861"/>
                  </a:cubicBezTo>
                  <a:cubicBezTo>
                    <a:pt x="220" y="885"/>
                    <a:pt x="220" y="907"/>
                    <a:pt x="227" y="936"/>
                  </a:cubicBezTo>
                  <a:cubicBezTo>
                    <a:pt x="235" y="964"/>
                    <a:pt x="247" y="1014"/>
                    <a:pt x="258" y="1029"/>
                  </a:cubicBezTo>
                  <a:cubicBezTo>
                    <a:pt x="269" y="1045"/>
                    <a:pt x="272" y="1039"/>
                    <a:pt x="267" y="1062"/>
                  </a:cubicBezTo>
                  <a:cubicBezTo>
                    <a:pt x="262" y="1085"/>
                    <a:pt x="299" y="1092"/>
                    <a:pt x="299" y="1092"/>
                  </a:cubicBezTo>
                  <a:cubicBezTo>
                    <a:pt x="299" y="1092"/>
                    <a:pt x="304" y="1124"/>
                    <a:pt x="312" y="1135"/>
                  </a:cubicBezTo>
                  <a:cubicBezTo>
                    <a:pt x="321" y="1147"/>
                    <a:pt x="339" y="1156"/>
                    <a:pt x="339" y="1156"/>
                  </a:cubicBezTo>
                  <a:cubicBezTo>
                    <a:pt x="339" y="1156"/>
                    <a:pt x="344" y="1222"/>
                    <a:pt x="354" y="1252"/>
                  </a:cubicBezTo>
                  <a:cubicBezTo>
                    <a:pt x="365" y="1282"/>
                    <a:pt x="402" y="1323"/>
                    <a:pt x="407" y="1335"/>
                  </a:cubicBezTo>
                  <a:cubicBezTo>
                    <a:pt x="412" y="1348"/>
                    <a:pt x="414" y="1374"/>
                    <a:pt x="413" y="1386"/>
                  </a:cubicBezTo>
                  <a:cubicBezTo>
                    <a:pt x="411" y="1398"/>
                    <a:pt x="479" y="1502"/>
                    <a:pt x="479" y="1502"/>
                  </a:cubicBezTo>
                  <a:cubicBezTo>
                    <a:pt x="479" y="1502"/>
                    <a:pt x="512" y="1493"/>
                    <a:pt x="518" y="1484"/>
                  </a:cubicBezTo>
                  <a:cubicBezTo>
                    <a:pt x="523" y="1474"/>
                    <a:pt x="515" y="1452"/>
                    <a:pt x="526" y="1445"/>
                  </a:cubicBezTo>
                  <a:cubicBezTo>
                    <a:pt x="536" y="1438"/>
                    <a:pt x="540" y="1446"/>
                    <a:pt x="550" y="1443"/>
                  </a:cubicBezTo>
                  <a:cubicBezTo>
                    <a:pt x="561" y="1440"/>
                    <a:pt x="578" y="1427"/>
                    <a:pt x="578" y="1427"/>
                  </a:cubicBezTo>
                  <a:cubicBezTo>
                    <a:pt x="578" y="1427"/>
                    <a:pt x="563" y="1431"/>
                    <a:pt x="566" y="1414"/>
                  </a:cubicBezTo>
                  <a:cubicBezTo>
                    <a:pt x="568" y="1397"/>
                    <a:pt x="575" y="1394"/>
                    <a:pt x="587" y="1388"/>
                  </a:cubicBezTo>
                  <a:cubicBezTo>
                    <a:pt x="599" y="1382"/>
                    <a:pt x="613" y="1379"/>
                    <a:pt x="613" y="1371"/>
                  </a:cubicBezTo>
                  <a:cubicBezTo>
                    <a:pt x="614" y="1362"/>
                    <a:pt x="601" y="1330"/>
                    <a:pt x="601" y="1311"/>
                  </a:cubicBezTo>
                  <a:cubicBezTo>
                    <a:pt x="600" y="1293"/>
                    <a:pt x="599" y="1264"/>
                    <a:pt x="605" y="1261"/>
                  </a:cubicBezTo>
                  <a:cubicBezTo>
                    <a:pt x="612" y="1257"/>
                    <a:pt x="609" y="1249"/>
                    <a:pt x="610" y="1217"/>
                  </a:cubicBezTo>
                  <a:cubicBezTo>
                    <a:pt x="612" y="1185"/>
                    <a:pt x="592" y="1185"/>
                    <a:pt x="590" y="1172"/>
                  </a:cubicBezTo>
                  <a:cubicBezTo>
                    <a:pt x="588" y="1160"/>
                    <a:pt x="598" y="1154"/>
                    <a:pt x="599" y="1142"/>
                  </a:cubicBezTo>
                  <a:cubicBezTo>
                    <a:pt x="601" y="1130"/>
                    <a:pt x="594" y="1123"/>
                    <a:pt x="594" y="1107"/>
                  </a:cubicBezTo>
                  <a:cubicBezTo>
                    <a:pt x="595" y="1091"/>
                    <a:pt x="631" y="1089"/>
                    <a:pt x="631" y="1082"/>
                  </a:cubicBezTo>
                  <a:cubicBezTo>
                    <a:pt x="631" y="1075"/>
                    <a:pt x="631" y="1059"/>
                    <a:pt x="638" y="1054"/>
                  </a:cubicBezTo>
                  <a:cubicBezTo>
                    <a:pt x="646" y="1049"/>
                    <a:pt x="660" y="1050"/>
                    <a:pt x="660" y="1050"/>
                  </a:cubicBezTo>
                  <a:cubicBezTo>
                    <a:pt x="663" y="1044"/>
                    <a:pt x="663" y="1044"/>
                    <a:pt x="663" y="1044"/>
                  </a:cubicBezTo>
                  <a:cubicBezTo>
                    <a:pt x="663" y="1044"/>
                    <a:pt x="686" y="1055"/>
                    <a:pt x="688" y="1044"/>
                  </a:cubicBezTo>
                  <a:cubicBezTo>
                    <a:pt x="690" y="1033"/>
                    <a:pt x="709" y="998"/>
                    <a:pt x="715" y="988"/>
                  </a:cubicBezTo>
                  <a:cubicBezTo>
                    <a:pt x="722" y="979"/>
                    <a:pt x="744" y="980"/>
                    <a:pt x="751" y="966"/>
                  </a:cubicBezTo>
                  <a:cubicBezTo>
                    <a:pt x="758" y="953"/>
                    <a:pt x="769" y="925"/>
                    <a:pt x="779" y="916"/>
                  </a:cubicBezTo>
                  <a:cubicBezTo>
                    <a:pt x="788" y="906"/>
                    <a:pt x="827" y="886"/>
                    <a:pt x="827" y="886"/>
                  </a:cubicBezTo>
                  <a:cubicBezTo>
                    <a:pt x="820" y="866"/>
                    <a:pt x="820" y="866"/>
                    <a:pt x="820" y="866"/>
                  </a:cubicBezTo>
                  <a:cubicBezTo>
                    <a:pt x="826" y="861"/>
                    <a:pt x="826" y="861"/>
                    <a:pt x="826" y="861"/>
                  </a:cubicBezTo>
                  <a:cubicBezTo>
                    <a:pt x="839" y="880"/>
                    <a:pt x="839" y="880"/>
                    <a:pt x="839" y="880"/>
                  </a:cubicBezTo>
                  <a:cubicBezTo>
                    <a:pt x="880" y="841"/>
                    <a:pt x="880" y="841"/>
                    <a:pt x="880" y="841"/>
                  </a:cubicBezTo>
                  <a:cubicBezTo>
                    <a:pt x="887" y="823"/>
                    <a:pt x="887" y="823"/>
                    <a:pt x="887" y="823"/>
                  </a:cubicBezTo>
                  <a:cubicBezTo>
                    <a:pt x="887" y="823"/>
                    <a:pt x="873" y="806"/>
                    <a:pt x="873" y="795"/>
                  </a:cubicBezTo>
                  <a:cubicBezTo>
                    <a:pt x="874" y="784"/>
                    <a:pt x="897" y="788"/>
                    <a:pt x="909" y="773"/>
                  </a:cubicBezTo>
                  <a:cubicBezTo>
                    <a:pt x="921" y="757"/>
                    <a:pt x="917" y="744"/>
                    <a:pt x="917" y="744"/>
                  </a:cubicBezTo>
                  <a:cubicBezTo>
                    <a:pt x="928" y="749"/>
                    <a:pt x="928" y="749"/>
                    <a:pt x="928" y="749"/>
                  </a:cubicBezTo>
                  <a:cubicBezTo>
                    <a:pt x="934" y="767"/>
                    <a:pt x="934" y="767"/>
                    <a:pt x="934" y="767"/>
                  </a:cubicBezTo>
                  <a:cubicBezTo>
                    <a:pt x="942" y="744"/>
                    <a:pt x="942" y="744"/>
                    <a:pt x="942" y="744"/>
                  </a:cubicBezTo>
                  <a:cubicBezTo>
                    <a:pt x="942" y="744"/>
                    <a:pt x="950" y="786"/>
                    <a:pt x="957" y="789"/>
                  </a:cubicBezTo>
                  <a:cubicBezTo>
                    <a:pt x="965" y="791"/>
                    <a:pt x="968" y="763"/>
                    <a:pt x="968" y="763"/>
                  </a:cubicBezTo>
                  <a:cubicBezTo>
                    <a:pt x="970" y="745"/>
                    <a:pt x="970" y="745"/>
                    <a:pt x="970" y="745"/>
                  </a:cubicBezTo>
                  <a:cubicBezTo>
                    <a:pt x="958" y="717"/>
                    <a:pt x="958" y="717"/>
                    <a:pt x="958" y="717"/>
                  </a:cubicBezTo>
                  <a:cubicBezTo>
                    <a:pt x="959" y="697"/>
                    <a:pt x="959" y="697"/>
                    <a:pt x="959" y="697"/>
                  </a:cubicBezTo>
                  <a:cubicBezTo>
                    <a:pt x="939" y="681"/>
                    <a:pt x="939" y="681"/>
                    <a:pt x="939" y="681"/>
                  </a:cubicBezTo>
                  <a:cubicBezTo>
                    <a:pt x="930" y="661"/>
                    <a:pt x="930" y="661"/>
                    <a:pt x="930" y="661"/>
                  </a:cubicBezTo>
                  <a:cubicBezTo>
                    <a:pt x="930" y="661"/>
                    <a:pt x="939" y="653"/>
                    <a:pt x="942" y="637"/>
                  </a:cubicBezTo>
                  <a:cubicBezTo>
                    <a:pt x="945" y="621"/>
                    <a:pt x="918" y="627"/>
                    <a:pt x="908" y="617"/>
                  </a:cubicBezTo>
                  <a:cubicBezTo>
                    <a:pt x="898" y="607"/>
                    <a:pt x="917" y="604"/>
                    <a:pt x="917" y="604"/>
                  </a:cubicBezTo>
                  <a:cubicBezTo>
                    <a:pt x="917" y="585"/>
                    <a:pt x="917" y="585"/>
                    <a:pt x="917" y="585"/>
                  </a:cubicBezTo>
                  <a:cubicBezTo>
                    <a:pt x="939" y="584"/>
                    <a:pt x="939" y="584"/>
                    <a:pt x="939" y="584"/>
                  </a:cubicBezTo>
                  <a:cubicBezTo>
                    <a:pt x="938" y="576"/>
                    <a:pt x="938" y="576"/>
                    <a:pt x="938" y="576"/>
                  </a:cubicBezTo>
                  <a:cubicBezTo>
                    <a:pt x="921" y="565"/>
                    <a:pt x="921" y="565"/>
                    <a:pt x="921" y="565"/>
                  </a:cubicBezTo>
                  <a:cubicBezTo>
                    <a:pt x="921" y="565"/>
                    <a:pt x="899" y="557"/>
                    <a:pt x="897" y="546"/>
                  </a:cubicBezTo>
                  <a:cubicBezTo>
                    <a:pt x="895" y="535"/>
                    <a:pt x="906" y="523"/>
                    <a:pt x="906" y="523"/>
                  </a:cubicBezTo>
                  <a:cubicBezTo>
                    <a:pt x="901" y="511"/>
                    <a:pt x="901" y="511"/>
                    <a:pt x="901" y="511"/>
                  </a:cubicBezTo>
                  <a:cubicBezTo>
                    <a:pt x="912" y="514"/>
                    <a:pt x="912" y="514"/>
                    <a:pt x="912" y="514"/>
                  </a:cubicBezTo>
                  <a:cubicBezTo>
                    <a:pt x="928" y="522"/>
                    <a:pt x="928" y="522"/>
                    <a:pt x="928" y="522"/>
                  </a:cubicBezTo>
                  <a:cubicBezTo>
                    <a:pt x="925" y="515"/>
                    <a:pt x="925" y="515"/>
                    <a:pt x="925" y="515"/>
                  </a:cubicBezTo>
                  <a:cubicBezTo>
                    <a:pt x="936" y="514"/>
                    <a:pt x="936" y="514"/>
                    <a:pt x="936" y="514"/>
                  </a:cubicBezTo>
                  <a:cubicBezTo>
                    <a:pt x="936" y="514"/>
                    <a:pt x="939" y="526"/>
                    <a:pt x="945" y="532"/>
                  </a:cubicBezTo>
                  <a:cubicBezTo>
                    <a:pt x="951" y="538"/>
                    <a:pt x="961" y="540"/>
                    <a:pt x="961" y="540"/>
                  </a:cubicBezTo>
                  <a:cubicBezTo>
                    <a:pt x="962" y="528"/>
                    <a:pt x="962" y="528"/>
                    <a:pt x="962" y="528"/>
                  </a:cubicBezTo>
                  <a:cubicBezTo>
                    <a:pt x="962" y="528"/>
                    <a:pt x="968" y="531"/>
                    <a:pt x="972" y="534"/>
                  </a:cubicBezTo>
                  <a:cubicBezTo>
                    <a:pt x="976" y="537"/>
                    <a:pt x="976" y="555"/>
                    <a:pt x="976" y="555"/>
                  </a:cubicBezTo>
                  <a:cubicBezTo>
                    <a:pt x="980" y="557"/>
                    <a:pt x="980" y="557"/>
                    <a:pt x="980" y="557"/>
                  </a:cubicBezTo>
                  <a:cubicBezTo>
                    <a:pt x="980" y="557"/>
                    <a:pt x="981" y="577"/>
                    <a:pt x="981" y="580"/>
                  </a:cubicBezTo>
                  <a:cubicBezTo>
                    <a:pt x="981" y="583"/>
                    <a:pt x="998" y="586"/>
                    <a:pt x="1008" y="586"/>
                  </a:cubicBezTo>
                  <a:cubicBezTo>
                    <a:pt x="1018" y="586"/>
                    <a:pt x="1049" y="590"/>
                    <a:pt x="1049" y="590"/>
                  </a:cubicBezTo>
                  <a:cubicBezTo>
                    <a:pt x="1079" y="579"/>
                    <a:pt x="1079" y="579"/>
                    <a:pt x="1079" y="579"/>
                  </a:cubicBezTo>
                  <a:cubicBezTo>
                    <a:pt x="1079" y="579"/>
                    <a:pt x="1101" y="587"/>
                    <a:pt x="1101" y="597"/>
                  </a:cubicBezTo>
                  <a:cubicBezTo>
                    <a:pt x="1101" y="607"/>
                    <a:pt x="1091" y="603"/>
                    <a:pt x="1091" y="603"/>
                  </a:cubicBezTo>
                  <a:cubicBezTo>
                    <a:pt x="1091" y="603"/>
                    <a:pt x="1091" y="612"/>
                    <a:pt x="1088" y="626"/>
                  </a:cubicBezTo>
                  <a:cubicBezTo>
                    <a:pt x="1085" y="640"/>
                    <a:pt x="1071" y="638"/>
                    <a:pt x="1063" y="641"/>
                  </a:cubicBezTo>
                  <a:cubicBezTo>
                    <a:pt x="1055" y="644"/>
                    <a:pt x="1053" y="654"/>
                    <a:pt x="1053" y="670"/>
                  </a:cubicBezTo>
                  <a:cubicBezTo>
                    <a:pt x="1053" y="686"/>
                    <a:pt x="1073" y="689"/>
                    <a:pt x="1073" y="689"/>
                  </a:cubicBezTo>
                  <a:cubicBezTo>
                    <a:pt x="1082" y="704"/>
                    <a:pt x="1082" y="704"/>
                    <a:pt x="1082" y="704"/>
                  </a:cubicBezTo>
                  <a:cubicBezTo>
                    <a:pt x="1089" y="681"/>
                    <a:pt x="1089" y="681"/>
                    <a:pt x="1089" y="681"/>
                  </a:cubicBezTo>
                  <a:cubicBezTo>
                    <a:pt x="1089" y="681"/>
                    <a:pt x="1081" y="660"/>
                    <a:pt x="1099" y="664"/>
                  </a:cubicBezTo>
                  <a:cubicBezTo>
                    <a:pt x="1117" y="668"/>
                    <a:pt x="1111" y="687"/>
                    <a:pt x="1115" y="698"/>
                  </a:cubicBezTo>
                  <a:cubicBezTo>
                    <a:pt x="1119" y="709"/>
                    <a:pt x="1135" y="748"/>
                    <a:pt x="1135" y="748"/>
                  </a:cubicBezTo>
                  <a:cubicBezTo>
                    <a:pt x="1149" y="760"/>
                    <a:pt x="1149" y="760"/>
                    <a:pt x="1149" y="760"/>
                  </a:cubicBezTo>
                  <a:cubicBezTo>
                    <a:pt x="1149" y="760"/>
                    <a:pt x="1148" y="752"/>
                    <a:pt x="1148" y="746"/>
                  </a:cubicBezTo>
                  <a:cubicBezTo>
                    <a:pt x="1148" y="740"/>
                    <a:pt x="1152" y="752"/>
                    <a:pt x="1161" y="750"/>
                  </a:cubicBezTo>
                  <a:cubicBezTo>
                    <a:pt x="1170" y="748"/>
                    <a:pt x="1160" y="736"/>
                    <a:pt x="1156" y="732"/>
                  </a:cubicBezTo>
                  <a:cubicBezTo>
                    <a:pt x="1152" y="728"/>
                    <a:pt x="1152" y="714"/>
                    <a:pt x="1149" y="705"/>
                  </a:cubicBezTo>
                  <a:cubicBezTo>
                    <a:pt x="1146" y="696"/>
                    <a:pt x="1163" y="694"/>
                    <a:pt x="1163" y="694"/>
                  </a:cubicBezTo>
                  <a:cubicBezTo>
                    <a:pt x="1161" y="661"/>
                    <a:pt x="1161" y="661"/>
                    <a:pt x="1161" y="661"/>
                  </a:cubicBezTo>
                  <a:cubicBezTo>
                    <a:pt x="1161" y="661"/>
                    <a:pt x="1147" y="650"/>
                    <a:pt x="1143" y="648"/>
                  </a:cubicBezTo>
                  <a:cubicBezTo>
                    <a:pt x="1139" y="646"/>
                    <a:pt x="1164" y="647"/>
                    <a:pt x="1168" y="648"/>
                  </a:cubicBezTo>
                  <a:cubicBezTo>
                    <a:pt x="1172" y="649"/>
                    <a:pt x="1197" y="653"/>
                    <a:pt x="1197" y="653"/>
                  </a:cubicBezTo>
                  <a:cubicBezTo>
                    <a:pt x="1197" y="629"/>
                    <a:pt x="1197" y="629"/>
                    <a:pt x="1197" y="629"/>
                  </a:cubicBezTo>
                  <a:cubicBezTo>
                    <a:pt x="1209" y="594"/>
                    <a:pt x="1209" y="594"/>
                    <a:pt x="1209" y="594"/>
                  </a:cubicBezTo>
                  <a:cubicBezTo>
                    <a:pt x="1209" y="594"/>
                    <a:pt x="1199" y="586"/>
                    <a:pt x="1199" y="576"/>
                  </a:cubicBezTo>
                  <a:cubicBezTo>
                    <a:pt x="1199" y="566"/>
                    <a:pt x="1213" y="562"/>
                    <a:pt x="1213" y="562"/>
                  </a:cubicBezTo>
                  <a:cubicBezTo>
                    <a:pt x="1225" y="541"/>
                    <a:pt x="1225" y="541"/>
                    <a:pt x="1225" y="541"/>
                  </a:cubicBezTo>
                  <a:cubicBezTo>
                    <a:pt x="1225" y="541"/>
                    <a:pt x="1219" y="530"/>
                    <a:pt x="1218" y="525"/>
                  </a:cubicBezTo>
                  <a:cubicBezTo>
                    <a:pt x="1217" y="520"/>
                    <a:pt x="1215" y="506"/>
                    <a:pt x="1215" y="506"/>
                  </a:cubicBezTo>
                  <a:cubicBezTo>
                    <a:pt x="1215" y="506"/>
                    <a:pt x="1226" y="501"/>
                    <a:pt x="1238" y="497"/>
                  </a:cubicBezTo>
                  <a:cubicBezTo>
                    <a:pt x="1250" y="493"/>
                    <a:pt x="1245" y="478"/>
                    <a:pt x="1253" y="476"/>
                  </a:cubicBezTo>
                  <a:cubicBezTo>
                    <a:pt x="1261" y="474"/>
                    <a:pt x="1276" y="473"/>
                    <a:pt x="1276" y="473"/>
                  </a:cubicBezTo>
                  <a:cubicBezTo>
                    <a:pt x="1276" y="473"/>
                    <a:pt x="1299" y="481"/>
                    <a:pt x="1301" y="477"/>
                  </a:cubicBezTo>
                  <a:cubicBezTo>
                    <a:pt x="1303" y="473"/>
                    <a:pt x="1280" y="463"/>
                    <a:pt x="1280" y="454"/>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01" name="Georgia">
              <a:extLst>
                <a:ext uri="{FF2B5EF4-FFF2-40B4-BE49-F238E27FC236}">
                  <a16:creationId xmlns:a16="http://schemas.microsoft.com/office/drawing/2014/main" id="{F69CF275-D623-4D13-A20F-E9601EDC1211}"/>
                </a:ext>
              </a:extLst>
            </p:cNvPr>
            <p:cNvSpPr>
              <a:spLocks/>
            </p:cNvSpPr>
            <p:nvPr/>
          </p:nvSpPr>
          <p:spPr bwMode="gray">
            <a:xfrm>
              <a:off x="6600619" y="2772885"/>
              <a:ext cx="173067" cy="80926"/>
            </a:xfrm>
            <a:custGeom>
              <a:avLst/>
              <a:gdLst>
                <a:gd name="T0" fmla="*/ 4 w 308"/>
                <a:gd name="T1" fmla="*/ 12 h 144"/>
                <a:gd name="T2" fmla="*/ 52 w 308"/>
                <a:gd name="T3" fmla="*/ 37 h 144"/>
                <a:gd name="T4" fmla="*/ 75 w 308"/>
                <a:gd name="T5" fmla="*/ 54 h 144"/>
                <a:gd name="T6" fmla="*/ 79 w 308"/>
                <a:gd name="T7" fmla="*/ 85 h 144"/>
                <a:gd name="T8" fmla="*/ 92 w 308"/>
                <a:gd name="T9" fmla="*/ 103 h 144"/>
                <a:gd name="T10" fmla="*/ 85 w 308"/>
                <a:gd name="T11" fmla="*/ 110 h 144"/>
                <a:gd name="T12" fmla="*/ 111 w 308"/>
                <a:gd name="T13" fmla="*/ 115 h 144"/>
                <a:gd name="T14" fmla="*/ 131 w 308"/>
                <a:gd name="T15" fmla="*/ 108 h 144"/>
                <a:gd name="T16" fmla="*/ 147 w 308"/>
                <a:gd name="T17" fmla="*/ 126 h 144"/>
                <a:gd name="T18" fmla="*/ 164 w 308"/>
                <a:gd name="T19" fmla="*/ 126 h 144"/>
                <a:gd name="T20" fmla="*/ 166 w 308"/>
                <a:gd name="T21" fmla="*/ 134 h 144"/>
                <a:gd name="T22" fmla="*/ 183 w 308"/>
                <a:gd name="T23" fmla="*/ 133 h 144"/>
                <a:gd name="T24" fmla="*/ 188 w 308"/>
                <a:gd name="T25" fmla="*/ 126 h 144"/>
                <a:gd name="T26" fmla="*/ 221 w 308"/>
                <a:gd name="T27" fmla="*/ 130 h 144"/>
                <a:gd name="T28" fmla="*/ 227 w 308"/>
                <a:gd name="T29" fmla="*/ 120 h 144"/>
                <a:gd name="T30" fmla="*/ 235 w 308"/>
                <a:gd name="T31" fmla="*/ 123 h 144"/>
                <a:gd name="T32" fmla="*/ 235 w 308"/>
                <a:gd name="T33" fmla="*/ 123 h 144"/>
                <a:gd name="T34" fmla="*/ 250 w 308"/>
                <a:gd name="T35" fmla="*/ 112 h 144"/>
                <a:gd name="T36" fmla="*/ 261 w 308"/>
                <a:gd name="T37" fmla="*/ 120 h 144"/>
                <a:gd name="T38" fmla="*/ 275 w 308"/>
                <a:gd name="T39" fmla="*/ 130 h 144"/>
                <a:gd name="T40" fmla="*/ 289 w 308"/>
                <a:gd name="T41" fmla="*/ 127 h 144"/>
                <a:gd name="T42" fmla="*/ 306 w 308"/>
                <a:gd name="T43" fmla="*/ 134 h 144"/>
                <a:gd name="T44" fmla="*/ 287 w 308"/>
                <a:gd name="T45" fmla="*/ 113 h 144"/>
                <a:gd name="T46" fmla="*/ 278 w 308"/>
                <a:gd name="T47" fmla="*/ 97 h 144"/>
                <a:gd name="T48" fmla="*/ 286 w 308"/>
                <a:gd name="T49" fmla="*/ 93 h 144"/>
                <a:gd name="T50" fmla="*/ 251 w 308"/>
                <a:gd name="T51" fmla="*/ 75 h 144"/>
                <a:gd name="T52" fmla="*/ 256 w 308"/>
                <a:gd name="T53" fmla="*/ 58 h 144"/>
                <a:gd name="T54" fmla="*/ 236 w 308"/>
                <a:gd name="T55" fmla="*/ 55 h 144"/>
                <a:gd name="T56" fmla="*/ 208 w 308"/>
                <a:gd name="T57" fmla="*/ 42 h 144"/>
                <a:gd name="T58" fmla="*/ 179 w 308"/>
                <a:gd name="T59" fmla="*/ 53 h 144"/>
                <a:gd name="T60" fmla="*/ 160 w 308"/>
                <a:gd name="T61" fmla="*/ 42 h 144"/>
                <a:gd name="T62" fmla="*/ 128 w 308"/>
                <a:gd name="T63" fmla="*/ 22 h 144"/>
                <a:gd name="T64" fmla="*/ 95 w 308"/>
                <a:gd name="T65" fmla="*/ 18 h 144"/>
                <a:gd name="T66" fmla="*/ 54 w 308"/>
                <a:gd name="T67" fmla="*/ 10 h 144"/>
                <a:gd name="T68" fmla="*/ 13 w 308"/>
                <a:gd name="T69" fmla="*/ 0 h 144"/>
                <a:gd name="T70" fmla="*/ 0 w 308"/>
                <a:gd name="T71" fmla="*/ 11 h 144"/>
                <a:gd name="T72" fmla="*/ 4 w 308"/>
                <a:gd name="T7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44">
                  <a:moveTo>
                    <a:pt x="4" y="12"/>
                  </a:moveTo>
                  <a:cubicBezTo>
                    <a:pt x="4" y="12"/>
                    <a:pt x="44" y="34"/>
                    <a:pt x="52" y="37"/>
                  </a:cubicBezTo>
                  <a:cubicBezTo>
                    <a:pt x="60" y="40"/>
                    <a:pt x="75" y="54"/>
                    <a:pt x="75" y="54"/>
                  </a:cubicBezTo>
                  <a:cubicBezTo>
                    <a:pt x="75" y="54"/>
                    <a:pt x="79" y="82"/>
                    <a:pt x="79" y="85"/>
                  </a:cubicBezTo>
                  <a:cubicBezTo>
                    <a:pt x="79" y="88"/>
                    <a:pt x="92" y="103"/>
                    <a:pt x="92" y="103"/>
                  </a:cubicBezTo>
                  <a:cubicBezTo>
                    <a:pt x="92" y="103"/>
                    <a:pt x="90" y="105"/>
                    <a:pt x="85" y="110"/>
                  </a:cubicBezTo>
                  <a:cubicBezTo>
                    <a:pt x="111" y="115"/>
                    <a:pt x="111" y="115"/>
                    <a:pt x="111" y="115"/>
                  </a:cubicBezTo>
                  <a:cubicBezTo>
                    <a:pt x="111" y="115"/>
                    <a:pt x="117" y="105"/>
                    <a:pt x="131" y="108"/>
                  </a:cubicBezTo>
                  <a:cubicBezTo>
                    <a:pt x="145" y="111"/>
                    <a:pt x="147" y="126"/>
                    <a:pt x="147" y="126"/>
                  </a:cubicBezTo>
                  <a:cubicBezTo>
                    <a:pt x="164" y="126"/>
                    <a:pt x="164" y="126"/>
                    <a:pt x="164" y="126"/>
                  </a:cubicBezTo>
                  <a:cubicBezTo>
                    <a:pt x="164" y="126"/>
                    <a:pt x="165" y="129"/>
                    <a:pt x="166" y="134"/>
                  </a:cubicBezTo>
                  <a:cubicBezTo>
                    <a:pt x="183" y="133"/>
                    <a:pt x="183" y="133"/>
                    <a:pt x="183" y="133"/>
                  </a:cubicBezTo>
                  <a:cubicBezTo>
                    <a:pt x="188" y="126"/>
                    <a:pt x="188" y="126"/>
                    <a:pt x="188" y="126"/>
                  </a:cubicBezTo>
                  <a:cubicBezTo>
                    <a:pt x="221" y="130"/>
                    <a:pt x="221" y="130"/>
                    <a:pt x="221" y="130"/>
                  </a:cubicBezTo>
                  <a:cubicBezTo>
                    <a:pt x="221" y="130"/>
                    <a:pt x="224" y="120"/>
                    <a:pt x="227" y="120"/>
                  </a:cubicBezTo>
                  <a:cubicBezTo>
                    <a:pt x="228" y="120"/>
                    <a:pt x="232" y="121"/>
                    <a:pt x="235" y="123"/>
                  </a:cubicBezTo>
                  <a:cubicBezTo>
                    <a:pt x="235" y="123"/>
                    <a:pt x="235" y="123"/>
                    <a:pt x="235" y="123"/>
                  </a:cubicBezTo>
                  <a:cubicBezTo>
                    <a:pt x="236" y="119"/>
                    <a:pt x="240" y="111"/>
                    <a:pt x="250" y="112"/>
                  </a:cubicBezTo>
                  <a:cubicBezTo>
                    <a:pt x="263" y="113"/>
                    <a:pt x="261" y="120"/>
                    <a:pt x="261" y="120"/>
                  </a:cubicBezTo>
                  <a:cubicBezTo>
                    <a:pt x="275" y="130"/>
                    <a:pt x="275" y="130"/>
                    <a:pt x="275" y="130"/>
                  </a:cubicBezTo>
                  <a:cubicBezTo>
                    <a:pt x="275" y="130"/>
                    <a:pt x="286" y="127"/>
                    <a:pt x="289" y="127"/>
                  </a:cubicBezTo>
                  <a:cubicBezTo>
                    <a:pt x="292" y="127"/>
                    <a:pt x="304" y="144"/>
                    <a:pt x="306" y="134"/>
                  </a:cubicBezTo>
                  <a:cubicBezTo>
                    <a:pt x="308" y="124"/>
                    <a:pt x="287" y="113"/>
                    <a:pt x="287" y="113"/>
                  </a:cubicBezTo>
                  <a:cubicBezTo>
                    <a:pt x="287" y="113"/>
                    <a:pt x="272" y="102"/>
                    <a:pt x="278" y="97"/>
                  </a:cubicBezTo>
                  <a:cubicBezTo>
                    <a:pt x="280" y="95"/>
                    <a:pt x="283" y="94"/>
                    <a:pt x="286" y="93"/>
                  </a:cubicBezTo>
                  <a:cubicBezTo>
                    <a:pt x="279" y="86"/>
                    <a:pt x="268" y="76"/>
                    <a:pt x="251" y="75"/>
                  </a:cubicBezTo>
                  <a:cubicBezTo>
                    <a:pt x="251" y="76"/>
                    <a:pt x="256" y="58"/>
                    <a:pt x="256" y="58"/>
                  </a:cubicBezTo>
                  <a:cubicBezTo>
                    <a:pt x="236" y="55"/>
                    <a:pt x="236" y="55"/>
                    <a:pt x="236" y="55"/>
                  </a:cubicBezTo>
                  <a:cubicBezTo>
                    <a:pt x="236" y="55"/>
                    <a:pt x="226" y="40"/>
                    <a:pt x="208" y="42"/>
                  </a:cubicBezTo>
                  <a:cubicBezTo>
                    <a:pt x="190" y="44"/>
                    <a:pt x="198" y="53"/>
                    <a:pt x="179" y="53"/>
                  </a:cubicBezTo>
                  <a:cubicBezTo>
                    <a:pt x="160" y="53"/>
                    <a:pt x="160" y="42"/>
                    <a:pt x="160" y="42"/>
                  </a:cubicBezTo>
                  <a:cubicBezTo>
                    <a:pt x="128" y="22"/>
                    <a:pt x="128" y="22"/>
                    <a:pt x="128" y="22"/>
                  </a:cubicBezTo>
                  <a:cubicBezTo>
                    <a:pt x="128" y="22"/>
                    <a:pt x="108" y="17"/>
                    <a:pt x="95" y="18"/>
                  </a:cubicBezTo>
                  <a:cubicBezTo>
                    <a:pt x="82" y="19"/>
                    <a:pt x="70" y="17"/>
                    <a:pt x="54" y="10"/>
                  </a:cubicBezTo>
                  <a:cubicBezTo>
                    <a:pt x="38" y="3"/>
                    <a:pt x="13" y="0"/>
                    <a:pt x="13" y="0"/>
                  </a:cubicBezTo>
                  <a:cubicBezTo>
                    <a:pt x="0" y="11"/>
                    <a:pt x="0" y="11"/>
                    <a:pt x="0" y="11"/>
                  </a:cubicBezTo>
                  <a:cubicBezTo>
                    <a:pt x="3" y="12"/>
                    <a:pt x="4" y="12"/>
                    <a:pt x="4" y="12"/>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06" name="Djibouti">
              <a:extLst>
                <a:ext uri="{FF2B5EF4-FFF2-40B4-BE49-F238E27FC236}">
                  <a16:creationId xmlns:a16="http://schemas.microsoft.com/office/drawing/2014/main" id="{7D636807-03F6-4EB2-85F9-58DA31574778}"/>
                </a:ext>
              </a:extLst>
            </p:cNvPr>
            <p:cNvSpPr>
              <a:spLocks/>
            </p:cNvSpPr>
            <p:nvPr/>
          </p:nvSpPr>
          <p:spPr bwMode="gray">
            <a:xfrm>
              <a:off x="6716526" y="3701141"/>
              <a:ext cx="47633" cy="52364"/>
            </a:xfrm>
            <a:custGeom>
              <a:avLst/>
              <a:gdLst>
                <a:gd name="T0" fmla="*/ 47 w 85"/>
                <a:gd name="T1" fmla="*/ 18 h 95"/>
                <a:gd name="T2" fmla="*/ 31 w 85"/>
                <a:gd name="T3" fmla="*/ 8 h 95"/>
                <a:gd name="T4" fmla="*/ 13 w 85"/>
                <a:gd name="T5" fmla="*/ 47 h 95"/>
                <a:gd name="T6" fmla="*/ 0 w 85"/>
                <a:gd name="T7" fmla="*/ 56 h 95"/>
                <a:gd name="T8" fmla="*/ 11 w 85"/>
                <a:gd name="T9" fmla="*/ 94 h 95"/>
                <a:gd name="T10" fmla="*/ 36 w 85"/>
                <a:gd name="T11" fmla="*/ 91 h 95"/>
                <a:gd name="T12" fmla="*/ 46 w 85"/>
                <a:gd name="T13" fmla="*/ 84 h 95"/>
                <a:gd name="T14" fmla="*/ 59 w 85"/>
                <a:gd name="T15" fmla="*/ 93 h 95"/>
                <a:gd name="T16" fmla="*/ 60 w 85"/>
                <a:gd name="T17" fmla="*/ 91 h 95"/>
                <a:gd name="T18" fmla="*/ 75 w 85"/>
                <a:gd name="T19" fmla="*/ 71 h 95"/>
                <a:gd name="T20" fmla="*/ 74 w 85"/>
                <a:gd name="T21" fmla="*/ 71 h 95"/>
                <a:gd name="T22" fmla="*/ 67 w 85"/>
                <a:gd name="T23" fmla="*/ 61 h 95"/>
                <a:gd name="T24" fmla="*/ 44 w 85"/>
                <a:gd name="T25" fmla="*/ 63 h 95"/>
                <a:gd name="T26" fmla="*/ 76 w 85"/>
                <a:gd name="T27" fmla="*/ 17 h 95"/>
                <a:gd name="T28" fmla="*/ 63 w 85"/>
                <a:gd name="T29" fmla="*/ 0 h 95"/>
                <a:gd name="T30" fmla="*/ 54 w 85"/>
                <a:gd name="T31" fmla="*/ 6 h 95"/>
                <a:gd name="T32" fmla="*/ 47 w 85"/>
                <a:gd name="T33"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95">
                  <a:moveTo>
                    <a:pt x="47" y="18"/>
                  </a:moveTo>
                  <a:cubicBezTo>
                    <a:pt x="31" y="8"/>
                    <a:pt x="31" y="8"/>
                    <a:pt x="31" y="8"/>
                  </a:cubicBezTo>
                  <a:cubicBezTo>
                    <a:pt x="13" y="47"/>
                    <a:pt x="13" y="47"/>
                    <a:pt x="13" y="47"/>
                  </a:cubicBezTo>
                  <a:cubicBezTo>
                    <a:pt x="0" y="56"/>
                    <a:pt x="0" y="56"/>
                    <a:pt x="0" y="56"/>
                  </a:cubicBezTo>
                  <a:cubicBezTo>
                    <a:pt x="0" y="56"/>
                    <a:pt x="3" y="93"/>
                    <a:pt x="11" y="94"/>
                  </a:cubicBezTo>
                  <a:cubicBezTo>
                    <a:pt x="19" y="95"/>
                    <a:pt x="36" y="91"/>
                    <a:pt x="36" y="91"/>
                  </a:cubicBezTo>
                  <a:cubicBezTo>
                    <a:pt x="36" y="91"/>
                    <a:pt x="39" y="83"/>
                    <a:pt x="46" y="84"/>
                  </a:cubicBezTo>
                  <a:cubicBezTo>
                    <a:pt x="50" y="85"/>
                    <a:pt x="55" y="89"/>
                    <a:pt x="59" y="93"/>
                  </a:cubicBezTo>
                  <a:cubicBezTo>
                    <a:pt x="60" y="91"/>
                    <a:pt x="60" y="91"/>
                    <a:pt x="60" y="91"/>
                  </a:cubicBezTo>
                  <a:cubicBezTo>
                    <a:pt x="75" y="71"/>
                    <a:pt x="75" y="71"/>
                    <a:pt x="75" y="71"/>
                  </a:cubicBezTo>
                  <a:cubicBezTo>
                    <a:pt x="74" y="71"/>
                    <a:pt x="74" y="71"/>
                    <a:pt x="74" y="71"/>
                  </a:cubicBezTo>
                  <a:cubicBezTo>
                    <a:pt x="67" y="61"/>
                    <a:pt x="67" y="61"/>
                    <a:pt x="67" y="61"/>
                  </a:cubicBezTo>
                  <a:cubicBezTo>
                    <a:pt x="44" y="63"/>
                    <a:pt x="44" y="63"/>
                    <a:pt x="44" y="63"/>
                  </a:cubicBezTo>
                  <a:cubicBezTo>
                    <a:pt x="44" y="63"/>
                    <a:pt x="85" y="30"/>
                    <a:pt x="76" y="17"/>
                  </a:cubicBezTo>
                  <a:cubicBezTo>
                    <a:pt x="73" y="12"/>
                    <a:pt x="68" y="6"/>
                    <a:pt x="63" y="0"/>
                  </a:cubicBezTo>
                  <a:cubicBezTo>
                    <a:pt x="54" y="6"/>
                    <a:pt x="54" y="6"/>
                    <a:pt x="54" y="6"/>
                  </a:cubicBezTo>
                  <a:lnTo>
                    <a:pt x="47" y="18"/>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83" name="China">
              <a:extLst>
                <a:ext uri="{FF2B5EF4-FFF2-40B4-BE49-F238E27FC236}">
                  <a16:creationId xmlns:a16="http://schemas.microsoft.com/office/drawing/2014/main" id="{697073A2-E690-436F-9E57-66A2A2857DBF}"/>
                </a:ext>
              </a:extLst>
            </p:cNvPr>
            <p:cNvSpPr>
              <a:spLocks noEditPoints="1"/>
            </p:cNvSpPr>
            <p:nvPr/>
          </p:nvSpPr>
          <p:spPr bwMode="gray">
            <a:xfrm>
              <a:off x="7442141" y="2479332"/>
              <a:ext cx="1367074" cy="1053613"/>
            </a:xfrm>
            <a:custGeom>
              <a:avLst/>
              <a:gdLst>
                <a:gd name="T0" fmla="*/ 1905 w 2441"/>
                <a:gd name="T1" fmla="*/ 1857 h 1882"/>
                <a:gd name="T2" fmla="*/ 2423 w 2441"/>
                <a:gd name="T3" fmla="*/ 352 h 1882"/>
                <a:gd name="T4" fmla="*/ 2365 w 2441"/>
                <a:gd name="T5" fmla="*/ 288 h 1882"/>
                <a:gd name="T6" fmla="*/ 2248 w 2441"/>
                <a:gd name="T7" fmla="*/ 288 h 1882"/>
                <a:gd name="T8" fmla="*/ 2077 w 2441"/>
                <a:gd name="T9" fmla="*/ 209 h 1882"/>
                <a:gd name="T10" fmla="*/ 1934 w 2441"/>
                <a:gd name="T11" fmla="*/ 76 h 1882"/>
                <a:gd name="T12" fmla="*/ 1769 w 2441"/>
                <a:gd name="T13" fmla="*/ 0 h 1882"/>
                <a:gd name="T14" fmla="*/ 1704 w 2441"/>
                <a:gd name="T15" fmla="*/ 80 h 1882"/>
                <a:gd name="T16" fmla="*/ 1653 w 2441"/>
                <a:gd name="T17" fmla="*/ 209 h 1882"/>
                <a:gd name="T18" fmla="*/ 1639 w 2441"/>
                <a:gd name="T19" fmla="*/ 310 h 1882"/>
                <a:gd name="T20" fmla="*/ 1786 w 2441"/>
                <a:gd name="T21" fmla="*/ 322 h 1882"/>
                <a:gd name="T22" fmla="*/ 1753 w 2441"/>
                <a:gd name="T23" fmla="*/ 371 h 1882"/>
                <a:gd name="T24" fmla="*/ 1627 w 2441"/>
                <a:gd name="T25" fmla="*/ 462 h 1882"/>
                <a:gd name="T26" fmla="*/ 1536 w 2441"/>
                <a:gd name="T27" fmla="*/ 569 h 1882"/>
                <a:gd name="T28" fmla="*/ 1228 w 2441"/>
                <a:gd name="T29" fmla="*/ 608 h 1882"/>
                <a:gd name="T30" fmla="*/ 973 w 2441"/>
                <a:gd name="T31" fmla="*/ 571 h 1882"/>
                <a:gd name="T32" fmla="*/ 775 w 2441"/>
                <a:gd name="T33" fmla="*/ 459 h 1882"/>
                <a:gd name="T34" fmla="*/ 612 w 2441"/>
                <a:gd name="T35" fmla="*/ 353 h 1882"/>
                <a:gd name="T36" fmla="*/ 452 w 2441"/>
                <a:gd name="T37" fmla="*/ 264 h 1882"/>
                <a:gd name="T38" fmla="*/ 373 w 2441"/>
                <a:gd name="T39" fmla="*/ 309 h 1882"/>
                <a:gd name="T40" fmla="*/ 273 w 2441"/>
                <a:gd name="T41" fmla="*/ 425 h 1882"/>
                <a:gd name="T42" fmla="*/ 216 w 2441"/>
                <a:gd name="T43" fmla="*/ 499 h 1882"/>
                <a:gd name="T44" fmla="*/ 199 w 2441"/>
                <a:gd name="T45" fmla="*/ 625 h 1882"/>
                <a:gd name="T46" fmla="*/ 63 w 2441"/>
                <a:gd name="T47" fmla="*/ 683 h 1882"/>
                <a:gd name="T48" fmla="*/ 15 w 2441"/>
                <a:gd name="T49" fmla="*/ 765 h 1882"/>
                <a:gd name="T50" fmla="*/ 111 w 2441"/>
                <a:gd name="T51" fmla="*/ 880 h 1882"/>
                <a:gd name="T52" fmla="*/ 294 w 2441"/>
                <a:gd name="T53" fmla="*/ 934 h 1882"/>
                <a:gd name="T54" fmla="*/ 306 w 2441"/>
                <a:gd name="T55" fmla="*/ 1057 h 1882"/>
                <a:gd name="T56" fmla="*/ 316 w 2441"/>
                <a:gd name="T57" fmla="*/ 1113 h 1882"/>
                <a:gd name="T58" fmla="*/ 403 w 2441"/>
                <a:gd name="T59" fmla="*/ 1210 h 1882"/>
                <a:gd name="T60" fmla="*/ 571 w 2441"/>
                <a:gd name="T61" fmla="*/ 1302 h 1882"/>
                <a:gd name="T62" fmla="*/ 698 w 2441"/>
                <a:gd name="T63" fmla="*/ 1349 h 1882"/>
                <a:gd name="T64" fmla="*/ 894 w 2441"/>
                <a:gd name="T65" fmla="*/ 1350 h 1882"/>
                <a:gd name="T66" fmla="*/ 1044 w 2441"/>
                <a:gd name="T67" fmla="*/ 1318 h 1882"/>
                <a:gd name="T68" fmla="*/ 1161 w 2441"/>
                <a:gd name="T69" fmla="*/ 1339 h 1882"/>
                <a:gd name="T70" fmla="*/ 1291 w 2441"/>
                <a:gd name="T71" fmla="*/ 1422 h 1882"/>
                <a:gd name="T72" fmla="*/ 1261 w 2441"/>
                <a:gd name="T73" fmla="*/ 1535 h 1882"/>
                <a:gd name="T74" fmla="*/ 1324 w 2441"/>
                <a:gd name="T75" fmla="*/ 1597 h 1882"/>
                <a:gd name="T76" fmla="*/ 1400 w 2441"/>
                <a:gd name="T77" fmla="*/ 1701 h 1882"/>
                <a:gd name="T78" fmla="*/ 1461 w 2441"/>
                <a:gd name="T79" fmla="*/ 1679 h 1882"/>
                <a:gd name="T80" fmla="*/ 1554 w 2441"/>
                <a:gd name="T81" fmla="*/ 1639 h 1882"/>
                <a:gd name="T82" fmla="*/ 1625 w 2441"/>
                <a:gd name="T83" fmla="*/ 1610 h 1882"/>
                <a:gd name="T84" fmla="*/ 1698 w 2441"/>
                <a:gd name="T85" fmla="*/ 1684 h 1882"/>
                <a:gd name="T86" fmla="*/ 1846 w 2441"/>
                <a:gd name="T87" fmla="*/ 1750 h 1882"/>
                <a:gd name="T88" fmla="*/ 2036 w 2441"/>
                <a:gd name="T89" fmla="*/ 1660 h 1882"/>
                <a:gd name="T90" fmla="*/ 2205 w 2441"/>
                <a:gd name="T91" fmla="*/ 1544 h 1882"/>
                <a:gd name="T92" fmla="*/ 2274 w 2441"/>
                <a:gd name="T93" fmla="*/ 1405 h 1882"/>
                <a:gd name="T94" fmla="*/ 2335 w 2441"/>
                <a:gd name="T95" fmla="*/ 1231 h 1882"/>
                <a:gd name="T96" fmla="*/ 2240 w 2441"/>
                <a:gd name="T97" fmla="*/ 1164 h 1882"/>
                <a:gd name="T98" fmla="*/ 2236 w 2441"/>
                <a:gd name="T99" fmla="*/ 1155 h 1882"/>
                <a:gd name="T100" fmla="*/ 2157 w 2441"/>
                <a:gd name="T101" fmla="*/ 1022 h 1882"/>
                <a:gd name="T102" fmla="*/ 2131 w 2441"/>
                <a:gd name="T103" fmla="*/ 897 h 1882"/>
                <a:gd name="T104" fmla="*/ 2161 w 2441"/>
                <a:gd name="T105" fmla="*/ 854 h 1882"/>
                <a:gd name="T106" fmla="*/ 2004 w 2441"/>
                <a:gd name="T107" fmla="*/ 828 h 1882"/>
                <a:gd name="T108" fmla="*/ 1997 w 2441"/>
                <a:gd name="T109" fmla="*/ 758 h 1882"/>
                <a:gd name="T110" fmla="*/ 2079 w 2441"/>
                <a:gd name="T111" fmla="*/ 665 h 1882"/>
                <a:gd name="T112" fmla="*/ 2131 w 2441"/>
                <a:gd name="T113" fmla="*/ 770 h 1882"/>
                <a:gd name="T114" fmla="*/ 2292 w 2441"/>
                <a:gd name="T115" fmla="*/ 637 h 1882"/>
                <a:gd name="T116" fmla="*/ 2387 w 2441"/>
                <a:gd name="T117" fmla="*/ 560 h 1882"/>
                <a:gd name="T118" fmla="*/ 2379 w 2441"/>
                <a:gd name="T119" fmla="*/ 455 h 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91" name="Cambodia">
              <a:extLst>
                <a:ext uri="{FF2B5EF4-FFF2-40B4-BE49-F238E27FC236}">
                  <a16:creationId xmlns:a16="http://schemas.microsoft.com/office/drawing/2014/main" id="{9DAFE35F-BC72-4EA9-A198-1888CD2843CE}"/>
                </a:ext>
              </a:extLst>
            </p:cNvPr>
            <p:cNvSpPr>
              <a:spLocks/>
            </p:cNvSpPr>
            <p:nvPr/>
          </p:nvSpPr>
          <p:spPr bwMode="gray">
            <a:xfrm>
              <a:off x="8315418" y="3644018"/>
              <a:ext cx="141312" cy="125355"/>
            </a:xfrm>
            <a:custGeom>
              <a:avLst/>
              <a:gdLst>
                <a:gd name="T0" fmla="*/ 214 w 252"/>
                <a:gd name="T1" fmla="*/ 0 h 224"/>
                <a:gd name="T2" fmla="*/ 206 w 252"/>
                <a:gd name="T3" fmla="*/ 9 h 224"/>
                <a:gd name="T4" fmla="*/ 184 w 252"/>
                <a:gd name="T5" fmla="*/ 0 h 224"/>
                <a:gd name="T6" fmla="*/ 175 w 252"/>
                <a:gd name="T7" fmla="*/ 8 h 224"/>
                <a:gd name="T8" fmla="*/ 164 w 252"/>
                <a:gd name="T9" fmla="*/ 16 h 224"/>
                <a:gd name="T10" fmla="*/ 168 w 252"/>
                <a:gd name="T11" fmla="*/ 36 h 224"/>
                <a:gd name="T12" fmla="*/ 151 w 252"/>
                <a:gd name="T13" fmla="*/ 24 h 224"/>
                <a:gd name="T14" fmla="*/ 131 w 252"/>
                <a:gd name="T15" fmla="*/ 22 h 224"/>
                <a:gd name="T16" fmla="*/ 128 w 252"/>
                <a:gd name="T17" fmla="*/ 13 h 224"/>
                <a:gd name="T18" fmla="*/ 123 w 252"/>
                <a:gd name="T19" fmla="*/ 16 h 224"/>
                <a:gd name="T20" fmla="*/ 101 w 252"/>
                <a:gd name="T21" fmla="*/ 8 h 224"/>
                <a:gd name="T22" fmla="*/ 74 w 252"/>
                <a:gd name="T23" fmla="*/ 15 h 224"/>
                <a:gd name="T24" fmla="*/ 46 w 252"/>
                <a:gd name="T25" fmla="*/ 10 h 224"/>
                <a:gd name="T26" fmla="*/ 19 w 252"/>
                <a:gd name="T27" fmla="*/ 34 h 224"/>
                <a:gd name="T28" fmla="*/ 0 w 252"/>
                <a:gd name="T29" fmla="*/ 54 h 224"/>
                <a:gd name="T30" fmla="*/ 2 w 252"/>
                <a:gd name="T31" fmla="*/ 79 h 224"/>
                <a:gd name="T32" fmla="*/ 9 w 252"/>
                <a:gd name="T33" fmla="*/ 85 h 224"/>
                <a:gd name="T34" fmla="*/ 9 w 252"/>
                <a:gd name="T35" fmla="*/ 104 h 224"/>
                <a:gd name="T36" fmla="*/ 20 w 252"/>
                <a:gd name="T37" fmla="*/ 114 h 224"/>
                <a:gd name="T38" fmla="*/ 17 w 252"/>
                <a:gd name="T39" fmla="*/ 133 h 224"/>
                <a:gd name="T40" fmla="*/ 26 w 252"/>
                <a:gd name="T41" fmla="*/ 139 h 224"/>
                <a:gd name="T42" fmla="*/ 27 w 252"/>
                <a:gd name="T43" fmla="*/ 168 h 224"/>
                <a:gd name="T44" fmla="*/ 46 w 252"/>
                <a:gd name="T45" fmla="*/ 191 h 224"/>
                <a:gd name="T46" fmla="*/ 59 w 252"/>
                <a:gd name="T47" fmla="*/ 178 h 224"/>
                <a:gd name="T48" fmla="*/ 68 w 252"/>
                <a:gd name="T49" fmla="*/ 204 h 224"/>
                <a:gd name="T50" fmla="*/ 91 w 252"/>
                <a:gd name="T51" fmla="*/ 208 h 224"/>
                <a:gd name="T52" fmla="*/ 97 w 252"/>
                <a:gd name="T53" fmla="*/ 223 h 224"/>
                <a:gd name="T54" fmla="*/ 110 w 252"/>
                <a:gd name="T55" fmla="*/ 224 h 224"/>
                <a:gd name="T56" fmla="*/ 139 w 252"/>
                <a:gd name="T57" fmla="*/ 213 h 224"/>
                <a:gd name="T58" fmla="*/ 135 w 252"/>
                <a:gd name="T59" fmla="*/ 197 h 224"/>
                <a:gd name="T60" fmla="*/ 153 w 252"/>
                <a:gd name="T61" fmla="*/ 197 h 224"/>
                <a:gd name="T62" fmla="*/ 169 w 252"/>
                <a:gd name="T63" fmla="*/ 190 h 224"/>
                <a:gd name="T64" fmla="*/ 193 w 252"/>
                <a:gd name="T65" fmla="*/ 205 h 224"/>
                <a:gd name="T66" fmla="*/ 183 w 252"/>
                <a:gd name="T67" fmla="*/ 186 h 224"/>
                <a:gd name="T68" fmla="*/ 175 w 252"/>
                <a:gd name="T69" fmla="*/ 154 h 224"/>
                <a:gd name="T70" fmla="*/ 204 w 252"/>
                <a:gd name="T71" fmla="*/ 152 h 224"/>
                <a:gd name="T72" fmla="*/ 201 w 252"/>
                <a:gd name="T73" fmla="*/ 138 h 224"/>
                <a:gd name="T74" fmla="*/ 222 w 252"/>
                <a:gd name="T75" fmla="*/ 137 h 224"/>
                <a:gd name="T76" fmla="*/ 228 w 252"/>
                <a:gd name="T77" fmla="*/ 123 h 224"/>
                <a:gd name="T78" fmla="*/ 245 w 252"/>
                <a:gd name="T79" fmla="*/ 125 h 224"/>
                <a:gd name="T80" fmla="*/ 248 w 252"/>
                <a:gd name="T81" fmla="*/ 111 h 224"/>
                <a:gd name="T82" fmla="*/ 237 w 252"/>
                <a:gd name="T83" fmla="*/ 72 h 224"/>
                <a:gd name="T84" fmla="*/ 252 w 252"/>
                <a:gd name="T85" fmla="*/ 56 h 224"/>
                <a:gd name="T86" fmla="*/ 231 w 252"/>
                <a:gd name="T87" fmla="*/ 32 h 224"/>
                <a:gd name="T88" fmla="*/ 231 w 252"/>
                <a:gd name="T89" fmla="*/ 4 h 224"/>
                <a:gd name="T90" fmla="*/ 214 w 252"/>
                <a:gd name="T91"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2" h="224">
                  <a:moveTo>
                    <a:pt x="214" y="0"/>
                  </a:moveTo>
                  <a:cubicBezTo>
                    <a:pt x="206" y="9"/>
                    <a:pt x="206" y="9"/>
                    <a:pt x="206" y="9"/>
                  </a:cubicBezTo>
                  <a:cubicBezTo>
                    <a:pt x="184" y="0"/>
                    <a:pt x="184" y="0"/>
                    <a:pt x="184" y="0"/>
                  </a:cubicBezTo>
                  <a:cubicBezTo>
                    <a:pt x="175" y="8"/>
                    <a:pt x="175" y="8"/>
                    <a:pt x="175" y="8"/>
                  </a:cubicBezTo>
                  <a:cubicBezTo>
                    <a:pt x="164" y="16"/>
                    <a:pt x="164" y="16"/>
                    <a:pt x="164" y="16"/>
                  </a:cubicBezTo>
                  <a:cubicBezTo>
                    <a:pt x="164" y="16"/>
                    <a:pt x="176" y="28"/>
                    <a:pt x="168" y="36"/>
                  </a:cubicBezTo>
                  <a:cubicBezTo>
                    <a:pt x="160" y="44"/>
                    <a:pt x="151" y="24"/>
                    <a:pt x="151" y="24"/>
                  </a:cubicBezTo>
                  <a:cubicBezTo>
                    <a:pt x="151" y="24"/>
                    <a:pt x="135" y="23"/>
                    <a:pt x="131" y="22"/>
                  </a:cubicBezTo>
                  <a:cubicBezTo>
                    <a:pt x="128" y="21"/>
                    <a:pt x="128" y="16"/>
                    <a:pt x="128" y="13"/>
                  </a:cubicBezTo>
                  <a:cubicBezTo>
                    <a:pt x="125" y="15"/>
                    <a:pt x="123" y="16"/>
                    <a:pt x="123" y="16"/>
                  </a:cubicBezTo>
                  <a:cubicBezTo>
                    <a:pt x="123" y="16"/>
                    <a:pt x="106" y="7"/>
                    <a:pt x="101" y="8"/>
                  </a:cubicBezTo>
                  <a:cubicBezTo>
                    <a:pt x="96" y="9"/>
                    <a:pt x="74" y="15"/>
                    <a:pt x="74" y="15"/>
                  </a:cubicBezTo>
                  <a:cubicBezTo>
                    <a:pt x="74" y="15"/>
                    <a:pt x="73" y="5"/>
                    <a:pt x="46" y="10"/>
                  </a:cubicBezTo>
                  <a:cubicBezTo>
                    <a:pt x="19" y="15"/>
                    <a:pt x="19" y="34"/>
                    <a:pt x="19" y="34"/>
                  </a:cubicBezTo>
                  <a:cubicBezTo>
                    <a:pt x="0" y="54"/>
                    <a:pt x="0" y="54"/>
                    <a:pt x="0" y="54"/>
                  </a:cubicBezTo>
                  <a:cubicBezTo>
                    <a:pt x="2" y="79"/>
                    <a:pt x="2" y="79"/>
                    <a:pt x="2" y="79"/>
                  </a:cubicBezTo>
                  <a:cubicBezTo>
                    <a:pt x="9" y="85"/>
                    <a:pt x="9" y="85"/>
                    <a:pt x="9" y="85"/>
                  </a:cubicBezTo>
                  <a:cubicBezTo>
                    <a:pt x="9" y="104"/>
                    <a:pt x="9" y="104"/>
                    <a:pt x="9" y="104"/>
                  </a:cubicBezTo>
                  <a:cubicBezTo>
                    <a:pt x="20" y="114"/>
                    <a:pt x="20" y="114"/>
                    <a:pt x="20" y="114"/>
                  </a:cubicBezTo>
                  <a:cubicBezTo>
                    <a:pt x="17" y="133"/>
                    <a:pt x="17" y="133"/>
                    <a:pt x="17" y="133"/>
                  </a:cubicBezTo>
                  <a:cubicBezTo>
                    <a:pt x="20" y="134"/>
                    <a:pt x="23" y="136"/>
                    <a:pt x="26" y="139"/>
                  </a:cubicBezTo>
                  <a:cubicBezTo>
                    <a:pt x="41" y="156"/>
                    <a:pt x="27" y="168"/>
                    <a:pt x="27" y="168"/>
                  </a:cubicBezTo>
                  <a:cubicBezTo>
                    <a:pt x="27" y="168"/>
                    <a:pt x="36" y="190"/>
                    <a:pt x="46" y="191"/>
                  </a:cubicBezTo>
                  <a:cubicBezTo>
                    <a:pt x="56" y="191"/>
                    <a:pt x="59" y="178"/>
                    <a:pt x="59" y="178"/>
                  </a:cubicBezTo>
                  <a:cubicBezTo>
                    <a:pt x="59" y="178"/>
                    <a:pt x="58" y="202"/>
                    <a:pt x="68" y="204"/>
                  </a:cubicBezTo>
                  <a:cubicBezTo>
                    <a:pt x="79" y="206"/>
                    <a:pt x="89" y="198"/>
                    <a:pt x="91" y="208"/>
                  </a:cubicBezTo>
                  <a:cubicBezTo>
                    <a:pt x="92" y="212"/>
                    <a:pt x="95" y="218"/>
                    <a:pt x="97" y="223"/>
                  </a:cubicBezTo>
                  <a:cubicBezTo>
                    <a:pt x="110" y="224"/>
                    <a:pt x="110" y="224"/>
                    <a:pt x="110" y="224"/>
                  </a:cubicBezTo>
                  <a:cubicBezTo>
                    <a:pt x="112" y="219"/>
                    <a:pt x="124" y="214"/>
                    <a:pt x="139" y="213"/>
                  </a:cubicBezTo>
                  <a:cubicBezTo>
                    <a:pt x="159" y="211"/>
                    <a:pt x="135" y="197"/>
                    <a:pt x="135" y="197"/>
                  </a:cubicBezTo>
                  <a:cubicBezTo>
                    <a:pt x="135" y="197"/>
                    <a:pt x="149" y="197"/>
                    <a:pt x="153" y="197"/>
                  </a:cubicBezTo>
                  <a:cubicBezTo>
                    <a:pt x="157" y="197"/>
                    <a:pt x="159" y="190"/>
                    <a:pt x="169" y="190"/>
                  </a:cubicBezTo>
                  <a:cubicBezTo>
                    <a:pt x="179" y="190"/>
                    <a:pt x="186" y="206"/>
                    <a:pt x="193" y="205"/>
                  </a:cubicBezTo>
                  <a:cubicBezTo>
                    <a:pt x="200" y="204"/>
                    <a:pt x="193" y="194"/>
                    <a:pt x="183" y="186"/>
                  </a:cubicBezTo>
                  <a:cubicBezTo>
                    <a:pt x="173" y="178"/>
                    <a:pt x="173" y="160"/>
                    <a:pt x="175" y="154"/>
                  </a:cubicBezTo>
                  <a:cubicBezTo>
                    <a:pt x="177" y="148"/>
                    <a:pt x="204" y="152"/>
                    <a:pt x="204" y="152"/>
                  </a:cubicBezTo>
                  <a:cubicBezTo>
                    <a:pt x="201" y="138"/>
                    <a:pt x="201" y="138"/>
                    <a:pt x="201" y="138"/>
                  </a:cubicBezTo>
                  <a:cubicBezTo>
                    <a:pt x="222" y="137"/>
                    <a:pt x="222" y="137"/>
                    <a:pt x="222" y="137"/>
                  </a:cubicBezTo>
                  <a:cubicBezTo>
                    <a:pt x="222" y="137"/>
                    <a:pt x="223" y="126"/>
                    <a:pt x="228" y="123"/>
                  </a:cubicBezTo>
                  <a:cubicBezTo>
                    <a:pt x="233" y="120"/>
                    <a:pt x="245" y="125"/>
                    <a:pt x="245" y="125"/>
                  </a:cubicBezTo>
                  <a:cubicBezTo>
                    <a:pt x="248" y="111"/>
                    <a:pt x="248" y="111"/>
                    <a:pt x="248" y="111"/>
                  </a:cubicBezTo>
                  <a:cubicBezTo>
                    <a:pt x="248" y="111"/>
                    <a:pt x="238" y="75"/>
                    <a:pt x="237" y="72"/>
                  </a:cubicBezTo>
                  <a:cubicBezTo>
                    <a:pt x="236" y="69"/>
                    <a:pt x="252" y="69"/>
                    <a:pt x="252" y="56"/>
                  </a:cubicBezTo>
                  <a:cubicBezTo>
                    <a:pt x="252" y="43"/>
                    <a:pt x="231" y="32"/>
                    <a:pt x="231" y="32"/>
                  </a:cubicBezTo>
                  <a:cubicBezTo>
                    <a:pt x="231" y="4"/>
                    <a:pt x="231" y="4"/>
                    <a:pt x="231" y="4"/>
                  </a:cubicBezTo>
                  <a:lnTo>
                    <a:pt x="214" y="0"/>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97" name="Bhutan">
              <a:extLst>
                <a:ext uri="{FF2B5EF4-FFF2-40B4-BE49-F238E27FC236}">
                  <a16:creationId xmlns:a16="http://schemas.microsoft.com/office/drawing/2014/main" id="{C2DDF497-135E-4DAC-AB85-54313FC6AAF8}"/>
                </a:ext>
              </a:extLst>
            </p:cNvPr>
            <p:cNvSpPr>
              <a:spLocks/>
            </p:cNvSpPr>
            <p:nvPr/>
          </p:nvSpPr>
          <p:spPr bwMode="gray">
            <a:xfrm>
              <a:off x="7897832" y="3228285"/>
              <a:ext cx="98442" cy="52364"/>
            </a:xfrm>
            <a:custGeom>
              <a:avLst/>
              <a:gdLst>
                <a:gd name="T0" fmla="*/ 66 w 176"/>
                <a:gd name="T1" fmla="*/ 92 h 93"/>
                <a:gd name="T2" fmla="*/ 88 w 176"/>
                <a:gd name="T3" fmla="*/ 84 h 93"/>
                <a:gd name="T4" fmla="*/ 113 w 176"/>
                <a:gd name="T5" fmla="*/ 90 h 93"/>
                <a:gd name="T6" fmla="*/ 139 w 176"/>
                <a:gd name="T7" fmla="*/ 86 h 93"/>
                <a:gd name="T8" fmla="*/ 162 w 176"/>
                <a:gd name="T9" fmla="*/ 86 h 93"/>
                <a:gd name="T10" fmla="*/ 161 w 176"/>
                <a:gd name="T11" fmla="*/ 68 h 93"/>
                <a:gd name="T12" fmla="*/ 161 w 176"/>
                <a:gd name="T13" fmla="*/ 54 h 93"/>
                <a:gd name="T14" fmla="*/ 140 w 176"/>
                <a:gd name="T15" fmla="*/ 48 h 93"/>
                <a:gd name="T16" fmla="*/ 142 w 176"/>
                <a:gd name="T17" fmla="*/ 39 h 93"/>
                <a:gd name="T18" fmla="*/ 129 w 176"/>
                <a:gd name="T19" fmla="*/ 18 h 93"/>
                <a:gd name="T20" fmla="*/ 80 w 176"/>
                <a:gd name="T21" fmla="*/ 25 h 93"/>
                <a:gd name="T22" fmla="*/ 80 w 176"/>
                <a:gd name="T23" fmla="*/ 11 h 93"/>
                <a:gd name="T24" fmla="*/ 56 w 176"/>
                <a:gd name="T25" fmla="*/ 5 h 93"/>
                <a:gd name="T26" fmla="*/ 18 w 176"/>
                <a:gd name="T27" fmla="*/ 56 h 93"/>
                <a:gd name="T28" fmla="*/ 23 w 176"/>
                <a:gd name="T29" fmla="*/ 76 h 93"/>
                <a:gd name="T30" fmla="*/ 50 w 176"/>
                <a:gd name="T31" fmla="*/ 81 h 93"/>
                <a:gd name="T32" fmla="*/ 66 w 176"/>
                <a:gd name="T33"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 h="93">
                  <a:moveTo>
                    <a:pt x="66" y="92"/>
                  </a:moveTo>
                  <a:cubicBezTo>
                    <a:pt x="85" y="92"/>
                    <a:pt x="79" y="84"/>
                    <a:pt x="88" y="84"/>
                  </a:cubicBezTo>
                  <a:cubicBezTo>
                    <a:pt x="97" y="84"/>
                    <a:pt x="95" y="90"/>
                    <a:pt x="113" y="90"/>
                  </a:cubicBezTo>
                  <a:cubicBezTo>
                    <a:pt x="131" y="90"/>
                    <a:pt x="139" y="86"/>
                    <a:pt x="139" y="86"/>
                  </a:cubicBezTo>
                  <a:cubicBezTo>
                    <a:pt x="139" y="86"/>
                    <a:pt x="148" y="93"/>
                    <a:pt x="162" y="86"/>
                  </a:cubicBezTo>
                  <a:cubicBezTo>
                    <a:pt x="176" y="79"/>
                    <a:pt x="161" y="68"/>
                    <a:pt x="161" y="68"/>
                  </a:cubicBezTo>
                  <a:cubicBezTo>
                    <a:pt x="161" y="54"/>
                    <a:pt x="161" y="54"/>
                    <a:pt x="161" y="54"/>
                  </a:cubicBezTo>
                  <a:cubicBezTo>
                    <a:pt x="161" y="54"/>
                    <a:pt x="144" y="55"/>
                    <a:pt x="140" y="48"/>
                  </a:cubicBezTo>
                  <a:cubicBezTo>
                    <a:pt x="136" y="41"/>
                    <a:pt x="142" y="39"/>
                    <a:pt x="142" y="39"/>
                  </a:cubicBezTo>
                  <a:cubicBezTo>
                    <a:pt x="142" y="39"/>
                    <a:pt x="142" y="29"/>
                    <a:pt x="129" y="18"/>
                  </a:cubicBezTo>
                  <a:cubicBezTo>
                    <a:pt x="116" y="7"/>
                    <a:pt x="80" y="25"/>
                    <a:pt x="80" y="25"/>
                  </a:cubicBezTo>
                  <a:cubicBezTo>
                    <a:pt x="80" y="11"/>
                    <a:pt x="80" y="11"/>
                    <a:pt x="80" y="11"/>
                  </a:cubicBezTo>
                  <a:cubicBezTo>
                    <a:pt x="80" y="11"/>
                    <a:pt x="70" y="10"/>
                    <a:pt x="56" y="5"/>
                  </a:cubicBezTo>
                  <a:cubicBezTo>
                    <a:pt x="42" y="0"/>
                    <a:pt x="18" y="56"/>
                    <a:pt x="18" y="56"/>
                  </a:cubicBezTo>
                  <a:cubicBezTo>
                    <a:pt x="18" y="56"/>
                    <a:pt x="0" y="60"/>
                    <a:pt x="23" y="76"/>
                  </a:cubicBezTo>
                  <a:cubicBezTo>
                    <a:pt x="46" y="92"/>
                    <a:pt x="50" y="81"/>
                    <a:pt x="50" y="81"/>
                  </a:cubicBezTo>
                  <a:cubicBezTo>
                    <a:pt x="50" y="81"/>
                    <a:pt x="47" y="92"/>
                    <a:pt x="66" y="92"/>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98" name="Bangladesh">
              <a:extLst>
                <a:ext uri="{FF2B5EF4-FFF2-40B4-BE49-F238E27FC236}">
                  <a16:creationId xmlns:a16="http://schemas.microsoft.com/office/drawing/2014/main" id="{C7734D16-4B86-4E8E-B245-C1E3329168CE}"/>
                </a:ext>
              </a:extLst>
            </p:cNvPr>
            <p:cNvSpPr>
              <a:spLocks/>
            </p:cNvSpPr>
            <p:nvPr/>
          </p:nvSpPr>
          <p:spPr bwMode="gray">
            <a:xfrm>
              <a:off x="7894656" y="3283822"/>
              <a:ext cx="138136" cy="158677"/>
            </a:xfrm>
            <a:custGeom>
              <a:avLst/>
              <a:gdLst>
                <a:gd name="T0" fmla="*/ 90 w 247"/>
                <a:gd name="T1" fmla="*/ 275 h 284"/>
                <a:gd name="T2" fmla="*/ 92 w 247"/>
                <a:gd name="T3" fmla="*/ 236 h 284"/>
                <a:gd name="T4" fmla="*/ 142 w 247"/>
                <a:gd name="T5" fmla="*/ 250 h 284"/>
                <a:gd name="T6" fmla="*/ 143 w 247"/>
                <a:gd name="T7" fmla="*/ 227 h 284"/>
                <a:gd name="T8" fmla="*/ 182 w 247"/>
                <a:gd name="T9" fmla="*/ 240 h 284"/>
                <a:gd name="T10" fmla="*/ 190 w 247"/>
                <a:gd name="T11" fmla="*/ 223 h 284"/>
                <a:gd name="T12" fmla="*/ 182 w 247"/>
                <a:gd name="T13" fmla="*/ 202 h 284"/>
                <a:gd name="T14" fmla="*/ 213 w 247"/>
                <a:gd name="T15" fmla="*/ 235 h 284"/>
                <a:gd name="T16" fmla="*/ 210 w 247"/>
                <a:gd name="T17" fmla="*/ 280 h 284"/>
                <a:gd name="T18" fmla="*/ 222 w 247"/>
                <a:gd name="T19" fmla="*/ 284 h 284"/>
                <a:gd name="T20" fmla="*/ 226 w 247"/>
                <a:gd name="T21" fmla="*/ 273 h 284"/>
                <a:gd name="T22" fmla="*/ 247 w 247"/>
                <a:gd name="T23" fmla="*/ 276 h 284"/>
                <a:gd name="T24" fmla="*/ 240 w 247"/>
                <a:gd name="T25" fmla="*/ 237 h 284"/>
                <a:gd name="T26" fmla="*/ 220 w 247"/>
                <a:gd name="T27" fmla="*/ 187 h 284"/>
                <a:gd name="T28" fmla="*/ 204 w 247"/>
                <a:gd name="T29" fmla="*/ 153 h 284"/>
                <a:gd name="T30" fmla="*/ 194 w 247"/>
                <a:gd name="T31" fmla="*/ 170 h 284"/>
                <a:gd name="T32" fmla="*/ 187 w 247"/>
                <a:gd name="T33" fmla="*/ 193 h 284"/>
                <a:gd name="T34" fmla="*/ 178 w 247"/>
                <a:gd name="T35" fmla="*/ 178 h 284"/>
                <a:gd name="T36" fmla="*/ 158 w 247"/>
                <a:gd name="T37" fmla="*/ 159 h 284"/>
                <a:gd name="T38" fmla="*/ 168 w 247"/>
                <a:gd name="T39" fmla="*/ 130 h 284"/>
                <a:gd name="T40" fmla="*/ 193 w 247"/>
                <a:gd name="T41" fmla="*/ 115 h 284"/>
                <a:gd name="T42" fmla="*/ 196 w 247"/>
                <a:gd name="T43" fmla="*/ 92 h 284"/>
                <a:gd name="T44" fmla="*/ 206 w 247"/>
                <a:gd name="T45" fmla="*/ 86 h 284"/>
                <a:gd name="T46" fmla="*/ 184 w 247"/>
                <a:gd name="T47" fmla="*/ 68 h 284"/>
                <a:gd name="T48" fmla="*/ 154 w 247"/>
                <a:gd name="T49" fmla="*/ 79 h 284"/>
                <a:gd name="T50" fmla="*/ 113 w 247"/>
                <a:gd name="T51" fmla="*/ 75 h 284"/>
                <a:gd name="T52" fmla="*/ 86 w 247"/>
                <a:gd name="T53" fmla="*/ 69 h 284"/>
                <a:gd name="T54" fmla="*/ 85 w 247"/>
                <a:gd name="T55" fmla="*/ 46 h 284"/>
                <a:gd name="T56" fmla="*/ 81 w 247"/>
                <a:gd name="T57" fmla="*/ 44 h 284"/>
                <a:gd name="T58" fmla="*/ 77 w 247"/>
                <a:gd name="T59" fmla="*/ 23 h 284"/>
                <a:gd name="T60" fmla="*/ 67 w 247"/>
                <a:gd name="T61" fmla="*/ 17 h 284"/>
                <a:gd name="T62" fmla="*/ 66 w 247"/>
                <a:gd name="T63" fmla="*/ 29 h 284"/>
                <a:gd name="T64" fmla="*/ 50 w 247"/>
                <a:gd name="T65" fmla="*/ 21 h 284"/>
                <a:gd name="T66" fmla="*/ 41 w 247"/>
                <a:gd name="T67" fmla="*/ 3 h 284"/>
                <a:gd name="T68" fmla="*/ 30 w 247"/>
                <a:gd name="T69" fmla="*/ 4 h 284"/>
                <a:gd name="T70" fmla="*/ 33 w 247"/>
                <a:gd name="T71" fmla="*/ 11 h 284"/>
                <a:gd name="T72" fmla="*/ 17 w 247"/>
                <a:gd name="T73" fmla="*/ 3 h 284"/>
                <a:gd name="T74" fmla="*/ 6 w 247"/>
                <a:gd name="T75" fmla="*/ 0 h 284"/>
                <a:gd name="T76" fmla="*/ 11 w 247"/>
                <a:gd name="T77" fmla="*/ 12 h 284"/>
                <a:gd name="T78" fmla="*/ 2 w 247"/>
                <a:gd name="T79" fmla="*/ 35 h 284"/>
                <a:gd name="T80" fmla="*/ 26 w 247"/>
                <a:gd name="T81" fmla="*/ 54 h 284"/>
                <a:gd name="T82" fmla="*/ 43 w 247"/>
                <a:gd name="T83" fmla="*/ 65 h 284"/>
                <a:gd name="T84" fmla="*/ 44 w 247"/>
                <a:gd name="T85" fmla="*/ 73 h 284"/>
                <a:gd name="T86" fmla="*/ 22 w 247"/>
                <a:gd name="T87" fmla="*/ 74 h 284"/>
                <a:gd name="T88" fmla="*/ 22 w 247"/>
                <a:gd name="T89" fmla="*/ 93 h 284"/>
                <a:gd name="T90" fmla="*/ 13 w 247"/>
                <a:gd name="T91" fmla="*/ 106 h 284"/>
                <a:gd name="T92" fmla="*/ 47 w 247"/>
                <a:gd name="T93" fmla="*/ 126 h 284"/>
                <a:gd name="T94" fmla="*/ 35 w 247"/>
                <a:gd name="T95" fmla="*/ 150 h 284"/>
                <a:gd name="T96" fmla="*/ 44 w 247"/>
                <a:gd name="T97" fmla="*/ 170 h 284"/>
                <a:gd name="T98" fmla="*/ 64 w 247"/>
                <a:gd name="T99" fmla="*/ 186 h 284"/>
                <a:gd name="T100" fmla="*/ 63 w 247"/>
                <a:gd name="T101" fmla="*/ 206 h 284"/>
                <a:gd name="T102" fmla="*/ 75 w 247"/>
                <a:gd name="T103" fmla="*/ 234 h 284"/>
                <a:gd name="T104" fmla="*/ 73 w 247"/>
                <a:gd name="T105" fmla="*/ 252 h 284"/>
                <a:gd name="T106" fmla="*/ 90 w 247"/>
                <a:gd name="T107" fmla="*/ 27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7" h="284">
                  <a:moveTo>
                    <a:pt x="90" y="275"/>
                  </a:moveTo>
                  <a:cubicBezTo>
                    <a:pt x="92" y="236"/>
                    <a:pt x="92" y="236"/>
                    <a:pt x="92" y="236"/>
                  </a:cubicBezTo>
                  <a:cubicBezTo>
                    <a:pt x="92" y="236"/>
                    <a:pt x="134" y="252"/>
                    <a:pt x="142" y="250"/>
                  </a:cubicBezTo>
                  <a:cubicBezTo>
                    <a:pt x="150" y="247"/>
                    <a:pt x="134" y="229"/>
                    <a:pt x="143" y="227"/>
                  </a:cubicBezTo>
                  <a:cubicBezTo>
                    <a:pt x="152" y="225"/>
                    <a:pt x="169" y="245"/>
                    <a:pt x="182" y="240"/>
                  </a:cubicBezTo>
                  <a:cubicBezTo>
                    <a:pt x="195" y="236"/>
                    <a:pt x="190" y="223"/>
                    <a:pt x="190" y="223"/>
                  </a:cubicBezTo>
                  <a:cubicBezTo>
                    <a:pt x="182" y="202"/>
                    <a:pt x="182" y="202"/>
                    <a:pt x="182" y="202"/>
                  </a:cubicBezTo>
                  <a:cubicBezTo>
                    <a:pt x="213" y="235"/>
                    <a:pt x="213" y="235"/>
                    <a:pt x="213" y="235"/>
                  </a:cubicBezTo>
                  <a:cubicBezTo>
                    <a:pt x="213" y="235"/>
                    <a:pt x="201" y="274"/>
                    <a:pt x="210" y="280"/>
                  </a:cubicBezTo>
                  <a:cubicBezTo>
                    <a:pt x="213" y="282"/>
                    <a:pt x="218" y="283"/>
                    <a:pt x="222" y="284"/>
                  </a:cubicBezTo>
                  <a:cubicBezTo>
                    <a:pt x="224" y="277"/>
                    <a:pt x="226" y="273"/>
                    <a:pt x="226" y="273"/>
                  </a:cubicBezTo>
                  <a:cubicBezTo>
                    <a:pt x="247" y="276"/>
                    <a:pt x="247" y="276"/>
                    <a:pt x="247" y="276"/>
                  </a:cubicBezTo>
                  <a:cubicBezTo>
                    <a:pt x="240" y="237"/>
                    <a:pt x="240" y="237"/>
                    <a:pt x="240" y="237"/>
                  </a:cubicBezTo>
                  <a:cubicBezTo>
                    <a:pt x="240" y="237"/>
                    <a:pt x="224" y="198"/>
                    <a:pt x="220" y="187"/>
                  </a:cubicBezTo>
                  <a:cubicBezTo>
                    <a:pt x="216" y="176"/>
                    <a:pt x="222" y="157"/>
                    <a:pt x="204" y="153"/>
                  </a:cubicBezTo>
                  <a:cubicBezTo>
                    <a:pt x="186" y="149"/>
                    <a:pt x="194" y="170"/>
                    <a:pt x="194" y="170"/>
                  </a:cubicBezTo>
                  <a:cubicBezTo>
                    <a:pt x="187" y="193"/>
                    <a:pt x="187" y="193"/>
                    <a:pt x="187" y="193"/>
                  </a:cubicBezTo>
                  <a:cubicBezTo>
                    <a:pt x="178" y="178"/>
                    <a:pt x="178" y="178"/>
                    <a:pt x="178" y="178"/>
                  </a:cubicBezTo>
                  <a:cubicBezTo>
                    <a:pt x="178" y="178"/>
                    <a:pt x="158" y="175"/>
                    <a:pt x="158" y="159"/>
                  </a:cubicBezTo>
                  <a:cubicBezTo>
                    <a:pt x="158" y="143"/>
                    <a:pt x="160" y="133"/>
                    <a:pt x="168" y="130"/>
                  </a:cubicBezTo>
                  <a:cubicBezTo>
                    <a:pt x="176" y="127"/>
                    <a:pt x="190" y="129"/>
                    <a:pt x="193" y="115"/>
                  </a:cubicBezTo>
                  <a:cubicBezTo>
                    <a:pt x="196" y="101"/>
                    <a:pt x="196" y="92"/>
                    <a:pt x="196" y="92"/>
                  </a:cubicBezTo>
                  <a:cubicBezTo>
                    <a:pt x="196" y="92"/>
                    <a:pt x="206" y="96"/>
                    <a:pt x="206" y="86"/>
                  </a:cubicBezTo>
                  <a:cubicBezTo>
                    <a:pt x="206" y="76"/>
                    <a:pt x="184" y="68"/>
                    <a:pt x="184" y="68"/>
                  </a:cubicBezTo>
                  <a:cubicBezTo>
                    <a:pt x="154" y="79"/>
                    <a:pt x="154" y="79"/>
                    <a:pt x="154" y="79"/>
                  </a:cubicBezTo>
                  <a:cubicBezTo>
                    <a:pt x="154" y="79"/>
                    <a:pt x="123" y="75"/>
                    <a:pt x="113" y="75"/>
                  </a:cubicBezTo>
                  <a:cubicBezTo>
                    <a:pt x="103" y="75"/>
                    <a:pt x="86" y="72"/>
                    <a:pt x="86" y="69"/>
                  </a:cubicBezTo>
                  <a:cubicBezTo>
                    <a:pt x="86" y="66"/>
                    <a:pt x="85" y="46"/>
                    <a:pt x="85" y="46"/>
                  </a:cubicBezTo>
                  <a:cubicBezTo>
                    <a:pt x="81" y="44"/>
                    <a:pt x="81" y="44"/>
                    <a:pt x="81" y="44"/>
                  </a:cubicBezTo>
                  <a:cubicBezTo>
                    <a:pt x="81" y="44"/>
                    <a:pt x="81" y="26"/>
                    <a:pt x="77" y="23"/>
                  </a:cubicBezTo>
                  <a:cubicBezTo>
                    <a:pt x="73" y="20"/>
                    <a:pt x="67" y="17"/>
                    <a:pt x="67" y="17"/>
                  </a:cubicBezTo>
                  <a:cubicBezTo>
                    <a:pt x="66" y="29"/>
                    <a:pt x="66" y="29"/>
                    <a:pt x="66" y="29"/>
                  </a:cubicBezTo>
                  <a:cubicBezTo>
                    <a:pt x="66" y="29"/>
                    <a:pt x="56" y="27"/>
                    <a:pt x="50" y="21"/>
                  </a:cubicBezTo>
                  <a:cubicBezTo>
                    <a:pt x="44" y="15"/>
                    <a:pt x="41" y="3"/>
                    <a:pt x="41" y="3"/>
                  </a:cubicBezTo>
                  <a:cubicBezTo>
                    <a:pt x="30" y="4"/>
                    <a:pt x="30" y="4"/>
                    <a:pt x="30" y="4"/>
                  </a:cubicBezTo>
                  <a:cubicBezTo>
                    <a:pt x="33" y="11"/>
                    <a:pt x="33" y="11"/>
                    <a:pt x="33" y="11"/>
                  </a:cubicBezTo>
                  <a:cubicBezTo>
                    <a:pt x="17" y="3"/>
                    <a:pt x="17" y="3"/>
                    <a:pt x="17" y="3"/>
                  </a:cubicBezTo>
                  <a:cubicBezTo>
                    <a:pt x="6" y="0"/>
                    <a:pt x="6" y="0"/>
                    <a:pt x="6" y="0"/>
                  </a:cubicBezTo>
                  <a:cubicBezTo>
                    <a:pt x="11" y="12"/>
                    <a:pt x="11" y="12"/>
                    <a:pt x="11" y="12"/>
                  </a:cubicBezTo>
                  <a:cubicBezTo>
                    <a:pt x="11" y="12"/>
                    <a:pt x="0" y="24"/>
                    <a:pt x="2" y="35"/>
                  </a:cubicBezTo>
                  <a:cubicBezTo>
                    <a:pt x="4" y="46"/>
                    <a:pt x="26" y="54"/>
                    <a:pt x="26" y="54"/>
                  </a:cubicBezTo>
                  <a:cubicBezTo>
                    <a:pt x="43" y="65"/>
                    <a:pt x="43" y="65"/>
                    <a:pt x="43" y="65"/>
                  </a:cubicBezTo>
                  <a:cubicBezTo>
                    <a:pt x="44" y="73"/>
                    <a:pt x="44" y="73"/>
                    <a:pt x="44" y="73"/>
                  </a:cubicBezTo>
                  <a:cubicBezTo>
                    <a:pt x="22" y="74"/>
                    <a:pt x="22" y="74"/>
                    <a:pt x="22" y="74"/>
                  </a:cubicBezTo>
                  <a:cubicBezTo>
                    <a:pt x="22" y="93"/>
                    <a:pt x="22" y="93"/>
                    <a:pt x="22" y="93"/>
                  </a:cubicBezTo>
                  <a:cubicBezTo>
                    <a:pt x="22" y="93"/>
                    <a:pt x="3" y="96"/>
                    <a:pt x="13" y="106"/>
                  </a:cubicBezTo>
                  <a:cubicBezTo>
                    <a:pt x="23" y="116"/>
                    <a:pt x="50" y="110"/>
                    <a:pt x="47" y="126"/>
                  </a:cubicBezTo>
                  <a:cubicBezTo>
                    <a:pt x="44" y="142"/>
                    <a:pt x="35" y="150"/>
                    <a:pt x="35" y="150"/>
                  </a:cubicBezTo>
                  <a:cubicBezTo>
                    <a:pt x="44" y="170"/>
                    <a:pt x="44" y="170"/>
                    <a:pt x="44" y="170"/>
                  </a:cubicBezTo>
                  <a:cubicBezTo>
                    <a:pt x="64" y="186"/>
                    <a:pt x="64" y="186"/>
                    <a:pt x="64" y="186"/>
                  </a:cubicBezTo>
                  <a:cubicBezTo>
                    <a:pt x="63" y="206"/>
                    <a:pt x="63" y="206"/>
                    <a:pt x="63" y="206"/>
                  </a:cubicBezTo>
                  <a:cubicBezTo>
                    <a:pt x="75" y="234"/>
                    <a:pt x="75" y="234"/>
                    <a:pt x="75" y="234"/>
                  </a:cubicBezTo>
                  <a:cubicBezTo>
                    <a:pt x="73" y="252"/>
                    <a:pt x="73" y="252"/>
                    <a:pt x="73" y="252"/>
                  </a:cubicBezTo>
                  <a:lnTo>
                    <a:pt x="90" y="275"/>
                  </a:ln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02" name="Azerbaijan">
              <a:extLst>
                <a:ext uri="{FF2B5EF4-FFF2-40B4-BE49-F238E27FC236}">
                  <a16:creationId xmlns:a16="http://schemas.microsoft.com/office/drawing/2014/main" id="{AE78B788-9E67-4F99-99AE-D734AD8D1EA5}"/>
                </a:ext>
              </a:extLst>
            </p:cNvPr>
            <p:cNvSpPr>
              <a:spLocks noEditPoints="1"/>
            </p:cNvSpPr>
            <p:nvPr/>
          </p:nvSpPr>
          <p:spPr bwMode="gray">
            <a:xfrm>
              <a:off x="6732404" y="2823661"/>
              <a:ext cx="134960" cy="107900"/>
            </a:xfrm>
            <a:custGeom>
              <a:avLst/>
              <a:gdLst>
                <a:gd name="T0" fmla="*/ 42 w 240"/>
                <a:gd name="T1" fmla="*/ 125 h 194"/>
                <a:gd name="T2" fmla="*/ 31 w 240"/>
                <a:gd name="T3" fmla="*/ 127 h 194"/>
                <a:gd name="T4" fmla="*/ 14 w 240"/>
                <a:gd name="T5" fmla="*/ 116 h 194"/>
                <a:gd name="T6" fmla="*/ 4 w 240"/>
                <a:gd name="T7" fmla="*/ 119 h 194"/>
                <a:gd name="T8" fmla="*/ 14 w 240"/>
                <a:gd name="T9" fmla="*/ 141 h 194"/>
                <a:gd name="T10" fmla="*/ 56 w 240"/>
                <a:gd name="T11" fmla="*/ 163 h 194"/>
                <a:gd name="T12" fmla="*/ 59 w 240"/>
                <a:gd name="T13" fmla="*/ 163 h 194"/>
                <a:gd name="T14" fmla="*/ 50 w 240"/>
                <a:gd name="T15" fmla="*/ 141 h 194"/>
                <a:gd name="T16" fmla="*/ 42 w 240"/>
                <a:gd name="T17" fmla="*/ 125 h 194"/>
                <a:gd name="T18" fmla="*/ 235 w 240"/>
                <a:gd name="T19" fmla="*/ 75 h 194"/>
                <a:gd name="T20" fmla="*/ 205 w 240"/>
                <a:gd name="T21" fmla="*/ 74 h 194"/>
                <a:gd name="T22" fmla="*/ 193 w 240"/>
                <a:gd name="T23" fmla="*/ 56 h 194"/>
                <a:gd name="T24" fmla="*/ 176 w 240"/>
                <a:gd name="T25" fmla="*/ 38 h 194"/>
                <a:gd name="T26" fmla="*/ 177 w 240"/>
                <a:gd name="T27" fmla="*/ 29 h 194"/>
                <a:gd name="T28" fmla="*/ 145 w 240"/>
                <a:gd name="T29" fmla="*/ 2 h 194"/>
                <a:gd name="T30" fmla="*/ 143 w 240"/>
                <a:gd name="T31" fmla="*/ 20 h 194"/>
                <a:gd name="T32" fmla="*/ 126 w 240"/>
                <a:gd name="T33" fmla="*/ 24 h 194"/>
                <a:gd name="T34" fmla="*/ 116 w 240"/>
                <a:gd name="T35" fmla="*/ 38 h 194"/>
                <a:gd name="T36" fmla="*/ 78 w 240"/>
                <a:gd name="T37" fmla="*/ 9 h 194"/>
                <a:gd name="T38" fmla="*/ 43 w 240"/>
                <a:gd name="T39" fmla="*/ 7 h 194"/>
                <a:gd name="T40" fmla="*/ 52 w 240"/>
                <a:gd name="T41" fmla="*/ 23 h 194"/>
                <a:gd name="T42" fmla="*/ 71 w 240"/>
                <a:gd name="T43" fmla="*/ 44 h 194"/>
                <a:gd name="T44" fmla="*/ 54 w 240"/>
                <a:gd name="T45" fmla="*/ 37 h 194"/>
                <a:gd name="T46" fmla="*/ 40 w 240"/>
                <a:gd name="T47" fmla="*/ 40 h 194"/>
                <a:gd name="T48" fmla="*/ 26 w 240"/>
                <a:gd name="T49" fmla="*/ 30 h 194"/>
                <a:gd name="T50" fmla="*/ 15 w 240"/>
                <a:gd name="T51" fmla="*/ 22 h 194"/>
                <a:gd name="T52" fmla="*/ 0 w 240"/>
                <a:gd name="T53" fmla="*/ 33 h 194"/>
                <a:gd name="T54" fmla="*/ 7 w 240"/>
                <a:gd name="T55" fmla="*/ 37 h 194"/>
                <a:gd name="T56" fmla="*/ 6 w 240"/>
                <a:gd name="T57" fmla="*/ 46 h 194"/>
                <a:gd name="T58" fmla="*/ 25 w 240"/>
                <a:gd name="T59" fmla="*/ 54 h 194"/>
                <a:gd name="T60" fmla="*/ 19 w 240"/>
                <a:gd name="T61" fmla="*/ 69 h 194"/>
                <a:gd name="T62" fmla="*/ 49 w 240"/>
                <a:gd name="T63" fmla="*/ 91 h 194"/>
                <a:gd name="T64" fmla="*/ 28 w 240"/>
                <a:gd name="T65" fmla="*/ 100 h 194"/>
                <a:gd name="T66" fmla="*/ 46 w 240"/>
                <a:gd name="T67" fmla="*/ 108 h 194"/>
                <a:gd name="T68" fmla="*/ 56 w 240"/>
                <a:gd name="T69" fmla="*/ 122 h 194"/>
                <a:gd name="T70" fmla="*/ 76 w 240"/>
                <a:gd name="T71" fmla="*/ 124 h 194"/>
                <a:gd name="T72" fmla="*/ 74 w 240"/>
                <a:gd name="T73" fmla="*/ 134 h 194"/>
                <a:gd name="T74" fmla="*/ 78 w 240"/>
                <a:gd name="T75" fmla="*/ 141 h 194"/>
                <a:gd name="T76" fmla="*/ 81 w 240"/>
                <a:gd name="T77" fmla="*/ 162 h 194"/>
                <a:gd name="T78" fmla="*/ 83 w 240"/>
                <a:gd name="T79" fmla="*/ 162 h 194"/>
                <a:gd name="T80" fmla="*/ 97 w 240"/>
                <a:gd name="T81" fmla="*/ 146 h 194"/>
                <a:gd name="T82" fmla="*/ 142 w 240"/>
                <a:gd name="T83" fmla="*/ 115 h 194"/>
                <a:gd name="T84" fmla="*/ 157 w 240"/>
                <a:gd name="T85" fmla="*/ 133 h 194"/>
                <a:gd name="T86" fmla="*/ 150 w 240"/>
                <a:gd name="T87" fmla="*/ 144 h 194"/>
                <a:gd name="T88" fmla="*/ 159 w 240"/>
                <a:gd name="T89" fmla="*/ 157 h 194"/>
                <a:gd name="T90" fmla="*/ 149 w 240"/>
                <a:gd name="T91" fmla="*/ 164 h 194"/>
                <a:gd name="T92" fmla="*/ 168 w 240"/>
                <a:gd name="T93" fmla="*/ 180 h 194"/>
                <a:gd name="T94" fmla="*/ 177 w 240"/>
                <a:gd name="T95" fmla="*/ 189 h 194"/>
                <a:gd name="T96" fmla="*/ 187 w 240"/>
                <a:gd name="T97" fmla="*/ 191 h 194"/>
                <a:gd name="T98" fmla="*/ 188 w 240"/>
                <a:gd name="T99" fmla="*/ 194 h 194"/>
                <a:gd name="T100" fmla="*/ 191 w 240"/>
                <a:gd name="T101" fmla="*/ 174 h 194"/>
                <a:gd name="T102" fmla="*/ 179 w 240"/>
                <a:gd name="T103" fmla="*/ 165 h 194"/>
                <a:gd name="T104" fmla="*/ 190 w 240"/>
                <a:gd name="T105" fmla="*/ 161 h 194"/>
                <a:gd name="T106" fmla="*/ 190 w 240"/>
                <a:gd name="T107" fmla="*/ 142 h 194"/>
                <a:gd name="T108" fmla="*/ 208 w 240"/>
                <a:gd name="T109" fmla="*/ 147 h 194"/>
                <a:gd name="T110" fmla="*/ 198 w 240"/>
                <a:gd name="T111" fmla="*/ 129 h 194"/>
                <a:gd name="T112" fmla="*/ 201 w 240"/>
                <a:gd name="T113" fmla="*/ 116 h 194"/>
                <a:gd name="T114" fmla="*/ 200 w 240"/>
                <a:gd name="T115" fmla="*/ 93 h 194"/>
                <a:gd name="T116" fmla="*/ 210 w 240"/>
                <a:gd name="T117" fmla="*/ 95 h 194"/>
                <a:gd name="T118" fmla="*/ 218 w 240"/>
                <a:gd name="T119" fmla="*/ 86 h 194"/>
                <a:gd name="T120" fmla="*/ 240 w 240"/>
                <a:gd name="T121" fmla="*/ 88 h 194"/>
                <a:gd name="T122" fmla="*/ 235 w 240"/>
                <a:gd name="T12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 h="194">
                  <a:moveTo>
                    <a:pt x="42" y="125"/>
                  </a:moveTo>
                  <a:cubicBezTo>
                    <a:pt x="33" y="124"/>
                    <a:pt x="31" y="127"/>
                    <a:pt x="31" y="127"/>
                  </a:cubicBezTo>
                  <a:cubicBezTo>
                    <a:pt x="31" y="127"/>
                    <a:pt x="21" y="126"/>
                    <a:pt x="14" y="116"/>
                  </a:cubicBezTo>
                  <a:cubicBezTo>
                    <a:pt x="13" y="116"/>
                    <a:pt x="6" y="118"/>
                    <a:pt x="4" y="119"/>
                  </a:cubicBezTo>
                  <a:cubicBezTo>
                    <a:pt x="6" y="125"/>
                    <a:pt x="7" y="135"/>
                    <a:pt x="14" y="141"/>
                  </a:cubicBezTo>
                  <a:cubicBezTo>
                    <a:pt x="24" y="149"/>
                    <a:pt x="41" y="163"/>
                    <a:pt x="56" y="163"/>
                  </a:cubicBezTo>
                  <a:cubicBezTo>
                    <a:pt x="57" y="163"/>
                    <a:pt x="58" y="163"/>
                    <a:pt x="59" y="163"/>
                  </a:cubicBezTo>
                  <a:cubicBezTo>
                    <a:pt x="57" y="156"/>
                    <a:pt x="52" y="144"/>
                    <a:pt x="50" y="141"/>
                  </a:cubicBezTo>
                  <a:cubicBezTo>
                    <a:pt x="47" y="137"/>
                    <a:pt x="51" y="126"/>
                    <a:pt x="42" y="125"/>
                  </a:cubicBezTo>
                  <a:close/>
                  <a:moveTo>
                    <a:pt x="235" y="75"/>
                  </a:moveTo>
                  <a:cubicBezTo>
                    <a:pt x="231" y="67"/>
                    <a:pt x="215" y="74"/>
                    <a:pt x="205" y="74"/>
                  </a:cubicBezTo>
                  <a:cubicBezTo>
                    <a:pt x="195" y="74"/>
                    <a:pt x="193" y="56"/>
                    <a:pt x="193" y="56"/>
                  </a:cubicBezTo>
                  <a:cubicBezTo>
                    <a:pt x="176" y="38"/>
                    <a:pt x="176" y="38"/>
                    <a:pt x="176" y="38"/>
                  </a:cubicBezTo>
                  <a:cubicBezTo>
                    <a:pt x="177" y="29"/>
                    <a:pt x="177" y="29"/>
                    <a:pt x="177" y="29"/>
                  </a:cubicBezTo>
                  <a:cubicBezTo>
                    <a:pt x="145" y="2"/>
                    <a:pt x="145" y="2"/>
                    <a:pt x="145" y="2"/>
                  </a:cubicBezTo>
                  <a:cubicBezTo>
                    <a:pt x="145" y="2"/>
                    <a:pt x="144" y="13"/>
                    <a:pt x="143" y="20"/>
                  </a:cubicBezTo>
                  <a:cubicBezTo>
                    <a:pt x="142" y="27"/>
                    <a:pt x="126" y="24"/>
                    <a:pt x="126" y="24"/>
                  </a:cubicBezTo>
                  <a:cubicBezTo>
                    <a:pt x="126" y="24"/>
                    <a:pt x="132" y="36"/>
                    <a:pt x="116" y="38"/>
                  </a:cubicBezTo>
                  <a:cubicBezTo>
                    <a:pt x="100" y="40"/>
                    <a:pt x="91" y="18"/>
                    <a:pt x="78" y="9"/>
                  </a:cubicBezTo>
                  <a:cubicBezTo>
                    <a:pt x="65" y="0"/>
                    <a:pt x="49" y="2"/>
                    <a:pt x="43" y="7"/>
                  </a:cubicBezTo>
                  <a:cubicBezTo>
                    <a:pt x="37" y="12"/>
                    <a:pt x="52" y="23"/>
                    <a:pt x="52" y="23"/>
                  </a:cubicBezTo>
                  <a:cubicBezTo>
                    <a:pt x="52" y="23"/>
                    <a:pt x="73" y="34"/>
                    <a:pt x="71" y="44"/>
                  </a:cubicBezTo>
                  <a:cubicBezTo>
                    <a:pt x="69" y="54"/>
                    <a:pt x="57" y="37"/>
                    <a:pt x="54" y="37"/>
                  </a:cubicBezTo>
                  <a:cubicBezTo>
                    <a:pt x="51" y="37"/>
                    <a:pt x="40" y="40"/>
                    <a:pt x="40" y="40"/>
                  </a:cubicBezTo>
                  <a:cubicBezTo>
                    <a:pt x="26" y="30"/>
                    <a:pt x="26" y="30"/>
                    <a:pt x="26" y="30"/>
                  </a:cubicBezTo>
                  <a:cubicBezTo>
                    <a:pt x="26" y="30"/>
                    <a:pt x="28" y="23"/>
                    <a:pt x="15" y="22"/>
                  </a:cubicBezTo>
                  <a:cubicBezTo>
                    <a:pt x="5" y="21"/>
                    <a:pt x="1" y="29"/>
                    <a:pt x="0" y="33"/>
                  </a:cubicBezTo>
                  <a:cubicBezTo>
                    <a:pt x="3" y="35"/>
                    <a:pt x="7" y="37"/>
                    <a:pt x="7" y="37"/>
                  </a:cubicBezTo>
                  <a:cubicBezTo>
                    <a:pt x="6" y="46"/>
                    <a:pt x="6" y="46"/>
                    <a:pt x="6" y="46"/>
                  </a:cubicBezTo>
                  <a:cubicBezTo>
                    <a:pt x="6" y="46"/>
                    <a:pt x="25" y="47"/>
                    <a:pt x="25" y="54"/>
                  </a:cubicBezTo>
                  <a:cubicBezTo>
                    <a:pt x="25" y="61"/>
                    <a:pt x="19" y="69"/>
                    <a:pt x="19" y="69"/>
                  </a:cubicBezTo>
                  <a:cubicBezTo>
                    <a:pt x="19" y="69"/>
                    <a:pt x="50" y="82"/>
                    <a:pt x="49" y="91"/>
                  </a:cubicBezTo>
                  <a:cubicBezTo>
                    <a:pt x="48" y="100"/>
                    <a:pt x="28" y="100"/>
                    <a:pt x="28" y="100"/>
                  </a:cubicBezTo>
                  <a:cubicBezTo>
                    <a:pt x="46" y="108"/>
                    <a:pt x="46" y="108"/>
                    <a:pt x="46" y="108"/>
                  </a:cubicBezTo>
                  <a:cubicBezTo>
                    <a:pt x="56" y="122"/>
                    <a:pt x="56" y="122"/>
                    <a:pt x="56" y="122"/>
                  </a:cubicBezTo>
                  <a:cubicBezTo>
                    <a:pt x="76" y="124"/>
                    <a:pt x="76" y="124"/>
                    <a:pt x="76" y="124"/>
                  </a:cubicBezTo>
                  <a:cubicBezTo>
                    <a:pt x="74" y="134"/>
                    <a:pt x="74" y="134"/>
                    <a:pt x="74" y="134"/>
                  </a:cubicBezTo>
                  <a:cubicBezTo>
                    <a:pt x="78" y="141"/>
                    <a:pt x="78" y="141"/>
                    <a:pt x="78" y="141"/>
                  </a:cubicBezTo>
                  <a:cubicBezTo>
                    <a:pt x="78" y="141"/>
                    <a:pt x="80" y="154"/>
                    <a:pt x="81" y="162"/>
                  </a:cubicBezTo>
                  <a:cubicBezTo>
                    <a:pt x="82" y="162"/>
                    <a:pt x="82" y="162"/>
                    <a:pt x="83" y="162"/>
                  </a:cubicBezTo>
                  <a:cubicBezTo>
                    <a:pt x="86" y="161"/>
                    <a:pt x="94" y="150"/>
                    <a:pt x="97" y="146"/>
                  </a:cubicBezTo>
                  <a:cubicBezTo>
                    <a:pt x="100" y="142"/>
                    <a:pt x="136" y="115"/>
                    <a:pt x="142" y="115"/>
                  </a:cubicBezTo>
                  <a:cubicBezTo>
                    <a:pt x="148" y="115"/>
                    <a:pt x="155" y="127"/>
                    <a:pt x="157" y="133"/>
                  </a:cubicBezTo>
                  <a:cubicBezTo>
                    <a:pt x="159" y="139"/>
                    <a:pt x="150" y="139"/>
                    <a:pt x="150" y="144"/>
                  </a:cubicBezTo>
                  <a:cubicBezTo>
                    <a:pt x="150" y="149"/>
                    <a:pt x="159" y="151"/>
                    <a:pt x="159" y="157"/>
                  </a:cubicBezTo>
                  <a:cubicBezTo>
                    <a:pt x="159" y="163"/>
                    <a:pt x="149" y="159"/>
                    <a:pt x="149" y="164"/>
                  </a:cubicBezTo>
                  <a:cubicBezTo>
                    <a:pt x="149" y="169"/>
                    <a:pt x="162" y="177"/>
                    <a:pt x="168" y="180"/>
                  </a:cubicBezTo>
                  <a:cubicBezTo>
                    <a:pt x="174" y="183"/>
                    <a:pt x="177" y="189"/>
                    <a:pt x="177" y="189"/>
                  </a:cubicBezTo>
                  <a:cubicBezTo>
                    <a:pt x="187" y="191"/>
                    <a:pt x="187" y="191"/>
                    <a:pt x="187" y="191"/>
                  </a:cubicBezTo>
                  <a:cubicBezTo>
                    <a:pt x="187" y="191"/>
                    <a:pt x="187" y="192"/>
                    <a:pt x="188" y="194"/>
                  </a:cubicBezTo>
                  <a:cubicBezTo>
                    <a:pt x="190" y="187"/>
                    <a:pt x="192" y="178"/>
                    <a:pt x="191" y="174"/>
                  </a:cubicBezTo>
                  <a:cubicBezTo>
                    <a:pt x="189" y="168"/>
                    <a:pt x="179" y="165"/>
                    <a:pt x="179" y="165"/>
                  </a:cubicBezTo>
                  <a:cubicBezTo>
                    <a:pt x="190" y="161"/>
                    <a:pt x="190" y="161"/>
                    <a:pt x="190" y="161"/>
                  </a:cubicBezTo>
                  <a:cubicBezTo>
                    <a:pt x="190" y="142"/>
                    <a:pt x="190" y="142"/>
                    <a:pt x="190" y="142"/>
                  </a:cubicBezTo>
                  <a:cubicBezTo>
                    <a:pt x="190" y="142"/>
                    <a:pt x="202" y="155"/>
                    <a:pt x="208" y="147"/>
                  </a:cubicBezTo>
                  <a:cubicBezTo>
                    <a:pt x="214" y="139"/>
                    <a:pt x="198" y="129"/>
                    <a:pt x="198" y="129"/>
                  </a:cubicBezTo>
                  <a:cubicBezTo>
                    <a:pt x="201" y="116"/>
                    <a:pt x="201" y="116"/>
                    <a:pt x="201" y="116"/>
                  </a:cubicBezTo>
                  <a:cubicBezTo>
                    <a:pt x="200" y="93"/>
                    <a:pt x="200" y="93"/>
                    <a:pt x="200" y="93"/>
                  </a:cubicBezTo>
                  <a:cubicBezTo>
                    <a:pt x="210" y="95"/>
                    <a:pt x="210" y="95"/>
                    <a:pt x="210" y="95"/>
                  </a:cubicBezTo>
                  <a:cubicBezTo>
                    <a:pt x="218" y="86"/>
                    <a:pt x="218" y="86"/>
                    <a:pt x="218" y="86"/>
                  </a:cubicBezTo>
                  <a:cubicBezTo>
                    <a:pt x="240" y="88"/>
                    <a:pt x="240" y="88"/>
                    <a:pt x="240" y="88"/>
                  </a:cubicBezTo>
                  <a:cubicBezTo>
                    <a:pt x="240" y="88"/>
                    <a:pt x="239" y="83"/>
                    <a:pt x="235" y="75"/>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98" name="Armenia">
              <a:extLst>
                <a:ext uri="{FF2B5EF4-FFF2-40B4-BE49-F238E27FC236}">
                  <a16:creationId xmlns:a16="http://schemas.microsoft.com/office/drawing/2014/main" id="{53A010D5-A867-4DFA-8412-F9AC1E5683B9}"/>
                </a:ext>
              </a:extLst>
            </p:cNvPr>
            <p:cNvSpPr>
              <a:spLocks/>
            </p:cNvSpPr>
            <p:nvPr/>
          </p:nvSpPr>
          <p:spPr bwMode="gray">
            <a:xfrm>
              <a:off x="6694298" y="2839528"/>
              <a:ext cx="84152" cy="79338"/>
            </a:xfrm>
            <a:custGeom>
              <a:avLst/>
              <a:gdLst>
                <a:gd name="T0" fmla="*/ 147 w 152"/>
                <a:gd name="T1" fmla="*/ 111 h 140"/>
                <a:gd name="T2" fmla="*/ 143 w 152"/>
                <a:gd name="T3" fmla="*/ 104 h 140"/>
                <a:gd name="T4" fmla="*/ 145 w 152"/>
                <a:gd name="T5" fmla="*/ 94 h 140"/>
                <a:gd name="T6" fmla="*/ 125 w 152"/>
                <a:gd name="T7" fmla="*/ 92 h 140"/>
                <a:gd name="T8" fmla="*/ 115 w 152"/>
                <a:gd name="T9" fmla="*/ 78 h 140"/>
                <a:gd name="T10" fmla="*/ 97 w 152"/>
                <a:gd name="T11" fmla="*/ 70 h 140"/>
                <a:gd name="T12" fmla="*/ 118 w 152"/>
                <a:gd name="T13" fmla="*/ 61 h 140"/>
                <a:gd name="T14" fmla="*/ 88 w 152"/>
                <a:gd name="T15" fmla="*/ 39 h 140"/>
                <a:gd name="T16" fmla="*/ 94 w 152"/>
                <a:gd name="T17" fmla="*/ 24 h 140"/>
                <a:gd name="T18" fmla="*/ 75 w 152"/>
                <a:gd name="T19" fmla="*/ 16 h 140"/>
                <a:gd name="T20" fmla="*/ 76 w 152"/>
                <a:gd name="T21" fmla="*/ 7 h 140"/>
                <a:gd name="T22" fmla="*/ 61 w 152"/>
                <a:gd name="T23" fmla="*/ 0 h 140"/>
                <a:gd name="T24" fmla="*/ 55 w 152"/>
                <a:gd name="T25" fmla="*/ 10 h 140"/>
                <a:gd name="T26" fmla="*/ 22 w 152"/>
                <a:gd name="T27" fmla="*/ 6 h 140"/>
                <a:gd name="T28" fmla="*/ 17 w 152"/>
                <a:gd name="T29" fmla="*/ 13 h 140"/>
                <a:gd name="T30" fmla="*/ 0 w 152"/>
                <a:gd name="T31" fmla="*/ 14 h 140"/>
                <a:gd name="T32" fmla="*/ 6 w 152"/>
                <a:gd name="T33" fmla="*/ 29 h 140"/>
                <a:gd name="T34" fmla="*/ 18 w 152"/>
                <a:gd name="T35" fmla="*/ 69 h 140"/>
                <a:gd name="T36" fmla="*/ 47 w 152"/>
                <a:gd name="T37" fmla="*/ 72 h 140"/>
                <a:gd name="T38" fmla="*/ 57 w 152"/>
                <a:gd name="T39" fmla="*/ 93 h 140"/>
                <a:gd name="T40" fmla="*/ 55 w 152"/>
                <a:gd name="T41" fmla="*/ 98 h 140"/>
                <a:gd name="T42" fmla="*/ 62 w 152"/>
                <a:gd name="T43" fmla="*/ 103 h 140"/>
                <a:gd name="T44" fmla="*/ 72 w 152"/>
                <a:gd name="T45" fmla="*/ 89 h 140"/>
                <a:gd name="T46" fmla="*/ 83 w 152"/>
                <a:gd name="T47" fmla="*/ 86 h 140"/>
                <a:gd name="T48" fmla="*/ 100 w 152"/>
                <a:gd name="T49" fmla="*/ 97 h 140"/>
                <a:gd name="T50" fmla="*/ 111 w 152"/>
                <a:gd name="T51" fmla="*/ 95 h 140"/>
                <a:gd name="T52" fmla="*/ 119 w 152"/>
                <a:gd name="T53" fmla="*/ 111 h 140"/>
                <a:gd name="T54" fmla="*/ 130 w 152"/>
                <a:gd name="T55" fmla="*/ 138 h 140"/>
                <a:gd name="T56" fmla="*/ 148 w 152"/>
                <a:gd name="T57" fmla="*/ 140 h 140"/>
                <a:gd name="T58" fmla="*/ 147 w 152"/>
                <a:gd name="T59" fmla="*/ 11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40">
                  <a:moveTo>
                    <a:pt x="147" y="111"/>
                  </a:moveTo>
                  <a:cubicBezTo>
                    <a:pt x="143" y="104"/>
                    <a:pt x="143" y="104"/>
                    <a:pt x="143" y="104"/>
                  </a:cubicBezTo>
                  <a:cubicBezTo>
                    <a:pt x="145" y="94"/>
                    <a:pt x="145" y="94"/>
                    <a:pt x="145" y="94"/>
                  </a:cubicBezTo>
                  <a:cubicBezTo>
                    <a:pt x="125" y="92"/>
                    <a:pt x="125" y="92"/>
                    <a:pt x="125" y="92"/>
                  </a:cubicBezTo>
                  <a:cubicBezTo>
                    <a:pt x="115" y="78"/>
                    <a:pt x="115" y="78"/>
                    <a:pt x="115" y="78"/>
                  </a:cubicBezTo>
                  <a:cubicBezTo>
                    <a:pt x="97" y="70"/>
                    <a:pt x="97" y="70"/>
                    <a:pt x="97" y="70"/>
                  </a:cubicBezTo>
                  <a:cubicBezTo>
                    <a:pt x="97" y="70"/>
                    <a:pt x="117" y="70"/>
                    <a:pt x="118" y="61"/>
                  </a:cubicBezTo>
                  <a:cubicBezTo>
                    <a:pt x="119" y="52"/>
                    <a:pt x="88" y="39"/>
                    <a:pt x="88" y="39"/>
                  </a:cubicBezTo>
                  <a:cubicBezTo>
                    <a:pt x="88" y="39"/>
                    <a:pt x="94" y="31"/>
                    <a:pt x="94" y="24"/>
                  </a:cubicBezTo>
                  <a:cubicBezTo>
                    <a:pt x="94" y="17"/>
                    <a:pt x="75" y="16"/>
                    <a:pt x="75" y="16"/>
                  </a:cubicBezTo>
                  <a:cubicBezTo>
                    <a:pt x="76" y="7"/>
                    <a:pt x="76" y="7"/>
                    <a:pt x="76" y="7"/>
                  </a:cubicBezTo>
                  <a:cubicBezTo>
                    <a:pt x="76" y="7"/>
                    <a:pt x="64" y="0"/>
                    <a:pt x="61" y="0"/>
                  </a:cubicBezTo>
                  <a:cubicBezTo>
                    <a:pt x="58" y="0"/>
                    <a:pt x="55" y="10"/>
                    <a:pt x="55" y="10"/>
                  </a:cubicBezTo>
                  <a:cubicBezTo>
                    <a:pt x="22" y="6"/>
                    <a:pt x="22" y="6"/>
                    <a:pt x="22" y="6"/>
                  </a:cubicBezTo>
                  <a:cubicBezTo>
                    <a:pt x="17" y="13"/>
                    <a:pt x="17" y="13"/>
                    <a:pt x="17" y="13"/>
                  </a:cubicBezTo>
                  <a:cubicBezTo>
                    <a:pt x="0" y="14"/>
                    <a:pt x="0" y="14"/>
                    <a:pt x="0" y="14"/>
                  </a:cubicBezTo>
                  <a:cubicBezTo>
                    <a:pt x="2" y="17"/>
                    <a:pt x="3" y="22"/>
                    <a:pt x="6" y="29"/>
                  </a:cubicBezTo>
                  <a:cubicBezTo>
                    <a:pt x="12" y="44"/>
                    <a:pt x="10" y="58"/>
                    <a:pt x="18" y="69"/>
                  </a:cubicBezTo>
                  <a:cubicBezTo>
                    <a:pt x="26" y="80"/>
                    <a:pt x="42" y="71"/>
                    <a:pt x="47" y="72"/>
                  </a:cubicBezTo>
                  <a:cubicBezTo>
                    <a:pt x="50" y="72"/>
                    <a:pt x="54" y="83"/>
                    <a:pt x="57" y="93"/>
                  </a:cubicBezTo>
                  <a:cubicBezTo>
                    <a:pt x="56" y="95"/>
                    <a:pt x="56" y="96"/>
                    <a:pt x="55" y="98"/>
                  </a:cubicBezTo>
                  <a:cubicBezTo>
                    <a:pt x="62" y="103"/>
                    <a:pt x="62" y="103"/>
                    <a:pt x="62" y="103"/>
                  </a:cubicBezTo>
                  <a:cubicBezTo>
                    <a:pt x="72" y="89"/>
                    <a:pt x="72" y="89"/>
                    <a:pt x="72" y="89"/>
                  </a:cubicBezTo>
                  <a:cubicBezTo>
                    <a:pt x="72" y="89"/>
                    <a:pt x="82" y="86"/>
                    <a:pt x="83" y="86"/>
                  </a:cubicBezTo>
                  <a:cubicBezTo>
                    <a:pt x="90" y="96"/>
                    <a:pt x="100" y="97"/>
                    <a:pt x="100" y="97"/>
                  </a:cubicBezTo>
                  <a:cubicBezTo>
                    <a:pt x="100" y="97"/>
                    <a:pt x="102" y="94"/>
                    <a:pt x="111" y="95"/>
                  </a:cubicBezTo>
                  <a:cubicBezTo>
                    <a:pt x="120" y="96"/>
                    <a:pt x="116" y="107"/>
                    <a:pt x="119" y="111"/>
                  </a:cubicBezTo>
                  <a:cubicBezTo>
                    <a:pt x="122" y="115"/>
                    <a:pt x="130" y="138"/>
                    <a:pt x="130" y="138"/>
                  </a:cubicBezTo>
                  <a:cubicBezTo>
                    <a:pt x="130" y="138"/>
                    <a:pt x="144" y="140"/>
                    <a:pt x="148" y="140"/>
                  </a:cubicBezTo>
                  <a:cubicBezTo>
                    <a:pt x="152" y="140"/>
                    <a:pt x="147" y="111"/>
                    <a:pt x="147" y="111"/>
                  </a:cubicBezTo>
                  <a:close/>
                </a:path>
              </a:pathLst>
            </a:custGeom>
            <a:grp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94" name="Afghanistan">
              <a:extLst>
                <a:ext uri="{FF2B5EF4-FFF2-40B4-BE49-F238E27FC236}">
                  <a16:creationId xmlns:a16="http://schemas.microsoft.com/office/drawing/2014/main" id="{300A305D-3E0F-4194-A1C9-72FFFFD639F4}"/>
                </a:ext>
              </a:extLst>
            </p:cNvPr>
            <p:cNvSpPr>
              <a:spLocks/>
            </p:cNvSpPr>
            <p:nvPr/>
          </p:nvSpPr>
          <p:spPr bwMode="gray">
            <a:xfrm>
              <a:off x="7145227" y="2925214"/>
              <a:ext cx="339784" cy="274511"/>
            </a:xfrm>
            <a:custGeom>
              <a:avLst/>
              <a:gdLst>
                <a:gd name="T0" fmla="*/ 607 w 607"/>
                <a:gd name="T1" fmla="*/ 64 h 492"/>
                <a:gd name="T2" fmla="*/ 587 w 607"/>
                <a:gd name="T3" fmla="*/ 59 h 492"/>
                <a:gd name="T4" fmla="*/ 561 w 607"/>
                <a:gd name="T5" fmla="*/ 57 h 492"/>
                <a:gd name="T6" fmla="*/ 516 w 607"/>
                <a:gd name="T7" fmla="*/ 81 h 492"/>
                <a:gd name="T8" fmla="*/ 485 w 607"/>
                <a:gd name="T9" fmla="*/ 100 h 492"/>
                <a:gd name="T10" fmla="*/ 455 w 607"/>
                <a:gd name="T11" fmla="*/ 33 h 492"/>
                <a:gd name="T12" fmla="*/ 441 w 607"/>
                <a:gd name="T13" fmla="*/ 14 h 492"/>
                <a:gd name="T14" fmla="*/ 413 w 607"/>
                <a:gd name="T15" fmla="*/ 19 h 492"/>
                <a:gd name="T16" fmla="*/ 407 w 607"/>
                <a:gd name="T17" fmla="*/ 40 h 492"/>
                <a:gd name="T18" fmla="*/ 395 w 607"/>
                <a:gd name="T19" fmla="*/ 48 h 492"/>
                <a:gd name="T20" fmla="*/ 364 w 607"/>
                <a:gd name="T21" fmla="*/ 79 h 492"/>
                <a:gd name="T22" fmla="*/ 315 w 607"/>
                <a:gd name="T23" fmla="*/ 83 h 492"/>
                <a:gd name="T24" fmla="*/ 287 w 607"/>
                <a:gd name="T25" fmla="*/ 66 h 492"/>
                <a:gd name="T26" fmla="*/ 267 w 607"/>
                <a:gd name="T27" fmla="*/ 57 h 492"/>
                <a:gd name="T28" fmla="*/ 229 w 607"/>
                <a:gd name="T29" fmla="*/ 63 h 492"/>
                <a:gd name="T30" fmla="*/ 200 w 607"/>
                <a:gd name="T31" fmla="*/ 67 h 492"/>
                <a:gd name="T32" fmla="*/ 166 w 607"/>
                <a:gd name="T33" fmla="*/ 116 h 492"/>
                <a:gd name="T34" fmla="*/ 137 w 607"/>
                <a:gd name="T35" fmla="*/ 136 h 492"/>
                <a:gd name="T36" fmla="*/ 107 w 607"/>
                <a:gd name="T37" fmla="*/ 167 h 492"/>
                <a:gd name="T38" fmla="*/ 61 w 607"/>
                <a:gd name="T39" fmla="*/ 161 h 492"/>
                <a:gd name="T40" fmla="*/ 30 w 607"/>
                <a:gd name="T41" fmla="*/ 154 h 492"/>
                <a:gd name="T42" fmla="*/ 29 w 607"/>
                <a:gd name="T43" fmla="*/ 205 h 492"/>
                <a:gd name="T44" fmla="*/ 20 w 607"/>
                <a:gd name="T45" fmla="*/ 220 h 492"/>
                <a:gd name="T46" fmla="*/ 11 w 607"/>
                <a:gd name="T47" fmla="*/ 244 h 492"/>
                <a:gd name="T48" fmla="*/ 31 w 607"/>
                <a:gd name="T49" fmla="*/ 266 h 492"/>
                <a:gd name="T50" fmla="*/ 40 w 607"/>
                <a:gd name="T51" fmla="*/ 341 h 492"/>
                <a:gd name="T52" fmla="*/ 70 w 607"/>
                <a:gd name="T53" fmla="*/ 382 h 492"/>
                <a:gd name="T54" fmla="*/ 79 w 607"/>
                <a:gd name="T55" fmla="*/ 434 h 492"/>
                <a:gd name="T56" fmla="*/ 61 w 607"/>
                <a:gd name="T57" fmla="*/ 467 h 492"/>
                <a:gd name="T58" fmla="*/ 142 w 607"/>
                <a:gd name="T59" fmla="*/ 490 h 492"/>
                <a:gd name="T60" fmla="*/ 196 w 607"/>
                <a:gd name="T61" fmla="*/ 484 h 492"/>
                <a:gd name="T62" fmla="*/ 218 w 607"/>
                <a:gd name="T63" fmla="*/ 482 h 492"/>
                <a:gd name="T64" fmla="*/ 307 w 607"/>
                <a:gd name="T65" fmla="*/ 459 h 492"/>
                <a:gd name="T66" fmla="*/ 298 w 607"/>
                <a:gd name="T67" fmla="*/ 403 h 492"/>
                <a:gd name="T68" fmla="*/ 327 w 607"/>
                <a:gd name="T69" fmla="*/ 390 h 492"/>
                <a:gd name="T70" fmla="*/ 348 w 607"/>
                <a:gd name="T71" fmla="*/ 376 h 492"/>
                <a:gd name="T72" fmla="*/ 381 w 607"/>
                <a:gd name="T73" fmla="*/ 361 h 492"/>
                <a:gd name="T74" fmla="*/ 409 w 607"/>
                <a:gd name="T75" fmla="*/ 371 h 492"/>
                <a:gd name="T76" fmla="*/ 417 w 607"/>
                <a:gd name="T77" fmla="*/ 325 h 492"/>
                <a:gd name="T78" fmla="*/ 425 w 607"/>
                <a:gd name="T79" fmla="*/ 291 h 492"/>
                <a:gd name="T80" fmla="*/ 462 w 607"/>
                <a:gd name="T81" fmla="*/ 275 h 492"/>
                <a:gd name="T82" fmla="*/ 447 w 607"/>
                <a:gd name="T83" fmla="*/ 258 h 492"/>
                <a:gd name="T84" fmla="*/ 434 w 607"/>
                <a:gd name="T85" fmla="*/ 238 h 492"/>
                <a:gd name="T86" fmla="*/ 456 w 607"/>
                <a:gd name="T87" fmla="*/ 246 h 492"/>
                <a:gd name="T88" fmla="*/ 467 w 607"/>
                <a:gd name="T89" fmla="*/ 242 h 492"/>
                <a:gd name="T90" fmla="*/ 479 w 607"/>
                <a:gd name="T91" fmla="*/ 222 h 492"/>
                <a:gd name="T92" fmla="*/ 494 w 607"/>
                <a:gd name="T93" fmla="*/ 188 h 492"/>
                <a:gd name="T94" fmla="*/ 479 w 607"/>
                <a:gd name="T95" fmla="*/ 144 h 492"/>
                <a:gd name="T96" fmla="*/ 486 w 607"/>
                <a:gd name="T97" fmla="*/ 109 h 492"/>
                <a:gd name="T98" fmla="*/ 540 w 607"/>
                <a:gd name="T99" fmla="*/ 88 h 492"/>
                <a:gd name="T100" fmla="*/ 584 w 607"/>
                <a:gd name="T101" fmla="*/ 88 h 492"/>
                <a:gd name="T102" fmla="*/ 602 w 607"/>
                <a:gd name="T103" fmla="*/ 78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7" h="492">
                  <a:moveTo>
                    <a:pt x="596" y="71"/>
                  </a:moveTo>
                  <a:cubicBezTo>
                    <a:pt x="594" y="65"/>
                    <a:pt x="600" y="65"/>
                    <a:pt x="607" y="64"/>
                  </a:cubicBezTo>
                  <a:cubicBezTo>
                    <a:pt x="600" y="59"/>
                    <a:pt x="600" y="59"/>
                    <a:pt x="600" y="59"/>
                  </a:cubicBezTo>
                  <a:cubicBezTo>
                    <a:pt x="587" y="59"/>
                    <a:pt x="587" y="59"/>
                    <a:pt x="587" y="59"/>
                  </a:cubicBezTo>
                  <a:cubicBezTo>
                    <a:pt x="563" y="67"/>
                    <a:pt x="563" y="67"/>
                    <a:pt x="563" y="67"/>
                  </a:cubicBezTo>
                  <a:cubicBezTo>
                    <a:pt x="561" y="57"/>
                    <a:pt x="561" y="57"/>
                    <a:pt x="561" y="57"/>
                  </a:cubicBezTo>
                  <a:cubicBezTo>
                    <a:pt x="561" y="57"/>
                    <a:pt x="537" y="54"/>
                    <a:pt x="530" y="62"/>
                  </a:cubicBezTo>
                  <a:cubicBezTo>
                    <a:pt x="523" y="70"/>
                    <a:pt x="516" y="81"/>
                    <a:pt x="516" y="81"/>
                  </a:cubicBezTo>
                  <a:cubicBezTo>
                    <a:pt x="506" y="81"/>
                    <a:pt x="506" y="81"/>
                    <a:pt x="506" y="81"/>
                  </a:cubicBezTo>
                  <a:cubicBezTo>
                    <a:pt x="506" y="81"/>
                    <a:pt x="492" y="97"/>
                    <a:pt x="485" y="100"/>
                  </a:cubicBezTo>
                  <a:cubicBezTo>
                    <a:pt x="478" y="103"/>
                    <a:pt x="462" y="75"/>
                    <a:pt x="462" y="75"/>
                  </a:cubicBezTo>
                  <a:cubicBezTo>
                    <a:pt x="455" y="33"/>
                    <a:pt x="455" y="33"/>
                    <a:pt x="455" y="33"/>
                  </a:cubicBezTo>
                  <a:cubicBezTo>
                    <a:pt x="441" y="33"/>
                    <a:pt x="441" y="33"/>
                    <a:pt x="441" y="33"/>
                  </a:cubicBezTo>
                  <a:cubicBezTo>
                    <a:pt x="441" y="33"/>
                    <a:pt x="441" y="19"/>
                    <a:pt x="441" y="14"/>
                  </a:cubicBezTo>
                  <a:cubicBezTo>
                    <a:pt x="441" y="9"/>
                    <a:pt x="430" y="0"/>
                    <a:pt x="421" y="0"/>
                  </a:cubicBezTo>
                  <a:cubicBezTo>
                    <a:pt x="412" y="0"/>
                    <a:pt x="413" y="15"/>
                    <a:pt x="413" y="19"/>
                  </a:cubicBezTo>
                  <a:cubicBezTo>
                    <a:pt x="413" y="23"/>
                    <a:pt x="399" y="26"/>
                    <a:pt x="399" y="33"/>
                  </a:cubicBezTo>
                  <a:cubicBezTo>
                    <a:pt x="399" y="40"/>
                    <a:pt x="407" y="40"/>
                    <a:pt x="407" y="40"/>
                  </a:cubicBezTo>
                  <a:cubicBezTo>
                    <a:pt x="402" y="54"/>
                    <a:pt x="402" y="54"/>
                    <a:pt x="402" y="54"/>
                  </a:cubicBezTo>
                  <a:cubicBezTo>
                    <a:pt x="395" y="48"/>
                    <a:pt x="395" y="48"/>
                    <a:pt x="395" y="48"/>
                  </a:cubicBezTo>
                  <a:cubicBezTo>
                    <a:pt x="395" y="48"/>
                    <a:pt x="373" y="49"/>
                    <a:pt x="368" y="54"/>
                  </a:cubicBezTo>
                  <a:cubicBezTo>
                    <a:pt x="363" y="59"/>
                    <a:pt x="368" y="77"/>
                    <a:pt x="364" y="79"/>
                  </a:cubicBezTo>
                  <a:cubicBezTo>
                    <a:pt x="360" y="81"/>
                    <a:pt x="349" y="64"/>
                    <a:pt x="346" y="64"/>
                  </a:cubicBezTo>
                  <a:cubicBezTo>
                    <a:pt x="343" y="64"/>
                    <a:pt x="318" y="84"/>
                    <a:pt x="315" y="83"/>
                  </a:cubicBezTo>
                  <a:cubicBezTo>
                    <a:pt x="312" y="82"/>
                    <a:pt x="292" y="66"/>
                    <a:pt x="292" y="66"/>
                  </a:cubicBezTo>
                  <a:cubicBezTo>
                    <a:pt x="287" y="66"/>
                    <a:pt x="287" y="66"/>
                    <a:pt x="287" y="66"/>
                  </a:cubicBezTo>
                  <a:cubicBezTo>
                    <a:pt x="276" y="71"/>
                    <a:pt x="276" y="71"/>
                    <a:pt x="276" y="71"/>
                  </a:cubicBezTo>
                  <a:cubicBezTo>
                    <a:pt x="267" y="57"/>
                    <a:pt x="267" y="57"/>
                    <a:pt x="267" y="57"/>
                  </a:cubicBezTo>
                  <a:cubicBezTo>
                    <a:pt x="259" y="63"/>
                    <a:pt x="259" y="63"/>
                    <a:pt x="259" y="63"/>
                  </a:cubicBezTo>
                  <a:cubicBezTo>
                    <a:pt x="229" y="63"/>
                    <a:pt x="229" y="63"/>
                    <a:pt x="229" y="63"/>
                  </a:cubicBezTo>
                  <a:cubicBezTo>
                    <a:pt x="229" y="63"/>
                    <a:pt x="215" y="50"/>
                    <a:pt x="207" y="50"/>
                  </a:cubicBezTo>
                  <a:cubicBezTo>
                    <a:pt x="199" y="50"/>
                    <a:pt x="200" y="67"/>
                    <a:pt x="200" y="67"/>
                  </a:cubicBezTo>
                  <a:cubicBezTo>
                    <a:pt x="200" y="67"/>
                    <a:pt x="181" y="62"/>
                    <a:pt x="171" y="72"/>
                  </a:cubicBezTo>
                  <a:cubicBezTo>
                    <a:pt x="161" y="82"/>
                    <a:pt x="166" y="110"/>
                    <a:pt x="166" y="116"/>
                  </a:cubicBezTo>
                  <a:cubicBezTo>
                    <a:pt x="166" y="122"/>
                    <a:pt x="157" y="120"/>
                    <a:pt x="157" y="120"/>
                  </a:cubicBezTo>
                  <a:cubicBezTo>
                    <a:pt x="157" y="120"/>
                    <a:pt x="144" y="129"/>
                    <a:pt x="137" y="136"/>
                  </a:cubicBezTo>
                  <a:cubicBezTo>
                    <a:pt x="130" y="143"/>
                    <a:pt x="112" y="142"/>
                    <a:pt x="112" y="142"/>
                  </a:cubicBezTo>
                  <a:cubicBezTo>
                    <a:pt x="112" y="142"/>
                    <a:pt x="112" y="158"/>
                    <a:pt x="107" y="167"/>
                  </a:cubicBezTo>
                  <a:cubicBezTo>
                    <a:pt x="102" y="176"/>
                    <a:pt x="77" y="177"/>
                    <a:pt x="77" y="177"/>
                  </a:cubicBezTo>
                  <a:cubicBezTo>
                    <a:pt x="61" y="161"/>
                    <a:pt x="61" y="161"/>
                    <a:pt x="61" y="161"/>
                  </a:cubicBezTo>
                  <a:cubicBezTo>
                    <a:pt x="61" y="161"/>
                    <a:pt x="54" y="164"/>
                    <a:pt x="49" y="164"/>
                  </a:cubicBezTo>
                  <a:cubicBezTo>
                    <a:pt x="44" y="164"/>
                    <a:pt x="30" y="154"/>
                    <a:pt x="30" y="154"/>
                  </a:cubicBezTo>
                  <a:cubicBezTo>
                    <a:pt x="30" y="154"/>
                    <a:pt x="24" y="161"/>
                    <a:pt x="23" y="168"/>
                  </a:cubicBezTo>
                  <a:cubicBezTo>
                    <a:pt x="22" y="175"/>
                    <a:pt x="29" y="205"/>
                    <a:pt x="29" y="205"/>
                  </a:cubicBezTo>
                  <a:cubicBezTo>
                    <a:pt x="15" y="209"/>
                    <a:pt x="15" y="209"/>
                    <a:pt x="15" y="209"/>
                  </a:cubicBezTo>
                  <a:cubicBezTo>
                    <a:pt x="20" y="220"/>
                    <a:pt x="20" y="220"/>
                    <a:pt x="20" y="220"/>
                  </a:cubicBezTo>
                  <a:cubicBezTo>
                    <a:pt x="20" y="220"/>
                    <a:pt x="6" y="225"/>
                    <a:pt x="3" y="230"/>
                  </a:cubicBezTo>
                  <a:cubicBezTo>
                    <a:pt x="0" y="235"/>
                    <a:pt x="11" y="244"/>
                    <a:pt x="11" y="244"/>
                  </a:cubicBezTo>
                  <a:cubicBezTo>
                    <a:pt x="9" y="263"/>
                    <a:pt x="9" y="263"/>
                    <a:pt x="9" y="263"/>
                  </a:cubicBezTo>
                  <a:cubicBezTo>
                    <a:pt x="9" y="263"/>
                    <a:pt x="30" y="260"/>
                    <a:pt x="31" y="266"/>
                  </a:cubicBezTo>
                  <a:cubicBezTo>
                    <a:pt x="32" y="272"/>
                    <a:pt x="17" y="280"/>
                    <a:pt x="15" y="293"/>
                  </a:cubicBezTo>
                  <a:cubicBezTo>
                    <a:pt x="13" y="306"/>
                    <a:pt x="40" y="330"/>
                    <a:pt x="40" y="341"/>
                  </a:cubicBezTo>
                  <a:cubicBezTo>
                    <a:pt x="40" y="352"/>
                    <a:pt x="40" y="366"/>
                    <a:pt x="40" y="374"/>
                  </a:cubicBezTo>
                  <a:cubicBezTo>
                    <a:pt x="40" y="382"/>
                    <a:pt x="70" y="382"/>
                    <a:pt x="70" y="382"/>
                  </a:cubicBezTo>
                  <a:cubicBezTo>
                    <a:pt x="70" y="382"/>
                    <a:pt x="85" y="377"/>
                    <a:pt x="91" y="394"/>
                  </a:cubicBezTo>
                  <a:cubicBezTo>
                    <a:pt x="97" y="411"/>
                    <a:pt x="86" y="424"/>
                    <a:pt x="79" y="434"/>
                  </a:cubicBezTo>
                  <a:cubicBezTo>
                    <a:pt x="72" y="444"/>
                    <a:pt x="56" y="458"/>
                    <a:pt x="56" y="462"/>
                  </a:cubicBezTo>
                  <a:cubicBezTo>
                    <a:pt x="56" y="466"/>
                    <a:pt x="61" y="467"/>
                    <a:pt x="61" y="467"/>
                  </a:cubicBezTo>
                  <a:cubicBezTo>
                    <a:pt x="61" y="467"/>
                    <a:pt x="73" y="464"/>
                    <a:pt x="82" y="469"/>
                  </a:cubicBezTo>
                  <a:cubicBezTo>
                    <a:pt x="91" y="474"/>
                    <a:pt x="121" y="492"/>
                    <a:pt x="142" y="490"/>
                  </a:cubicBezTo>
                  <a:cubicBezTo>
                    <a:pt x="163" y="488"/>
                    <a:pt x="161" y="483"/>
                    <a:pt x="161" y="483"/>
                  </a:cubicBezTo>
                  <a:cubicBezTo>
                    <a:pt x="196" y="484"/>
                    <a:pt x="196" y="484"/>
                    <a:pt x="196" y="484"/>
                  </a:cubicBezTo>
                  <a:cubicBezTo>
                    <a:pt x="196" y="484"/>
                    <a:pt x="193" y="488"/>
                    <a:pt x="205" y="488"/>
                  </a:cubicBezTo>
                  <a:cubicBezTo>
                    <a:pt x="217" y="488"/>
                    <a:pt x="218" y="482"/>
                    <a:pt x="218" y="482"/>
                  </a:cubicBezTo>
                  <a:cubicBezTo>
                    <a:pt x="218" y="482"/>
                    <a:pt x="260" y="480"/>
                    <a:pt x="263" y="479"/>
                  </a:cubicBezTo>
                  <a:cubicBezTo>
                    <a:pt x="266" y="478"/>
                    <a:pt x="305" y="465"/>
                    <a:pt x="307" y="459"/>
                  </a:cubicBezTo>
                  <a:cubicBezTo>
                    <a:pt x="309" y="453"/>
                    <a:pt x="303" y="433"/>
                    <a:pt x="303" y="433"/>
                  </a:cubicBezTo>
                  <a:cubicBezTo>
                    <a:pt x="303" y="433"/>
                    <a:pt x="296" y="409"/>
                    <a:pt x="298" y="403"/>
                  </a:cubicBezTo>
                  <a:cubicBezTo>
                    <a:pt x="300" y="397"/>
                    <a:pt x="315" y="384"/>
                    <a:pt x="323" y="384"/>
                  </a:cubicBezTo>
                  <a:cubicBezTo>
                    <a:pt x="331" y="384"/>
                    <a:pt x="327" y="390"/>
                    <a:pt x="327" y="390"/>
                  </a:cubicBezTo>
                  <a:cubicBezTo>
                    <a:pt x="327" y="390"/>
                    <a:pt x="357" y="395"/>
                    <a:pt x="359" y="389"/>
                  </a:cubicBezTo>
                  <a:cubicBezTo>
                    <a:pt x="361" y="383"/>
                    <a:pt x="344" y="381"/>
                    <a:pt x="348" y="376"/>
                  </a:cubicBezTo>
                  <a:cubicBezTo>
                    <a:pt x="352" y="371"/>
                    <a:pt x="366" y="367"/>
                    <a:pt x="366" y="367"/>
                  </a:cubicBezTo>
                  <a:cubicBezTo>
                    <a:pt x="366" y="367"/>
                    <a:pt x="373" y="361"/>
                    <a:pt x="381" y="361"/>
                  </a:cubicBezTo>
                  <a:cubicBezTo>
                    <a:pt x="389" y="361"/>
                    <a:pt x="399" y="359"/>
                    <a:pt x="399" y="359"/>
                  </a:cubicBezTo>
                  <a:cubicBezTo>
                    <a:pt x="399" y="359"/>
                    <a:pt x="396" y="378"/>
                    <a:pt x="409" y="371"/>
                  </a:cubicBezTo>
                  <a:cubicBezTo>
                    <a:pt x="422" y="364"/>
                    <a:pt x="425" y="355"/>
                    <a:pt x="425" y="355"/>
                  </a:cubicBezTo>
                  <a:cubicBezTo>
                    <a:pt x="425" y="355"/>
                    <a:pt x="416" y="337"/>
                    <a:pt x="417" y="325"/>
                  </a:cubicBezTo>
                  <a:cubicBezTo>
                    <a:pt x="418" y="313"/>
                    <a:pt x="424" y="316"/>
                    <a:pt x="424" y="316"/>
                  </a:cubicBezTo>
                  <a:cubicBezTo>
                    <a:pt x="424" y="316"/>
                    <a:pt x="421" y="294"/>
                    <a:pt x="425" y="291"/>
                  </a:cubicBezTo>
                  <a:cubicBezTo>
                    <a:pt x="429" y="288"/>
                    <a:pt x="442" y="289"/>
                    <a:pt x="442" y="289"/>
                  </a:cubicBezTo>
                  <a:cubicBezTo>
                    <a:pt x="462" y="275"/>
                    <a:pt x="462" y="275"/>
                    <a:pt x="462" y="275"/>
                  </a:cubicBezTo>
                  <a:cubicBezTo>
                    <a:pt x="462" y="275"/>
                    <a:pt x="451" y="276"/>
                    <a:pt x="449" y="269"/>
                  </a:cubicBezTo>
                  <a:cubicBezTo>
                    <a:pt x="447" y="262"/>
                    <a:pt x="447" y="258"/>
                    <a:pt x="447" y="258"/>
                  </a:cubicBezTo>
                  <a:cubicBezTo>
                    <a:pt x="447" y="258"/>
                    <a:pt x="432" y="254"/>
                    <a:pt x="431" y="249"/>
                  </a:cubicBezTo>
                  <a:cubicBezTo>
                    <a:pt x="430" y="244"/>
                    <a:pt x="430" y="239"/>
                    <a:pt x="434" y="238"/>
                  </a:cubicBezTo>
                  <a:cubicBezTo>
                    <a:pt x="438" y="237"/>
                    <a:pt x="445" y="245"/>
                    <a:pt x="445" y="245"/>
                  </a:cubicBezTo>
                  <a:cubicBezTo>
                    <a:pt x="456" y="246"/>
                    <a:pt x="456" y="246"/>
                    <a:pt x="456" y="246"/>
                  </a:cubicBezTo>
                  <a:cubicBezTo>
                    <a:pt x="463" y="249"/>
                    <a:pt x="463" y="249"/>
                    <a:pt x="463" y="249"/>
                  </a:cubicBezTo>
                  <a:cubicBezTo>
                    <a:pt x="467" y="242"/>
                    <a:pt x="467" y="242"/>
                    <a:pt x="467" y="242"/>
                  </a:cubicBezTo>
                  <a:cubicBezTo>
                    <a:pt x="467" y="242"/>
                    <a:pt x="478" y="245"/>
                    <a:pt x="479" y="238"/>
                  </a:cubicBezTo>
                  <a:cubicBezTo>
                    <a:pt x="480" y="231"/>
                    <a:pt x="479" y="222"/>
                    <a:pt x="479" y="222"/>
                  </a:cubicBezTo>
                  <a:cubicBezTo>
                    <a:pt x="479" y="222"/>
                    <a:pt x="472" y="221"/>
                    <a:pt x="473" y="212"/>
                  </a:cubicBezTo>
                  <a:cubicBezTo>
                    <a:pt x="474" y="203"/>
                    <a:pt x="491" y="195"/>
                    <a:pt x="494" y="188"/>
                  </a:cubicBezTo>
                  <a:cubicBezTo>
                    <a:pt x="497" y="181"/>
                    <a:pt x="487" y="173"/>
                    <a:pt x="487" y="173"/>
                  </a:cubicBezTo>
                  <a:cubicBezTo>
                    <a:pt x="487" y="173"/>
                    <a:pt x="490" y="156"/>
                    <a:pt x="479" y="144"/>
                  </a:cubicBezTo>
                  <a:cubicBezTo>
                    <a:pt x="468" y="132"/>
                    <a:pt x="463" y="136"/>
                    <a:pt x="469" y="124"/>
                  </a:cubicBezTo>
                  <a:cubicBezTo>
                    <a:pt x="475" y="112"/>
                    <a:pt x="486" y="109"/>
                    <a:pt x="486" y="109"/>
                  </a:cubicBezTo>
                  <a:cubicBezTo>
                    <a:pt x="486" y="109"/>
                    <a:pt x="509" y="93"/>
                    <a:pt x="516" y="90"/>
                  </a:cubicBezTo>
                  <a:cubicBezTo>
                    <a:pt x="523" y="87"/>
                    <a:pt x="540" y="88"/>
                    <a:pt x="540" y="88"/>
                  </a:cubicBezTo>
                  <a:cubicBezTo>
                    <a:pt x="540" y="88"/>
                    <a:pt x="563" y="83"/>
                    <a:pt x="566" y="83"/>
                  </a:cubicBezTo>
                  <a:cubicBezTo>
                    <a:pt x="569" y="83"/>
                    <a:pt x="579" y="89"/>
                    <a:pt x="584" y="88"/>
                  </a:cubicBezTo>
                  <a:cubicBezTo>
                    <a:pt x="587" y="87"/>
                    <a:pt x="596" y="82"/>
                    <a:pt x="602" y="78"/>
                  </a:cubicBezTo>
                  <a:cubicBezTo>
                    <a:pt x="602" y="78"/>
                    <a:pt x="602" y="78"/>
                    <a:pt x="602" y="78"/>
                  </a:cubicBezTo>
                  <a:cubicBezTo>
                    <a:pt x="599" y="76"/>
                    <a:pt x="597" y="74"/>
                    <a:pt x="596" y="71"/>
                  </a:cubicBezTo>
                  <a:close/>
                </a:path>
              </a:pathLst>
            </a:custGeom>
            <a:solidFill>
              <a:schemeClr val="accent1"/>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grpSp>
    </p:spTree>
    <p:custDataLst>
      <p:tags r:id="rId1"/>
    </p:custDataLst>
    <p:extLst>
      <p:ext uri="{BB962C8B-B14F-4D97-AF65-F5344CB8AC3E}">
        <p14:creationId xmlns:p14="http://schemas.microsoft.com/office/powerpoint/2010/main" val="1330133244"/>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Africa">
            <a:extLst>
              <a:ext uri="{FF2B5EF4-FFF2-40B4-BE49-F238E27FC236}">
                <a16:creationId xmlns:a16="http://schemas.microsoft.com/office/drawing/2014/main" id="{B90C1F7C-0A92-480C-8220-23700C63073F}"/>
              </a:ext>
            </a:extLst>
          </p:cNvPr>
          <p:cNvGrpSpPr>
            <a:grpSpLocks noChangeAspect="1"/>
          </p:cNvGrpSpPr>
          <p:nvPr/>
        </p:nvGrpSpPr>
        <p:grpSpPr>
          <a:xfrm>
            <a:off x="4174301" y="318601"/>
            <a:ext cx="7854860" cy="9415863"/>
            <a:chOff x="4082672" y="1375200"/>
            <a:chExt cx="4024257" cy="4824001"/>
          </a:xfrm>
        </p:grpSpPr>
        <p:sp>
          <p:nvSpPr>
            <p:cNvPr id="58" name="Madagascar">
              <a:extLst>
                <a:ext uri="{FF2B5EF4-FFF2-40B4-BE49-F238E27FC236}">
                  <a16:creationId xmlns:a16="http://schemas.microsoft.com/office/drawing/2014/main" id="{852A4390-1E73-4755-80B6-4BEAB3B896AD}"/>
                </a:ext>
              </a:extLst>
            </p:cNvPr>
            <p:cNvSpPr>
              <a:spLocks/>
            </p:cNvSpPr>
            <p:nvPr/>
          </p:nvSpPr>
          <p:spPr bwMode="gray">
            <a:xfrm>
              <a:off x="7567775" y="4692140"/>
              <a:ext cx="507437" cy="926069"/>
            </a:xfrm>
            <a:custGeom>
              <a:avLst/>
              <a:gdLst>
                <a:gd name="T0" fmla="*/ 88 w 409"/>
                <a:gd name="T1" fmla="*/ 219 h 746"/>
                <a:gd name="T2" fmla="*/ 104 w 409"/>
                <a:gd name="T3" fmla="*/ 214 h 746"/>
                <a:gd name="T4" fmla="*/ 134 w 409"/>
                <a:gd name="T5" fmla="*/ 218 h 746"/>
                <a:gd name="T6" fmla="*/ 134 w 409"/>
                <a:gd name="T7" fmla="*/ 202 h 746"/>
                <a:gd name="T8" fmla="*/ 173 w 409"/>
                <a:gd name="T9" fmla="*/ 207 h 746"/>
                <a:gd name="T10" fmla="*/ 186 w 409"/>
                <a:gd name="T11" fmla="*/ 188 h 746"/>
                <a:gd name="T12" fmla="*/ 216 w 409"/>
                <a:gd name="T13" fmla="*/ 193 h 746"/>
                <a:gd name="T14" fmla="*/ 214 w 409"/>
                <a:gd name="T15" fmla="*/ 172 h 746"/>
                <a:gd name="T16" fmla="*/ 223 w 409"/>
                <a:gd name="T17" fmla="*/ 150 h 746"/>
                <a:gd name="T18" fmla="*/ 225 w 409"/>
                <a:gd name="T19" fmla="*/ 172 h 746"/>
                <a:gd name="T20" fmla="*/ 230 w 409"/>
                <a:gd name="T21" fmla="*/ 186 h 746"/>
                <a:gd name="T22" fmla="*/ 239 w 409"/>
                <a:gd name="T23" fmla="*/ 159 h 746"/>
                <a:gd name="T24" fmla="*/ 244 w 409"/>
                <a:gd name="T25" fmla="*/ 124 h 746"/>
                <a:gd name="T26" fmla="*/ 255 w 409"/>
                <a:gd name="T27" fmla="*/ 138 h 746"/>
                <a:gd name="T28" fmla="*/ 269 w 409"/>
                <a:gd name="T29" fmla="*/ 126 h 746"/>
                <a:gd name="T30" fmla="*/ 271 w 409"/>
                <a:gd name="T31" fmla="*/ 88 h 746"/>
                <a:gd name="T32" fmla="*/ 288 w 409"/>
                <a:gd name="T33" fmla="*/ 88 h 746"/>
                <a:gd name="T34" fmla="*/ 312 w 409"/>
                <a:gd name="T35" fmla="*/ 62 h 746"/>
                <a:gd name="T36" fmla="*/ 315 w 409"/>
                <a:gd name="T37" fmla="*/ 26 h 746"/>
                <a:gd name="T38" fmla="*/ 336 w 409"/>
                <a:gd name="T39" fmla="*/ 0 h 746"/>
                <a:gd name="T40" fmla="*/ 372 w 409"/>
                <a:gd name="T41" fmla="*/ 41 h 746"/>
                <a:gd name="T42" fmla="*/ 372 w 409"/>
                <a:gd name="T43" fmla="*/ 56 h 746"/>
                <a:gd name="T44" fmla="*/ 395 w 409"/>
                <a:gd name="T45" fmla="*/ 110 h 746"/>
                <a:gd name="T46" fmla="*/ 382 w 409"/>
                <a:gd name="T47" fmla="*/ 143 h 746"/>
                <a:gd name="T48" fmla="*/ 402 w 409"/>
                <a:gd name="T49" fmla="*/ 193 h 746"/>
                <a:gd name="T50" fmla="*/ 375 w 409"/>
                <a:gd name="T51" fmla="*/ 188 h 746"/>
                <a:gd name="T52" fmla="*/ 354 w 409"/>
                <a:gd name="T53" fmla="*/ 193 h 746"/>
                <a:gd name="T54" fmla="*/ 358 w 409"/>
                <a:gd name="T55" fmla="*/ 221 h 746"/>
                <a:gd name="T56" fmla="*/ 333 w 409"/>
                <a:gd name="T57" fmla="*/ 259 h 746"/>
                <a:gd name="T58" fmla="*/ 338 w 409"/>
                <a:gd name="T59" fmla="*/ 312 h 746"/>
                <a:gd name="T60" fmla="*/ 267 w 409"/>
                <a:gd name="T61" fmla="*/ 478 h 746"/>
                <a:gd name="T62" fmla="*/ 211 w 409"/>
                <a:gd name="T63" fmla="*/ 609 h 746"/>
                <a:gd name="T64" fmla="*/ 189 w 409"/>
                <a:gd name="T65" fmla="*/ 676 h 746"/>
                <a:gd name="T66" fmla="*/ 149 w 409"/>
                <a:gd name="T67" fmla="*/ 712 h 746"/>
                <a:gd name="T68" fmla="*/ 133 w 409"/>
                <a:gd name="T69" fmla="*/ 710 h 746"/>
                <a:gd name="T70" fmla="*/ 60 w 409"/>
                <a:gd name="T71" fmla="*/ 717 h 746"/>
                <a:gd name="T72" fmla="*/ 28 w 409"/>
                <a:gd name="T73" fmla="*/ 675 h 746"/>
                <a:gd name="T74" fmla="*/ 41 w 409"/>
                <a:gd name="T75" fmla="*/ 659 h 746"/>
                <a:gd name="T76" fmla="*/ 5 w 409"/>
                <a:gd name="T77" fmla="*/ 556 h 746"/>
                <a:gd name="T78" fmla="*/ 39 w 409"/>
                <a:gd name="T79" fmla="*/ 473 h 746"/>
                <a:gd name="T80" fmla="*/ 79 w 409"/>
                <a:gd name="T81" fmla="*/ 436 h 746"/>
                <a:gd name="T82" fmla="*/ 71 w 409"/>
                <a:gd name="T83" fmla="*/ 349 h 746"/>
                <a:gd name="T84" fmla="*/ 67 w 409"/>
                <a:gd name="T85" fmla="*/ 271 h 746"/>
                <a:gd name="T86" fmla="*/ 94 w 409"/>
                <a:gd name="T87" fmla="*/ 239 h 746"/>
                <a:gd name="T88" fmla="*/ 88 w 409"/>
                <a:gd name="T89" fmla="*/ 219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9" h="746">
                  <a:moveTo>
                    <a:pt x="88" y="219"/>
                  </a:moveTo>
                  <a:cubicBezTo>
                    <a:pt x="104" y="214"/>
                    <a:pt x="104" y="214"/>
                    <a:pt x="104" y="214"/>
                  </a:cubicBezTo>
                  <a:cubicBezTo>
                    <a:pt x="134" y="218"/>
                    <a:pt x="134" y="218"/>
                    <a:pt x="134" y="218"/>
                  </a:cubicBezTo>
                  <a:cubicBezTo>
                    <a:pt x="134" y="202"/>
                    <a:pt x="134" y="202"/>
                    <a:pt x="134" y="202"/>
                  </a:cubicBezTo>
                  <a:cubicBezTo>
                    <a:pt x="173" y="207"/>
                    <a:pt x="173" y="207"/>
                    <a:pt x="173" y="207"/>
                  </a:cubicBezTo>
                  <a:cubicBezTo>
                    <a:pt x="186" y="188"/>
                    <a:pt x="186" y="188"/>
                    <a:pt x="186" y="188"/>
                  </a:cubicBezTo>
                  <a:cubicBezTo>
                    <a:pt x="216" y="193"/>
                    <a:pt x="216" y="193"/>
                    <a:pt x="216" y="193"/>
                  </a:cubicBezTo>
                  <a:cubicBezTo>
                    <a:pt x="214" y="172"/>
                    <a:pt x="214" y="172"/>
                    <a:pt x="214" y="172"/>
                  </a:cubicBezTo>
                  <a:cubicBezTo>
                    <a:pt x="223" y="150"/>
                    <a:pt x="223" y="150"/>
                    <a:pt x="223" y="150"/>
                  </a:cubicBezTo>
                  <a:cubicBezTo>
                    <a:pt x="225" y="172"/>
                    <a:pt x="225" y="172"/>
                    <a:pt x="225" y="172"/>
                  </a:cubicBezTo>
                  <a:cubicBezTo>
                    <a:pt x="230" y="186"/>
                    <a:pt x="230" y="186"/>
                    <a:pt x="230" y="186"/>
                  </a:cubicBezTo>
                  <a:cubicBezTo>
                    <a:pt x="239" y="159"/>
                    <a:pt x="239" y="159"/>
                    <a:pt x="239" y="159"/>
                  </a:cubicBezTo>
                  <a:cubicBezTo>
                    <a:pt x="239" y="159"/>
                    <a:pt x="237" y="129"/>
                    <a:pt x="244" y="124"/>
                  </a:cubicBezTo>
                  <a:cubicBezTo>
                    <a:pt x="251" y="118"/>
                    <a:pt x="255" y="138"/>
                    <a:pt x="255" y="138"/>
                  </a:cubicBezTo>
                  <a:cubicBezTo>
                    <a:pt x="255" y="138"/>
                    <a:pt x="260" y="136"/>
                    <a:pt x="269" y="126"/>
                  </a:cubicBezTo>
                  <a:cubicBezTo>
                    <a:pt x="278" y="115"/>
                    <a:pt x="264" y="95"/>
                    <a:pt x="271" y="88"/>
                  </a:cubicBezTo>
                  <a:cubicBezTo>
                    <a:pt x="278" y="81"/>
                    <a:pt x="288" y="88"/>
                    <a:pt x="288" y="88"/>
                  </a:cubicBezTo>
                  <a:cubicBezTo>
                    <a:pt x="288" y="88"/>
                    <a:pt x="306" y="74"/>
                    <a:pt x="312" y="62"/>
                  </a:cubicBezTo>
                  <a:cubicBezTo>
                    <a:pt x="317" y="49"/>
                    <a:pt x="315" y="26"/>
                    <a:pt x="315" y="26"/>
                  </a:cubicBezTo>
                  <a:cubicBezTo>
                    <a:pt x="336" y="0"/>
                    <a:pt x="336" y="0"/>
                    <a:pt x="336" y="0"/>
                  </a:cubicBezTo>
                  <a:cubicBezTo>
                    <a:pt x="372" y="41"/>
                    <a:pt x="372" y="41"/>
                    <a:pt x="372" y="41"/>
                  </a:cubicBezTo>
                  <a:cubicBezTo>
                    <a:pt x="372" y="41"/>
                    <a:pt x="372" y="51"/>
                    <a:pt x="372" y="56"/>
                  </a:cubicBezTo>
                  <a:cubicBezTo>
                    <a:pt x="372" y="62"/>
                    <a:pt x="395" y="110"/>
                    <a:pt x="395" y="110"/>
                  </a:cubicBezTo>
                  <a:cubicBezTo>
                    <a:pt x="382" y="143"/>
                    <a:pt x="382" y="143"/>
                    <a:pt x="382" y="143"/>
                  </a:cubicBezTo>
                  <a:cubicBezTo>
                    <a:pt x="382" y="143"/>
                    <a:pt x="409" y="188"/>
                    <a:pt x="402" y="193"/>
                  </a:cubicBezTo>
                  <a:cubicBezTo>
                    <a:pt x="395" y="198"/>
                    <a:pt x="375" y="188"/>
                    <a:pt x="375" y="188"/>
                  </a:cubicBezTo>
                  <a:cubicBezTo>
                    <a:pt x="354" y="193"/>
                    <a:pt x="354" y="193"/>
                    <a:pt x="354" y="193"/>
                  </a:cubicBezTo>
                  <a:cubicBezTo>
                    <a:pt x="358" y="221"/>
                    <a:pt x="358" y="221"/>
                    <a:pt x="358" y="221"/>
                  </a:cubicBezTo>
                  <a:cubicBezTo>
                    <a:pt x="358" y="221"/>
                    <a:pt x="335" y="245"/>
                    <a:pt x="333" y="259"/>
                  </a:cubicBezTo>
                  <a:cubicBezTo>
                    <a:pt x="331" y="273"/>
                    <a:pt x="345" y="287"/>
                    <a:pt x="338" y="312"/>
                  </a:cubicBezTo>
                  <a:cubicBezTo>
                    <a:pt x="331" y="336"/>
                    <a:pt x="306" y="409"/>
                    <a:pt x="267" y="478"/>
                  </a:cubicBezTo>
                  <a:cubicBezTo>
                    <a:pt x="228" y="547"/>
                    <a:pt x="211" y="609"/>
                    <a:pt x="211" y="609"/>
                  </a:cubicBezTo>
                  <a:cubicBezTo>
                    <a:pt x="211" y="609"/>
                    <a:pt x="214" y="653"/>
                    <a:pt x="189" y="676"/>
                  </a:cubicBezTo>
                  <a:cubicBezTo>
                    <a:pt x="165" y="699"/>
                    <a:pt x="156" y="708"/>
                    <a:pt x="149" y="712"/>
                  </a:cubicBezTo>
                  <a:cubicBezTo>
                    <a:pt x="141" y="715"/>
                    <a:pt x="133" y="710"/>
                    <a:pt x="133" y="710"/>
                  </a:cubicBezTo>
                  <a:cubicBezTo>
                    <a:pt x="133" y="710"/>
                    <a:pt x="90" y="746"/>
                    <a:pt x="60" y="717"/>
                  </a:cubicBezTo>
                  <a:cubicBezTo>
                    <a:pt x="30" y="689"/>
                    <a:pt x="28" y="675"/>
                    <a:pt x="28" y="675"/>
                  </a:cubicBezTo>
                  <a:cubicBezTo>
                    <a:pt x="41" y="659"/>
                    <a:pt x="41" y="659"/>
                    <a:pt x="41" y="659"/>
                  </a:cubicBezTo>
                  <a:cubicBezTo>
                    <a:pt x="41" y="659"/>
                    <a:pt x="10" y="622"/>
                    <a:pt x="5" y="556"/>
                  </a:cubicBezTo>
                  <a:cubicBezTo>
                    <a:pt x="0" y="490"/>
                    <a:pt x="23" y="492"/>
                    <a:pt x="39" y="473"/>
                  </a:cubicBezTo>
                  <a:cubicBezTo>
                    <a:pt x="55" y="453"/>
                    <a:pt x="79" y="436"/>
                    <a:pt x="79" y="436"/>
                  </a:cubicBezTo>
                  <a:cubicBezTo>
                    <a:pt x="79" y="436"/>
                    <a:pt x="72" y="370"/>
                    <a:pt x="71" y="349"/>
                  </a:cubicBezTo>
                  <a:cubicBezTo>
                    <a:pt x="69" y="327"/>
                    <a:pt x="53" y="283"/>
                    <a:pt x="67" y="271"/>
                  </a:cubicBezTo>
                  <a:cubicBezTo>
                    <a:pt x="81" y="259"/>
                    <a:pt x="94" y="239"/>
                    <a:pt x="94" y="239"/>
                  </a:cubicBezTo>
                  <a:lnTo>
                    <a:pt x="88" y="219"/>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59" name="Western Sahara">
              <a:extLst>
                <a:ext uri="{FF2B5EF4-FFF2-40B4-BE49-F238E27FC236}">
                  <a16:creationId xmlns:a16="http://schemas.microsoft.com/office/drawing/2014/main" id="{480031EB-F029-463A-832D-EC9AB7D40C40}"/>
                </a:ext>
              </a:extLst>
            </p:cNvPr>
            <p:cNvSpPr>
              <a:spLocks/>
            </p:cNvSpPr>
            <p:nvPr/>
          </p:nvSpPr>
          <p:spPr bwMode="gray">
            <a:xfrm>
              <a:off x="4121429" y="2026617"/>
              <a:ext cx="496864" cy="426062"/>
            </a:xfrm>
            <a:custGeom>
              <a:avLst/>
              <a:gdLst>
                <a:gd name="T0" fmla="*/ 364 w 401"/>
                <a:gd name="T1" fmla="*/ 0 h 343"/>
                <a:gd name="T2" fmla="*/ 192 w 401"/>
                <a:gd name="T3" fmla="*/ 0 h 343"/>
                <a:gd name="T4" fmla="*/ 186 w 401"/>
                <a:gd name="T5" fmla="*/ 12 h 343"/>
                <a:gd name="T6" fmla="*/ 176 w 401"/>
                <a:gd name="T7" fmla="*/ 47 h 343"/>
                <a:gd name="T8" fmla="*/ 160 w 401"/>
                <a:gd name="T9" fmla="*/ 61 h 343"/>
                <a:gd name="T10" fmla="*/ 140 w 401"/>
                <a:gd name="T11" fmla="*/ 66 h 343"/>
                <a:gd name="T12" fmla="*/ 125 w 401"/>
                <a:gd name="T13" fmla="*/ 72 h 343"/>
                <a:gd name="T14" fmla="*/ 123 w 401"/>
                <a:gd name="T15" fmla="*/ 97 h 343"/>
                <a:gd name="T16" fmla="*/ 104 w 401"/>
                <a:gd name="T17" fmla="*/ 122 h 343"/>
                <a:gd name="T18" fmla="*/ 108 w 401"/>
                <a:gd name="T19" fmla="*/ 158 h 343"/>
                <a:gd name="T20" fmla="*/ 92 w 401"/>
                <a:gd name="T21" fmla="*/ 171 h 343"/>
                <a:gd name="T22" fmla="*/ 78 w 401"/>
                <a:gd name="T23" fmla="*/ 190 h 343"/>
                <a:gd name="T24" fmla="*/ 58 w 401"/>
                <a:gd name="T25" fmla="*/ 201 h 343"/>
                <a:gd name="T26" fmla="*/ 52 w 401"/>
                <a:gd name="T27" fmla="*/ 212 h 343"/>
                <a:gd name="T28" fmla="*/ 60 w 401"/>
                <a:gd name="T29" fmla="*/ 216 h 343"/>
                <a:gd name="T30" fmla="*/ 45 w 401"/>
                <a:gd name="T31" fmla="*/ 237 h 343"/>
                <a:gd name="T32" fmla="*/ 41 w 401"/>
                <a:gd name="T33" fmla="*/ 259 h 343"/>
                <a:gd name="T34" fmla="*/ 32 w 401"/>
                <a:gd name="T35" fmla="*/ 259 h 343"/>
                <a:gd name="T36" fmla="*/ 31 w 401"/>
                <a:gd name="T37" fmla="*/ 281 h 343"/>
                <a:gd name="T38" fmla="*/ 18 w 401"/>
                <a:gd name="T39" fmla="*/ 286 h 343"/>
                <a:gd name="T40" fmla="*/ 1 w 401"/>
                <a:gd name="T41" fmla="*/ 318 h 343"/>
                <a:gd name="T42" fmla="*/ 0 w 401"/>
                <a:gd name="T43" fmla="*/ 343 h 343"/>
                <a:gd name="T44" fmla="*/ 186 w 401"/>
                <a:gd name="T45" fmla="*/ 341 h 343"/>
                <a:gd name="T46" fmla="*/ 187 w 401"/>
                <a:gd name="T47" fmla="*/ 272 h 343"/>
                <a:gd name="T48" fmla="*/ 189 w 401"/>
                <a:gd name="T49" fmla="*/ 247 h 343"/>
                <a:gd name="T50" fmla="*/ 208 w 401"/>
                <a:gd name="T51" fmla="*/ 236 h 343"/>
                <a:gd name="T52" fmla="*/ 235 w 401"/>
                <a:gd name="T53" fmla="*/ 231 h 343"/>
                <a:gd name="T54" fmla="*/ 238 w 401"/>
                <a:gd name="T55" fmla="*/ 101 h 343"/>
                <a:gd name="T56" fmla="*/ 243 w 401"/>
                <a:gd name="T57" fmla="*/ 98 h 343"/>
                <a:gd name="T58" fmla="*/ 243 w 401"/>
                <a:gd name="T59" fmla="*/ 88 h 343"/>
                <a:gd name="T60" fmla="*/ 391 w 401"/>
                <a:gd name="T61" fmla="*/ 87 h 343"/>
                <a:gd name="T62" fmla="*/ 392 w 401"/>
                <a:gd name="T63" fmla="*/ 62 h 343"/>
                <a:gd name="T64" fmla="*/ 397 w 401"/>
                <a:gd name="T65" fmla="*/ 58 h 343"/>
                <a:gd name="T66" fmla="*/ 401 w 401"/>
                <a:gd name="T67" fmla="*/ 2 h 343"/>
                <a:gd name="T68" fmla="*/ 364 w 401"/>
                <a:gd name="T6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1" h="343">
                  <a:moveTo>
                    <a:pt x="364" y="0"/>
                  </a:moveTo>
                  <a:cubicBezTo>
                    <a:pt x="192" y="0"/>
                    <a:pt x="192" y="0"/>
                    <a:pt x="192" y="0"/>
                  </a:cubicBezTo>
                  <a:cubicBezTo>
                    <a:pt x="190" y="3"/>
                    <a:pt x="188" y="8"/>
                    <a:pt x="186" y="12"/>
                  </a:cubicBezTo>
                  <a:cubicBezTo>
                    <a:pt x="181" y="25"/>
                    <a:pt x="176" y="47"/>
                    <a:pt x="176" y="47"/>
                  </a:cubicBezTo>
                  <a:cubicBezTo>
                    <a:pt x="176" y="47"/>
                    <a:pt x="164" y="57"/>
                    <a:pt x="160" y="61"/>
                  </a:cubicBezTo>
                  <a:cubicBezTo>
                    <a:pt x="156" y="65"/>
                    <a:pt x="140" y="66"/>
                    <a:pt x="140" y="66"/>
                  </a:cubicBezTo>
                  <a:cubicBezTo>
                    <a:pt x="140" y="66"/>
                    <a:pt x="129" y="63"/>
                    <a:pt x="125" y="72"/>
                  </a:cubicBezTo>
                  <a:cubicBezTo>
                    <a:pt x="121" y="81"/>
                    <a:pt x="123" y="97"/>
                    <a:pt x="123" y="97"/>
                  </a:cubicBezTo>
                  <a:cubicBezTo>
                    <a:pt x="123" y="97"/>
                    <a:pt x="104" y="116"/>
                    <a:pt x="104" y="122"/>
                  </a:cubicBezTo>
                  <a:cubicBezTo>
                    <a:pt x="104" y="128"/>
                    <a:pt x="115" y="145"/>
                    <a:pt x="108" y="158"/>
                  </a:cubicBezTo>
                  <a:cubicBezTo>
                    <a:pt x="101" y="171"/>
                    <a:pt x="92" y="171"/>
                    <a:pt x="92" y="171"/>
                  </a:cubicBezTo>
                  <a:cubicBezTo>
                    <a:pt x="92" y="171"/>
                    <a:pt x="83" y="185"/>
                    <a:pt x="78" y="190"/>
                  </a:cubicBezTo>
                  <a:cubicBezTo>
                    <a:pt x="73" y="195"/>
                    <a:pt x="62" y="197"/>
                    <a:pt x="58" y="201"/>
                  </a:cubicBezTo>
                  <a:cubicBezTo>
                    <a:pt x="54" y="205"/>
                    <a:pt x="52" y="212"/>
                    <a:pt x="52" y="212"/>
                  </a:cubicBezTo>
                  <a:cubicBezTo>
                    <a:pt x="60" y="216"/>
                    <a:pt x="60" y="216"/>
                    <a:pt x="60" y="216"/>
                  </a:cubicBezTo>
                  <a:cubicBezTo>
                    <a:pt x="60" y="216"/>
                    <a:pt x="49" y="227"/>
                    <a:pt x="45" y="237"/>
                  </a:cubicBezTo>
                  <a:cubicBezTo>
                    <a:pt x="41" y="247"/>
                    <a:pt x="41" y="259"/>
                    <a:pt x="41" y="259"/>
                  </a:cubicBezTo>
                  <a:cubicBezTo>
                    <a:pt x="32" y="259"/>
                    <a:pt x="32" y="259"/>
                    <a:pt x="32" y="259"/>
                  </a:cubicBezTo>
                  <a:cubicBezTo>
                    <a:pt x="32" y="259"/>
                    <a:pt x="42" y="271"/>
                    <a:pt x="31" y="281"/>
                  </a:cubicBezTo>
                  <a:cubicBezTo>
                    <a:pt x="20" y="291"/>
                    <a:pt x="18" y="286"/>
                    <a:pt x="18" y="286"/>
                  </a:cubicBezTo>
                  <a:cubicBezTo>
                    <a:pt x="18" y="286"/>
                    <a:pt x="1" y="304"/>
                    <a:pt x="1" y="318"/>
                  </a:cubicBezTo>
                  <a:cubicBezTo>
                    <a:pt x="1" y="325"/>
                    <a:pt x="1" y="335"/>
                    <a:pt x="0" y="343"/>
                  </a:cubicBezTo>
                  <a:cubicBezTo>
                    <a:pt x="186" y="341"/>
                    <a:pt x="186" y="341"/>
                    <a:pt x="186" y="341"/>
                  </a:cubicBezTo>
                  <a:cubicBezTo>
                    <a:pt x="187" y="272"/>
                    <a:pt x="187" y="272"/>
                    <a:pt x="187" y="272"/>
                  </a:cubicBezTo>
                  <a:cubicBezTo>
                    <a:pt x="187" y="272"/>
                    <a:pt x="178" y="257"/>
                    <a:pt x="189" y="247"/>
                  </a:cubicBezTo>
                  <a:cubicBezTo>
                    <a:pt x="200" y="237"/>
                    <a:pt x="208" y="236"/>
                    <a:pt x="208" y="236"/>
                  </a:cubicBezTo>
                  <a:cubicBezTo>
                    <a:pt x="208" y="236"/>
                    <a:pt x="233" y="237"/>
                    <a:pt x="235" y="231"/>
                  </a:cubicBezTo>
                  <a:cubicBezTo>
                    <a:pt x="237" y="225"/>
                    <a:pt x="238" y="101"/>
                    <a:pt x="238" y="101"/>
                  </a:cubicBezTo>
                  <a:cubicBezTo>
                    <a:pt x="243" y="98"/>
                    <a:pt x="243" y="98"/>
                    <a:pt x="243" y="98"/>
                  </a:cubicBezTo>
                  <a:cubicBezTo>
                    <a:pt x="243" y="88"/>
                    <a:pt x="243" y="88"/>
                    <a:pt x="243" y="88"/>
                  </a:cubicBezTo>
                  <a:cubicBezTo>
                    <a:pt x="391" y="87"/>
                    <a:pt x="391" y="87"/>
                    <a:pt x="391" y="87"/>
                  </a:cubicBezTo>
                  <a:cubicBezTo>
                    <a:pt x="392" y="62"/>
                    <a:pt x="392" y="62"/>
                    <a:pt x="392" y="62"/>
                  </a:cubicBezTo>
                  <a:cubicBezTo>
                    <a:pt x="397" y="58"/>
                    <a:pt x="397" y="58"/>
                    <a:pt x="397" y="58"/>
                  </a:cubicBezTo>
                  <a:cubicBezTo>
                    <a:pt x="401" y="2"/>
                    <a:pt x="401" y="2"/>
                    <a:pt x="401" y="2"/>
                  </a:cubicBezTo>
                  <a:lnTo>
                    <a:pt x="364" y="0"/>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60" name="Guinea-Bissau">
              <a:extLst>
                <a:ext uri="{FF2B5EF4-FFF2-40B4-BE49-F238E27FC236}">
                  <a16:creationId xmlns:a16="http://schemas.microsoft.com/office/drawing/2014/main" id="{E4A24C32-1BF4-4784-A8E6-67F8FCCEA65B}"/>
                </a:ext>
              </a:extLst>
            </p:cNvPr>
            <p:cNvSpPr>
              <a:spLocks/>
            </p:cNvSpPr>
            <p:nvPr/>
          </p:nvSpPr>
          <p:spPr bwMode="gray">
            <a:xfrm>
              <a:off x="4139048" y="3023107"/>
              <a:ext cx="155050" cy="126763"/>
            </a:xfrm>
            <a:custGeom>
              <a:avLst/>
              <a:gdLst>
                <a:gd name="T0" fmla="*/ 85 w 125"/>
                <a:gd name="T1" fmla="*/ 67 h 103"/>
                <a:gd name="T2" fmla="*/ 102 w 125"/>
                <a:gd name="T3" fmla="*/ 60 h 103"/>
                <a:gd name="T4" fmla="*/ 124 w 125"/>
                <a:gd name="T5" fmla="*/ 49 h 103"/>
                <a:gd name="T6" fmla="*/ 108 w 125"/>
                <a:gd name="T7" fmla="*/ 28 h 103"/>
                <a:gd name="T8" fmla="*/ 124 w 125"/>
                <a:gd name="T9" fmla="*/ 19 h 103"/>
                <a:gd name="T10" fmla="*/ 123 w 125"/>
                <a:gd name="T11" fmla="*/ 2 h 103"/>
                <a:gd name="T12" fmla="*/ 56 w 125"/>
                <a:gd name="T13" fmla="*/ 0 h 103"/>
                <a:gd name="T14" fmla="*/ 39 w 125"/>
                <a:gd name="T15" fmla="*/ 15 h 103"/>
                <a:gd name="T16" fmla="*/ 12 w 125"/>
                <a:gd name="T17" fmla="*/ 15 h 103"/>
                <a:gd name="T18" fmla="*/ 4 w 125"/>
                <a:gd name="T19" fmla="*/ 25 h 103"/>
                <a:gd name="T20" fmla="*/ 0 w 125"/>
                <a:gd name="T21" fmla="*/ 48 h 103"/>
                <a:gd name="T22" fmla="*/ 15 w 125"/>
                <a:gd name="T23" fmla="*/ 50 h 103"/>
                <a:gd name="T24" fmla="*/ 46 w 125"/>
                <a:gd name="T25" fmla="*/ 45 h 103"/>
                <a:gd name="T26" fmla="*/ 63 w 125"/>
                <a:gd name="T27" fmla="*/ 39 h 103"/>
                <a:gd name="T28" fmla="*/ 63 w 125"/>
                <a:gd name="T29" fmla="*/ 54 h 103"/>
                <a:gd name="T30" fmla="*/ 37 w 125"/>
                <a:gd name="T31" fmla="*/ 52 h 103"/>
                <a:gd name="T32" fmla="*/ 42 w 125"/>
                <a:gd name="T33" fmla="*/ 68 h 103"/>
                <a:gd name="T34" fmla="*/ 63 w 125"/>
                <a:gd name="T35" fmla="*/ 63 h 103"/>
                <a:gd name="T36" fmla="*/ 39 w 125"/>
                <a:gd name="T37" fmla="*/ 75 h 103"/>
                <a:gd name="T38" fmla="*/ 58 w 125"/>
                <a:gd name="T39" fmla="*/ 103 h 103"/>
                <a:gd name="T40" fmla="*/ 63 w 125"/>
                <a:gd name="T41" fmla="*/ 88 h 103"/>
                <a:gd name="T42" fmla="*/ 72 w 125"/>
                <a:gd name="T43" fmla="*/ 68 h 103"/>
                <a:gd name="T44" fmla="*/ 85 w 125"/>
                <a:gd name="T45" fmla="*/ 6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103">
                  <a:moveTo>
                    <a:pt x="85" y="67"/>
                  </a:moveTo>
                  <a:cubicBezTo>
                    <a:pt x="85" y="67"/>
                    <a:pt x="92" y="60"/>
                    <a:pt x="102" y="60"/>
                  </a:cubicBezTo>
                  <a:cubicBezTo>
                    <a:pt x="112" y="60"/>
                    <a:pt x="123" y="64"/>
                    <a:pt x="124" y="49"/>
                  </a:cubicBezTo>
                  <a:cubicBezTo>
                    <a:pt x="125" y="34"/>
                    <a:pt x="108" y="39"/>
                    <a:pt x="108" y="28"/>
                  </a:cubicBezTo>
                  <a:cubicBezTo>
                    <a:pt x="108" y="17"/>
                    <a:pt x="124" y="19"/>
                    <a:pt x="124" y="19"/>
                  </a:cubicBezTo>
                  <a:cubicBezTo>
                    <a:pt x="123" y="2"/>
                    <a:pt x="123" y="2"/>
                    <a:pt x="123" y="2"/>
                  </a:cubicBezTo>
                  <a:cubicBezTo>
                    <a:pt x="56" y="0"/>
                    <a:pt x="56" y="0"/>
                    <a:pt x="56" y="0"/>
                  </a:cubicBezTo>
                  <a:cubicBezTo>
                    <a:pt x="39" y="15"/>
                    <a:pt x="39" y="15"/>
                    <a:pt x="39" y="15"/>
                  </a:cubicBezTo>
                  <a:cubicBezTo>
                    <a:pt x="12" y="15"/>
                    <a:pt x="12" y="15"/>
                    <a:pt x="12" y="15"/>
                  </a:cubicBezTo>
                  <a:cubicBezTo>
                    <a:pt x="4" y="25"/>
                    <a:pt x="4" y="25"/>
                    <a:pt x="4" y="25"/>
                  </a:cubicBezTo>
                  <a:cubicBezTo>
                    <a:pt x="0" y="48"/>
                    <a:pt x="0" y="48"/>
                    <a:pt x="0" y="48"/>
                  </a:cubicBezTo>
                  <a:cubicBezTo>
                    <a:pt x="0" y="48"/>
                    <a:pt x="8" y="56"/>
                    <a:pt x="15" y="50"/>
                  </a:cubicBezTo>
                  <a:cubicBezTo>
                    <a:pt x="22" y="44"/>
                    <a:pt x="46" y="45"/>
                    <a:pt x="46" y="45"/>
                  </a:cubicBezTo>
                  <a:cubicBezTo>
                    <a:pt x="63" y="39"/>
                    <a:pt x="63" y="39"/>
                    <a:pt x="63" y="39"/>
                  </a:cubicBezTo>
                  <a:cubicBezTo>
                    <a:pt x="63" y="54"/>
                    <a:pt x="63" y="54"/>
                    <a:pt x="63" y="54"/>
                  </a:cubicBezTo>
                  <a:cubicBezTo>
                    <a:pt x="63" y="54"/>
                    <a:pt x="39" y="42"/>
                    <a:pt x="37" y="52"/>
                  </a:cubicBezTo>
                  <a:cubicBezTo>
                    <a:pt x="35" y="62"/>
                    <a:pt x="42" y="68"/>
                    <a:pt x="42" y="68"/>
                  </a:cubicBezTo>
                  <a:cubicBezTo>
                    <a:pt x="63" y="63"/>
                    <a:pt x="63" y="63"/>
                    <a:pt x="63" y="63"/>
                  </a:cubicBezTo>
                  <a:cubicBezTo>
                    <a:pt x="39" y="75"/>
                    <a:pt x="39" y="75"/>
                    <a:pt x="39" y="75"/>
                  </a:cubicBezTo>
                  <a:cubicBezTo>
                    <a:pt x="58" y="103"/>
                    <a:pt x="58" y="103"/>
                    <a:pt x="58" y="103"/>
                  </a:cubicBezTo>
                  <a:cubicBezTo>
                    <a:pt x="63" y="88"/>
                    <a:pt x="63" y="88"/>
                    <a:pt x="63" y="88"/>
                  </a:cubicBezTo>
                  <a:cubicBezTo>
                    <a:pt x="72" y="68"/>
                    <a:pt x="72" y="68"/>
                    <a:pt x="72" y="68"/>
                  </a:cubicBezTo>
                  <a:lnTo>
                    <a:pt x="85" y="67"/>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61" name="The Gambia">
              <a:extLst>
                <a:ext uri="{FF2B5EF4-FFF2-40B4-BE49-F238E27FC236}">
                  <a16:creationId xmlns:a16="http://schemas.microsoft.com/office/drawing/2014/main" id="{F3051D37-88D3-4BDD-9418-4E688ED7929D}"/>
                </a:ext>
              </a:extLst>
            </p:cNvPr>
            <p:cNvSpPr>
              <a:spLocks/>
            </p:cNvSpPr>
            <p:nvPr/>
          </p:nvSpPr>
          <p:spPr bwMode="gray">
            <a:xfrm>
              <a:off x="4114380" y="2949160"/>
              <a:ext cx="190289" cy="49297"/>
            </a:xfrm>
            <a:custGeom>
              <a:avLst/>
              <a:gdLst>
                <a:gd name="T0" fmla="*/ 11 w 154"/>
                <a:gd name="T1" fmla="*/ 15 h 39"/>
                <a:gd name="T2" fmla="*/ 0 w 154"/>
                <a:gd name="T3" fmla="*/ 37 h 39"/>
                <a:gd name="T4" fmla="*/ 0 w 154"/>
                <a:gd name="T5" fmla="*/ 39 h 39"/>
                <a:gd name="T6" fmla="*/ 43 w 154"/>
                <a:gd name="T7" fmla="*/ 39 h 39"/>
                <a:gd name="T8" fmla="*/ 47 w 154"/>
                <a:gd name="T9" fmla="*/ 30 h 39"/>
                <a:gd name="T10" fmla="*/ 72 w 154"/>
                <a:gd name="T11" fmla="*/ 27 h 39"/>
                <a:gd name="T12" fmla="*/ 84 w 154"/>
                <a:gd name="T13" fmla="*/ 15 h 39"/>
                <a:gd name="T14" fmla="*/ 118 w 154"/>
                <a:gd name="T15" fmla="*/ 34 h 39"/>
                <a:gd name="T16" fmla="*/ 137 w 154"/>
                <a:gd name="T17" fmla="*/ 15 h 39"/>
                <a:gd name="T18" fmla="*/ 116 w 154"/>
                <a:gd name="T19" fmla="*/ 20 h 39"/>
                <a:gd name="T20" fmla="*/ 103 w 154"/>
                <a:gd name="T21" fmla="*/ 8 h 39"/>
                <a:gd name="T22" fmla="*/ 95 w 154"/>
                <a:gd name="T23" fmla="*/ 10 h 39"/>
                <a:gd name="T24" fmla="*/ 84 w 154"/>
                <a:gd name="T25" fmla="*/ 2 h 39"/>
                <a:gd name="T26" fmla="*/ 59 w 154"/>
                <a:gd name="T27" fmla="*/ 3 h 39"/>
                <a:gd name="T28" fmla="*/ 59 w 154"/>
                <a:gd name="T29" fmla="*/ 13 h 39"/>
                <a:gd name="T30" fmla="*/ 9 w 154"/>
                <a:gd name="T31" fmla="*/ 13 h 39"/>
                <a:gd name="T32" fmla="*/ 11 w 154"/>
                <a:gd name="T33" fmla="*/ 1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39">
                  <a:moveTo>
                    <a:pt x="11" y="15"/>
                  </a:moveTo>
                  <a:cubicBezTo>
                    <a:pt x="11" y="15"/>
                    <a:pt x="1" y="30"/>
                    <a:pt x="0" y="37"/>
                  </a:cubicBezTo>
                  <a:cubicBezTo>
                    <a:pt x="0" y="38"/>
                    <a:pt x="0" y="38"/>
                    <a:pt x="0" y="39"/>
                  </a:cubicBezTo>
                  <a:cubicBezTo>
                    <a:pt x="11" y="39"/>
                    <a:pt x="41" y="39"/>
                    <a:pt x="43" y="39"/>
                  </a:cubicBezTo>
                  <a:cubicBezTo>
                    <a:pt x="46" y="39"/>
                    <a:pt x="47" y="30"/>
                    <a:pt x="47" y="30"/>
                  </a:cubicBezTo>
                  <a:cubicBezTo>
                    <a:pt x="47" y="30"/>
                    <a:pt x="66" y="28"/>
                    <a:pt x="72" y="27"/>
                  </a:cubicBezTo>
                  <a:cubicBezTo>
                    <a:pt x="78" y="26"/>
                    <a:pt x="84" y="15"/>
                    <a:pt x="84" y="15"/>
                  </a:cubicBezTo>
                  <a:cubicBezTo>
                    <a:pt x="84" y="15"/>
                    <a:pt x="100" y="34"/>
                    <a:pt x="118" y="34"/>
                  </a:cubicBezTo>
                  <a:cubicBezTo>
                    <a:pt x="136" y="34"/>
                    <a:pt x="154" y="19"/>
                    <a:pt x="137" y="15"/>
                  </a:cubicBezTo>
                  <a:cubicBezTo>
                    <a:pt x="120" y="11"/>
                    <a:pt x="121" y="21"/>
                    <a:pt x="116" y="20"/>
                  </a:cubicBezTo>
                  <a:cubicBezTo>
                    <a:pt x="111" y="19"/>
                    <a:pt x="103" y="8"/>
                    <a:pt x="103" y="8"/>
                  </a:cubicBezTo>
                  <a:cubicBezTo>
                    <a:pt x="95" y="10"/>
                    <a:pt x="95" y="10"/>
                    <a:pt x="95" y="10"/>
                  </a:cubicBezTo>
                  <a:cubicBezTo>
                    <a:pt x="95" y="10"/>
                    <a:pt x="97" y="0"/>
                    <a:pt x="84" y="2"/>
                  </a:cubicBezTo>
                  <a:cubicBezTo>
                    <a:pt x="71" y="4"/>
                    <a:pt x="59" y="3"/>
                    <a:pt x="59" y="3"/>
                  </a:cubicBezTo>
                  <a:cubicBezTo>
                    <a:pt x="59" y="13"/>
                    <a:pt x="59" y="13"/>
                    <a:pt x="59" y="13"/>
                  </a:cubicBezTo>
                  <a:cubicBezTo>
                    <a:pt x="9" y="13"/>
                    <a:pt x="9" y="13"/>
                    <a:pt x="9" y="13"/>
                  </a:cubicBezTo>
                  <a:cubicBezTo>
                    <a:pt x="10" y="14"/>
                    <a:pt x="11" y="15"/>
                    <a:pt x="11" y="15"/>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62" name="Liberia">
              <a:extLst>
                <a:ext uri="{FF2B5EF4-FFF2-40B4-BE49-F238E27FC236}">
                  <a16:creationId xmlns:a16="http://schemas.microsoft.com/office/drawing/2014/main" id="{F7817771-E443-42EC-AE57-3AD7598E6EA8}"/>
                </a:ext>
              </a:extLst>
            </p:cNvPr>
            <p:cNvSpPr>
              <a:spLocks/>
            </p:cNvSpPr>
            <p:nvPr/>
          </p:nvSpPr>
          <p:spPr bwMode="gray">
            <a:xfrm>
              <a:off x="4403340" y="3290715"/>
              <a:ext cx="257241" cy="292258"/>
            </a:xfrm>
            <a:custGeom>
              <a:avLst/>
              <a:gdLst>
                <a:gd name="T0" fmla="*/ 207 w 207"/>
                <a:gd name="T1" fmla="*/ 175 h 236"/>
                <a:gd name="T2" fmla="*/ 186 w 207"/>
                <a:gd name="T3" fmla="*/ 146 h 236"/>
                <a:gd name="T4" fmla="*/ 185 w 207"/>
                <a:gd name="T5" fmla="*/ 129 h 236"/>
                <a:gd name="T6" fmla="*/ 161 w 207"/>
                <a:gd name="T7" fmla="*/ 133 h 236"/>
                <a:gd name="T8" fmla="*/ 161 w 207"/>
                <a:gd name="T9" fmla="*/ 123 h 236"/>
                <a:gd name="T10" fmla="*/ 148 w 207"/>
                <a:gd name="T11" fmla="*/ 121 h 236"/>
                <a:gd name="T12" fmla="*/ 162 w 207"/>
                <a:gd name="T13" fmla="*/ 89 h 236"/>
                <a:gd name="T14" fmla="*/ 149 w 207"/>
                <a:gd name="T15" fmla="*/ 55 h 236"/>
                <a:gd name="T16" fmla="*/ 145 w 207"/>
                <a:gd name="T17" fmla="*/ 56 h 236"/>
                <a:gd name="T18" fmla="*/ 129 w 207"/>
                <a:gd name="T19" fmla="*/ 82 h 236"/>
                <a:gd name="T20" fmla="*/ 117 w 207"/>
                <a:gd name="T21" fmla="*/ 72 h 236"/>
                <a:gd name="T22" fmla="*/ 109 w 207"/>
                <a:gd name="T23" fmla="*/ 72 h 236"/>
                <a:gd name="T24" fmla="*/ 99 w 207"/>
                <a:gd name="T25" fmla="*/ 13 h 236"/>
                <a:gd name="T26" fmla="*/ 83 w 207"/>
                <a:gd name="T27" fmla="*/ 18 h 236"/>
                <a:gd name="T28" fmla="*/ 67 w 207"/>
                <a:gd name="T29" fmla="*/ 14 h 236"/>
                <a:gd name="T30" fmla="*/ 69 w 207"/>
                <a:gd name="T31" fmla="*/ 31 h 236"/>
                <a:gd name="T32" fmla="*/ 55 w 207"/>
                <a:gd name="T33" fmla="*/ 34 h 236"/>
                <a:gd name="T34" fmla="*/ 55 w 207"/>
                <a:gd name="T35" fmla="*/ 48 h 236"/>
                <a:gd name="T36" fmla="*/ 16 w 207"/>
                <a:gd name="T37" fmla="*/ 82 h 236"/>
                <a:gd name="T38" fmla="*/ 14 w 207"/>
                <a:gd name="T39" fmla="*/ 105 h 236"/>
                <a:gd name="T40" fmla="*/ 0 w 207"/>
                <a:gd name="T41" fmla="*/ 89 h 236"/>
                <a:gd name="T42" fmla="*/ 0 w 207"/>
                <a:gd name="T43" fmla="*/ 89 h 236"/>
                <a:gd name="T44" fmla="*/ 23 w 207"/>
                <a:gd name="T45" fmla="*/ 115 h 236"/>
                <a:gd name="T46" fmla="*/ 40 w 207"/>
                <a:gd name="T47" fmla="*/ 117 h 236"/>
                <a:gd name="T48" fmla="*/ 48 w 207"/>
                <a:gd name="T49" fmla="*/ 135 h 236"/>
                <a:gd name="T50" fmla="*/ 70 w 207"/>
                <a:gd name="T51" fmla="*/ 139 h 236"/>
                <a:gd name="T52" fmla="*/ 105 w 207"/>
                <a:gd name="T53" fmla="*/ 187 h 236"/>
                <a:gd name="T54" fmla="*/ 156 w 207"/>
                <a:gd name="T55" fmla="*/ 213 h 236"/>
                <a:gd name="T56" fmla="*/ 195 w 207"/>
                <a:gd name="T57" fmla="*/ 236 h 236"/>
                <a:gd name="T58" fmla="*/ 198 w 207"/>
                <a:gd name="T59" fmla="*/ 236 h 236"/>
                <a:gd name="T60" fmla="*/ 197 w 207"/>
                <a:gd name="T61" fmla="*/ 209 h 236"/>
                <a:gd name="T62" fmla="*/ 207 w 207"/>
                <a:gd name="T63" fmla="*/ 17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7" h="236">
                  <a:moveTo>
                    <a:pt x="207" y="175"/>
                  </a:moveTo>
                  <a:cubicBezTo>
                    <a:pt x="207" y="162"/>
                    <a:pt x="186" y="146"/>
                    <a:pt x="186" y="146"/>
                  </a:cubicBezTo>
                  <a:cubicBezTo>
                    <a:pt x="185" y="129"/>
                    <a:pt x="185" y="129"/>
                    <a:pt x="185" y="129"/>
                  </a:cubicBezTo>
                  <a:cubicBezTo>
                    <a:pt x="161" y="133"/>
                    <a:pt x="161" y="133"/>
                    <a:pt x="161" y="133"/>
                  </a:cubicBezTo>
                  <a:cubicBezTo>
                    <a:pt x="161" y="123"/>
                    <a:pt x="161" y="123"/>
                    <a:pt x="161" y="123"/>
                  </a:cubicBezTo>
                  <a:cubicBezTo>
                    <a:pt x="161" y="123"/>
                    <a:pt x="149" y="124"/>
                    <a:pt x="148" y="121"/>
                  </a:cubicBezTo>
                  <a:cubicBezTo>
                    <a:pt x="147" y="118"/>
                    <a:pt x="162" y="104"/>
                    <a:pt x="162" y="89"/>
                  </a:cubicBezTo>
                  <a:cubicBezTo>
                    <a:pt x="162" y="79"/>
                    <a:pt x="154" y="64"/>
                    <a:pt x="149" y="55"/>
                  </a:cubicBezTo>
                  <a:cubicBezTo>
                    <a:pt x="147" y="55"/>
                    <a:pt x="146" y="55"/>
                    <a:pt x="145" y="56"/>
                  </a:cubicBezTo>
                  <a:cubicBezTo>
                    <a:pt x="140" y="60"/>
                    <a:pt x="140" y="82"/>
                    <a:pt x="129" y="82"/>
                  </a:cubicBezTo>
                  <a:cubicBezTo>
                    <a:pt x="118" y="82"/>
                    <a:pt x="117" y="72"/>
                    <a:pt x="117" y="72"/>
                  </a:cubicBezTo>
                  <a:cubicBezTo>
                    <a:pt x="109" y="72"/>
                    <a:pt x="109" y="72"/>
                    <a:pt x="109" y="72"/>
                  </a:cubicBezTo>
                  <a:cubicBezTo>
                    <a:pt x="109" y="72"/>
                    <a:pt x="118" y="26"/>
                    <a:pt x="99" y="13"/>
                  </a:cubicBezTo>
                  <a:cubicBezTo>
                    <a:pt x="80" y="0"/>
                    <a:pt x="83" y="18"/>
                    <a:pt x="83" y="18"/>
                  </a:cubicBezTo>
                  <a:cubicBezTo>
                    <a:pt x="67" y="14"/>
                    <a:pt x="67" y="14"/>
                    <a:pt x="67" y="14"/>
                  </a:cubicBezTo>
                  <a:cubicBezTo>
                    <a:pt x="69" y="31"/>
                    <a:pt x="69" y="31"/>
                    <a:pt x="69" y="31"/>
                  </a:cubicBezTo>
                  <a:cubicBezTo>
                    <a:pt x="55" y="34"/>
                    <a:pt x="55" y="34"/>
                    <a:pt x="55" y="34"/>
                  </a:cubicBezTo>
                  <a:cubicBezTo>
                    <a:pt x="55" y="34"/>
                    <a:pt x="59" y="38"/>
                    <a:pt x="55" y="48"/>
                  </a:cubicBezTo>
                  <a:cubicBezTo>
                    <a:pt x="51" y="58"/>
                    <a:pt x="17" y="75"/>
                    <a:pt x="16" y="82"/>
                  </a:cubicBezTo>
                  <a:cubicBezTo>
                    <a:pt x="15" y="86"/>
                    <a:pt x="15" y="97"/>
                    <a:pt x="14" y="105"/>
                  </a:cubicBezTo>
                  <a:cubicBezTo>
                    <a:pt x="0" y="89"/>
                    <a:pt x="0" y="89"/>
                    <a:pt x="0" y="89"/>
                  </a:cubicBezTo>
                  <a:cubicBezTo>
                    <a:pt x="0" y="89"/>
                    <a:pt x="0" y="89"/>
                    <a:pt x="0" y="89"/>
                  </a:cubicBezTo>
                  <a:cubicBezTo>
                    <a:pt x="23" y="115"/>
                    <a:pt x="23" y="115"/>
                    <a:pt x="23" y="115"/>
                  </a:cubicBezTo>
                  <a:cubicBezTo>
                    <a:pt x="40" y="117"/>
                    <a:pt x="40" y="117"/>
                    <a:pt x="40" y="117"/>
                  </a:cubicBezTo>
                  <a:cubicBezTo>
                    <a:pt x="48" y="135"/>
                    <a:pt x="48" y="135"/>
                    <a:pt x="48" y="135"/>
                  </a:cubicBezTo>
                  <a:cubicBezTo>
                    <a:pt x="48" y="135"/>
                    <a:pt x="66" y="131"/>
                    <a:pt x="70" y="139"/>
                  </a:cubicBezTo>
                  <a:cubicBezTo>
                    <a:pt x="74" y="147"/>
                    <a:pt x="89" y="173"/>
                    <a:pt x="105" y="187"/>
                  </a:cubicBezTo>
                  <a:cubicBezTo>
                    <a:pt x="121" y="201"/>
                    <a:pt x="149" y="208"/>
                    <a:pt x="156" y="213"/>
                  </a:cubicBezTo>
                  <a:cubicBezTo>
                    <a:pt x="163" y="218"/>
                    <a:pt x="180" y="236"/>
                    <a:pt x="195" y="236"/>
                  </a:cubicBezTo>
                  <a:cubicBezTo>
                    <a:pt x="196" y="236"/>
                    <a:pt x="197" y="236"/>
                    <a:pt x="198" y="236"/>
                  </a:cubicBezTo>
                  <a:cubicBezTo>
                    <a:pt x="197" y="209"/>
                    <a:pt x="197" y="209"/>
                    <a:pt x="197" y="209"/>
                  </a:cubicBezTo>
                  <a:cubicBezTo>
                    <a:pt x="197" y="209"/>
                    <a:pt x="207" y="188"/>
                    <a:pt x="207" y="175"/>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63" name="Sierra Leone">
              <a:extLst>
                <a:ext uri="{FF2B5EF4-FFF2-40B4-BE49-F238E27FC236}">
                  <a16:creationId xmlns:a16="http://schemas.microsoft.com/office/drawing/2014/main" id="{041C09EF-6D81-4614-937E-282E6F18C1C7}"/>
                </a:ext>
              </a:extLst>
            </p:cNvPr>
            <p:cNvSpPr>
              <a:spLocks/>
            </p:cNvSpPr>
            <p:nvPr/>
          </p:nvSpPr>
          <p:spPr bwMode="gray">
            <a:xfrm>
              <a:off x="4315242" y="3199165"/>
              <a:ext cx="172669" cy="221835"/>
            </a:xfrm>
            <a:custGeom>
              <a:avLst/>
              <a:gdLst>
                <a:gd name="T0" fmla="*/ 126 w 140"/>
                <a:gd name="T1" fmla="*/ 122 h 179"/>
                <a:gd name="T2" fmla="*/ 126 w 140"/>
                <a:gd name="T3" fmla="*/ 108 h 179"/>
                <a:gd name="T4" fmla="*/ 140 w 140"/>
                <a:gd name="T5" fmla="*/ 105 h 179"/>
                <a:gd name="T6" fmla="*/ 138 w 140"/>
                <a:gd name="T7" fmla="*/ 88 h 179"/>
                <a:gd name="T8" fmla="*/ 119 w 140"/>
                <a:gd name="T9" fmla="*/ 99 h 179"/>
                <a:gd name="T10" fmla="*/ 120 w 140"/>
                <a:gd name="T11" fmla="*/ 86 h 179"/>
                <a:gd name="T12" fmla="*/ 131 w 140"/>
                <a:gd name="T13" fmla="*/ 70 h 179"/>
                <a:gd name="T14" fmla="*/ 120 w 140"/>
                <a:gd name="T15" fmla="*/ 50 h 179"/>
                <a:gd name="T16" fmla="*/ 123 w 140"/>
                <a:gd name="T17" fmla="*/ 41 h 179"/>
                <a:gd name="T18" fmla="*/ 95 w 140"/>
                <a:gd name="T19" fmla="*/ 0 h 179"/>
                <a:gd name="T20" fmla="*/ 69 w 140"/>
                <a:gd name="T21" fmla="*/ 0 h 179"/>
                <a:gd name="T22" fmla="*/ 65 w 140"/>
                <a:gd name="T23" fmla="*/ 12 h 179"/>
                <a:gd name="T24" fmla="*/ 40 w 140"/>
                <a:gd name="T25" fmla="*/ 12 h 179"/>
                <a:gd name="T26" fmla="*/ 9 w 140"/>
                <a:gd name="T27" fmla="*/ 54 h 179"/>
                <a:gd name="T28" fmla="*/ 0 w 140"/>
                <a:gd name="T29" fmla="*/ 59 h 179"/>
                <a:gd name="T30" fmla="*/ 9 w 140"/>
                <a:gd name="T31" fmla="*/ 66 h 179"/>
                <a:gd name="T32" fmla="*/ 1 w 140"/>
                <a:gd name="T33" fmla="*/ 84 h 179"/>
                <a:gd name="T34" fmla="*/ 16 w 140"/>
                <a:gd name="T35" fmla="*/ 103 h 179"/>
                <a:gd name="T36" fmla="*/ 15 w 140"/>
                <a:gd name="T37" fmla="*/ 121 h 179"/>
                <a:gd name="T38" fmla="*/ 29 w 140"/>
                <a:gd name="T39" fmla="*/ 132 h 179"/>
                <a:gd name="T40" fmla="*/ 37 w 140"/>
                <a:gd name="T41" fmla="*/ 148 h 179"/>
                <a:gd name="T42" fmla="*/ 65 w 140"/>
                <a:gd name="T43" fmla="*/ 157 h 179"/>
                <a:gd name="T44" fmla="*/ 85 w 140"/>
                <a:gd name="T45" fmla="*/ 179 h 179"/>
                <a:gd name="T46" fmla="*/ 87 w 140"/>
                <a:gd name="T47" fmla="*/ 156 h 179"/>
                <a:gd name="T48" fmla="*/ 126 w 140"/>
                <a:gd name="T49" fmla="*/ 12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0" h="179">
                  <a:moveTo>
                    <a:pt x="126" y="122"/>
                  </a:moveTo>
                  <a:cubicBezTo>
                    <a:pt x="130" y="112"/>
                    <a:pt x="126" y="108"/>
                    <a:pt x="126" y="108"/>
                  </a:cubicBezTo>
                  <a:cubicBezTo>
                    <a:pt x="140" y="105"/>
                    <a:pt x="140" y="105"/>
                    <a:pt x="140" y="105"/>
                  </a:cubicBezTo>
                  <a:cubicBezTo>
                    <a:pt x="138" y="88"/>
                    <a:pt x="138" y="88"/>
                    <a:pt x="138" y="88"/>
                  </a:cubicBezTo>
                  <a:cubicBezTo>
                    <a:pt x="119" y="99"/>
                    <a:pt x="119" y="99"/>
                    <a:pt x="119" y="99"/>
                  </a:cubicBezTo>
                  <a:cubicBezTo>
                    <a:pt x="120" y="86"/>
                    <a:pt x="120" y="86"/>
                    <a:pt x="120" y="86"/>
                  </a:cubicBezTo>
                  <a:cubicBezTo>
                    <a:pt x="120" y="86"/>
                    <a:pt x="131" y="78"/>
                    <a:pt x="131" y="70"/>
                  </a:cubicBezTo>
                  <a:cubicBezTo>
                    <a:pt x="131" y="62"/>
                    <a:pt x="120" y="50"/>
                    <a:pt x="120" y="50"/>
                  </a:cubicBezTo>
                  <a:cubicBezTo>
                    <a:pt x="123" y="41"/>
                    <a:pt x="123" y="41"/>
                    <a:pt x="123" y="41"/>
                  </a:cubicBezTo>
                  <a:cubicBezTo>
                    <a:pt x="95" y="0"/>
                    <a:pt x="95" y="0"/>
                    <a:pt x="95" y="0"/>
                  </a:cubicBezTo>
                  <a:cubicBezTo>
                    <a:pt x="69" y="0"/>
                    <a:pt x="69" y="0"/>
                    <a:pt x="69" y="0"/>
                  </a:cubicBezTo>
                  <a:cubicBezTo>
                    <a:pt x="65" y="12"/>
                    <a:pt x="65" y="12"/>
                    <a:pt x="65" y="12"/>
                  </a:cubicBezTo>
                  <a:cubicBezTo>
                    <a:pt x="40" y="12"/>
                    <a:pt x="40" y="12"/>
                    <a:pt x="40" y="12"/>
                  </a:cubicBezTo>
                  <a:cubicBezTo>
                    <a:pt x="40" y="12"/>
                    <a:pt x="21" y="54"/>
                    <a:pt x="9" y="54"/>
                  </a:cubicBezTo>
                  <a:cubicBezTo>
                    <a:pt x="0" y="59"/>
                    <a:pt x="0" y="59"/>
                    <a:pt x="0" y="59"/>
                  </a:cubicBezTo>
                  <a:cubicBezTo>
                    <a:pt x="9" y="66"/>
                    <a:pt x="9" y="66"/>
                    <a:pt x="9" y="66"/>
                  </a:cubicBezTo>
                  <a:cubicBezTo>
                    <a:pt x="9" y="66"/>
                    <a:pt x="1" y="75"/>
                    <a:pt x="1" y="84"/>
                  </a:cubicBezTo>
                  <a:cubicBezTo>
                    <a:pt x="1" y="93"/>
                    <a:pt x="16" y="103"/>
                    <a:pt x="16" y="103"/>
                  </a:cubicBezTo>
                  <a:cubicBezTo>
                    <a:pt x="15" y="121"/>
                    <a:pt x="15" y="121"/>
                    <a:pt x="15" y="121"/>
                  </a:cubicBezTo>
                  <a:cubicBezTo>
                    <a:pt x="29" y="132"/>
                    <a:pt x="29" y="132"/>
                    <a:pt x="29" y="132"/>
                  </a:cubicBezTo>
                  <a:cubicBezTo>
                    <a:pt x="29" y="132"/>
                    <a:pt x="28" y="139"/>
                    <a:pt x="37" y="148"/>
                  </a:cubicBezTo>
                  <a:cubicBezTo>
                    <a:pt x="46" y="157"/>
                    <a:pt x="65" y="157"/>
                    <a:pt x="65" y="157"/>
                  </a:cubicBezTo>
                  <a:cubicBezTo>
                    <a:pt x="85" y="179"/>
                    <a:pt x="85" y="179"/>
                    <a:pt x="85" y="179"/>
                  </a:cubicBezTo>
                  <a:cubicBezTo>
                    <a:pt x="86" y="171"/>
                    <a:pt x="86" y="160"/>
                    <a:pt x="87" y="156"/>
                  </a:cubicBezTo>
                  <a:cubicBezTo>
                    <a:pt x="88" y="149"/>
                    <a:pt x="122" y="132"/>
                    <a:pt x="126" y="122"/>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64" name="Lesotho">
              <a:extLst>
                <a:ext uri="{FF2B5EF4-FFF2-40B4-BE49-F238E27FC236}">
                  <a16:creationId xmlns:a16="http://schemas.microsoft.com/office/drawing/2014/main" id="{CD720CF2-C10A-4632-A2B6-26F4DF8C93EE}"/>
                </a:ext>
              </a:extLst>
            </p:cNvPr>
            <p:cNvSpPr>
              <a:spLocks/>
            </p:cNvSpPr>
            <p:nvPr/>
          </p:nvSpPr>
          <p:spPr bwMode="gray">
            <a:xfrm>
              <a:off x="6644518" y="5776660"/>
              <a:ext cx="137430" cy="140848"/>
            </a:xfrm>
            <a:custGeom>
              <a:avLst/>
              <a:gdLst>
                <a:gd name="T0" fmla="*/ 0 w 111"/>
                <a:gd name="T1" fmla="*/ 58 h 114"/>
                <a:gd name="T2" fmla="*/ 17 w 111"/>
                <a:gd name="T3" fmla="*/ 83 h 114"/>
                <a:gd name="T4" fmla="*/ 17 w 111"/>
                <a:gd name="T5" fmla="*/ 94 h 114"/>
                <a:gd name="T6" fmla="*/ 35 w 111"/>
                <a:gd name="T7" fmla="*/ 114 h 114"/>
                <a:gd name="T8" fmla="*/ 50 w 111"/>
                <a:gd name="T9" fmla="*/ 113 h 114"/>
                <a:gd name="T10" fmla="*/ 61 w 111"/>
                <a:gd name="T11" fmla="*/ 89 h 114"/>
                <a:gd name="T12" fmla="*/ 82 w 111"/>
                <a:gd name="T13" fmla="*/ 85 h 114"/>
                <a:gd name="T14" fmla="*/ 99 w 111"/>
                <a:gd name="T15" fmla="*/ 75 h 114"/>
                <a:gd name="T16" fmla="*/ 96 w 111"/>
                <a:gd name="T17" fmla="*/ 63 h 114"/>
                <a:gd name="T18" fmla="*/ 111 w 111"/>
                <a:gd name="T19" fmla="*/ 50 h 114"/>
                <a:gd name="T20" fmla="*/ 110 w 111"/>
                <a:gd name="T21" fmla="*/ 34 h 114"/>
                <a:gd name="T22" fmla="*/ 100 w 111"/>
                <a:gd name="T23" fmla="*/ 31 h 114"/>
                <a:gd name="T24" fmla="*/ 83 w 111"/>
                <a:gd name="T25" fmla="*/ 6 h 114"/>
                <a:gd name="T26" fmla="*/ 62 w 111"/>
                <a:gd name="T27" fmla="*/ 5 h 114"/>
                <a:gd name="T28" fmla="*/ 54 w 111"/>
                <a:gd name="T29" fmla="*/ 8 h 114"/>
                <a:gd name="T30" fmla="*/ 53 w 111"/>
                <a:gd name="T31" fmla="*/ 18 h 114"/>
                <a:gd name="T32" fmla="*/ 38 w 111"/>
                <a:gd name="T33" fmla="*/ 19 h 114"/>
                <a:gd name="T34" fmla="*/ 31 w 111"/>
                <a:gd name="T35" fmla="*/ 33 h 114"/>
                <a:gd name="T36" fmla="*/ 19 w 111"/>
                <a:gd name="T37" fmla="*/ 46 h 114"/>
                <a:gd name="T38" fmla="*/ 17 w 111"/>
                <a:gd name="T39" fmla="*/ 56 h 114"/>
                <a:gd name="T40" fmla="*/ 0 w 111"/>
                <a:gd name="T41" fmla="*/ 5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114">
                  <a:moveTo>
                    <a:pt x="0" y="58"/>
                  </a:moveTo>
                  <a:cubicBezTo>
                    <a:pt x="17" y="83"/>
                    <a:pt x="17" y="83"/>
                    <a:pt x="17" y="83"/>
                  </a:cubicBezTo>
                  <a:cubicBezTo>
                    <a:pt x="17" y="94"/>
                    <a:pt x="17" y="94"/>
                    <a:pt x="17" y="94"/>
                  </a:cubicBezTo>
                  <a:cubicBezTo>
                    <a:pt x="35" y="114"/>
                    <a:pt x="35" y="114"/>
                    <a:pt x="35" y="114"/>
                  </a:cubicBezTo>
                  <a:cubicBezTo>
                    <a:pt x="50" y="113"/>
                    <a:pt x="50" y="113"/>
                    <a:pt x="50" y="113"/>
                  </a:cubicBezTo>
                  <a:cubicBezTo>
                    <a:pt x="50" y="113"/>
                    <a:pt x="51" y="93"/>
                    <a:pt x="61" y="89"/>
                  </a:cubicBezTo>
                  <a:cubicBezTo>
                    <a:pt x="71" y="85"/>
                    <a:pt x="74" y="87"/>
                    <a:pt x="82" y="85"/>
                  </a:cubicBezTo>
                  <a:cubicBezTo>
                    <a:pt x="90" y="83"/>
                    <a:pt x="99" y="75"/>
                    <a:pt x="99" y="75"/>
                  </a:cubicBezTo>
                  <a:cubicBezTo>
                    <a:pt x="96" y="63"/>
                    <a:pt x="96" y="63"/>
                    <a:pt x="96" y="63"/>
                  </a:cubicBezTo>
                  <a:cubicBezTo>
                    <a:pt x="111" y="50"/>
                    <a:pt x="111" y="50"/>
                    <a:pt x="111" y="50"/>
                  </a:cubicBezTo>
                  <a:cubicBezTo>
                    <a:pt x="110" y="34"/>
                    <a:pt x="110" y="34"/>
                    <a:pt x="110" y="34"/>
                  </a:cubicBezTo>
                  <a:cubicBezTo>
                    <a:pt x="100" y="31"/>
                    <a:pt x="100" y="31"/>
                    <a:pt x="100" y="31"/>
                  </a:cubicBezTo>
                  <a:cubicBezTo>
                    <a:pt x="100" y="31"/>
                    <a:pt x="88" y="12"/>
                    <a:pt x="83" y="6"/>
                  </a:cubicBezTo>
                  <a:cubicBezTo>
                    <a:pt x="78" y="0"/>
                    <a:pt x="62" y="5"/>
                    <a:pt x="62" y="5"/>
                  </a:cubicBezTo>
                  <a:cubicBezTo>
                    <a:pt x="54" y="8"/>
                    <a:pt x="54" y="8"/>
                    <a:pt x="54" y="8"/>
                  </a:cubicBezTo>
                  <a:cubicBezTo>
                    <a:pt x="53" y="18"/>
                    <a:pt x="53" y="18"/>
                    <a:pt x="53" y="18"/>
                  </a:cubicBezTo>
                  <a:cubicBezTo>
                    <a:pt x="53" y="18"/>
                    <a:pt x="43" y="15"/>
                    <a:pt x="38" y="19"/>
                  </a:cubicBezTo>
                  <a:cubicBezTo>
                    <a:pt x="33" y="23"/>
                    <a:pt x="31" y="33"/>
                    <a:pt x="31" y="33"/>
                  </a:cubicBezTo>
                  <a:cubicBezTo>
                    <a:pt x="19" y="46"/>
                    <a:pt x="19" y="46"/>
                    <a:pt x="19" y="46"/>
                  </a:cubicBezTo>
                  <a:cubicBezTo>
                    <a:pt x="17" y="56"/>
                    <a:pt x="17" y="56"/>
                    <a:pt x="17" y="56"/>
                  </a:cubicBezTo>
                  <a:lnTo>
                    <a:pt x="0" y="58"/>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65" name="Gabon">
              <a:extLst>
                <a:ext uri="{FF2B5EF4-FFF2-40B4-BE49-F238E27FC236}">
                  <a16:creationId xmlns:a16="http://schemas.microsoft.com/office/drawing/2014/main" id="{5E3B8F3C-CC1B-4E9F-9AD7-BDEAE468E5D8}"/>
                </a:ext>
              </a:extLst>
            </p:cNvPr>
            <p:cNvSpPr>
              <a:spLocks/>
            </p:cNvSpPr>
            <p:nvPr/>
          </p:nvSpPr>
          <p:spPr bwMode="gray">
            <a:xfrm>
              <a:off x="5604979" y="3713256"/>
              <a:ext cx="348863" cy="422541"/>
            </a:xfrm>
            <a:custGeom>
              <a:avLst/>
              <a:gdLst>
                <a:gd name="T0" fmla="*/ 261 w 281"/>
                <a:gd name="T1" fmla="*/ 153 h 339"/>
                <a:gd name="T2" fmla="*/ 244 w 281"/>
                <a:gd name="T3" fmla="*/ 140 h 339"/>
                <a:gd name="T4" fmla="*/ 254 w 281"/>
                <a:gd name="T5" fmla="*/ 100 h 339"/>
                <a:gd name="T6" fmla="*/ 273 w 281"/>
                <a:gd name="T7" fmla="*/ 74 h 339"/>
                <a:gd name="T8" fmla="*/ 263 w 281"/>
                <a:gd name="T9" fmla="*/ 56 h 339"/>
                <a:gd name="T10" fmla="*/ 229 w 281"/>
                <a:gd name="T11" fmla="*/ 62 h 339"/>
                <a:gd name="T12" fmla="*/ 210 w 281"/>
                <a:gd name="T13" fmla="*/ 36 h 339"/>
                <a:gd name="T14" fmla="*/ 220 w 281"/>
                <a:gd name="T15" fmla="*/ 4 h 339"/>
                <a:gd name="T16" fmla="*/ 177 w 281"/>
                <a:gd name="T17" fmla="*/ 1 h 339"/>
                <a:gd name="T18" fmla="*/ 147 w 281"/>
                <a:gd name="T19" fmla="*/ 9 h 339"/>
                <a:gd name="T20" fmla="*/ 125 w 281"/>
                <a:gd name="T21" fmla="*/ 10 h 339"/>
                <a:gd name="T22" fmla="*/ 128 w 281"/>
                <a:gd name="T23" fmla="*/ 37 h 339"/>
                <a:gd name="T24" fmla="*/ 56 w 281"/>
                <a:gd name="T25" fmla="*/ 75 h 339"/>
                <a:gd name="T26" fmla="*/ 46 w 281"/>
                <a:gd name="T27" fmla="*/ 71 h 339"/>
                <a:gd name="T28" fmla="*/ 40 w 281"/>
                <a:gd name="T29" fmla="*/ 77 h 339"/>
                <a:gd name="T30" fmla="*/ 30 w 281"/>
                <a:gd name="T31" fmla="*/ 107 h 339"/>
                <a:gd name="T32" fmla="*/ 0 w 281"/>
                <a:gd name="T33" fmla="*/ 166 h 339"/>
                <a:gd name="T34" fmla="*/ 28 w 281"/>
                <a:gd name="T35" fmla="*/ 195 h 339"/>
                <a:gd name="T36" fmla="*/ 27 w 281"/>
                <a:gd name="T37" fmla="*/ 228 h 339"/>
                <a:gd name="T38" fmla="*/ 46 w 281"/>
                <a:gd name="T39" fmla="*/ 259 h 339"/>
                <a:gd name="T40" fmla="*/ 61 w 281"/>
                <a:gd name="T41" fmla="*/ 271 h 339"/>
                <a:gd name="T42" fmla="*/ 91 w 281"/>
                <a:gd name="T43" fmla="*/ 311 h 339"/>
                <a:gd name="T44" fmla="*/ 114 w 281"/>
                <a:gd name="T45" fmla="*/ 339 h 339"/>
                <a:gd name="T46" fmla="*/ 133 w 281"/>
                <a:gd name="T47" fmla="*/ 317 h 339"/>
                <a:gd name="T48" fmla="*/ 152 w 281"/>
                <a:gd name="T49" fmla="*/ 304 h 339"/>
                <a:gd name="T50" fmla="*/ 149 w 281"/>
                <a:gd name="T51" fmla="*/ 287 h 339"/>
                <a:gd name="T52" fmla="*/ 139 w 281"/>
                <a:gd name="T53" fmla="*/ 274 h 339"/>
                <a:gd name="T54" fmla="*/ 172 w 281"/>
                <a:gd name="T55" fmla="*/ 257 h 339"/>
                <a:gd name="T56" fmla="*/ 178 w 281"/>
                <a:gd name="T57" fmla="*/ 225 h 339"/>
                <a:gd name="T58" fmla="*/ 204 w 281"/>
                <a:gd name="T59" fmla="*/ 255 h 339"/>
                <a:gd name="T60" fmla="*/ 241 w 281"/>
                <a:gd name="T61" fmla="*/ 239 h 339"/>
                <a:gd name="T62" fmla="*/ 260 w 281"/>
                <a:gd name="T63" fmla="*/ 244 h 339"/>
                <a:gd name="T64" fmla="*/ 269 w 281"/>
                <a:gd name="T65" fmla="*/ 212 h 339"/>
                <a:gd name="T66" fmla="*/ 272 w 281"/>
                <a:gd name="T67" fmla="*/ 17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1" h="339">
                  <a:moveTo>
                    <a:pt x="279" y="160"/>
                  </a:moveTo>
                  <a:cubicBezTo>
                    <a:pt x="277" y="154"/>
                    <a:pt x="261" y="153"/>
                    <a:pt x="261" y="153"/>
                  </a:cubicBezTo>
                  <a:cubicBezTo>
                    <a:pt x="256" y="141"/>
                    <a:pt x="256" y="141"/>
                    <a:pt x="256" y="141"/>
                  </a:cubicBezTo>
                  <a:cubicBezTo>
                    <a:pt x="244" y="140"/>
                    <a:pt x="244" y="140"/>
                    <a:pt x="244" y="140"/>
                  </a:cubicBezTo>
                  <a:cubicBezTo>
                    <a:pt x="245" y="116"/>
                    <a:pt x="245" y="116"/>
                    <a:pt x="245" y="116"/>
                  </a:cubicBezTo>
                  <a:cubicBezTo>
                    <a:pt x="254" y="100"/>
                    <a:pt x="254" y="100"/>
                    <a:pt x="254" y="100"/>
                  </a:cubicBezTo>
                  <a:cubicBezTo>
                    <a:pt x="254" y="100"/>
                    <a:pt x="261" y="101"/>
                    <a:pt x="267" y="94"/>
                  </a:cubicBezTo>
                  <a:cubicBezTo>
                    <a:pt x="273" y="87"/>
                    <a:pt x="273" y="74"/>
                    <a:pt x="273" y="74"/>
                  </a:cubicBezTo>
                  <a:cubicBezTo>
                    <a:pt x="267" y="70"/>
                    <a:pt x="267" y="70"/>
                    <a:pt x="267" y="70"/>
                  </a:cubicBezTo>
                  <a:cubicBezTo>
                    <a:pt x="267" y="70"/>
                    <a:pt x="266" y="60"/>
                    <a:pt x="263" y="56"/>
                  </a:cubicBezTo>
                  <a:cubicBezTo>
                    <a:pt x="260" y="52"/>
                    <a:pt x="248" y="47"/>
                    <a:pt x="243" y="47"/>
                  </a:cubicBezTo>
                  <a:cubicBezTo>
                    <a:pt x="238" y="47"/>
                    <a:pt x="238" y="62"/>
                    <a:pt x="229" y="62"/>
                  </a:cubicBezTo>
                  <a:cubicBezTo>
                    <a:pt x="220" y="62"/>
                    <a:pt x="212" y="57"/>
                    <a:pt x="212" y="57"/>
                  </a:cubicBezTo>
                  <a:cubicBezTo>
                    <a:pt x="210" y="36"/>
                    <a:pt x="210" y="36"/>
                    <a:pt x="210" y="36"/>
                  </a:cubicBezTo>
                  <a:cubicBezTo>
                    <a:pt x="220" y="14"/>
                    <a:pt x="220" y="14"/>
                    <a:pt x="220" y="14"/>
                  </a:cubicBezTo>
                  <a:cubicBezTo>
                    <a:pt x="220" y="4"/>
                    <a:pt x="220" y="4"/>
                    <a:pt x="220" y="4"/>
                  </a:cubicBezTo>
                  <a:cubicBezTo>
                    <a:pt x="188" y="5"/>
                    <a:pt x="188" y="5"/>
                    <a:pt x="188" y="5"/>
                  </a:cubicBezTo>
                  <a:cubicBezTo>
                    <a:pt x="188" y="5"/>
                    <a:pt x="181" y="1"/>
                    <a:pt x="177" y="1"/>
                  </a:cubicBezTo>
                  <a:cubicBezTo>
                    <a:pt x="173" y="1"/>
                    <a:pt x="168" y="9"/>
                    <a:pt x="168" y="9"/>
                  </a:cubicBezTo>
                  <a:cubicBezTo>
                    <a:pt x="147" y="9"/>
                    <a:pt x="147" y="9"/>
                    <a:pt x="147" y="9"/>
                  </a:cubicBezTo>
                  <a:cubicBezTo>
                    <a:pt x="137" y="0"/>
                    <a:pt x="137" y="0"/>
                    <a:pt x="137" y="0"/>
                  </a:cubicBezTo>
                  <a:cubicBezTo>
                    <a:pt x="125" y="10"/>
                    <a:pt x="125" y="10"/>
                    <a:pt x="125" y="10"/>
                  </a:cubicBezTo>
                  <a:cubicBezTo>
                    <a:pt x="122" y="33"/>
                    <a:pt x="122" y="33"/>
                    <a:pt x="122" y="33"/>
                  </a:cubicBezTo>
                  <a:cubicBezTo>
                    <a:pt x="128" y="37"/>
                    <a:pt x="128" y="37"/>
                    <a:pt x="128" y="37"/>
                  </a:cubicBezTo>
                  <a:cubicBezTo>
                    <a:pt x="128" y="37"/>
                    <a:pt x="128" y="72"/>
                    <a:pt x="123" y="73"/>
                  </a:cubicBezTo>
                  <a:cubicBezTo>
                    <a:pt x="118" y="74"/>
                    <a:pt x="56" y="75"/>
                    <a:pt x="56" y="75"/>
                  </a:cubicBezTo>
                  <a:cubicBezTo>
                    <a:pt x="54" y="69"/>
                    <a:pt x="54" y="69"/>
                    <a:pt x="54" y="69"/>
                  </a:cubicBezTo>
                  <a:cubicBezTo>
                    <a:pt x="46" y="71"/>
                    <a:pt x="46" y="71"/>
                    <a:pt x="46" y="71"/>
                  </a:cubicBezTo>
                  <a:cubicBezTo>
                    <a:pt x="47" y="72"/>
                    <a:pt x="48" y="72"/>
                    <a:pt x="48" y="72"/>
                  </a:cubicBezTo>
                  <a:cubicBezTo>
                    <a:pt x="40" y="77"/>
                    <a:pt x="40" y="77"/>
                    <a:pt x="40" y="77"/>
                  </a:cubicBezTo>
                  <a:cubicBezTo>
                    <a:pt x="40" y="77"/>
                    <a:pt x="49" y="105"/>
                    <a:pt x="45" y="107"/>
                  </a:cubicBezTo>
                  <a:cubicBezTo>
                    <a:pt x="41" y="109"/>
                    <a:pt x="30" y="107"/>
                    <a:pt x="30" y="107"/>
                  </a:cubicBezTo>
                  <a:cubicBezTo>
                    <a:pt x="30" y="107"/>
                    <a:pt x="33" y="148"/>
                    <a:pt x="23" y="159"/>
                  </a:cubicBezTo>
                  <a:cubicBezTo>
                    <a:pt x="13" y="170"/>
                    <a:pt x="0" y="166"/>
                    <a:pt x="0" y="166"/>
                  </a:cubicBezTo>
                  <a:cubicBezTo>
                    <a:pt x="17" y="203"/>
                    <a:pt x="17" y="203"/>
                    <a:pt x="17" y="203"/>
                  </a:cubicBezTo>
                  <a:cubicBezTo>
                    <a:pt x="28" y="195"/>
                    <a:pt x="28" y="195"/>
                    <a:pt x="28" y="195"/>
                  </a:cubicBezTo>
                  <a:cubicBezTo>
                    <a:pt x="34" y="208"/>
                    <a:pt x="34" y="208"/>
                    <a:pt x="34" y="208"/>
                  </a:cubicBezTo>
                  <a:cubicBezTo>
                    <a:pt x="34" y="208"/>
                    <a:pt x="25" y="221"/>
                    <a:pt x="27" y="228"/>
                  </a:cubicBezTo>
                  <a:cubicBezTo>
                    <a:pt x="29" y="235"/>
                    <a:pt x="42" y="232"/>
                    <a:pt x="42" y="232"/>
                  </a:cubicBezTo>
                  <a:cubicBezTo>
                    <a:pt x="46" y="259"/>
                    <a:pt x="46" y="259"/>
                    <a:pt x="46" y="259"/>
                  </a:cubicBezTo>
                  <a:cubicBezTo>
                    <a:pt x="66" y="263"/>
                    <a:pt x="66" y="263"/>
                    <a:pt x="66" y="263"/>
                  </a:cubicBezTo>
                  <a:cubicBezTo>
                    <a:pt x="61" y="271"/>
                    <a:pt x="61" y="271"/>
                    <a:pt x="61" y="271"/>
                  </a:cubicBezTo>
                  <a:cubicBezTo>
                    <a:pt x="94" y="306"/>
                    <a:pt x="94" y="306"/>
                    <a:pt x="94" y="306"/>
                  </a:cubicBezTo>
                  <a:cubicBezTo>
                    <a:pt x="91" y="311"/>
                    <a:pt x="91" y="311"/>
                    <a:pt x="91" y="311"/>
                  </a:cubicBezTo>
                  <a:cubicBezTo>
                    <a:pt x="113" y="338"/>
                    <a:pt x="113" y="338"/>
                    <a:pt x="113" y="338"/>
                  </a:cubicBezTo>
                  <a:cubicBezTo>
                    <a:pt x="114" y="339"/>
                    <a:pt x="114" y="339"/>
                    <a:pt x="114" y="339"/>
                  </a:cubicBezTo>
                  <a:cubicBezTo>
                    <a:pt x="119" y="326"/>
                    <a:pt x="119" y="326"/>
                    <a:pt x="119" y="326"/>
                  </a:cubicBezTo>
                  <a:cubicBezTo>
                    <a:pt x="133" y="317"/>
                    <a:pt x="133" y="317"/>
                    <a:pt x="133" y="317"/>
                  </a:cubicBezTo>
                  <a:cubicBezTo>
                    <a:pt x="133" y="317"/>
                    <a:pt x="148" y="335"/>
                    <a:pt x="152" y="326"/>
                  </a:cubicBezTo>
                  <a:cubicBezTo>
                    <a:pt x="156" y="317"/>
                    <a:pt x="152" y="304"/>
                    <a:pt x="152" y="304"/>
                  </a:cubicBezTo>
                  <a:cubicBezTo>
                    <a:pt x="140" y="296"/>
                    <a:pt x="140" y="296"/>
                    <a:pt x="140" y="296"/>
                  </a:cubicBezTo>
                  <a:cubicBezTo>
                    <a:pt x="149" y="287"/>
                    <a:pt x="149" y="287"/>
                    <a:pt x="149" y="287"/>
                  </a:cubicBezTo>
                  <a:cubicBezTo>
                    <a:pt x="132" y="274"/>
                    <a:pt x="132" y="274"/>
                    <a:pt x="132" y="274"/>
                  </a:cubicBezTo>
                  <a:cubicBezTo>
                    <a:pt x="139" y="274"/>
                    <a:pt x="139" y="274"/>
                    <a:pt x="139" y="274"/>
                  </a:cubicBezTo>
                  <a:cubicBezTo>
                    <a:pt x="139" y="274"/>
                    <a:pt x="132" y="249"/>
                    <a:pt x="138" y="251"/>
                  </a:cubicBezTo>
                  <a:cubicBezTo>
                    <a:pt x="144" y="253"/>
                    <a:pt x="168" y="262"/>
                    <a:pt x="172" y="257"/>
                  </a:cubicBezTo>
                  <a:cubicBezTo>
                    <a:pt x="176" y="252"/>
                    <a:pt x="185" y="244"/>
                    <a:pt x="185" y="244"/>
                  </a:cubicBezTo>
                  <a:cubicBezTo>
                    <a:pt x="185" y="244"/>
                    <a:pt x="172" y="226"/>
                    <a:pt x="178" y="225"/>
                  </a:cubicBezTo>
                  <a:cubicBezTo>
                    <a:pt x="184" y="224"/>
                    <a:pt x="195" y="226"/>
                    <a:pt x="195" y="226"/>
                  </a:cubicBezTo>
                  <a:cubicBezTo>
                    <a:pt x="204" y="255"/>
                    <a:pt x="204" y="255"/>
                    <a:pt x="204" y="255"/>
                  </a:cubicBezTo>
                  <a:cubicBezTo>
                    <a:pt x="204" y="255"/>
                    <a:pt x="218" y="256"/>
                    <a:pt x="226" y="254"/>
                  </a:cubicBezTo>
                  <a:cubicBezTo>
                    <a:pt x="234" y="252"/>
                    <a:pt x="237" y="236"/>
                    <a:pt x="241" y="239"/>
                  </a:cubicBezTo>
                  <a:cubicBezTo>
                    <a:pt x="245" y="242"/>
                    <a:pt x="238" y="264"/>
                    <a:pt x="248" y="264"/>
                  </a:cubicBezTo>
                  <a:cubicBezTo>
                    <a:pt x="258" y="264"/>
                    <a:pt x="260" y="258"/>
                    <a:pt x="260" y="244"/>
                  </a:cubicBezTo>
                  <a:cubicBezTo>
                    <a:pt x="260" y="230"/>
                    <a:pt x="273" y="226"/>
                    <a:pt x="273" y="226"/>
                  </a:cubicBezTo>
                  <a:cubicBezTo>
                    <a:pt x="269" y="212"/>
                    <a:pt x="269" y="212"/>
                    <a:pt x="269" y="212"/>
                  </a:cubicBezTo>
                  <a:cubicBezTo>
                    <a:pt x="273" y="201"/>
                    <a:pt x="273" y="201"/>
                    <a:pt x="273" y="201"/>
                  </a:cubicBezTo>
                  <a:cubicBezTo>
                    <a:pt x="272" y="171"/>
                    <a:pt x="272" y="171"/>
                    <a:pt x="272" y="171"/>
                  </a:cubicBezTo>
                  <a:cubicBezTo>
                    <a:pt x="272" y="171"/>
                    <a:pt x="281" y="166"/>
                    <a:pt x="279" y="160"/>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66" name="Swaziland">
              <a:extLst>
                <a:ext uri="{FF2B5EF4-FFF2-40B4-BE49-F238E27FC236}">
                  <a16:creationId xmlns:a16="http://schemas.microsoft.com/office/drawing/2014/main" id="{4390CD99-F57F-4A0A-BF8F-C3D6FE88697D}"/>
                </a:ext>
              </a:extLst>
            </p:cNvPr>
            <p:cNvSpPr>
              <a:spLocks/>
            </p:cNvSpPr>
            <p:nvPr/>
          </p:nvSpPr>
          <p:spPr bwMode="gray">
            <a:xfrm>
              <a:off x="6870048" y="5590037"/>
              <a:ext cx="91620" cy="109157"/>
            </a:xfrm>
            <a:custGeom>
              <a:avLst/>
              <a:gdLst>
                <a:gd name="T0" fmla="*/ 59 w 73"/>
                <a:gd name="T1" fmla="*/ 35 h 87"/>
                <a:gd name="T2" fmla="*/ 62 w 73"/>
                <a:gd name="T3" fmla="*/ 11 h 87"/>
                <a:gd name="T4" fmla="*/ 46 w 73"/>
                <a:gd name="T5" fmla="*/ 14 h 87"/>
                <a:gd name="T6" fmla="*/ 27 w 73"/>
                <a:gd name="T7" fmla="*/ 0 h 87"/>
                <a:gd name="T8" fmla="*/ 11 w 73"/>
                <a:gd name="T9" fmla="*/ 29 h 87"/>
                <a:gd name="T10" fmla="*/ 2 w 73"/>
                <a:gd name="T11" fmla="*/ 58 h 87"/>
                <a:gd name="T12" fmla="*/ 34 w 73"/>
                <a:gd name="T13" fmla="*/ 86 h 87"/>
                <a:gd name="T14" fmla="*/ 56 w 73"/>
                <a:gd name="T15" fmla="*/ 87 h 87"/>
                <a:gd name="T16" fmla="*/ 63 w 73"/>
                <a:gd name="T17" fmla="*/ 62 h 87"/>
                <a:gd name="T18" fmla="*/ 73 w 73"/>
                <a:gd name="T19" fmla="*/ 58 h 87"/>
                <a:gd name="T20" fmla="*/ 69 w 73"/>
                <a:gd name="T21" fmla="*/ 42 h 87"/>
                <a:gd name="T22" fmla="*/ 59 w 73"/>
                <a:gd name="T23" fmla="*/ 3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87">
                  <a:moveTo>
                    <a:pt x="59" y="35"/>
                  </a:moveTo>
                  <a:cubicBezTo>
                    <a:pt x="57" y="28"/>
                    <a:pt x="62" y="11"/>
                    <a:pt x="62" y="11"/>
                  </a:cubicBezTo>
                  <a:cubicBezTo>
                    <a:pt x="46" y="14"/>
                    <a:pt x="46" y="14"/>
                    <a:pt x="46" y="14"/>
                  </a:cubicBezTo>
                  <a:cubicBezTo>
                    <a:pt x="46" y="14"/>
                    <a:pt x="34" y="0"/>
                    <a:pt x="27" y="0"/>
                  </a:cubicBezTo>
                  <a:cubicBezTo>
                    <a:pt x="20" y="0"/>
                    <a:pt x="14" y="25"/>
                    <a:pt x="11" y="29"/>
                  </a:cubicBezTo>
                  <a:cubicBezTo>
                    <a:pt x="8" y="33"/>
                    <a:pt x="0" y="46"/>
                    <a:pt x="2" y="58"/>
                  </a:cubicBezTo>
                  <a:cubicBezTo>
                    <a:pt x="4" y="70"/>
                    <a:pt x="27" y="86"/>
                    <a:pt x="34" y="86"/>
                  </a:cubicBezTo>
                  <a:cubicBezTo>
                    <a:pt x="41" y="86"/>
                    <a:pt x="56" y="87"/>
                    <a:pt x="56" y="87"/>
                  </a:cubicBezTo>
                  <a:cubicBezTo>
                    <a:pt x="63" y="62"/>
                    <a:pt x="63" y="62"/>
                    <a:pt x="63" y="62"/>
                  </a:cubicBezTo>
                  <a:cubicBezTo>
                    <a:pt x="63" y="62"/>
                    <a:pt x="68" y="59"/>
                    <a:pt x="73" y="58"/>
                  </a:cubicBezTo>
                  <a:cubicBezTo>
                    <a:pt x="69" y="42"/>
                    <a:pt x="69" y="42"/>
                    <a:pt x="69" y="42"/>
                  </a:cubicBezTo>
                  <a:cubicBezTo>
                    <a:pt x="69" y="42"/>
                    <a:pt x="62" y="42"/>
                    <a:pt x="59" y="35"/>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67" name="Namibia">
              <a:extLst>
                <a:ext uri="{FF2B5EF4-FFF2-40B4-BE49-F238E27FC236}">
                  <a16:creationId xmlns:a16="http://schemas.microsoft.com/office/drawing/2014/main" id="{024C8B04-DC73-4346-8E25-797501D427CD}"/>
                </a:ext>
              </a:extLst>
            </p:cNvPr>
            <p:cNvSpPr>
              <a:spLocks/>
            </p:cNvSpPr>
            <p:nvPr/>
          </p:nvSpPr>
          <p:spPr bwMode="gray">
            <a:xfrm>
              <a:off x="5777649" y="5005523"/>
              <a:ext cx="789349" cy="802826"/>
            </a:xfrm>
            <a:custGeom>
              <a:avLst/>
              <a:gdLst>
                <a:gd name="T0" fmla="*/ 257 w 635"/>
                <a:gd name="T1" fmla="*/ 609 h 648"/>
                <a:gd name="T2" fmla="*/ 281 w 635"/>
                <a:gd name="T3" fmla="*/ 636 h 648"/>
                <a:gd name="T4" fmla="*/ 304 w 635"/>
                <a:gd name="T5" fmla="*/ 648 h 648"/>
                <a:gd name="T6" fmla="*/ 330 w 635"/>
                <a:gd name="T7" fmla="*/ 646 h 648"/>
                <a:gd name="T8" fmla="*/ 345 w 635"/>
                <a:gd name="T9" fmla="*/ 632 h 648"/>
                <a:gd name="T10" fmla="*/ 358 w 635"/>
                <a:gd name="T11" fmla="*/ 622 h 648"/>
                <a:gd name="T12" fmla="*/ 384 w 635"/>
                <a:gd name="T13" fmla="*/ 273 h 648"/>
                <a:gd name="T14" fmla="*/ 431 w 635"/>
                <a:gd name="T15" fmla="*/ 192 h 648"/>
                <a:gd name="T16" fmla="*/ 435 w 635"/>
                <a:gd name="T17" fmla="*/ 71 h 648"/>
                <a:gd name="T18" fmla="*/ 541 w 635"/>
                <a:gd name="T19" fmla="*/ 55 h 648"/>
                <a:gd name="T20" fmla="*/ 554 w 635"/>
                <a:gd name="T21" fmla="*/ 69 h 648"/>
                <a:gd name="T22" fmla="*/ 577 w 635"/>
                <a:gd name="T23" fmla="*/ 63 h 648"/>
                <a:gd name="T24" fmla="*/ 601 w 635"/>
                <a:gd name="T25" fmla="*/ 55 h 648"/>
                <a:gd name="T26" fmla="*/ 635 w 635"/>
                <a:gd name="T27" fmla="*/ 45 h 648"/>
                <a:gd name="T28" fmla="*/ 602 w 635"/>
                <a:gd name="T29" fmla="*/ 34 h 648"/>
                <a:gd name="T30" fmla="*/ 576 w 635"/>
                <a:gd name="T31" fmla="*/ 31 h 648"/>
                <a:gd name="T32" fmla="*/ 548 w 635"/>
                <a:gd name="T33" fmla="*/ 35 h 648"/>
                <a:gd name="T34" fmla="*/ 414 w 635"/>
                <a:gd name="T35" fmla="*/ 55 h 648"/>
                <a:gd name="T36" fmla="*/ 362 w 635"/>
                <a:gd name="T37" fmla="*/ 50 h 648"/>
                <a:gd name="T38" fmla="*/ 335 w 635"/>
                <a:gd name="T39" fmla="*/ 44 h 648"/>
                <a:gd name="T40" fmla="*/ 116 w 635"/>
                <a:gd name="T41" fmla="*/ 25 h 648"/>
                <a:gd name="T42" fmla="*/ 58 w 635"/>
                <a:gd name="T43" fmla="*/ 0 h 648"/>
                <a:gd name="T44" fmla="*/ 28 w 635"/>
                <a:gd name="T45" fmla="*/ 16 h 648"/>
                <a:gd name="T46" fmla="*/ 10 w 635"/>
                <a:gd name="T47" fmla="*/ 15 h 648"/>
                <a:gd name="T48" fmla="*/ 4 w 635"/>
                <a:gd name="T49" fmla="*/ 62 h 648"/>
                <a:gd name="T50" fmla="*/ 65 w 635"/>
                <a:gd name="T51" fmla="*/ 170 h 648"/>
                <a:gd name="T52" fmla="*/ 102 w 635"/>
                <a:gd name="T53" fmla="*/ 245 h 648"/>
                <a:gd name="T54" fmla="*/ 131 w 635"/>
                <a:gd name="T55" fmla="*/ 296 h 648"/>
                <a:gd name="T56" fmla="*/ 146 w 635"/>
                <a:gd name="T57" fmla="*/ 431 h 648"/>
                <a:gd name="T58" fmla="*/ 149 w 635"/>
                <a:gd name="T59" fmla="*/ 484 h 648"/>
                <a:gd name="T60" fmla="*/ 159 w 635"/>
                <a:gd name="T61" fmla="*/ 508 h 648"/>
                <a:gd name="T62" fmla="*/ 168 w 635"/>
                <a:gd name="T63" fmla="*/ 544 h 648"/>
                <a:gd name="T64" fmla="*/ 190 w 635"/>
                <a:gd name="T65" fmla="*/ 606 h 648"/>
                <a:gd name="T66" fmla="*/ 216 w 635"/>
                <a:gd name="T67" fmla="*/ 625 h 648"/>
                <a:gd name="T68" fmla="*/ 243 w 635"/>
                <a:gd name="T69" fmla="*/ 596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5" h="648">
                  <a:moveTo>
                    <a:pt x="243" y="596"/>
                  </a:moveTo>
                  <a:cubicBezTo>
                    <a:pt x="247" y="597"/>
                    <a:pt x="257" y="609"/>
                    <a:pt x="257" y="609"/>
                  </a:cubicBezTo>
                  <a:cubicBezTo>
                    <a:pt x="257" y="609"/>
                    <a:pt x="256" y="624"/>
                    <a:pt x="261" y="631"/>
                  </a:cubicBezTo>
                  <a:cubicBezTo>
                    <a:pt x="265" y="638"/>
                    <a:pt x="274" y="632"/>
                    <a:pt x="281" y="636"/>
                  </a:cubicBezTo>
                  <a:cubicBezTo>
                    <a:pt x="288" y="640"/>
                    <a:pt x="292" y="648"/>
                    <a:pt x="292" y="648"/>
                  </a:cubicBezTo>
                  <a:cubicBezTo>
                    <a:pt x="304" y="648"/>
                    <a:pt x="304" y="648"/>
                    <a:pt x="304" y="648"/>
                  </a:cubicBezTo>
                  <a:cubicBezTo>
                    <a:pt x="304" y="648"/>
                    <a:pt x="310" y="640"/>
                    <a:pt x="318" y="640"/>
                  </a:cubicBezTo>
                  <a:cubicBezTo>
                    <a:pt x="326" y="640"/>
                    <a:pt x="330" y="646"/>
                    <a:pt x="330" y="646"/>
                  </a:cubicBezTo>
                  <a:cubicBezTo>
                    <a:pt x="330" y="646"/>
                    <a:pt x="337" y="646"/>
                    <a:pt x="342" y="646"/>
                  </a:cubicBezTo>
                  <a:cubicBezTo>
                    <a:pt x="348" y="646"/>
                    <a:pt x="345" y="632"/>
                    <a:pt x="345" y="632"/>
                  </a:cubicBezTo>
                  <a:cubicBezTo>
                    <a:pt x="353" y="630"/>
                    <a:pt x="353" y="630"/>
                    <a:pt x="353" y="630"/>
                  </a:cubicBezTo>
                  <a:cubicBezTo>
                    <a:pt x="353" y="630"/>
                    <a:pt x="351" y="625"/>
                    <a:pt x="358" y="622"/>
                  </a:cubicBezTo>
                  <a:cubicBezTo>
                    <a:pt x="365" y="619"/>
                    <a:pt x="379" y="618"/>
                    <a:pt x="379" y="618"/>
                  </a:cubicBezTo>
                  <a:cubicBezTo>
                    <a:pt x="384" y="273"/>
                    <a:pt x="384" y="273"/>
                    <a:pt x="384" y="273"/>
                  </a:cubicBezTo>
                  <a:cubicBezTo>
                    <a:pt x="432" y="273"/>
                    <a:pt x="432" y="273"/>
                    <a:pt x="432" y="273"/>
                  </a:cubicBezTo>
                  <a:cubicBezTo>
                    <a:pt x="431" y="192"/>
                    <a:pt x="431" y="192"/>
                    <a:pt x="431" y="192"/>
                  </a:cubicBezTo>
                  <a:cubicBezTo>
                    <a:pt x="435" y="188"/>
                    <a:pt x="435" y="188"/>
                    <a:pt x="435" y="188"/>
                  </a:cubicBezTo>
                  <a:cubicBezTo>
                    <a:pt x="435" y="71"/>
                    <a:pt x="435" y="71"/>
                    <a:pt x="435" y="71"/>
                  </a:cubicBezTo>
                  <a:cubicBezTo>
                    <a:pt x="435" y="71"/>
                    <a:pt x="474" y="68"/>
                    <a:pt x="496" y="65"/>
                  </a:cubicBezTo>
                  <a:cubicBezTo>
                    <a:pt x="517" y="63"/>
                    <a:pt x="533" y="55"/>
                    <a:pt x="541" y="55"/>
                  </a:cubicBezTo>
                  <a:cubicBezTo>
                    <a:pt x="550" y="55"/>
                    <a:pt x="548" y="69"/>
                    <a:pt x="548" y="69"/>
                  </a:cubicBezTo>
                  <a:cubicBezTo>
                    <a:pt x="554" y="69"/>
                    <a:pt x="554" y="69"/>
                    <a:pt x="554" y="69"/>
                  </a:cubicBezTo>
                  <a:cubicBezTo>
                    <a:pt x="554" y="69"/>
                    <a:pt x="556" y="83"/>
                    <a:pt x="559" y="82"/>
                  </a:cubicBezTo>
                  <a:cubicBezTo>
                    <a:pt x="562" y="81"/>
                    <a:pt x="572" y="68"/>
                    <a:pt x="577" y="63"/>
                  </a:cubicBezTo>
                  <a:cubicBezTo>
                    <a:pt x="583" y="57"/>
                    <a:pt x="593" y="55"/>
                    <a:pt x="593" y="55"/>
                  </a:cubicBezTo>
                  <a:cubicBezTo>
                    <a:pt x="601" y="55"/>
                    <a:pt x="601" y="55"/>
                    <a:pt x="601" y="55"/>
                  </a:cubicBezTo>
                  <a:cubicBezTo>
                    <a:pt x="612" y="47"/>
                    <a:pt x="612" y="47"/>
                    <a:pt x="612" y="47"/>
                  </a:cubicBezTo>
                  <a:cubicBezTo>
                    <a:pt x="635" y="45"/>
                    <a:pt x="635" y="45"/>
                    <a:pt x="635" y="45"/>
                  </a:cubicBezTo>
                  <a:cubicBezTo>
                    <a:pt x="622" y="32"/>
                    <a:pt x="622" y="32"/>
                    <a:pt x="622" y="32"/>
                  </a:cubicBezTo>
                  <a:cubicBezTo>
                    <a:pt x="602" y="34"/>
                    <a:pt x="602" y="34"/>
                    <a:pt x="602" y="34"/>
                  </a:cubicBezTo>
                  <a:cubicBezTo>
                    <a:pt x="602" y="34"/>
                    <a:pt x="601" y="26"/>
                    <a:pt x="592" y="26"/>
                  </a:cubicBezTo>
                  <a:cubicBezTo>
                    <a:pt x="583" y="26"/>
                    <a:pt x="576" y="31"/>
                    <a:pt x="576" y="31"/>
                  </a:cubicBezTo>
                  <a:cubicBezTo>
                    <a:pt x="563" y="39"/>
                    <a:pt x="563" y="39"/>
                    <a:pt x="563" y="39"/>
                  </a:cubicBezTo>
                  <a:cubicBezTo>
                    <a:pt x="548" y="35"/>
                    <a:pt x="548" y="35"/>
                    <a:pt x="548" y="35"/>
                  </a:cubicBezTo>
                  <a:cubicBezTo>
                    <a:pt x="548" y="35"/>
                    <a:pt x="488" y="55"/>
                    <a:pt x="460" y="55"/>
                  </a:cubicBezTo>
                  <a:cubicBezTo>
                    <a:pt x="432" y="55"/>
                    <a:pt x="414" y="55"/>
                    <a:pt x="414" y="55"/>
                  </a:cubicBezTo>
                  <a:cubicBezTo>
                    <a:pt x="408" y="49"/>
                    <a:pt x="408" y="49"/>
                    <a:pt x="408" y="49"/>
                  </a:cubicBezTo>
                  <a:cubicBezTo>
                    <a:pt x="362" y="50"/>
                    <a:pt x="362" y="50"/>
                    <a:pt x="362" y="50"/>
                  </a:cubicBezTo>
                  <a:cubicBezTo>
                    <a:pt x="358" y="44"/>
                    <a:pt x="358" y="44"/>
                    <a:pt x="358" y="44"/>
                  </a:cubicBezTo>
                  <a:cubicBezTo>
                    <a:pt x="358" y="44"/>
                    <a:pt x="342" y="46"/>
                    <a:pt x="335" y="44"/>
                  </a:cubicBezTo>
                  <a:cubicBezTo>
                    <a:pt x="328" y="42"/>
                    <a:pt x="319" y="23"/>
                    <a:pt x="319" y="23"/>
                  </a:cubicBezTo>
                  <a:cubicBezTo>
                    <a:pt x="116" y="25"/>
                    <a:pt x="116" y="25"/>
                    <a:pt x="116" y="25"/>
                  </a:cubicBezTo>
                  <a:cubicBezTo>
                    <a:pt x="116" y="25"/>
                    <a:pt x="82" y="12"/>
                    <a:pt x="78" y="1"/>
                  </a:cubicBezTo>
                  <a:cubicBezTo>
                    <a:pt x="79" y="2"/>
                    <a:pt x="58" y="0"/>
                    <a:pt x="58" y="0"/>
                  </a:cubicBezTo>
                  <a:cubicBezTo>
                    <a:pt x="58" y="0"/>
                    <a:pt x="54" y="14"/>
                    <a:pt x="47" y="15"/>
                  </a:cubicBezTo>
                  <a:cubicBezTo>
                    <a:pt x="40" y="16"/>
                    <a:pt x="28" y="16"/>
                    <a:pt x="28" y="16"/>
                  </a:cubicBezTo>
                  <a:cubicBezTo>
                    <a:pt x="21" y="11"/>
                    <a:pt x="21" y="11"/>
                    <a:pt x="21" y="11"/>
                  </a:cubicBezTo>
                  <a:cubicBezTo>
                    <a:pt x="10" y="15"/>
                    <a:pt x="10" y="15"/>
                    <a:pt x="10" y="15"/>
                  </a:cubicBezTo>
                  <a:cubicBezTo>
                    <a:pt x="0" y="16"/>
                    <a:pt x="0" y="16"/>
                    <a:pt x="0" y="16"/>
                  </a:cubicBezTo>
                  <a:cubicBezTo>
                    <a:pt x="4" y="62"/>
                    <a:pt x="4" y="62"/>
                    <a:pt x="4" y="62"/>
                  </a:cubicBezTo>
                  <a:cubicBezTo>
                    <a:pt x="4" y="62"/>
                    <a:pt x="13" y="79"/>
                    <a:pt x="22" y="92"/>
                  </a:cubicBezTo>
                  <a:cubicBezTo>
                    <a:pt x="31" y="105"/>
                    <a:pt x="64" y="153"/>
                    <a:pt x="65" y="170"/>
                  </a:cubicBezTo>
                  <a:cubicBezTo>
                    <a:pt x="66" y="187"/>
                    <a:pt x="79" y="204"/>
                    <a:pt x="83" y="217"/>
                  </a:cubicBezTo>
                  <a:cubicBezTo>
                    <a:pt x="87" y="230"/>
                    <a:pt x="102" y="245"/>
                    <a:pt x="102" y="245"/>
                  </a:cubicBezTo>
                  <a:cubicBezTo>
                    <a:pt x="102" y="259"/>
                    <a:pt x="102" y="259"/>
                    <a:pt x="102" y="259"/>
                  </a:cubicBezTo>
                  <a:cubicBezTo>
                    <a:pt x="102" y="259"/>
                    <a:pt x="131" y="280"/>
                    <a:pt x="131" y="296"/>
                  </a:cubicBezTo>
                  <a:cubicBezTo>
                    <a:pt x="131" y="312"/>
                    <a:pt x="129" y="386"/>
                    <a:pt x="129" y="386"/>
                  </a:cubicBezTo>
                  <a:cubicBezTo>
                    <a:pt x="129" y="386"/>
                    <a:pt x="144" y="411"/>
                    <a:pt x="146" y="431"/>
                  </a:cubicBezTo>
                  <a:cubicBezTo>
                    <a:pt x="148" y="451"/>
                    <a:pt x="140" y="451"/>
                    <a:pt x="140" y="451"/>
                  </a:cubicBezTo>
                  <a:cubicBezTo>
                    <a:pt x="149" y="484"/>
                    <a:pt x="149" y="484"/>
                    <a:pt x="149" y="484"/>
                  </a:cubicBezTo>
                  <a:cubicBezTo>
                    <a:pt x="151" y="508"/>
                    <a:pt x="151" y="508"/>
                    <a:pt x="151" y="508"/>
                  </a:cubicBezTo>
                  <a:cubicBezTo>
                    <a:pt x="159" y="508"/>
                    <a:pt x="159" y="508"/>
                    <a:pt x="159" y="508"/>
                  </a:cubicBezTo>
                  <a:cubicBezTo>
                    <a:pt x="159" y="508"/>
                    <a:pt x="156" y="528"/>
                    <a:pt x="157" y="532"/>
                  </a:cubicBezTo>
                  <a:cubicBezTo>
                    <a:pt x="158" y="536"/>
                    <a:pt x="168" y="544"/>
                    <a:pt x="168" y="544"/>
                  </a:cubicBezTo>
                  <a:cubicBezTo>
                    <a:pt x="169" y="563"/>
                    <a:pt x="169" y="563"/>
                    <a:pt x="169" y="563"/>
                  </a:cubicBezTo>
                  <a:cubicBezTo>
                    <a:pt x="169" y="563"/>
                    <a:pt x="184" y="595"/>
                    <a:pt x="190" y="606"/>
                  </a:cubicBezTo>
                  <a:cubicBezTo>
                    <a:pt x="196" y="617"/>
                    <a:pt x="216" y="624"/>
                    <a:pt x="216" y="624"/>
                  </a:cubicBezTo>
                  <a:cubicBezTo>
                    <a:pt x="216" y="624"/>
                    <a:pt x="216" y="624"/>
                    <a:pt x="216" y="625"/>
                  </a:cubicBezTo>
                  <a:cubicBezTo>
                    <a:pt x="228" y="619"/>
                    <a:pt x="228" y="619"/>
                    <a:pt x="228" y="619"/>
                  </a:cubicBezTo>
                  <a:cubicBezTo>
                    <a:pt x="228" y="619"/>
                    <a:pt x="239" y="595"/>
                    <a:pt x="243" y="596"/>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68" name="Zimbabwe">
              <a:extLst>
                <a:ext uri="{FF2B5EF4-FFF2-40B4-BE49-F238E27FC236}">
                  <a16:creationId xmlns:a16="http://schemas.microsoft.com/office/drawing/2014/main" id="{327F2558-605F-4F92-B37D-17B72C7BB14B}"/>
                </a:ext>
              </a:extLst>
            </p:cNvPr>
            <p:cNvSpPr>
              <a:spLocks/>
            </p:cNvSpPr>
            <p:nvPr/>
          </p:nvSpPr>
          <p:spPr bwMode="gray">
            <a:xfrm>
              <a:off x="6566993" y="4913970"/>
              <a:ext cx="461625" cy="454231"/>
            </a:xfrm>
            <a:custGeom>
              <a:avLst/>
              <a:gdLst>
                <a:gd name="T0" fmla="*/ 11 w 372"/>
                <a:gd name="T1" fmla="*/ 136 h 366"/>
                <a:gd name="T2" fmla="*/ 11 w 372"/>
                <a:gd name="T3" fmla="*/ 156 h 366"/>
                <a:gd name="T4" fmla="*/ 23 w 372"/>
                <a:gd name="T5" fmla="*/ 160 h 366"/>
                <a:gd name="T6" fmla="*/ 33 w 372"/>
                <a:gd name="T7" fmla="*/ 181 h 366"/>
                <a:gd name="T8" fmla="*/ 42 w 372"/>
                <a:gd name="T9" fmla="*/ 213 h 366"/>
                <a:gd name="T10" fmla="*/ 70 w 372"/>
                <a:gd name="T11" fmla="*/ 234 h 366"/>
                <a:gd name="T12" fmla="*/ 90 w 372"/>
                <a:gd name="T13" fmla="*/ 238 h 366"/>
                <a:gd name="T14" fmla="*/ 91 w 372"/>
                <a:gd name="T15" fmla="*/ 260 h 366"/>
                <a:gd name="T16" fmla="*/ 112 w 372"/>
                <a:gd name="T17" fmla="*/ 261 h 366"/>
                <a:gd name="T18" fmla="*/ 114 w 372"/>
                <a:gd name="T19" fmla="*/ 276 h 366"/>
                <a:gd name="T20" fmla="*/ 110 w 372"/>
                <a:gd name="T21" fmla="*/ 281 h 366"/>
                <a:gd name="T22" fmla="*/ 110 w 372"/>
                <a:gd name="T23" fmla="*/ 299 h 366"/>
                <a:gd name="T24" fmla="*/ 122 w 372"/>
                <a:gd name="T25" fmla="*/ 304 h 366"/>
                <a:gd name="T26" fmla="*/ 122 w 372"/>
                <a:gd name="T27" fmla="*/ 319 h 366"/>
                <a:gd name="T28" fmla="*/ 161 w 372"/>
                <a:gd name="T29" fmla="*/ 327 h 366"/>
                <a:gd name="T30" fmla="*/ 180 w 372"/>
                <a:gd name="T31" fmla="*/ 352 h 366"/>
                <a:gd name="T32" fmla="*/ 167 w 372"/>
                <a:gd name="T33" fmla="*/ 353 h 366"/>
                <a:gd name="T34" fmla="*/ 206 w 372"/>
                <a:gd name="T35" fmla="*/ 351 h 366"/>
                <a:gd name="T36" fmla="*/ 230 w 372"/>
                <a:gd name="T37" fmla="*/ 359 h 366"/>
                <a:gd name="T38" fmla="*/ 265 w 372"/>
                <a:gd name="T39" fmla="*/ 359 h 366"/>
                <a:gd name="T40" fmla="*/ 277 w 372"/>
                <a:gd name="T41" fmla="*/ 366 h 366"/>
                <a:gd name="T42" fmla="*/ 324 w 372"/>
                <a:gd name="T43" fmla="*/ 310 h 366"/>
                <a:gd name="T44" fmla="*/ 334 w 372"/>
                <a:gd name="T45" fmla="*/ 307 h 366"/>
                <a:gd name="T46" fmla="*/ 325 w 372"/>
                <a:gd name="T47" fmla="*/ 294 h 366"/>
                <a:gd name="T48" fmla="*/ 333 w 372"/>
                <a:gd name="T49" fmla="*/ 289 h 366"/>
                <a:gd name="T50" fmla="*/ 334 w 372"/>
                <a:gd name="T51" fmla="*/ 266 h 366"/>
                <a:gd name="T52" fmla="*/ 350 w 372"/>
                <a:gd name="T53" fmla="*/ 257 h 366"/>
                <a:gd name="T54" fmla="*/ 354 w 372"/>
                <a:gd name="T55" fmla="*/ 242 h 366"/>
                <a:gd name="T56" fmla="*/ 364 w 372"/>
                <a:gd name="T57" fmla="*/ 229 h 366"/>
                <a:gd name="T58" fmla="*/ 346 w 372"/>
                <a:gd name="T59" fmla="*/ 206 h 366"/>
                <a:gd name="T60" fmla="*/ 360 w 372"/>
                <a:gd name="T61" fmla="*/ 190 h 366"/>
                <a:gd name="T62" fmla="*/ 346 w 372"/>
                <a:gd name="T63" fmla="*/ 174 h 366"/>
                <a:gd name="T64" fmla="*/ 360 w 372"/>
                <a:gd name="T65" fmla="*/ 167 h 366"/>
                <a:gd name="T66" fmla="*/ 360 w 372"/>
                <a:gd name="T67" fmla="*/ 158 h 366"/>
                <a:gd name="T68" fmla="*/ 366 w 372"/>
                <a:gd name="T69" fmla="*/ 145 h 366"/>
                <a:gd name="T70" fmla="*/ 358 w 372"/>
                <a:gd name="T71" fmla="*/ 119 h 366"/>
                <a:gd name="T72" fmla="*/ 366 w 372"/>
                <a:gd name="T73" fmla="*/ 107 h 366"/>
                <a:gd name="T74" fmla="*/ 360 w 372"/>
                <a:gd name="T75" fmla="*/ 99 h 366"/>
                <a:gd name="T76" fmla="*/ 366 w 372"/>
                <a:gd name="T77" fmla="*/ 90 h 366"/>
                <a:gd name="T78" fmla="*/ 358 w 372"/>
                <a:gd name="T79" fmla="*/ 81 h 366"/>
                <a:gd name="T80" fmla="*/ 368 w 372"/>
                <a:gd name="T81" fmla="*/ 63 h 366"/>
                <a:gd name="T82" fmla="*/ 349 w 372"/>
                <a:gd name="T83" fmla="*/ 55 h 366"/>
                <a:gd name="T84" fmla="*/ 336 w 372"/>
                <a:gd name="T85" fmla="*/ 43 h 366"/>
                <a:gd name="T86" fmla="*/ 318 w 372"/>
                <a:gd name="T87" fmla="*/ 46 h 366"/>
                <a:gd name="T88" fmla="*/ 308 w 372"/>
                <a:gd name="T89" fmla="*/ 30 h 366"/>
                <a:gd name="T90" fmla="*/ 293 w 372"/>
                <a:gd name="T91" fmla="*/ 33 h 366"/>
                <a:gd name="T92" fmla="*/ 285 w 372"/>
                <a:gd name="T93" fmla="*/ 21 h 366"/>
                <a:gd name="T94" fmla="*/ 246 w 372"/>
                <a:gd name="T95" fmla="*/ 21 h 366"/>
                <a:gd name="T96" fmla="*/ 245 w 372"/>
                <a:gd name="T97" fmla="*/ 1 h 366"/>
                <a:gd name="T98" fmla="*/ 205 w 372"/>
                <a:gd name="T99" fmla="*/ 5 h 366"/>
                <a:gd name="T100" fmla="*/ 170 w 372"/>
                <a:gd name="T101" fmla="*/ 25 h 366"/>
                <a:gd name="T102" fmla="*/ 172 w 372"/>
                <a:gd name="T103" fmla="*/ 49 h 366"/>
                <a:gd name="T104" fmla="*/ 125 w 372"/>
                <a:gd name="T105" fmla="*/ 68 h 366"/>
                <a:gd name="T106" fmla="*/ 116 w 372"/>
                <a:gd name="T107" fmla="*/ 91 h 366"/>
                <a:gd name="T108" fmla="*/ 77 w 372"/>
                <a:gd name="T109" fmla="*/ 127 h 366"/>
                <a:gd name="T110" fmla="*/ 51 w 372"/>
                <a:gd name="T111" fmla="*/ 121 h 366"/>
                <a:gd name="T112" fmla="*/ 38 w 372"/>
                <a:gd name="T113" fmla="*/ 127 h 366"/>
                <a:gd name="T114" fmla="*/ 26 w 372"/>
                <a:gd name="T115" fmla="*/ 117 h 366"/>
                <a:gd name="T116" fmla="*/ 0 w 372"/>
                <a:gd name="T117" fmla="*/ 117 h 366"/>
                <a:gd name="T118" fmla="*/ 2 w 372"/>
                <a:gd name="T119" fmla="*/ 127 h 366"/>
                <a:gd name="T120" fmla="*/ 11 w 372"/>
                <a:gd name="T121" fmla="*/ 13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2" h="366">
                  <a:moveTo>
                    <a:pt x="11" y="136"/>
                  </a:moveTo>
                  <a:cubicBezTo>
                    <a:pt x="11" y="156"/>
                    <a:pt x="11" y="156"/>
                    <a:pt x="11" y="156"/>
                  </a:cubicBezTo>
                  <a:cubicBezTo>
                    <a:pt x="11" y="156"/>
                    <a:pt x="19" y="150"/>
                    <a:pt x="23" y="160"/>
                  </a:cubicBezTo>
                  <a:cubicBezTo>
                    <a:pt x="27" y="170"/>
                    <a:pt x="33" y="181"/>
                    <a:pt x="33" y="181"/>
                  </a:cubicBezTo>
                  <a:cubicBezTo>
                    <a:pt x="33" y="181"/>
                    <a:pt x="35" y="204"/>
                    <a:pt x="42" y="213"/>
                  </a:cubicBezTo>
                  <a:cubicBezTo>
                    <a:pt x="49" y="222"/>
                    <a:pt x="70" y="234"/>
                    <a:pt x="70" y="234"/>
                  </a:cubicBezTo>
                  <a:cubicBezTo>
                    <a:pt x="70" y="234"/>
                    <a:pt x="88" y="231"/>
                    <a:pt x="90" y="238"/>
                  </a:cubicBezTo>
                  <a:cubicBezTo>
                    <a:pt x="92" y="245"/>
                    <a:pt x="91" y="260"/>
                    <a:pt x="91" y="260"/>
                  </a:cubicBezTo>
                  <a:cubicBezTo>
                    <a:pt x="112" y="261"/>
                    <a:pt x="112" y="261"/>
                    <a:pt x="112" y="261"/>
                  </a:cubicBezTo>
                  <a:cubicBezTo>
                    <a:pt x="114" y="276"/>
                    <a:pt x="114" y="276"/>
                    <a:pt x="114" y="276"/>
                  </a:cubicBezTo>
                  <a:cubicBezTo>
                    <a:pt x="110" y="281"/>
                    <a:pt x="110" y="281"/>
                    <a:pt x="110" y="281"/>
                  </a:cubicBezTo>
                  <a:cubicBezTo>
                    <a:pt x="110" y="299"/>
                    <a:pt x="110" y="299"/>
                    <a:pt x="110" y="299"/>
                  </a:cubicBezTo>
                  <a:cubicBezTo>
                    <a:pt x="110" y="299"/>
                    <a:pt x="122" y="297"/>
                    <a:pt x="122" y="304"/>
                  </a:cubicBezTo>
                  <a:cubicBezTo>
                    <a:pt x="122" y="311"/>
                    <a:pt x="122" y="319"/>
                    <a:pt x="122" y="319"/>
                  </a:cubicBezTo>
                  <a:cubicBezTo>
                    <a:pt x="122" y="319"/>
                    <a:pt x="148" y="322"/>
                    <a:pt x="161" y="327"/>
                  </a:cubicBezTo>
                  <a:cubicBezTo>
                    <a:pt x="171" y="331"/>
                    <a:pt x="177" y="345"/>
                    <a:pt x="180" y="352"/>
                  </a:cubicBezTo>
                  <a:cubicBezTo>
                    <a:pt x="167" y="353"/>
                    <a:pt x="167" y="353"/>
                    <a:pt x="167" y="353"/>
                  </a:cubicBezTo>
                  <a:cubicBezTo>
                    <a:pt x="206" y="351"/>
                    <a:pt x="206" y="351"/>
                    <a:pt x="206" y="351"/>
                  </a:cubicBezTo>
                  <a:cubicBezTo>
                    <a:pt x="206" y="351"/>
                    <a:pt x="222" y="358"/>
                    <a:pt x="230" y="359"/>
                  </a:cubicBezTo>
                  <a:cubicBezTo>
                    <a:pt x="238" y="360"/>
                    <a:pt x="265" y="359"/>
                    <a:pt x="265" y="359"/>
                  </a:cubicBezTo>
                  <a:cubicBezTo>
                    <a:pt x="277" y="366"/>
                    <a:pt x="277" y="366"/>
                    <a:pt x="277" y="366"/>
                  </a:cubicBezTo>
                  <a:cubicBezTo>
                    <a:pt x="324" y="310"/>
                    <a:pt x="324" y="310"/>
                    <a:pt x="324" y="310"/>
                  </a:cubicBezTo>
                  <a:cubicBezTo>
                    <a:pt x="334" y="307"/>
                    <a:pt x="334" y="307"/>
                    <a:pt x="334" y="307"/>
                  </a:cubicBezTo>
                  <a:cubicBezTo>
                    <a:pt x="325" y="294"/>
                    <a:pt x="325" y="294"/>
                    <a:pt x="325" y="294"/>
                  </a:cubicBezTo>
                  <a:cubicBezTo>
                    <a:pt x="333" y="289"/>
                    <a:pt x="333" y="289"/>
                    <a:pt x="333" y="289"/>
                  </a:cubicBezTo>
                  <a:cubicBezTo>
                    <a:pt x="334" y="266"/>
                    <a:pt x="334" y="266"/>
                    <a:pt x="334" y="266"/>
                  </a:cubicBezTo>
                  <a:cubicBezTo>
                    <a:pt x="334" y="266"/>
                    <a:pt x="349" y="265"/>
                    <a:pt x="350" y="257"/>
                  </a:cubicBezTo>
                  <a:cubicBezTo>
                    <a:pt x="352" y="249"/>
                    <a:pt x="354" y="242"/>
                    <a:pt x="354" y="242"/>
                  </a:cubicBezTo>
                  <a:cubicBezTo>
                    <a:pt x="354" y="242"/>
                    <a:pt x="365" y="235"/>
                    <a:pt x="364" y="229"/>
                  </a:cubicBezTo>
                  <a:cubicBezTo>
                    <a:pt x="362" y="222"/>
                    <a:pt x="345" y="211"/>
                    <a:pt x="346" y="206"/>
                  </a:cubicBezTo>
                  <a:cubicBezTo>
                    <a:pt x="348" y="201"/>
                    <a:pt x="360" y="190"/>
                    <a:pt x="360" y="190"/>
                  </a:cubicBezTo>
                  <a:cubicBezTo>
                    <a:pt x="346" y="174"/>
                    <a:pt x="346" y="174"/>
                    <a:pt x="346" y="174"/>
                  </a:cubicBezTo>
                  <a:cubicBezTo>
                    <a:pt x="360" y="167"/>
                    <a:pt x="360" y="167"/>
                    <a:pt x="360" y="167"/>
                  </a:cubicBezTo>
                  <a:cubicBezTo>
                    <a:pt x="360" y="158"/>
                    <a:pt x="360" y="158"/>
                    <a:pt x="360" y="158"/>
                  </a:cubicBezTo>
                  <a:cubicBezTo>
                    <a:pt x="360" y="158"/>
                    <a:pt x="369" y="158"/>
                    <a:pt x="366" y="145"/>
                  </a:cubicBezTo>
                  <a:cubicBezTo>
                    <a:pt x="364" y="131"/>
                    <a:pt x="356" y="125"/>
                    <a:pt x="358" y="119"/>
                  </a:cubicBezTo>
                  <a:cubicBezTo>
                    <a:pt x="361" y="114"/>
                    <a:pt x="366" y="107"/>
                    <a:pt x="366" y="107"/>
                  </a:cubicBezTo>
                  <a:cubicBezTo>
                    <a:pt x="360" y="99"/>
                    <a:pt x="360" y="99"/>
                    <a:pt x="360" y="99"/>
                  </a:cubicBezTo>
                  <a:cubicBezTo>
                    <a:pt x="366" y="90"/>
                    <a:pt x="366" y="90"/>
                    <a:pt x="366" y="90"/>
                  </a:cubicBezTo>
                  <a:cubicBezTo>
                    <a:pt x="358" y="81"/>
                    <a:pt x="358" y="81"/>
                    <a:pt x="358" y="81"/>
                  </a:cubicBezTo>
                  <a:cubicBezTo>
                    <a:pt x="358" y="81"/>
                    <a:pt x="372" y="71"/>
                    <a:pt x="368" y="63"/>
                  </a:cubicBezTo>
                  <a:cubicBezTo>
                    <a:pt x="364" y="55"/>
                    <a:pt x="349" y="55"/>
                    <a:pt x="349" y="55"/>
                  </a:cubicBezTo>
                  <a:cubicBezTo>
                    <a:pt x="349" y="55"/>
                    <a:pt x="344" y="43"/>
                    <a:pt x="336" y="43"/>
                  </a:cubicBezTo>
                  <a:cubicBezTo>
                    <a:pt x="328" y="43"/>
                    <a:pt x="318" y="46"/>
                    <a:pt x="318" y="46"/>
                  </a:cubicBezTo>
                  <a:cubicBezTo>
                    <a:pt x="308" y="30"/>
                    <a:pt x="308" y="30"/>
                    <a:pt x="308" y="30"/>
                  </a:cubicBezTo>
                  <a:cubicBezTo>
                    <a:pt x="293" y="33"/>
                    <a:pt x="293" y="33"/>
                    <a:pt x="293" y="33"/>
                  </a:cubicBezTo>
                  <a:cubicBezTo>
                    <a:pt x="285" y="21"/>
                    <a:pt x="285" y="21"/>
                    <a:pt x="285" y="21"/>
                  </a:cubicBezTo>
                  <a:cubicBezTo>
                    <a:pt x="246" y="21"/>
                    <a:pt x="246" y="21"/>
                    <a:pt x="246" y="21"/>
                  </a:cubicBezTo>
                  <a:cubicBezTo>
                    <a:pt x="245" y="1"/>
                    <a:pt x="245" y="1"/>
                    <a:pt x="245" y="1"/>
                  </a:cubicBezTo>
                  <a:cubicBezTo>
                    <a:pt x="236" y="0"/>
                    <a:pt x="218" y="0"/>
                    <a:pt x="205" y="5"/>
                  </a:cubicBezTo>
                  <a:cubicBezTo>
                    <a:pt x="188" y="11"/>
                    <a:pt x="170" y="25"/>
                    <a:pt x="170" y="25"/>
                  </a:cubicBezTo>
                  <a:cubicBezTo>
                    <a:pt x="170" y="25"/>
                    <a:pt x="173" y="48"/>
                    <a:pt x="172" y="49"/>
                  </a:cubicBezTo>
                  <a:cubicBezTo>
                    <a:pt x="171" y="50"/>
                    <a:pt x="132" y="61"/>
                    <a:pt x="125" y="68"/>
                  </a:cubicBezTo>
                  <a:cubicBezTo>
                    <a:pt x="118" y="75"/>
                    <a:pt x="116" y="91"/>
                    <a:pt x="116" y="91"/>
                  </a:cubicBezTo>
                  <a:cubicBezTo>
                    <a:pt x="116" y="91"/>
                    <a:pt x="95" y="118"/>
                    <a:pt x="77" y="127"/>
                  </a:cubicBezTo>
                  <a:cubicBezTo>
                    <a:pt x="59" y="136"/>
                    <a:pt x="58" y="127"/>
                    <a:pt x="51" y="121"/>
                  </a:cubicBezTo>
                  <a:cubicBezTo>
                    <a:pt x="44" y="115"/>
                    <a:pt x="42" y="127"/>
                    <a:pt x="38" y="127"/>
                  </a:cubicBezTo>
                  <a:cubicBezTo>
                    <a:pt x="34" y="127"/>
                    <a:pt x="28" y="121"/>
                    <a:pt x="26" y="117"/>
                  </a:cubicBezTo>
                  <a:cubicBezTo>
                    <a:pt x="24" y="113"/>
                    <a:pt x="0" y="117"/>
                    <a:pt x="0" y="117"/>
                  </a:cubicBezTo>
                  <a:cubicBezTo>
                    <a:pt x="2" y="127"/>
                    <a:pt x="2" y="127"/>
                    <a:pt x="2" y="127"/>
                  </a:cubicBezTo>
                  <a:lnTo>
                    <a:pt x="11" y="136"/>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69" name="Botswana">
              <a:extLst>
                <a:ext uri="{FF2B5EF4-FFF2-40B4-BE49-F238E27FC236}">
                  <a16:creationId xmlns:a16="http://schemas.microsoft.com/office/drawing/2014/main" id="{EA791AC6-A095-4375-B8CB-96F7252799F1}"/>
                </a:ext>
              </a:extLst>
            </p:cNvPr>
            <p:cNvSpPr>
              <a:spLocks/>
            </p:cNvSpPr>
            <p:nvPr/>
          </p:nvSpPr>
          <p:spPr bwMode="gray">
            <a:xfrm>
              <a:off x="6253374" y="5061862"/>
              <a:ext cx="539150" cy="605642"/>
            </a:xfrm>
            <a:custGeom>
              <a:avLst/>
              <a:gdLst>
                <a:gd name="T0" fmla="*/ 0 w 433"/>
                <a:gd name="T1" fmla="*/ 377 h 490"/>
                <a:gd name="T2" fmla="*/ 22 w 433"/>
                <a:gd name="T3" fmla="*/ 394 h 490"/>
                <a:gd name="T4" fmla="*/ 30 w 433"/>
                <a:gd name="T5" fmla="*/ 423 h 490"/>
                <a:gd name="T6" fmla="*/ 37 w 433"/>
                <a:gd name="T7" fmla="*/ 443 h 490"/>
                <a:gd name="T8" fmla="*/ 27 w 433"/>
                <a:gd name="T9" fmla="*/ 465 h 490"/>
                <a:gd name="T10" fmla="*/ 27 w 433"/>
                <a:gd name="T11" fmla="*/ 487 h 490"/>
                <a:gd name="T12" fmla="*/ 78 w 433"/>
                <a:gd name="T13" fmla="*/ 485 h 490"/>
                <a:gd name="T14" fmla="*/ 83 w 433"/>
                <a:gd name="T15" fmla="*/ 473 h 490"/>
                <a:gd name="T16" fmla="*/ 97 w 433"/>
                <a:gd name="T17" fmla="*/ 474 h 490"/>
                <a:gd name="T18" fmla="*/ 106 w 433"/>
                <a:gd name="T19" fmla="*/ 454 h 490"/>
                <a:gd name="T20" fmla="*/ 124 w 433"/>
                <a:gd name="T21" fmla="*/ 446 h 490"/>
                <a:gd name="T22" fmla="*/ 142 w 433"/>
                <a:gd name="T23" fmla="*/ 401 h 490"/>
                <a:gd name="T24" fmla="*/ 171 w 433"/>
                <a:gd name="T25" fmla="*/ 413 h 490"/>
                <a:gd name="T26" fmla="*/ 181 w 433"/>
                <a:gd name="T27" fmla="*/ 423 h 490"/>
                <a:gd name="T28" fmla="*/ 198 w 433"/>
                <a:gd name="T29" fmla="*/ 424 h 490"/>
                <a:gd name="T30" fmla="*/ 223 w 433"/>
                <a:gd name="T31" fmla="*/ 433 h 490"/>
                <a:gd name="T32" fmla="*/ 236 w 433"/>
                <a:gd name="T33" fmla="*/ 426 h 490"/>
                <a:gd name="T34" fmla="*/ 255 w 433"/>
                <a:gd name="T35" fmla="*/ 426 h 490"/>
                <a:gd name="T36" fmla="*/ 270 w 433"/>
                <a:gd name="T37" fmla="*/ 386 h 490"/>
                <a:gd name="T38" fmla="*/ 284 w 433"/>
                <a:gd name="T39" fmla="*/ 374 h 490"/>
                <a:gd name="T40" fmla="*/ 295 w 433"/>
                <a:gd name="T41" fmla="*/ 371 h 490"/>
                <a:gd name="T42" fmla="*/ 318 w 433"/>
                <a:gd name="T43" fmla="*/ 347 h 490"/>
                <a:gd name="T44" fmla="*/ 329 w 433"/>
                <a:gd name="T45" fmla="*/ 311 h 490"/>
                <a:gd name="T46" fmla="*/ 353 w 433"/>
                <a:gd name="T47" fmla="*/ 298 h 490"/>
                <a:gd name="T48" fmla="*/ 383 w 433"/>
                <a:gd name="T49" fmla="*/ 259 h 490"/>
                <a:gd name="T50" fmla="*/ 412 w 433"/>
                <a:gd name="T51" fmla="*/ 252 h 490"/>
                <a:gd name="T52" fmla="*/ 420 w 433"/>
                <a:gd name="T53" fmla="*/ 236 h 490"/>
                <a:gd name="T54" fmla="*/ 433 w 433"/>
                <a:gd name="T55" fmla="*/ 235 h 490"/>
                <a:gd name="T56" fmla="*/ 414 w 433"/>
                <a:gd name="T57" fmla="*/ 210 h 490"/>
                <a:gd name="T58" fmla="*/ 375 w 433"/>
                <a:gd name="T59" fmla="*/ 202 h 490"/>
                <a:gd name="T60" fmla="*/ 375 w 433"/>
                <a:gd name="T61" fmla="*/ 187 h 490"/>
                <a:gd name="T62" fmla="*/ 363 w 433"/>
                <a:gd name="T63" fmla="*/ 182 h 490"/>
                <a:gd name="T64" fmla="*/ 363 w 433"/>
                <a:gd name="T65" fmla="*/ 164 h 490"/>
                <a:gd name="T66" fmla="*/ 367 w 433"/>
                <a:gd name="T67" fmla="*/ 159 h 490"/>
                <a:gd name="T68" fmla="*/ 365 w 433"/>
                <a:gd name="T69" fmla="*/ 144 h 490"/>
                <a:gd name="T70" fmla="*/ 344 w 433"/>
                <a:gd name="T71" fmla="*/ 143 h 490"/>
                <a:gd name="T72" fmla="*/ 343 w 433"/>
                <a:gd name="T73" fmla="*/ 121 h 490"/>
                <a:gd name="T74" fmla="*/ 323 w 433"/>
                <a:gd name="T75" fmla="*/ 117 h 490"/>
                <a:gd name="T76" fmla="*/ 295 w 433"/>
                <a:gd name="T77" fmla="*/ 96 h 490"/>
                <a:gd name="T78" fmla="*/ 286 w 433"/>
                <a:gd name="T79" fmla="*/ 64 h 490"/>
                <a:gd name="T80" fmla="*/ 276 w 433"/>
                <a:gd name="T81" fmla="*/ 43 h 490"/>
                <a:gd name="T82" fmla="*/ 264 w 433"/>
                <a:gd name="T83" fmla="*/ 39 h 490"/>
                <a:gd name="T84" fmla="*/ 264 w 433"/>
                <a:gd name="T85" fmla="*/ 19 h 490"/>
                <a:gd name="T86" fmla="*/ 255 w 433"/>
                <a:gd name="T87" fmla="*/ 10 h 490"/>
                <a:gd name="T88" fmla="*/ 253 w 433"/>
                <a:gd name="T89" fmla="*/ 0 h 490"/>
                <a:gd name="T90" fmla="*/ 230 w 433"/>
                <a:gd name="T91" fmla="*/ 2 h 490"/>
                <a:gd name="T92" fmla="*/ 219 w 433"/>
                <a:gd name="T93" fmla="*/ 10 h 490"/>
                <a:gd name="T94" fmla="*/ 211 w 433"/>
                <a:gd name="T95" fmla="*/ 10 h 490"/>
                <a:gd name="T96" fmla="*/ 195 w 433"/>
                <a:gd name="T97" fmla="*/ 18 h 490"/>
                <a:gd name="T98" fmla="*/ 177 w 433"/>
                <a:gd name="T99" fmla="*/ 37 h 490"/>
                <a:gd name="T100" fmla="*/ 172 w 433"/>
                <a:gd name="T101" fmla="*/ 24 h 490"/>
                <a:gd name="T102" fmla="*/ 166 w 433"/>
                <a:gd name="T103" fmla="*/ 24 h 490"/>
                <a:gd name="T104" fmla="*/ 159 w 433"/>
                <a:gd name="T105" fmla="*/ 10 h 490"/>
                <a:gd name="T106" fmla="*/ 114 w 433"/>
                <a:gd name="T107" fmla="*/ 20 h 490"/>
                <a:gd name="T108" fmla="*/ 53 w 433"/>
                <a:gd name="T109" fmla="*/ 26 h 490"/>
                <a:gd name="T110" fmla="*/ 53 w 433"/>
                <a:gd name="T111" fmla="*/ 143 h 490"/>
                <a:gd name="T112" fmla="*/ 49 w 433"/>
                <a:gd name="T113" fmla="*/ 147 h 490"/>
                <a:gd name="T114" fmla="*/ 50 w 433"/>
                <a:gd name="T115" fmla="*/ 228 h 490"/>
                <a:gd name="T116" fmla="*/ 2 w 433"/>
                <a:gd name="T117" fmla="*/ 228 h 490"/>
                <a:gd name="T118" fmla="*/ 0 w 433"/>
                <a:gd name="T119" fmla="*/ 377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3" h="490">
                  <a:moveTo>
                    <a:pt x="0" y="377"/>
                  </a:moveTo>
                  <a:cubicBezTo>
                    <a:pt x="9" y="381"/>
                    <a:pt x="18" y="386"/>
                    <a:pt x="22" y="394"/>
                  </a:cubicBezTo>
                  <a:cubicBezTo>
                    <a:pt x="31" y="413"/>
                    <a:pt x="30" y="423"/>
                    <a:pt x="30" y="423"/>
                  </a:cubicBezTo>
                  <a:cubicBezTo>
                    <a:pt x="30" y="423"/>
                    <a:pt x="39" y="434"/>
                    <a:pt x="37" y="443"/>
                  </a:cubicBezTo>
                  <a:cubicBezTo>
                    <a:pt x="35" y="452"/>
                    <a:pt x="27" y="465"/>
                    <a:pt x="27" y="465"/>
                  </a:cubicBezTo>
                  <a:cubicBezTo>
                    <a:pt x="27" y="465"/>
                    <a:pt x="22" y="484"/>
                    <a:pt x="27" y="487"/>
                  </a:cubicBezTo>
                  <a:cubicBezTo>
                    <a:pt x="32" y="490"/>
                    <a:pt x="78" y="485"/>
                    <a:pt x="78" y="485"/>
                  </a:cubicBezTo>
                  <a:cubicBezTo>
                    <a:pt x="78" y="485"/>
                    <a:pt x="79" y="474"/>
                    <a:pt x="83" y="473"/>
                  </a:cubicBezTo>
                  <a:cubicBezTo>
                    <a:pt x="87" y="472"/>
                    <a:pt x="97" y="474"/>
                    <a:pt x="97" y="474"/>
                  </a:cubicBezTo>
                  <a:cubicBezTo>
                    <a:pt x="97" y="474"/>
                    <a:pt x="99" y="457"/>
                    <a:pt x="106" y="454"/>
                  </a:cubicBezTo>
                  <a:cubicBezTo>
                    <a:pt x="113" y="451"/>
                    <a:pt x="124" y="453"/>
                    <a:pt x="124" y="446"/>
                  </a:cubicBezTo>
                  <a:cubicBezTo>
                    <a:pt x="124" y="439"/>
                    <a:pt x="129" y="401"/>
                    <a:pt x="142" y="401"/>
                  </a:cubicBezTo>
                  <a:cubicBezTo>
                    <a:pt x="155" y="401"/>
                    <a:pt x="171" y="413"/>
                    <a:pt x="171" y="413"/>
                  </a:cubicBezTo>
                  <a:cubicBezTo>
                    <a:pt x="181" y="423"/>
                    <a:pt x="181" y="423"/>
                    <a:pt x="181" y="423"/>
                  </a:cubicBezTo>
                  <a:cubicBezTo>
                    <a:pt x="198" y="424"/>
                    <a:pt x="198" y="424"/>
                    <a:pt x="198" y="424"/>
                  </a:cubicBezTo>
                  <a:cubicBezTo>
                    <a:pt x="198" y="424"/>
                    <a:pt x="213" y="435"/>
                    <a:pt x="223" y="433"/>
                  </a:cubicBezTo>
                  <a:cubicBezTo>
                    <a:pt x="233" y="431"/>
                    <a:pt x="236" y="426"/>
                    <a:pt x="236" y="426"/>
                  </a:cubicBezTo>
                  <a:cubicBezTo>
                    <a:pt x="236" y="426"/>
                    <a:pt x="244" y="433"/>
                    <a:pt x="255" y="426"/>
                  </a:cubicBezTo>
                  <a:cubicBezTo>
                    <a:pt x="266" y="419"/>
                    <a:pt x="270" y="386"/>
                    <a:pt x="270" y="386"/>
                  </a:cubicBezTo>
                  <a:cubicBezTo>
                    <a:pt x="284" y="374"/>
                    <a:pt x="284" y="374"/>
                    <a:pt x="284" y="374"/>
                  </a:cubicBezTo>
                  <a:cubicBezTo>
                    <a:pt x="295" y="371"/>
                    <a:pt x="295" y="371"/>
                    <a:pt x="295" y="371"/>
                  </a:cubicBezTo>
                  <a:cubicBezTo>
                    <a:pt x="295" y="371"/>
                    <a:pt x="318" y="353"/>
                    <a:pt x="318" y="347"/>
                  </a:cubicBezTo>
                  <a:cubicBezTo>
                    <a:pt x="318" y="341"/>
                    <a:pt x="319" y="318"/>
                    <a:pt x="329" y="311"/>
                  </a:cubicBezTo>
                  <a:cubicBezTo>
                    <a:pt x="339" y="304"/>
                    <a:pt x="342" y="305"/>
                    <a:pt x="353" y="298"/>
                  </a:cubicBezTo>
                  <a:cubicBezTo>
                    <a:pt x="364" y="291"/>
                    <a:pt x="378" y="265"/>
                    <a:pt x="383" y="259"/>
                  </a:cubicBezTo>
                  <a:cubicBezTo>
                    <a:pt x="388" y="253"/>
                    <a:pt x="412" y="252"/>
                    <a:pt x="412" y="252"/>
                  </a:cubicBezTo>
                  <a:cubicBezTo>
                    <a:pt x="420" y="236"/>
                    <a:pt x="420" y="236"/>
                    <a:pt x="420" y="236"/>
                  </a:cubicBezTo>
                  <a:cubicBezTo>
                    <a:pt x="433" y="235"/>
                    <a:pt x="433" y="235"/>
                    <a:pt x="433" y="235"/>
                  </a:cubicBezTo>
                  <a:cubicBezTo>
                    <a:pt x="430" y="228"/>
                    <a:pt x="424" y="214"/>
                    <a:pt x="414" y="210"/>
                  </a:cubicBezTo>
                  <a:cubicBezTo>
                    <a:pt x="401" y="205"/>
                    <a:pt x="375" y="202"/>
                    <a:pt x="375" y="202"/>
                  </a:cubicBezTo>
                  <a:cubicBezTo>
                    <a:pt x="375" y="202"/>
                    <a:pt x="375" y="194"/>
                    <a:pt x="375" y="187"/>
                  </a:cubicBezTo>
                  <a:cubicBezTo>
                    <a:pt x="375" y="180"/>
                    <a:pt x="363" y="182"/>
                    <a:pt x="363" y="182"/>
                  </a:cubicBezTo>
                  <a:cubicBezTo>
                    <a:pt x="363" y="164"/>
                    <a:pt x="363" y="164"/>
                    <a:pt x="363" y="164"/>
                  </a:cubicBezTo>
                  <a:cubicBezTo>
                    <a:pt x="367" y="159"/>
                    <a:pt x="367" y="159"/>
                    <a:pt x="367" y="159"/>
                  </a:cubicBezTo>
                  <a:cubicBezTo>
                    <a:pt x="365" y="144"/>
                    <a:pt x="365" y="144"/>
                    <a:pt x="365" y="144"/>
                  </a:cubicBezTo>
                  <a:cubicBezTo>
                    <a:pt x="344" y="143"/>
                    <a:pt x="344" y="143"/>
                    <a:pt x="344" y="143"/>
                  </a:cubicBezTo>
                  <a:cubicBezTo>
                    <a:pt x="344" y="143"/>
                    <a:pt x="345" y="128"/>
                    <a:pt x="343" y="121"/>
                  </a:cubicBezTo>
                  <a:cubicBezTo>
                    <a:pt x="341" y="114"/>
                    <a:pt x="323" y="117"/>
                    <a:pt x="323" y="117"/>
                  </a:cubicBezTo>
                  <a:cubicBezTo>
                    <a:pt x="323" y="117"/>
                    <a:pt x="302" y="105"/>
                    <a:pt x="295" y="96"/>
                  </a:cubicBezTo>
                  <a:cubicBezTo>
                    <a:pt x="288" y="87"/>
                    <a:pt x="286" y="64"/>
                    <a:pt x="286" y="64"/>
                  </a:cubicBezTo>
                  <a:cubicBezTo>
                    <a:pt x="286" y="64"/>
                    <a:pt x="280" y="53"/>
                    <a:pt x="276" y="43"/>
                  </a:cubicBezTo>
                  <a:cubicBezTo>
                    <a:pt x="272" y="33"/>
                    <a:pt x="264" y="39"/>
                    <a:pt x="264" y="39"/>
                  </a:cubicBezTo>
                  <a:cubicBezTo>
                    <a:pt x="264" y="19"/>
                    <a:pt x="264" y="19"/>
                    <a:pt x="264" y="19"/>
                  </a:cubicBezTo>
                  <a:cubicBezTo>
                    <a:pt x="255" y="10"/>
                    <a:pt x="255" y="10"/>
                    <a:pt x="255" y="10"/>
                  </a:cubicBezTo>
                  <a:cubicBezTo>
                    <a:pt x="253" y="0"/>
                    <a:pt x="253" y="0"/>
                    <a:pt x="253" y="0"/>
                  </a:cubicBezTo>
                  <a:cubicBezTo>
                    <a:pt x="230" y="2"/>
                    <a:pt x="230" y="2"/>
                    <a:pt x="230" y="2"/>
                  </a:cubicBezTo>
                  <a:cubicBezTo>
                    <a:pt x="219" y="10"/>
                    <a:pt x="219" y="10"/>
                    <a:pt x="219" y="10"/>
                  </a:cubicBezTo>
                  <a:cubicBezTo>
                    <a:pt x="211" y="10"/>
                    <a:pt x="211" y="10"/>
                    <a:pt x="211" y="10"/>
                  </a:cubicBezTo>
                  <a:cubicBezTo>
                    <a:pt x="211" y="10"/>
                    <a:pt x="201" y="12"/>
                    <a:pt x="195" y="18"/>
                  </a:cubicBezTo>
                  <a:cubicBezTo>
                    <a:pt x="190" y="23"/>
                    <a:pt x="180" y="36"/>
                    <a:pt x="177" y="37"/>
                  </a:cubicBezTo>
                  <a:cubicBezTo>
                    <a:pt x="174" y="38"/>
                    <a:pt x="172" y="24"/>
                    <a:pt x="172" y="24"/>
                  </a:cubicBezTo>
                  <a:cubicBezTo>
                    <a:pt x="166" y="24"/>
                    <a:pt x="166" y="24"/>
                    <a:pt x="166" y="24"/>
                  </a:cubicBezTo>
                  <a:cubicBezTo>
                    <a:pt x="166" y="24"/>
                    <a:pt x="168" y="10"/>
                    <a:pt x="159" y="10"/>
                  </a:cubicBezTo>
                  <a:cubicBezTo>
                    <a:pt x="151" y="10"/>
                    <a:pt x="135" y="18"/>
                    <a:pt x="114" y="20"/>
                  </a:cubicBezTo>
                  <a:cubicBezTo>
                    <a:pt x="92" y="23"/>
                    <a:pt x="53" y="26"/>
                    <a:pt x="53" y="26"/>
                  </a:cubicBezTo>
                  <a:cubicBezTo>
                    <a:pt x="53" y="143"/>
                    <a:pt x="53" y="143"/>
                    <a:pt x="53" y="143"/>
                  </a:cubicBezTo>
                  <a:cubicBezTo>
                    <a:pt x="49" y="147"/>
                    <a:pt x="49" y="147"/>
                    <a:pt x="49" y="147"/>
                  </a:cubicBezTo>
                  <a:cubicBezTo>
                    <a:pt x="50" y="228"/>
                    <a:pt x="50" y="228"/>
                    <a:pt x="50" y="228"/>
                  </a:cubicBezTo>
                  <a:cubicBezTo>
                    <a:pt x="2" y="228"/>
                    <a:pt x="2" y="228"/>
                    <a:pt x="2" y="228"/>
                  </a:cubicBezTo>
                  <a:lnTo>
                    <a:pt x="0" y="377"/>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70" name="Somalia">
              <a:extLst>
                <a:ext uri="{FF2B5EF4-FFF2-40B4-BE49-F238E27FC236}">
                  <a16:creationId xmlns:a16="http://schemas.microsoft.com/office/drawing/2014/main" id="{DCEC9107-FE36-4C62-AE3F-5CA2B9E9533C}"/>
                </a:ext>
              </a:extLst>
            </p:cNvPr>
            <p:cNvSpPr>
              <a:spLocks/>
            </p:cNvSpPr>
            <p:nvPr/>
          </p:nvSpPr>
          <p:spPr bwMode="gray">
            <a:xfrm>
              <a:off x="7511396" y="3068880"/>
              <a:ext cx="595533" cy="919024"/>
            </a:xfrm>
            <a:custGeom>
              <a:avLst/>
              <a:gdLst>
                <a:gd name="T0" fmla="*/ 70 w 480"/>
                <a:gd name="T1" fmla="*/ 77 h 739"/>
                <a:gd name="T2" fmla="*/ 79 w 480"/>
                <a:gd name="T3" fmla="*/ 85 h 739"/>
                <a:gd name="T4" fmla="*/ 78 w 480"/>
                <a:gd name="T5" fmla="*/ 93 h 739"/>
                <a:gd name="T6" fmla="*/ 97 w 480"/>
                <a:gd name="T7" fmla="*/ 117 h 739"/>
                <a:gd name="T8" fmla="*/ 107 w 480"/>
                <a:gd name="T9" fmla="*/ 142 h 739"/>
                <a:gd name="T10" fmla="*/ 122 w 480"/>
                <a:gd name="T11" fmla="*/ 142 h 739"/>
                <a:gd name="T12" fmla="*/ 143 w 480"/>
                <a:gd name="T13" fmla="*/ 167 h 739"/>
                <a:gd name="T14" fmla="*/ 225 w 480"/>
                <a:gd name="T15" fmla="*/ 194 h 739"/>
                <a:gd name="T16" fmla="*/ 277 w 480"/>
                <a:gd name="T17" fmla="*/ 220 h 739"/>
                <a:gd name="T18" fmla="*/ 325 w 480"/>
                <a:gd name="T19" fmla="*/ 217 h 739"/>
                <a:gd name="T20" fmla="*/ 185 w 480"/>
                <a:gd name="T21" fmla="*/ 382 h 739"/>
                <a:gd name="T22" fmla="*/ 129 w 480"/>
                <a:gd name="T23" fmla="*/ 382 h 739"/>
                <a:gd name="T24" fmla="*/ 96 w 480"/>
                <a:gd name="T25" fmla="*/ 396 h 739"/>
                <a:gd name="T26" fmla="*/ 89 w 480"/>
                <a:gd name="T27" fmla="*/ 414 h 739"/>
                <a:gd name="T28" fmla="*/ 50 w 480"/>
                <a:gd name="T29" fmla="*/ 421 h 739"/>
                <a:gd name="T30" fmla="*/ 42 w 480"/>
                <a:gd name="T31" fmla="*/ 435 h 739"/>
                <a:gd name="T32" fmla="*/ 22 w 480"/>
                <a:gd name="T33" fmla="*/ 471 h 739"/>
                <a:gd name="T34" fmla="*/ 1 w 480"/>
                <a:gd name="T35" fmla="*/ 492 h 739"/>
                <a:gd name="T36" fmla="*/ 0 w 480"/>
                <a:gd name="T37" fmla="*/ 695 h 739"/>
                <a:gd name="T38" fmla="*/ 28 w 480"/>
                <a:gd name="T39" fmla="*/ 735 h 739"/>
                <a:gd name="T40" fmla="*/ 26 w 480"/>
                <a:gd name="T41" fmla="*/ 739 h 739"/>
                <a:gd name="T42" fmla="*/ 26 w 480"/>
                <a:gd name="T43" fmla="*/ 739 h 739"/>
                <a:gd name="T44" fmla="*/ 58 w 480"/>
                <a:gd name="T45" fmla="*/ 680 h 739"/>
                <a:gd name="T46" fmla="*/ 100 w 480"/>
                <a:gd name="T47" fmla="*/ 639 h 739"/>
                <a:gd name="T48" fmla="*/ 157 w 480"/>
                <a:gd name="T49" fmla="*/ 573 h 739"/>
                <a:gd name="T50" fmla="*/ 210 w 480"/>
                <a:gd name="T51" fmla="*/ 536 h 739"/>
                <a:gd name="T52" fmla="*/ 281 w 480"/>
                <a:gd name="T53" fmla="*/ 473 h 739"/>
                <a:gd name="T54" fmla="*/ 335 w 480"/>
                <a:gd name="T55" fmla="*/ 399 h 739"/>
                <a:gd name="T56" fmla="*/ 370 w 480"/>
                <a:gd name="T57" fmla="*/ 334 h 739"/>
                <a:gd name="T58" fmla="*/ 384 w 480"/>
                <a:gd name="T59" fmla="*/ 308 h 739"/>
                <a:gd name="T60" fmla="*/ 397 w 480"/>
                <a:gd name="T61" fmla="*/ 262 h 739"/>
                <a:gd name="T62" fmla="*/ 417 w 480"/>
                <a:gd name="T63" fmla="*/ 228 h 739"/>
                <a:gd name="T64" fmla="*/ 427 w 480"/>
                <a:gd name="T65" fmla="*/ 205 h 739"/>
                <a:gd name="T66" fmla="*/ 440 w 480"/>
                <a:gd name="T67" fmla="*/ 169 h 739"/>
                <a:gd name="T68" fmla="*/ 457 w 480"/>
                <a:gd name="T69" fmla="*/ 147 h 739"/>
                <a:gd name="T70" fmla="*/ 457 w 480"/>
                <a:gd name="T71" fmla="*/ 93 h 739"/>
                <a:gd name="T72" fmla="*/ 471 w 480"/>
                <a:gd name="T73" fmla="*/ 84 h 739"/>
                <a:gd name="T74" fmla="*/ 467 w 480"/>
                <a:gd name="T75" fmla="*/ 38 h 739"/>
                <a:gd name="T76" fmla="*/ 474 w 480"/>
                <a:gd name="T77" fmla="*/ 8 h 739"/>
                <a:gd name="T78" fmla="*/ 447 w 480"/>
                <a:gd name="T79" fmla="*/ 0 h 739"/>
                <a:gd name="T80" fmla="*/ 432 w 480"/>
                <a:gd name="T81" fmla="*/ 21 h 739"/>
                <a:gd name="T82" fmla="*/ 382 w 480"/>
                <a:gd name="T83" fmla="*/ 37 h 739"/>
                <a:gd name="T84" fmla="*/ 345 w 480"/>
                <a:gd name="T85" fmla="*/ 35 h 739"/>
                <a:gd name="T86" fmla="*/ 318 w 480"/>
                <a:gd name="T87" fmla="*/ 54 h 739"/>
                <a:gd name="T88" fmla="*/ 296 w 480"/>
                <a:gd name="T89" fmla="*/ 43 h 739"/>
                <a:gd name="T90" fmla="*/ 252 w 480"/>
                <a:gd name="T91" fmla="*/ 73 h 739"/>
                <a:gd name="T92" fmla="*/ 221 w 480"/>
                <a:gd name="T93" fmla="*/ 62 h 739"/>
                <a:gd name="T94" fmla="*/ 181 w 480"/>
                <a:gd name="T95" fmla="*/ 84 h 739"/>
                <a:gd name="T96" fmla="*/ 141 w 480"/>
                <a:gd name="T97" fmla="*/ 85 h 739"/>
                <a:gd name="T98" fmla="*/ 111 w 480"/>
                <a:gd name="T99" fmla="*/ 48 h 739"/>
                <a:gd name="T100" fmla="*/ 99 w 480"/>
                <a:gd name="T101" fmla="*/ 35 h 739"/>
                <a:gd name="T102" fmla="*/ 84 w 480"/>
                <a:gd name="T103" fmla="*/ 55 h 739"/>
                <a:gd name="T104" fmla="*/ 70 w 480"/>
                <a:gd name="T105" fmla="*/ 77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0" h="739">
                  <a:moveTo>
                    <a:pt x="70" y="77"/>
                  </a:moveTo>
                  <a:cubicBezTo>
                    <a:pt x="79" y="85"/>
                    <a:pt x="79" y="85"/>
                    <a:pt x="79" y="85"/>
                  </a:cubicBezTo>
                  <a:cubicBezTo>
                    <a:pt x="78" y="93"/>
                    <a:pt x="78" y="93"/>
                    <a:pt x="78" y="93"/>
                  </a:cubicBezTo>
                  <a:cubicBezTo>
                    <a:pt x="78" y="93"/>
                    <a:pt x="91" y="109"/>
                    <a:pt x="97" y="117"/>
                  </a:cubicBezTo>
                  <a:cubicBezTo>
                    <a:pt x="103" y="125"/>
                    <a:pt x="107" y="142"/>
                    <a:pt x="107" y="142"/>
                  </a:cubicBezTo>
                  <a:cubicBezTo>
                    <a:pt x="122" y="142"/>
                    <a:pt x="122" y="142"/>
                    <a:pt x="122" y="142"/>
                  </a:cubicBezTo>
                  <a:cubicBezTo>
                    <a:pt x="122" y="142"/>
                    <a:pt x="132" y="159"/>
                    <a:pt x="143" y="167"/>
                  </a:cubicBezTo>
                  <a:cubicBezTo>
                    <a:pt x="154" y="175"/>
                    <a:pt x="206" y="188"/>
                    <a:pt x="225" y="194"/>
                  </a:cubicBezTo>
                  <a:cubicBezTo>
                    <a:pt x="244" y="200"/>
                    <a:pt x="277" y="220"/>
                    <a:pt x="277" y="220"/>
                  </a:cubicBezTo>
                  <a:cubicBezTo>
                    <a:pt x="325" y="217"/>
                    <a:pt x="325" y="217"/>
                    <a:pt x="325" y="217"/>
                  </a:cubicBezTo>
                  <a:cubicBezTo>
                    <a:pt x="185" y="382"/>
                    <a:pt x="185" y="382"/>
                    <a:pt x="185" y="382"/>
                  </a:cubicBezTo>
                  <a:cubicBezTo>
                    <a:pt x="185" y="382"/>
                    <a:pt x="137" y="380"/>
                    <a:pt x="129" y="382"/>
                  </a:cubicBezTo>
                  <a:cubicBezTo>
                    <a:pt x="121" y="384"/>
                    <a:pt x="96" y="396"/>
                    <a:pt x="96" y="396"/>
                  </a:cubicBezTo>
                  <a:cubicBezTo>
                    <a:pt x="96" y="396"/>
                    <a:pt x="95" y="408"/>
                    <a:pt x="89" y="414"/>
                  </a:cubicBezTo>
                  <a:cubicBezTo>
                    <a:pt x="83" y="420"/>
                    <a:pt x="58" y="418"/>
                    <a:pt x="50" y="421"/>
                  </a:cubicBezTo>
                  <a:cubicBezTo>
                    <a:pt x="42" y="424"/>
                    <a:pt x="42" y="435"/>
                    <a:pt x="42" y="435"/>
                  </a:cubicBezTo>
                  <a:cubicBezTo>
                    <a:pt x="42" y="435"/>
                    <a:pt x="29" y="463"/>
                    <a:pt x="22" y="471"/>
                  </a:cubicBezTo>
                  <a:cubicBezTo>
                    <a:pt x="15" y="479"/>
                    <a:pt x="1" y="492"/>
                    <a:pt x="1" y="492"/>
                  </a:cubicBezTo>
                  <a:cubicBezTo>
                    <a:pt x="0" y="695"/>
                    <a:pt x="0" y="695"/>
                    <a:pt x="0" y="695"/>
                  </a:cubicBezTo>
                  <a:cubicBezTo>
                    <a:pt x="28" y="735"/>
                    <a:pt x="28" y="735"/>
                    <a:pt x="28" y="735"/>
                  </a:cubicBezTo>
                  <a:cubicBezTo>
                    <a:pt x="27" y="737"/>
                    <a:pt x="27" y="738"/>
                    <a:pt x="26" y="739"/>
                  </a:cubicBezTo>
                  <a:cubicBezTo>
                    <a:pt x="26" y="739"/>
                    <a:pt x="26" y="739"/>
                    <a:pt x="26" y="739"/>
                  </a:cubicBezTo>
                  <a:cubicBezTo>
                    <a:pt x="35" y="722"/>
                    <a:pt x="52" y="690"/>
                    <a:pt x="58" y="680"/>
                  </a:cubicBezTo>
                  <a:cubicBezTo>
                    <a:pt x="65" y="669"/>
                    <a:pt x="97" y="654"/>
                    <a:pt x="100" y="639"/>
                  </a:cubicBezTo>
                  <a:cubicBezTo>
                    <a:pt x="103" y="624"/>
                    <a:pt x="146" y="586"/>
                    <a:pt x="157" y="573"/>
                  </a:cubicBezTo>
                  <a:cubicBezTo>
                    <a:pt x="168" y="560"/>
                    <a:pt x="202" y="541"/>
                    <a:pt x="210" y="536"/>
                  </a:cubicBezTo>
                  <a:cubicBezTo>
                    <a:pt x="218" y="531"/>
                    <a:pt x="275" y="484"/>
                    <a:pt x="281" y="473"/>
                  </a:cubicBezTo>
                  <a:cubicBezTo>
                    <a:pt x="287" y="462"/>
                    <a:pt x="331" y="413"/>
                    <a:pt x="335" y="399"/>
                  </a:cubicBezTo>
                  <a:cubicBezTo>
                    <a:pt x="339" y="385"/>
                    <a:pt x="364" y="339"/>
                    <a:pt x="370" y="334"/>
                  </a:cubicBezTo>
                  <a:cubicBezTo>
                    <a:pt x="376" y="329"/>
                    <a:pt x="384" y="316"/>
                    <a:pt x="384" y="308"/>
                  </a:cubicBezTo>
                  <a:cubicBezTo>
                    <a:pt x="384" y="300"/>
                    <a:pt x="390" y="271"/>
                    <a:pt x="397" y="262"/>
                  </a:cubicBezTo>
                  <a:cubicBezTo>
                    <a:pt x="404" y="253"/>
                    <a:pt x="417" y="241"/>
                    <a:pt x="417" y="228"/>
                  </a:cubicBezTo>
                  <a:cubicBezTo>
                    <a:pt x="417" y="215"/>
                    <a:pt x="427" y="205"/>
                    <a:pt x="427" y="205"/>
                  </a:cubicBezTo>
                  <a:cubicBezTo>
                    <a:pt x="440" y="169"/>
                    <a:pt x="440" y="169"/>
                    <a:pt x="440" y="169"/>
                  </a:cubicBezTo>
                  <a:cubicBezTo>
                    <a:pt x="440" y="169"/>
                    <a:pt x="457" y="173"/>
                    <a:pt x="457" y="147"/>
                  </a:cubicBezTo>
                  <a:cubicBezTo>
                    <a:pt x="457" y="121"/>
                    <a:pt x="457" y="93"/>
                    <a:pt x="457" y="93"/>
                  </a:cubicBezTo>
                  <a:cubicBezTo>
                    <a:pt x="471" y="84"/>
                    <a:pt x="471" y="84"/>
                    <a:pt x="471" y="84"/>
                  </a:cubicBezTo>
                  <a:cubicBezTo>
                    <a:pt x="467" y="38"/>
                    <a:pt x="467" y="38"/>
                    <a:pt x="467" y="38"/>
                  </a:cubicBezTo>
                  <a:cubicBezTo>
                    <a:pt x="467" y="38"/>
                    <a:pt x="480" y="14"/>
                    <a:pt x="474" y="8"/>
                  </a:cubicBezTo>
                  <a:cubicBezTo>
                    <a:pt x="468" y="2"/>
                    <a:pt x="447" y="0"/>
                    <a:pt x="447" y="0"/>
                  </a:cubicBezTo>
                  <a:cubicBezTo>
                    <a:pt x="447" y="0"/>
                    <a:pt x="439" y="14"/>
                    <a:pt x="432" y="21"/>
                  </a:cubicBezTo>
                  <a:cubicBezTo>
                    <a:pt x="425" y="28"/>
                    <a:pt x="388" y="37"/>
                    <a:pt x="382" y="37"/>
                  </a:cubicBezTo>
                  <a:cubicBezTo>
                    <a:pt x="376" y="37"/>
                    <a:pt x="355" y="31"/>
                    <a:pt x="345" y="35"/>
                  </a:cubicBezTo>
                  <a:cubicBezTo>
                    <a:pt x="335" y="39"/>
                    <a:pt x="322" y="54"/>
                    <a:pt x="318" y="54"/>
                  </a:cubicBezTo>
                  <a:cubicBezTo>
                    <a:pt x="314" y="54"/>
                    <a:pt x="304" y="42"/>
                    <a:pt x="296" y="43"/>
                  </a:cubicBezTo>
                  <a:cubicBezTo>
                    <a:pt x="288" y="44"/>
                    <a:pt x="261" y="72"/>
                    <a:pt x="252" y="73"/>
                  </a:cubicBezTo>
                  <a:cubicBezTo>
                    <a:pt x="243" y="74"/>
                    <a:pt x="235" y="58"/>
                    <a:pt x="221" y="62"/>
                  </a:cubicBezTo>
                  <a:cubicBezTo>
                    <a:pt x="207" y="66"/>
                    <a:pt x="189" y="83"/>
                    <a:pt x="181" y="84"/>
                  </a:cubicBezTo>
                  <a:cubicBezTo>
                    <a:pt x="173" y="85"/>
                    <a:pt x="141" y="85"/>
                    <a:pt x="141" y="85"/>
                  </a:cubicBezTo>
                  <a:cubicBezTo>
                    <a:pt x="141" y="85"/>
                    <a:pt x="111" y="58"/>
                    <a:pt x="111" y="48"/>
                  </a:cubicBezTo>
                  <a:cubicBezTo>
                    <a:pt x="111" y="40"/>
                    <a:pt x="102" y="36"/>
                    <a:pt x="99" y="35"/>
                  </a:cubicBezTo>
                  <a:cubicBezTo>
                    <a:pt x="84" y="55"/>
                    <a:pt x="84" y="55"/>
                    <a:pt x="84" y="55"/>
                  </a:cubicBezTo>
                  <a:lnTo>
                    <a:pt x="70" y="77"/>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71" name="Eritrea">
              <a:extLst>
                <a:ext uri="{FF2B5EF4-FFF2-40B4-BE49-F238E27FC236}">
                  <a16:creationId xmlns:a16="http://schemas.microsoft.com/office/drawing/2014/main" id="{1FD5E535-4490-42C5-B09C-95EDFCE64B4C}"/>
                </a:ext>
              </a:extLst>
            </p:cNvPr>
            <p:cNvSpPr>
              <a:spLocks/>
            </p:cNvSpPr>
            <p:nvPr/>
          </p:nvSpPr>
          <p:spPr bwMode="gray">
            <a:xfrm>
              <a:off x="7222438" y="2670989"/>
              <a:ext cx="394673" cy="376765"/>
            </a:xfrm>
            <a:custGeom>
              <a:avLst/>
              <a:gdLst>
                <a:gd name="T0" fmla="*/ 51 w 320"/>
                <a:gd name="T1" fmla="*/ 35 h 305"/>
                <a:gd name="T2" fmla="*/ 50 w 320"/>
                <a:gd name="T3" fmla="*/ 50 h 305"/>
                <a:gd name="T4" fmla="*/ 31 w 320"/>
                <a:gd name="T5" fmla="*/ 57 h 305"/>
                <a:gd name="T6" fmla="*/ 31 w 320"/>
                <a:gd name="T7" fmla="*/ 67 h 305"/>
                <a:gd name="T8" fmla="*/ 20 w 320"/>
                <a:gd name="T9" fmla="*/ 75 h 305"/>
                <a:gd name="T10" fmla="*/ 26 w 320"/>
                <a:gd name="T11" fmla="*/ 106 h 305"/>
                <a:gd name="T12" fmla="*/ 14 w 320"/>
                <a:gd name="T13" fmla="*/ 126 h 305"/>
                <a:gd name="T14" fmla="*/ 13 w 320"/>
                <a:gd name="T15" fmla="*/ 143 h 305"/>
                <a:gd name="T16" fmla="*/ 1 w 320"/>
                <a:gd name="T17" fmla="*/ 157 h 305"/>
                <a:gd name="T18" fmla="*/ 6 w 320"/>
                <a:gd name="T19" fmla="*/ 167 h 305"/>
                <a:gd name="T20" fmla="*/ 8 w 320"/>
                <a:gd name="T21" fmla="*/ 200 h 305"/>
                <a:gd name="T22" fmla="*/ 31 w 320"/>
                <a:gd name="T23" fmla="*/ 201 h 305"/>
                <a:gd name="T24" fmla="*/ 41 w 320"/>
                <a:gd name="T25" fmla="*/ 191 h 305"/>
                <a:gd name="T26" fmla="*/ 57 w 320"/>
                <a:gd name="T27" fmla="*/ 211 h 305"/>
                <a:gd name="T28" fmla="*/ 73 w 320"/>
                <a:gd name="T29" fmla="*/ 170 h 305"/>
                <a:gd name="T30" fmla="*/ 89 w 320"/>
                <a:gd name="T31" fmla="*/ 179 h 305"/>
                <a:gd name="T32" fmla="*/ 99 w 320"/>
                <a:gd name="T33" fmla="*/ 194 h 305"/>
                <a:gd name="T34" fmla="*/ 116 w 320"/>
                <a:gd name="T35" fmla="*/ 194 h 305"/>
                <a:gd name="T36" fmla="*/ 128 w 320"/>
                <a:gd name="T37" fmla="*/ 181 h 305"/>
                <a:gd name="T38" fmla="*/ 137 w 320"/>
                <a:gd name="T39" fmla="*/ 194 h 305"/>
                <a:gd name="T40" fmla="*/ 155 w 320"/>
                <a:gd name="T41" fmla="*/ 187 h 305"/>
                <a:gd name="T42" fmla="*/ 165 w 320"/>
                <a:gd name="T43" fmla="*/ 192 h 305"/>
                <a:gd name="T44" fmla="*/ 185 w 320"/>
                <a:gd name="T45" fmla="*/ 193 h 305"/>
                <a:gd name="T46" fmla="*/ 196 w 320"/>
                <a:gd name="T47" fmla="*/ 207 h 305"/>
                <a:gd name="T48" fmla="*/ 216 w 320"/>
                <a:gd name="T49" fmla="*/ 216 h 305"/>
                <a:gd name="T50" fmla="*/ 231 w 320"/>
                <a:gd name="T51" fmla="*/ 242 h 305"/>
                <a:gd name="T52" fmla="*/ 257 w 320"/>
                <a:gd name="T53" fmla="*/ 257 h 305"/>
                <a:gd name="T54" fmla="*/ 262 w 320"/>
                <a:gd name="T55" fmla="*/ 277 h 305"/>
                <a:gd name="T56" fmla="*/ 280 w 320"/>
                <a:gd name="T57" fmla="*/ 283 h 305"/>
                <a:gd name="T58" fmla="*/ 288 w 320"/>
                <a:gd name="T59" fmla="*/ 295 h 305"/>
                <a:gd name="T60" fmla="*/ 304 w 320"/>
                <a:gd name="T61" fmla="*/ 305 h 305"/>
                <a:gd name="T62" fmla="*/ 311 w 320"/>
                <a:gd name="T63" fmla="*/ 293 h 305"/>
                <a:gd name="T64" fmla="*/ 320 w 320"/>
                <a:gd name="T65" fmla="*/ 287 h 305"/>
                <a:gd name="T66" fmla="*/ 304 w 320"/>
                <a:gd name="T67" fmla="*/ 268 h 305"/>
                <a:gd name="T68" fmla="*/ 285 w 320"/>
                <a:gd name="T69" fmla="*/ 264 h 305"/>
                <a:gd name="T70" fmla="*/ 283 w 320"/>
                <a:gd name="T71" fmla="*/ 239 h 305"/>
                <a:gd name="T72" fmla="*/ 241 w 320"/>
                <a:gd name="T73" fmla="*/ 216 h 305"/>
                <a:gd name="T74" fmla="*/ 231 w 320"/>
                <a:gd name="T75" fmla="*/ 181 h 305"/>
                <a:gd name="T76" fmla="*/ 204 w 320"/>
                <a:gd name="T77" fmla="*/ 177 h 305"/>
                <a:gd name="T78" fmla="*/ 190 w 320"/>
                <a:gd name="T79" fmla="*/ 159 h 305"/>
                <a:gd name="T80" fmla="*/ 177 w 320"/>
                <a:gd name="T81" fmla="*/ 165 h 305"/>
                <a:gd name="T82" fmla="*/ 169 w 320"/>
                <a:gd name="T83" fmla="*/ 152 h 305"/>
                <a:gd name="T84" fmla="*/ 157 w 320"/>
                <a:gd name="T85" fmla="*/ 149 h 305"/>
                <a:gd name="T86" fmla="*/ 134 w 320"/>
                <a:gd name="T87" fmla="*/ 117 h 305"/>
                <a:gd name="T88" fmla="*/ 128 w 320"/>
                <a:gd name="T89" fmla="*/ 62 h 305"/>
                <a:gd name="T90" fmla="*/ 100 w 320"/>
                <a:gd name="T91" fmla="*/ 1 h 305"/>
                <a:gd name="T92" fmla="*/ 98 w 320"/>
                <a:gd name="T93" fmla="*/ 0 h 305"/>
                <a:gd name="T94" fmla="*/ 87 w 320"/>
                <a:gd name="T95" fmla="*/ 25 h 305"/>
                <a:gd name="T96" fmla="*/ 51 w 320"/>
                <a:gd name="T97" fmla="*/ 3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05">
                  <a:moveTo>
                    <a:pt x="51" y="35"/>
                  </a:moveTo>
                  <a:cubicBezTo>
                    <a:pt x="51" y="35"/>
                    <a:pt x="51" y="43"/>
                    <a:pt x="50" y="50"/>
                  </a:cubicBezTo>
                  <a:cubicBezTo>
                    <a:pt x="49" y="57"/>
                    <a:pt x="31" y="57"/>
                    <a:pt x="31" y="57"/>
                  </a:cubicBezTo>
                  <a:cubicBezTo>
                    <a:pt x="31" y="67"/>
                    <a:pt x="31" y="67"/>
                    <a:pt x="31" y="67"/>
                  </a:cubicBezTo>
                  <a:cubicBezTo>
                    <a:pt x="31" y="67"/>
                    <a:pt x="20" y="72"/>
                    <a:pt x="20" y="75"/>
                  </a:cubicBezTo>
                  <a:cubicBezTo>
                    <a:pt x="20" y="78"/>
                    <a:pt x="26" y="88"/>
                    <a:pt x="26" y="106"/>
                  </a:cubicBezTo>
                  <a:cubicBezTo>
                    <a:pt x="26" y="124"/>
                    <a:pt x="14" y="126"/>
                    <a:pt x="14" y="126"/>
                  </a:cubicBezTo>
                  <a:cubicBezTo>
                    <a:pt x="14" y="126"/>
                    <a:pt x="13" y="136"/>
                    <a:pt x="13" y="143"/>
                  </a:cubicBezTo>
                  <a:cubicBezTo>
                    <a:pt x="13" y="150"/>
                    <a:pt x="2" y="149"/>
                    <a:pt x="1" y="157"/>
                  </a:cubicBezTo>
                  <a:cubicBezTo>
                    <a:pt x="0" y="165"/>
                    <a:pt x="6" y="167"/>
                    <a:pt x="6" y="167"/>
                  </a:cubicBezTo>
                  <a:cubicBezTo>
                    <a:pt x="8" y="200"/>
                    <a:pt x="8" y="200"/>
                    <a:pt x="8" y="200"/>
                  </a:cubicBezTo>
                  <a:cubicBezTo>
                    <a:pt x="31" y="201"/>
                    <a:pt x="31" y="201"/>
                    <a:pt x="31" y="201"/>
                  </a:cubicBezTo>
                  <a:cubicBezTo>
                    <a:pt x="31" y="201"/>
                    <a:pt x="36" y="191"/>
                    <a:pt x="41" y="191"/>
                  </a:cubicBezTo>
                  <a:cubicBezTo>
                    <a:pt x="46" y="191"/>
                    <a:pt x="49" y="211"/>
                    <a:pt x="57" y="211"/>
                  </a:cubicBezTo>
                  <a:cubicBezTo>
                    <a:pt x="65" y="211"/>
                    <a:pt x="73" y="170"/>
                    <a:pt x="73" y="170"/>
                  </a:cubicBezTo>
                  <a:cubicBezTo>
                    <a:pt x="73" y="170"/>
                    <a:pt x="85" y="177"/>
                    <a:pt x="89" y="179"/>
                  </a:cubicBezTo>
                  <a:cubicBezTo>
                    <a:pt x="93" y="181"/>
                    <a:pt x="99" y="194"/>
                    <a:pt x="99" y="194"/>
                  </a:cubicBezTo>
                  <a:cubicBezTo>
                    <a:pt x="99" y="194"/>
                    <a:pt x="113" y="194"/>
                    <a:pt x="116" y="194"/>
                  </a:cubicBezTo>
                  <a:cubicBezTo>
                    <a:pt x="119" y="194"/>
                    <a:pt x="128" y="181"/>
                    <a:pt x="128" y="181"/>
                  </a:cubicBezTo>
                  <a:cubicBezTo>
                    <a:pt x="128" y="181"/>
                    <a:pt x="134" y="194"/>
                    <a:pt x="137" y="194"/>
                  </a:cubicBezTo>
                  <a:cubicBezTo>
                    <a:pt x="140" y="194"/>
                    <a:pt x="151" y="187"/>
                    <a:pt x="155" y="187"/>
                  </a:cubicBezTo>
                  <a:cubicBezTo>
                    <a:pt x="159" y="187"/>
                    <a:pt x="165" y="192"/>
                    <a:pt x="165" y="192"/>
                  </a:cubicBezTo>
                  <a:cubicBezTo>
                    <a:pt x="185" y="193"/>
                    <a:pt x="185" y="193"/>
                    <a:pt x="185" y="193"/>
                  </a:cubicBezTo>
                  <a:cubicBezTo>
                    <a:pt x="196" y="207"/>
                    <a:pt x="196" y="207"/>
                    <a:pt x="196" y="207"/>
                  </a:cubicBezTo>
                  <a:cubicBezTo>
                    <a:pt x="196" y="207"/>
                    <a:pt x="208" y="208"/>
                    <a:pt x="216" y="216"/>
                  </a:cubicBezTo>
                  <a:cubicBezTo>
                    <a:pt x="224" y="224"/>
                    <a:pt x="227" y="234"/>
                    <a:pt x="231" y="242"/>
                  </a:cubicBezTo>
                  <a:cubicBezTo>
                    <a:pt x="235" y="250"/>
                    <a:pt x="253" y="252"/>
                    <a:pt x="257" y="257"/>
                  </a:cubicBezTo>
                  <a:cubicBezTo>
                    <a:pt x="261" y="262"/>
                    <a:pt x="261" y="271"/>
                    <a:pt x="262" y="277"/>
                  </a:cubicBezTo>
                  <a:cubicBezTo>
                    <a:pt x="263" y="283"/>
                    <a:pt x="280" y="283"/>
                    <a:pt x="280" y="283"/>
                  </a:cubicBezTo>
                  <a:cubicBezTo>
                    <a:pt x="288" y="295"/>
                    <a:pt x="288" y="295"/>
                    <a:pt x="288" y="295"/>
                  </a:cubicBezTo>
                  <a:cubicBezTo>
                    <a:pt x="304" y="305"/>
                    <a:pt x="304" y="305"/>
                    <a:pt x="304" y="305"/>
                  </a:cubicBezTo>
                  <a:cubicBezTo>
                    <a:pt x="311" y="293"/>
                    <a:pt x="311" y="293"/>
                    <a:pt x="311" y="293"/>
                  </a:cubicBezTo>
                  <a:cubicBezTo>
                    <a:pt x="320" y="287"/>
                    <a:pt x="320" y="287"/>
                    <a:pt x="320" y="287"/>
                  </a:cubicBezTo>
                  <a:cubicBezTo>
                    <a:pt x="312" y="277"/>
                    <a:pt x="304" y="268"/>
                    <a:pt x="304" y="268"/>
                  </a:cubicBezTo>
                  <a:cubicBezTo>
                    <a:pt x="304" y="268"/>
                    <a:pt x="287" y="271"/>
                    <a:pt x="285" y="264"/>
                  </a:cubicBezTo>
                  <a:cubicBezTo>
                    <a:pt x="283" y="257"/>
                    <a:pt x="283" y="239"/>
                    <a:pt x="283" y="239"/>
                  </a:cubicBezTo>
                  <a:cubicBezTo>
                    <a:pt x="283" y="239"/>
                    <a:pt x="244" y="225"/>
                    <a:pt x="241" y="216"/>
                  </a:cubicBezTo>
                  <a:cubicBezTo>
                    <a:pt x="238" y="207"/>
                    <a:pt x="238" y="185"/>
                    <a:pt x="231" y="181"/>
                  </a:cubicBezTo>
                  <a:cubicBezTo>
                    <a:pt x="224" y="177"/>
                    <a:pt x="207" y="181"/>
                    <a:pt x="204" y="177"/>
                  </a:cubicBezTo>
                  <a:cubicBezTo>
                    <a:pt x="201" y="173"/>
                    <a:pt x="190" y="159"/>
                    <a:pt x="190" y="159"/>
                  </a:cubicBezTo>
                  <a:cubicBezTo>
                    <a:pt x="177" y="165"/>
                    <a:pt x="177" y="165"/>
                    <a:pt x="177" y="165"/>
                  </a:cubicBezTo>
                  <a:cubicBezTo>
                    <a:pt x="169" y="152"/>
                    <a:pt x="169" y="152"/>
                    <a:pt x="169" y="152"/>
                  </a:cubicBezTo>
                  <a:cubicBezTo>
                    <a:pt x="157" y="149"/>
                    <a:pt x="157" y="149"/>
                    <a:pt x="157" y="149"/>
                  </a:cubicBezTo>
                  <a:cubicBezTo>
                    <a:pt x="157" y="149"/>
                    <a:pt x="137" y="129"/>
                    <a:pt x="134" y="117"/>
                  </a:cubicBezTo>
                  <a:cubicBezTo>
                    <a:pt x="131" y="105"/>
                    <a:pt x="135" y="85"/>
                    <a:pt x="128" y="62"/>
                  </a:cubicBezTo>
                  <a:cubicBezTo>
                    <a:pt x="121" y="39"/>
                    <a:pt x="100" y="1"/>
                    <a:pt x="100" y="1"/>
                  </a:cubicBezTo>
                  <a:cubicBezTo>
                    <a:pt x="98" y="0"/>
                    <a:pt x="98" y="0"/>
                    <a:pt x="98" y="0"/>
                  </a:cubicBezTo>
                  <a:cubicBezTo>
                    <a:pt x="96" y="9"/>
                    <a:pt x="92" y="21"/>
                    <a:pt x="87" y="25"/>
                  </a:cubicBezTo>
                  <a:cubicBezTo>
                    <a:pt x="78" y="33"/>
                    <a:pt x="51" y="35"/>
                    <a:pt x="51" y="35"/>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72" name="Ethiopa">
              <a:extLst>
                <a:ext uri="{FF2B5EF4-FFF2-40B4-BE49-F238E27FC236}">
                  <a16:creationId xmlns:a16="http://schemas.microsoft.com/office/drawing/2014/main" id="{D5D5B7F5-115A-45B5-997B-3676975EFC3E}"/>
                </a:ext>
              </a:extLst>
            </p:cNvPr>
            <p:cNvSpPr>
              <a:spLocks/>
            </p:cNvSpPr>
            <p:nvPr/>
          </p:nvSpPr>
          <p:spPr bwMode="gray">
            <a:xfrm>
              <a:off x="7032151" y="2878738"/>
              <a:ext cx="880969" cy="764096"/>
            </a:xfrm>
            <a:custGeom>
              <a:avLst/>
              <a:gdLst>
                <a:gd name="T0" fmla="*/ 75 w 709"/>
                <a:gd name="T1" fmla="*/ 428 h 615"/>
                <a:gd name="T2" fmla="*/ 87 w 709"/>
                <a:gd name="T3" fmla="*/ 442 h 615"/>
                <a:gd name="T4" fmla="*/ 96 w 709"/>
                <a:gd name="T5" fmla="*/ 471 h 615"/>
                <a:gd name="T6" fmla="*/ 133 w 709"/>
                <a:gd name="T7" fmla="*/ 513 h 615"/>
                <a:gd name="T8" fmla="*/ 138 w 709"/>
                <a:gd name="T9" fmla="*/ 545 h 615"/>
                <a:gd name="T10" fmla="*/ 191 w 709"/>
                <a:gd name="T11" fmla="*/ 562 h 615"/>
                <a:gd name="T12" fmla="*/ 282 w 709"/>
                <a:gd name="T13" fmla="*/ 606 h 615"/>
                <a:gd name="T14" fmla="*/ 326 w 709"/>
                <a:gd name="T15" fmla="*/ 601 h 615"/>
                <a:gd name="T16" fmla="*/ 360 w 709"/>
                <a:gd name="T17" fmla="*/ 577 h 615"/>
                <a:gd name="T18" fmla="*/ 388 w 709"/>
                <a:gd name="T19" fmla="*/ 585 h 615"/>
                <a:gd name="T20" fmla="*/ 410 w 709"/>
                <a:gd name="T21" fmla="*/ 582 h 615"/>
                <a:gd name="T22" fmla="*/ 434 w 709"/>
                <a:gd name="T23" fmla="*/ 574 h 615"/>
                <a:gd name="T24" fmla="*/ 480 w 709"/>
                <a:gd name="T25" fmla="*/ 549 h 615"/>
                <a:gd name="T26" fmla="*/ 569 w 709"/>
                <a:gd name="T27" fmla="*/ 535 h 615"/>
                <a:gd name="T28" fmla="*/ 661 w 709"/>
                <a:gd name="T29" fmla="*/ 373 h 615"/>
                <a:gd name="T30" fmla="*/ 527 w 709"/>
                <a:gd name="T31" fmla="*/ 320 h 615"/>
                <a:gd name="T32" fmla="*/ 491 w 709"/>
                <a:gd name="T33" fmla="*/ 295 h 615"/>
                <a:gd name="T34" fmla="*/ 462 w 709"/>
                <a:gd name="T35" fmla="*/ 246 h 615"/>
                <a:gd name="T36" fmla="*/ 454 w 709"/>
                <a:gd name="T37" fmla="*/ 230 h 615"/>
                <a:gd name="T38" fmla="*/ 454 w 709"/>
                <a:gd name="T39" fmla="*/ 201 h 615"/>
                <a:gd name="T40" fmla="*/ 419 w 709"/>
                <a:gd name="T41" fmla="*/ 211 h 615"/>
                <a:gd name="T42" fmla="*/ 421 w 709"/>
                <a:gd name="T43" fmla="*/ 164 h 615"/>
                <a:gd name="T44" fmla="*/ 431 w 709"/>
                <a:gd name="T45" fmla="*/ 113 h 615"/>
                <a:gd name="T46" fmla="*/ 408 w 709"/>
                <a:gd name="T47" fmla="*/ 87 h 615"/>
                <a:gd name="T48" fmla="*/ 367 w 709"/>
                <a:gd name="T49" fmla="*/ 46 h 615"/>
                <a:gd name="T50" fmla="*/ 336 w 709"/>
                <a:gd name="T51" fmla="*/ 23 h 615"/>
                <a:gd name="T52" fmla="*/ 306 w 709"/>
                <a:gd name="T53" fmla="*/ 17 h 615"/>
                <a:gd name="T54" fmla="*/ 279 w 709"/>
                <a:gd name="T55" fmla="*/ 11 h 615"/>
                <a:gd name="T56" fmla="*/ 250 w 709"/>
                <a:gd name="T57" fmla="*/ 24 h 615"/>
                <a:gd name="T58" fmla="*/ 224 w 709"/>
                <a:gd name="T59" fmla="*/ 0 h 615"/>
                <a:gd name="T60" fmla="*/ 192 w 709"/>
                <a:gd name="T61" fmla="*/ 21 h 615"/>
                <a:gd name="T62" fmla="*/ 159 w 709"/>
                <a:gd name="T63" fmla="*/ 30 h 615"/>
                <a:gd name="T64" fmla="*/ 143 w 709"/>
                <a:gd name="T65" fmla="*/ 88 h 615"/>
                <a:gd name="T66" fmla="*/ 123 w 709"/>
                <a:gd name="T67" fmla="*/ 116 h 615"/>
                <a:gd name="T68" fmla="*/ 110 w 709"/>
                <a:gd name="T69" fmla="*/ 155 h 615"/>
                <a:gd name="T70" fmla="*/ 96 w 709"/>
                <a:gd name="T71" fmla="*/ 179 h 615"/>
                <a:gd name="T72" fmla="*/ 90 w 709"/>
                <a:gd name="T73" fmla="*/ 221 h 615"/>
                <a:gd name="T74" fmla="*/ 71 w 709"/>
                <a:gd name="T75" fmla="*/ 215 h 615"/>
                <a:gd name="T76" fmla="*/ 65 w 709"/>
                <a:gd name="T77" fmla="*/ 256 h 615"/>
                <a:gd name="T78" fmla="*/ 54 w 709"/>
                <a:gd name="T79" fmla="*/ 305 h 615"/>
                <a:gd name="T80" fmla="*/ 36 w 709"/>
                <a:gd name="T81" fmla="*/ 351 h 615"/>
                <a:gd name="T82" fmla="*/ 8 w 709"/>
                <a:gd name="T83" fmla="*/ 345 h 615"/>
                <a:gd name="T84" fmla="*/ 3 w 709"/>
                <a:gd name="T85" fmla="*/ 383 h 615"/>
                <a:gd name="T86" fmla="*/ 55 w 709"/>
                <a:gd name="T87" fmla="*/ 40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9" h="615">
                  <a:moveTo>
                    <a:pt x="60" y="425"/>
                  </a:moveTo>
                  <a:cubicBezTo>
                    <a:pt x="64" y="430"/>
                    <a:pt x="75" y="428"/>
                    <a:pt x="75" y="428"/>
                  </a:cubicBezTo>
                  <a:cubicBezTo>
                    <a:pt x="78" y="441"/>
                    <a:pt x="78" y="441"/>
                    <a:pt x="78" y="441"/>
                  </a:cubicBezTo>
                  <a:cubicBezTo>
                    <a:pt x="87" y="442"/>
                    <a:pt x="87" y="442"/>
                    <a:pt x="87" y="442"/>
                  </a:cubicBezTo>
                  <a:cubicBezTo>
                    <a:pt x="89" y="467"/>
                    <a:pt x="89" y="467"/>
                    <a:pt x="89" y="467"/>
                  </a:cubicBezTo>
                  <a:cubicBezTo>
                    <a:pt x="96" y="471"/>
                    <a:pt x="96" y="471"/>
                    <a:pt x="96" y="471"/>
                  </a:cubicBezTo>
                  <a:cubicBezTo>
                    <a:pt x="96" y="471"/>
                    <a:pt x="98" y="498"/>
                    <a:pt x="108" y="506"/>
                  </a:cubicBezTo>
                  <a:cubicBezTo>
                    <a:pt x="118" y="514"/>
                    <a:pt x="128" y="505"/>
                    <a:pt x="133" y="513"/>
                  </a:cubicBezTo>
                  <a:cubicBezTo>
                    <a:pt x="138" y="521"/>
                    <a:pt x="137" y="535"/>
                    <a:pt x="137" y="535"/>
                  </a:cubicBezTo>
                  <a:cubicBezTo>
                    <a:pt x="138" y="545"/>
                    <a:pt x="138" y="545"/>
                    <a:pt x="138" y="545"/>
                  </a:cubicBezTo>
                  <a:cubicBezTo>
                    <a:pt x="144" y="560"/>
                    <a:pt x="144" y="560"/>
                    <a:pt x="144" y="560"/>
                  </a:cubicBezTo>
                  <a:cubicBezTo>
                    <a:pt x="191" y="562"/>
                    <a:pt x="191" y="562"/>
                    <a:pt x="191" y="562"/>
                  </a:cubicBezTo>
                  <a:cubicBezTo>
                    <a:pt x="242" y="602"/>
                    <a:pt x="242" y="602"/>
                    <a:pt x="242" y="602"/>
                  </a:cubicBezTo>
                  <a:cubicBezTo>
                    <a:pt x="242" y="602"/>
                    <a:pt x="269" y="604"/>
                    <a:pt x="282" y="606"/>
                  </a:cubicBezTo>
                  <a:cubicBezTo>
                    <a:pt x="295" y="608"/>
                    <a:pt x="313" y="615"/>
                    <a:pt x="313" y="615"/>
                  </a:cubicBezTo>
                  <a:cubicBezTo>
                    <a:pt x="326" y="601"/>
                    <a:pt x="326" y="601"/>
                    <a:pt x="326" y="601"/>
                  </a:cubicBezTo>
                  <a:cubicBezTo>
                    <a:pt x="326" y="601"/>
                    <a:pt x="324" y="597"/>
                    <a:pt x="331" y="591"/>
                  </a:cubicBezTo>
                  <a:cubicBezTo>
                    <a:pt x="338" y="585"/>
                    <a:pt x="360" y="577"/>
                    <a:pt x="360" y="577"/>
                  </a:cubicBezTo>
                  <a:cubicBezTo>
                    <a:pt x="372" y="568"/>
                    <a:pt x="372" y="568"/>
                    <a:pt x="372" y="568"/>
                  </a:cubicBezTo>
                  <a:cubicBezTo>
                    <a:pt x="388" y="585"/>
                    <a:pt x="388" y="585"/>
                    <a:pt x="388" y="585"/>
                  </a:cubicBezTo>
                  <a:cubicBezTo>
                    <a:pt x="406" y="586"/>
                    <a:pt x="406" y="586"/>
                    <a:pt x="406" y="586"/>
                  </a:cubicBezTo>
                  <a:cubicBezTo>
                    <a:pt x="410" y="582"/>
                    <a:pt x="410" y="582"/>
                    <a:pt x="410" y="582"/>
                  </a:cubicBezTo>
                  <a:cubicBezTo>
                    <a:pt x="426" y="588"/>
                    <a:pt x="426" y="588"/>
                    <a:pt x="426" y="588"/>
                  </a:cubicBezTo>
                  <a:cubicBezTo>
                    <a:pt x="426" y="588"/>
                    <a:pt x="426" y="577"/>
                    <a:pt x="434" y="574"/>
                  </a:cubicBezTo>
                  <a:cubicBezTo>
                    <a:pt x="442" y="571"/>
                    <a:pt x="467" y="573"/>
                    <a:pt x="473" y="567"/>
                  </a:cubicBezTo>
                  <a:cubicBezTo>
                    <a:pt x="479" y="561"/>
                    <a:pt x="480" y="549"/>
                    <a:pt x="480" y="549"/>
                  </a:cubicBezTo>
                  <a:cubicBezTo>
                    <a:pt x="480" y="549"/>
                    <a:pt x="505" y="537"/>
                    <a:pt x="513" y="535"/>
                  </a:cubicBezTo>
                  <a:cubicBezTo>
                    <a:pt x="521" y="533"/>
                    <a:pt x="569" y="535"/>
                    <a:pt x="569" y="535"/>
                  </a:cubicBezTo>
                  <a:cubicBezTo>
                    <a:pt x="709" y="370"/>
                    <a:pt x="709" y="370"/>
                    <a:pt x="709" y="370"/>
                  </a:cubicBezTo>
                  <a:cubicBezTo>
                    <a:pt x="661" y="373"/>
                    <a:pt x="661" y="373"/>
                    <a:pt x="661" y="373"/>
                  </a:cubicBezTo>
                  <a:cubicBezTo>
                    <a:pt x="661" y="373"/>
                    <a:pt x="628" y="353"/>
                    <a:pt x="609" y="347"/>
                  </a:cubicBezTo>
                  <a:cubicBezTo>
                    <a:pt x="590" y="341"/>
                    <a:pt x="538" y="328"/>
                    <a:pt x="527" y="320"/>
                  </a:cubicBezTo>
                  <a:cubicBezTo>
                    <a:pt x="516" y="312"/>
                    <a:pt x="506" y="295"/>
                    <a:pt x="506" y="295"/>
                  </a:cubicBezTo>
                  <a:cubicBezTo>
                    <a:pt x="491" y="295"/>
                    <a:pt x="491" y="295"/>
                    <a:pt x="491" y="295"/>
                  </a:cubicBezTo>
                  <a:cubicBezTo>
                    <a:pt x="491" y="295"/>
                    <a:pt x="487" y="278"/>
                    <a:pt x="481" y="270"/>
                  </a:cubicBezTo>
                  <a:cubicBezTo>
                    <a:pt x="475" y="262"/>
                    <a:pt x="462" y="246"/>
                    <a:pt x="462" y="246"/>
                  </a:cubicBezTo>
                  <a:cubicBezTo>
                    <a:pt x="463" y="238"/>
                    <a:pt x="463" y="238"/>
                    <a:pt x="463" y="238"/>
                  </a:cubicBezTo>
                  <a:cubicBezTo>
                    <a:pt x="454" y="230"/>
                    <a:pt x="454" y="230"/>
                    <a:pt x="454" y="230"/>
                  </a:cubicBezTo>
                  <a:cubicBezTo>
                    <a:pt x="467" y="210"/>
                    <a:pt x="467" y="210"/>
                    <a:pt x="467" y="210"/>
                  </a:cubicBezTo>
                  <a:cubicBezTo>
                    <a:pt x="463" y="206"/>
                    <a:pt x="458" y="202"/>
                    <a:pt x="454" y="201"/>
                  </a:cubicBezTo>
                  <a:cubicBezTo>
                    <a:pt x="447" y="200"/>
                    <a:pt x="444" y="208"/>
                    <a:pt x="444" y="208"/>
                  </a:cubicBezTo>
                  <a:cubicBezTo>
                    <a:pt x="444" y="208"/>
                    <a:pt x="427" y="212"/>
                    <a:pt x="419" y="211"/>
                  </a:cubicBezTo>
                  <a:cubicBezTo>
                    <a:pt x="411" y="210"/>
                    <a:pt x="408" y="173"/>
                    <a:pt x="408" y="173"/>
                  </a:cubicBezTo>
                  <a:cubicBezTo>
                    <a:pt x="421" y="164"/>
                    <a:pt x="421" y="164"/>
                    <a:pt x="421" y="164"/>
                  </a:cubicBezTo>
                  <a:cubicBezTo>
                    <a:pt x="439" y="125"/>
                    <a:pt x="439" y="125"/>
                    <a:pt x="439" y="125"/>
                  </a:cubicBezTo>
                  <a:cubicBezTo>
                    <a:pt x="431" y="113"/>
                    <a:pt x="431" y="113"/>
                    <a:pt x="431" y="113"/>
                  </a:cubicBezTo>
                  <a:cubicBezTo>
                    <a:pt x="431" y="113"/>
                    <a:pt x="414" y="113"/>
                    <a:pt x="413" y="107"/>
                  </a:cubicBezTo>
                  <a:cubicBezTo>
                    <a:pt x="412" y="101"/>
                    <a:pt x="412" y="92"/>
                    <a:pt x="408" y="87"/>
                  </a:cubicBezTo>
                  <a:cubicBezTo>
                    <a:pt x="404" y="82"/>
                    <a:pt x="386" y="80"/>
                    <a:pt x="382" y="72"/>
                  </a:cubicBezTo>
                  <a:cubicBezTo>
                    <a:pt x="378" y="64"/>
                    <a:pt x="375" y="54"/>
                    <a:pt x="367" y="46"/>
                  </a:cubicBezTo>
                  <a:cubicBezTo>
                    <a:pt x="359" y="38"/>
                    <a:pt x="347" y="37"/>
                    <a:pt x="347" y="37"/>
                  </a:cubicBezTo>
                  <a:cubicBezTo>
                    <a:pt x="336" y="23"/>
                    <a:pt x="336" y="23"/>
                    <a:pt x="336" y="23"/>
                  </a:cubicBezTo>
                  <a:cubicBezTo>
                    <a:pt x="316" y="22"/>
                    <a:pt x="316" y="22"/>
                    <a:pt x="316" y="22"/>
                  </a:cubicBezTo>
                  <a:cubicBezTo>
                    <a:pt x="316" y="22"/>
                    <a:pt x="310" y="17"/>
                    <a:pt x="306" y="17"/>
                  </a:cubicBezTo>
                  <a:cubicBezTo>
                    <a:pt x="302" y="17"/>
                    <a:pt x="291" y="24"/>
                    <a:pt x="288" y="24"/>
                  </a:cubicBezTo>
                  <a:cubicBezTo>
                    <a:pt x="285" y="24"/>
                    <a:pt x="279" y="11"/>
                    <a:pt x="279" y="11"/>
                  </a:cubicBezTo>
                  <a:cubicBezTo>
                    <a:pt x="279" y="11"/>
                    <a:pt x="270" y="24"/>
                    <a:pt x="267" y="24"/>
                  </a:cubicBezTo>
                  <a:cubicBezTo>
                    <a:pt x="264" y="24"/>
                    <a:pt x="250" y="24"/>
                    <a:pt x="250" y="24"/>
                  </a:cubicBezTo>
                  <a:cubicBezTo>
                    <a:pt x="250" y="24"/>
                    <a:pt x="244" y="11"/>
                    <a:pt x="240" y="9"/>
                  </a:cubicBezTo>
                  <a:cubicBezTo>
                    <a:pt x="236" y="7"/>
                    <a:pt x="224" y="0"/>
                    <a:pt x="224" y="0"/>
                  </a:cubicBezTo>
                  <a:cubicBezTo>
                    <a:pt x="224" y="0"/>
                    <a:pt x="216" y="41"/>
                    <a:pt x="208" y="41"/>
                  </a:cubicBezTo>
                  <a:cubicBezTo>
                    <a:pt x="200" y="41"/>
                    <a:pt x="197" y="21"/>
                    <a:pt x="192" y="21"/>
                  </a:cubicBezTo>
                  <a:cubicBezTo>
                    <a:pt x="187" y="21"/>
                    <a:pt x="182" y="31"/>
                    <a:pt x="182" y="31"/>
                  </a:cubicBezTo>
                  <a:cubicBezTo>
                    <a:pt x="159" y="30"/>
                    <a:pt x="159" y="30"/>
                    <a:pt x="159" y="30"/>
                  </a:cubicBezTo>
                  <a:cubicBezTo>
                    <a:pt x="159" y="60"/>
                    <a:pt x="159" y="60"/>
                    <a:pt x="159" y="60"/>
                  </a:cubicBezTo>
                  <a:cubicBezTo>
                    <a:pt x="159" y="60"/>
                    <a:pt x="143" y="80"/>
                    <a:pt x="143" y="88"/>
                  </a:cubicBezTo>
                  <a:cubicBezTo>
                    <a:pt x="143" y="96"/>
                    <a:pt x="145" y="114"/>
                    <a:pt x="145" y="114"/>
                  </a:cubicBezTo>
                  <a:cubicBezTo>
                    <a:pt x="123" y="116"/>
                    <a:pt x="123" y="116"/>
                    <a:pt x="123" y="116"/>
                  </a:cubicBezTo>
                  <a:cubicBezTo>
                    <a:pt x="123" y="116"/>
                    <a:pt x="112" y="130"/>
                    <a:pt x="111" y="135"/>
                  </a:cubicBezTo>
                  <a:cubicBezTo>
                    <a:pt x="110" y="140"/>
                    <a:pt x="115" y="150"/>
                    <a:pt x="110" y="155"/>
                  </a:cubicBezTo>
                  <a:cubicBezTo>
                    <a:pt x="105" y="160"/>
                    <a:pt x="94" y="164"/>
                    <a:pt x="94" y="164"/>
                  </a:cubicBezTo>
                  <a:cubicBezTo>
                    <a:pt x="96" y="179"/>
                    <a:pt x="96" y="179"/>
                    <a:pt x="96" y="179"/>
                  </a:cubicBezTo>
                  <a:cubicBezTo>
                    <a:pt x="89" y="190"/>
                    <a:pt x="89" y="190"/>
                    <a:pt x="89" y="190"/>
                  </a:cubicBezTo>
                  <a:cubicBezTo>
                    <a:pt x="89" y="190"/>
                    <a:pt x="96" y="213"/>
                    <a:pt x="90" y="221"/>
                  </a:cubicBezTo>
                  <a:cubicBezTo>
                    <a:pt x="84" y="229"/>
                    <a:pt x="78" y="226"/>
                    <a:pt x="78" y="226"/>
                  </a:cubicBezTo>
                  <a:cubicBezTo>
                    <a:pt x="78" y="226"/>
                    <a:pt x="76" y="215"/>
                    <a:pt x="71" y="215"/>
                  </a:cubicBezTo>
                  <a:cubicBezTo>
                    <a:pt x="66" y="215"/>
                    <a:pt x="60" y="228"/>
                    <a:pt x="60" y="235"/>
                  </a:cubicBezTo>
                  <a:cubicBezTo>
                    <a:pt x="60" y="242"/>
                    <a:pt x="66" y="253"/>
                    <a:pt x="65" y="256"/>
                  </a:cubicBezTo>
                  <a:cubicBezTo>
                    <a:pt x="64" y="259"/>
                    <a:pt x="49" y="270"/>
                    <a:pt x="48" y="278"/>
                  </a:cubicBezTo>
                  <a:cubicBezTo>
                    <a:pt x="47" y="286"/>
                    <a:pt x="54" y="305"/>
                    <a:pt x="54" y="305"/>
                  </a:cubicBezTo>
                  <a:cubicBezTo>
                    <a:pt x="54" y="305"/>
                    <a:pt x="57" y="336"/>
                    <a:pt x="50" y="341"/>
                  </a:cubicBezTo>
                  <a:cubicBezTo>
                    <a:pt x="43" y="346"/>
                    <a:pt x="36" y="351"/>
                    <a:pt x="36" y="351"/>
                  </a:cubicBezTo>
                  <a:cubicBezTo>
                    <a:pt x="31" y="346"/>
                    <a:pt x="31" y="346"/>
                    <a:pt x="31" y="346"/>
                  </a:cubicBezTo>
                  <a:cubicBezTo>
                    <a:pt x="8" y="345"/>
                    <a:pt x="8" y="345"/>
                    <a:pt x="8" y="345"/>
                  </a:cubicBezTo>
                  <a:cubicBezTo>
                    <a:pt x="10" y="361"/>
                    <a:pt x="10" y="361"/>
                    <a:pt x="10" y="361"/>
                  </a:cubicBezTo>
                  <a:cubicBezTo>
                    <a:pt x="10" y="361"/>
                    <a:pt x="0" y="378"/>
                    <a:pt x="3" y="383"/>
                  </a:cubicBezTo>
                  <a:cubicBezTo>
                    <a:pt x="6" y="388"/>
                    <a:pt x="22" y="382"/>
                    <a:pt x="30" y="386"/>
                  </a:cubicBezTo>
                  <a:cubicBezTo>
                    <a:pt x="38" y="390"/>
                    <a:pt x="55" y="405"/>
                    <a:pt x="55" y="405"/>
                  </a:cubicBezTo>
                  <a:cubicBezTo>
                    <a:pt x="55" y="405"/>
                    <a:pt x="56" y="420"/>
                    <a:pt x="60" y="425"/>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73" name="Egypt">
              <a:extLst>
                <a:ext uri="{FF2B5EF4-FFF2-40B4-BE49-F238E27FC236}">
                  <a16:creationId xmlns:a16="http://schemas.microsoft.com/office/drawing/2014/main" id="{B4B052F3-E93F-4717-8A83-8CECF35DDB28}"/>
                </a:ext>
              </a:extLst>
            </p:cNvPr>
            <p:cNvSpPr>
              <a:spLocks/>
            </p:cNvSpPr>
            <p:nvPr/>
          </p:nvSpPr>
          <p:spPr bwMode="gray">
            <a:xfrm>
              <a:off x="6507097" y="1759009"/>
              <a:ext cx="658965" cy="679586"/>
            </a:xfrm>
            <a:custGeom>
              <a:avLst/>
              <a:gdLst>
                <a:gd name="T0" fmla="*/ 11 w 530"/>
                <a:gd name="T1" fmla="*/ 13 h 546"/>
                <a:gd name="T2" fmla="*/ 7 w 530"/>
                <a:gd name="T3" fmla="*/ 34 h 546"/>
                <a:gd name="T4" fmla="*/ 17 w 530"/>
                <a:gd name="T5" fmla="*/ 54 h 546"/>
                <a:gd name="T6" fmla="*/ 3 w 530"/>
                <a:gd name="T7" fmla="*/ 82 h 546"/>
                <a:gd name="T8" fmla="*/ 21 w 530"/>
                <a:gd name="T9" fmla="*/ 120 h 546"/>
                <a:gd name="T10" fmla="*/ 34 w 530"/>
                <a:gd name="T11" fmla="*/ 518 h 546"/>
                <a:gd name="T12" fmla="*/ 320 w 530"/>
                <a:gd name="T13" fmla="*/ 522 h 546"/>
                <a:gd name="T14" fmla="*/ 329 w 530"/>
                <a:gd name="T15" fmla="*/ 510 h 546"/>
                <a:gd name="T16" fmla="*/ 334 w 530"/>
                <a:gd name="T17" fmla="*/ 518 h 546"/>
                <a:gd name="T18" fmla="*/ 413 w 530"/>
                <a:gd name="T19" fmla="*/ 521 h 546"/>
                <a:gd name="T20" fmla="*/ 438 w 530"/>
                <a:gd name="T21" fmla="*/ 539 h 546"/>
                <a:gd name="T22" fmla="*/ 460 w 530"/>
                <a:gd name="T23" fmla="*/ 508 h 546"/>
                <a:gd name="T24" fmla="*/ 482 w 530"/>
                <a:gd name="T25" fmla="*/ 505 h 546"/>
                <a:gd name="T26" fmla="*/ 492 w 530"/>
                <a:gd name="T27" fmla="*/ 478 h 546"/>
                <a:gd name="T28" fmla="*/ 509 w 530"/>
                <a:gd name="T29" fmla="*/ 477 h 546"/>
                <a:gd name="T30" fmla="*/ 525 w 530"/>
                <a:gd name="T31" fmla="*/ 462 h 546"/>
                <a:gd name="T32" fmla="*/ 520 w 530"/>
                <a:gd name="T33" fmla="*/ 445 h 546"/>
                <a:gd name="T34" fmla="*/ 518 w 530"/>
                <a:gd name="T35" fmla="*/ 416 h 546"/>
                <a:gd name="T36" fmla="*/ 530 w 530"/>
                <a:gd name="T37" fmla="*/ 415 h 546"/>
                <a:gd name="T38" fmla="*/ 490 w 530"/>
                <a:gd name="T39" fmla="*/ 369 h 546"/>
                <a:gd name="T40" fmla="*/ 469 w 530"/>
                <a:gd name="T41" fmla="*/ 315 h 546"/>
                <a:gd name="T42" fmla="*/ 448 w 530"/>
                <a:gd name="T43" fmla="*/ 288 h 546"/>
                <a:gd name="T44" fmla="*/ 440 w 530"/>
                <a:gd name="T45" fmla="*/ 252 h 546"/>
                <a:gd name="T46" fmla="*/ 415 w 530"/>
                <a:gd name="T47" fmla="*/ 225 h 546"/>
                <a:gd name="T48" fmla="*/ 412 w 530"/>
                <a:gd name="T49" fmla="*/ 204 h 546"/>
                <a:gd name="T50" fmla="*/ 378 w 530"/>
                <a:gd name="T51" fmla="*/ 161 h 546"/>
                <a:gd name="T52" fmla="*/ 368 w 530"/>
                <a:gd name="T53" fmla="*/ 147 h 546"/>
                <a:gd name="T54" fmla="*/ 368 w 530"/>
                <a:gd name="T55" fmla="*/ 126 h 546"/>
                <a:gd name="T56" fmla="*/ 350 w 530"/>
                <a:gd name="T57" fmla="*/ 112 h 546"/>
                <a:gd name="T58" fmla="*/ 361 w 530"/>
                <a:gd name="T59" fmla="*/ 99 h 546"/>
                <a:gd name="T60" fmla="*/ 373 w 530"/>
                <a:gd name="T61" fmla="*/ 107 h 546"/>
                <a:gd name="T62" fmla="*/ 381 w 530"/>
                <a:gd name="T63" fmla="*/ 130 h 546"/>
                <a:gd name="T64" fmla="*/ 395 w 530"/>
                <a:gd name="T65" fmla="*/ 145 h 546"/>
                <a:gd name="T66" fmla="*/ 394 w 530"/>
                <a:gd name="T67" fmla="*/ 162 h 546"/>
                <a:gd name="T68" fmla="*/ 438 w 530"/>
                <a:gd name="T69" fmla="*/ 207 h 546"/>
                <a:gd name="T70" fmla="*/ 456 w 530"/>
                <a:gd name="T71" fmla="*/ 195 h 546"/>
                <a:gd name="T72" fmla="*/ 449 w 530"/>
                <a:gd name="T73" fmla="*/ 183 h 546"/>
                <a:gd name="T74" fmla="*/ 462 w 530"/>
                <a:gd name="T75" fmla="*/ 143 h 546"/>
                <a:gd name="T76" fmla="*/ 471 w 530"/>
                <a:gd name="T77" fmla="*/ 112 h 546"/>
                <a:gd name="T78" fmla="*/ 435 w 530"/>
                <a:gd name="T79" fmla="*/ 19 h 546"/>
                <a:gd name="T80" fmla="*/ 388 w 530"/>
                <a:gd name="T81" fmla="*/ 30 h 546"/>
                <a:gd name="T82" fmla="*/ 373 w 530"/>
                <a:gd name="T83" fmla="*/ 22 h 546"/>
                <a:gd name="T84" fmla="*/ 350 w 530"/>
                <a:gd name="T85" fmla="*/ 26 h 546"/>
                <a:gd name="T86" fmla="*/ 325 w 530"/>
                <a:gd name="T87" fmla="*/ 7 h 546"/>
                <a:gd name="T88" fmla="*/ 288 w 530"/>
                <a:gd name="T89" fmla="*/ 14 h 546"/>
                <a:gd name="T90" fmla="*/ 262 w 530"/>
                <a:gd name="T91" fmla="*/ 11 h 546"/>
                <a:gd name="T92" fmla="*/ 243 w 530"/>
                <a:gd name="T93" fmla="*/ 30 h 546"/>
                <a:gd name="T94" fmla="*/ 227 w 530"/>
                <a:gd name="T95" fmla="*/ 30 h 546"/>
                <a:gd name="T96" fmla="*/ 210 w 530"/>
                <a:gd name="T97" fmla="*/ 43 h 546"/>
                <a:gd name="T98" fmla="*/ 170 w 530"/>
                <a:gd name="T99" fmla="*/ 29 h 546"/>
                <a:gd name="T100" fmla="*/ 140 w 530"/>
                <a:gd name="T101" fmla="*/ 29 h 546"/>
                <a:gd name="T102" fmla="*/ 112 w 530"/>
                <a:gd name="T103" fmla="*/ 13 h 546"/>
                <a:gd name="T104" fmla="*/ 89 w 530"/>
                <a:gd name="T105" fmla="*/ 12 h 546"/>
                <a:gd name="T106" fmla="*/ 60 w 530"/>
                <a:gd name="T107" fmla="*/ 1 h 546"/>
                <a:gd name="T108" fmla="*/ 31 w 530"/>
                <a:gd name="T109" fmla="*/ 6 h 546"/>
                <a:gd name="T110" fmla="*/ 24 w 530"/>
                <a:gd name="T111" fmla="*/ 0 h 546"/>
                <a:gd name="T112" fmla="*/ 11 w 530"/>
                <a:gd name="T113" fmla="*/ 13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0" h="546">
                  <a:moveTo>
                    <a:pt x="11" y="13"/>
                  </a:moveTo>
                  <a:cubicBezTo>
                    <a:pt x="6" y="16"/>
                    <a:pt x="6" y="30"/>
                    <a:pt x="7" y="34"/>
                  </a:cubicBezTo>
                  <a:cubicBezTo>
                    <a:pt x="8" y="38"/>
                    <a:pt x="20" y="45"/>
                    <a:pt x="17" y="54"/>
                  </a:cubicBezTo>
                  <a:cubicBezTo>
                    <a:pt x="14" y="63"/>
                    <a:pt x="0" y="75"/>
                    <a:pt x="3" y="82"/>
                  </a:cubicBezTo>
                  <a:cubicBezTo>
                    <a:pt x="6" y="89"/>
                    <a:pt x="21" y="107"/>
                    <a:pt x="21" y="120"/>
                  </a:cubicBezTo>
                  <a:cubicBezTo>
                    <a:pt x="21" y="133"/>
                    <a:pt x="34" y="518"/>
                    <a:pt x="34" y="518"/>
                  </a:cubicBezTo>
                  <a:cubicBezTo>
                    <a:pt x="320" y="522"/>
                    <a:pt x="320" y="522"/>
                    <a:pt x="320" y="522"/>
                  </a:cubicBezTo>
                  <a:cubicBezTo>
                    <a:pt x="320" y="522"/>
                    <a:pt x="322" y="512"/>
                    <a:pt x="329" y="510"/>
                  </a:cubicBezTo>
                  <a:cubicBezTo>
                    <a:pt x="336" y="508"/>
                    <a:pt x="334" y="518"/>
                    <a:pt x="334" y="518"/>
                  </a:cubicBezTo>
                  <a:cubicBezTo>
                    <a:pt x="413" y="521"/>
                    <a:pt x="413" y="521"/>
                    <a:pt x="413" y="521"/>
                  </a:cubicBezTo>
                  <a:cubicBezTo>
                    <a:pt x="413" y="521"/>
                    <a:pt x="425" y="546"/>
                    <a:pt x="438" y="539"/>
                  </a:cubicBezTo>
                  <a:cubicBezTo>
                    <a:pt x="451" y="532"/>
                    <a:pt x="450" y="511"/>
                    <a:pt x="460" y="508"/>
                  </a:cubicBezTo>
                  <a:cubicBezTo>
                    <a:pt x="470" y="505"/>
                    <a:pt x="472" y="509"/>
                    <a:pt x="482" y="505"/>
                  </a:cubicBezTo>
                  <a:cubicBezTo>
                    <a:pt x="492" y="501"/>
                    <a:pt x="492" y="478"/>
                    <a:pt x="492" y="478"/>
                  </a:cubicBezTo>
                  <a:cubicBezTo>
                    <a:pt x="509" y="477"/>
                    <a:pt x="509" y="477"/>
                    <a:pt x="509" y="477"/>
                  </a:cubicBezTo>
                  <a:cubicBezTo>
                    <a:pt x="525" y="462"/>
                    <a:pt x="525" y="462"/>
                    <a:pt x="525" y="462"/>
                  </a:cubicBezTo>
                  <a:cubicBezTo>
                    <a:pt x="522" y="456"/>
                    <a:pt x="520" y="450"/>
                    <a:pt x="520" y="445"/>
                  </a:cubicBezTo>
                  <a:cubicBezTo>
                    <a:pt x="519" y="430"/>
                    <a:pt x="518" y="416"/>
                    <a:pt x="518" y="416"/>
                  </a:cubicBezTo>
                  <a:cubicBezTo>
                    <a:pt x="530" y="415"/>
                    <a:pt x="530" y="415"/>
                    <a:pt x="530" y="415"/>
                  </a:cubicBezTo>
                  <a:cubicBezTo>
                    <a:pt x="530" y="415"/>
                    <a:pt x="503" y="397"/>
                    <a:pt x="490" y="369"/>
                  </a:cubicBezTo>
                  <a:cubicBezTo>
                    <a:pt x="477" y="341"/>
                    <a:pt x="478" y="326"/>
                    <a:pt x="469" y="315"/>
                  </a:cubicBezTo>
                  <a:cubicBezTo>
                    <a:pt x="460" y="304"/>
                    <a:pt x="456" y="302"/>
                    <a:pt x="448" y="288"/>
                  </a:cubicBezTo>
                  <a:cubicBezTo>
                    <a:pt x="440" y="274"/>
                    <a:pt x="440" y="252"/>
                    <a:pt x="440" y="252"/>
                  </a:cubicBezTo>
                  <a:cubicBezTo>
                    <a:pt x="415" y="225"/>
                    <a:pt x="415" y="225"/>
                    <a:pt x="415" y="225"/>
                  </a:cubicBezTo>
                  <a:cubicBezTo>
                    <a:pt x="415" y="225"/>
                    <a:pt x="418" y="216"/>
                    <a:pt x="412" y="204"/>
                  </a:cubicBezTo>
                  <a:cubicBezTo>
                    <a:pt x="406" y="192"/>
                    <a:pt x="380" y="170"/>
                    <a:pt x="378" y="161"/>
                  </a:cubicBezTo>
                  <a:cubicBezTo>
                    <a:pt x="376" y="152"/>
                    <a:pt x="368" y="147"/>
                    <a:pt x="368" y="147"/>
                  </a:cubicBezTo>
                  <a:cubicBezTo>
                    <a:pt x="368" y="147"/>
                    <a:pt x="376" y="137"/>
                    <a:pt x="368" y="126"/>
                  </a:cubicBezTo>
                  <a:cubicBezTo>
                    <a:pt x="360" y="115"/>
                    <a:pt x="350" y="112"/>
                    <a:pt x="350" y="112"/>
                  </a:cubicBezTo>
                  <a:cubicBezTo>
                    <a:pt x="361" y="99"/>
                    <a:pt x="361" y="99"/>
                    <a:pt x="361" y="99"/>
                  </a:cubicBezTo>
                  <a:cubicBezTo>
                    <a:pt x="373" y="107"/>
                    <a:pt x="373" y="107"/>
                    <a:pt x="373" y="107"/>
                  </a:cubicBezTo>
                  <a:cubicBezTo>
                    <a:pt x="373" y="107"/>
                    <a:pt x="372" y="124"/>
                    <a:pt x="381" y="130"/>
                  </a:cubicBezTo>
                  <a:cubicBezTo>
                    <a:pt x="390" y="136"/>
                    <a:pt x="395" y="145"/>
                    <a:pt x="395" y="145"/>
                  </a:cubicBezTo>
                  <a:cubicBezTo>
                    <a:pt x="394" y="162"/>
                    <a:pt x="394" y="162"/>
                    <a:pt x="394" y="162"/>
                  </a:cubicBezTo>
                  <a:cubicBezTo>
                    <a:pt x="394" y="162"/>
                    <a:pt x="426" y="214"/>
                    <a:pt x="438" y="207"/>
                  </a:cubicBezTo>
                  <a:cubicBezTo>
                    <a:pt x="450" y="200"/>
                    <a:pt x="456" y="195"/>
                    <a:pt x="456" y="195"/>
                  </a:cubicBezTo>
                  <a:cubicBezTo>
                    <a:pt x="449" y="183"/>
                    <a:pt x="449" y="183"/>
                    <a:pt x="449" y="183"/>
                  </a:cubicBezTo>
                  <a:cubicBezTo>
                    <a:pt x="449" y="183"/>
                    <a:pt x="462" y="157"/>
                    <a:pt x="462" y="143"/>
                  </a:cubicBezTo>
                  <a:cubicBezTo>
                    <a:pt x="462" y="129"/>
                    <a:pt x="471" y="112"/>
                    <a:pt x="471" y="112"/>
                  </a:cubicBezTo>
                  <a:cubicBezTo>
                    <a:pt x="435" y="19"/>
                    <a:pt x="435" y="19"/>
                    <a:pt x="435" y="19"/>
                  </a:cubicBezTo>
                  <a:cubicBezTo>
                    <a:pt x="435" y="19"/>
                    <a:pt x="397" y="34"/>
                    <a:pt x="388" y="30"/>
                  </a:cubicBezTo>
                  <a:cubicBezTo>
                    <a:pt x="379" y="26"/>
                    <a:pt x="373" y="22"/>
                    <a:pt x="373" y="22"/>
                  </a:cubicBezTo>
                  <a:cubicBezTo>
                    <a:pt x="373" y="22"/>
                    <a:pt x="364" y="33"/>
                    <a:pt x="350" y="26"/>
                  </a:cubicBezTo>
                  <a:cubicBezTo>
                    <a:pt x="336" y="19"/>
                    <a:pt x="341" y="10"/>
                    <a:pt x="325" y="7"/>
                  </a:cubicBezTo>
                  <a:cubicBezTo>
                    <a:pt x="309" y="4"/>
                    <a:pt x="288" y="14"/>
                    <a:pt x="288" y="14"/>
                  </a:cubicBezTo>
                  <a:cubicBezTo>
                    <a:pt x="288" y="14"/>
                    <a:pt x="273" y="7"/>
                    <a:pt x="262" y="11"/>
                  </a:cubicBezTo>
                  <a:cubicBezTo>
                    <a:pt x="251" y="15"/>
                    <a:pt x="243" y="30"/>
                    <a:pt x="243" y="30"/>
                  </a:cubicBezTo>
                  <a:cubicBezTo>
                    <a:pt x="243" y="30"/>
                    <a:pt x="231" y="28"/>
                    <a:pt x="227" y="30"/>
                  </a:cubicBezTo>
                  <a:cubicBezTo>
                    <a:pt x="223" y="32"/>
                    <a:pt x="210" y="43"/>
                    <a:pt x="210" y="43"/>
                  </a:cubicBezTo>
                  <a:cubicBezTo>
                    <a:pt x="210" y="43"/>
                    <a:pt x="176" y="29"/>
                    <a:pt x="170" y="29"/>
                  </a:cubicBezTo>
                  <a:cubicBezTo>
                    <a:pt x="164" y="29"/>
                    <a:pt x="153" y="32"/>
                    <a:pt x="140" y="29"/>
                  </a:cubicBezTo>
                  <a:cubicBezTo>
                    <a:pt x="127" y="26"/>
                    <a:pt x="125" y="14"/>
                    <a:pt x="112" y="13"/>
                  </a:cubicBezTo>
                  <a:cubicBezTo>
                    <a:pt x="99" y="12"/>
                    <a:pt x="89" y="12"/>
                    <a:pt x="89" y="12"/>
                  </a:cubicBezTo>
                  <a:cubicBezTo>
                    <a:pt x="89" y="12"/>
                    <a:pt x="69" y="1"/>
                    <a:pt x="60" y="1"/>
                  </a:cubicBezTo>
                  <a:cubicBezTo>
                    <a:pt x="51" y="1"/>
                    <a:pt x="46" y="15"/>
                    <a:pt x="31" y="6"/>
                  </a:cubicBezTo>
                  <a:cubicBezTo>
                    <a:pt x="28" y="4"/>
                    <a:pt x="26" y="2"/>
                    <a:pt x="24" y="0"/>
                  </a:cubicBezTo>
                  <a:cubicBezTo>
                    <a:pt x="21" y="4"/>
                    <a:pt x="15" y="11"/>
                    <a:pt x="11" y="13"/>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74" name="Cameroon">
              <a:extLst>
                <a:ext uri="{FF2B5EF4-FFF2-40B4-BE49-F238E27FC236}">
                  <a16:creationId xmlns:a16="http://schemas.microsoft.com/office/drawing/2014/main" id="{2EA07B5E-5289-4246-AB0C-FC7EE0BA09AD}"/>
                </a:ext>
              </a:extLst>
            </p:cNvPr>
            <p:cNvSpPr>
              <a:spLocks/>
            </p:cNvSpPr>
            <p:nvPr/>
          </p:nvSpPr>
          <p:spPr bwMode="gray">
            <a:xfrm>
              <a:off x="5594411" y="2998457"/>
              <a:ext cx="451054" cy="764096"/>
            </a:xfrm>
            <a:custGeom>
              <a:avLst/>
              <a:gdLst>
                <a:gd name="T0" fmla="*/ 275 w 363"/>
                <a:gd name="T1" fmla="*/ 0 h 614"/>
                <a:gd name="T2" fmla="*/ 263 w 363"/>
                <a:gd name="T3" fmla="*/ 43 h 614"/>
                <a:gd name="T4" fmla="*/ 282 w 363"/>
                <a:gd name="T5" fmla="*/ 70 h 614"/>
                <a:gd name="T6" fmla="*/ 256 w 363"/>
                <a:gd name="T7" fmla="*/ 100 h 614"/>
                <a:gd name="T8" fmla="*/ 236 w 363"/>
                <a:gd name="T9" fmla="*/ 136 h 614"/>
                <a:gd name="T10" fmla="*/ 227 w 363"/>
                <a:gd name="T11" fmla="*/ 159 h 614"/>
                <a:gd name="T12" fmla="*/ 207 w 363"/>
                <a:gd name="T13" fmla="*/ 198 h 614"/>
                <a:gd name="T14" fmla="*/ 181 w 363"/>
                <a:gd name="T15" fmla="*/ 250 h 614"/>
                <a:gd name="T16" fmla="*/ 157 w 363"/>
                <a:gd name="T17" fmla="*/ 302 h 614"/>
                <a:gd name="T18" fmla="*/ 140 w 363"/>
                <a:gd name="T19" fmla="*/ 337 h 614"/>
                <a:gd name="T20" fmla="*/ 119 w 363"/>
                <a:gd name="T21" fmla="*/ 342 h 614"/>
                <a:gd name="T22" fmla="*/ 95 w 363"/>
                <a:gd name="T23" fmla="*/ 334 h 614"/>
                <a:gd name="T24" fmla="*/ 56 w 363"/>
                <a:gd name="T25" fmla="*/ 353 h 614"/>
                <a:gd name="T26" fmla="*/ 13 w 363"/>
                <a:gd name="T27" fmla="*/ 428 h 614"/>
                <a:gd name="T28" fmla="*/ 4 w 363"/>
                <a:gd name="T29" fmla="*/ 449 h 614"/>
                <a:gd name="T30" fmla="*/ 18 w 363"/>
                <a:gd name="T31" fmla="*/ 455 h 614"/>
                <a:gd name="T32" fmla="*/ 44 w 363"/>
                <a:gd name="T33" fmla="*/ 497 h 614"/>
                <a:gd name="T34" fmla="*/ 45 w 363"/>
                <a:gd name="T35" fmla="*/ 504 h 614"/>
                <a:gd name="T36" fmla="*/ 70 w 363"/>
                <a:gd name="T37" fmla="*/ 527 h 614"/>
                <a:gd name="T38" fmla="*/ 61 w 363"/>
                <a:gd name="T39" fmla="*/ 559 h 614"/>
                <a:gd name="T40" fmla="*/ 68 w 363"/>
                <a:gd name="T41" fmla="*/ 586 h 614"/>
                <a:gd name="T42" fmla="*/ 144 w 363"/>
                <a:gd name="T43" fmla="*/ 576 h 614"/>
                <a:gd name="T44" fmla="*/ 175 w 363"/>
                <a:gd name="T45" fmla="*/ 585 h 614"/>
                <a:gd name="T46" fmla="*/ 195 w 363"/>
                <a:gd name="T47" fmla="*/ 581 h 614"/>
                <a:gd name="T48" fmla="*/ 227 w 363"/>
                <a:gd name="T49" fmla="*/ 590 h 614"/>
                <a:gd name="T50" fmla="*/ 320 w 363"/>
                <a:gd name="T51" fmla="*/ 600 h 614"/>
                <a:gd name="T52" fmla="*/ 358 w 363"/>
                <a:gd name="T53" fmla="*/ 614 h 614"/>
                <a:gd name="T54" fmla="*/ 363 w 363"/>
                <a:gd name="T55" fmla="*/ 581 h 614"/>
                <a:gd name="T56" fmla="*/ 358 w 363"/>
                <a:gd name="T57" fmla="*/ 556 h 614"/>
                <a:gd name="T58" fmla="*/ 332 w 363"/>
                <a:gd name="T59" fmla="*/ 526 h 614"/>
                <a:gd name="T60" fmla="*/ 313 w 363"/>
                <a:gd name="T61" fmla="*/ 472 h 614"/>
                <a:gd name="T62" fmla="*/ 294 w 363"/>
                <a:gd name="T63" fmla="*/ 427 h 614"/>
                <a:gd name="T64" fmla="*/ 289 w 363"/>
                <a:gd name="T65" fmla="*/ 412 h 614"/>
                <a:gd name="T66" fmla="*/ 276 w 363"/>
                <a:gd name="T67" fmla="*/ 378 h 614"/>
                <a:gd name="T68" fmla="*/ 304 w 363"/>
                <a:gd name="T69" fmla="*/ 338 h 614"/>
                <a:gd name="T70" fmla="*/ 312 w 363"/>
                <a:gd name="T71" fmla="*/ 318 h 614"/>
                <a:gd name="T72" fmla="*/ 317 w 363"/>
                <a:gd name="T73" fmla="*/ 243 h 614"/>
                <a:gd name="T74" fmla="*/ 261 w 363"/>
                <a:gd name="T75" fmla="*/ 174 h 614"/>
                <a:gd name="T76" fmla="*/ 336 w 363"/>
                <a:gd name="T77" fmla="*/ 165 h 614"/>
                <a:gd name="T78" fmla="*/ 304 w 363"/>
                <a:gd name="T79" fmla="*/ 91 h 614"/>
                <a:gd name="T80" fmla="*/ 296 w 363"/>
                <a:gd name="T81" fmla="*/ 52 h 614"/>
                <a:gd name="T82" fmla="*/ 280 w 363"/>
                <a:gd name="T83" fmla="*/ 17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3" h="614">
                  <a:moveTo>
                    <a:pt x="280" y="17"/>
                  </a:moveTo>
                  <a:cubicBezTo>
                    <a:pt x="276" y="12"/>
                    <a:pt x="275" y="0"/>
                    <a:pt x="275" y="0"/>
                  </a:cubicBezTo>
                  <a:cubicBezTo>
                    <a:pt x="259" y="2"/>
                    <a:pt x="259" y="2"/>
                    <a:pt x="259" y="2"/>
                  </a:cubicBezTo>
                  <a:cubicBezTo>
                    <a:pt x="260" y="11"/>
                    <a:pt x="261" y="40"/>
                    <a:pt x="263" y="43"/>
                  </a:cubicBezTo>
                  <a:cubicBezTo>
                    <a:pt x="265" y="46"/>
                    <a:pt x="284" y="35"/>
                    <a:pt x="285" y="46"/>
                  </a:cubicBezTo>
                  <a:cubicBezTo>
                    <a:pt x="286" y="57"/>
                    <a:pt x="282" y="70"/>
                    <a:pt x="282" y="70"/>
                  </a:cubicBezTo>
                  <a:cubicBezTo>
                    <a:pt x="282" y="70"/>
                    <a:pt x="290" y="79"/>
                    <a:pt x="280" y="88"/>
                  </a:cubicBezTo>
                  <a:cubicBezTo>
                    <a:pt x="270" y="97"/>
                    <a:pt x="256" y="100"/>
                    <a:pt x="256" y="100"/>
                  </a:cubicBezTo>
                  <a:cubicBezTo>
                    <a:pt x="256" y="100"/>
                    <a:pt x="248" y="117"/>
                    <a:pt x="247" y="120"/>
                  </a:cubicBezTo>
                  <a:cubicBezTo>
                    <a:pt x="246" y="123"/>
                    <a:pt x="236" y="136"/>
                    <a:pt x="236" y="136"/>
                  </a:cubicBezTo>
                  <a:cubicBezTo>
                    <a:pt x="234" y="155"/>
                    <a:pt x="234" y="155"/>
                    <a:pt x="234" y="155"/>
                  </a:cubicBezTo>
                  <a:cubicBezTo>
                    <a:pt x="227" y="159"/>
                    <a:pt x="227" y="159"/>
                    <a:pt x="227" y="159"/>
                  </a:cubicBezTo>
                  <a:cubicBezTo>
                    <a:pt x="227" y="159"/>
                    <a:pt x="229" y="180"/>
                    <a:pt x="224" y="189"/>
                  </a:cubicBezTo>
                  <a:cubicBezTo>
                    <a:pt x="219" y="198"/>
                    <a:pt x="209" y="191"/>
                    <a:pt x="207" y="198"/>
                  </a:cubicBezTo>
                  <a:cubicBezTo>
                    <a:pt x="205" y="205"/>
                    <a:pt x="210" y="223"/>
                    <a:pt x="205" y="233"/>
                  </a:cubicBezTo>
                  <a:cubicBezTo>
                    <a:pt x="200" y="243"/>
                    <a:pt x="181" y="250"/>
                    <a:pt x="181" y="250"/>
                  </a:cubicBezTo>
                  <a:cubicBezTo>
                    <a:pt x="173" y="282"/>
                    <a:pt x="173" y="282"/>
                    <a:pt x="173" y="282"/>
                  </a:cubicBezTo>
                  <a:cubicBezTo>
                    <a:pt x="157" y="302"/>
                    <a:pt x="157" y="302"/>
                    <a:pt x="157" y="302"/>
                  </a:cubicBezTo>
                  <a:cubicBezTo>
                    <a:pt x="157" y="302"/>
                    <a:pt x="161" y="316"/>
                    <a:pt x="156" y="322"/>
                  </a:cubicBezTo>
                  <a:cubicBezTo>
                    <a:pt x="151" y="328"/>
                    <a:pt x="140" y="337"/>
                    <a:pt x="140" y="337"/>
                  </a:cubicBezTo>
                  <a:cubicBezTo>
                    <a:pt x="140" y="337"/>
                    <a:pt x="140" y="358"/>
                    <a:pt x="128" y="358"/>
                  </a:cubicBezTo>
                  <a:cubicBezTo>
                    <a:pt x="116" y="358"/>
                    <a:pt x="119" y="342"/>
                    <a:pt x="119" y="342"/>
                  </a:cubicBezTo>
                  <a:cubicBezTo>
                    <a:pt x="119" y="342"/>
                    <a:pt x="105" y="318"/>
                    <a:pt x="98" y="318"/>
                  </a:cubicBezTo>
                  <a:cubicBezTo>
                    <a:pt x="91" y="318"/>
                    <a:pt x="104" y="332"/>
                    <a:pt x="95" y="334"/>
                  </a:cubicBezTo>
                  <a:cubicBezTo>
                    <a:pt x="86" y="336"/>
                    <a:pt x="78" y="323"/>
                    <a:pt x="72" y="328"/>
                  </a:cubicBezTo>
                  <a:cubicBezTo>
                    <a:pt x="66" y="333"/>
                    <a:pt x="56" y="353"/>
                    <a:pt x="56" y="353"/>
                  </a:cubicBezTo>
                  <a:cubicBezTo>
                    <a:pt x="13" y="390"/>
                    <a:pt x="13" y="390"/>
                    <a:pt x="13" y="390"/>
                  </a:cubicBezTo>
                  <a:cubicBezTo>
                    <a:pt x="13" y="390"/>
                    <a:pt x="15" y="422"/>
                    <a:pt x="13" y="428"/>
                  </a:cubicBezTo>
                  <a:cubicBezTo>
                    <a:pt x="11" y="434"/>
                    <a:pt x="4" y="449"/>
                    <a:pt x="4" y="449"/>
                  </a:cubicBezTo>
                  <a:cubicBezTo>
                    <a:pt x="4" y="449"/>
                    <a:pt x="4" y="449"/>
                    <a:pt x="4" y="449"/>
                  </a:cubicBezTo>
                  <a:cubicBezTo>
                    <a:pt x="0" y="458"/>
                    <a:pt x="0" y="458"/>
                    <a:pt x="0" y="458"/>
                  </a:cubicBezTo>
                  <a:cubicBezTo>
                    <a:pt x="18" y="455"/>
                    <a:pt x="18" y="455"/>
                    <a:pt x="18" y="455"/>
                  </a:cubicBezTo>
                  <a:cubicBezTo>
                    <a:pt x="18" y="455"/>
                    <a:pt x="17" y="477"/>
                    <a:pt x="27" y="486"/>
                  </a:cubicBezTo>
                  <a:cubicBezTo>
                    <a:pt x="37" y="495"/>
                    <a:pt x="44" y="497"/>
                    <a:pt x="44" y="497"/>
                  </a:cubicBezTo>
                  <a:cubicBezTo>
                    <a:pt x="58" y="484"/>
                    <a:pt x="58" y="484"/>
                    <a:pt x="58" y="484"/>
                  </a:cubicBezTo>
                  <a:cubicBezTo>
                    <a:pt x="45" y="504"/>
                    <a:pt x="45" y="504"/>
                    <a:pt x="45" y="504"/>
                  </a:cubicBezTo>
                  <a:cubicBezTo>
                    <a:pt x="57" y="522"/>
                    <a:pt x="57" y="522"/>
                    <a:pt x="57" y="522"/>
                  </a:cubicBezTo>
                  <a:cubicBezTo>
                    <a:pt x="70" y="527"/>
                    <a:pt x="70" y="527"/>
                    <a:pt x="70" y="527"/>
                  </a:cubicBezTo>
                  <a:cubicBezTo>
                    <a:pt x="68" y="557"/>
                    <a:pt x="68" y="557"/>
                    <a:pt x="68" y="557"/>
                  </a:cubicBezTo>
                  <a:cubicBezTo>
                    <a:pt x="61" y="559"/>
                    <a:pt x="61" y="559"/>
                    <a:pt x="61" y="559"/>
                  </a:cubicBezTo>
                  <a:cubicBezTo>
                    <a:pt x="62" y="580"/>
                    <a:pt x="62" y="580"/>
                    <a:pt x="62" y="580"/>
                  </a:cubicBezTo>
                  <a:cubicBezTo>
                    <a:pt x="68" y="586"/>
                    <a:pt x="68" y="586"/>
                    <a:pt x="68" y="586"/>
                  </a:cubicBezTo>
                  <a:cubicBezTo>
                    <a:pt x="132" y="586"/>
                    <a:pt x="132" y="586"/>
                    <a:pt x="132" y="586"/>
                  </a:cubicBezTo>
                  <a:cubicBezTo>
                    <a:pt x="144" y="576"/>
                    <a:pt x="144" y="576"/>
                    <a:pt x="144" y="576"/>
                  </a:cubicBezTo>
                  <a:cubicBezTo>
                    <a:pt x="154" y="585"/>
                    <a:pt x="154" y="585"/>
                    <a:pt x="154" y="585"/>
                  </a:cubicBezTo>
                  <a:cubicBezTo>
                    <a:pt x="175" y="585"/>
                    <a:pt x="175" y="585"/>
                    <a:pt x="175" y="585"/>
                  </a:cubicBezTo>
                  <a:cubicBezTo>
                    <a:pt x="175" y="585"/>
                    <a:pt x="180" y="577"/>
                    <a:pt x="184" y="577"/>
                  </a:cubicBezTo>
                  <a:cubicBezTo>
                    <a:pt x="188" y="577"/>
                    <a:pt x="195" y="581"/>
                    <a:pt x="195" y="581"/>
                  </a:cubicBezTo>
                  <a:cubicBezTo>
                    <a:pt x="227" y="580"/>
                    <a:pt x="227" y="580"/>
                    <a:pt x="227" y="580"/>
                  </a:cubicBezTo>
                  <a:cubicBezTo>
                    <a:pt x="227" y="590"/>
                    <a:pt x="227" y="590"/>
                    <a:pt x="227" y="590"/>
                  </a:cubicBezTo>
                  <a:cubicBezTo>
                    <a:pt x="227" y="590"/>
                    <a:pt x="282" y="587"/>
                    <a:pt x="287" y="587"/>
                  </a:cubicBezTo>
                  <a:cubicBezTo>
                    <a:pt x="292" y="587"/>
                    <a:pt x="320" y="600"/>
                    <a:pt x="320" y="600"/>
                  </a:cubicBezTo>
                  <a:cubicBezTo>
                    <a:pt x="340" y="599"/>
                    <a:pt x="340" y="599"/>
                    <a:pt x="340" y="599"/>
                  </a:cubicBezTo>
                  <a:cubicBezTo>
                    <a:pt x="358" y="614"/>
                    <a:pt x="358" y="614"/>
                    <a:pt x="358" y="614"/>
                  </a:cubicBezTo>
                  <a:cubicBezTo>
                    <a:pt x="359" y="587"/>
                    <a:pt x="359" y="587"/>
                    <a:pt x="359" y="587"/>
                  </a:cubicBezTo>
                  <a:cubicBezTo>
                    <a:pt x="363" y="581"/>
                    <a:pt x="363" y="581"/>
                    <a:pt x="363" y="581"/>
                  </a:cubicBezTo>
                  <a:cubicBezTo>
                    <a:pt x="358" y="575"/>
                    <a:pt x="358" y="575"/>
                    <a:pt x="358" y="575"/>
                  </a:cubicBezTo>
                  <a:cubicBezTo>
                    <a:pt x="358" y="556"/>
                    <a:pt x="358" y="556"/>
                    <a:pt x="358" y="556"/>
                  </a:cubicBezTo>
                  <a:cubicBezTo>
                    <a:pt x="354" y="542"/>
                    <a:pt x="354" y="542"/>
                    <a:pt x="354" y="542"/>
                  </a:cubicBezTo>
                  <a:cubicBezTo>
                    <a:pt x="354" y="542"/>
                    <a:pt x="342" y="534"/>
                    <a:pt x="332" y="526"/>
                  </a:cubicBezTo>
                  <a:cubicBezTo>
                    <a:pt x="322" y="518"/>
                    <a:pt x="311" y="495"/>
                    <a:pt x="311" y="495"/>
                  </a:cubicBezTo>
                  <a:cubicBezTo>
                    <a:pt x="311" y="495"/>
                    <a:pt x="315" y="475"/>
                    <a:pt x="313" y="472"/>
                  </a:cubicBezTo>
                  <a:cubicBezTo>
                    <a:pt x="311" y="469"/>
                    <a:pt x="294" y="458"/>
                    <a:pt x="294" y="458"/>
                  </a:cubicBezTo>
                  <a:cubicBezTo>
                    <a:pt x="294" y="427"/>
                    <a:pt x="294" y="427"/>
                    <a:pt x="294" y="427"/>
                  </a:cubicBezTo>
                  <a:cubicBezTo>
                    <a:pt x="282" y="420"/>
                    <a:pt x="282" y="420"/>
                    <a:pt x="282" y="420"/>
                  </a:cubicBezTo>
                  <a:cubicBezTo>
                    <a:pt x="289" y="412"/>
                    <a:pt x="289" y="412"/>
                    <a:pt x="289" y="412"/>
                  </a:cubicBezTo>
                  <a:cubicBezTo>
                    <a:pt x="290" y="387"/>
                    <a:pt x="290" y="387"/>
                    <a:pt x="290" y="387"/>
                  </a:cubicBezTo>
                  <a:cubicBezTo>
                    <a:pt x="290" y="387"/>
                    <a:pt x="275" y="386"/>
                    <a:pt x="276" y="378"/>
                  </a:cubicBezTo>
                  <a:cubicBezTo>
                    <a:pt x="277" y="370"/>
                    <a:pt x="299" y="363"/>
                    <a:pt x="299" y="363"/>
                  </a:cubicBezTo>
                  <a:cubicBezTo>
                    <a:pt x="304" y="338"/>
                    <a:pt x="304" y="338"/>
                    <a:pt x="304" y="338"/>
                  </a:cubicBezTo>
                  <a:cubicBezTo>
                    <a:pt x="310" y="338"/>
                    <a:pt x="310" y="338"/>
                    <a:pt x="310" y="338"/>
                  </a:cubicBezTo>
                  <a:cubicBezTo>
                    <a:pt x="310" y="338"/>
                    <a:pt x="311" y="326"/>
                    <a:pt x="312" y="318"/>
                  </a:cubicBezTo>
                  <a:cubicBezTo>
                    <a:pt x="313" y="310"/>
                    <a:pt x="331" y="300"/>
                    <a:pt x="331" y="300"/>
                  </a:cubicBezTo>
                  <a:cubicBezTo>
                    <a:pt x="331" y="300"/>
                    <a:pt x="326" y="253"/>
                    <a:pt x="317" y="243"/>
                  </a:cubicBezTo>
                  <a:cubicBezTo>
                    <a:pt x="308" y="233"/>
                    <a:pt x="287" y="224"/>
                    <a:pt x="279" y="216"/>
                  </a:cubicBezTo>
                  <a:cubicBezTo>
                    <a:pt x="271" y="208"/>
                    <a:pt x="256" y="187"/>
                    <a:pt x="261" y="174"/>
                  </a:cubicBezTo>
                  <a:cubicBezTo>
                    <a:pt x="266" y="161"/>
                    <a:pt x="306" y="168"/>
                    <a:pt x="314" y="167"/>
                  </a:cubicBezTo>
                  <a:cubicBezTo>
                    <a:pt x="322" y="166"/>
                    <a:pt x="336" y="165"/>
                    <a:pt x="336" y="165"/>
                  </a:cubicBezTo>
                  <a:cubicBezTo>
                    <a:pt x="336" y="165"/>
                    <a:pt x="315" y="147"/>
                    <a:pt x="310" y="133"/>
                  </a:cubicBezTo>
                  <a:cubicBezTo>
                    <a:pt x="305" y="119"/>
                    <a:pt x="304" y="91"/>
                    <a:pt x="304" y="91"/>
                  </a:cubicBezTo>
                  <a:cubicBezTo>
                    <a:pt x="304" y="91"/>
                    <a:pt x="310" y="81"/>
                    <a:pt x="310" y="70"/>
                  </a:cubicBezTo>
                  <a:cubicBezTo>
                    <a:pt x="310" y="59"/>
                    <a:pt x="296" y="52"/>
                    <a:pt x="296" y="52"/>
                  </a:cubicBezTo>
                  <a:cubicBezTo>
                    <a:pt x="300" y="25"/>
                    <a:pt x="300" y="25"/>
                    <a:pt x="300" y="25"/>
                  </a:cubicBezTo>
                  <a:cubicBezTo>
                    <a:pt x="300" y="25"/>
                    <a:pt x="284" y="22"/>
                    <a:pt x="280" y="17"/>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75" name="Morocco">
              <a:extLst>
                <a:ext uri="{FF2B5EF4-FFF2-40B4-BE49-F238E27FC236}">
                  <a16:creationId xmlns:a16="http://schemas.microsoft.com/office/drawing/2014/main" id="{0273A8BE-5105-4923-8E2C-147A71E4FDC0}"/>
                </a:ext>
              </a:extLst>
            </p:cNvPr>
            <p:cNvSpPr>
              <a:spLocks/>
            </p:cNvSpPr>
            <p:nvPr/>
          </p:nvSpPr>
          <p:spPr bwMode="gray">
            <a:xfrm>
              <a:off x="4361057" y="1484357"/>
              <a:ext cx="701251" cy="542260"/>
            </a:xfrm>
            <a:custGeom>
              <a:avLst/>
              <a:gdLst>
                <a:gd name="T0" fmla="*/ 547 w 565"/>
                <a:gd name="T1" fmla="*/ 165 h 438"/>
                <a:gd name="T2" fmla="*/ 550 w 565"/>
                <a:gd name="T3" fmla="*/ 145 h 438"/>
                <a:gd name="T4" fmla="*/ 536 w 565"/>
                <a:gd name="T5" fmla="*/ 145 h 438"/>
                <a:gd name="T6" fmla="*/ 543 w 565"/>
                <a:gd name="T7" fmla="*/ 124 h 438"/>
                <a:gd name="T8" fmla="*/ 537 w 565"/>
                <a:gd name="T9" fmla="*/ 113 h 438"/>
                <a:gd name="T10" fmla="*/ 540 w 565"/>
                <a:gd name="T11" fmla="*/ 68 h 438"/>
                <a:gd name="T12" fmla="*/ 532 w 565"/>
                <a:gd name="T13" fmla="*/ 68 h 438"/>
                <a:gd name="T14" fmla="*/ 536 w 565"/>
                <a:gd name="T15" fmla="*/ 56 h 438"/>
                <a:gd name="T16" fmla="*/ 521 w 565"/>
                <a:gd name="T17" fmla="*/ 39 h 438"/>
                <a:gd name="T18" fmla="*/ 487 w 565"/>
                <a:gd name="T19" fmla="*/ 26 h 438"/>
                <a:gd name="T20" fmla="*/ 470 w 565"/>
                <a:gd name="T21" fmla="*/ 34 h 438"/>
                <a:gd name="T22" fmla="*/ 439 w 565"/>
                <a:gd name="T23" fmla="*/ 29 h 438"/>
                <a:gd name="T24" fmla="*/ 408 w 565"/>
                <a:gd name="T25" fmla="*/ 33 h 438"/>
                <a:gd name="T26" fmla="*/ 374 w 565"/>
                <a:gd name="T27" fmla="*/ 2 h 438"/>
                <a:gd name="T28" fmla="*/ 354 w 565"/>
                <a:gd name="T29" fmla="*/ 0 h 438"/>
                <a:gd name="T30" fmla="*/ 337 w 565"/>
                <a:gd name="T31" fmla="*/ 48 h 438"/>
                <a:gd name="T32" fmla="*/ 300 w 565"/>
                <a:gd name="T33" fmla="*/ 107 h 438"/>
                <a:gd name="T34" fmla="*/ 267 w 565"/>
                <a:gd name="T35" fmla="*/ 116 h 438"/>
                <a:gd name="T36" fmla="*/ 251 w 565"/>
                <a:gd name="T37" fmla="*/ 131 h 438"/>
                <a:gd name="T38" fmla="*/ 239 w 565"/>
                <a:gd name="T39" fmla="*/ 128 h 438"/>
                <a:gd name="T40" fmla="*/ 222 w 565"/>
                <a:gd name="T41" fmla="*/ 137 h 438"/>
                <a:gd name="T42" fmla="*/ 211 w 565"/>
                <a:gd name="T43" fmla="*/ 158 h 438"/>
                <a:gd name="T44" fmla="*/ 191 w 565"/>
                <a:gd name="T45" fmla="*/ 174 h 438"/>
                <a:gd name="T46" fmla="*/ 188 w 565"/>
                <a:gd name="T47" fmla="*/ 199 h 438"/>
                <a:gd name="T48" fmla="*/ 165 w 565"/>
                <a:gd name="T49" fmla="*/ 244 h 438"/>
                <a:gd name="T50" fmla="*/ 166 w 565"/>
                <a:gd name="T51" fmla="*/ 269 h 438"/>
                <a:gd name="T52" fmla="*/ 158 w 565"/>
                <a:gd name="T53" fmla="*/ 276 h 438"/>
                <a:gd name="T54" fmla="*/ 170 w 565"/>
                <a:gd name="T55" fmla="*/ 292 h 438"/>
                <a:gd name="T56" fmla="*/ 169 w 565"/>
                <a:gd name="T57" fmla="*/ 316 h 438"/>
                <a:gd name="T58" fmla="*/ 154 w 565"/>
                <a:gd name="T59" fmla="*/ 321 h 438"/>
                <a:gd name="T60" fmla="*/ 130 w 565"/>
                <a:gd name="T61" fmla="*/ 359 h 438"/>
                <a:gd name="T62" fmla="*/ 101 w 565"/>
                <a:gd name="T63" fmla="*/ 376 h 438"/>
                <a:gd name="T64" fmla="*/ 80 w 565"/>
                <a:gd name="T65" fmla="*/ 404 h 438"/>
                <a:gd name="T66" fmla="*/ 32 w 565"/>
                <a:gd name="T67" fmla="*/ 421 h 438"/>
                <a:gd name="T68" fmla="*/ 9 w 565"/>
                <a:gd name="T69" fmla="*/ 423 h 438"/>
                <a:gd name="T70" fmla="*/ 0 w 565"/>
                <a:gd name="T71" fmla="*/ 438 h 438"/>
                <a:gd name="T72" fmla="*/ 207 w 565"/>
                <a:gd name="T73" fmla="*/ 438 h 438"/>
                <a:gd name="T74" fmla="*/ 209 w 565"/>
                <a:gd name="T75" fmla="*/ 399 h 438"/>
                <a:gd name="T76" fmla="*/ 212 w 565"/>
                <a:gd name="T77" fmla="*/ 381 h 438"/>
                <a:gd name="T78" fmla="*/ 232 w 565"/>
                <a:gd name="T79" fmla="*/ 369 h 438"/>
                <a:gd name="T80" fmla="*/ 253 w 565"/>
                <a:gd name="T81" fmla="*/ 344 h 438"/>
                <a:gd name="T82" fmla="*/ 265 w 565"/>
                <a:gd name="T83" fmla="*/ 345 h 438"/>
                <a:gd name="T84" fmla="*/ 283 w 565"/>
                <a:gd name="T85" fmla="*/ 331 h 438"/>
                <a:gd name="T86" fmla="*/ 302 w 565"/>
                <a:gd name="T87" fmla="*/ 339 h 438"/>
                <a:gd name="T88" fmla="*/ 308 w 565"/>
                <a:gd name="T89" fmla="*/ 326 h 438"/>
                <a:gd name="T90" fmla="*/ 326 w 565"/>
                <a:gd name="T91" fmla="*/ 325 h 438"/>
                <a:gd name="T92" fmla="*/ 327 w 565"/>
                <a:gd name="T93" fmla="*/ 317 h 438"/>
                <a:gd name="T94" fmla="*/ 361 w 565"/>
                <a:gd name="T95" fmla="*/ 318 h 438"/>
                <a:gd name="T96" fmla="*/ 384 w 565"/>
                <a:gd name="T97" fmla="*/ 284 h 438"/>
                <a:gd name="T98" fmla="*/ 414 w 565"/>
                <a:gd name="T99" fmla="*/ 283 h 438"/>
                <a:gd name="T100" fmla="*/ 432 w 565"/>
                <a:gd name="T101" fmla="*/ 264 h 438"/>
                <a:gd name="T102" fmla="*/ 449 w 565"/>
                <a:gd name="T103" fmla="*/ 257 h 438"/>
                <a:gd name="T104" fmla="*/ 439 w 565"/>
                <a:gd name="T105" fmla="*/ 245 h 438"/>
                <a:gd name="T106" fmla="*/ 438 w 565"/>
                <a:gd name="T107" fmla="*/ 221 h 438"/>
                <a:gd name="T108" fmla="*/ 475 w 565"/>
                <a:gd name="T109" fmla="*/ 215 h 438"/>
                <a:gd name="T110" fmla="*/ 480 w 565"/>
                <a:gd name="T111" fmla="*/ 200 h 438"/>
                <a:gd name="T112" fmla="*/ 493 w 565"/>
                <a:gd name="T113" fmla="*/ 202 h 438"/>
                <a:gd name="T114" fmla="*/ 501 w 565"/>
                <a:gd name="T115" fmla="*/ 195 h 438"/>
                <a:gd name="T116" fmla="*/ 515 w 565"/>
                <a:gd name="T117" fmla="*/ 201 h 438"/>
                <a:gd name="T118" fmla="*/ 553 w 565"/>
                <a:gd name="T119" fmla="*/ 196 h 438"/>
                <a:gd name="T120" fmla="*/ 554 w 565"/>
                <a:gd name="T121" fmla="*/ 186 h 438"/>
                <a:gd name="T122" fmla="*/ 565 w 565"/>
                <a:gd name="T123" fmla="*/ 177 h 438"/>
                <a:gd name="T124" fmla="*/ 547 w 565"/>
                <a:gd name="T125" fmla="*/ 165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5" h="438">
                  <a:moveTo>
                    <a:pt x="547" y="165"/>
                  </a:moveTo>
                  <a:cubicBezTo>
                    <a:pt x="550" y="145"/>
                    <a:pt x="550" y="145"/>
                    <a:pt x="550" y="145"/>
                  </a:cubicBezTo>
                  <a:cubicBezTo>
                    <a:pt x="536" y="145"/>
                    <a:pt x="536" y="145"/>
                    <a:pt x="536" y="145"/>
                  </a:cubicBezTo>
                  <a:cubicBezTo>
                    <a:pt x="543" y="124"/>
                    <a:pt x="543" y="124"/>
                    <a:pt x="543" y="124"/>
                  </a:cubicBezTo>
                  <a:cubicBezTo>
                    <a:pt x="537" y="113"/>
                    <a:pt x="537" y="113"/>
                    <a:pt x="537" y="113"/>
                  </a:cubicBezTo>
                  <a:cubicBezTo>
                    <a:pt x="540" y="68"/>
                    <a:pt x="540" y="68"/>
                    <a:pt x="540" y="68"/>
                  </a:cubicBezTo>
                  <a:cubicBezTo>
                    <a:pt x="532" y="68"/>
                    <a:pt x="532" y="68"/>
                    <a:pt x="532" y="68"/>
                  </a:cubicBezTo>
                  <a:cubicBezTo>
                    <a:pt x="532" y="68"/>
                    <a:pt x="536" y="57"/>
                    <a:pt x="536" y="56"/>
                  </a:cubicBezTo>
                  <a:cubicBezTo>
                    <a:pt x="526" y="52"/>
                    <a:pt x="522" y="43"/>
                    <a:pt x="521" y="39"/>
                  </a:cubicBezTo>
                  <a:cubicBezTo>
                    <a:pt x="508" y="36"/>
                    <a:pt x="496" y="26"/>
                    <a:pt x="487" y="26"/>
                  </a:cubicBezTo>
                  <a:cubicBezTo>
                    <a:pt x="477" y="26"/>
                    <a:pt x="470" y="34"/>
                    <a:pt x="470" y="34"/>
                  </a:cubicBezTo>
                  <a:cubicBezTo>
                    <a:pt x="470" y="34"/>
                    <a:pt x="447" y="29"/>
                    <a:pt x="439" y="29"/>
                  </a:cubicBezTo>
                  <a:cubicBezTo>
                    <a:pt x="431" y="29"/>
                    <a:pt x="423" y="38"/>
                    <a:pt x="408" y="33"/>
                  </a:cubicBezTo>
                  <a:cubicBezTo>
                    <a:pt x="393" y="28"/>
                    <a:pt x="378" y="4"/>
                    <a:pt x="374" y="2"/>
                  </a:cubicBezTo>
                  <a:cubicBezTo>
                    <a:pt x="370" y="0"/>
                    <a:pt x="354" y="0"/>
                    <a:pt x="354" y="0"/>
                  </a:cubicBezTo>
                  <a:cubicBezTo>
                    <a:pt x="354" y="0"/>
                    <a:pt x="343" y="35"/>
                    <a:pt x="337" y="48"/>
                  </a:cubicBezTo>
                  <a:cubicBezTo>
                    <a:pt x="331" y="61"/>
                    <a:pt x="312" y="98"/>
                    <a:pt x="300" y="107"/>
                  </a:cubicBezTo>
                  <a:cubicBezTo>
                    <a:pt x="288" y="116"/>
                    <a:pt x="272" y="112"/>
                    <a:pt x="267" y="116"/>
                  </a:cubicBezTo>
                  <a:cubicBezTo>
                    <a:pt x="262" y="120"/>
                    <a:pt x="251" y="131"/>
                    <a:pt x="251" y="131"/>
                  </a:cubicBezTo>
                  <a:cubicBezTo>
                    <a:pt x="239" y="128"/>
                    <a:pt x="239" y="128"/>
                    <a:pt x="239" y="128"/>
                  </a:cubicBezTo>
                  <a:cubicBezTo>
                    <a:pt x="222" y="137"/>
                    <a:pt x="222" y="137"/>
                    <a:pt x="222" y="137"/>
                  </a:cubicBezTo>
                  <a:cubicBezTo>
                    <a:pt x="222" y="137"/>
                    <a:pt x="217" y="150"/>
                    <a:pt x="211" y="158"/>
                  </a:cubicBezTo>
                  <a:cubicBezTo>
                    <a:pt x="211" y="158"/>
                    <a:pt x="191" y="170"/>
                    <a:pt x="191" y="174"/>
                  </a:cubicBezTo>
                  <a:cubicBezTo>
                    <a:pt x="191" y="178"/>
                    <a:pt x="195" y="192"/>
                    <a:pt x="188" y="199"/>
                  </a:cubicBezTo>
                  <a:cubicBezTo>
                    <a:pt x="181" y="206"/>
                    <a:pt x="164" y="230"/>
                    <a:pt x="165" y="244"/>
                  </a:cubicBezTo>
                  <a:cubicBezTo>
                    <a:pt x="166" y="258"/>
                    <a:pt x="166" y="269"/>
                    <a:pt x="166" y="269"/>
                  </a:cubicBezTo>
                  <a:cubicBezTo>
                    <a:pt x="166" y="269"/>
                    <a:pt x="158" y="273"/>
                    <a:pt x="158" y="276"/>
                  </a:cubicBezTo>
                  <a:cubicBezTo>
                    <a:pt x="158" y="279"/>
                    <a:pt x="173" y="277"/>
                    <a:pt x="170" y="292"/>
                  </a:cubicBezTo>
                  <a:cubicBezTo>
                    <a:pt x="167" y="307"/>
                    <a:pt x="169" y="316"/>
                    <a:pt x="169" y="316"/>
                  </a:cubicBezTo>
                  <a:cubicBezTo>
                    <a:pt x="169" y="316"/>
                    <a:pt x="163" y="310"/>
                    <a:pt x="154" y="321"/>
                  </a:cubicBezTo>
                  <a:cubicBezTo>
                    <a:pt x="145" y="332"/>
                    <a:pt x="138" y="348"/>
                    <a:pt x="130" y="359"/>
                  </a:cubicBezTo>
                  <a:cubicBezTo>
                    <a:pt x="122" y="370"/>
                    <a:pt x="108" y="366"/>
                    <a:pt x="101" y="376"/>
                  </a:cubicBezTo>
                  <a:cubicBezTo>
                    <a:pt x="94" y="386"/>
                    <a:pt x="86" y="398"/>
                    <a:pt x="80" y="404"/>
                  </a:cubicBezTo>
                  <a:cubicBezTo>
                    <a:pt x="74" y="410"/>
                    <a:pt x="36" y="420"/>
                    <a:pt x="32" y="421"/>
                  </a:cubicBezTo>
                  <a:cubicBezTo>
                    <a:pt x="28" y="422"/>
                    <a:pt x="9" y="423"/>
                    <a:pt x="9" y="423"/>
                  </a:cubicBezTo>
                  <a:cubicBezTo>
                    <a:pt x="9" y="423"/>
                    <a:pt x="4" y="429"/>
                    <a:pt x="0" y="438"/>
                  </a:cubicBezTo>
                  <a:cubicBezTo>
                    <a:pt x="207" y="438"/>
                    <a:pt x="207" y="438"/>
                    <a:pt x="207" y="438"/>
                  </a:cubicBezTo>
                  <a:cubicBezTo>
                    <a:pt x="209" y="399"/>
                    <a:pt x="209" y="399"/>
                    <a:pt x="209" y="399"/>
                  </a:cubicBezTo>
                  <a:cubicBezTo>
                    <a:pt x="212" y="381"/>
                    <a:pt x="212" y="381"/>
                    <a:pt x="212" y="381"/>
                  </a:cubicBezTo>
                  <a:cubicBezTo>
                    <a:pt x="212" y="381"/>
                    <a:pt x="225" y="374"/>
                    <a:pt x="232" y="369"/>
                  </a:cubicBezTo>
                  <a:cubicBezTo>
                    <a:pt x="239" y="364"/>
                    <a:pt x="253" y="344"/>
                    <a:pt x="253" y="344"/>
                  </a:cubicBezTo>
                  <a:cubicBezTo>
                    <a:pt x="265" y="345"/>
                    <a:pt x="265" y="345"/>
                    <a:pt x="265" y="345"/>
                  </a:cubicBezTo>
                  <a:cubicBezTo>
                    <a:pt x="283" y="331"/>
                    <a:pt x="283" y="331"/>
                    <a:pt x="283" y="331"/>
                  </a:cubicBezTo>
                  <a:cubicBezTo>
                    <a:pt x="283" y="331"/>
                    <a:pt x="296" y="340"/>
                    <a:pt x="302" y="339"/>
                  </a:cubicBezTo>
                  <a:cubicBezTo>
                    <a:pt x="308" y="338"/>
                    <a:pt x="308" y="326"/>
                    <a:pt x="308" y="326"/>
                  </a:cubicBezTo>
                  <a:cubicBezTo>
                    <a:pt x="326" y="325"/>
                    <a:pt x="326" y="325"/>
                    <a:pt x="326" y="325"/>
                  </a:cubicBezTo>
                  <a:cubicBezTo>
                    <a:pt x="327" y="317"/>
                    <a:pt x="327" y="317"/>
                    <a:pt x="327" y="317"/>
                  </a:cubicBezTo>
                  <a:cubicBezTo>
                    <a:pt x="327" y="317"/>
                    <a:pt x="353" y="321"/>
                    <a:pt x="361" y="318"/>
                  </a:cubicBezTo>
                  <a:cubicBezTo>
                    <a:pt x="369" y="315"/>
                    <a:pt x="384" y="284"/>
                    <a:pt x="384" y="284"/>
                  </a:cubicBezTo>
                  <a:cubicBezTo>
                    <a:pt x="384" y="284"/>
                    <a:pt x="408" y="283"/>
                    <a:pt x="414" y="283"/>
                  </a:cubicBezTo>
                  <a:cubicBezTo>
                    <a:pt x="420" y="283"/>
                    <a:pt x="432" y="264"/>
                    <a:pt x="432" y="264"/>
                  </a:cubicBezTo>
                  <a:cubicBezTo>
                    <a:pt x="449" y="257"/>
                    <a:pt x="449" y="257"/>
                    <a:pt x="449" y="257"/>
                  </a:cubicBezTo>
                  <a:cubicBezTo>
                    <a:pt x="439" y="245"/>
                    <a:pt x="439" y="245"/>
                    <a:pt x="439" y="245"/>
                  </a:cubicBezTo>
                  <a:cubicBezTo>
                    <a:pt x="439" y="245"/>
                    <a:pt x="430" y="228"/>
                    <a:pt x="438" y="221"/>
                  </a:cubicBezTo>
                  <a:cubicBezTo>
                    <a:pt x="446" y="214"/>
                    <a:pt x="468" y="220"/>
                    <a:pt x="475" y="215"/>
                  </a:cubicBezTo>
                  <a:cubicBezTo>
                    <a:pt x="482" y="210"/>
                    <a:pt x="475" y="203"/>
                    <a:pt x="480" y="200"/>
                  </a:cubicBezTo>
                  <a:cubicBezTo>
                    <a:pt x="485" y="197"/>
                    <a:pt x="493" y="202"/>
                    <a:pt x="493" y="202"/>
                  </a:cubicBezTo>
                  <a:cubicBezTo>
                    <a:pt x="493" y="202"/>
                    <a:pt x="497" y="195"/>
                    <a:pt x="501" y="195"/>
                  </a:cubicBezTo>
                  <a:cubicBezTo>
                    <a:pt x="505" y="195"/>
                    <a:pt x="515" y="201"/>
                    <a:pt x="515" y="201"/>
                  </a:cubicBezTo>
                  <a:cubicBezTo>
                    <a:pt x="553" y="196"/>
                    <a:pt x="553" y="196"/>
                    <a:pt x="553" y="196"/>
                  </a:cubicBezTo>
                  <a:cubicBezTo>
                    <a:pt x="553" y="196"/>
                    <a:pt x="552" y="189"/>
                    <a:pt x="554" y="186"/>
                  </a:cubicBezTo>
                  <a:cubicBezTo>
                    <a:pt x="556" y="183"/>
                    <a:pt x="565" y="177"/>
                    <a:pt x="565" y="177"/>
                  </a:cubicBezTo>
                  <a:lnTo>
                    <a:pt x="547" y="165"/>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76" name="Tunisia">
              <a:extLst>
                <a:ext uri="{FF2B5EF4-FFF2-40B4-BE49-F238E27FC236}">
                  <a16:creationId xmlns:a16="http://schemas.microsoft.com/office/drawing/2014/main" id="{62F46A54-09F0-4B90-BA97-43FCDF576044}"/>
                </a:ext>
              </a:extLst>
            </p:cNvPr>
            <p:cNvSpPr>
              <a:spLocks/>
            </p:cNvSpPr>
            <p:nvPr/>
          </p:nvSpPr>
          <p:spPr bwMode="gray">
            <a:xfrm>
              <a:off x="5545076" y="1375200"/>
              <a:ext cx="232575" cy="482401"/>
            </a:xfrm>
            <a:custGeom>
              <a:avLst/>
              <a:gdLst>
                <a:gd name="T0" fmla="*/ 25 w 187"/>
                <a:gd name="T1" fmla="*/ 48 h 387"/>
                <a:gd name="T2" fmla="*/ 38 w 187"/>
                <a:gd name="T3" fmla="*/ 52 h 387"/>
                <a:gd name="T4" fmla="*/ 33 w 187"/>
                <a:gd name="T5" fmla="*/ 90 h 387"/>
                <a:gd name="T6" fmla="*/ 38 w 187"/>
                <a:gd name="T7" fmla="*/ 119 h 387"/>
                <a:gd name="T8" fmla="*/ 30 w 187"/>
                <a:gd name="T9" fmla="*/ 151 h 387"/>
                <a:gd name="T10" fmla="*/ 16 w 187"/>
                <a:gd name="T11" fmla="*/ 162 h 387"/>
                <a:gd name="T12" fmla="*/ 0 w 187"/>
                <a:gd name="T13" fmla="*/ 185 h 387"/>
                <a:gd name="T14" fmla="*/ 0 w 187"/>
                <a:gd name="T15" fmla="*/ 208 h 387"/>
                <a:gd name="T16" fmla="*/ 7 w 187"/>
                <a:gd name="T17" fmla="*/ 208 h 387"/>
                <a:gd name="T18" fmla="*/ 7 w 187"/>
                <a:gd name="T19" fmla="*/ 227 h 387"/>
                <a:gd name="T20" fmla="*/ 34 w 187"/>
                <a:gd name="T21" fmla="*/ 240 h 387"/>
                <a:gd name="T22" fmla="*/ 35 w 187"/>
                <a:gd name="T23" fmla="*/ 266 h 387"/>
                <a:gd name="T24" fmla="*/ 67 w 187"/>
                <a:gd name="T25" fmla="*/ 291 h 387"/>
                <a:gd name="T26" fmla="*/ 88 w 187"/>
                <a:gd name="T27" fmla="*/ 387 h 387"/>
                <a:gd name="T28" fmla="*/ 104 w 187"/>
                <a:gd name="T29" fmla="*/ 381 h 387"/>
                <a:gd name="T30" fmla="*/ 123 w 187"/>
                <a:gd name="T31" fmla="*/ 355 h 387"/>
                <a:gd name="T32" fmla="*/ 114 w 187"/>
                <a:gd name="T33" fmla="*/ 317 h 387"/>
                <a:gd name="T34" fmla="*/ 129 w 187"/>
                <a:gd name="T35" fmla="*/ 306 h 387"/>
                <a:gd name="T36" fmla="*/ 148 w 187"/>
                <a:gd name="T37" fmla="*/ 283 h 387"/>
                <a:gd name="T38" fmla="*/ 183 w 187"/>
                <a:gd name="T39" fmla="*/ 265 h 387"/>
                <a:gd name="T40" fmla="*/ 172 w 187"/>
                <a:gd name="T41" fmla="*/ 255 h 387"/>
                <a:gd name="T42" fmla="*/ 175 w 187"/>
                <a:gd name="T43" fmla="*/ 228 h 387"/>
                <a:gd name="T44" fmla="*/ 167 w 187"/>
                <a:gd name="T45" fmla="*/ 226 h 387"/>
                <a:gd name="T46" fmla="*/ 160 w 187"/>
                <a:gd name="T47" fmla="*/ 207 h 387"/>
                <a:gd name="T48" fmla="*/ 150 w 187"/>
                <a:gd name="T49" fmla="*/ 201 h 387"/>
                <a:gd name="T50" fmla="*/ 148 w 187"/>
                <a:gd name="T51" fmla="*/ 212 h 387"/>
                <a:gd name="T52" fmla="*/ 142 w 187"/>
                <a:gd name="T53" fmla="*/ 203 h 387"/>
                <a:gd name="T54" fmla="*/ 111 w 187"/>
                <a:gd name="T55" fmla="*/ 183 h 387"/>
                <a:gd name="T56" fmla="*/ 132 w 187"/>
                <a:gd name="T57" fmla="*/ 154 h 387"/>
                <a:gd name="T58" fmla="*/ 156 w 187"/>
                <a:gd name="T59" fmla="*/ 102 h 387"/>
                <a:gd name="T60" fmla="*/ 132 w 187"/>
                <a:gd name="T61" fmla="*/ 73 h 387"/>
                <a:gd name="T62" fmla="*/ 145 w 187"/>
                <a:gd name="T63" fmla="*/ 50 h 387"/>
                <a:gd name="T64" fmla="*/ 156 w 187"/>
                <a:gd name="T65" fmla="*/ 18 h 387"/>
                <a:gd name="T66" fmla="*/ 125 w 187"/>
                <a:gd name="T67" fmla="*/ 45 h 387"/>
                <a:gd name="T68" fmla="*/ 108 w 187"/>
                <a:gd name="T69" fmla="*/ 33 h 387"/>
                <a:gd name="T70" fmla="*/ 110 w 187"/>
                <a:gd name="T71" fmla="*/ 8 h 387"/>
                <a:gd name="T72" fmla="*/ 60 w 187"/>
                <a:gd name="T73" fmla="*/ 23 h 387"/>
                <a:gd name="T74" fmla="*/ 53 w 187"/>
                <a:gd name="T75" fmla="*/ 25 h 387"/>
                <a:gd name="T76" fmla="*/ 53 w 187"/>
                <a:gd name="T77" fmla="*/ 35 h 387"/>
                <a:gd name="T78" fmla="*/ 25 w 187"/>
                <a:gd name="T79" fmla="*/ 48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387">
                  <a:moveTo>
                    <a:pt x="25" y="48"/>
                  </a:moveTo>
                  <a:cubicBezTo>
                    <a:pt x="38" y="52"/>
                    <a:pt x="38" y="52"/>
                    <a:pt x="38" y="52"/>
                  </a:cubicBezTo>
                  <a:cubicBezTo>
                    <a:pt x="38" y="52"/>
                    <a:pt x="29" y="83"/>
                    <a:pt x="33" y="90"/>
                  </a:cubicBezTo>
                  <a:cubicBezTo>
                    <a:pt x="37" y="97"/>
                    <a:pt x="39" y="109"/>
                    <a:pt x="38" y="119"/>
                  </a:cubicBezTo>
                  <a:cubicBezTo>
                    <a:pt x="37" y="129"/>
                    <a:pt x="30" y="151"/>
                    <a:pt x="30" y="151"/>
                  </a:cubicBezTo>
                  <a:cubicBezTo>
                    <a:pt x="16" y="162"/>
                    <a:pt x="16" y="162"/>
                    <a:pt x="16" y="162"/>
                  </a:cubicBezTo>
                  <a:cubicBezTo>
                    <a:pt x="16" y="162"/>
                    <a:pt x="0" y="175"/>
                    <a:pt x="0" y="185"/>
                  </a:cubicBezTo>
                  <a:cubicBezTo>
                    <a:pt x="0" y="195"/>
                    <a:pt x="0" y="208"/>
                    <a:pt x="0" y="208"/>
                  </a:cubicBezTo>
                  <a:cubicBezTo>
                    <a:pt x="7" y="208"/>
                    <a:pt x="7" y="208"/>
                    <a:pt x="7" y="208"/>
                  </a:cubicBezTo>
                  <a:cubicBezTo>
                    <a:pt x="7" y="227"/>
                    <a:pt x="7" y="227"/>
                    <a:pt x="7" y="227"/>
                  </a:cubicBezTo>
                  <a:cubicBezTo>
                    <a:pt x="7" y="227"/>
                    <a:pt x="33" y="232"/>
                    <a:pt x="34" y="240"/>
                  </a:cubicBezTo>
                  <a:cubicBezTo>
                    <a:pt x="35" y="248"/>
                    <a:pt x="35" y="266"/>
                    <a:pt x="35" y="266"/>
                  </a:cubicBezTo>
                  <a:cubicBezTo>
                    <a:pt x="35" y="266"/>
                    <a:pt x="67" y="278"/>
                    <a:pt x="67" y="291"/>
                  </a:cubicBezTo>
                  <a:cubicBezTo>
                    <a:pt x="67" y="302"/>
                    <a:pt x="82" y="364"/>
                    <a:pt x="88" y="387"/>
                  </a:cubicBezTo>
                  <a:cubicBezTo>
                    <a:pt x="95" y="384"/>
                    <a:pt x="104" y="381"/>
                    <a:pt x="104" y="381"/>
                  </a:cubicBezTo>
                  <a:cubicBezTo>
                    <a:pt x="104" y="381"/>
                    <a:pt x="124" y="367"/>
                    <a:pt x="123" y="355"/>
                  </a:cubicBezTo>
                  <a:cubicBezTo>
                    <a:pt x="122" y="343"/>
                    <a:pt x="112" y="323"/>
                    <a:pt x="114" y="317"/>
                  </a:cubicBezTo>
                  <a:cubicBezTo>
                    <a:pt x="116" y="311"/>
                    <a:pt x="129" y="306"/>
                    <a:pt x="129" y="306"/>
                  </a:cubicBezTo>
                  <a:cubicBezTo>
                    <a:pt x="129" y="306"/>
                    <a:pt x="142" y="289"/>
                    <a:pt x="148" y="283"/>
                  </a:cubicBezTo>
                  <a:cubicBezTo>
                    <a:pt x="154" y="277"/>
                    <a:pt x="179" y="273"/>
                    <a:pt x="183" y="265"/>
                  </a:cubicBezTo>
                  <a:cubicBezTo>
                    <a:pt x="187" y="257"/>
                    <a:pt x="172" y="255"/>
                    <a:pt x="172" y="255"/>
                  </a:cubicBezTo>
                  <a:cubicBezTo>
                    <a:pt x="175" y="228"/>
                    <a:pt x="175" y="228"/>
                    <a:pt x="175" y="228"/>
                  </a:cubicBezTo>
                  <a:cubicBezTo>
                    <a:pt x="170" y="227"/>
                    <a:pt x="167" y="226"/>
                    <a:pt x="167" y="226"/>
                  </a:cubicBezTo>
                  <a:cubicBezTo>
                    <a:pt x="160" y="207"/>
                    <a:pt x="160" y="207"/>
                    <a:pt x="160" y="207"/>
                  </a:cubicBezTo>
                  <a:cubicBezTo>
                    <a:pt x="150" y="201"/>
                    <a:pt x="150" y="201"/>
                    <a:pt x="150" y="201"/>
                  </a:cubicBezTo>
                  <a:cubicBezTo>
                    <a:pt x="148" y="212"/>
                    <a:pt x="148" y="212"/>
                    <a:pt x="148" y="212"/>
                  </a:cubicBezTo>
                  <a:cubicBezTo>
                    <a:pt x="142" y="203"/>
                    <a:pt x="142" y="203"/>
                    <a:pt x="142" y="203"/>
                  </a:cubicBezTo>
                  <a:cubicBezTo>
                    <a:pt x="142" y="203"/>
                    <a:pt x="111" y="202"/>
                    <a:pt x="111" y="183"/>
                  </a:cubicBezTo>
                  <a:cubicBezTo>
                    <a:pt x="111" y="164"/>
                    <a:pt x="109" y="174"/>
                    <a:pt x="132" y="154"/>
                  </a:cubicBezTo>
                  <a:cubicBezTo>
                    <a:pt x="155" y="134"/>
                    <a:pt x="169" y="118"/>
                    <a:pt x="156" y="102"/>
                  </a:cubicBezTo>
                  <a:cubicBezTo>
                    <a:pt x="143" y="86"/>
                    <a:pt x="128" y="89"/>
                    <a:pt x="132" y="73"/>
                  </a:cubicBezTo>
                  <a:cubicBezTo>
                    <a:pt x="136" y="57"/>
                    <a:pt x="135" y="59"/>
                    <a:pt x="145" y="50"/>
                  </a:cubicBezTo>
                  <a:cubicBezTo>
                    <a:pt x="155" y="41"/>
                    <a:pt x="163" y="19"/>
                    <a:pt x="156" y="18"/>
                  </a:cubicBezTo>
                  <a:cubicBezTo>
                    <a:pt x="149" y="17"/>
                    <a:pt x="130" y="43"/>
                    <a:pt x="125" y="45"/>
                  </a:cubicBezTo>
                  <a:cubicBezTo>
                    <a:pt x="120" y="47"/>
                    <a:pt x="108" y="33"/>
                    <a:pt x="108" y="33"/>
                  </a:cubicBezTo>
                  <a:cubicBezTo>
                    <a:pt x="108" y="33"/>
                    <a:pt x="127" y="16"/>
                    <a:pt x="110" y="8"/>
                  </a:cubicBezTo>
                  <a:cubicBezTo>
                    <a:pt x="93" y="0"/>
                    <a:pt x="66" y="19"/>
                    <a:pt x="60" y="23"/>
                  </a:cubicBezTo>
                  <a:cubicBezTo>
                    <a:pt x="58" y="24"/>
                    <a:pt x="56" y="25"/>
                    <a:pt x="53" y="25"/>
                  </a:cubicBezTo>
                  <a:cubicBezTo>
                    <a:pt x="53" y="35"/>
                    <a:pt x="53" y="35"/>
                    <a:pt x="53" y="35"/>
                  </a:cubicBezTo>
                  <a:lnTo>
                    <a:pt x="25" y="48"/>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77" name="Ghana">
              <a:extLst>
                <a:ext uri="{FF2B5EF4-FFF2-40B4-BE49-F238E27FC236}">
                  <a16:creationId xmlns:a16="http://schemas.microsoft.com/office/drawing/2014/main" id="{DE9CEB14-473A-40C2-BEC9-97F7D51C85E9}"/>
                </a:ext>
              </a:extLst>
            </p:cNvPr>
            <p:cNvSpPr>
              <a:spLocks/>
            </p:cNvSpPr>
            <p:nvPr/>
          </p:nvSpPr>
          <p:spPr bwMode="gray">
            <a:xfrm>
              <a:off x="4900209" y="3132262"/>
              <a:ext cx="264290" cy="433106"/>
            </a:xfrm>
            <a:custGeom>
              <a:avLst/>
              <a:gdLst>
                <a:gd name="T0" fmla="*/ 185 w 213"/>
                <a:gd name="T1" fmla="*/ 228 h 349"/>
                <a:gd name="T2" fmla="*/ 190 w 213"/>
                <a:gd name="T3" fmla="*/ 205 h 349"/>
                <a:gd name="T4" fmla="*/ 182 w 213"/>
                <a:gd name="T5" fmla="*/ 198 h 349"/>
                <a:gd name="T6" fmla="*/ 185 w 213"/>
                <a:gd name="T7" fmla="*/ 186 h 349"/>
                <a:gd name="T8" fmla="*/ 187 w 213"/>
                <a:gd name="T9" fmla="*/ 157 h 349"/>
                <a:gd name="T10" fmla="*/ 191 w 213"/>
                <a:gd name="T11" fmla="*/ 148 h 349"/>
                <a:gd name="T12" fmla="*/ 173 w 213"/>
                <a:gd name="T13" fmla="*/ 134 h 349"/>
                <a:gd name="T14" fmla="*/ 185 w 213"/>
                <a:gd name="T15" fmla="*/ 123 h 349"/>
                <a:gd name="T16" fmla="*/ 178 w 213"/>
                <a:gd name="T17" fmla="*/ 113 h 349"/>
                <a:gd name="T18" fmla="*/ 182 w 213"/>
                <a:gd name="T19" fmla="*/ 88 h 349"/>
                <a:gd name="T20" fmla="*/ 166 w 213"/>
                <a:gd name="T21" fmla="*/ 91 h 349"/>
                <a:gd name="T22" fmla="*/ 174 w 213"/>
                <a:gd name="T23" fmla="*/ 42 h 349"/>
                <a:gd name="T24" fmla="*/ 152 w 213"/>
                <a:gd name="T25" fmla="*/ 24 h 349"/>
                <a:gd name="T26" fmla="*/ 159 w 213"/>
                <a:gd name="T27" fmla="*/ 15 h 349"/>
                <a:gd name="T28" fmla="*/ 159 w 213"/>
                <a:gd name="T29" fmla="*/ 4 h 349"/>
                <a:gd name="T30" fmla="*/ 145 w 213"/>
                <a:gd name="T31" fmla="*/ 0 h 349"/>
                <a:gd name="T32" fmla="*/ 129 w 213"/>
                <a:gd name="T33" fmla="*/ 10 h 349"/>
                <a:gd name="T34" fmla="*/ 109 w 213"/>
                <a:gd name="T35" fmla="*/ 7 h 349"/>
                <a:gd name="T36" fmla="*/ 98 w 213"/>
                <a:gd name="T37" fmla="*/ 10 h 349"/>
                <a:gd name="T38" fmla="*/ 86 w 213"/>
                <a:gd name="T39" fmla="*/ 7 h 349"/>
                <a:gd name="T40" fmla="*/ 81 w 213"/>
                <a:gd name="T41" fmla="*/ 10 h 349"/>
                <a:gd name="T42" fmla="*/ 26 w 213"/>
                <a:gd name="T43" fmla="*/ 7 h 349"/>
                <a:gd name="T44" fmla="*/ 18 w 213"/>
                <a:gd name="T45" fmla="*/ 24 h 349"/>
                <a:gd name="T46" fmla="*/ 24 w 213"/>
                <a:gd name="T47" fmla="*/ 33 h 349"/>
                <a:gd name="T48" fmla="*/ 25 w 213"/>
                <a:gd name="T49" fmla="*/ 51 h 349"/>
                <a:gd name="T50" fmla="*/ 26 w 213"/>
                <a:gd name="T51" fmla="*/ 87 h 349"/>
                <a:gd name="T52" fmla="*/ 30 w 213"/>
                <a:gd name="T53" fmla="*/ 86 h 349"/>
                <a:gd name="T54" fmla="*/ 34 w 213"/>
                <a:gd name="T55" fmla="*/ 105 h 349"/>
                <a:gd name="T56" fmla="*/ 26 w 213"/>
                <a:gd name="T57" fmla="*/ 106 h 349"/>
                <a:gd name="T58" fmla="*/ 38 w 213"/>
                <a:gd name="T59" fmla="*/ 152 h 349"/>
                <a:gd name="T60" fmla="*/ 21 w 213"/>
                <a:gd name="T61" fmla="*/ 179 h 349"/>
                <a:gd name="T62" fmla="*/ 20 w 213"/>
                <a:gd name="T63" fmla="*/ 209 h 349"/>
                <a:gd name="T64" fmla="*/ 0 w 213"/>
                <a:gd name="T65" fmla="*/ 241 h 349"/>
                <a:gd name="T66" fmla="*/ 13 w 213"/>
                <a:gd name="T67" fmla="*/ 291 h 349"/>
                <a:gd name="T68" fmla="*/ 31 w 213"/>
                <a:gd name="T69" fmla="*/ 297 h 349"/>
                <a:gd name="T70" fmla="*/ 32 w 213"/>
                <a:gd name="T71" fmla="*/ 332 h 349"/>
                <a:gd name="T72" fmla="*/ 47 w 213"/>
                <a:gd name="T73" fmla="*/ 334 h 349"/>
                <a:gd name="T74" fmla="*/ 61 w 213"/>
                <a:gd name="T75" fmla="*/ 345 h 349"/>
                <a:gd name="T76" fmla="*/ 99 w 213"/>
                <a:gd name="T77" fmla="*/ 321 h 349"/>
                <a:gd name="T78" fmla="*/ 117 w 213"/>
                <a:gd name="T79" fmla="*/ 321 h 349"/>
                <a:gd name="T80" fmla="*/ 141 w 213"/>
                <a:gd name="T81" fmla="*/ 302 h 349"/>
                <a:gd name="T82" fmla="*/ 159 w 213"/>
                <a:gd name="T83" fmla="*/ 298 h 349"/>
                <a:gd name="T84" fmla="*/ 173 w 213"/>
                <a:gd name="T85" fmla="*/ 283 h 349"/>
                <a:gd name="T86" fmla="*/ 196 w 213"/>
                <a:gd name="T87" fmla="*/ 287 h 349"/>
                <a:gd name="T88" fmla="*/ 213 w 213"/>
                <a:gd name="T89" fmla="*/ 273 h 349"/>
                <a:gd name="T90" fmla="*/ 193 w 213"/>
                <a:gd name="T91" fmla="*/ 256 h 349"/>
                <a:gd name="T92" fmla="*/ 185 w 213"/>
                <a:gd name="T93" fmla="*/ 228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 h="349">
                  <a:moveTo>
                    <a:pt x="185" y="228"/>
                  </a:moveTo>
                  <a:cubicBezTo>
                    <a:pt x="185" y="228"/>
                    <a:pt x="191" y="211"/>
                    <a:pt x="190" y="205"/>
                  </a:cubicBezTo>
                  <a:cubicBezTo>
                    <a:pt x="189" y="199"/>
                    <a:pt x="182" y="203"/>
                    <a:pt x="182" y="198"/>
                  </a:cubicBezTo>
                  <a:cubicBezTo>
                    <a:pt x="182" y="193"/>
                    <a:pt x="185" y="186"/>
                    <a:pt x="185" y="186"/>
                  </a:cubicBezTo>
                  <a:cubicBezTo>
                    <a:pt x="187" y="157"/>
                    <a:pt x="187" y="157"/>
                    <a:pt x="187" y="157"/>
                  </a:cubicBezTo>
                  <a:cubicBezTo>
                    <a:pt x="187" y="157"/>
                    <a:pt x="192" y="154"/>
                    <a:pt x="191" y="148"/>
                  </a:cubicBezTo>
                  <a:cubicBezTo>
                    <a:pt x="190" y="142"/>
                    <a:pt x="173" y="134"/>
                    <a:pt x="173" y="134"/>
                  </a:cubicBezTo>
                  <a:cubicBezTo>
                    <a:pt x="173" y="134"/>
                    <a:pt x="184" y="126"/>
                    <a:pt x="185" y="123"/>
                  </a:cubicBezTo>
                  <a:cubicBezTo>
                    <a:pt x="186" y="120"/>
                    <a:pt x="178" y="113"/>
                    <a:pt x="178" y="113"/>
                  </a:cubicBezTo>
                  <a:cubicBezTo>
                    <a:pt x="178" y="113"/>
                    <a:pt x="186" y="95"/>
                    <a:pt x="182" y="88"/>
                  </a:cubicBezTo>
                  <a:cubicBezTo>
                    <a:pt x="178" y="81"/>
                    <a:pt x="166" y="91"/>
                    <a:pt x="166" y="91"/>
                  </a:cubicBezTo>
                  <a:cubicBezTo>
                    <a:pt x="174" y="42"/>
                    <a:pt x="174" y="42"/>
                    <a:pt x="174" y="42"/>
                  </a:cubicBezTo>
                  <a:cubicBezTo>
                    <a:pt x="152" y="24"/>
                    <a:pt x="152" y="24"/>
                    <a:pt x="152" y="24"/>
                  </a:cubicBezTo>
                  <a:cubicBezTo>
                    <a:pt x="159" y="15"/>
                    <a:pt x="159" y="15"/>
                    <a:pt x="159" y="15"/>
                  </a:cubicBezTo>
                  <a:cubicBezTo>
                    <a:pt x="159" y="4"/>
                    <a:pt x="159" y="4"/>
                    <a:pt x="159" y="4"/>
                  </a:cubicBezTo>
                  <a:cubicBezTo>
                    <a:pt x="145" y="0"/>
                    <a:pt x="145" y="0"/>
                    <a:pt x="145" y="0"/>
                  </a:cubicBezTo>
                  <a:cubicBezTo>
                    <a:pt x="129" y="10"/>
                    <a:pt x="129" y="10"/>
                    <a:pt x="129" y="10"/>
                  </a:cubicBezTo>
                  <a:cubicBezTo>
                    <a:pt x="109" y="7"/>
                    <a:pt x="109" y="7"/>
                    <a:pt x="109" y="7"/>
                  </a:cubicBezTo>
                  <a:cubicBezTo>
                    <a:pt x="98" y="10"/>
                    <a:pt x="98" y="10"/>
                    <a:pt x="98" y="10"/>
                  </a:cubicBezTo>
                  <a:cubicBezTo>
                    <a:pt x="86" y="7"/>
                    <a:pt x="86" y="7"/>
                    <a:pt x="86" y="7"/>
                  </a:cubicBezTo>
                  <a:cubicBezTo>
                    <a:pt x="81" y="10"/>
                    <a:pt x="81" y="10"/>
                    <a:pt x="81" y="10"/>
                  </a:cubicBezTo>
                  <a:cubicBezTo>
                    <a:pt x="26" y="7"/>
                    <a:pt x="26" y="7"/>
                    <a:pt x="26" y="7"/>
                  </a:cubicBezTo>
                  <a:cubicBezTo>
                    <a:pt x="26" y="7"/>
                    <a:pt x="18" y="16"/>
                    <a:pt x="18" y="24"/>
                  </a:cubicBezTo>
                  <a:cubicBezTo>
                    <a:pt x="18" y="32"/>
                    <a:pt x="24" y="33"/>
                    <a:pt x="24" y="33"/>
                  </a:cubicBezTo>
                  <a:cubicBezTo>
                    <a:pt x="25" y="51"/>
                    <a:pt x="25" y="51"/>
                    <a:pt x="25" y="51"/>
                  </a:cubicBezTo>
                  <a:cubicBezTo>
                    <a:pt x="26" y="87"/>
                    <a:pt x="26" y="87"/>
                    <a:pt x="26" y="87"/>
                  </a:cubicBezTo>
                  <a:cubicBezTo>
                    <a:pt x="30" y="86"/>
                    <a:pt x="30" y="86"/>
                    <a:pt x="30" y="86"/>
                  </a:cubicBezTo>
                  <a:cubicBezTo>
                    <a:pt x="34" y="105"/>
                    <a:pt x="34" y="105"/>
                    <a:pt x="34" y="105"/>
                  </a:cubicBezTo>
                  <a:cubicBezTo>
                    <a:pt x="26" y="106"/>
                    <a:pt x="26" y="106"/>
                    <a:pt x="26" y="106"/>
                  </a:cubicBezTo>
                  <a:cubicBezTo>
                    <a:pt x="26" y="106"/>
                    <a:pt x="38" y="140"/>
                    <a:pt x="38" y="152"/>
                  </a:cubicBezTo>
                  <a:cubicBezTo>
                    <a:pt x="38" y="164"/>
                    <a:pt x="21" y="171"/>
                    <a:pt x="21" y="179"/>
                  </a:cubicBezTo>
                  <a:cubicBezTo>
                    <a:pt x="21" y="187"/>
                    <a:pt x="20" y="209"/>
                    <a:pt x="20" y="209"/>
                  </a:cubicBezTo>
                  <a:cubicBezTo>
                    <a:pt x="20" y="209"/>
                    <a:pt x="0" y="227"/>
                    <a:pt x="0" y="241"/>
                  </a:cubicBezTo>
                  <a:cubicBezTo>
                    <a:pt x="0" y="255"/>
                    <a:pt x="13" y="291"/>
                    <a:pt x="13" y="291"/>
                  </a:cubicBezTo>
                  <a:cubicBezTo>
                    <a:pt x="31" y="297"/>
                    <a:pt x="31" y="297"/>
                    <a:pt x="31" y="297"/>
                  </a:cubicBezTo>
                  <a:cubicBezTo>
                    <a:pt x="32" y="332"/>
                    <a:pt x="32" y="332"/>
                    <a:pt x="32" y="332"/>
                  </a:cubicBezTo>
                  <a:cubicBezTo>
                    <a:pt x="41" y="334"/>
                    <a:pt x="47" y="334"/>
                    <a:pt x="47" y="334"/>
                  </a:cubicBezTo>
                  <a:cubicBezTo>
                    <a:pt x="47" y="334"/>
                    <a:pt x="51" y="349"/>
                    <a:pt x="61" y="345"/>
                  </a:cubicBezTo>
                  <a:cubicBezTo>
                    <a:pt x="71" y="341"/>
                    <a:pt x="92" y="323"/>
                    <a:pt x="99" y="321"/>
                  </a:cubicBezTo>
                  <a:cubicBezTo>
                    <a:pt x="106" y="319"/>
                    <a:pt x="117" y="321"/>
                    <a:pt x="117" y="321"/>
                  </a:cubicBezTo>
                  <a:cubicBezTo>
                    <a:pt x="117" y="321"/>
                    <a:pt x="138" y="303"/>
                    <a:pt x="141" y="302"/>
                  </a:cubicBezTo>
                  <a:cubicBezTo>
                    <a:pt x="144" y="301"/>
                    <a:pt x="159" y="298"/>
                    <a:pt x="159" y="298"/>
                  </a:cubicBezTo>
                  <a:cubicBezTo>
                    <a:pt x="159" y="298"/>
                    <a:pt x="165" y="282"/>
                    <a:pt x="173" y="283"/>
                  </a:cubicBezTo>
                  <a:cubicBezTo>
                    <a:pt x="181" y="284"/>
                    <a:pt x="187" y="292"/>
                    <a:pt x="196" y="287"/>
                  </a:cubicBezTo>
                  <a:cubicBezTo>
                    <a:pt x="201" y="284"/>
                    <a:pt x="207" y="278"/>
                    <a:pt x="213" y="273"/>
                  </a:cubicBezTo>
                  <a:cubicBezTo>
                    <a:pt x="193" y="256"/>
                    <a:pt x="193" y="256"/>
                    <a:pt x="193" y="256"/>
                  </a:cubicBezTo>
                  <a:lnTo>
                    <a:pt x="185" y="228"/>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78" name="Togo">
              <a:extLst>
                <a:ext uri="{FF2B5EF4-FFF2-40B4-BE49-F238E27FC236}">
                  <a16:creationId xmlns:a16="http://schemas.microsoft.com/office/drawing/2014/main" id="{EEAF4605-6CC2-4140-9C56-0F837D7A3DD2}"/>
                </a:ext>
              </a:extLst>
            </p:cNvPr>
            <p:cNvSpPr>
              <a:spLocks/>
            </p:cNvSpPr>
            <p:nvPr/>
          </p:nvSpPr>
          <p:spPr bwMode="gray">
            <a:xfrm>
              <a:off x="5086974" y="3135783"/>
              <a:ext cx="112764" cy="334512"/>
            </a:xfrm>
            <a:custGeom>
              <a:avLst/>
              <a:gdLst>
                <a:gd name="T0" fmla="*/ 82 w 91"/>
                <a:gd name="T1" fmla="*/ 239 h 270"/>
                <a:gd name="T2" fmla="*/ 80 w 91"/>
                <a:gd name="T3" fmla="*/ 195 h 270"/>
                <a:gd name="T4" fmla="*/ 85 w 91"/>
                <a:gd name="T5" fmla="*/ 188 h 270"/>
                <a:gd name="T6" fmla="*/ 79 w 91"/>
                <a:gd name="T7" fmla="*/ 182 h 270"/>
                <a:gd name="T8" fmla="*/ 80 w 91"/>
                <a:gd name="T9" fmla="*/ 143 h 270"/>
                <a:gd name="T10" fmla="*/ 85 w 91"/>
                <a:gd name="T11" fmla="*/ 135 h 270"/>
                <a:gd name="T12" fmla="*/ 81 w 91"/>
                <a:gd name="T13" fmla="*/ 108 h 270"/>
                <a:gd name="T14" fmla="*/ 69 w 91"/>
                <a:gd name="T15" fmla="*/ 91 h 270"/>
                <a:gd name="T16" fmla="*/ 69 w 91"/>
                <a:gd name="T17" fmla="*/ 60 h 270"/>
                <a:gd name="T18" fmla="*/ 42 w 91"/>
                <a:gd name="T19" fmla="*/ 37 h 270"/>
                <a:gd name="T20" fmla="*/ 41 w 91"/>
                <a:gd name="T21" fmla="*/ 18 h 270"/>
                <a:gd name="T22" fmla="*/ 47 w 91"/>
                <a:gd name="T23" fmla="*/ 6 h 270"/>
                <a:gd name="T24" fmla="*/ 33 w 91"/>
                <a:gd name="T25" fmla="*/ 7 h 270"/>
                <a:gd name="T26" fmla="*/ 18 w 91"/>
                <a:gd name="T27" fmla="*/ 0 h 270"/>
                <a:gd name="T28" fmla="*/ 7 w 91"/>
                <a:gd name="T29" fmla="*/ 1 h 270"/>
                <a:gd name="T30" fmla="*/ 7 w 91"/>
                <a:gd name="T31" fmla="*/ 12 h 270"/>
                <a:gd name="T32" fmla="*/ 0 w 91"/>
                <a:gd name="T33" fmla="*/ 21 h 270"/>
                <a:gd name="T34" fmla="*/ 22 w 91"/>
                <a:gd name="T35" fmla="*/ 39 h 270"/>
                <a:gd name="T36" fmla="*/ 14 w 91"/>
                <a:gd name="T37" fmla="*/ 88 h 270"/>
                <a:gd name="T38" fmla="*/ 30 w 91"/>
                <a:gd name="T39" fmla="*/ 85 h 270"/>
                <a:gd name="T40" fmla="*/ 26 w 91"/>
                <a:gd name="T41" fmla="*/ 110 h 270"/>
                <a:gd name="T42" fmla="*/ 33 w 91"/>
                <a:gd name="T43" fmla="*/ 120 h 270"/>
                <a:gd name="T44" fmla="*/ 21 w 91"/>
                <a:gd name="T45" fmla="*/ 131 h 270"/>
                <a:gd name="T46" fmla="*/ 39 w 91"/>
                <a:gd name="T47" fmla="*/ 145 h 270"/>
                <a:gd name="T48" fmla="*/ 35 w 91"/>
                <a:gd name="T49" fmla="*/ 154 h 270"/>
                <a:gd name="T50" fmla="*/ 33 w 91"/>
                <a:gd name="T51" fmla="*/ 183 h 270"/>
                <a:gd name="T52" fmla="*/ 30 w 91"/>
                <a:gd name="T53" fmla="*/ 195 h 270"/>
                <a:gd name="T54" fmla="*/ 38 w 91"/>
                <a:gd name="T55" fmla="*/ 202 h 270"/>
                <a:gd name="T56" fmla="*/ 33 w 91"/>
                <a:gd name="T57" fmla="*/ 225 h 270"/>
                <a:gd name="T58" fmla="*/ 41 w 91"/>
                <a:gd name="T59" fmla="*/ 253 h 270"/>
                <a:gd name="T60" fmla="*/ 61 w 91"/>
                <a:gd name="T61" fmla="*/ 270 h 270"/>
                <a:gd name="T62" fmla="*/ 78 w 91"/>
                <a:gd name="T63" fmla="*/ 259 h 270"/>
                <a:gd name="T64" fmla="*/ 91 w 91"/>
                <a:gd name="T65" fmla="*/ 258 h 270"/>
                <a:gd name="T66" fmla="*/ 82 w 91"/>
                <a:gd name="T67" fmla="*/ 23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270">
                  <a:moveTo>
                    <a:pt x="82" y="239"/>
                  </a:moveTo>
                  <a:cubicBezTo>
                    <a:pt x="80" y="195"/>
                    <a:pt x="80" y="195"/>
                    <a:pt x="80" y="195"/>
                  </a:cubicBezTo>
                  <a:cubicBezTo>
                    <a:pt x="85" y="188"/>
                    <a:pt x="85" y="188"/>
                    <a:pt x="85" y="188"/>
                  </a:cubicBezTo>
                  <a:cubicBezTo>
                    <a:pt x="79" y="182"/>
                    <a:pt x="79" y="182"/>
                    <a:pt x="79" y="182"/>
                  </a:cubicBezTo>
                  <a:cubicBezTo>
                    <a:pt x="80" y="143"/>
                    <a:pt x="80" y="143"/>
                    <a:pt x="80" y="143"/>
                  </a:cubicBezTo>
                  <a:cubicBezTo>
                    <a:pt x="85" y="135"/>
                    <a:pt x="85" y="135"/>
                    <a:pt x="85" y="135"/>
                  </a:cubicBezTo>
                  <a:cubicBezTo>
                    <a:pt x="85" y="135"/>
                    <a:pt x="80" y="116"/>
                    <a:pt x="81" y="108"/>
                  </a:cubicBezTo>
                  <a:cubicBezTo>
                    <a:pt x="82" y="100"/>
                    <a:pt x="69" y="91"/>
                    <a:pt x="69" y="91"/>
                  </a:cubicBezTo>
                  <a:cubicBezTo>
                    <a:pt x="69" y="91"/>
                    <a:pt x="71" y="68"/>
                    <a:pt x="69" y="60"/>
                  </a:cubicBezTo>
                  <a:cubicBezTo>
                    <a:pt x="67" y="52"/>
                    <a:pt x="42" y="37"/>
                    <a:pt x="42" y="37"/>
                  </a:cubicBezTo>
                  <a:cubicBezTo>
                    <a:pt x="41" y="18"/>
                    <a:pt x="41" y="18"/>
                    <a:pt x="41" y="18"/>
                  </a:cubicBezTo>
                  <a:cubicBezTo>
                    <a:pt x="47" y="6"/>
                    <a:pt x="47" y="6"/>
                    <a:pt x="47" y="6"/>
                  </a:cubicBezTo>
                  <a:cubicBezTo>
                    <a:pt x="33" y="7"/>
                    <a:pt x="33" y="7"/>
                    <a:pt x="33" y="7"/>
                  </a:cubicBezTo>
                  <a:cubicBezTo>
                    <a:pt x="18" y="0"/>
                    <a:pt x="18" y="0"/>
                    <a:pt x="18" y="0"/>
                  </a:cubicBezTo>
                  <a:cubicBezTo>
                    <a:pt x="7" y="1"/>
                    <a:pt x="7" y="1"/>
                    <a:pt x="7" y="1"/>
                  </a:cubicBezTo>
                  <a:cubicBezTo>
                    <a:pt x="7" y="12"/>
                    <a:pt x="7" y="12"/>
                    <a:pt x="7" y="12"/>
                  </a:cubicBezTo>
                  <a:cubicBezTo>
                    <a:pt x="0" y="21"/>
                    <a:pt x="0" y="21"/>
                    <a:pt x="0" y="21"/>
                  </a:cubicBezTo>
                  <a:cubicBezTo>
                    <a:pt x="22" y="39"/>
                    <a:pt x="22" y="39"/>
                    <a:pt x="22" y="39"/>
                  </a:cubicBezTo>
                  <a:cubicBezTo>
                    <a:pt x="14" y="88"/>
                    <a:pt x="14" y="88"/>
                    <a:pt x="14" y="88"/>
                  </a:cubicBezTo>
                  <a:cubicBezTo>
                    <a:pt x="14" y="88"/>
                    <a:pt x="26" y="78"/>
                    <a:pt x="30" y="85"/>
                  </a:cubicBezTo>
                  <a:cubicBezTo>
                    <a:pt x="34" y="92"/>
                    <a:pt x="26" y="110"/>
                    <a:pt x="26" y="110"/>
                  </a:cubicBezTo>
                  <a:cubicBezTo>
                    <a:pt x="26" y="110"/>
                    <a:pt x="34" y="117"/>
                    <a:pt x="33" y="120"/>
                  </a:cubicBezTo>
                  <a:cubicBezTo>
                    <a:pt x="32" y="123"/>
                    <a:pt x="21" y="131"/>
                    <a:pt x="21" y="131"/>
                  </a:cubicBezTo>
                  <a:cubicBezTo>
                    <a:pt x="21" y="131"/>
                    <a:pt x="38" y="139"/>
                    <a:pt x="39" y="145"/>
                  </a:cubicBezTo>
                  <a:cubicBezTo>
                    <a:pt x="40" y="151"/>
                    <a:pt x="35" y="154"/>
                    <a:pt x="35" y="154"/>
                  </a:cubicBezTo>
                  <a:cubicBezTo>
                    <a:pt x="33" y="183"/>
                    <a:pt x="33" y="183"/>
                    <a:pt x="33" y="183"/>
                  </a:cubicBezTo>
                  <a:cubicBezTo>
                    <a:pt x="33" y="183"/>
                    <a:pt x="30" y="190"/>
                    <a:pt x="30" y="195"/>
                  </a:cubicBezTo>
                  <a:cubicBezTo>
                    <a:pt x="30" y="200"/>
                    <a:pt x="37" y="196"/>
                    <a:pt x="38" y="202"/>
                  </a:cubicBezTo>
                  <a:cubicBezTo>
                    <a:pt x="39" y="208"/>
                    <a:pt x="33" y="225"/>
                    <a:pt x="33" y="225"/>
                  </a:cubicBezTo>
                  <a:cubicBezTo>
                    <a:pt x="41" y="253"/>
                    <a:pt x="41" y="253"/>
                    <a:pt x="41" y="253"/>
                  </a:cubicBezTo>
                  <a:cubicBezTo>
                    <a:pt x="61" y="270"/>
                    <a:pt x="61" y="270"/>
                    <a:pt x="61" y="270"/>
                  </a:cubicBezTo>
                  <a:cubicBezTo>
                    <a:pt x="66" y="264"/>
                    <a:pt x="72" y="260"/>
                    <a:pt x="78" y="259"/>
                  </a:cubicBezTo>
                  <a:cubicBezTo>
                    <a:pt x="82" y="258"/>
                    <a:pt x="86" y="258"/>
                    <a:pt x="91" y="258"/>
                  </a:cubicBezTo>
                  <a:cubicBezTo>
                    <a:pt x="91" y="248"/>
                    <a:pt x="82" y="239"/>
                    <a:pt x="82" y="239"/>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79" name="Benin">
              <a:extLst>
                <a:ext uri="{FF2B5EF4-FFF2-40B4-BE49-F238E27FC236}">
                  <a16:creationId xmlns:a16="http://schemas.microsoft.com/office/drawing/2014/main" id="{C9299197-CF4D-4500-8473-0F9E8419D481}"/>
                </a:ext>
              </a:extLst>
            </p:cNvPr>
            <p:cNvSpPr>
              <a:spLocks/>
            </p:cNvSpPr>
            <p:nvPr/>
          </p:nvSpPr>
          <p:spPr bwMode="gray">
            <a:xfrm>
              <a:off x="5139835" y="3047754"/>
              <a:ext cx="186765" cy="411978"/>
            </a:xfrm>
            <a:custGeom>
              <a:avLst/>
              <a:gdLst>
                <a:gd name="T0" fmla="*/ 94 w 150"/>
                <a:gd name="T1" fmla="*/ 247 h 332"/>
                <a:gd name="T2" fmla="*/ 97 w 150"/>
                <a:gd name="T3" fmla="*/ 228 h 332"/>
                <a:gd name="T4" fmla="*/ 94 w 150"/>
                <a:gd name="T5" fmla="*/ 206 h 332"/>
                <a:gd name="T6" fmla="*/ 96 w 150"/>
                <a:gd name="T7" fmla="*/ 183 h 332"/>
                <a:gd name="T8" fmla="*/ 112 w 150"/>
                <a:gd name="T9" fmla="*/ 177 h 332"/>
                <a:gd name="T10" fmla="*/ 118 w 150"/>
                <a:gd name="T11" fmla="*/ 148 h 332"/>
                <a:gd name="T12" fmla="*/ 133 w 150"/>
                <a:gd name="T13" fmla="*/ 132 h 332"/>
                <a:gd name="T14" fmla="*/ 135 w 150"/>
                <a:gd name="T15" fmla="*/ 105 h 332"/>
                <a:gd name="T16" fmla="*/ 148 w 150"/>
                <a:gd name="T17" fmla="*/ 95 h 332"/>
                <a:gd name="T18" fmla="*/ 144 w 150"/>
                <a:gd name="T19" fmla="*/ 85 h 332"/>
                <a:gd name="T20" fmla="*/ 145 w 150"/>
                <a:gd name="T21" fmla="*/ 76 h 332"/>
                <a:gd name="T22" fmla="*/ 131 w 150"/>
                <a:gd name="T23" fmla="*/ 51 h 332"/>
                <a:gd name="T24" fmla="*/ 139 w 150"/>
                <a:gd name="T25" fmla="*/ 31 h 332"/>
                <a:gd name="T26" fmla="*/ 118 w 150"/>
                <a:gd name="T27" fmla="*/ 22 h 332"/>
                <a:gd name="T28" fmla="*/ 96 w 150"/>
                <a:gd name="T29" fmla="*/ 0 h 332"/>
                <a:gd name="T30" fmla="*/ 79 w 150"/>
                <a:gd name="T31" fmla="*/ 7 h 332"/>
                <a:gd name="T32" fmla="*/ 76 w 150"/>
                <a:gd name="T33" fmla="*/ 23 h 332"/>
                <a:gd name="T34" fmla="*/ 83 w 150"/>
                <a:gd name="T35" fmla="*/ 26 h 332"/>
                <a:gd name="T36" fmla="*/ 77 w 150"/>
                <a:gd name="T37" fmla="*/ 28 h 332"/>
                <a:gd name="T38" fmla="*/ 74 w 150"/>
                <a:gd name="T39" fmla="*/ 39 h 332"/>
                <a:gd name="T40" fmla="*/ 63 w 150"/>
                <a:gd name="T41" fmla="*/ 43 h 332"/>
                <a:gd name="T42" fmla="*/ 58 w 150"/>
                <a:gd name="T43" fmla="*/ 53 h 332"/>
                <a:gd name="T44" fmla="*/ 32 w 150"/>
                <a:gd name="T45" fmla="*/ 51 h 332"/>
                <a:gd name="T46" fmla="*/ 19 w 150"/>
                <a:gd name="T47" fmla="*/ 70 h 332"/>
                <a:gd name="T48" fmla="*/ 11 w 150"/>
                <a:gd name="T49" fmla="*/ 70 h 332"/>
                <a:gd name="T50" fmla="*/ 6 w 150"/>
                <a:gd name="T51" fmla="*/ 77 h 332"/>
                <a:gd name="T52" fmla="*/ 0 w 150"/>
                <a:gd name="T53" fmla="*/ 89 h 332"/>
                <a:gd name="T54" fmla="*/ 1 w 150"/>
                <a:gd name="T55" fmla="*/ 108 h 332"/>
                <a:gd name="T56" fmla="*/ 28 w 150"/>
                <a:gd name="T57" fmla="*/ 131 h 332"/>
                <a:gd name="T58" fmla="*/ 28 w 150"/>
                <a:gd name="T59" fmla="*/ 162 h 332"/>
                <a:gd name="T60" fmla="*/ 40 w 150"/>
                <a:gd name="T61" fmla="*/ 179 h 332"/>
                <a:gd name="T62" fmla="*/ 44 w 150"/>
                <a:gd name="T63" fmla="*/ 206 h 332"/>
                <a:gd name="T64" fmla="*/ 39 w 150"/>
                <a:gd name="T65" fmla="*/ 214 h 332"/>
                <a:gd name="T66" fmla="*/ 38 w 150"/>
                <a:gd name="T67" fmla="*/ 253 h 332"/>
                <a:gd name="T68" fmla="*/ 44 w 150"/>
                <a:gd name="T69" fmla="*/ 259 h 332"/>
                <a:gd name="T70" fmla="*/ 39 w 150"/>
                <a:gd name="T71" fmla="*/ 266 h 332"/>
                <a:gd name="T72" fmla="*/ 41 w 150"/>
                <a:gd name="T73" fmla="*/ 310 h 332"/>
                <a:gd name="T74" fmla="*/ 50 w 150"/>
                <a:gd name="T75" fmla="*/ 329 h 332"/>
                <a:gd name="T76" fmla="*/ 50 w 150"/>
                <a:gd name="T77" fmla="*/ 329 h 332"/>
                <a:gd name="T78" fmla="*/ 73 w 150"/>
                <a:gd name="T79" fmla="*/ 332 h 332"/>
                <a:gd name="T80" fmla="*/ 81 w 150"/>
                <a:gd name="T81" fmla="*/ 318 h 332"/>
                <a:gd name="T82" fmla="*/ 91 w 150"/>
                <a:gd name="T83" fmla="*/ 323 h 332"/>
                <a:gd name="T84" fmla="*/ 95 w 150"/>
                <a:gd name="T85" fmla="*/ 306 h 332"/>
                <a:gd name="T86" fmla="*/ 94 w 150"/>
                <a:gd name="T87" fmla="*/ 24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0" h="332">
                  <a:moveTo>
                    <a:pt x="94" y="247"/>
                  </a:moveTo>
                  <a:cubicBezTo>
                    <a:pt x="97" y="228"/>
                    <a:pt x="97" y="228"/>
                    <a:pt x="97" y="228"/>
                  </a:cubicBezTo>
                  <a:cubicBezTo>
                    <a:pt x="94" y="206"/>
                    <a:pt x="94" y="206"/>
                    <a:pt x="94" y="206"/>
                  </a:cubicBezTo>
                  <a:cubicBezTo>
                    <a:pt x="96" y="183"/>
                    <a:pt x="96" y="183"/>
                    <a:pt x="96" y="183"/>
                  </a:cubicBezTo>
                  <a:cubicBezTo>
                    <a:pt x="96" y="183"/>
                    <a:pt x="104" y="187"/>
                    <a:pt x="112" y="177"/>
                  </a:cubicBezTo>
                  <a:cubicBezTo>
                    <a:pt x="120" y="167"/>
                    <a:pt x="115" y="155"/>
                    <a:pt x="118" y="148"/>
                  </a:cubicBezTo>
                  <a:cubicBezTo>
                    <a:pt x="121" y="141"/>
                    <a:pt x="133" y="132"/>
                    <a:pt x="133" y="132"/>
                  </a:cubicBezTo>
                  <a:cubicBezTo>
                    <a:pt x="135" y="105"/>
                    <a:pt x="135" y="105"/>
                    <a:pt x="135" y="105"/>
                  </a:cubicBezTo>
                  <a:cubicBezTo>
                    <a:pt x="135" y="105"/>
                    <a:pt x="146" y="102"/>
                    <a:pt x="148" y="95"/>
                  </a:cubicBezTo>
                  <a:cubicBezTo>
                    <a:pt x="150" y="88"/>
                    <a:pt x="144" y="85"/>
                    <a:pt x="144" y="85"/>
                  </a:cubicBezTo>
                  <a:cubicBezTo>
                    <a:pt x="144" y="85"/>
                    <a:pt x="145" y="82"/>
                    <a:pt x="145" y="76"/>
                  </a:cubicBezTo>
                  <a:cubicBezTo>
                    <a:pt x="145" y="70"/>
                    <a:pt x="130" y="58"/>
                    <a:pt x="131" y="51"/>
                  </a:cubicBezTo>
                  <a:cubicBezTo>
                    <a:pt x="132" y="44"/>
                    <a:pt x="139" y="31"/>
                    <a:pt x="139" y="31"/>
                  </a:cubicBezTo>
                  <a:cubicBezTo>
                    <a:pt x="139" y="31"/>
                    <a:pt x="123" y="25"/>
                    <a:pt x="118" y="22"/>
                  </a:cubicBezTo>
                  <a:cubicBezTo>
                    <a:pt x="113" y="19"/>
                    <a:pt x="96" y="0"/>
                    <a:pt x="96" y="0"/>
                  </a:cubicBezTo>
                  <a:cubicBezTo>
                    <a:pt x="79" y="7"/>
                    <a:pt x="79" y="7"/>
                    <a:pt x="79" y="7"/>
                  </a:cubicBezTo>
                  <a:cubicBezTo>
                    <a:pt x="76" y="23"/>
                    <a:pt x="76" y="23"/>
                    <a:pt x="76" y="23"/>
                  </a:cubicBezTo>
                  <a:cubicBezTo>
                    <a:pt x="83" y="26"/>
                    <a:pt x="83" y="26"/>
                    <a:pt x="83" y="26"/>
                  </a:cubicBezTo>
                  <a:cubicBezTo>
                    <a:pt x="77" y="28"/>
                    <a:pt x="77" y="28"/>
                    <a:pt x="77" y="28"/>
                  </a:cubicBezTo>
                  <a:cubicBezTo>
                    <a:pt x="74" y="39"/>
                    <a:pt x="74" y="39"/>
                    <a:pt x="74" y="39"/>
                  </a:cubicBezTo>
                  <a:cubicBezTo>
                    <a:pt x="74" y="39"/>
                    <a:pt x="67" y="40"/>
                    <a:pt x="63" y="43"/>
                  </a:cubicBezTo>
                  <a:cubicBezTo>
                    <a:pt x="59" y="46"/>
                    <a:pt x="58" y="53"/>
                    <a:pt x="58" y="53"/>
                  </a:cubicBezTo>
                  <a:cubicBezTo>
                    <a:pt x="58" y="53"/>
                    <a:pt x="32" y="52"/>
                    <a:pt x="32" y="51"/>
                  </a:cubicBezTo>
                  <a:cubicBezTo>
                    <a:pt x="21" y="56"/>
                    <a:pt x="19" y="70"/>
                    <a:pt x="19" y="70"/>
                  </a:cubicBezTo>
                  <a:cubicBezTo>
                    <a:pt x="11" y="70"/>
                    <a:pt x="11" y="70"/>
                    <a:pt x="11" y="70"/>
                  </a:cubicBezTo>
                  <a:cubicBezTo>
                    <a:pt x="6" y="77"/>
                    <a:pt x="6" y="77"/>
                    <a:pt x="6" y="77"/>
                  </a:cubicBezTo>
                  <a:cubicBezTo>
                    <a:pt x="0" y="89"/>
                    <a:pt x="0" y="89"/>
                    <a:pt x="0" y="89"/>
                  </a:cubicBezTo>
                  <a:cubicBezTo>
                    <a:pt x="1" y="108"/>
                    <a:pt x="1" y="108"/>
                    <a:pt x="1" y="108"/>
                  </a:cubicBezTo>
                  <a:cubicBezTo>
                    <a:pt x="1" y="108"/>
                    <a:pt x="26" y="123"/>
                    <a:pt x="28" y="131"/>
                  </a:cubicBezTo>
                  <a:cubicBezTo>
                    <a:pt x="30" y="139"/>
                    <a:pt x="28" y="162"/>
                    <a:pt x="28" y="162"/>
                  </a:cubicBezTo>
                  <a:cubicBezTo>
                    <a:pt x="28" y="162"/>
                    <a:pt x="41" y="171"/>
                    <a:pt x="40" y="179"/>
                  </a:cubicBezTo>
                  <a:cubicBezTo>
                    <a:pt x="39" y="187"/>
                    <a:pt x="44" y="206"/>
                    <a:pt x="44" y="206"/>
                  </a:cubicBezTo>
                  <a:cubicBezTo>
                    <a:pt x="39" y="214"/>
                    <a:pt x="39" y="214"/>
                    <a:pt x="39" y="214"/>
                  </a:cubicBezTo>
                  <a:cubicBezTo>
                    <a:pt x="38" y="253"/>
                    <a:pt x="38" y="253"/>
                    <a:pt x="38" y="253"/>
                  </a:cubicBezTo>
                  <a:cubicBezTo>
                    <a:pt x="44" y="259"/>
                    <a:pt x="44" y="259"/>
                    <a:pt x="44" y="259"/>
                  </a:cubicBezTo>
                  <a:cubicBezTo>
                    <a:pt x="39" y="266"/>
                    <a:pt x="39" y="266"/>
                    <a:pt x="39" y="266"/>
                  </a:cubicBezTo>
                  <a:cubicBezTo>
                    <a:pt x="41" y="310"/>
                    <a:pt x="41" y="310"/>
                    <a:pt x="41" y="310"/>
                  </a:cubicBezTo>
                  <a:cubicBezTo>
                    <a:pt x="41" y="310"/>
                    <a:pt x="50" y="319"/>
                    <a:pt x="50" y="329"/>
                  </a:cubicBezTo>
                  <a:cubicBezTo>
                    <a:pt x="50" y="329"/>
                    <a:pt x="50" y="329"/>
                    <a:pt x="50" y="329"/>
                  </a:cubicBezTo>
                  <a:cubicBezTo>
                    <a:pt x="61" y="330"/>
                    <a:pt x="73" y="332"/>
                    <a:pt x="73" y="332"/>
                  </a:cubicBezTo>
                  <a:cubicBezTo>
                    <a:pt x="81" y="318"/>
                    <a:pt x="81" y="318"/>
                    <a:pt x="81" y="318"/>
                  </a:cubicBezTo>
                  <a:cubicBezTo>
                    <a:pt x="81" y="318"/>
                    <a:pt x="85" y="320"/>
                    <a:pt x="91" y="323"/>
                  </a:cubicBezTo>
                  <a:cubicBezTo>
                    <a:pt x="95" y="306"/>
                    <a:pt x="95" y="306"/>
                    <a:pt x="95" y="306"/>
                  </a:cubicBezTo>
                  <a:lnTo>
                    <a:pt x="94" y="247"/>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80" name="Nigeria">
              <a:extLst>
                <a:ext uri="{FF2B5EF4-FFF2-40B4-BE49-F238E27FC236}">
                  <a16:creationId xmlns:a16="http://schemas.microsoft.com/office/drawing/2014/main" id="{CF354FFB-2514-4487-A089-FE284F87806D}"/>
                </a:ext>
              </a:extLst>
            </p:cNvPr>
            <p:cNvSpPr>
              <a:spLocks/>
            </p:cNvSpPr>
            <p:nvPr/>
          </p:nvSpPr>
          <p:spPr bwMode="gray">
            <a:xfrm>
              <a:off x="5252596" y="2949160"/>
              <a:ext cx="704773" cy="633811"/>
            </a:xfrm>
            <a:custGeom>
              <a:avLst/>
              <a:gdLst>
                <a:gd name="T0" fmla="*/ 290 w 567"/>
                <a:gd name="T1" fmla="*/ 469 h 511"/>
                <a:gd name="T2" fmla="*/ 333 w 567"/>
                <a:gd name="T3" fmla="*/ 394 h 511"/>
                <a:gd name="T4" fmla="*/ 372 w 567"/>
                <a:gd name="T5" fmla="*/ 375 h 511"/>
                <a:gd name="T6" fmla="*/ 396 w 567"/>
                <a:gd name="T7" fmla="*/ 383 h 511"/>
                <a:gd name="T8" fmla="*/ 417 w 567"/>
                <a:gd name="T9" fmla="*/ 378 h 511"/>
                <a:gd name="T10" fmla="*/ 434 w 567"/>
                <a:gd name="T11" fmla="*/ 343 h 511"/>
                <a:gd name="T12" fmla="*/ 458 w 567"/>
                <a:gd name="T13" fmla="*/ 291 h 511"/>
                <a:gd name="T14" fmla="*/ 484 w 567"/>
                <a:gd name="T15" fmla="*/ 239 h 511"/>
                <a:gd name="T16" fmla="*/ 504 w 567"/>
                <a:gd name="T17" fmla="*/ 200 h 511"/>
                <a:gd name="T18" fmla="*/ 513 w 567"/>
                <a:gd name="T19" fmla="*/ 177 h 511"/>
                <a:gd name="T20" fmla="*/ 533 w 567"/>
                <a:gd name="T21" fmla="*/ 141 h 511"/>
                <a:gd name="T22" fmla="*/ 559 w 567"/>
                <a:gd name="T23" fmla="*/ 111 h 511"/>
                <a:gd name="T24" fmla="*/ 540 w 567"/>
                <a:gd name="T25" fmla="*/ 84 h 511"/>
                <a:gd name="T26" fmla="*/ 517 w 567"/>
                <a:gd name="T27" fmla="*/ 8 h 511"/>
                <a:gd name="T28" fmla="*/ 499 w 567"/>
                <a:gd name="T29" fmla="*/ 22 h 511"/>
                <a:gd name="T30" fmla="*/ 458 w 567"/>
                <a:gd name="T31" fmla="*/ 40 h 511"/>
                <a:gd name="T32" fmla="*/ 382 w 567"/>
                <a:gd name="T33" fmla="*/ 25 h 511"/>
                <a:gd name="T34" fmla="*/ 293 w 567"/>
                <a:gd name="T35" fmla="*/ 55 h 511"/>
                <a:gd name="T36" fmla="*/ 205 w 567"/>
                <a:gd name="T37" fmla="*/ 47 h 511"/>
                <a:gd name="T38" fmla="*/ 174 w 567"/>
                <a:gd name="T39" fmla="*/ 12 h 511"/>
                <a:gd name="T40" fmla="*/ 135 w 567"/>
                <a:gd name="T41" fmla="*/ 1 h 511"/>
                <a:gd name="T42" fmla="*/ 88 w 567"/>
                <a:gd name="T43" fmla="*/ 7 h 511"/>
                <a:gd name="T44" fmla="*/ 68 w 567"/>
                <a:gd name="T45" fmla="*/ 50 h 511"/>
                <a:gd name="T46" fmla="*/ 48 w 567"/>
                <a:gd name="T47" fmla="*/ 110 h 511"/>
                <a:gd name="T48" fmla="*/ 54 w 567"/>
                <a:gd name="T49" fmla="*/ 155 h 511"/>
                <a:gd name="T50" fmla="*/ 57 w 567"/>
                <a:gd name="T51" fmla="*/ 174 h 511"/>
                <a:gd name="T52" fmla="*/ 42 w 567"/>
                <a:gd name="T53" fmla="*/ 211 h 511"/>
                <a:gd name="T54" fmla="*/ 21 w 567"/>
                <a:gd name="T55" fmla="*/ 256 h 511"/>
                <a:gd name="T56" fmla="*/ 3 w 567"/>
                <a:gd name="T57" fmla="*/ 285 h 511"/>
                <a:gd name="T58" fmla="*/ 3 w 567"/>
                <a:gd name="T59" fmla="*/ 326 h 511"/>
                <a:gd name="T60" fmla="*/ 0 w 567"/>
                <a:gd name="T61" fmla="*/ 402 h 511"/>
                <a:gd name="T62" fmla="*/ 44 w 567"/>
                <a:gd name="T63" fmla="*/ 394 h 511"/>
                <a:gd name="T64" fmla="*/ 96 w 567"/>
                <a:gd name="T65" fmla="*/ 413 h 511"/>
                <a:gd name="T66" fmla="*/ 127 w 567"/>
                <a:gd name="T67" fmla="*/ 440 h 511"/>
                <a:gd name="T68" fmla="*/ 133 w 567"/>
                <a:gd name="T69" fmla="*/ 453 h 511"/>
                <a:gd name="T70" fmla="*/ 157 w 567"/>
                <a:gd name="T71" fmla="*/ 510 h 511"/>
                <a:gd name="T72" fmla="*/ 194 w 567"/>
                <a:gd name="T73" fmla="*/ 491 h 511"/>
                <a:gd name="T74" fmla="*/ 228 w 567"/>
                <a:gd name="T75" fmla="*/ 496 h 511"/>
                <a:gd name="T76" fmla="*/ 265 w 567"/>
                <a:gd name="T77" fmla="*/ 504 h 511"/>
                <a:gd name="T78" fmla="*/ 282 w 567"/>
                <a:gd name="T79" fmla="*/ 48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7" h="511">
                  <a:moveTo>
                    <a:pt x="281" y="490"/>
                  </a:moveTo>
                  <a:cubicBezTo>
                    <a:pt x="281" y="490"/>
                    <a:pt x="288" y="475"/>
                    <a:pt x="290" y="469"/>
                  </a:cubicBezTo>
                  <a:cubicBezTo>
                    <a:pt x="292" y="463"/>
                    <a:pt x="290" y="431"/>
                    <a:pt x="290" y="431"/>
                  </a:cubicBezTo>
                  <a:cubicBezTo>
                    <a:pt x="333" y="394"/>
                    <a:pt x="333" y="394"/>
                    <a:pt x="333" y="394"/>
                  </a:cubicBezTo>
                  <a:cubicBezTo>
                    <a:pt x="333" y="394"/>
                    <a:pt x="343" y="374"/>
                    <a:pt x="349" y="369"/>
                  </a:cubicBezTo>
                  <a:cubicBezTo>
                    <a:pt x="355" y="364"/>
                    <a:pt x="363" y="377"/>
                    <a:pt x="372" y="375"/>
                  </a:cubicBezTo>
                  <a:cubicBezTo>
                    <a:pt x="381" y="373"/>
                    <a:pt x="368" y="359"/>
                    <a:pt x="375" y="359"/>
                  </a:cubicBezTo>
                  <a:cubicBezTo>
                    <a:pt x="382" y="359"/>
                    <a:pt x="396" y="383"/>
                    <a:pt x="396" y="383"/>
                  </a:cubicBezTo>
                  <a:cubicBezTo>
                    <a:pt x="396" y="383"/>
                    <a:pt x="393" y="399"/>
                    <a:pt x="405" y="399"/>
                  </a:cubicBezTo>
                  <a:cubicBezTo>
                    <a:pt x="417" y="399"/>
                    <a:pt x="417" y="378"/>
                    <a:pt x="417" y="378"/>
                  </a:cubicBezTo>
                  <a:cubicBezTo>
                    <a:pt x="417" y="378"/>
                    <a:pt x="428" y="369"/>
                    <a:pt x="433" y="363"/>
                  </a:cubicBezTo>
                  <a:cubicBezTo>
                    <a:pt x="438" y="357"/>
                    <a:pt x="434" y="343"/>
                    <a:pt x="434" y="343"/>
                  </a:cubicBezTo>
                  <a:cubicBezTo>
                    <a:pt x="450" y="323"/>
                    <a:pt x="450" y="323"/>
                    <a:pt x="450" y="323"/>
                  </a:cubicBezTo>
                  <a:cubicBezTo>
                    <a:pt x="458" y="291"/>
                    <a:pt x="458" y="291"/>
                    <a:pt x="458" y="291"/>
                  </a:cubicBezTo>
                  <a:cubicBezTo>
                    <a:pt x="458" y="291"/>
                    <a:pt x="477" y="284"/>
                    <a:pt x="482" y="274"/>
                  </a:cubicBezTo>
                  <a:cubicBezTo>
                    <a:pt x="487" y="264"/>
                    <a:pt x="482" y="246"/>
                    <a:pt x="484" y="239"/>
                  </a:cubicBezTo>
                  <a:cubicBezTo>
                    <a:pt x="486" y="232"/>
                    <a:pt x="496" y="239"/>
                    <a:pt x="501" y="230"/>
                  </a:cubicBezTo>
                  <a:cubicBezTo>
                    <a:pt x="506" y="221"/>
                    <a:pt x="504" y="200"/>
                    <a:pt x="504" y="200"/>
                  </a:cubicBezTo>
                  <a:cubicBezTo>
                    <a:pt x="511" y="196"/>
                    <a:pt x="511" y="196"/>
                    <a:pt x="511" y="196"/>
                  </a:cubicBezTo>
                  <a:cubicBezTo>
                    <a:pt x="513" y="177"/>
                    <a:pt x="513" y="177"/>
                    <a:pt x="513" y="177"/>
                  </a:cubicBezTo>
                  <a:cubicBezTo>
                    <a:pt x="513" y="177"/>
                    <a:pt x="523" y="164"/>
                    <a:pt x="524" y="161"/>
                  </a:cubicBezTo>
                  <a:cubicBezTo>
                    <a:pt x="525" y="158"/>
                    <a:pt x="533" y="141"/>
                    <a:pt x="533" y="141"/>
                  </a:cubicBezTo>
                  <a:cubicBezTo>
                    <a:pt x="533" y="141"/>
                    <a:pt x="547" y="138"/>
                    <a:pt x="557" y="129"/>
                  </a:cubicBezTo>
                  <a:cubicBezTo>
                    <a:pt x="567" y="120"/>
                    <a:pt x="559" y="111"/>
                    <a:pt x="559" y="111"/>
                  </a:cubicBezTo>
                  <a:cubicBezTo>
                    <a:pt x="559" y="111"/>
                    <a:pt x="563" y="98"/>
                    <a:pt x="562" y="87"/>
                  </a:cubicBezTo>
                  <a:cubicBezTo>
                    <a:pt x="561" y="76"/>
                    <a:pt x="542" y="87"/>
                    <a:pt x="540" y="84"/>
                  </a:cubicBezTo>
                  <a:cubicBezTo>
                    <a:pt x="538" y="81"/>
                    <a:pt x="536" y="40"/>
                    <a:pt x="536" y="40"/>
                  </a:cubicBezTo>
                  <a:cubicBezTo>
                    <a:pt x="517" y="8"/>
                    <a:pt x="517" y="8"/>
                    <a:pt x="517" y="8"/>
                  </a:cubicBezTo>
                  <a:cubicBezTo>
                    <a:pt x="517" y="8"/>
                    <a:pt x="511" y="8"/>
                    <a:pt x="507" y="8"/>
                  </a:cubicBezTo>
                  <a:cubicBezTo>
                    <a:pt x="503" y="8"/>
                    <a:pt x="499" y="22"/>
                    <a:pt x="499" y="22"/>
                  </a:cubicBezTo>
                  <a:cubicBezTo>
                    <a:pt x="499" y="22"/>
                    <a:pt x="490" y="19"/>
                    <a:pt x="483" y="23"/>
                  </a:cubicBezTo>
                  <a:cubicBezTo>
                    <a:pt x="476" y="27"/>
                    <a:pt x="458" y="40"/>
                    <a:pt x="458" y="40"/>
                  </a:cubicBezTo>
                  <a:cubicBezTo>
                    <a:pt x="440" y="39"/>
                    <a:pt x="440" y="39"/>
                    <a:pt x="440" y="39"/>
                  </a:cubicBezTo>
                  <a:cubicBezTo>
                    <a:pt x="440" y="39"/>
                    <a:pt x="424" y="25"/>
                    <a:pt x="382" y="25"/>
                  </a:cubicBezTo>
                  <a:cubicBezTo>
                    <a:pt x="340" y="25"/>
                    <a:pt x="328" y="60"/>
                    <a:pt x="328" y="60"/>
                  </a:cubicBezTo>
                  <a:cubicBezTo>
                    <a:pt x="328" y="60"/>
                    <a:pt x="312" y="56"/>
                    <a:pt x="293" y="55"/>
                  </a:cubicBezTo>
                  <a:cubicBezTo>
                    <a:pt x="274" y="54"/>
                    <a:pt x="262" y="26"/>
                    <a:pt x="250" y="26"/>
                  </a:cubicBezTo>
                  <a:cubicBezTo>
                    <a:pt x="238" y="26"/>
                    <a:pt x="214" y="46"/>
                    <a:pt x="205" y="47"/>
                  </a:cubicBezTo>
                  <a:cubicBezTo>
                    <a:pt x="196" y="48"/>
                    <a:pt x="191" y="26"/>
                    <a:pt x="191" y="26"/>
                  </a:cubicBezTo>
                  <a:cubicBezTo>
                    <a:pt x="174" y="12"/>
                    <a:pt x="174" y="12"/>
                    <a:pt x="174" y="12"/>
                  </a:cubicBezTo>
                  <a:cubicBezTo>
                    <a:pt x="174" y="12"/>
                    <a:pt x="162" y="12"/>
                    <a:pt x="155" y="11"/>
                  </a:cubicBezTo>
                  <a:cubicBezTo>
                    <a:pt x="148" y="10"/>
                    <a:pt x="149" y="0"/>
                    <a:pt x="135" y="1"/>
                  </a:cubicBezTo>
                  <a:cubicBezTo>
                    <a:pt x="121" y="2"/>
                    <a:pt x="122" y="8"/>
                    <a:pt x="122" y="8"/>
                  </a:cubicBezTo>
                  <a:cubicBezTo>
                    <a:pt x="88" y="7"/>
                    <a:pt x="88" y="7"/>
                    <a:pt x="88" y="7"/>
                  </a:cubicBezTo>
                  <a:cubicBezTo>
                    <a:pt x="69" y="24"/>
                    <a:pt x="69" y="24"/>
                    <a:pt x="69" y="24"/>
                  </a:cubicBezTo>
                  <a:cubicBezTo>
                    <a:pt x="69" y="24"/>
                    <a:pt x="69" y="35"/>
                    <a:pt x="68" y="50"/>
                  </a:cubicBezTo>
                  <a:cubicBezTo>
                    <a:pt x="67" y="65"/>
                    <a:pt x="45" y="76"/>
                    <a:pt x="45" y="76"/>
                  </a:cubicBezTo>
                  <a:cubicBezTo>
                    <a:pt x="48" y="110"/>
                    <a:pt x="48" y="110"/>
                    <a:pt x="48" y="110"/>
                  </a:cubicBezTo>
                  <a:cubicBezTo>
                    <a:pt x="48" y="110"/>
                    <a:pt x="41" y="123"/>
                    <a:pt x="40" y="130"/>
                  </a:cubicBezTo>
                  <a:cubicBezTo>
                    <a:pt x="39" y="137"/>
                    <a:pt x="54" y="149"/>
                    <a:pt x="54" y="155"/>
                  </a:cubicBezTo>
                  <a:cubicBezTo>
                    <a:pt x="54" y="161"/>
                    <a:pt x="53" y="164"/>
                    <a:pt x="53" y="164"/>
                  </a:cubicBezTo>
                  <a:cubicBezTo>
                    <a:pt x="53" y="164"/>
                    <a:pt x="59" y="167"/>
                    <a:pt x="57" y="174"/>
                  </a:cubicBezTo>
                  <a:cubicBezTo>
                    <a:pt x="55" y="181"/>
                    <a:pt x="44" y="184"/>
                    <a:pt x="44" y="184"/>
                  </a:cubicBezTo>
                  <a:cubicBezTo>
                    <a:pt x="42" y="211"/>
                    <a:pt x="42" y="211"/>
                    <a:pt x="42" y="211"/>
                  </a:cubicBezTo>
                  <a:cubicBezTo>
                    <a:pt x="42" y="211"/>
                    <a:pt x="30" y="220"/>
                    <a:pt x="27" y="227"/>
                  </a:cubicBezTo>
                  <a:cubicBezTo>
                    <a:pt x="24" y="234"/>
                    <a:pt x="29" y="246"/>
                    <a:pt x="21" y="256"/>
                  </a:cubicBezTo>
                  <a:cubicBezTo>
                    <a:pt x="13" y="266"/>
                    <a:pt x="5" y="262"/>
                    <a:pt x="5" y="262"/>
                  </a:cubicBezTo>
                  <a:cubicBezTo>
                    <a:pt x="3" y="285"/>
                    <a:pt x="3" y="285"/>
                    <a:pt x="3" y="285"/>
                  </a:cubicBezTo>
                  <a:cubicBezTo>
                    <a:pt x="6" y="307"/>
                    <a:pt x="6" y="307"/>
                    <a:pt x="6" y="307"/>
                  </a:cubicBezTo>
                  <a:cubicBezTo>
                    <a:pt x="3" y="326"/>
                    <a:pt x="3" y="326"/>
                    <a:pt x="3" y="326"/>
                  </a:cubicBezTo>
                  <a:cubicBezTo>
                    <a:pt x="4" y="385"/>
                    <a:pt x="4" y="385"/>
                    <a:pt x="4" y="385"/>
                  </a:cubicBezTo>
                  <a:cubicBezTo>
                    <a:pt x="0" y="402"/>
                    <a:pt x="0" y="402"/>
                    <a:pt x="0" y="402"/>
                  </a:cubicBezTo>
                  <a:cubicBezTo>
                    <a:pt x="7" y="405"/>
                    <a:pt x="17" y="408"/>
                    <a:pt x="23" y="406"/>
                  </a:cubicBezTo>
                  <a:cubicBezTo>
                    <a:pt x="34" y="402"/>
                    <a:pt x="44" y="394"/>
                    <a:pt x="44" y="394"/>
                  </a:cubicBezTo>
                  <a:cubicBezTo>
                    <a:pt x="47" y="401"/>
                    <a:pt x="47" y="401"/>
                    <a:pt x="47" y="401"/>
                  </a:cubicBezTo>
                  <a:cubicBezTo>
                    <a:pt x="47" y="401"/>
                    <a:pt x="80" y="394"/>
                    <a:pt x="96" y="413"/>
                  </a:cubicBezTo>
                  <a:cubicBezTo>
                    <a:pt x="112" y="432"/>
                    <a:pt x="113" y="441"/>
                    <a:pt x="113" y="441"/>
                  </a:cubicBezTo>
                  <a:cubicBezTo>
                    <a:pt x="127" y="440"/>
                    <a:pt x="127" y="440"/>
                    <a:pt x="127" y="440"/>
                  </a:cubicBezTo>
                  <a:cubicBezTo>
                    <a:pt x="127" y="440"/>
                    <a:pt x="117" y="455"/>
                    <a:pt x="120" y="456"/>
                  </a:cubicBezTo>
                  <a:cubicBezTo>
                    <a:pt x="123" y="457"/>
                    <a:pt x="133" y="450"/>
                    <a:pt x="133" y="453"/>
                  </a:cubicBezTo>
                  <a:cubicBezTo>
                    <a:pt x="133" y="456"/>
                    <a:pt x="128" y="464"/>
                    <a:pt x="128" y="472"/>
                  </a:cubicBezTo>
                  <a:cubicBezTo>
                    <a:pt x="128" y="480"/>
                    <a:pt x="136" y="509"/>
                    <a:pt x="157" y="510"/>
                  </a:cubicBezTo>
                  <a:cubicBezTo>
                    <a:pt x="178" y="511"/>
                    <a:pt x="191" y="509"/>
                    <a:pt x="191" y="509"/>
                  </a:cubicBezTo>
                  <a:cubicBezTo>
                    <a:pt x="194" y="491"/>
                    <a:pt x="194" y="491"/>
                    <a:pt x="194" y="491"/>
                  </a:cubicBezTo>
                  <a:cubicBezTo>
                    <a:pt x="212" y="501"/>
                    <a:pt x="212" y="501"/>
                    <a:pt x="212" y="501"/>
                  </a:cubicBezTo>
                  <a:cubicBezTo>
                    <a:pt x="228" y="496"/>
                    <a:pt x="228" y="496"/>
                    <a:pt x="228" y="496"/>
                  </a:cubicBezTo>
                  <a:cubicBezTo>
                    <a:pt x="237" y="505"/>
                    <a:pt x="237" y="505"/>
                    <a:pt x="237" y="505"/>
                  </a:cubicBezTo>
                  <a:cubicBezTo>
                    <a:pt x="265" y="504"/>
                    <a:pt x="265" y="504"/>
                    <a:pt x="265" y="504"/>
                  </a:cubicBezTo>
                  <a:cubicBezTo>
                    <a:pt x="265" y="488"/>
                    <a:pt x="265" y="488"/>
                    <a:pt x="265" y="488"/>
                  </a:cubicBezTo>
                  <a:cubicBezTo>
                    <a:pt x="282" y="487"/>
                    <a:pt x="282" y="487"/>
                    <a:pt x="282" y="487"/>
                  </a:cubicBezTo>
                  <a:cubicBezTo>
                    <a:pt x="281" y="490"/>
                    <a:pt x="281" y="490"/>
                    <a:pt x="281" y="490"/>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81" name="Chad">
              <a:extLst>
                <a:ext uri="{FF2B5EF4-FFF2-40B4-BE49-F238E27FC236}">
                  <a16:creationId xmlns:a16="http://schemas.microsoft.com/office/drawing/2014/main" id="{EF666282-DA71-43A7-98DA-BC362ADA0F1F}"/>
                </a:ext>
              </a:extLst>
            </p:cNvPr>
            <p:cNvSpPr>
              <a:spLocks/>
            </p:cNvSpPr>
            <p:nvPr/>
          </p:nvSpPr>
          <p:spPr bwMode="gray">
            <a:xfrm>
              <a:off x="5883371" y="2304789"/>
              <a:ext cx="613153" cy="1077475"/>
            </a:xfrm>
            <a:custGeom>
              <a:avLst/>
              <a:gdLst>
                <a:gd name="T0" fmla="*/ 496 w 496"/>
                <a:gd name="T1" fmla="*/ 420 h 866"/>
                <a:gd name="T2" fmla="*/ 119 w 496"/>
                <a:gd name="T3" fmla="*/ 0 h 866"/>
                <a:gd name="T4" fmla="*/ 83 w 496"/>
                <a:gd name="T5" fmla="*/ 72 h 866"/>
                <a:gd name="T6" fmla="*/ 95 w 496"/>
                <a:gd name="T7" fmla="*/ 129 h 866"/>
                <a:gd name="T8" fmla="*/ 120 w 496"/>
                <a:gd name="T9" fmla="*/ 169 h 866"/>
                <a:gd name="T10" fmla="*/ 96 w 496"/>
                <a:gd name="T11" fmla="*/ 356 h 866"/>
                <a:gd name="T12" fmla="*/ 13 w 496"/>
                <a:gd name="T13" fmla="*/ 479 h 866"/>
                <a:gd name="T14" fmla="*/ 3 w 496"/>
                <a:gd name="T15" fmla="*/ 526 h 866"/>
                <a:gd name="T16" fmla="*/ 29 w 496"/>
                <a:gd name="T17" fmla="*/ 558 h 866"/>
                <a:gd name="T18" fmla="*/ 29 w 496"/>
                <a:gd name="T19" fmla="*/ 561 h 866"/>
                <a:gd name="T20" fmla="*/ 50 w 496"/>
                <a:gd name="T21" fmla="*/ 576 h 866"/>
                <a:gd name="T22" fmla="*/ 66 w 496"/>
                <a:gd name="T23" fmla="*/ 611 h 866"/>
                <a:gd name="T24" fmla="*/ 74 w 496"/>
                <a:gd name="T25" fmla="*/ 650 h 866"/>
                <a:gd name="T26" fmla="*/ 106 w 496"/>
                <a:gd name="T27" fmla="*/ 724 h 866"/>
                <a:gd name="T28" fmla="*/ 31 w 496"/>
                <a:gd name="T29" fmla="*/ 733 h 866"/>
                <a:gd name="T30" fmla="*/ 87 w 496"/>
                <a:gd name="T31" fmla="*/ 802 h 866"/>
                <a:gd name="T32" fmla="*/ 123 w 496"/>
                <a:gd name="T33" fmla="*/ 860 h 866"/>
                <a:gd name="T34" fmla="*/ 165 w 496"/>
                <a:gd name="T35" fmla="*/ 858 h 866"/>
                <a:gd name="T36" fmla="*/ 248 w 496"/>
                <a:gd name="T37" fmla="*/ 833 h 866"/>
                <a:gd name="T38" fmla="*/ 253 w 496"/>
                <a:gd name="T39" fmla="*/ 788 h 866"/>
                <a:gd name="T40" fmla="*/ 338 w 496"/>
                <a:gd name="T41" fmla="*/ 765 h 866"/>
                <a:gd name="T42" fmla="*/ 378 w 496"/>
                <a:gd name="T43" fmla="*/ 723 h 866"/>
                <a:gd name="T44" fmla="*/ 393 w 496"/>
                <a:gd name="T45" fmla="*/ 691 h 866"/>
                <a:gd name="T46" fmla="*/ 446 w 496"/>
                <a:gd name="T47" fmla="*/ 674 h 866"/>
                <a:gd name="T48" fmla="*/ 451 w 496"/>
                <a:gd name="T49" fmla="*/ 656 h 866"/>
                <a:gd name="T50" fmla="*/ 426 w 496"/>
                <a:gd name="T51" fmla="*/ 625 h 866"/>
                <a:gd name="T52" fmla="*/ 428 w 496"/>
                <a:gd name="T53" fmla="*/ 612 h 866"/>
                <a:gd name="T54" fmla="*/ 406 w 496"/>
                <a:gd name="T55" fmla="*/ 587 h 866"/>
                <a:gd name="T56" fmla="*/ 417 w 496"/>
                <a:gd name="T57" fmla="*/ 549 h 866"/>
                <a:gd name="T58" fmla="*/ 419 w 496"/>
                <a:gd name="T59" fmla="*/ 508 h 866"/>
                <a:gd name="T60" fmla="*/ 425 w 496"/>
                <a:gd name="T61" fmla="*/ 490 h 866"/>
                <a:gd name="T62" fmla="*/ 432 w 496"/>
                <a:gd name="T63" fmla="*/ 474 h 866"/>
                <a:gd name="T64" fmla="*/ 449 w 496"/>
                <a:gd name="T65" fmla="*/ 44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6" h="866">
                  <a:moveTo>
                    <a:pt x="451" y="419"/>
                  </a:moveTo>
                  <a:cubicBezTo>
                    <a:pt x="464" y="415"/>
                    <a:pt x="496" y="420"/>
                    <a:pt x="496" y="420"/>
                  </a:cubicBezTo>
                  <a:cubicBezTo>
                    <a:pt x="492" y="216"/>
                    <a:pt x="492" y="216"/>
                    <a:pt x="492" y="216"/>
                  </a:cubicBezTo>
                  <a:cubicBezTo>
                    <a:pt x="119" y="0"/>
                    <a:pt x="119" y="0"/>
                    <a:pt x="119" y="0"/>
                  </a:cubicBezTo>
                  <a:cubicBezTo>
                    <a:pt x="119" y="0"/>
                    <a:pt x="94" y="15"/>
                    <a:pt x="71" y="28"/>
                  </a:cubicBezTo>
                  <a:cubicBezTo>
                    <a:pt x="83" y="72"/>
                    <a:pt x="83" y="72"/>
                    <a:pt x="83" y="72"/>
                  </a:cubicBezTo>
                  <a:cubicBezTo>
                    <a:pt x="76" y="105"/>
                    <a:pt x="76" y="105"/>
                    <a:pt x="76" y="105"/>
                  </a:cubicBezTo>
                  <a:cubicBezTo>
                    <a:pt x="95" y="129"/>
                    <a:pt x="95" y="129"/>
                    <a:pt x="95" y="129"/>
                  </a:cubicBezTo>
                  <a:cubicBezTo>
                    <a:pt x="100" y="145"/>
                    <a:pt x="100" y="145"/>
                    <a:pt x="100" y="145"/>
                  </a:cubicBezTo>
                  <a:cubicBezTo>
                    <a:pt x="120" y="169"/>
                    <a:pt x="120" y="169"/>
                    <a:pt x="120" y="169"/>
                  </a:cubicBezTo>
                  <a:cubicBezTo>
                    <a:pt x="106" y="194"/>
                    <a:pt x="106" y="194"/>
                    <a:pt x="106" y="194"/>
                  </a:cubicBezTo>
                  <a:cubicBezTo>
                    <a:pt x="96" y="356"/>
                    <a:pt x="96" y="356"/>
                    <a:pt x="96" y="356"/>
                  </a:cubicBezTo>
                  <a:cubicBezTo>
                    <a:pt x="96" y="356"/>
                    <a:pt x="46" y="409"/>
                    <a:pt x="35" y="426"/>
                  </a:cubicBezTo>
                  <a:cubicBezTo>
                    <a:pt x="23" y="442"/>
                    <a:pt x="13" y="479"/>
                    <a:pt x="13" y="479"/>
                  </a:cubicBezTo>
                  <a:cubicBezTo>
                    <a:pt x="0" y="484"/>
                    <a:pt x="0" y="484"/>
                    <a:pt x="0" y="484"/>
                  </a:cubicBezTo>
                  <a:cubicBezTo>
                    <a:pt x="3" y="526"/>
                    <a:pt x="3" y="526"/>
                    <a:pt x="3" y="526"/>
                  </a:cubicBezTo>
                  <a:cubicBezTo>
                    <a:pt x="7" y="526"/>
                    <a:pt x="10" y="526"/>
                    <a:pt x="10" y="526"/>
                  </a:cubicBezTo>
                  <a:cubicBezTo>
                    <a:pt x="29" y="558"/>
                    <a:pt x="29" y="558"/>
                    <a:pt x="29" y="558"/>
                  </a:cubicBezTo>
                  <a:cubicBezTo>
                    <a:pt x="29" y="558"/>
                    <a:pt x="29" y="560"/>
                    <a:pt x="29" y="563"/>
                  </a:cubicBezTo>
                  <a:cubicBezTo>
                    <a:pt x="29" y="562"/>
                    <a:pt x="29" y="561"/>
                    <a:pt x="29" y="561"/>
                  </a:cubicBezTo>
                  <a:cubicBezTo>
                    <a:pt x="45" y="559"/>
                    <a:pt x="45" y="559"/>
                    <a:pt x="45" y="559"/>
                  </a:cubicBezTo>
                  <a:cubicBezTo>
                    <a:pt x="45" y="559"/>
                    <a:pt x="46" y="571"/>
                    <a:pt x="50" y="576"/>
                  </a:cubicBezTo>
                  <a:cubicBezTo>
                    <a:pt x="54" y="581"/>
                    <a:pt x="70" y="584"/>
                    <a:pt x="70" y="584"/>
                  </a:cubicBezTo>
                  <a:cubicBezTo>
                    <a:pt x="66" y="611"/>
                    <a:pt x="66" y="611"/>
                    <a:pt x="66" y="611"/>
                  </a:cubicBezTo>
                  <a:cubicBezTo>
                    <a:pt x="66" y="611"/>
                    <a:pt x="80" y="618"/>
                    <a:pt x="80" y="629"/>
                  </a:cubicBezTo>
                  <a:cubicBezTo>
                    <a:pt x="80" y="640"/>
                    <a:pt x="74" y="650"/>
                    <a:pt x="74" y="650"/>
                  </a:cubicBezTo>
                  <a:cubicBezTo>
                    <a:pt x="74" y="650"/>
                    <a:pt x="75" y="678"/>
                    <a:pt x="80" y="692"/>
                  </a:cubicBezTo>
                  <a:cubicBezTo>
                    <a:pt x="85" y="706"/>
                    <a:pt x="106" y="724"/>
                    <a:pt x="106" y="724"/>
                  </a:cubicBezTo>
                  <a:cubicBezTo>
                    <a:pt x="106" y="724"/>
                    <a:pt x="92" y="725"/>
                    <a:pt x="84" y="726"/>
                  </a:cubicBezTo>
                  <a:cubicBezTo>
                    <a:pt x="76" y="727"/>
                    <a:pt x="36" y="720"/>
                    <a:pt x="31" y="733"/>
                  </a:cubicBezTo>
                  <a:cubicBezTo>
                    <a:pt x="26" y="746"/>
                    <a:pt x="41" y="767"/>
                    <a:pt x="49" y="775"/>
                  </a:cubicBezTo>
                  <a:cubicBezTo>
                    <a:pt x="57" y="783"/>
                    <a:pt x="78" y="792"/>
                    <a:pt x="87" y="802"/>
                  </a:cubicBezTo>
                  <a:cubicBezTo>
                    <a:pt x="96" y="812"/>
                    <a:pt x="101" y="859"/>
                    <a:pt x="101" y="859"/>
                  </a:cubicBezTo>
                  <a:cubicBezTo>
                    <a:pt x="101" y="859"/>
                    <a:pt x="113" y="866"/>
                    <a:pt x="123" y="860"/>
                  </a:cubicBezTo>
                  <a:cubicBezTo>
                    <a:pt x="133" y="853"/>
                    <a:pt x="153" y="838"/>
                    <a:pt x="153" y="838"/>
                  </a:cubicBezTo>
                  <a:cubicBezTo>
                    <a:pt x="153" y="838"/>
                    <a:pt x="146" y="863"/>
                    <a:pt x="165" y="858"/>
                  </a:cubicBezTo>
                  <a:cubicBezTo>
                    <a:pt x="183" y="853"/>
                    <a:pt x="178" y="833"/>
                    <a:pt x="196" y="833"/>
                  </a:cubicBezTo>
                  <a:cubicBezTo>
                    <a:pt x="215" y="833"/>
                    <a:pt x="248" y="833"/>
                    <a:pt x="248" y="833"/>
                  </a:cubicBezTo>
                  <a:cubicBezTo>
                    <a:pt x="248" y="833"/>
                    <a:pt x="263" y="811"/>
                    <a:pt x="268" y="805"/>
                  </a:cubicBezTo>
                  <a:cubicBezTo>
                    <a:pt x="273" y="798"/>
                    <a:pt x="253" y="788"/>
                    <a:pt x="253" y="788"/>
                  </a:cubicBezTo>
                  <a:cubicBezTo>
                    <a:pt x="267" y="780"/>
                    <a:pt x="267" y="780"/>
                    <a:pt x="267" y="780"/>
                  </a:cubicBezTo>
                  <a:cubicBezTo>
                    <a:pt x="267" y="780"/>
                    <a:pt x="307" y="780"/>
                    <a:pt x="338" y="765"/>
                  </a:cubicBezTo>
                  <a:cubicBezTo>
                    <a:pt x="370" y="750"/>
                    <a:pt x="365" y="728"/>
                    <a:pt x="365" y="728"/>
                  </a:cubicBezTo>
                  <a:cubicBezTo>
                    <a:pt x="378" y="723"/>
                    <a:pt x="378" y="723"/>
                    <a:pt x="378" y="723"/>
                  </a:cubicBezTo>
                  <a:cubicBezTo>
                    <a:pt x="390" y="711"/>
                    <a:pt x="390" y="711"/>
                    <a:pt x="390" y="711"/>
                  </a:cubicBezTo>
                  <a:cubicBezTo>
                    <a:pt x="393" y="691"/>
                    <a:pt x="393" y="691"/>
                    <a:pt x="393" y="691"/>
                  </a:cubicBezTo>
                  <a:cubicBezTo>
                    <a:pt x="430" y="673"/>
                    <a:pt x="430" y="673"/>
                    <a:pt x="430" y="673"/>
                  </a:cubicBezTo>
                  <a:cubicBezTo>
                    <a:pt x="446" y="674"/>
                    <a:pt x="446" y="674"/>
                    <a:pt x="446" y="674"/>
                  </a:cubicBezTo>
                  <a:cubicBezTo>
                    <a:pt x="445" y="665"/>
                    <a:pt x="445" y="665"/>
                    <a:pt x="445" y="665"/>
                  </a:cubicBezTo>
                  <a:cubicBezTo>
                    <a:pt x="445" y="665"/>
                    <a:pt x="463" y="669"/>
                    <a:pt x="451" y="656"/>
                  </a:cubicBezTo>
                  <a:cubicBezTo>
                    <a:pt x="439" y="643"/>
                    <a:pt x="430" y="642"/>
                    <a:pt x="430" y="642"/>
                  </a:cubicBezTo>
                  <a:cubicBezTo>
                    <a:pt x="426" y="625"/>
                    <a:pt x="426" y="625"/>
                    <a:pt x="426" y="625"/>
                  </a:cubicBezTo>
                  <a:cubicBezTo>
                    <a:pt x="437" y="620"/>
                    <a:pt x="437" y="620"/>
                    <a:pt x="437" y="620"/>
                  </a:cubicBezTo>
                  <a:cubicBezTo>
                    <a:pt x="428" y="612"/>
                    <a:pt x="428" y="612"/>
                    <a:pt x="428" y="612"/>
                  </a:cubicBezTo>
                  <a:cubicBezTo>
                    <a:pt x="428" y="612"/>
                    <a:pt x="430" y="585"/>
                    <a:pt x="423" y="582"/>
                  </a:cubicBezTo>
                  <a:cubicBezTo>
                    <a:pt x="416" y="579"/>
                    <a:pt x="411" y="589"/>
                    <a:pt x="406" y="587"/>
                  </a:cubicBezTo>
                  <a:cubicBezTo>
                    <a:pt x="401" y="585"/>
                    <a:pt x="395" y="580"/>
                    <a:pt x="398" y="569"/>
                  </a:cubicBezTo>
                  <a:cubicBezTo>
                    <a:pt x="401" y="558"/>
                    <a:pt x="415" y="558"/>
                    <a:pt x="417" y="549"/>
                  </a:cubicBezTo>
                  <a:cubicBezTo>
                    <a:pt x="419" y="540"/>
                    <a:pt x="416" y="536"/>
                    <a:pt x="410" y="526"/>
                  </a:cubicBezTo>
                  <a:cubicBezTo>
                    <a:pt x="404" y="516"/>
                    <a:pt x="419" y="508"/>
                    <a:pt x="419" y="508"/>
                  </a:cubicBezTo>
                  <a:cubicBezTo>
                    <a:pt x="430" y="501"/>
                    <a:pt x="430" y="501"/>
                    <a:pt x="430" y="501"/>
                  </a:cubicBezTo>
                  <a:cubicBezTo>
                    <a:pt x="425" y="490"/>
                    <a:pt x="425" y="490"/>
                    <a:pt x="425" y="490"/>
                  </a:cubicBezTo>
                  <a:cubicBezTo>
                    <a:pt x="422" y="474"/>
                    <a:pt x="422" y="474"/>
                    <a:pt x="422" y="474"/>
                  </a:cubicBezTo>
                  <a:cubicBezTo>
                    <a:pt x="432" y="474"/>
                    <a:pt x="432" y="474"/>
                    <a:pt x="432" y="474"/>
                  </a:cubicBezTo>
                  <a:cubicBezTo>
                    <a:pt x="432" y="474"/>
                    <a:pt x="430" y="462"/>
                    <a:pt x="436" y="456"/>
                  </a:cubicBezTo>
                  <a:cubicBezTo>
                    <a:pt x="442" y="450"/>
                    <a:pt x="451" y="450"/>
                    <a:pt x="449" y="442"/>
                  </a:cubicBezTo>
                  <a:cubicBezTo>
                    <a:pt x="447" y="434"/>
                    <a:pt x="438" y="423"/>
                    <a:pt x="451" y="419"/>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82" name="Mali">
              <a:extLst>
                <a:ext uri="{FF2B5EF4-FFF2-40B4-BE49-F238E27FC236}">
                  <a16:creationId xmlns:a16="http://schemas.microsoft.com/office/drawing/2014/main" id="{90C2C8CA-B66B-4C82-97B7-1FB2C65821A1}"/>
                </a:ext>
              </a:extLst>
            </p:cNvPr>
            <p:cNvSpPr>
              <a:spLocks/>
            </p:cNvSpPr>
            <p:nvPr/>
          </p:nvSpPr>
          <p:spPr bwMode="gray">
            <a:xfrm>
              <a:off x="4378676" y="2202673"/>
              <a:ext cx="969065" cy="992970"/>
            </a:xfrm>
            <a:custGeom>
              <a:avLst/>
              <a:gdLst>
                <a:gd name="T0" fmla="*/ 424 w 778"/>
                <a:gd name="T1" fmla="*/ 631 h 800"/>
                <a:gd name="T2" fmla="*/ 437 w 778"/>
                <a:gd name="T3" fmla="*/ 607 h 800"/>
                <a:gd name="T4" fmla="*/ 481 w 778"/>
                <a:gd name="T5" fmla="*/ 585 h 800"/>
                <a:gd name="T6" fmla="*/ 502 w 778"/>
                <a:gd name="T7" fmla="*/ 563 h 800"/>
                <a:gd name="T8" fmla="*/ 527 w 778"/>
                <a:gd name="T9" fmla="*/ 547 h 800"/>
                <a:gd name="T10" fmla="*/ 572 w 778"/>
                <a:gd name="T11" fmla="*/ 537 h 800"/>
                <a:gd name="T12" fmla="*/ 620 w 778"/>
                <a:gd name="T13" fmla="*/ 537 h 800"/>
                <a:gd name="T14" fmla="*/ 680 w 778"/>
                <a:gd name="T15" fmla="*/ 526 h 800"/>
                <a:gd name="T16" fmla="*/ 712 w 778"/>
                <a:gd name="T17" fmla="*/ 519 h 800"/>
                <a:gd name="T18" fmla="*/ 748 w 778"/>
                <a:gd name="T19" fmla="*/ 509 h 800"/>
                <a:gd name="T20" fmla="*/ 778 w 778"/>
                <a:gd name="T21" fmla="*/ 454 h 800"/>
                <a:gd name="T22" fmla="*/ 766 w 778"/>
                <a:gd name="T23" fmla="*/ 320 h 800"/>
                <a:gd name="T24" fmla="*/ 738 w 778"/>
                <a:gd name="T25" fmla="*/ 300 h 800"/>
                <a:gd name="T26" fmla="*/ 694 w 778"/>
                <a:gd name="T27" fmla="*/ 270 h 800"/>
                <a:gd name="T28" fmla="*/ 666 w 778"/>
                <a:gd name="T29" fmla="*/ 251 h 800"/>
                <a:gd name="T30" fmla="*/ 637 w 778"/>
                <a:gd name="T31" fmla="*/ 229 h 800"/>
                <a:gd name="T32" fmla="*/ 364 w 778"/>
                <a:gd name="T33" fmla="*/ 3 h 800"/>
                <a:gd name="T34" fmla="*/ 314 w 778"/>
                <a:gd name="T35" fmla="*/ 459 h 800"/>
                <a:gd name="T36" fmla="*/ 323 w 778"/>
                <a:gd name="T37" fmla="*/ 483 h 800"/>
                <a:gd name="T38" fmla="*/ 141 w 778"/>
                <a:gd name="T39" fmla="*/ 513 h 800"/>
                <a:gd name="T40" fmla="*/ 127 w 778"/>
                <a:gd name="T41" fmla="*/ 517 h 800"/>
                <a:gd name="T42" fmla="*/ 96 w 778"/>
                <a:gd name="T43" fmla="*/ 515 h 800"/>
                <a:gd name="T44" fmla="*/ 64 w 778"/>
                <a:gd name="T45" fmla="*/ 532 h 800"/>
                <a:gd name="T46" fmla="*/ 24 w 778"/>
                <a:gd name="T47" fmla="*/ 535 h 800"/>
                <a:gd name="T48" fmla="*/ 0 w 778"/>
                <a:gd name="T49" fmla="*/ 550 h 800"/>
                <a:gd name="T50" fmla="*/ 9 w 778"/>
                <a:gd name="T51" fmla="*/ 578 h 800"/>
                <a:gd name="T52" fmla="*/ 14 w 778"/>
                <a:gd name="T53" fmla="*/ 623 h 800"/>
                <a:gd name="T54" fmla="*/ 37 w 778"/>
                <a:gd name="T55" fmla="*/ 644 h 800"/>
                <a:gd name="T56" fmla="*/ 44 w 778"/>
                <a:gd name="T57" fmla="*/ 703 h 800"/>
                <a:gd name="T58" fmla="*/ 73 w 778"/>
                <a:gd name="T59" fmla="*/ 706 h 800"/>
                <a:gd name="T60" fmla="*/ 119 w 778"/>
                <a:gd name="T61" fmla="*/ 698 h 800"/>
                <a:gd name="T62" fmla="*/ 145 w 778"/>
                <a:gd name="T63" fmla="*/ 673 h 800"/>
                <a:gd name="T64" fmla="*/ 163 w 778"/>
                <a:gd name="T65" fmla="*/ 697 h 800"/>
                <a:gd name="T66" fmla="*/ 180 w 778"/>
                <a:gd name="T67" fmla="*/ 730 h 800"/>
                <a:gd name="T68" fmla="*/ 182 w 778"/>
                <a:gd name="T69" fmla="*/ 752 h 800"/>
                <a:gd name="T70" fmla="*/ 201 w 778"/>
                <a:gd name="T71" fmla="*/ 796 h 800"/>
                <a:gd name="T72" fmla="*/ 220 w 778"/>
                <a:gd name="T73" fmla="*/ 784 h 800"/>
                <a:gd name="T74" fmla="*/ 250 w 778"/>
                <a:gd name="T75" fmla="*/ 788 h 800"/>
                <a:gd name="T76" fmla="*/ 264 w 778"/>
                <a:gd name="T77" fmla="*/ 770 h 800"/>
                <a:gd name="T78" fmla="*/ 281 w 778"/>
                <a:gd name="T79" fmla="*/ 769 h 800"/>
                <a:gd name="T80" fmla="*/ 296 w 778"/>
                <a:gd name="T81" fmla="*/ 795 h 800"/>
                <a:gd name="T82" fmla="*/ 312 w 778"/>
                <a:gd name="T83" fmla="*/ 744 h 800"/>
                <a:gd name="T84" fmla="*/ 335 w 778"/>
                <a:gd name="T85" fmla="*/ 729 h 800"/>
                <a:gd name="T86" fmla="*/ 333 w 778"/>
                <a:gd name="T87" fmla="*/ 700 h 800"/>
                <a:gd name="T88" fmla="*/ 359 w 778"/>
                <a:gd name="T89" fmla="*/ 685 h 800"/>
                <a:gd name="T90" fmla="*/ 367 w 778"/>
                <a:gd name="T91" fmla="*/ 659 h 800"/>
                <a:gd name="T92" fmla="*/ 375 w 778"/>
                <a:gd name="T93" fmla="*/ 637 h 800"/>
                <a:gd name="T94" fmla="*/ 409 w 778"/>
                <a:gd name="T95" fmla="*/ 63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8" h="800">
                  <a:moveTo>
                    <a:pt x="409" y="636"/>
                  </a:moveTo>
                  <a:cubicBezTo>
                    <a:pt x="424" y="631"/>
                    <a:pt x="424" y="631"/>
                    <a:pt x="424" y="631"/>
                  </a:cubicBezTo>
                  <a:cubicBezTo>
                    <a:pt x="424" y="607"/>
                    <a:pt x="424" y="607"/>
                    <a:pt x="424" y="607"/>
                  </a:cubicBezTo>
                  <a:cubicBezTo>
                    <a:pt x="437" y="607"/>
                    <a:pt x="437" y="607"/>
                    <a:pt x="437" y="607"/>
                  </a:cubicBezTo>
                  <a:cubicBezTo>
                    <a:pt x="437" y="607"/>
                    <a:pt x="454" y="578"/>
                    <a:pt x="460" y="576"/>
                  </a:cubicBezTo>
                  <a:cubicBezTo>
                    <a:pt x="466" y="574"/>
                    <a:pt x="478" y="586"/>
                    <a:pt x="481" y="585"/>
                  </a:cubicBezTo>
                  <a:cubicBezTo>
                    <a:pt x="484" y="584"/>
                    <a:pt x="485" y="563"/>
                    <a:pt x="485" y="563"/>
                  </a:cubicBezTo>
                  <a:cubicBezTo>
                    <a:pt x="502" y="563"/>
                    <a:pt x="502" y="563"/>
                    <a:pt x="502" y="563"/>
                  </a:cubicBezTo>
                  <a:cubicBezTo>
                    <a:pt x="513" y="549"/>
                    <a:pt x="513" y="549"/>
                    <a:pt x="513" y="549"/>
                  </a:cubicBezTo>
                  <a:cubicBezTo>
                    <a:pt x="513" y="549"/>
                    <a:pt x="517" y="551"/>
                    <a:pt x="527" y="547"/>
                  </a:cubicBezTo>
                  <a:cubicBezTo>
                    <a:pt x="537" y="543"/>
                    <a:pt x="539" y="535"/>
                    <a:pt x="539" y="535"/>
                  </a:cubicBezTo>
                  <a:cubicBezTo>
                    <a:pt x="572" y="537"/>
                    <a:pt x="572" y="537"/>
                    <a:pt x="572" y="537"/>
                  </a:cubicBezTo>
                  <a:cubicBezTo>
                    <a:pt x="588" y="544"/>
                    <a:pt x="588" y="544"/>
                    <a:pt x="588" y="544"/>
                  </a:cubicBezTo>
                  <a:cubicBezTo>
                    <a:pt x="620" y="537"/>
                    <a:pt x="620" y="537"/>
                    <a:pt x="620" y="537"/>
                  </a:cubicBezTo>
                  <a:cubicBezTo>
                    <a:pt x="638" y="525"/>
                    <a:pt x="638" y="525"/>
                    <a:pt x="638" y="525"/>
                  </a:cubicBezTo>
                  <a:cubicBezTo>
                    <a:pt x="680" y="526"/>
                    <a:pt x="680" y="526"/>
                    <a:pt x="680" y="526"/>
                  </a:cubicBezTo>
                  <a:cubicBezTo>
                    <a:pt x="681" y="517"/>
                    <a:pt x="681" y="517"/>
                    <a:pt x="681" y="517"/>
                  </a:cubicBezTo>
                  <a:cubicBezTo>
                    <a:pt x="712" y="519"/>
                    <a:pt x="712" y="519"/>
                    <a:pt x="712" y="519"/>
                  </a:cubicBezTo>
                  <a:cubicBezTo>
                    <a:pt x="719" y="514"/>
                    <a:pt x="719" y="514"/>
                    <a:pt x="719" y="514"/>
                  </a:cubicBezTo>
                  <a:cubicBezTo>
                    <a:pt x="719" y="514"/>
                    <a:pt x="726" y="520"/>
                    <a:pt x="748" y="509"/>
                  </a:cubicBezTo>
                  <a:cubicBezTo>
                    <a:pt x="763" y="502"/>
                    <a:pt x="763" y="469"/>
                    <a:pt x="763" y="469"/>
                  </a:cubicBezTo>
                  <a:cubicBezTo>
                    <a:pt x="778" y="454"/>
                    <a:pt x="778" y="454"/>
                    <a:pt x="778" y="454"/>
                  </a:cubicBezTo>
                  <a:cubicBezTo>
                    <a:pt x="778" y="317"/>
                    <a:pt x="778" y="317"/>
                    <a:pt x="778" y="317"/>
                  </a:cubicBezTo>
                  <a:cubicBezTo>
                    <a:pt x="771" y="319"/>
                    <a:pt x="766" y="320"/>
                    <a:pt x="766" y="320"/>
                  </a:cubicBezTo>
                  <a:cubicBezTo>
                    <a:pt x="766" y="320"/>
                    <a:pt x="744" y="328"/>
                    <a:pt x="729" y="321"/>
                  </a:cubicBezTo>
                  <a:cubicBezTo>
                    <a:pt x="714" y="314"/>
                    <a:pt x="738" y="300"/>
                    <a:pt x="738" y="300"/>
                  </a:cubicBezTo>
                  <a:cubicBezTo>
                    <a:pt x="738" y="300"/>
                    <a:pt x="737" y="280"/>
                    <a:pt x="727" y="272"/>
                  </a:cubicBezTo>
                  <a:cubicBezTo>
                    <a:pt x="717" y="264"/>
                    <a:pt x="694" y="270"/>
                    <a:pt x="694" y="270"/>
                  </a:cubicBezTo>
                  <a:cubicBezTo>
                    <a:pt x="689" y="252"/>
                    <a:pt x="689" y="252"/>
                    <a:pt x="689" y="252"/>
                  </a:cubicBezTo>
                  <a:cubicBezTo>
                    <a:pt x="689" y="252"/>
                    <a:pt x="676" y="254"/>
                    <a:pt x="666" y="251"/>
                  </a:cubicBezTo>
                  <a:cubicBezTo>
                    <a:pt x="656" y="248"/>
                    <a:pt x="658" y="241"/>
                    <a:pt x="656" y="233"/>
                  </a:cubicBezTo>
                  <a:cubicBezTo>
                    <a:pt x="654" y="225"/>
                    <a:pt x="637" y="229"/>
                    <a:pt x="637" y="229"/>
                  </a:cubicBezTo>
                  <a:cubicBezTo>
                    <a:pt x="638" y="212"/>
                    <a:pt x="638" y="212"/>
                    <a:pt x="638" y="212"/>
                  </a:cubicBezTo>
                  <a:cubicBezTo>
                    <a:pt x="364" y="3"/>
                    <a:pt x="364" y="3"/>
                    <a:pt x="364" y="3"/>
                  </a:cubicBezTo>
                  <a:cubicBezTo>
                    <a:pt x="283" y="0"/>
                    <a:pt x="283" y="0"/>
                    <a:pt x="283" y="0"/>
                  </a:cubicBezTo>
                  <a:cubicBezTo>
                    <a:pt x="314" y="459"/>
                    <a:pt x="314" y="459"/>
                    <a:pt x="314" y="459"/>
                  </a:cubicBezTo>
                  <a:cubicBezTo>
                    <a:pt x="314" y="459"/>
                    <a:pt x="327" y="465"/>
                    <a:pt x="328" y="472"/>
                  </a:cubicBezTo>
                  <a:cubicBezTo>
                    <a:pt x="329" y="479"/>
                    <a:pt x="323" y="483"/>
                    <a:pt x="323" y="483"/>
                  </a:cubicBezTo>
                  <a:cubicBezTo>
                    <a:pt x="318" y="510"/>
                    <a:pt x="318" y="510"/>
                    <a:pt x="318" y="510"/>
                  </a:cubicBezTo>
                  <a:cubicBezTo>
                    <a:pt x="141" y="513"/>
                    <a:pt x="141" y="513"/>
                    <a:pt x="141" y="513"/>
                  </a:cubicBezTo>
                  <a:cubicBezTo>
                    <a:pt x="141" y="513"/>
                    <a:pt x="141" y="502"/>
                    <a:pt x="137" y="503"/>
                  </a:cubicBezTo>
                  <a:cubicBezTo>
                    <a:pt x="133" y="504"/>
                    <a:pt x="135" y="516"/>
                    <a:pt x="127" y="517"/>
                  </a:cubicBezTo>
                  <a:cubicBezTo>
                    <a:pt x="119" y="518"/>
                    <a:pt x="102" y="521"/>
                    <a:pt x="102" y="521"/>
                  </a:cubicBezTo>
                  <a:cubicBezTo>
                    <a:pt x="96" y="515"/>
                    <a:pt x="96" y="515"/>
                    <a:pt x="96" y="515"/>
                  </a:cubicBezTo>
                  <a:cubicBezTo>
                    <a:pt x="74" y="515"/>
                    <a:pt x="74" y="515"/>
                    <a:pt x="74" y="515"/>
                  </a:cubicBezTo>
                  <a:cubicBezTo>
                    <a:pt x="64" y="532"/>
                    <a:pt x="64" y="532"/>
                    <a:pt x="64" y="532"/>
                  </a:cubicBezTo>
                  <a:cubicBezTo>
                    <a:pt x="64" y="532"/>
                    <a:pt x="52" y="507"/>
                    <a:pt x="39" y="507"/>
                  </a:cubicBezTo>
                  <a:cubicBezTo>
                    <a:pt x="26" y="507"/>
                    <a:pt x="24" y="516"/>
                    <a:pt x="24" y="535"/>
                  </a:cubicBezTo>
                  <a:cubicBezTo>
                    <a:pt x="25" y="536"/>
                    <a:pt x="28" y="546"/>
                    <a:pt x="20" y="549"/>
                  </a:cubicBezTo>
                  <a:cubicBezTo>
                    <a:pt x="12" y="552"/>
                    <a:pt x="0" y="550"/>
                    <a:pt x="0" y="550"/>
                  </a:cubicBezTo>
                  <a:cubicBezTo>
                    <a:pt x="1" y="568"/>
                    <a:pt x="1" y="568"/>
                    <a:pt x="1" y="568"/>
                  </a:cubicBezTo>
                  <a:cubicBezTo>
                    <a:pt x="9" y="578"/>
                    <a:pt x="9" y="578"/>
                    <a:pt x="9" y="578"/>
                  </a:cubicBezTo>
                  <a:cubicBezTo>
                    <a:pt x="9" y="578"/>
                    <a:pt x="21" y="600"/>
                    <a:pt x="16" y="604"/>
                  </a:cubicBezTo>
                  <a:cubicBezTo>
                    <a:pt x="11" y="608"/>
                    <a:pt x="7" y="612"/>
                    <a:pt x="14" y="623"/>
                  </a:cubicBezTo>
                  <a:cubicBezTo>
                    <a:pt x="21" y="634"/>
                    <a:pt x="25" y="622"/>
                    <a:pt x="30" y="625"/>
                  </a:cubicBezTo>
                  <a:cubicBezTo>
                    <a:pt x="35" y="628"/>
                    <a:pt x="37" y="644"/>
                    <a:pt x="37" y="644"/>
                  </a:cubicBezTo>
                  <a:cubicBezTo>
                    <a:pt x="36" y="678"/>
                    <a:pt x="36" y="678"/>
                    <a:pt x="36" y="678"/>
                  </a:cubicBezTo>
                  <a:cubicBezTo>
                    <a:pt x="36" y="678"/>
                    <a:pt x="40" y="705"/>
                    <a:pt x="44" y="703"/>
                  </a:cubicBezTo>
                  <a:cubicBezTo>
                    <a:pt x="48" y="701"/>
                    <a:pt x="52" y="685"/>
                    <a:pt x="61" y="685"/>
                  </a:cubicBezTo>
                  <a:cubicBezTo>
                    <a:pt x="70" y="685"/>
                    <a:pt x="73" y="706"/>
                    <a:pt x="73" y="706"/>
                  </a:cubicBezTo>
                  <a:cubicBezTo>
                    <a:pt x="73" y="706"/>
                    <a:pt x="87" y="683"/>
                    <a:pt x="92" y="685"/>
                  </a:cubicBezTo>
                  <a:cubicBezTo>
                    <a:pt x="97" y="687"/>
                    <a:pt x="119" y="698"/>
                    <a:pt x="119" y="698"/>
                  </a:cubicBezTo>
                  <a:cubicBezTo>
                    <a:pt x="131" y="689"/>
                    <a:pt x="131" y="689"/>
                    <a:pt x="131" y="689"/>
                  </a:cubicBezTo>
                  <a:cubicBezTo>
                    <a:pt x="131" y="689"/>
                    <a:pt x="129" y="665"/>
                    <a:pt x="145" y="673"/>
                  </a:cubicBezTo>
                  <a:cubicBezTo>
                    <a:pt x="161" y="681"/>
                    <a:pt x="154" y="688"/>
                    <a:pt x="154" y="688"/>
                  </a:cubicBezTo>
                  <a:cubicBezTo>
                    <a:pt x="163" y="697"/>
                    <a:pt x="163" y="697"/>
                    <a:pt x="163" y="697"/>
                  </a:cubicBezTo>
                  <a:cubicBezTo>
                    <a:pt x="157" y="714"/>
                    <a:pt x="157" y="714"/>
                    <a:pt x="157" y="714"/>
                  </a:cubicBezTo>
                  <a:cubicBezTo>
                    <a:pt x="180" y="730"/>
                    <a:pt x="180" y="730"/>
                    <a:pt x="180" y="730"/>
                  </a:cubicBezTo>
                  <a:cubicBezTo>
                    <a:pt x="163" y="753"/>
                    <a:pt x="163" y="753"/>
                    <a:pt x="163" y="753"/>
                  </a:cubicBezTo>
                  <a:cubicBezTo>
                    <a:pt x="182" y="752"/>
                    <a:pt x="182" y="752"/>
                    <a:pt x="182" y="752"/>
                  </a:cubicBezTo>
                  <a:cubicBezTo>
                    <a:pt x="182" y="777"/>
                    <a:pt x="182" y="777"/>
                    <a:pt x="182" y="777"/>
                  </a:cubicBezTo>
                  <a:cubicBezTo>
                    <a:pt x="201" y="796"/>
                    <a:pt x="201" y="796"/>
                    <a:pt x="201" y="796"/>
                  </a:cubicBezTo>
                  <a:cubicBezTo>
                    <a:pt x="207" y="799"/>
                    <a:pt x="207" y="799"/>
                    <a:pt x="207" y="799"/>
                  </a:cubicBezTo>
                  <a:cubicBezTo>
                    <a:pt x="207" y="799"/>
                    <a:pt x="204" y="782"/>
                    <a:pt x="220" y="784"/>
                  </a:cubicBezTo>
                  <a:cubicBezTo>
                    <a:pt x="236" y="786"/>
                    <a:pt x="246" y="800"/>
                    <a:pt x="246" y="800"/>
                  </a:cubicBezTo>
                  <a:cubicBezTo>
                    <a:pt x="250" y="788"/>
                    <a:pt x="250" y="788"/>
                    <a:pt x="250" y="788"/>
                  </a:cubicBezTo>
                  <a:cubicBezTo>
                    <a:pt x="260" y="788"/>
                    <a:pt x="260" y="788"/>
                    <a:pt x="260" y="788"/>
                  </a:cubicBezTo>
                  <a:cubicBezTo>
                    <a:pt x="264" y="770"/>
                    <a:pt x="264" y="770"/>
                    <a:pt x="264" y="770"/>
                  </a:cubicBezTo>
                  <a:cubicBezTo>
                    <a:pt x="273" y="782"/>
                    <a:pt x="273" y="782"/>
                    <a:pt x="273" y="782"/>
                  </a:cubicBezTo>
                  <a:cubicBezTo>
                    <a:pt x="281" y="769"/>
                    <a:pt x="281" y="769"/>
                    <a:pt x="281" y="769"/>
                  </a:cubicBezTo>
                  <a:cubicBezTo>
                    <a:pt x="281" y="793"/>
                    <a:pt x="281" y="793"/>
                    <a:pt x="281" y="793"/>
                  </a:cubicBezTo>
                  <a:cubicBezTo>
                    <a:pt x="296" y="795"/>
                    <a:pt x="296" y="795"/>
                    <a:pt x="296" y="795"/>
                  </a:cubicBezTo>
                  <a:cubicBezTo>
                    <a:pt x="296" y="795"/>
                    <a:pt x="300" y="781"/>
                    <a:pt x="315" y="781"/>
                  </a:cubicBezTo>
                  <a:cubicBezTo>
                    <a:pt x="312" y="744"/>
                    <a:pt x="312" y="744"/>
                    <a:pt x="312" y="744"/>
                  </a:cubicBezTo>
                  <a:cubicBezTo>
                    <a:pt x="327" y="744"/>
                    <a:pt x="327" y="744"/>
                    <a:pt x="327" y="744"/>
                  </a:cubicBezTo>
                  <a:cubicBezTo>
                    <a:pt x="335" y="729"/>
                    <a:pt x="335" y="729"/>
                    <a:pt x="335" y="729"/>
                  </a:cubicBezTo>
                  <a:cubicBezTo>
                    <a:pt x="320" y="708"/>
                    <a:pt x="320" y="708"/>
                    <a:pt x="320" y="708"/>
                  </a:cubicBezTo>
                  <a:cubicBezTo>
                    <a:pt x="333" y="700"/>
                    <a:pt x="333" y="700"/>
                    <a:pt x="333" y="700"/>
                  </a:cubicBezTo>
                  <a:cubicBezTo>
                    <a:pt x="333" y="700"/>
                    <a:pt x="348" y="697"/>
                    <a:pt x="360" y="696"/>
                  </a:cubicBezTo>
                  <a:cubicBezTo>
                    <a:pt x="372" y="695"/>
                    <a:pt x="359" y="685"/>
                    <a:pt x="359" y="685"/>
                  </a:cubicBezTo>
                  <a:cubicBezTo>
                    <a:pt x="359" y="685"/>
                    <a:pt x="366" y="684"/>
                    <a:pt x="369" y="680"/>
                  </a:cubicBezTo>
                  <a:cubicBezTo>
                    <a:pt x="372" y="676"/>
                    <a:pt x="367" y="659"/>
                    <a:pt x="367" y="659"/>
                  </a:cubicBezTo>
                  <a:cubicBezTo>
                    <a:pt x="367" y="659"/>
                    <a:pt x="379" y="661"/>
                    <a:pt x="381" y="656"/>
                  </a:cubicBezTo>
                  <a:cubicBezTo>
                    <a:pt x="383" y="651"/>
                    <a:pt x="375" y="637"/>
                    <a:pt x="375" y="637"/>
                  </a:cubicBezTo>
                  <a:cubicBezTo>
                    <a:pt x="388" y="617"/>
                    <a:pt x="388" y="617"/>
                    <a:pt x="388" y="617"/>
                  </a:cubicBezTo>
                  <a:lnTo>
                    <a:pt x="409" y="636"/>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83" name="Senegal">
              <a:extLst>
                <a:ext uri="{FF2B5EF4-FFF2-40B4-BE49-F238E27FC236}">
                  <a16:creationId xmlns:a16="http://schemas.microsoft.com/office/drawing/2014/main" id="{DDB0FFC9-A731-47AB-8003-C254DF3DBB2C}"/>
                </a:ext>
              </a:extLst>
            </p:cNvPr>
            <p:cNvSpPr>
              <a:spLocks/>
            </p:cNvSpPr>
            <p:nvPr/>
          </p:nvSpPr>
          <p:spPr bwMode="gray">
            <a:xfrm>
              <a:off x="4082672" y="2755498"/>
              <a:ext cx="341814" cy="306343"/>
            </a:xfrm>
            <a:custGeom>
              <a:avLst/>
              <a:gdLst>
                <a:gd name="T0" fmla="*/ 269 w 276"/>
                <a:gd name="T1" fmla="*/ 181 h 246"/>
                <a:gd name="T2" fmla="*/ 253 w 276"/>
                <a:gd name="T3" fmla="*/ 179 h 246"/>
                <a:gd name="T4" fmla="*/ 255 w 276"/>
                <a:gd name="T5" fmla="*/ 160 h 246"/>
                <a:gd name="T6" fmla="*/ 248 w 276"/>
                <a:gd name="T7" fmla="*/ 134 h 246"/>
                <a:gd name="T8" fmla="*/ 240 w 276"/>
                <a:gd name="T9" fmla="*/ 124 h 246"/>
                <a:gd name="T10" fmla="*/ 239 w 276"/>
                <a:gd name="T11" fmla="*/ 106 h 246"/>
                <a:gd name="T12" fmla="*/ 230 w 276"/>
                <a:gd name="T13" fmla="*/ 92 h 246"/>
                <a:gd name="T14" fmla="*/ 213 w 276"/>
                <a:gd name="T15" fmla="*/ 86 h 246"/>
                <a:gd name="T16" fmla="*/ 210 w 276"/>
                <a:gd name="T17" fmla="*/ 70 h 246"/>
                <a:gd name="T18" fmla="*/ 196 w 276"/>
                <a:gd name="T19" fmla="*/ 68 h 246"/>
                <a:gd name="T20" fmla="*/ 188 w 276"/>
                <a:gd name="T21" fmla="*/ 31 h 246"/>
                <a:gd name="T22" fmla="*/ 167 w 276"/>
                <a:gd name="T23" fmla="*/ 34 h 246"/>
                <a:gd name="T24" fmla="*/ 146 w 276"/>
                <a:gd name="T25" fmla="*/ 10 h 246"/>
                <a:gd name="T26" fmla="*/ 122 w 276"/>
                <a:gd name="T27" fmla="*/ 7 h 246"/>
                <a:gd name="T28" fmla="*/ 109 w 276"/>
                <a:gd name="T29" fmla="*/ 0 h 246"/>
                <a:gd name="T30" fmla="*/ 109 w 276"/>
                <a:gd name="T31" fmla="*/ 10 h 246"/>
                <a:gd name="T32" fmla="*/ 86 w 276"/>
                <a:gd name="T33" fmla="*/ 9 h 246"/>
                <a:gd name="T34" fmla="*/ 78 w 276"/>
                <a:gd name="T35" fmla="*/ 13 h 246"/>
                <a:gd name="T36" fmla="*/ 59 w 276"/>
                <a:gd name="T37" fmla="*/ 11 h 246"/>
                <a:gd name="T38" fmla="*/ 41 w 276"/>
                <a:gd name="T39" fmla="*/ 43 h 246"/>
                <a:gd name="T40" fmla="*/ 40 w 276"/>
                <a:gd name="T41" fmla="*/ 57 h 246"/>
                <a:gd name="T42" fmla="*/ 22 w 276"/>
                <a:gd name="T43" fmla="*/ 80 h 246"/>
                <a:gd name="T44" fmla="*/ 0 w 276"/>
                <a:gd name="T45" fmla="*/ 106 h 246"/>
                <a:gd name="T46" fmla="*/ 2 w 276"/>
                <a:gd name="T47" fmla="*/ 113 h 246"/>
                <a:gd name="T48" fmla="*/ 8 w 276"/>
                <a:gd name="T49" fmla="*/ 112 h 246"/>
                <a:gd name="T50" fmla="*/ 17 w 276"/>
                <a:gd name="T51" fmla="*/ 128 h 246"/>
                <a:gd name="T52" fmla="*/ 20 w 276"/>
                <a:gd name="T53" fmla="*/ 141 h 246"/>
                <a:gd name="T54" fmla="*/ 29 w 276"/>
                <a:gd name="T55" fmla="*/ 149 h 246"/>
                <a:gd name="T56" fmla="*/ 28 w 276"/>
                <a:gd name="T57" fmla="*/ 157 h 246"/>
                <a:gd name="T58" fmla="*/ 34 w 276"/>
                <a:gd name="T59" fmla="*/ 169 h 246"/>
                <a:gd name="T60" fmla="*/ 84 w 276"/>
                <a:gd name="T61" fmla="*/ 169 h 246"/>
                <a:gd name="T62" fmla="*/ 84 w 276"/>
                <a:gd name="T63" fmla="*/ 159 h 246"/>
                <a:gd name="T64" fmla="*/ 109 w 276"/>
                <a:gd name="T65" fmla="*/ 158 h 246"/>
                <a:gd name="T66" fmla="*/ 120 w 276"/>
                <a:gd name="T67" fmla="*/ 166 h 246"/>
                <a:gd name="T68" fmla="*/ 128 w 276"/>
                <a:gd name="T69" fmla="*/ 164 h 246"/>
                <a:gd name="T70" fmla="*/ 141 w 276"/>
                <a:gd name="T71" fmla="*/ 176 h 246"/>
                <a:gd name="T72" fmla="*/ 162 w 276"/>
                <a:gd name="T73" fmla="*/ 171 h 246"/>
                <a:gd name="T74" fmla="*/ 143 w 276"/>
                <a:gd name="T75" fmla="*/ 190 h 246"/>
                <a:gd name="T76" fmla="*/ 109 w 276"/>
                <a:gd name="T77" fmla="*/ 171 h 246"/>
                <a:gd name="T78" fmla="*/ 97 w 276"/>
                <a:gd name="T79" fmla="*/ 183 h 246"/>
                <a:gd name="T80" fmla="*/ 72 w 276"/>
                <a:gd name="T81" fmla="*/ 186 h 246"/>
                <a:gd name="T82" fmla="*/ 68 w 276"/>
                <a:gd name="T83" fmla="*/ 195 h 246"/>
                <a:gd name="T84" fmla="*/ 25 w 276"/>
                <a:gd name="T85" fmla="*/ 195 h 246"/>
                <a:gd name="T86" fmla="*/ 24 w 276"/>
                <a:gd name="T87" fmla="*/ 212 h 246"/>
                <a:gd name="T88" fmla="*/ 18 w 276"/>
                <a:gd name="T89" fmla="*/ 215 h 246"/>
                <a:gd name="T90" fmla="*/ 31 w 276"/>
                <a:gd name="T91" fmla="*/ 241 h 246"/>
                <a:gd name="T92" fmla="*/ 50 w 276"/>
                <a:gd name="T93" fmla="*/ 241 h 246"/>
                <a:gd name="T94" fmla="*/ 58 w 276"/>
                <a:gd name="T95" fmla="*/ 231 h 246"/>
                <a:gd name="T96" fmla="*/ 85 w 276"/>
                <a:gd name="T97" fmla="*/ 231 h 246"/>
                <a:gd name="T98" fmla="*/ 102 w 276"/>
                <a:gd name="T99" fmla="*/ 216 h 246"/>
                <a:gd name="T100" fmla="*/ 196 w 276"/>
                <a:gd name="T101" fmla="*/ 219 h 246"/>
                <a:gd name="T102" fmla="*/ 204 w 276"/>
                <a:gd name="T103" fmla="*/ 232 h 246"/>
                <a:gd name="T104" fmla="*/ 215 w 276"/>
                <a:gd name="T105" fmla="*/ 226 h 246"/>
                <a:gd name="T106" fmla="*/ 231 w 276"/>
                <a:gd name="T107" fmla="*/ 242 h 246"/>
                <a:gd name="T108" fmla="*/ 247 w 276"/>
                <a:gd name="T109" fmla="*/ 235 h 246"/>
                <a:gd name="T110" fmla="*/ 275 w 276"/>
                <a:gd name="T111" fmla="*/ 234 h 246"/>
                <a:gd name="T112" fmla="*/ 276 w 276"/>
                <a:gd name="T113" fmla="*/ 200 h 246"/>
                <a:gd name="T114" fmla="*/ 269 w 276"/>
                <a:gd name="T115" fmla="*/ 18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6" h="246">
                  <a:moveTo>
                    <a:pt x="269" y="181"/>
                  </a:moveTo>
                  <a:cubicBezTo>
                    <a:pt x="264" y="178"/>
                    <a:pt x="260" y="190"/>
                    <a:pt x="253" y="179"/>
                  </a:cubicBezTo>
                  <a:cubicBezTo>
                    <a:pt x="246" y="168"/>
                    <a:pt x="250" y="164"/>
                    <a:pt x="255" y="160"/>
                  </a:cubicBezTo>
                  <a:cubicBezTo>
                    <a:pt x="260" y="156"/>
                    <a:pt x="248" y="134"/>
                    <a:pt x="248" y="134"/>
                  </a:cubicBezTo>
                  <a:cubicBezTo>
                    <a:pt x="240" y="124"/>
                    <a:pt x="240" y="124"/>
                    <a:pt x="240" y="124"/>
                  </a:cubicBezTo>
                  <a:cubicBezTo>
                    <a:pt x="239" y="106"/>
                    <a:pt x="239" y="106"/>
                    <a:pt x="239" y="106"/>
                  </a:cubicBezTo>
                  <a:cubicBezTo>
                    <a:pt x="230" y="92"/>
                    <a:pt x="230" y="92"/>
                    <a:pt x="230" y="92"/>
                  </a:cubicBezTo>
                  <a:cubicBezTo>
                    <a:pt x="213" y="86"/>
                    <a:pt x="213" y="86"/>
                    <a:pt x="213" y="86"/>
                  </a:cubicBezTo>
                  <a:cubicBezTo>
                    <a:pt x="213" y="86"/>
                    <a:pt x="213" y="71"/>
                    <a:pt x="210" y="70"/>
                  </a:cubicBezTo>
                  <a:cubicBezTo>
                    <a:pt x="207" y="69"/>
                    <a:pt x="196" y="68"/>
                    <a:pt x="196" y="68"/>
                  </a:cubicBezTo>
                  <a:cubicBezTo>
                    <a:pt x="196" y="68"/>
                    <a:pt x="195" y="32"/>
                    <a:pt x="188" y="31"/>
                  </a:cubicBezTo>
                  <a:cubicBezTo>
                    <a:pt x="181" y="30"/>
                    <a:pt x="167" y="34"/>
                    <a:pt x="167" y="34"/>
                  </a:cubicBezTo>
                  <a:cubicBezTo>
                    <a:pt x="167" y="34"/>
                    <a:pt x="156" y="12"/>
                    <a:pt x="146" y="10"/>
                  </a:cubicBezTo>
                  <a:cubicBezTo>
                    <a:pt x="136" y="8"/>
                    <a:pt x="122" y="7"/>
                    <a:pt x="122" y="7"/>
                  </a:cubicBezTo>
                  <a:cubicBezTo>
                    <a:pt x="109" y="0"/>
                    <a:pt x="109" y="0"/>
                    <a:pt x="109" y="0"/>
                  </a:cubicBezTo>
                  <a:cubicBezTo>
                    <a:pt x="109" y="10"/>
                    <a:pt x="109" y="10"/>
                    <a:pt x="109" y="10"/>
                  </a:cubicBezTo>
                  <a:cubicBezTo>
                    <a:pt x="86" y="9"/>
                    <a:pt x="86" y="9"/>
                    <a:pt x="86" y="9"/>
                  </a:cubicBezTo>
                  <a:cubicBezTo>
                    <a:pt x="78" y="13"/>
                    <a:pt x="78" y="13"/>
                    <a:pt x="78" y="13"/>
                  </a:cubicBezTo>
                  <a:cubicBezTo>
                    <a:pt x="78" y="13"/>
                    <a:pt x="68" y="5"/>
                    <a:pt x="59" y="11"/>
                  </a:cubicBezTo>
                  <a:cubicBezTo>
                    <a:pt x="50" y="17"/>
                    <a:pt x="53" y="41"/>
                    <a:pt x="41" y="43"/>
                  </a:cubicBezTo>
                  <a:cubicBezTo>
                    <a:pt x="40" y="50"/>
                    <a:pt x="40" y="56"/>
                    <a:pt x="40" y="57"/>
                  </a:cubicBezTo>
                  <a:cubicBezTo>
                    <a:pt x="39" y="60"/>
                    <a:pt x="29" y="67"/>
                    <a:pt x="22" y="80"/>
                  </a:cubicBezTo>
                  <a:cubicBezTo>
                    <a:pt x="15" y="93"/>
                    <a:pt x="0" y="106"/>
                    <a:pt x="0" y="106"/>
                  </a:cubicBezTo>
                  <a:cubicBezTo>
                    <a:pt x="2" y="113"/>
                    <a:pt x="2" y="113"/>
                    <a:pt x="2" y="113"/>
                  </a:cubicBezTo>
                  <a:cubicBezTo>
                    <a:pt x="8" y="112"/>
                    <a:pt x="8" y="112"/>
                    <a:pt x="8" y="112"/>
                  </a:cubicBezTo>
                  <a:cubicBezTo>
                    <a:pt x="8" y="112"/>
                    <a:pt x="17" y="121"/>
                    <a:pt x="17" y="128"/>
                  </a:cubicBezTo>
                  <a:cubicBezTo>
                    <a:pt x="17" y="135"/>
                    <a:pt x="20" y="141"/>
                    <a:pt x="20" y="141"/>
                  </a:cubicBezTo>
                  <a:cubicBezTo>
                    <a:pt x="29" y="149"/>
                    <a:pt x="29" y="149"/>
                    <a:pt x="29" y="149"/>
                  </a:cubicBezTo>
                  <a:cubicBezTo>
                    <a:pt x="29" y="149"/>
                    <a:pt x="28" y="150"/>
                    <a:pt x="28" y="157"/>
                  </a:cubicBezTo>
                  <a:cubicBezTo>
                    <a:pt x="28" y="162"/>
                    <a:pt x="32" y="166"/>
                    <a:pt x="34" y="169"/>
                  </a:cubicBezTo>
                  <a:cubicBezTo>
                    <a:pt x="84" y="169"/>
                    <a:pt x="84" y="169"/>
                    <a:pt x="84" y="169"/>
                  </a:cubicBezTo>
                  <a:cubicBezTo>
                    <a:pt x="84" y="159"/>
                    <a:pt x="84" y="159"/>
                    <a:pt x="84" y="159"/>
                  </a:cubicBezTo>
                  <a:cubicBezTo>
                    <a:pt x="84" y="159"/>
                    <a:pt x="96" y="160"/>
                    <a:pt x="109" y="158"/>
                  </a:cubicBezTo>
                  <a:cubicBezTo>
                    <a:pt x="122" y="156"/>
                    <a:pt x="120" y="166"/>
                    <a:pt x="120" y="166"/>
                  </a:cubicBezTo>
                  <a:cubicBezTo>
                    <a:pt x="128" y="164"/>
                    <a:pt x="128" y="164"/>
                    <a:pt x="128" y="164"/>
                  </a:cubicBezTo>
                  <a:cubicBezTo>
                    <a:pt x="128" y="164"/>
                    <a:pt x="136" y="175"/>
                    <a:pt x="141" y="176"/>
                  </a:cubicBezTo>
                  <a:cubicBezTo>
                    <a:pt x="146" y="177"/>
                    <a:pt x="145" y="167"/>
                    <a:pt x="162" y="171"/>
                  </a:cubicBezTo>
                  <a:cubicBezTo>
                    <a:pt x="179" y="175"/>
                    <a:pt x="161" y="190"/>
                    <a:pt x="143" y="190"/>
                  </a:cubicBezTo>
                  <a:cubicBezTo>
                    <a:pt x="125" y="190"/>
                    <a:pt x="109" y="171"/>
                    <a:pt x="109" y="171"/>
                  </a:cubicBezTo>
                  <a:cubicBezTo>
                    <a:pt x="109" y="171"/>
                    <a:pt x="103" y="182"/>
                    <a:pt x="97" y="183"/>
                  </a:cubicBezTo>
                  <a:cubicBezTo>
                    <a:pt x="91" y="184"/>
                    <a:pt x="72" y="186"/>
                    <a:pt x="72" y="186"/>
                  </a:cubicBezTo>
                  <a:cubicBezTo>
                    <a:pt x="72" y="186"/>
                    <a:pt x="71" y="195"/>
                    <a:pt x="68" y="195"/>
                  </a:cubicBezTo>
                  <a:cubicBezTo>
                    <a:pt x="66" y="195"/>
                    <a:pt x="36" y="195"/>
                    <a:pt x="25" y="195"/>
                  </a:cubicBezTo>
                  <a:cubicBezTo>
                    <a:pt x="24" y="202"/>
                    <a:pt x="24" y="212"/>
                    <a:pt x="24" y="212"/>
                  </a:cubicBezTo>
                  <a:cubicBezTo>
                    <a:pt x="18" y="215"/>
                    <a:pt x="18" y="215"/>
                    <a:pt x="18" y="215"/>
                  </a:cubicBezTo>
                  <a:cubicBezTo>
                    <a:pt x="18" y="215"/>
                    <a:pt x="22" y="236"/>
                    <a:pt x="31" y="241"/>
                  </a:cubicBezTo>
                  <a:cubicBezTo>
                    <a:pt x="40" y="246"/>
                    <a:pt x="50" y="241"/>
                    <a:pt x="50" y="241"/>
                  </a:cubicBezTo>
                  <a:cubicBezTo>
                    <a:pt x="58" y="231"/>
                    <a:pt x="58" y="231"/>
                    <a:pt x="58" y="231"/>
                  </a:cubicBezTo>
                  <a:cubicBezTo>
                    <a:pt x="85" y="231"/>
                    <a:pt x="85" y="231"/>
                    <a:pt x="85" y="231"/>
                  </a:cubicBezTo>
                  <a:cubicBezTo>
                    <a:pt x="102" y="216"/>
                    <a:pt x="102" y="216"/>
                    <a:pt x="102" y="216"/>
                  </a:cubicBezTo>
                  <a:cubicBezTo>
                    <a:pt x="196" y="219"/>
                    <a:pt x="196" y="219"/>
                    <a:pt x="196" y="219"/>
                  </a:cubicBezTo>
                  <a:cubicBezTo>
                    <a:pt x="196" y="219"/>
                    <a:pt x="196" y="230"/>
                    <a:pt x="204" y="232"/>
                  </a:cubicBezTo>
                  <a:cubicBezTo>
                    <a:pt x="212" y="234"/>
                    <a:pt x="215" y="226"/>
                    <a:pt x="215" y="226"/>
                  </a:cubicBezTo>
                  <a:cubicBezTo>
                    <a:pt x="215" y="226"/>
                    <a:pt x="224" y="242"/>
                    <a:pt x="231" y="242"/>
                  </a:cubicBezTo>
                  <a:cubicBezTo>
                    <a:pt x="238" y="242"/>
                    <a:pt x="247" y="235"/>
                    <a:pt x="247" y="235"/>
                  </a:cubicBezTo>
                  <a:cubicBezTo>
                    <a:pt x="275" y="234"/>
                    <a:pt x="275" y="234"/>
                    <a:pt x="275" y="234"/>
                  </a:cubicBezTo>
                  <a:cubicBezTo>
                    <a:pt x="276" y="200"/>
                    <a:pt x="276" y="200"/>
                    <a:pt x="276" y="200"/>
                  </a:cubicBezTo>
                  <a:cubicBezTo>
                    <a:pt x="276" y="200"/>
                    <a:pt x="274" y="184"/>
                    <a:pt x="269" y="18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84" name="Guinea">
              <a:extLst>
                <a:ext uri="{FF2B5EF4-FFF2-40B4-BE49-F238E27FC236}">
                  <a16:creationId xmlns:a16="http://schemas.microsoft.com/office/drawing/2014/main" id="{F2D40B2F-0F6E-4FD3-BF78-E4C24D224AD6}"/>
                </a:ext>
              </a:extLst>
            </p:cNvPr>
            <p:cNvSpPr>
              <a:spLocks/>
            </p:cNvSpPr>
            <p:nvPr/>
          </p:nvSpPr>
          <p:spPr bwMode="gray">
            <a:xfrm>
              <a:off x="4216578" y="3026626"/>
              <a:ext cx="429912" cy="366203"/>
            </a:xfrm>
            <a:custGeom>
              <a:avLst/>
              <a:gdLst>
                <a:gd name="T0" fmla="*/ 61 w 345"/>
                <a:gd name="T1" fmla="*/ 17 h 296"/>
                <a:gd name="T2" fmla="*/ 61 w 345"/>
                <a:gd name="T3" fmla="*/ 47 h 296"/>
                <a:gd name="T4" fmla="*/ 22 w 345"/>
                <a:gd name="T5" fmla="*/ 65 h 296"/>
                <a:gd name="T6" fmla="*/ 0 w 345"/>
                <a:gd name="T7" fmla="*/ 86 h 296"/>
                <a:gd name="T8" fmla="*/ 19 w 345"/>
                <a:gd name="T9" fmla="*/ 103 h 296"/>
                <a:gd name="T10" fmla="*/ 45 w 345"/>
                <a:gd name="T11" fmla="*/ 138 h 296"/>
                <a:gd name="T12" fmla="*/ 59 w 345"/>
                <a:gd name="T13" fmla="*/ 149 h 296"/>
                <a:gd name="T14" fmla="*/ 86 w 345"/>
                <a:gd name="T15" fmla="*/ 194 h 296"/>
                <a:gd name="T16" fmla="*/ 142 w 345"/>
                <a:gd name="T17" fmla="*/ 152 h 296"/>
                <a:gd name="T18" fmla="*/ 172 w 345"/>
                <a:gd name="T19" fmla="*/ 140 h 296"/>
                <a:gd name="T20" fmla="*/ 197 w 345"/>
                <a:gd name="T21" fmla="*/ 190 h 296"/>
                <a:gd name="T22" fmla="*/ 197 w 345"/>
                <a:gd name="T23" fmla="*/ 226 h 296"/>
                <a:gd name="T24" fmla="*/ 215 w 345"/>
                <a:gd name="T25" fmla="*/ 228 h 296"/>
                <a:gd name="T26" fmla="*/ 247 w 345"/>
                <a:gd name="T27" fmla="*/ 227 h 296"/>
                <a:gd name="T28" fmla="*/ 265 w 345"/>
                <a:gd name="T29" fmla="*/ 286 h 296"/>
                <a:gd name="T30" fmla="*/ 293 w 345"/>
                <a:gd name="T31" fmla="*/ 270 h 296"/>
                <a:gd name="T32" fmla="*/ 320 w 345"/>
                <a:gd name="T33" fmla="*/ 255 h 296"/>
                <a:gd name="T34" fmla="*/ 314 w 345"/>
                <a:gd name="T35" fmla="*/ 229 h 296"/>
                <a:gd name="T36" fmla="*/ 345 w 345"/>
                <a:gd name="T37" fmla="*/ 220 h 296"/>
                <a:gd name="T38" fmla="*/ 338 w 345"/>
                <a:gd name="T39" fmla="*/ 193 h 296"/>
                <a:gd name="T40" fmla="*/ 335 w 345"/>
                <a:gd name="T41" fmla="*/ 176 h 296"/>
                <a:gd name="T42" fmla="*/ 318 w 345"/>
                <a:gd name="T43" fmla="*/ 148 h 296"/>
                <a:gd name="T44" fmla="*/ 312 w 345"/>
                <a:gd name="T45" fmla="*/ 115 h 296"/>
                <a:gd name="T46" fmla="*/ 293 w 345"/>
                <a:gd name="T47" fmla="*/ 91 h 296"/>
                <a:gd name="T48" fmla="*/ 287 w 345"/>
                <a:gd name="T49" fmla="*/ 52 h 296"/>
                <a:gd name="T50" fmla="*/ 284 w 345"/>
                <a:gd name="T51" fmla="*/ 26 h 296"/>
                <a:gd name="T52" fmla="*/ 261 w 345"/>
                <a:gd name="T53" fmla="*/ 27 h 296"/>
                <a:gd name="T54" fmla="*/ 222 w 345"/>
                <a:gd name="T55" fmla="*/ 23 h 296"/>
                <a:gd name="T56" fmla="*/ 191 w 345"/>
                <a:gd name="T57" fmla="*/ 23 h 296"/>
                <a:gd name="T58" fmla="*/ 166 w 345"/>
                <a:gd name="T59" fmla="*/ 16 h 296"/>
                <a:gd name="T60" fmla="*/ 122 w 345"/>
                <a:gd name="T61" fmla="*/ 24 h 296"/>
                <a:gd name="T62" fmla="*/ 95 w 345"/>
                <a:gd name="T63" fmla="*/ 14 h 296"/>
                <a:gd name="T64" fmla="*/ 60 w 345"/>
                <a:gd name="T65"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5" h="296">
                  <a:moveTo>
                    <a:pt x="60" y="0"/>
                  </a:moveTo>
                  <a:cubicBezTo>
                    <a:pt x="61" y="17"/>
                    <a:pt x="61" y="17"/>
                    <a:pt x="61" y="17"/>
                  </a:cubicBezTo>
                  <a:cubicBezTo>
                    <a:pt x="61" y="17"/>
                    <a:pt x="45" y="15"/>
                    <a:pt x="45" y="26"/>
                  </a:cubicBezTo>
                  <a:cubicBezTo>
                    <a:pt x="45" y="37"/>
                    <a:pt x="62" y="32"/>
                    <a:pt x="61" y="47"/>
                  </a:cubicBezTo>
                  <a:cubicBezTo>
                    <a:pt x="60" y="62"/>
                    <a:pt x="49" y="58"/>
                    <a:pt x="39" y="58"/>
                  </a:cubicBezTo>
                  <a:cubicBezTo>
                    <a:pt x="29" y="58"/>
                    <a:pt x="22" y="65"/>
                    <a:pt x="22" y="65"/>
                  </a:cubicBezTo>
                  <a:cubicBezTo>
                    <a:pt x="9" y="66"/>
                    <a:pt x="9" y="66"/>
                    <a:pt x="9" y="66"/>
                  </a:cubicBezTo>
                  <a:cubicBezTo>
                    <a:pt x="0" y="86"/>
                    <a:pt x="0" y="86"/>
                    <a:pt x="0" y="86"/>
                  </a:cubicBezTo>
                  <a:cubicBezTo>
                    <a:pt x="0" y="86"/>
                    <a:pt x="4" y="100"/>
                    <a:pt x="9" y="102"/>
                  </a:cubicBezTo>
                  <a:cubicBezTo>
                    <a:pt x="14" y="104"/>
                    <a:pt x="19" y="103"/>
                    <a:pt x="19" y="103"/>
                  </a:cubicBezTo>
                  <a:cubicBezTo>
                    <a:pt x="19" y="103"/>
                    <a:pt x="10" y="127"/>
                    <a:pt x="25" y="134"/>
                  </a:cubicBezTo>
                  <a:cubicBezTo>
                    <a:pt x="40" y="141"/>
                    <a:pt x="45" y="138"/>
                    <a:pt x="45" y="138"/>
                  </a:cubicBezTo>
                  <a:cubicBezTo>
                    <a:pt x="45" y="138"/>
                    <a:pt x="42" y="150"/>
                    <a:pt x="46" y="154"/>
                  </a:cubicBezTo>
                  <a:cubicBezTo>
                    <a:pt x="50" y="158"/>
                    <a:pt x="59" y="149"/>
                    <a:pt x="59" y="149"/>
                  </a:cubicBezTo>
                  <a:cubicBezTo>
                    <a:pt x="59" y="149"/>
                    <a:pt x="63" y="169"/>
                    <a:pt x="67" y="176"/>
                  </a:cubicBezTo>
                  <a:cubicBezTo>
                    <a:pt x="71" y="183"/>
                    <a:pt x="86" y="194"/>
                    <a:pt x="86" y="194"/>
                  </a:cubicBezTo>
                  <a:cubicBezTo>
                    <a:pt x="98" y="194"/>
                    <a:pt x="117" y="152"/>
                    <a:pt x="117" y="152"/>
                  </a:cubicBezTo>
                  <a:cubicBezTo>
                    <a:pt x="142" y="152"/>
                    <a:pt x="142" y="152"/>
                    <a:pt x="142" y="152"/>
                  </a:cubicBezTo>
                  <a:cubicBezTo>
                    <a:pt x="146" y="140"/>
                    <a:pt x="146" y="140"/>
                    <a:pt x="146" y="140"/>
                  </a:cubicBezTo>
                  <a:cubicBezTo>
                    <a:pt x="172" y="140"/>
                    <a:pt x="172" y="140"/>
                    <a:pt x="172" y="140"/>
                  </a:cubicBezTo>
                  <a:cubicBezTo>
                    <a:pt x="200" y="181"/>
                    <a:pt x="200" y="181"/>
                    <a:pt x="200" y="181"/>
                  </a:cubicBezTo>
                  <a:cubicBezTo>
                    <a:pt x="197" y="190"/>
                    <a:pt x="197" y="190"/>
                    <a:pt x="197" y="190"/>
                  </a:cubicBezTo>
                  <a:cubicBezTo>
                    <a:pt x="197" y="190"/>
                    <a:pt x="208" y="202"/>
                    <a:pt x="208" y="210"/>
                  </a:cubicBezTo>
                  <a:cubicBezTo>
                    <a:pt x="208" y="218"/>
                    <a:pt x="197" y="226"/>
                    <a:pt x="197" y="226"/>
                  </a:cubicBezTo>
                  <a:cubicBezTo>
                    <a:pt x="196" y="239"/>
                    <a:pt x="196" y="239"/>
                    <a:pt x="196" y="239"/>
                  </a:cubicBezTo>
                  <a:cubicBezTo>
                    <a:pt x="215" y="228"/>
                    <a:pt x="215" y="228"/>
                    <a:pt x="215" y="228"/>
                  </a:cubicBezTo>
                  <a:cubicBezTo>
                    <a:pt x="231" y="232"/>
                    <a:pt x="231" y="232"/>
                    <a:pt x="231" y="232"/>
                  </a:cubicBezTo>
                  <a:cubicBezTo>
                    <a:pt x="231" y="232"/>
                    <a:pt x="228" y="214"/>
                    <a:pt x="247" y="227"/>
                  </a:cubicBezTo>
                  <a:cubicBezTo>
                    <a:pt x="266" y="240"/>
                    <a:pt x="257" y="286"/>
                    <a:pt x="257" y="286"/>
                  </a:cubicBezTo>
                  <a:cubicBezTo>
                    <a:pt x="265" y="286"/>
                    <a:pt x="265" y="286"/>
                    <a:pt x="265" y="286"/>
                  </a:cubicBezTo>
                  <a:cubicBezTo>
                    <a:pt x="265" y="286"/>
                    <a:pt x="266" y="296"/>
                    <a:pt x="277" y="296"/>
                  </a:cubicBezTo>
                  <a:cubicBezTo>
                    <a:pt x="288" y="296"/>
                    <a:pt x="288" y="274"/>
                    <a:pt x="293" y="270"/>
                  </a:cubicBezTo>
                  <a:cubicBezTo>
                    <a:pt x="298" y="266"/>
                    <a:pt x="313" y="279"/>
                    <a:pt x="320" y="276"/>
                  </a:cubicBezTo>
                  <a:cubicBezTo>
                    <a:pt x="327" y="273"/>
                    <a:pt x="320" y="255"/>
                    <a:pt x="320" y="255"/>
                  </a:cubicBezTo>
                  <a:cubicBezTo>
                    <a:pt x="332" y="252"/>
                    <a:pt x="332" y="252"/>
                    <a:pt x="332" y="252"/>
                  </a:cubicBezTo>
                  <a:cubicBezTo>
                    <a:pt x="332" y="252"/>
                    <a:pt x="314" y="239"/>
                    <a:pt x="314" y="229"/>
                  </a:cubicBezTo>
                  <a:cubicBezTo>
                    <a:pt x="314" y="219"/>
                    <a:pt x="344" y="233"/>
                    <a:pt x="344" y="233"/>
                  </a:cubicBezTo>
                  <a:cubicBezTo>
                    <a:pt x="344" y="233"/>
                    <a:pt x="345" y="227"/>
                    <a:pt x="345" y="220"/>
                  </a:cubicBezTo>
                  <a:cubicBezTo>
                    <a:pt x="345" y="213"/>
                    <a:pt x="330" y="218"/>
                    <a:pt x="329" y="210"/>
                  </a:cubicBezTo>
                  <a:cubicBezTo>
                    <a:pt x="328" y="202"/>
                    <a:pt x="338" y="193"/>
                    <a:pt x="338" y="193"/>
                  </a:cubicBezTo>
                  <a:cubicBezTo>
                    <a:pt x="328" y="189"/>
                    <a:pt x="328" y="189"/>
                    <a:pt x="328" y="189"/>
                  </a:cubicBezTo>
                  <a:cubicBezTo>
                    <a:pt x="335" y="176"/>
                    <a:pt x="335" y="176"/>
                    <a:pt x="335" y="176"/>
                  </a:cubicBezTo>
                  <a:cubicBezTo>
                    <a:pt x="323" y="175"/>
                    <a:pt x="323" y="175"/>
                    <a:pt x="323" y="175"/>
                  </a:cubicBezTo>
                  <a:cubicBezTo>
                    <a:pt x="318" y="148"/>
                    <a:pt x="318" y="148"/>
                    <a:pt x="318" y="148"/>
                  </a:cubicBezTo>
                  <a:cubicBezTo>
                    <a:pt x="331" y="134"/>
                    <a:pt x="331" y="134"/>
                    <a:pt x="331" y="134"/>
                  </a:cubicBezTo>
                  <a:cubicBezTo>
                    <a:pt x="312" y="115"/>
                    <a:pt x="312" y="115"/>
                    <a:pt x="312" y="115"/>
                  </a:cubicBezTo>
                  <a:cubicBezTo>
                    <a:pt x="312" y="90"/>
                    <a:pt x="312" y="90"/>
                    <a:pt x="312" y="90"/>
                  </a:cubicBezTo>
                  <a:cubicBezTo>
                    <a:pt x="293" y="91"/>
                    <a:pt x="293" y="91"/>
                    <a:pt x="293" y="91"/>
                  </a:cubicBezTo>
                  <a:cubicBezTo>
                    <a:pt x="310" y="68"/>
                    <a:pt x="310" y="68"/>
                    <a:pt x="310" y="68"/>
                  </a:cubicBezTo>
                  <a:cubicBezTo>
                    <a:pt x="287" y="52"/>
                    <a:pt x="287" y="52"/>
                    <a:pt x="287" y="52"/>
                  </a:cubicBezTo>
                  <a:cubicBezTo>
                    <a:pt x="293" y="35"/>
                    <a:pt x="293" y="35"/>
                    <a:pt x="293" y="35"/>
                  </a:cubicBezTo>
                  <a:cubicBezTo>
                    <a:pt x="284" y="26"/>
                    <a:pt x="284" y="26"/>
                    <a:pt x="284" y="26"/>
                  </a:cubicBezTo>
                  <a:cubicBezTo>
                    <a:pt x="284" y="26"/>
                    <a:pt x="291" y="19"/>
                    <a:pt x="275" y="11"/>
                  </a:cubicBezTo>
                  <a:cubicBezTo>
                    <a:pt x="259" y="3"/>
                    <a:pt x="261" y="27"/>
                    <a:pt x="261" y="27"/>
                  </a:cubicBezTo>
                  <a:cubicBezTo>
                    <a:pt x="249" y="36"/>
                    <a:pt x="249" y="36"/>
                    <a:pt x="249" y="36"/>
                  </a:cubicBezTo>
                  <a:cubicBezTo>
                    <a:pt x="249" y="36"/>
                    <a:pt x="227" y="25"/>
                    <a:pt x="222" y="23"/>
                  </a:cubicBezTo>
                  <a:cubicBezTo>
                    <a:pt x="217" y="21"/>
                    <a:pt x="203" y="44"/>
                    <a:pt x="203" y="44"/>
                  </a:cubicBezTo>
                  <a:cubicBezTo>
                    <a:pt x="203" y="44"/>
                    <a:pt x="200" y="23"/>
                    <a:pt x="191" y="23"/>
                  </a:cubicBezTo>
                  <a:cubicBezTo>
                    <a:pt x="182" y="23"/>
                    <a:pt x="178" y="39"/>
                    <a:pt x="174" y="41"/>
                  </a:cubicBezTo>
                  <a:cubicBezTo>
                    <a:pt x="170" y="43"/>
                    <a:pt x="166" y="16"/>
                    <a:pt x="166" y="16"/>
                  </a:cubicBezTo>
                  <a:cubicBezTo>
                    <a:pt x="138" y="17"/>
                    <a:pt x="138" y="17"/>
                    <a:pt x="138" y="17"/>
                  </a:cubicBezTo>
                  <a:cubicBezTo>
                    <a:pt x="138" y="17"/>
                    <a:pt x="129" y="24"/>
                    <a:pt x="122" y="24"/>
                  </a:cubicBezTo>
                  <a:cubicBezTo>
                    <a:pt x="115" y="24"/>
                    <a:pt x="106" y="8"/>
                    <a:pt x="106" y="8"/>
                  </a:cubicBezTo>
                  <a:cubicBezTo>
                    <a:pt x="106" y="8"/>
                    <a:pt x="103" y="16"/>
                    <a:pt x="95" y="14"/>
                  </a:cubicBezTo>
                  <a:cubicBezTo>
                    <a:pt x="87" y="12"/>
                    <a:pt x="87" y="1"/>
                    <a:pt x="87" y="1"/>
                  </a:cubicBezTo>
                  <a:lnTo>
                    <a:pt x="60" y="0"/>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85" name="Mauritania">
              <a:extLst>
                <a:ext uri="{FF2B5EF4-FFF2-40B4-BE49-F238E27FC236}">
                  <a16:creationId xmlns:a16="http://schemas.microsoft.com/office/drawing/2014/main" id="{6FF036E3-999A-49EA-AAA8-6429B9F5150D}"/>
                </a:ext>
              </a:extLst>
            </p:cNvPr>
            <p:cNvSpPr>
              <a:spLocks/>
            </p:cNvSpPr>
            <p:nvPr/>
          </p:nvSpPr>
          <p:spPr bwMode="gray">
            <a:xfrm>
              <a:off x="4121431" y="2058306"/>
              <a:ext cx="711824" cy="830995"/>
            </a:xfrm>
            <a:custGeom>
              <a:avLst/>
              <a:gdLst>
                <a:gd name="T0" fmla="*/ 0 w 572"/>
                <a:gd name="T1" fmla="*/ 332 h 670"/>
                <a:gd name="T2" fmla="*/ 11 w 572"/>
                <a:gd name="T3" fmla="*/ 336 h 670"/>
                <a:gd name="T4" fmla="*/ 15 w 572"/>
                <a:gd name="T5" fmla="*/ 357 h 670"/>
                <a:gd name="T6" fmla="*/ 24 w 572"/>
                <a:gd name="T7" fmla="*/ 349 h 670"/>
                <a:gd name="T8" fmla="*/ 32 w 572"/>
                <a:gd name="T9" fmla="*/ 372 h 670"/>
                <a:gd name="T10" fmla="*/ 30 w 572"/>
                <a:gd name="T11" fmla="*/ 403 h 670"/>
                <a:gd name="T12" fmla="*/ 21 w 572"/>
                <a:gd name="T13" fmla="*/ 403 h 670"/>
                <a:gd name="T14" fmla="*/ 24 w 572"/>
                <a:gd name="T15" fmla="*/ 417 h 670"/>
                <a:gd name="T16" fmla="*/ 16 w 572"/>
                <a:gd name="T17" fmla="*/ 423 h 670"/>
                <a:gd name="T18" fmla="*/ 39 w 572"/>
                <a:gd name="T19" fmla="*/ 470 h 670"/>
                <a:gd name="T20" fmla="*/ 33 w 572"/>
                <a:gd name="T21" fmla="*/ 509 h 670"/>
                <a:gd name="T22" fmla="*/ 31 w 572"/>
                <a:gd name="T23" fmla="*/ 538 h 670"/>
                <a:gd name="T24" fmla="*/ 12 w 572"/>
                <a:gd name="T25" fmla="*/ 570 h 670"/>
                <a:gd name="T26" fmla="*/ 10 w 572"/>
                <a:gd name="T27" fmla="*/ 605 h 670"/>
                <a:gd name="T28" fmla="*/ 28 w 572"/>
                <a:gd name="T29" fmla="*/ 573 h 670"/>
                <a:gd name="T30" fmla="*/ 47 w 572"/>
                <a:gd name="T31" fmla="*/ 575 h 670"/>
                <a:gd name="T32" fmla="*/ 55 w 572"/>
                <a:gd name="T33" fmla="*/ 571 h 670"/>
                <a:gd name="T34" fmla="*/ 78 w 572"/>
                <a:gd name="T35" fmla="*/ 572 h 670"/>
                <a:gd name="T36" fmla="*/ 78 w 572"/>
                <a:gd name="T37" fmla="*/ 562 h 670"/>
                <a:gd name="T38" fmla="*/ 91 w 572"/>
                <a:gd name="T39" fmla="*/ 569 h 670"/>
                <a:gd name="T40" fmla="*/ 115 w 572"/>
                <a:gd name="T41" fmla="*/ 572 h 670"/>
                <a:gd name="T42" fmla="*/ 136 w 572"/>
                <a:gd name="T43" fmla="*/ 596 h 670"/>
                <a:gd name="T44" fmla="*/ 157 w 572"/>
                <a:gd name="T45" fmla="*/ 593 h 670"/>
                <a:gd name="T46" fmla="*/ 165 w 572"/>
                <a:gd name="T47" fmla="*/ 630 h 670"/>
                <a:gd name="T48" fmla="*/ 179 w 572"/>
                <a:gd name="T49" fmla="*/ 632 h 670"/>
                <a:gd name="T50" fmla="*/ 182 w 572"/>
                <a:gd name="T51" fmla="*/ 648 h 670"/>
                <a:gd name="T52" fmla="*/ 199 w 572"/>
                <a:gd name="T53" fmla="*/ 654 h 670"/>
                <a:gd name="T54" fmla="*/ 208 w 572"/>
                <a:gd name="T55" fmla="*/ 668 h 670"/>
                <a:gd name="T56" fmla="*/ 228 w 572"/>
                <a:gd name="T57" fmla="*/ 667 h 670"/>
                <a:gd name="T58" fmla="*/ 232 w 572"/>
                <a:gd name="T59" fmla="*/ 653 h 670"/>
                <a:gd name="T60" fmla="*/ 247 w 572"/>
                <a:gd name="T61" fmla="*/ 625 h 670"/>
                <a:gd name="T62" fmla="*/ 272 w 572"/>
                <a:gd name="T63" fmla="*/ 650 h 670"/>
                <a:gd name="T64" fmla="*/ 282 w 572"/>
                <a:gd name="T65" fmla="*/ 633 h 670"/>
                <a:gd name="T66" fmla="*/ 304 w 572"/>
                <a:gd name="T67" fmla="*/ 633 h 670"/>
                <a:gd name="T68" fmla="*/ 310 w 572"/>
                <a:gd name="T69" fmla="*/ 639 h 670"/>
                <a:gd name="T70" fmla="*/ 335 w 572"/>
                <a:gd name="T71" fmla="*/ 635 h 670"/>
                <a:gd name="T72" fmla="*/ 345 w 572"/>
                <a:gd name="T73" fmla="*/ 621 h 670"/>
                <a:gd name="T74" fmla="*/ 349 w 572"/>
                <a:gd name="T75" fmla="*/ 631 h 670"/>
                <a:gd name="T76" fmla="*/ 526 w 572"/>
                <a:gd name="T77" fmla="*/ 628 h 670"/>
                <a:gd name="T78" fmla="*/ 531 w 572"/>
                <a:gd name="T79" fmla="*/ 601 h 670"/>
                <a:gd name="T80" fmla="*/ 536 w 572"/>
                <a:gd name="T81" fmla="*/ 590 h 670"/>
                <a:gd name="T82" fmla="*/ 522 w 572"/>
                <a:gd name="T83" fmla="*/ 577 h 670"/>
                <a:gd name="T84" fmla="*/ 491 w 572"/>
                <a:gd name="T85" fmla="*/ 118 h 670"/>
                <a:gd name="T86" fmla="*/ 572 w 572"/>
                <a:gd name="T87" fmla="*/ 121 h 670"/>
                <a:gd name="T88" fmla="*/ 399 w 572"/>
                <a:gd name="T89" fmla="*/ 0 h 670"/>
                <a:gd name="T90" fmla="*/ 397 w 572"/>
                <a:gd name="T91" fmla="*/ 34 h 670"/>
                <a:gd name="T92" fmla="*/ 392 w 572"/>
                <a:gd name="T93" fmla="*/ 38 h 670"/>
                <a:gd name="T94" fmla="*/ 391 w 572"/>
                <a:gd name="T95" fmla="*/ 63 h 670"/>
                <a:gd name="T96" fmla="*/ 243 w 572"/>
                <a:gd name="T97" fmla="*/ 64 h 670"/>
                <a:gd name="T98" fmla="*/ 243 w 572"/>
                <a:gd name="T99" fmla="*/ 74 h 670"/>
                <a:gd name="T100" fmla="*/ 238 w 572"/>
                <a:gd name="T101" fmla="*/ 77 h 670"/>
                <a:gd name="T102" fmla="*/ 235 w 572"/>
                <a:gd name="T103" fmla="*/ 207 h 670"/>
                <a:gd name="T104" fmla="*/ 208 w 572"/>
                <a:gd name="T105" fmla="*/ 212 h 670"/>
                <a:gd name="T106" fmla="*/ 189 w 572"/>
                <a:gd name="T107" fmla="*/ 223 h 670"/>
                <a:gd name="T108" fmla="*/ 187 w 572"/>
                <a:gd name="T109" fmla="*/ 248 h 670"/>
                <a:gd name="T110" fmla="*/ 186 w 572"/>
                <a:gd name="T111" fmla="*/ 317 h 670"/>
                <a:gd name="T112" fmla="*/ 0 w 572"/>
                <a:gd name="T113" fmla="*/ 319 h 670"/>
                <a:gd name="T114" fmla="*/ 0 w 572"/>
                <a:gd name="T115" fmla="*/ 319 h 670"/>
                <a:gd name="T116" fmla="*/ 0 w 572"/>
                <a:gd name="T117" fmla="*/ 332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2" h="670">
                  <a:moveTo>
                    <a:pt x="0" y="332"/>
                  </a:moveTo>
                  <a:cubicBezTo>
                    <a:pt x="0" y="332"/>
                    <a:pt x="11" y="331"/>
                    <a:pt x="11" y="336"/>
                  </a:cubicBezTo>
                  <a:cubicBezTo>
                    <a:pt x="11" y="341"/>
                    <a:pt x="11" y="354"/>
                    <a:pt x="15" y="357"/>
                  </a:cubicBezTo>
                  <a:cubicBezTo>
                    <a:pt x="19" y="360"/>
                    <a:pt x="24" y="349"/>
                    <a:pt x="24" y="349"/>
                  </a:cubicBezTo>
                  <a:cubicBezTo>
                    <a:pt x="32" y="372"/>
                    <a:pt x="32" y="372"/>
                    <a:pt x="32" y="372"/>
                  </a:cubicBezTo>
                  <a:cubicBezTo>
                    <a:pt x="30" y="403"/>
                    <a:pt x="30" y="403"/>
                    <a:pt x="30" y="403"/>
                  </a:cubicBezTo>
                  <a:cubicBezTo>
                    <a:pt x="21" y="403"/>
                    <a:pt x="21" y="403"/>
                    <a:pt x="21" y="403"/>
                  </a:cubicBezTo>
                  <a:cubicBezTo>
                    <a:pt x="24" y="417"/>
                    <a:pt x="24" y="417"/>
                    <a:pt x="24" y="417"/>
                  </a:cubicBezTo>
                  <a:cubicBezTo>
                    <a:pt x="16" y="423"/>
                    <a:pt x="16" y="423"/>
                    <a:pt x="16" y="423"/>
                  </a:cubicBezTo>
                  <a:cubicBezTo>
                    <a:pt x="16" y="423"/>
                    <a:pt x="39" y="452"/>
                    <a:pt x="39" y="470"/>
                  </a:cubicBezTo>
                  <a:cubicBezTo>
                    <a:pt x="39" y="488"/>
                    <a:pt x="33" y="509"/>
                    <a:pt x="33" y="509"/>
                  </a:cubicBezTo>
                  <a:cubicBezTo>
                    <a:pt x="31" y="538"/>
                    <a:pt x="31" y="538"/>
                    <a:pt x="31" y="538"/>
                  </a:cubicBezTo>
                  <a:cubicBezTo>
                    <a:pt x="31" y="538"/>
                    <a:pt x="15" y="555"/>
                    <a:pt x="12" y="570"/>
                  </a:cubicBezTo>
                  <a:cubicBezTo>
                    <a:pt x="10" y="579"/>
                    <a:pt x="10" y="594"/>
                    <a:pt x="10" y="605"/>
                  </a:cubicBezTo>
                  <a:cubicBezTo>
                    <a:pt x="22" y="603"/>
                    <a:pt x="19" y="579"/>
                    <a:pt x="28" y="573"/>
                  </a:cubicBezTo>
                  <a:cubicBezTo>
                    <a:pt x="37" y="567"/>
                    <a:pt x="47" y="575"/>
                    <a:pt x="47" y="575"/>
                  </a:cubicBezTo>
                  <a:cubicBezTo>
                    <a:pt x="55" y="571"/>
                    <a:pt x="55" y="571"/>
                    <a:pt x="55" y="571"/>
                  </a:cubicBezTo>
                  <a:cubicBezTo>
                    <a:pt x="78" y="572"/>
                    <a:pt x="78" y="572"/>
                    <a:pt x="78" y="572"/>
                  </a:cubicBezTo>
                  <a:cubicBezTo>
                    <a:pt x="78" y="562"/>
                    <a:pt x="78" y="562"/>
                    <a:pt x="78" y="562"/>
                  </a:cubicBezTo>
                  <a:cubicBezTo>
                    <a:pt x="91" y="569"/>
                    <a:pt x="91" y="569"/>
                    <a:pt x="91" y="569"/>
                  </a:cubicBezTo>
                  <a:cubicBezTo>
                    <a:pt x="91" y="569"/>
                    <a:pt x="105" y="570"/>
                    <a:pt x="115" y="572"/>
                  </a:cubicBezTo>
                  <a:cubicBezTo>
                    <a:pt x="125" y="574"/>
                    <a:pt x="136" y="596"/>
                    <a:pt x="136" y="596"/>
                  </a:cubicBezTo>
                  <a:cubicBezTo>
                    <a:pt x="136" y="596"/>
                    <a:pt x="150" y="592"/>
                    <a:pt x="157" y="593"/>
                  </a:cubicBezTo>
                  <a:cubicBezTo>
                    <a:pt x="164" y="594"/>
                    <a:pt x="165" y="630"/>
                    <a:pt x="165" y="630"/>
                  </a:cubicBezTo>
                  <a:cubicBezTo>
                    <a:pt x="165" y="630"/>
                    <a:pt x="176" y="631"/>
                    <a:pt x="179" y="632"/>
                  </a:cubicBezTo>
                  <a:cubicBezTo>
                    <a:pt x="182" y="633"/>
                    <a:pt x="182" y="648"/>
                    <a:pt x="182" y="648"/>
                  </a:cubicBezTo>
                  <a:cubicBezTo>
                    <a:pt x="199" y="654"/>
                    <a:pt x="199" y="654"/>
                    <a:pt x="199" y="654"/>
                  </a:cubicBezTo>
                  <a:cubicBezTo>
                    <a:pt x="208" y="668"/>
                    <a:pt x="208" y="668"/>
                    <a:pt x="208" y="668"/>
                  </a:cubicBezTo>
                  <a:cubicBezTo>
                    <a:pt x="208" y="668"/>
                    <a:pt x="220" y="670"/>
                    <a:pt x="228" y="667"/>
                  </a:cubicBezTo>
                  <a:cubicBezTo>
                    <a:pt x="236" y="664"/>
                    <a:pt x="233" y="654"/>
                    <a:pt x="232" y="653"/>
                  </a:cubicBezTo>
                  <a:cubicBezTo>
                    <a:pt x="232" y="634"/>
                    <a:pt x="234" y="625"/>
                    <a:pt x="247" y="625"/>
                  </a:cubicBezTo>
                  <a:cubicBezTo>
                    <a:pt x="260" y="625"/>
                    <a:pt x="272" y="650"/>
                    <a:pt x="272" y="650"/>
                  </a:cubicBezTo>
                  <a:cubicBezTo>
                    <a:pt x="282" y="633"/>
                    <a:pt x="282" y="633"/>
                    <a:pt x="282" y="633"/>
                  </a:cubicBezTo>
                  <a:cubicBezTo>
                    <a:pt x="304" y="633"/>
                    <a:pt x="304" y="633"/>
                    <a:pt x="304" y="633"/>
                  </a:cubicBezTo>
                  <a:cubicBezTo>
                    <a:pt x="310" y="639"/>
                    <a:pt x="310" y="639"/>
                    <a:pt x="310" y="639"/>
                  </a:cubicBezTo>
                  <a:cubicBezTo>
                    <a:pt x="310" y="639"/>
                    <a:pt x="327" y="636"/>
                    <a:pt x="335" y="635"/>
                  </a:cubicBezTo>
                  <a:cubicBezTo>
                    <a:pt x="343" y="634"/>
                    <a:pt x="341" y="622"/>
                    <a:pt x="345" y="621"/>
                  </a:cubicBezTo>
                  <a:cubicBezTo>
                    <a:pt x="349" y="620"/>
                    <a:pt x="349" y="631"/>
                    <a:pt x="349" y="631"/>
                  </a:cubicBezTo>
                  <a:cubicBezTo>
                    <a:pt x="526" y="628"/>
                    <a:pt x="526" y="628"/>
                    <a:pt x="526" y="628"/>
                  </a:cubicBezTo>
                  <a:cubicBezTo>
                    <a:pt x="531" y="601"/>
                    <a:pt x="531" y="601"/>
                    <a:pt x="531" y="601"/>
                  </a:cubicBezTo>
                  <a:cubicBezTo>
                    <a:pt x="531" y="601"/>
                    <a:pt x="537" y="597"/>
                    <a:pt x="536" y="590"/>
                  </a:cubicBezTo>
                  <a:cubicBezTo>
                    <a:pt x="535" y="583"/>
                    <a:pt x="522" y="577"/>
                    <a:pt x="522" y="577"/>
                  </a:cubicBezTo>
                  <a:cubicBezTo>
                    <a:pt x="491" y="118"/>
                    <a:pt x="491" y="118"/>
                    <a:pt x="491" y="118"/>
                  </a:cubicBezTo>
                  <a:cubicBezTo>
                    <a:pt x="572" y="121"/>
                    <a:pt x="572" y="121"/>
                    <a:pt x="572" y="121"/>
                  </a:cubicBezTo>
                  <a:cubicBezTo>
                    <a:pt x="399" y="0"/>
                    <a:pt x="399" y="0"/>
                    <a:pt x="399" y="0"/>
                  </a:cubicBezTo>
                  <a:cubicBezTo>
                    <a:pt x="397" y="34"/>
                    <a:pt x="397" y="34"/>
                    <a:pt x="397" y="34"/>
                  </a:cubicBezTo>
                  <a:cubicBezTo>
                    <a:pt x="392" y="38"/>
                    <a:pt x="392" y="38"/>
                    <a:pt x="392" y="38"/>
                  </a:cubicBezTo>
                  <a:cubicBezTo>
                    <a:pt x="391" y="63"/>
                    <a:pt x="391" y="63"/>
                    <a:pt x="391" y="63"/>
                  </a:cubicBezTo>
                  <a:cubicBezTo>
                    <a:pt x="243" y="64"/>
                    <a:pt x="243" y="64"/>
                    <a:pt x="243" y="64"/>
                  </a:cubicBezTo>
                  <a:cubicBezTo>
                    <a:pt x="243" y="74"/>
                    <a:pt x="243" y="74"/>
                    <a:pt x="243" y="74"/>
                  </a:cubicBezTo>
                  <a:cubicBezTo>
                    <a:pt x="238" y="77"/>
                    <a:pt x="238" y="77"/>
                    <a:pt x="238" y="77"/>
                  </a:cubicBezTo>
                  <a:cubicBezTo>
                    <a:pt x="238" y="77"/>
                    <a:pt x="237" y="201"/>
                    <a:pt x="235" y="207"/>
                  </a:cubicBezTo>
                  <a:cubicBezTo>
                    <a:pt x="233" y="213"/>
                    <a:pt x="208" y="212"/>
                    <a:pt x="208" y="212"/>
                  </a:cubicBezTo>
                  <a:cubicBezTo>
                    <a:pt x="208" y="212"/>
                    <a:pt x="200" y="213"/>
                    <a:pt x="189" y="223"/>
                  </a:cubicBezTo>
                  <a:cubicBezTo>
                    <a:pt x="178" y="233"/>
                    <a:pt x="187" y="248"/>
                    <a:pt x="187" y="248"/>
                  </a:cubicBezTo>
                  <a:cubicBezTo>
                    <a:pt x="186" y="317"/>
                    <a:pt x="186" y="317"/>
                    <a:pt x="186" y="317"/>
                  </a:cubicBezTo>
                  <a:cubicBezTo>
                    <a:pt x="0" y="319"/>
                    <a:pt x="0" y="319"/>
                    <a:pt x="0" y="319"/>
                  </a:cubicBezTo>
                  <a:cubicBezTo>
                    <a:pt x="0" y="319"/>
                    <a:pt x="0" y="319"/>
                    <a:pt x="0" y="319"/>
                  </a:cubicBezTo>
                  <a:cubicBezTo>
                    <a:pt x="0" y="326"/>
                    <a:pt x="0" y="332"/>
                    <a:pt x="0" y="332"/>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86" name="Burkina Faso">
              <a:extLst>
                <a:ext uri="{FF2B5EF4-FFF2-40B4-BE49-F238E27FC236}">
                  <a16:creationId xmlns:a16="http://schemas.microsoft.com/office/drawing/2014/main" id="{E9472E37-493A-4BA0-8A13-6C549BA21976}"/>
                </a:ext>
              </a:extLst>
            </p:cNvPr>
            <p:cNvSpPr>
              <a:spLocks/>
            </p:cNvSpPr>
            <p:nvPr/>
          </p:nvSpPr>
          <p:spPr bwMode="gray">
            <a:xfrm>
              <a:off x="4766301" y="2868175"/>
              <a:ext cx="475720" cy="373244"/>
            </a:xfrm>
            <a:custGeom>
              <a:avLst/>
              <a:gdLst>
                <a:gd name="T0" fmla="*/ 3 w 382"/>
                <a:gd name="T1" fmla="*/ 246 h 300"/>
                <a:gd name="T2" fmla="*/ 19 w 382"/>
                <a:gd name="T3" fmla="*/ 256 h 300"/>
                <a:gd name="T4" fmla="*/ 59 w 382"/>
                <a:gd name="T5" fmla="*/ 293 h 300"/>
                <a:gd name="T6" fmla="*/ 124 w 382"/>
                <a:gd name="T7" fmla="*/ 300 h 300"/>
                <a:gd name="T8" fmla="*/ 132 w 382"/>
                <a:gd name="T9" fmla="*/ 299 h 300"/>
                <a:gd name="T10" fmla="*/ 130 w 382"/>
                <a:gd name="T11" fmla="*/ 245 h 300"/>
                <a:gd name="T12" fmla="*/ 132 w 382"/>
                <a:gd name="T13" fmla="*/ 219 h 300"/>
                <a:gd name="T14" fmla="*/ 192 w 382"/>
                <a:gd name="T15" fmla="*/ 219 h 300"/>
                <a:gd name="T16" fmla="*/ 215 w 382"/>
                <a:gd name="T17" fmla="*/ 219 h 300"/>
                <a:gd name="T18" fmla="*/ 251 w 382"/>
                <a:gd name="T19" fmla="*/ 212 h 300"/>
                <a:gd name="T20" fmla="*/ 276 w 382"/>
                <a:gd name="T21" fmla="*/ 215 h 300"/>
                <a:gd name="T22" fmla="*/ 305 w 382"/>
                <a:gd name="T23" fmla="*/ 221 h 300"/>
                <a:gd name="T24" fmla="*/ 318 w 382"/>
                <a:gd name="T25" fmla="*/ 214 h 300"/>
                <a:gd name="T26" fmla="*/ 357 w 382"/>
                <a:gd name="T27" fmla="*/ 197 h 300"/>
                <a:gd name="T28" fmla="*/ 373 w 382"/>
                <a:gd name="T29" fmla="*/ 183 h 300"/>
                <a:gd name="T30" fmla="*/ 382 w 382"/>
                <a:gd name="T31" fmla="*/ 170 h 300"/>
                <a:gd name="T32" fmla="*/ 360 w 382"/>
                <a:gd name="T33" fmla="*/ 145 h 300"/>
                <a:gd name="T34" fmla="*/ 364 w 382"/>
                <a:gd name="T35" fmla="*/ 126 h 300"/>
                <a:gd name="T36" fmla="*/ 310 w 382"/>
                <a:gd name="T37" fmla="*/ 104 h 300"/>
                <a:gd name="T38" fmla="*/ 312 w 382"/>
                <a:gd name="T39" fmla="*/ 87 h 300"/>
                <a:gd name="T40" fmla="*/ 289 w 382"/>
                <a:gd name="T41" fmla="*/ 72 h 300"/>
                <a:gd name="T42" fmla="*/ 277 w 382"/>
                <a:gd name="T43" fmla="*/ 32 h 300"/>
                <a:gd name="T44" fmla="*/ 260 w 382"/>
                <a:gd name="T45" fmla="*/ 2 h 300"/>
                <a:gd name="T46" fmla="*/ 215 w 382"/>
                <a:gd name="T47" fmla="*/ 12 h 300"/>
                <a:gd name="T48" fmla="*/ 190 w 382"/>
                <a:gd name="T49" fmla="*/ 28 h 300"/>
                <a:gd name="T50" fmla="*/ 169 w 382"/>
                <a:gd name="T51" fmla="*/ 50 h 300"/>
                <a:gd name="T52" fmla="*/ 125 w 382"/>
                <a:gd name="T53" fmla="*/ 72 h 300"/>
                <a:gd name="T54" fmla="*/ 112 w 382"/>
                <a:gd name="T55" fmla="*/ 96 h 300"/>
                <a:gd name="T56" fmla="*/ 76 w 382"/>
                <a:gd name="T57" fmla="*/ 82 h 300"/>
                <a:gd name="T58" fmla="*/ 69 w 382"/>
                <a:gd name="T59" fmla="*/ 121 h 300"/>
                <a:gd name="T60" fmla="*/ 57 w 382"/>
                <a:gd name="T61" fmla="*/ 145 h 300"/>
                <a:gd name="T62" fmla="*/ 48 w 382"/>
                <a:gd name="T63" fmla="*/ 161 h 300"/>
                <a:gd name="T64" fmla="*/ 8 w 382"/>
                <a:gd name="T65" fmla="*/ 173 h 300"/>
                <a:gd name="T66" fmla="*/ 15 w 382"/>
                <a:gd name="T67" fmla="*/ 20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2" h="300">
                  <a:moveTo>
                    <a:pt x="0" y="209"/>
                  </a:moveTo>
                  <a:cubicBezTo>
                    <a:pt x="3" y="246"/>
                    <a:pt x="3" y="246"/>
                    <a:pt x="3" y="246"/>
                  </a:cubicBezTo>
                  <a:cubicBezTo>
                    <a:pt x="6" y="260"/>
                    <a:pt x="6" y="260"/>
                    <a:pt x="6" y="260"/>
                  </a:cubicBezTo>
                  <a:cubicBezTo>
                    <a:pt x="19" y="256"/>
                    <a:pt x="19" y="256"/>
                    <a:pt x="19" y="256"/>
                  </a:cubicBezTo>
                  <a:cubicBezTo>
                    <a:pt x="19" y="256"/>
                    <a:pt x="29" y="287"/>
                    <a:pt x="39" y="288"/>
                  </a:cubicBezTo>
                  <a:cubicBezTo>
                    <a:pt x="49" y="289"/>
                    <a:pt x="59" y="293"/>
                    <a:pt x="59" y="293"/>
                  </a:cubicBezTo>
                  <a:cubicBezTo>
                    <a:pt x="59" y="293"/>
                    <a:pt x="70" y="271"/>
                    <a:pt x="100" y="275"/>
                  </a:cubicBezTo>
                  <a:cubicBezTo>
                    <a:pt x="130" y="279"/>
                    <a:pt x="124" y="300"/>
                    <a:pt x="124" y="300"/>
                  </a:cubicBezTo>
                  <a:cubicBezTo>
                    <a:pt x="136" y="298"/>
                    <a:pt x="136" y="298"/>
                    <a:pt x="136" y="298"/>
                  </a:cubicBezTo>
                  <a:cubicBezTo>
                    <a:pt x="132" y="299"/>
                    <a:pt x="132" y="299"/>
                    <a:pt x="132" y="299"/>
                  </a:cubicBezTo>
                  <a:cubicBezTo>
                    <a:pt x="131" y="263"/>
                    <a:pt x="131" y="263"/>
                    <a:pt x="131" y="263"/>
                  </a:cubicBezTo>
                  <a:cubicBezTo>
                    <a:pt x="130" y="245"/>
                    <a:pt x="130" y="245"/>
                    <a:pt x="130" y="245"/>
                  </a:cubicBezTo>
                  <a:cubicBezTo>
                    <a:pt x="130" y="245"/>
                    <a:pt x="124" y="244"/>
                    <a:pt x="124" y="236"/>
                  </a:cubicBezTo>
                  <a:cubicBezTo>
                    <a:pt x="124" y="228"/>
                    <a:pt x="132" y="219"/>
                    <a:pt x="132" y="219"/>
                  </a:cubicBezTo>
                  <a:cubicBezTo>
                    <a:pt x="187" y="222"/>
                    <a:pt x="187" y="222"/>
                    <a:pt x="187" y="222"/>
                  </a:cubicBezTo>
                  <a:cubicBezTo>
                    <a:pt x="192" y="219"/>
                    <a:pt x="192" y="219"/>
                    <a:pt x="192" y="219"/>
                  </a:cubicBezTo>
                  <a:cubicBezTo>
                    <a:pt x="204" y="222"/>
                    <a:pt x="204" y="222"/>
                    <a:pt x="204" y="222"/>
                  </a:cubicBezTo>
                  <a:cubicBezTo>
                    <a:pt x="215" y="219"/>
                    <a:pt x="215" y="219"/>
                    <a:pt x="215" y="219"/>
                  </a:cubicBezTo>
                  <a:cubicBezTo>
                    <a:pt x="235" y="222"/>
                    <a:pt x="235" y="222"/>
                    <a:pt x="235" y="222"/>
                  </a:cubicBezTo>
                  <a:cubicBezTo>
                    <a:pt x="251" y="212"/>
                    <a:pt x="251" y="212"/>
                    <a:pt x="251" y="212"/>
                  </a:cubicBezTo>
                  <a:cubicBezTo>
                    <a:pt x="265" y="216"/>
                    <a:pt x="265" y="216"/>
                    <a:pt x="265" y="216"/>
                  </a:cubicBezTo>
                  <a:cubicBezTo>
                    <a:pt x="276" y="215"/>
                    <a:pt x="276" y="215"/>
                    <a:pt x="276" y="215"/>
                  </a:cubicBezTo>
                  <a:cubicBezTo>
                    <a:pt x="291" y="222"/>
                    <a:pt x="291" y="222"/>
                    <a:pt x="291" y="222"/>
                  </a:cubicBezTo>
                  <a:cubicBezTo>
                    <a:pt x="305" y="221"/>
                    <a:pt x="305" y="221"/>
                    <a:pt x="305" y="221"/>
                  </a:cubicBezTo>
                  <a:cubicBezTo>
                    <a:pt x="310" y="214"/>
                    <a:pt x="310" y="214"/>
                    <a:pt x="310" y="214"/>
                  </a:cubicBezTo>
                  <a:cubicBezTo>
                    <a:pt x="318" y="214"/>
                    <a:pt x="318" y="214"/>
                    <a:pt x="318" y="214"/>
                  </a:cubicBezTo>
                  <a:cubicBezTo>
                    <a:pt x="318" y="214"/>
                    <a:pt x="320" y="200"/>
                    <a:pt x="331" y="195"/>
                  </a:cubicBezTo>
                  <a:cubicBezTo>
                    <a:pt x="331" y="196"/>
                    <a:pt x="357" y="197"/>
                    <a:pt x="357" y="197"/>
                  </a:cubicBezTo>
                  <a:cubicBezTo>
                    <a:pt x="357" y="197"/>
                    <a:pt x="358" y="190"/>
                    <a:pt x="362" y="187"/>
                  </a:cubicBezTo>
                  <a:cubicBezTo>
                    <a:pt x="366" y="184"/>
                    <a:pt x="373" y="183"/>
                    <a:pt x="373" y="183"/>
                  </a:cubicBezTo>
                  <a:cubicBezTo>
                    <a:pt x="376" y="172"/>
                    <a:pt x="376" y="172"/>
                    <a:pt x="376" y="172"/>
                  </a:cubicBezTo>
                  <a:cubicBezTo>
                    <a:pt x="382" y="170"/>
                    <a:pt x="382" y="170"/>
                    <a:pt x="382" y="170"/>
                  </a:cubicBezTo>
                  <a:cubicBezTo>
                    <a:pt x="375" y="167"/>
                    <a:pt x="375" y="167"/>
                    <a:pt x="375" y="167"/>
                  </a:cubicBezTo>
                  <a:cubicBezTo>
                    <a:pt x="360" y="145"/>
                    <a:pt x="360" y="145"/>
                    <a:pt x="360" y="145"/>
                  </a:cubicBezTo>
                  <a:cubicBezTo>
                    <a:pt x="375" y="140"/>
                    <a:pt x="375" y="140"/>
                    <a:pt x="375" y="140"/>
                  </a:cubicBezTo>
                  <a:cubicBezTo>
                    <a:pt x="375" y="140"/>
                    <a:pt x="373" y="130"/>
                    <a:pt x="364" y="126"/>
                  </a:cubicBezTo>
                  <a:cubicBezTo>
                    <a:pt x="355" y="122"/>
                    <a:pt x="356" y="131"/>
                    <a:pt x="344" y="131"/>
                  </a:cubicBezTo>
                  <a:cubicBezTo>
                    <a:pt x="332" y="131"/>
                    <a:pt x="313" y="109"/>
                    <a:pt x="310" y="104"/>
                  </a:cubicBezTo>
                  <a:cubicBezTo>
                    <a:pt x="307" y="99"/>
                    <a:pt x="322" y="88"/>
                    <a:pt x="322" y="88"/>
                  </a:cubicBezTo>
                  <a:cubicBezTo>
                    <a:pt x="312" y="87"/>
                    <a:pt x="312" y="87"/>
                    <a:pt x="312" y="87"/>
                  </a:cubicBezTo>
                  <a:cubicBezTo>
                    <a:pt x="311" y="78"/>
                    <a:pt x="311" y="78"/>
                    <a:pt x="311" y="78"/>
                  </a:cubicBezTo>
                  <a:cubicBezTo>
                    <a:pt x="311" y="78"/>
                    <a:pt x="299" y="79"/>
                    <a:pt x="289" y="72"/>
                  </a:cubicBezTo>
                  <a:cubicBezTo>
                    <a:pt x="279" y="65"/>
                    <a:pt x="280" y="41"/>
                    <a:pt x="280" y="41"/>
                  </a:cubicBezTo>
                  <a:cubicBezTo>
                    <a:pt x="277" y="32"/>
                    <a:pt x="277" y="32"/>
                    <a:pt x="277" y="32"/>
                  </a:cubicBezTo>
                  <a:cubicBezTo>
                    <a:pt x="276" y="9"/>
                    <a:pt x="276" y="9"/>
                    <a:pt x="276" y="9"/>
                  </a:cubicBezTo>
                  <a:cubicBezTo>
                    <a:pt x="260" y="2"/>
                    <a:pt x="260" y="2"/>
                    <a:pt x="260" y="2"/>
                  </a:cubicBezTo>
                  <a:cubicBezTo>
                    <a:pt x="227" y="0"/>
                    <a:pt x="227" y="0"/>
                    <a:pt x="227" y="0"/>
                  </a:cubicBezTo>
                  <a:cubicBezTo>
                    <a:pt x="227" y="0"/>
                    <a:pt x="225" y="8"/>
                    <a:pt x="215" y="12"/>
                  </a:cubicBezTo>
                  <a:cubicBezTo>
                    <a:pt x="205" y="16"/>
                    <a:pt x="201" y="14"/>
                    <a:pt x="201" y="14"/>
                  </a:cubicBezTo>
                  <a:cubicBezTo>
                    <a:pt x="190" y="28"/>
                    <a:pt x="190" y="28"/>
                    <a:pt x="190" y="28"/>
                  </a:cubicBezTo>
                  <a:cubicBezTo>
                    <a:pt x="173" y="28"/>
                    <a:pt x="173" y="28"/>
                    <a:pt x="173" y="28"/>
                  </a:cubicBezTo>
                  <a:cubicBezTo>
                    <a:pt x="173" y="28"/>
                    <a:pt x="172" y="49"/>
                    <a:pt x="169" y="50"/>
                  </a:cubicBezTo>
                  <a:cubicBezTo>
                    <a:pt x="166" y="51"/>
                    <a:pt x="154" y="39"/>
                    <a:pt x="148" y="41"/>
                  </a:cubicBezTo>
                  <a:cubicBezTo>
                    <a:pt x="142" y="43"/>
                    <a:pt x="125" y="72"/>
                    <a:pt x="125" y="72"/>
                  </a:cubicBezTo>
                  <a:cubicBezTo>
                    <a:pt x="112" y="72"/>
                    <a:pt x="112" y="72"/>
                    <a:pt x="112" y="72"/>
                  </a:cubicBezTo>
                  <a:cubicBezTo>
                    <a:pt x="112" y="96"/>
                    <a:pt x="112" y="96"/>
                    <a:pt x="112" y="96"/>
                  </a:cubicBezTo>
                  <a:cubicBezTo>
                    <a:pt x="97" y="101"/>
                    <a:pt x="97" y="101"/>
                    <a:pt x="97" y="101"/>
                  </a:cubicBezTo>
                  <a:cubicBezTo>
                    <a:pt x="76" y="82"/>
                    <a:pt x="76" y="82"/>
                    <a:pt x="76" y="82"/>
                  </a:cubicBezTo>
                  <a:cubicBezTo>
                    <a:pt x="63" y="102"/>
                    <a:pt x="63" y="102"/>
                    <a:pt x="63" y="102"/>
                  </a:cubicBezTo>
                  <a:cubicBezTo>
                    <a:pt x="63" y="102"/>
                    <a:pt x="71" y="116"/>
                    <a:pt x="69" y="121"/>
                  </a:cubicBezTo>
                  <a:cubicBezTo>
                    <a:pt x="67" y="126"/>
                    <a:pt x="55" y="124"/>
                    <a:pt x="55" y="124"/>
                  </a:cubicBezTo>
                  <a:cubicBezTo>
                    <a:pt x="55" y="124"/>
                    <a:pt x="60" y="141"/>
                    <a:pt x="57" y="145"/>
                  </a:cubicBezTo>
                  <a:cubicBezTo>
                    <a:pt x="54" y="149"/>
                    <a:pt x="47" y="150"/>
                    <a:pt x="47" y="150"/>
                  </a:cubicBezTo>
                  <a:cubicBezTo>
                    <a:pt x="47" y="150"/>
                    <a:pt x="60" y="160"/>
                    <a:pt x="48" y="161"/>
                  </a:cubicBezTo>
                  <a:cubicBezTo>
                    <a:pt x="36" y="162"/>
                    <a:pt x="21" y="165"/>
                    <a:pt x="21" y="165"/>
                  </a:cubicBezTo>
                  <a:cubicBezTo>
                    <a:pt x="8" y="173"/>
                    <a:pt x="8" y="173"/>
                    <a:pt x="8" y="173"/>
                  </a:cubicBezTo>
                  <a:cubicBezTo>
                    <a:pt x="23" y="194"/>
                    <a:pt x="23" y="194"/>
                    <a:pt x="23" y="194"/>
                  </a:cubicBezTo>
                  <a:cubicBezTo>
                    <a:pt x="15" y="209"/>
                    <a:pt x="15" y="209"/>
                    <a:pt x="15" y="209"/>
                  </a:cubicBezTo>
                  <a:lnTo>
                    <a:pt x="0" y="209"/>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87" name="Côte d'lvoire">
              <a:extLst>
                <a:ext uri="{FF2B5EF4-FFF2-40B4-BE49-F238E27FC236}">
                  <a16:creationId xmlns:a16="http://schemas.microsoft.com/office/drawing/2014/main" id="{3DEAD94E-C2FB-4A2C-AA54-473A4476813D}"/>
                </a:ext>
              </a:extLst>
            </p:cNvPr>
            <p:cNvSpPr>
              <a:spLocks/>
            </p:cNvSpPr>
            <p:nvPr/>
          </p:nvSpPr>
          <p:spPr bwMode="gray">
            <a:xfrm>
              <a:off x="4583061" y="3156911"/>
              <a:ext cx="362956" cy="426062"/>
            </a:xfrm>
            <a:custGeom>
              <a:avLst/>
              <a:gdLst>
                <a:gd name="T0" fmla="*/ 266 w 291"/>
                <a:gd name="T1" fmla="*/ 269 h 343"/>
                <a:gd name="T2" fmla="*/ 253 w 291"/>
                <a:gd name="T3" fmla="*/ 219 h 343"/>
                <a:gd name="T4" fmla="*/ 273 w 291"/>
                <a:gd name="T5" fmla="*/ 187 h 343"/>
                <a:gd name="T6" fmla="*/ 274 w 291"/>
                <a:gd name="T7" fmla="*/ 157 h 343"/>
                <a:gd name="T8" fmla="*/ 291 w 291"/>
                <a:gd name="T9" fmla="*/ 130 h 343"/>
                <a:gd name="T10" fmla="*/ 279 w 291"/>
                <a:gd name="T11" fmla="*/ 84 h 343"/>
                <a:gd name="T12" fmla="*/ 287 w 291"/>
                <a:gd name="T13" fmla="*/ 83 h 343"/>
                <a:gd name="T14" fmla="*/ 283 w 291"/>
                <a:gd name="T15" fmla="*/ 64 h 343"/>
                <a:gd name="T16" fmla="*/ 271 w 291"/>
                <a:gd name="T17" fmla="*/ 66 h 343"/>
                <a:gd name="T18" fmla="*/ 247 w 291"/>
                <a:gd name="T19" fmla="*/ 41 h 343"/>
                <a:gd name="T20" fmla="*/ 206 w 291"/>
                <a:gd name="T21" fmla="*/ 59 h 343"/>
                <a:gd name="T22" fmla="*/ 186 w 291"/>
                <a:gd name="T23" fmla="*/ 54 h 343"/>
                <a:gd name="T24" fmla="*/ 166 w 291"/>
                <a:gd name="T25" fmla="*/ 22 h 343"/>
                <a:gd name="T26" fmla="*/ 153 w 291"/>
                <a:gd name="T27" fmla="*/ 26 h 343"/>
                <a:gd name="T28" fmla="*/ 150 w 291"/>
                <a:gd name="T29" fmla="*/ 12 h 343"/>
                <a:gd name="T30" fmla="*/ 131 w 291"/>
                <a:gd name="T31" fmla="*/ 26 h 343"/>
                <a:gd name="T32" fmla="*/ 116 w 291"/>
                <a:gd name="T33" fmla="*/ 24 h 343"/>
                <a:gd name="T34" fmla="*/ 116 w 291"/>
                <a:gd name="T35" fmla="*/ 0 h 343"/>
                <a:gd name="T36" fmla="*/ 108 w 291"/>
                <a:gd name="T37" fmla="*/ 13 h 343"/>
                <a:gd name="T38" fmla="*/ 99 w 291"/>
                <a:gd name="T39" fmla="*/ 1 h 343"/>
                <a:gd name="T40" fmla="*/ 95 w 291"/>
                <a:gd name="T41" fmla="*/ 19 h 343"/>
                <a:gd name="T42" fmla="*/ 85 w 291"/>
                <a:gd name="T43" fmla="*/ 19 h 343"/>
                <a:gd name="T44" fmla="*/ 81 w 291"/>
                <a:gd name="T45" fmla="*/ 31 h 343"/>
                <a:gd name="T46" fmla="*/ 55 w 291"/>
                <a:gd name="T47" fmla="*/ 15 h 343"/>
                <a:gd name="T48" fmla="*/ 42 w 291"/>
                <a:gd name="T49" fmla="*/ 30 h 343"/>
                <a:gd name="T50" fmla="*/ 36 w 291"/>
                <a:gd name="T51" fmla="*/ 27 h 343"/>
                <a:gd name="T52" fmla="*/ 23 w 291"/>
                <a:gd name="T53" fmla="*/ 41 h 343"/>
                <a:gd name="T54" fmla="*/ 28 w 291"/>
                <a:gd name="T55" fmla="*/ 68 h 343"/>
                <a:gd name="T56" fmla="*/ 40 w 291"/>
                <a:gd name="T57" fmla="*/ 69 h 343"/>
                <a:gd name="T58" fmla="*/ 33 w 291"/>
                <a:gd name="T59" fmla="*/ 82 h 343"/>
                <a:gd name="T60" fmla="*/ 43 w 291"/>
                <a:gd name="T61" fmla="*/ 86 h 343"/>
                <a:gd name="T62" fmla="*/ 34 w 291"/>
                <a:gd name="T63" fmla="*/ 103 h 343"/>
                <a:gd name="T64" fmla="*/ 50 w 291"/>
                <a:gd name="T65" fmla="*/ 113 h 343"/>
                <a:gd name="T66" fmla="*/ 49 w 291"/>
                <a:gd name="T67" fmla="*/ 126 h 343"/>
                <a:gd name="T68" fmla="*/ 19 w 291"/>
                <a:gd name="T69" fmla="*/ 122 h 343"/>
                <a:gd name="T70" fmla="*/ 37 w 291"/>
                <a:gd name="T71" fmla="*/ 145 h 343"/>
                <a:gd name="T72" fmla="*/ 25 w 291"/>
                <a:gd name="T73" fmla="*/ 148 h 343"/>
                <a:gd name="T74" fmla="*/ 25 w 291"/>
                <a:gd name="T75" fmla="*/ 169 h 343"/>
                <a:gd name="T76" fmla="*/ 2 w 291"/>
                <a:gd name="T77" fmla="*/ 162 h 343"/>
                <a:gd name="T78" fmla="*/ 15 w 291"/>
                <a:gd name="T79" fmla="*/ 196 h 343"/>
                <a:gd name="T80" fmla="*/ 1 w 291"/>
                <a:gd name="T81" fmla="*/ 228 h 343"/>
                <a:gd name="T82" fmla="*/ 14 w 291"/>
                <a:gd name="T83" fmla="*/ 230 h 343"/>
                <a:gd name="T84" fmla="*/ 14 w 291"/>
                <a:gd name="T85" fmla="*/ 240 h 343"/>
                <a:gd name="T86" fmla="*/ 38 w 291"/>
                <a:gd name="T87" fmla="*/ 236 h 343"/>
                <a:gd name="T88" fmla="*/ 39 w 291"/>
                <a:gd name="T89" fmla="*/ 253 h 343"/>
                <a:gd name="T90" fmla="*/ 60 w 291"/>
                <a:gd name="T91" fmla="*/ 282 h 343"/>
                <a:gd name="T92" fmla="*/ 50 w 291"/>
                <a:gd name="T93" fmla="*/ 316 h 343"/>
                <a:gd name="T94" fmla="*/ 51 w 291"/>
                <a:gd name="T95" fmla="*/ 343 h 343"/>
                <a:gd name="T96" fmla="*/ 66 w 291"/>
                <a:gd name="T97" fmla="*/ 331 h 343"/>
                <a:gd name="T98" fmla="*/ 75 w 291"/>
                <a:gd name="T99" fmla="*/ 331 h 343"/>
                <a:gd name="T100" fmla="*/ 85 w 291"/>
                <a:gd name="T101" fmla="*/ 323 h 343"/>
                <a:gd name="T102" fmla="*/ 151 w 291"/>
                <a:gd name="T103" fmla="*/ 300 h 343"/>
                <a:gd name="T104" fmla="*/ 178 w 291"/>
                <a:gd name="T105" fmla="*/ 296 h 343"/>
                <a:gd name="T106" fmla="*/ 218 w 291"/>
                <a:gd name="T107" fmla="*/ 290 h 343"/>
                <a:gd name="T108" fmla="*/ 236 w 291"/>
                <a:gd name="T109" fmla="*/ 299 h 343"/>
                <a:gd name="T110" fmla="*/ 256 w 291"/>
                <a:gd name="T111" fmla="*/ 289 h 343"/>
                <a:gd name="T112" fmla="*/ 273 w 291"/>
                <a:gd name="T113" fmla="*/ 306 h 343"/>
                <a:gd name="T114" fmla="*/ 285 w 291"/>
                <a:gd name="T115" fmla="*/ 310 h 343"/>
                <a:gd name="T116" fmla="*/ 284 w 291"/>
                <a:gd name="T117" fmla="*/ 275 h 343"/>
                <a:gd name="T118" fmla="*/ 266 w 291"/>
                <a:gd name="T119" fmla="*/ 269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1" h="343">
                  <a:moveTo>
                    <a:pt x="266" y="269"/>
                  </a:moveTo>
                  <a:cubicBezTo>
                    <a:pt x="266" y="269"/>
                    <a:pt x="253" y="233"/>
                    <a:pt x="253" y="219"/>
                  </a:cubicBezTo>
                  <a:cubicBezTo>
                    <a:pt x="253" y="205"/>
                    <a:pt x="273" y="187"/>
                    <a:pt x="273" y="187"/>
                  </a:cubicBezTo>
                  <a:cubicBezTo>
                    <a:pt x="273" y="187"/>
                    <a:pt x="274" y="165"/>
                    <a:pt x="274" y="157"/>
                  </a:cubicBezTo>
                  <a:cubicBezTo>
                    <a:pt x="274" y="149"/>
                    <a:pt x="291" y="142"/>
                    <a:pt x="291" y="130"/>
                  </a:cubicBezTo>
                  <a:cubicBezTo>
                    <a:pt x="291" y="118"/>
                    <a:pt x="279" y="84"/>
                    <a:pt x="279" y="84"/>
                  </a:cubicBezTo>
                  <a:cubicBezTo>
                    <a:pt x="287" y="83"/>
                    <a:pt x="287" y="83"/>
                    <a:pt x="287" y="83"/>
                  </a:cubicBezTo>
                  <a:cubicBezTo>
                    <a:pt x="283" y="64"/>
                    <a:pt x="283" y="64"/>
                    <a:pt x="283" y="64"/>
                  </a:cubicBezTo>
                  <a:cubicBezTo>
                    <a:pt x="271" y="66"/>
                    <a:pt x="271" y="66"/>
                    <a:pt x="271" y="66"/>
                  </a:cubicBezTo>
                  <a:cubicBezTo>
                    <a:pt x="271" y="66"/>
                    <a:pt x="277" y="45"/>
                    <a:pt x="247" y="41"/>
                  </a:cubicBezTo>
                  <a:cubicBezTo>
                    <a:pt x="217" y="37"/>
                    <a:pt x="206" y="59"/>
                    <a:pt x="206" y="59"/>
                  </a:cubicBezTo>
                  <a:cubicBezTo>
                    <a:pt x="206" y="59"/>
                    <a:pt x="196" y="55"/>
                    <a:pt x="186" y="54"/>
                  </a:cubicBezTo>
                  <a:cubicBezTo>
                    <a:pt x="176" y="53"/>
                    <a:pt x="166" y="22"/>
                    <a:pt x="166" y="22"/>
                  </a:cubicBezTo>
                  <a:cubicBezTo>
                    <a:pt x="153" y="26"/>
                    <a:pt x="153" y="26"/>
                    <a:pt x="153" y="26"/>
                  </a:cubicBezTo>
                  <a:cubicBezTo>
                    <a:pt x="150" y="12"/>
                    <a:pt x="150" y="12"/>
                    <a:pt x="150" y="12"/>
                  </a:cubicBezTo>
                  <a:cubicBezTo>
                    <a:pt x="135" y="12"/>
                    <a:pt x="131" y="26"/>
                    <a:pt x="131" y="26"/>
                  </a:cubicBezTo>
                  <a:cubicBezTo>
                    <a:pt x="116" y="24"/>
                    <a:pt x="116" y="24"/>
                    <a:pt x="116" y="24"/>
                  </a:cubicBezTo>
                  <a:cubicBezTo>
                    <a:pt x="116" y="0"/>
                    <a:pt x="116" y="0"/>
                    <a:pt x="116" y="0"/>
                  </a:cubicBezTo>
                  <a:cubicBezTo>
                    <a:pt x="108" y="13"/>
                    <a:pt x="108" y="13"/>
                    <a:pt x="108" y="13"/>
                  </a:cubicBezTo>
                  <a:cubicBezTo>
                    <a:pt x="99" y="1"/>
                    <a:pt x="99" y="1"/>
                    <a:pt x="99" y="1"/>
                  </a:cubicBezTo>
                  <a:cubicBezTo>
                    <a:pt x="95" y="19"/>
                    <a:pt x="95" y="19"/>
                    <a:pt x="95" y="19"/>
                  </a:cubicBezTo>
                  <a:cubicBezTo>
                    <a:pt x="85" y="19"/>
                    <a:pt x="85" y="19"/>
                    <a:pt x="85" y="19"/>
                  </a:cubicBezTo>
                  <a:cubicBezTo>
                    <a:pt x="81" y="31"/>
                    <a:pt x="81" y="31"/>
                    <a:pt x="81" y="31"/>
                  </a:cubicBezTo>
                  <a:cubicBezTo>
                    <a:pt x="81" y="31"/>
                    <a:pt x="71" y="17"/>
                    <a:pt x="55" y="15"/>
                  </a:cubicBezTo>
                  <a:cubicBezTo>
                    <a:pt x="39" y="13"/>
                    <a:pt x="42" y="30"/>
                    <a:pt x="42" y="30"/>
                  </a:cubicBezTo>
                  <a:cubicBezTo>
                    <a:pt x="36" y="27"/>
                    <a:pt x="36" y="27"/>
                    <a:pt x="36" y="27"/>
                  </a:cubicBezTo>
                  <a:cubicBezTo>
                    <a:pt x="23" y="41"/>
                    <a:pt x="23" y="41"/>
                    <a:pt x="23" y="41"/>
                  </a:cubicBezTo>
                  <a:cubicBezTo>
                    <a:pt x="28" y="68"/>
                    <a:pt x="28" y="68"/>
                    <a:pt x="28" y="68"/>
                  </a:cubicBezTo>
                  <a:cubicBezTo>
                    <a:pt x="40" y="69"/>
                    <a:pt x="40" y="69"/>
                    <a:pt x="40" y="69"/>
                  </a:cubicBezTo>
                  <a:cubicBezTo>
                    <a:pt x="33" y="82"/>
                    <a:pt x="33" y="82"/>
                    <a:pt x="33" y="82"/>
                  </a:cubicBezTo>
                  <a:cubicBezTo>
                    <a:pt x="43" y="86"/>
                    <a:pt x="43" y="86"/>
                    <a:pt x="43" y="86"/>
                  </a:cubicBezTo>
                  <a:cubicBezTo>
                    <a:pt x="43" y="86"/>
                    <a:pt x="33" y="95"/>
                    <a:pt x="34" y="103"/>
                  </a:cubicBezTo>
                  <a:cubicBezTo>
                    <a:pt x="35" y="111"/>
                    <a:pt x="50" y="106"/>
                    <a:pt x="50" y="113"/>
                  </a:cubicBezTo>
                  <a:cubicBezTo>
                    <a:pt x="50" y="120"/>
                    <a:pt x="49" y="126"/>
                    <a:pt x="49" y="126"/>
                  </a:cubicBezTo>
                  <a:cubicBezTo>
                    <a:pt x="49" y="126"/>
                    <a:pt x="19" y="112"/>
                    <a:pt x="19" y="122"/>
                  </a:cubicBezTo>
                  <a:cubicBezTo>
                    <a:pt x="19" y="132"/>
                    <a:pt x="37" y="145"/>
                    <a:pt x="37" y="145"/>
                  </a:cubicBezTo>
                  <a:cubicBezTo>
                    <a:pt x="25" y="148"/>
                    <a:pt x="25" y="148"/>
                    <a:pt x="25" y="148"/>
                  </a:cubicBezTo>
                  <a:cubicBezTo>
                    <a:pt x="25" y="148"/>
                    <a:pt x="32" y="166"/>
                    <a:pt x="25" y="169"/>
                  </a:cubicBezTo>
                  <a:cubicBezTo>
                    <a:pt x="19" y="171"/>
                    <a:pt x="9" y="164"/>
                    <a:pt x="2" y="162"/>
                  </a:cubicBezTo>
                  <a:cubicBezTo>
                    <a:pt x="7" y="172"/>
                    <a:pt x="15" y="186"/>
                    <a:pt x="15" y="196"/>
                  </a:cubicBezTo>
                  <a:cubicBezTo>
                    <a:pt x="15" y="211"/>
                    <a:pt x="0" y="225"/>
                    <a:pt x="1" y="228"/>
                  </a:cubicBezTo>
                  <a:cubicBezTo>
                    <a:pt x="2" y="231"/>
                    <a:pt x="14" y="230"/>
                    <a:pt x="14" y="230"/>
                  </a:cubicBezTo>
                  <a:cubicBezTo>
                    <a:pt x="14" y="240"/>
                    <a:pt x="14" y="240"/>
                    <a:pt x="14" y="240"/>
                  </a:cubicBezTo>
                  <a:cubicBezTo>
                    <a:pt x="38" y="236"/>
                    <a:pt x="38" y="236"/>
                    <a:pt x="38" y="236"/>
                  </a:cubicBezTo>
                  <a:cubicBezTo>
                    <a:pt x="39" y="253"/>
                    <a:pt x="39" y="253"/>
                    <a:pt x="39" y="253"/>
                  </a:cubicBezTo>
                  <a:cubicBezTo>
                    <a:pt x="39" y="253"/>
                    <a:pt x="60" y="269"/>
                    <a:pt x="60" y="282"/>
                  </a:cubicBezTo>
                  <a:cubicBezTo>
                    <a:pt x="60" y="295"/>
                    <a:pt x="50" y="316"/>
                    <a:pt x="50" y="316"/>
                  </a:cubicBezTo>
                  <a:cubicBezTo>
                    <a:pt x="51" y="343"/>
                    <a:pt x="51" y="343"/>
                    <a:pt x="51" y="343"/>
                  </a:cubicBezTo>
                  <a:cubicBezTo>
                    <a:pt x="63" y="341"/>
                    <a:pt x="66" y="331"/>
                    <a:pt x="66" y="331"/>
                  </a:cubicBezTo>
                  <a:cubicBezTo>
                    <a:pt x="75" y="331"/>
                    <a:pt x="75" y="331"/>
                    <a:pt x="75" y="331"/>
                  </a:cubicBezTo>
                  <a:cubicBezTo>
                    <a:pt x="85" y="323"/>
                    <a:pt x="85" y="323"/>
                    <a:pt x="85" y="323"/>
                  </a:cubicBezTo>
                  <a:cubicBezTo>
                    <a:pt x="85" y="323"/>
                    <a:pt x="131" y="298"/>
                    <a:pt x="151" y="300"/>
                  </a:cubicBezTo>
                  <a:cubicBezTo>
                    <a:pt x="171" y="302"/>
                    <a:pt x="178" y="296"/>
                    <a:pt x="178" y="296"/>
                  </a:cubicBezTo>
                  <a:cubicBezTo>
                    <a:pt x="178" y="296"/>
                    <a:pt x="209" y="285"/>
                    <a:pt x="218" y="290"/>
                  </a:cubicBezTo>
                  <a:cubicBezTo>
                    <a:pt x="227" y="295"/>
                    <a:pt x="229" y="300"/>
                    <a:pt x="236" y="299"/>
                  </a:cubicBezTo>
                  <a:cubicBezTo>
                    <a:pt x="243" y="298"/>
                    <a:pt x="256" y="289"/>
                    <a:pt x="256" y="289"/>
                  </a:cubicBezTo>
                  <a:cubicBezTo>
                    <a:pt x="256" y="289"/>
                    <a:pt x="257" y="299"/>
                    <a:pt x="273" y="306"/>
                  </a:cubicBezTo>
                  <a:cubicBezTo>
                    <a:pt x="277" y="308"/>
                    <a:pt x="281" y="309"/>
                    <a:pt x="285" y="310"/>
                  </a:cubicBezTo>
                  <a:cubicBezTo>
                    <a:pt x="284" y="275"/>
                    <a:pt x="284" y="275"/>
                    <a:pt x="284" y="275"/>
                  </a:cubicBezTo>
                  <a:lnTo>
                    <a:pt x="266" y="269"/>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88" name="Niger">
              <a:extLst>
                <a:ext uri="{FF2B5EF4-FFF2-40B4-BE49-F238E27FC236}">
                  <a16:creationId xmlns:a16="http://schemas.microsoft.com/office/drawing/2014/main" id="{8062F069-623F-4B00-BC81-5AB2AF379F5E}"/>
                </a:ext>
              </a:extLst>
            </p:cNvPr>
            <p:cNvSpPr>
              <a:spLocks/>
            </p:cNvSpPr>
            <p:nvPr/>
          </p:nvSpPr>
          <p:spPr bwMode="gray">
            <a:xfrm>
              <a:off x="5111640" y="2304789"/>
              <a:ext cx="919730" cy="781698"/>
            </a:xfrm>
            <a:custGeom>
              <a:avLst/>
              <a:gdLst>
                <a:gd name="T0" fmla="*/ 36 w 741"/>
                <a:gd name="T1" fmla="*/ 540 h 628"/>
                <a:gd name="T2" fmla="*/ 34 w 741"/>
                <a:gd name="T3" fmla="*/ 557 h 628"/>
                <a:gd name="T4" fmla="*/ 88 w 741"/>
                <a:gd name="T5" fmla="*/ 579 h 628"/>
                <a:gd name="T6" fmla="*/ 84 w 741"/>
                <a:gd name="T7" fmla="*/ 598 h 628"/>
                <a:gd name="T8" fmla="*/ 102 w 741"/>
                <a:gd name="T9" fmla="*/ 604 h 628"/>
                <a:gd name="T10" fmla="*/ 141 w 741"/>
                <a:gd name="T11" fmla="*/ 619 h 628"/>
                <a:gd name="T12" fmla="*/ 159 w 741"/>
                <a:gd name="T13" fmla="*/ 594 h 628"/>
                <a:gd name="T14" fmla="*/ 183 w 741"/>
                <a:gd name="T15" fmla="*/ 542 h 628"/>
                <a:gd name="T16" fmla="*/ 236 w 741"/>
                <a:gd name="T17" fmla="*/ 526 h 628"/>
                <a:gd name="T18" fmla="*/ 269 w 741"/>
                <a:gd name="T19" fmla="*/ 529 h 628"/>
                <a:gd name="T20" fmla="*/ 305 w 741"/>
                <a:gd name="T21" fmla="*/ 544 h 628"/>
                <a:gd name="T22" fmla="*/ 364 w 741"/>
                <a:gd name="T23" fmla="*/ 544 h 628"/>
                <a:gd name="T24" fmla="*/ 442 w 741"/>
                <a:gd name="T25" fmla="*/ 578 h 628"/>
                <a:gd name="T26" fmla="*/ 554 w 741"/>
                <a:gd name="T27" fmla="*/ 557 h 628"/>
                <a:gd name="T28" fmla="*/ 597 w 741"/>
                <a:gd name="T29" fmla="*/ 541 h 628"/>
                <a:gd name="T30" fmla="*/ 621 w 741"/>
                <a:gd name="T31" fmla="*/ 526 h 628"/>
                <a:gd name="T32" fmla="*/ 621 w 741"/>
                <a:gd name="T33" fmla="*/ 484 h 628"/>
                <a:gd name="T34" fmla="*/ 656 w 741"/>
                <a:gd name="T35" fmla="*/ 426 h 628"/>
                <a:gd name="T36" fmla="*/ 727 w 741"/>
                <a:gd name="T37" fmla="*/ 194 h 628"/>
                <a:gd name="T38" fmla="*/ 721 w 741"/>
                <a:gd name="T39" fmla="*/ 145 h 628"/>
                <a:gd name="T40" fmla="*/ 697 w 741"/>
                <a:gd name="T41" fmla="*/ 105 h 628"/>
                <a:gd name="T42" fmla="*/ 692 w 741"/>
                <a:gd name="T43" fmla="*/ 28 h 628"/>
                <a:gd name="T44" fmla="*/ 623 w 741"/>
                <a:gd name="T45" fmla="*/ 16 h 628"/>
                <a:gd name="T46" fmla="*/ 551 w 741"/>
                <a:gd name="T47" fmla="*/ 0 h 628"/>
                <a:gd name="T48" fmla="*/ 261 w 741"/>
                <a:gd name="T49" fmla="*/ 221 h 628"/>
                <a:gd name="T50" fmla="*/ 190 w 741"/>
                <a:gd name="T51" fmla="*/ 372 h 628"/>
                <a:gd name="T52" fmla="*/ 160 w 741"/>
                <a:gd name="T53" fmla="*/ 427 h 628"/>
                <a:gd name="T54" fmla="*/ 124 w 741"/>
                <a:gd name="T55" fmla="*/ 437 h 628"/>
                <a:gd name="T56" fmla="*/ 92 w 741"/>
                <a:gd name="T57" fmla="*/ 444 h 628"/>
                <a:gd name="T58" fmla="*/ 32 w 741"/>
                <a:gd name="T59" fmla="*/ 455 h 628"/>
                <a:gd name="T60" fmla="*/ 1 w 741"/>
                <a:gd name="T61" fmla="*/ 485 h 628"/>
                <a:gd name="T62" fmla="*/ 13 w 741"/>
                <a:gd name="T63" fmla="*/ 525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41" h="628">
                  <a:moveTo>
                    <a:pt x="35" y="531"/>
                  </a:moveTo>
                  <a:cubicBezTo>
                    <a:pt x="36" y="540"/>
                    <a:pt x="36" y="540"/>
                    <a:pt x="36" y="540"/>
                  </a:cubicBezTo>
                  <a:cubicBezTo>
                    <a:pt x="46" y="541"/>
                    <a:pt x="46" y="541"/>
                    <a:pt x="46" y="541"/>
                  </a:cubicBezTo>
                  <a:cubicBezTo>
                    <a:pt x="46" y="541"/>
                    <a:pt x="31" y="552"/>
                    <a:pt x="34" y="557"/>
                  </a:cubicBezTo>
                  <a:cubicBezTo>
                    <a:pt x="37" y="562"/>
                    <a:pt x="56" y="584"/>
                    <a:pt x="68" y="584"/>
                  </a:cubicBezTo>
                  <a:cubicBezTo>
                    <a:pt x="80" y="584"/>
                    <a:pt x="79" y="575"/>
                    <a:pt x="88" y="579"/>
                  </a:cubicBezTo>
                  <a:cubicBezTo>
                    <a:pt x="97" y="583"/>
                    <a:pt x="99" y="593"/>
                    <a:pt x="99" y="593"/>
                  </a:cubicBezTo>
                  <a:cubicBezTo>
                    <a:pt x="84" y="598"/>
                    <a:pt x="84" y="598"/>
                    <a:pt x="84" y="598"/>
                  </a:cubicBezTo>
                  <a:cubicBezTo>
                    <a:pt x="99" y="620"/>
                    <a:pt x="99" y="620"/>
                    <a:pt x="99" y="620"/>
                  </a:cubicBezTo>
                  <a:cubicBezTo>
                    <a:pt x="102" y="604"/>
                    <a:pt x="102" y="604"/>
                    <a:pt x="102" y="604"/>
                  </a:cubicBezTo>
                  <a:cubicBezTo>
                    <a:pt x="119" y="597"/>
                    <a:pt x="119" y="597"/>
                    <a:pt x="119" y="597"/>
                  </a:cubicBezTo>
                  <a:cubicBezTo>
                    <a:pt x="119" y="597"/>
                    <a:pt x="136" y="616"/>
                    <a:pt x="141" y="619"/>
                  </a:cubicBezTo>
                  <a:cubicBezTo>
                    <a:pt x="146" y="622"/>
                    <a:pt x="162" y="628"/>
                    <a:pt x="162" y="628"/>
                  </a:cubicBezTo>
                  <a:cubicBezTo>
                    <a:pt x="159" y="594"/>
                    <a:pt x="159" y="594"/>
                    <a:pt x="159" y="594"/>
                  </a:cubicBezTo>
                  <a:cubicBezTo>
                    <a:pt x="159" y="594"/>
                    <a:pt x="181" y="583"/>
                    <a:pt x="182" y="568"/>
                  </a:cubicBezTo>
                  <a:cubicBezTo>
                    <a:pt x="183" y="553"/>
                    <a:pt x="183" y="542"/>
                    <a:pt x="183" y="542"/>
                  </a:cubicBezTo>
                  <a:cubicBezTo>
                    <a:pt x="202" y="525"/>
                    <a:pt x="202" y="525"/>
                    <a:pt x="202" y="525"/>
                  </a:cubicBezTo>
                  <a:cubicBezTo>
                    <a:pt x="236" y="526"/>
                    <a:pt x="236" y="526"/>
                    <a:pt x="236" y="526"/>
                  </a:cubicBezTo>
                  <a:cubicBezTo>
                    <a:pt x="236" y="526"/>
                    <a:pt x="235" y="520"/>
                    <a:pt x="249" y="519"/>
                  </a:cubicBezTo>
                  <a:cubicBezTo>
                    <a:pt x="263" y="518"/>
                    <a:pt x="262" y="528"/>
                    <a:pt x="269" y="529"/>
                  </a:cubicBezTo>
                  <a:cubicBezTo>
                    <a:pt x="276" y="530"/>
                    <a:pt x="288" y="530"/>
                    <a:pt x="288" y="530"/>
                  </a:cubicBezTo>
                  <a:cubicBezTo>
                    <a:pt x="305" y="544"/>
                    <a:pt x="305" y="544"/>
                    <a:pt x="305" y="544"/>
                  </a:cubicBezTo>
                  <a:cubicBezTo>
                    <a:pt x="305" y="544"/>
                    <a:pt x="310" y="566"/>
                    <a:pt x="319" y="565"/>
                  </a:cubicBezTo>
                  <a:cubicBezTo>
                    <a:pt x="328" y="564"/>
                    <a:pt x="352" y="544"/>
                    <a:pt x="364" y="544"/>
                  </a:cubicBezTo>
                  <a:cubicBezTo>
                    <a:pt x="376" y="544"/>
                    <a:pt x="388" y="572"/>
                    <a:pt x="407" y="573"/>
                  </a:cubicBezTo>
                  <a:cubicBezTo>
                    <a:pt x="426" y="574"/>
                    <a:pt x="442" y="578"/>
                    <a:pt x="442" y="578"/>
                  </a:cubicBezTo>
                  <a:cubicBezTo>
                    <a:pt x="442" y="578"/>
                    <a:pt x="454" y="543"/>
                    <a:pt x="496" y="543"/>
                  </a:cubicBezTo>
                  <a:cubicBezTo>
                    <a:pt x="538" y="543"/>
                    <a:pt x="554" y="557"/>
                    <a:pt x="554" y="557"/>
                  </a:cubicBezTo>
                  <a:cubicBezTo>
                    <a:pt x="572" y="558"/>
                    <a:pt x="572" y="558"/>
                    <a:pt x="572" y="558"/>
                  </a:cubicBezTo>
                  <a:cubicBezTo>
                    <a:pt x="572" y="558"/>
                    <a:pt x="590" y="545"/>
                    <a:pt x="597" y="541"/>
                  </a:cubicBezTo>
                  <a:cubicBezTo>
                    <a:pt x="604" y="537"/>
                    <a:pt x="613" y="540"/>
                    <a:pt x="613" y="540"/>
                  </a:cubicBezTo>
                  <a:cubicBezTo>
                    <a:pt x="613" y="540"/>
                    <a:pt x="617" y="526"/>
                    <a:pt x="621" y="526"/>
                  </a:cubicBezTo>
                  <a:cubicBezTo>
                    <a:pt x="622" y="526"/>
                    <a:pt x="623" y="526"/>
                    <a:pt x="624" y="526"/>
                  </a:cubicBezTo>
                  <a:cubicBezTo>
                    <a:pt x="621" y="484"/>
                    <a:pt x="621" y="484"/>
                    <a:pt x="621" y="484"/>
                  </a:cubicBezTo>
                  <a:cubicBezTo>
                    <a:pt x="634" y="479"/>
                    <a:pt x="634" y="479"/>
                    <a:pt x="634" y="479"/>
                  </a:cubicBezTo>
                  <a:cubicBezTo>
                    <a:pt x="634" y="479"/>
                    <a:pt x="644" y="442"/>
                    <a:pt x="656" y="426"/>
                  </a:cubicBezTo>
                  <a:cubicBezTo>
                    <a:pt x="667" y="409"/>
                    <a:pt x="717" y="356"/>
                    <a:pt x="717" y="356"/>
                  </a:cubicBezTo>
                  <a:cubicBezTo>
                    <a:pt x="727" y="194"/>
                    <a:pt x="727" y="194"/>
                    <a:pt x="727" y="194"/>
                  </a:cubicBezTo>
                  <a:cubicBezTo>
                    <a:pt x="741" y="169"/>
                    <a:pt x="741" y="169"/>
                    <a:pt x="741" y="169"/>
                  </a:cubicBezTo>
                  <a:cubicBezTo>
                    <a:pt x="721" y="145"/>
                    <a:pt x="721" y="145"/>
                    <a:pt x="721" y="145"/>
                  </a:cubicBezTo>
                  <a:cubicBezTo>
                    <a:pt x="716" y="129"/>
                    <a:pt x="716" y="129"/>
                    <a:pt x="716" y="129"/>
                  </a:cubicBezTo>
                  <a:cubicBezTo>
                    <a:pt x="697" y="105"/>
                    <a:pt x="697" y="105"/>
                    <a:pt x="697" y="105"/>
                  </a:cubicBezTo>
                  <a:cubicBezTo>
                    <a:pt x="704" y="72"/>
                    <a:pt x="704" y="72"/>
                    <a:pt x="704" y="72"/>
                  </a:cubicBezTo>
                  <a:cubicBezTo>
                    <a:pt x="692" y="28"/>
                    <a:pt x="692" y="28"/>
                    <a:pt x="692" y="28"/>
                  </a:cubicBezTo>
                  <a:cubicBezTo>
                    <a:pt x="676" y="37"/>
                    <a:pt x="662" y="44"/>
                    <a:pt x="657" y="45"/>
                  </a:cubicBezTo>
                  <a:cubicBezTo>
                    <a:pt x="646" y="46"/>
                    <a:pt x="630" y="18"/>
                    <a:pt x="623" y="16"/>
                  </a:cubicBezTo>
                  <a:cubicBezTo>
                    <a:pt x="616" y="14"/>
                    <a:pt x="576" y="6"/>
                    <a:pt x="576" y="6"/>
                  </a:cubicBezTo>
                  <a:cubicBezTo>
                    <a:pt x="551" y="0"/>
                    <a:pt x="551" y="0"/>
                    <a:pt x="551" y="0"/>
                  </a:cubicBezTo>
                  <a:cubicBezTo>
                    <a:pt x="551" y="0"/>
                    <a:pt x="364" y="136"/>
                    <a:pt x="342" y="151"/>
                  </a:cubicBezTo>
                  <a:cubicBezTo>
                    <a:pt x="320" y="166"/>
                    <a:pt x="275" y="219"/>
                    <a:pt x="261" y="221"/>
                  </a:cubicBezTo>
                  <a:cubicBezTo>
                    <a:pt x="251" y="222"/>
                    <a:pt x="210" y="231"/>
                    <a:pt x="190" y="235"/>
                  </a:cubicBezTo>
                  <a:cubicBezTo>
                    <a:pt x="190" y="372"/>
                    <a:pt x="190" y="372"/>
                    <a:pt x="190" y="372"/>
                  </a:cubicBezTo>
                  <a:cubicBezTo>
                    <a:pt x="175" y="387"/>
                    <a:pt x="175" y="387"/>
                    <a:pt x="175" y="387"/>
                  </a:cubicBezTo>
                  <a:cubicBezTo>
                    <a:pt x="175" y="387"/>
                    <a:pt x="175" y="420"/>
                    <a:pt x="160" y="427"/>
                  </a:cubicBezTo>
                  <a:cubicBezTo>
                    <a:pt x="138" y="438"/>
                    <a:pt x="131" y="432"/>
                    <a:pt x="131" y="432"/>
                  </a:cubicBezTo>
                  <a:cubicBezTo>
                    <a:pt x="124" y="437"/>
                    <a:pt x="124" y="437"/>
                    <a:pt x="124" y="437"/>
                  </a:cubicBezTo>
                  <a:cubicBezTo>
                    <a:pt x="93" y="435"/>
                    <a:pt x="93" y="435"/>
                    <a:pt x="93" y="435"/>
                  </a:cubicBezTo>
                  <a:cubicBezTo>
                    <a:pt x="92" y="444"/>
                    <a:pt x="92" y="444"/>
                    <a:pt x="92" y="444"/>
                  </a:cubicBezTo>
                  <a:cubicBezTo>
                    <a:pt x="50" y="443"/>
                    <a:pt x="50" y="443"/>
                    <a:pt x="50" y="443"/>
                  </a:cubicBezTo>
                  <a:cubicBezTo>
                    <a:pt x="32" y="455"/>
                    <a:pt x="32" y="455"/>
                    <a:pt x="32" y="455"/>
                  </a:cubicBezTo>
                  <a:cubicBezTo>
                    <a:pt x="0" y="462"/>
                    <a:pt x="0" y="462"/>
                    <a:pt x="0" y="462"/>
                  </a:cubicBezTo>
                  <a:cubicBezTo>
                    <a:pt x="1" y="485"/>
                    <a:pt x="1" y="485"/>
                    <a:pt x="1" y="485"/>
                  </a:cubicBezTo>
                  <a:cubicBezTo>
                    <a:pt x="4" y="494"/>
                    <a:pt x="4" y="494"/>
                    <a:pt x="4" y="494"/>
                  </a:cubicBezTo>
                  <a:cubicBezTo>
                    <a:pt x="4" y="494"/>
                    <a:pt x="3" y="518"/>
                    <a:pt x="13" y="525"/>
                  </a:cubicBezTo>
                  <a:cubicBezTo>
                    <a:pt x="23" y="532"/>
                    <a:pt x="35" y="531"/>
                    <a:pt x="35" y="53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89" name="Algeria">
              <a:extLst>
                <a:ext uri="{FF2B5EF4-FFF2-40B4-BE49-F238E27FC236}">
                  <a16:creationId xmlns:a16="http://schemas.microsoft.com/office/drawing/2014/main" id="{0F697721-8C0B-4CB2-9588-4F9113CDB996}"/>
                </a:ext>
              </a:extLst>
            </p:cNvPr>
            <p:cNvSpPr>
              <a:spLocks/>
            </p:cNvSpPr>
            <p:nvPr/>
          </p:nvSpPr>
          <p:spPr bwMode="gray">
            <a:xfrm>
              <a:off x="4572485" y="1392804"/>
              <a:ext cx="1222783" cy="1218323"/>
            </a:xfrm>
            <a:custGeom>
              <a:avLst/>
              <a:gdLst>
                <a:gd name="T0" fmla="*/ 212 w 983"/>
                <a:gd name="T1" fmla="*/ 357 h 981"/>
                <a:gd name="T2" fmla="*/ 155 w 983"/>
                <a:gd name="T3" fmla="*/ 390 h 981"/>
                <a:gd name="T4" fmla="*/ 136 w 983"/>
                <a:gd name="T5" fmla="*/ 399 h 981"/>
                <a:gd name="T6" fmla="*/ 111 w 983"/>
                <a:gd name="T7" fmla="*/ 404 h 981"/>
                <a:gd name="T8" fmla="*/ 81 w 983"/>
                <a:gd name="T9" fmla="*/ 417 h 981"/>
                <a:gd name="T10" fmla="*/ 40 w 983"/>
                <a:gd name="T11" fmla="*/ 454 h 981"/>
                <a:gd name="T12" fmla="*/ 35 w 983"/>
                <a:gd name="T13" fmla="*/ 511 h 981"/>
                <a:gd name="T14" fmla="*/ 37 w 983"/>
                <a:gd name="T15" fmla="*/ 513 h 981"/>
                <a:gd name="T16" fmla="*/ 208 w 983"/>
                <a:gd name="T17" fmla="*/ 656 h 981"/>
                <a:gd name="T18" fmla="*/ 481 w 983"/>
                <a:gd name="T19" fmla="*/ 882 h 981"/>
                <a:gd name="T20" fmla="*/ 510 w 983"/>
                <a:gd name="T21" fmla="*/ 904 h 981"/>
                <a:gd name="T22" fmla="*/ 538 w 983"/>
                <a:gd name="T23" fmla="*/ 923 h 981"/>
                <a:gd name="T24" fmla="*/ 582 w 983"/>
                <a:gd name="T25" fmla="*/ 953 h 981"/>
                <a:gd name="T26" fmla="*/ 610 w 983"/>
                <a:gd name="T27" fmla="*/ 973 h 981"/>
                <a:gd name="T28" fmla="*/ 774 w 983"/>
                <a:gd name="T29" fmla="*/ 886 h 981"/>
                <a:gd name="T30" fmla="*/ 963 w 983"/>
                <a:gd name="T31" fmla="*/ 691 h 981"/>
                <a:gd name="T32" fmla="*/ 909 w 983"/>
                <a:gd name="T33" fmla="*/ 684 h 981"/>
                <a:gd name="T34" fmla="*/ 893 w 983"/>
                <a:gd name="T35" fmla="*/ 639 h 981"/>
                <a:gd name="T36" fmla="*/ 889 w 983"/>
                <a:gd name="T37" fmla="*/ 569 h 981"/>
                <a:gd name="T38" fmla="*/ 880 w 983"/>
                <a:gd name="T39" fmla="*/ 515 h 981"/>
                <a:gd name="T40" fmla="*/ 883 w 983"/>
                <a:gd name="T41" fmla="*/ 488 h 981"/>
                <a:gd name="T42" fmla="*/ 862 w 983"/>
                <a:gd name="T43" fmla="*/ 381 h 981"/>
                <a:gd name="T44" fmla="*/ 870 w 983"/>
                <a:gd name="T45" fmla="*/ 373 h 981"/>
                <a:gd name="T46" fmla="*/ 817 w 983"/>
                <a:gd name="T47" fmla="*/ 252 h 981"/>
                <a:gd name="T48" fmla="*/ 789 w 983"/>
                <a:gd name="T49" fmla="*/ 213 h 981"/>
                <a:gd name="T50" fmla="*/ 782 w 983"/>
                <a:gd name="T51" fmla="*/ 194 h 981"/>
                <a:gd name="T52" fmla="*/ 798 w 983"/>
                <a:gd name="T53" fmla="*/ 148 h 981"/>
                <a:gd name="T54" fmla="*/ 820 w 983"/>
                <a:gd name="T55" fmla="*/ 105 h 981"/>
                <a:gd name="T56" fmla="*/ 820 w 983"/>
                <a:gd name="T57" fmla="*/ 38 h 981"/>
                <a:gd name="T58" fmla="*/ 835 w 983"/>
                <a:gd name="T59" fmla="*/ 21 h 981"/>
                <a:gd name="T60" fmla="*/ 815 w 983"/>
                <a:gd name="T61" fmla="*/ 10 h 981"/>
                <a:gd name="T62" fmla="*/ 779 w 983"/>
                <a:gd name="T63" fmla="*/ 3 h 981"/>
                <a:gd name="T64" fmla="*/ 769 w 983"/>
                <a:gd name="T65" fmla="*/ 14 h 981"/>
                <a:gd name="T66" fmla="*/ 728 w 983"/>
                <a:gd name="T67" fmla="*/ 0 h 981"/>
                <a:gd name="T68" fmla="*/ 704 w 983"/>
                <a:gd name="T69" fmla="*/ 14 h 981"/>
                <a:gd name="T70" fmla="*/ 631 w 983"/>
                <a:gd name="T71" fmla="*/ 18 h 981"/>
                <a:gd name="T72" fmla="*/ 545 w 983"/>
                <a:gd name="T73" fmla="*/ 27 h 981"/>
                <a:gd name="T74" fmla="*/ 503 w 983"/>
                <a:gd name="T75" fmla="*/ 33 h 981"/>
                <a:gd name="T76" fmla="*/ 446 w 983"/>
                <a:gd name="T77" fmla="*/ 72 h 981"/>
                <a:gd name="T78" fmla="*/ 355 w 983"/>
                <a:gd name="T79" fmla="*/ 113 h 981"/>
                <a:gd name="T80" fmla="*/ 349 w 983"/>
                <a:gd name="T81" fmla="*/ 112 h 981"/>
                <a:gd name="T82" fmla="*/ 360 w 983"/>
                <a:gd name="T83" fmla="*/ 141 h 981"/>
                <a:gd name="T84" fmla="*/ 365 w 983"/>
                <a:gd name="T85" fmla="*/ 186 h 981"/>
                <a:gd name="T86" fmla="*/ 364 w 983"/>
                <a:gd name="T87" fmla="*/ 218 h 981"/>
                <a:gd name="T88" fmla="*/ 375 w 983"/>
                <a:gd name="T89" fmla="*/ 238 h 981"/>
                <a:gd name="T90" fmla="*/ 382 w 983"/>
                <a:gd name="T91" fmla="*/ 259 h 981"/>
                <a:gd name="T92" fmla="*/ 343 w 983"/>
                <a:gd name="T93" fmla="*/ 274 h 981"/>
                <a:gd name="T94" fmla="*/ 321 w 983"/>
                <a:gd name="T95" fmla="*/ 275 h 981"/>
                <a:gd name="T96" fmla="*/ 303 w 983"/>
                <a:gd name="T97" fmla="*/ 288 h 981"/>
                <a:gd name="T98" fmla="*/ 267 w 983"/>
                <a:gd name="T99" fmla="*/ 318 h 981"/>
                <a:gd name="T100" fmla="*/ 260 w 983"/>
                <a:gd name="T101" fmla="*/ 337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3" h="981">
                  <a:moveTo>
                    <a:pt x="242" y="356"/>
                  </a:moveTo>
                  <a:cubicBezTo>
                    <a:pt x="236" y="356"/>
                    <a:pt x="212" y="357"/>
                    <a:pt x="212" y="357"/>
                  </a:cubicBezTo>
                  <a:cubicBezTo>
                    <a:pt x="212" y="357"/>
                    <a:pt x="197" y="388"/>
                    <a:pt x="189" y="391"/>
                  </a:cubicBezTo>
                  <a:cubicBezTo>
                    <a:pt x="181" y="394"/>
                    <a:pt x="155" y="390"/>
                    <a:pt x="155" y="390"/>
                  </a:cubicBezTo>
                  <a:cubicBezTo>
                    <a:pt x="154" y="398"/>
                    <a:pt x="154" y="398"/>
                    <a:pt x="154" y="398"/>
                  </a:cubicBezTo>
                  <a:cubicBezTo>
                    <a:pt x="136" y="399"/>
                    <a:pt x="136" y="399"/>
                    <a:pt x="136" y="399"/>
                  </a:cubicBezTo>
                  <a:cubicBezTo>
                    <a:pt x="136" y="399"/>
                    <a:pt x="136" y="411"/>
                    <a:pt x="130" y="412"/>
                  </a:cubicBezTo>
                  <a:cubicBezTo>
                    <a:pt x="124" y="413"/>
                    <a:pt x="111" y="404"/>
                    <a:pt x="111" y="404"/>
                  </a:cubicBezTo>
                  <a:cubicBezTo>
                    <a:pt x="93" y="418"/>
                    <a:pt x="93" y="418"/>
                    <a:pt x="93" y="418"/>
                  </a:cubicBezTo>
                  <a:cubicBezTo>
                    <a:pt x="81" y="417"/>
                    <a:pt x="81" y="417"/>
                    <a:pt x="81" y="417"/>
                  </a:cubicBezTo>
                  <a:cubicBezTo>
                    <a:pt x="81" y="417"/>
                    <a:pt x="67" y="437"/>
                    <a:pt x="60" y="442"/>
                  </a:cubicBezTo>
                  <a:cubicBezTo>
                    <a:pt x="53" y="447"/>
                    <a:pt x="40" y="454"/>
                    <a:pt x="40" y="454"/>
                  </a:cubicBezTo>
                  <a:cubicBezTo>
                    <a:pt x="37" y="472"/>
                    <a:pt x="37" y="472"/>
                    <a:pt x="37" y="472"/>
                  </a:cubicBezTo>
                  <a:cubicBezTo>
                    <a:pt x="35" y="511"/>
                    <a:pt x="35" y="511"/>
                    <a:pt x="35" y="511"/>
                  </a:cubicBezTo>
                  <a:cubicBezTo>
                    <a:pt x="0" y="511"/>
                    <a:pt x="0" y="511"/>
                    <a:pt x="0" y="511"/>
                  </a:cubicBezTo>
                  <a:cubicBezTo>
                    <a:pt x="37" y="513"/>
                    <a:pt x="37" y="513"/>
                    <a:pt x="37" y="513"/>
                  </a:cubicBezTo>
                  <a:cubicBezTo>
                    <a:pt x="35" y="535"/>
                    <a:pt x="35" y="535"/>
                    <a:pt x="35" y="535"/>
                  </a:cubicBezTo>
                  <a:cubicBezTo>
                    <a:pt x="208" y="656"/>
                    <a:pt x="208" y="656"/>
                    <a:pt x="208" y="656"/>
                  </a:cubicBezTo>
                  <a:cubicBezTo>
                    <a:pt x="482" y="865"/>
                    <a:pt x="482" y="865"/>
                    <a:pt x="482" y="865"/>
                  </a:cubicBezTo>
                  <a:cubicBezTo>
                    <a:pt x="481" y="882"/>
                    <a:pt x="481" y="882"/>
                    <a:pt x="481" y="882"/>
                  </a:cubicBezTo>
                  <a:cubicBezTo>
                    <a:pt x="481" y="882"/>
                    <a:pt x="498" y="878"/>
                    <a:pt x="500" y="886"/>
                  </a:cubicBezTo>
                  <a:cubicBezTo>
                    <a:pt x="502" y="894"/>
                    <a:pt x="500" y="901"/>
                    <a:pt x="510" y="904"/>
                  </a:cubicBezTo>
                  <a:cubicBezTo>
                    <a:pt x="520" y="907"/>
                    <a:pt x="533" y="905"/>
                    <a:pt x="533" y="905"/>
                  </a:cubicBezTo>
                  <a:cubicBezTo>
                    <a:pt x="538" y="923"/>
                    <a:pt x="538" y="923"/>
                    <a:pt x="538" y="923"/>
                  </a:cubicBezTo>
                  <a:cubicBezTo>
                    <a:pt x="538" y="923"/>
                    <a:pt x="561" y="917"/>
                    <a:pt x="571" y="925"/>
                  </a:cubicBezTo>
                  <a:cubicBezTo>
                    <a:pt x="581" y="933"/>
                    <a:pt x="582" y="953"/>
                    <a:pt x="582" y="953"/>
                  </a:cubicBezTo>
                  <a:cubicBezTo>
                    <a:pt x="582" y="953"/>
                    <a:pt x="558" y="967"/>
                    <a:pt x="573" y="974"/>
                  </a:cubicBezTo>
                  <a:cubicBezTo>
                    <a:pt x="588" y="981"/>
                    <a:pt x="610" y="973"/>
                    <a:pt x="610" y="973"/>
                  </a:cubicBezTo>
                  <a:cubicBezTo>
                    <a:pt x="610" y="973"/>
                    <a:pt x="679" y="958"/>
                    <a:pt x="693" y="956"/>
                  </a:cubicBezTo>
                  <a:cubicBezTo>
                    <a:pt x="707" y="954"/>
                    <a:pt x="752" y="901"/>
                    <a:pt x="774" y="886"/>
                  </a:cubicBezTo>
                  <a:cubicBezTo>
                    <a:pt x="796" y="871"/>
                    <a:pt x="983" y="735"/>
                    <a:pt x="983" y="735"/>
                  </a:cubicBezTo>
                  <a:cubicBezTo>
                    <a:pt x="983" y="735"/>
                    <a:pt x="968" y="694"/>
                    <a:pt x="963" y="691"/>
                  </a:cubicBezTo>
                  <a:cubicBezTo>
                    <a:pt x="958" y="688"/>
                    <a:pt x="930" y="675"/>
                    <a:pt x="924" y="678"/>
                  </a:cubicBezTo>
                  <a:cubicBezTo>
                    <a:pt x="918" y="681"/>
                    <a:pt x="913" y="686"/>
                    <a:pt x="909" y="684"/>
                  </a:cubicBezTo>
                  <a:cubicBezTo>
                    <a:pt x="905" y="682"/>
                    <a:pt x="893" y="671"/>
                    <a:pt x="893" y="664"/>
                  </a:cubicBezTo>
                  <a:cubicBezTo>
                    <a:pt x="893" y="657"/>
                    <a:pt x="898" y="647"/>
                    <a:pt x="893" y="639"/>
                  </a:cubicBezTo>
                  <a:cubicBezTo>
                    <a:pt x="888" y="631"/>
                    <a:pt x="861" y="595"/>
                    <a:pt x="862" y="589"/>
                  </a:cubicBezTo>
                  <a:cubicBezTo>
                    <a:pt x="863" y="583"/>
                    <a:pt x="889" y="581"/>
                    <a:pt x="889" y="569"/>
                  </a:cubicBezTo>
                  <a:cubicBezTo>
                    <a:pt x="889" y="557"/>
                    <a:pt x="885" y="551"/>
                    <a:pt x="885" y="551"/>
                  </a:cubicBezTo>
                  <a:cubicBezTo>
                    <a:pt x="880" y="515"/>
                    <a:pt x="880" y="515"/>
                    <a:pt x="880" y="515"/>
                  </a:cubicBezTo>
                  <a:cubicBezTo>
                    <a:pt x="889" y="502"/>
                    <a:pt x="889" y="502"/>
                    <a:pt x="889" y="502"/>
                  </a:cubicBezTo>
                  <a:cubicBezTo>
                    <a:pt x="883" y="488"/>
                    <a:pt x="883" y="488"/>
                    <a:pt x="883" y="488"/>
                  </a:cubicBezTo>
                  <a:cubicBezTo>
                    <a:pt x="883" y="488"/>
                    <a:pt x="892" y="458"/>
                    <a:pt x="891" y="448"/>
                  </a:cubicBezTo>
                  <a:cubicBezTo>
                    <a:pt x="890" y="438"/>
                    <a:pt x="863" y="387"/>
                    <a:pt x="862" y="381"/>
                  </a:cubicBezTo>
                  <a:cubicBezTo>
                    <a:pt x="862" y="378"/>
                    <a:pt x="866" y="376"/>
                    <a:pt x="870" y="373"/>
                  </a:cubicBezTo>
                  <a:cubicBezTo>
                    <a:pt x="870" y="373"/>
                    <a:pt x="870" y="373"/>
                    <a:pt x="870" y="373"/>
                  </a:cubicBezTo>
                  <a:cubicBezTo>
                    <a:pt x="864" y="350"/>
                    <a:pt x="849" y="288"/>
                    <a:pt x="849" y="277"/>
                  </a:cubicBezTo>
                  <a:cubicBezTo>
                    <a:pt x="849" y="264"/>
                    <a:pt x="817" y="252"/>
                    <a:pt x="817" y="252"/>
                  </a:cubicBezTo>
                  <a:cubicBezTo>
                    <a:pt x="817" y="252"/>
                    <a:pt x="817" y="234"/>
                    <a:pt x="816" y="226"/>
                  </a:cubicBezTo>
                  <a:cubicBezTo>
                    <a:pt x="815" y="218"/>
                    <a:pt x="789" y="213"/>
                    <a:pt x="789" y="213"/>
                  </a:cubicBezTo>
                  <a:cubicBezTo>
                    <a:pt x="789" y="194"/>
                    <a:pt x="789" y="194"/>
                    <a:pt x="789" y="194"/>
                  </a:cubicBezTo>
                  <a:cubicBezTo>
                    <a:pt x="782" y="194"/>
                    <a:pt x="782" y="194"/>
                    <a:pt x="782" y="194"/>
                  </a:cubicBezTo>
                  <a:cubicBezTo>
                    <a:pt x="782" y="194"/>
                    <a:pt x="782" y="181"/>
                    <a:pt x="782" y="171"/>
                  </a:cubicBezTo>
                  <a:cubicBezTo>
                    <a:pt x="782" y="161"/>
                    <a:pt x="798" y="148"/>
                    <a:pt x="798" y="148"/>
                  </a:cubicBezTo>
                  <a:cubicBezTo>
                    <a:pt x="812" y="137"/>
                    <a:pt x="812" y="137"/>
                    <a:pt x="812" y="137"/>
                  </a:cubicBezTo>
                  <a:cubicBezTo>
                    <a:pt x="812" y="137"/>
                    <a:pt x="819" y="115"/>
                    <a:pt x="820" y="105"/>
                  </a:cubicBezTo>
                  <a:cubicBezTo>
                    <a:pt x="821" y="95"/>
                    <a:pt x="819" y="83"/>
                    <a:pt x="815" y="76"/>
                  </a:cubicBezTo>
                  <a:cubicBezTo>
                    <a:pt x="811" y="69"/>
                    <a:pt x="820" y="38"/>
                    <a:pt x="820" y="38"/>
                  </a:cubicBezTo>
                  <a:cubicBezTo>
                    <a:pt x="807" y="34"/>
                    <a:pt x="807" y="34"/>
                    <a:pt x="807" y="34"/>
                  </a:cubicBezTo>
                  <a:cubicBezTo>
                    <a:pt x="835" y="21"/>
                    <a:pt x="835" y="21"/>
                    <a:pt x="835" y="21"/>
                  </a:cubicBezTo>
                  <a:cubicBezTo>
                    <a:pt x="835" y="11"/>
                    <a:pt x="835" y="11"/>
                    <a:pt x="835" y="11"/>
                  </a:cubicBezTo>
                  <a:cubicBezTo>
                    <a:pt x="826" y="11"/>
                    <a:pt x="815" y="10"/>
                    <a:pt x="815" y="10"/>
                  </a:cubicBezTo>
                  <a:cubicBezTo>
                    <a:pt x="806" y="15"/>
                    <a:pt x="806" y="15"/>
                    <a:pt x="806" y="15"/>
                  </a:cubicBezTo>
                  <a:cubicBezTo>
                    <a:pt x="779" y="3"/>
                    <a:pt x="779" y="3"/>
                    <a:pt x="779" y="3"/>
                  </a:cubicBezTo>
                  <a:cubicBezTo>
                    <a:pt x="769" y="5"/>
                    <a:pt x="769" y="5"/>
                    <a:pt x="769" y="5"/>
                  </a:cubicBezTo>
                  <a:cubicBezTo>
                    <a:pt x="769" y="14"/>
                    <a:pt x="769" y="14"/>
                    <a:pt x="769" y="14"/>
                  </a:cubicBezTo>
                  <a:cubicBezTo>
                    <a:pt x="744" y="12"/>
                    <a:pt x="744" y="12"/>
                    <a:pt x="744" y="12"/>
                  </a:cubicBezTo>
                  <a:cubicBezTo>
                    <a:pt x="728" y="0"/>
                    <a:pt x="728" y="0"/>
                    <a:pt x="728" y="0"/>
                  </a:cubicBezTo>
                  <a:cubicBezTo>
                    <a:pt x="724" y="19"/>
                    <a:pt x="724" y="19"/>
                    <a:pt x="724" y="19"/>
                  </a:cubicBezTo>
                  <a:cubicBezTo>
                    <a:pt x="704" y="14"/>
                    <a:pt x="704" y="14"/>
                    <a:pt x="704" y="14"/>
                  </a:cubicBezTo>
                  <a:cubicBezTo>
                    <a:pt x="686" y="29"/>
                    <a:pt x="686" y="29"/>
                    <a:pt x="686" y="29"/>
                  </a:cubicBezTo>
                  <a:cubicBezTo>
                    <a:pt x="686" y="29"/>
                    <a:pt x="662" y="17"/>
                    <a:pt x="631" y="18"/>
                  </a:cubicBezTo>
                  <a:cubicBezTo>
                    <a:pt x="600" y="19"/>
                    <a:pt x="599" y="26"/>
                    <a:pt x="585" y="27"/>
                  </a:cubicBezTo>
                  <a:cubicBezTo>
                    <a:pt x="571" y="28"/>
                    <a:pt x="545" y="27"/>
                    <a:pt x="545" y="27"/>
                  </a:cubicBezTo>
                  <a:cubicBezTo>
                    <a:pt x="542" y="34"/>
                    <a:pt x="542" y="34"/>
                    <a:pt x="542" y="34"/>
                  </a:cubicBezTo>
                  <a:cubicBezTo>
                    <a:pt x="503" y="33"/>
                    <a:pt x="503" y="33"/>
                    <a:pt x="503" y="33"/>
                  </a:cubicBezTo>
                  <a:cubicBezTo>
                    <a:pt x="503" y="33"/>
                    <a:pt x="456" y="43"/>
                    <a:pt x="455" y="51"/>
                  </a:cubicBezTo>
                  <a:cubicBezTo>
                    <a:pt x="454" y="59"/>
                    <a:pt x="446" y="72"/>
                    <a:pt x="446" y="72"/>
                  </a:cubicBezTo>
                  <a:cubicBezTo>
                    <a:pt x="446" y="72"/>
                    <a:pt x="396" y="74"/>
                    <a:pt x="394" y="83"/>
                  </a:cubicBezTo>
                  <a:cubicBezTo>
                    <a:pt x="392" y="92"/>
                    <a:pt x="370" y="113"/>
                    <a:pt x="355" y="113"/>
                  </a:cubicBezTo>
                  <a:cubicBezTo>
                    <a:pt x="353" y="113"/>
                    <a:pt x="351" y="113"/>
                    <a:pt x="349" y="112"/>
                  </a:cubicBezTo>
                  <a:cubicBezTo>
                    <a:pt x="349" y="112"/>
                    <a:pt x="349" y="112"/>
                    <a:pt x="349" y="112"/>
                  </a:cubicBezTo>
                  <a:cubicBezTo>
                    <a:pt x="350" y="116"/>
                    <a:pt x="354" y="125"/>
                    <a:pt x="364" y="129"/>
                  </a:cubicBezTo>
                  <a:cubicBezTo>
                    <a:pt x="364" y="130"/>
                    <a:pt x="360" y="141"/>
                    <a:pt x="360" y="141"/>
                  </a:cubicBezTo>
                  <a:cubicBezTo>
                    <a:pt x="368" y="141"/>
                    <a:pt x="368" y="141"/>
                    <a:pt x="368" y="141"/>
                  </a:cubicBezTo>
                  <a:cubicBezTo>
                    <a:pt x="365" y="186"/>
                    <a:pt x="365" y="186"/>
                    <a:pt x="365" y="186"/>
                  </a:cubicBezTo>
                  <a:cubicBezTo>
                    <a:pt x="371" y="197"/>
                    <a:pt x="371" y="197"/>
                    <a:pt x="371" y="197"/>
                  </a:cubicBezTo>
                  <a:cubicBezTo>
                    <a:pt x="364" y="218"/>
                    <a:pt x="364" y="218"/>
                    <a:pt x="364" y="218"/>
                  </a:cubicBezTo>
                  <a:cubicBezTo>
                    <a:pt x="378" y="218"/>
                    <a:pt x="378" y="218"/>
                    <a:pt x="378" y="218"/>
                  </a:cubicBezTo>
                  <a:cubicBezTo>
                    <a:pt x="375" y="238"/>
                    <a:pt x="375" y="238"/>
                    <a:pt x="375" y="238"/>
                  </a:cubicBezTo>
                  <a:cubicBezTo>
                    <a:pt x="393" y="250"/>
                    <a:pt x="393" y="250"/>
                    <a:pt x="393" y="250"/>
                  </a:cubicBezTo>
                  <a:cubicBezTo>
                    <a:pt x="393" y="250"/>
                    <a:pt x="384" y="256"/>
                    <a:pt x="382" y="259"/>
                  </a:cubicBezTo>
                  <a:cubicBezTo>
                    <a:pt x="380" y="262"/>
                    <a:pt x="381" y="269"/>
                    <a:pt x="381" y="269"/>
                  </a:cubicBezTo>
                  <a:cubicBezTo>
                    <a:pt x="343" y="274"/>
                    <a:pt x="343" y="274"/>
                    <a:pt x="343" y="274"/>
                  </a:cubicBezTo>
                  <a:cubicBezTo>
                    <a:pt x="343" y="274"/>
                    <a:pt x="333" y="268"/>
                    <a:pt x="329" y="268"/>
                  </a:cubicBezTo>
                  <a:cubicBezTo>
                    <a:pt x="325" y="268"/>
                    <a:pt x="321" y="275"/>
                    <a:pt x="321" y="275"/>
                  </a:cubicBezTo>
                  <a:cubicBezTo>
                    <a:pt x="321" y="275"/>
                    <a:pt x="313" y="270"/>
                    <a:pt x="308" y="273"/>
                  </a:cubicBezTo>
                  <a:cubicBezTo>
                    <a:pt x="303" y="276"/>
                    <a:pt x="310" y="283"/>
                    <a:pt x="303" y="288"/>
                  </a:cubicBezTo>
                  <a:cubicBezTo>
                    <a:pt x="296" y="293"/>
                    <a:pt x="274" y="287"/>
                    <a:pt x="266" y="294"/>
                  </a:cubicBezTo>
                  <a:cubicBezTo>
                    <a:pt x="258" y="301"/>
                    <a:pt x="267" y="318"/>
                    <a:pt x="267" y="318"/>
                  </a:cubicBezTo>
                  <a:cubicBezTo>
                    <a:pt x="277" y="330"/>
                    <a:pt x="277" y="330"/>
                    <a:pt x="277" y="330"/>
                  </a:cubicBezTo>
                  <a:cubicBezTo>
                    <a:pt x="260" y="337"/>
                    <a:pt x="260" y="337"/>
                    <a:pt x="260" y="337"/>
                  </a:cubicBezTo>
                  <a:cubicBezTo>
                    <a:pt x="260" y="337"/>
                    <a:pt x="248" y="356"/>
                    <a:pt x="242" y="356"/>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90" name="Libya">
              <a:extLst>
                <a:ext uri="{FF2B5EF4-FFF2-40B4-BE49-F238E27FC236}">
                  <a16:creationId xmlns:a16="http://schemas.microsoft.com/office/drawing/2014/main" id="{04756EA5-7113-4C95-9495-25471FEFEAC1}"/>
                </a:ext>
              </a:extLst>
            </p:cNvPr>
            <p:cNvSpPr>
              <a:spLocks/>
            </p:cNvSpPr>
            <p:nvPr/>
          </p:nvSpPr>
          <p:spPr bwMode="gray">
            <a:xfrm>
              <a:off x="5643741" y="1656893"/>
              <a:ext cx="909157" cy="915502"/>
            </a:xfrm>
            <a:custGeom>
              <a:avLst/>
              <a:gdLst>
                <a:gd name="T0" fmla="*/ 104 w 731"/>
                <a:gd name="T1" fmla="*/ 37 h 737"/>
                <a:gd name="T2" fmla="*/ 69 w 731"/>
                <a:gd name="T3" fmla="*/ 55 h 737"/>
                <a:gd name="T4" fmla="*/ 50 w 731"/>
                <a:gd name="T5" fmla="*/ 78 h 737"/>
                <a:gd name="T6" fmla="*/ 35 w 731"/>
                <a:gd name="T7" fmla="*/ 89 h 737"/>
                <a:gd name="T8" fmla="*/ 44 w 731"/>
                <a:gd name="T9" fmla="*/ 127 h 737"/>
                <a:gd name="T10" fmla="*/ 25 w 731"/>
                <a:gd name="T11" fmla="*/ 153 h 737"/>
                <a:gd name="T12" fmla="*/ 1 w 731"/>
                <a:gd name="T13" fmla="*/ 167 h 737"/>
                <a:gd name="T14" fmla="*/ 30 w 731"/>
                <a:gd name="T15" fmla="*/ 234 h 737"/>
                <a:gd name="T16" fmla="*/ 22 w 731"/>
                <a:gd name="T17" fmla="*/ 274 h 737"/>
                <a:gd name="T18" fmla="*/ 28 w 731"/>
                <a:gd name="T19" fmla="*/ 288 h 737"/>
                <a:gd name="T20" fmla="*/ 19 w 731"/>
                <a:gd name="T21" fmla="*/ 301 h 737"/>
                <a:gd name="T22" fmla="*/ 24 w 731"/>
                <a:gd name="T23" fmla="*/ 337 h 737"/>
                <a:gd name="T24" fmla="*/ 28 w 731"/>
                <a:gd name="T25" fmla="*/ 355 h 737"/>
                <a:gd name="T26" fmla="*/ 1 w 731"/>
                <a:gd name="T27" fmla="*/ 375 h 737"/>
                <a:gd name="T28" fmla="*/ 32 w 731"/>
                <a:gd name="T29" fmla="*/ 425 h 737"/>
                <a:gd name="T30" fmla="*/ 32 w 731"/>
                <a:gd name="T31" fmla="*/ 450 h 737"/>
                <a:gd name="T32" fmla="*/ 48 w 731"/>
                <a:gd name="T33" fmla="*/ 470 h 737"/>
                <a:gd name="T34" fmla="*/ 63 w 731"/>
                <a:gd name="T35" fmla="*/ 464 h 737"/>
                <a:gd name="T36" fmla="*/ 102 w 731"/>
                <a:gd name="T37" fmla="*/ 477 h 737"/>
                <a:gd name="T38" fmla="*/ 122 w 731"/>
                <a:gd name="T39" fmla="*/ 521 h 737"/>
                <a:gd name="T40" fmla="*/ 147 w 731"/>
                <a:gd name="T41" fmla="*/ 527 h 737"/>
                <a:gd name="T42" fmla="*/ 194 w 731"/>
                <a:gd name="T43" fmla="*/ 537 h 737"/>
                <a:gd name="T44" fmla="*/ 228 w 731"/>
                <a:gd name="T45" fmla="*/ 566 h 737"/>
                <a:gd name="T46" fmla="*/ 311 w 731"/>
                <a:gd name="T47" fmla="*/ 521 h 737"/>
                <a:gd name="T48" fmla="*/ 684 w 731"/>
                <a:gd name="T49" fmla="*/ 737 h 737"/>
                <a:gd name="T50" fmla="*/ 683 w 731"/>
                <a:gd name="T51" fmla="*/ 708 h 737"/>
                <a:gd name="T52" fmla="*/ 731 w 731"/>
                <a:gd name="T53" fmla="*/ 707 h 737"/>
                <a:gd name="T54" fmla="*/ 730 w 731"/>
                <a:gd name="T55" fmla="*/ 599 h 737"/>
                <a:gd name="T56" fmla="*/ 717 w 731"/>
                <a:gd name="T57" fmla="*/ 201 h 737"/>
                <a:gd name="T58" fmla="*/ 699 w 731"/>
                <a:gd name="T59" fmla="*/ 163 h 737"/>
                <a:gd name="T60" fmla="*/ 713 w 731"/>
                <a:gd name="T61" fmla="*/ 135 h 737"/>
                <a:gd name="T62" fmla="*/ 703 w 731"/>
                <a:gd name="T63" fmla="*/ 115 h 737"/>
                <a:gd name="T64" fmla="*/ 707 w 731"/>
                <a:gd name="T65" fmla="*/ 94 h 737"/>
                <a:gd name="T66" fmla="*/ 720 w 731"/>
                <a:gd name="T67" fmla="*/ 81 h 737"/>
                <a:gd name="T68" fmla="*/ 716 w 731"/>
                <a:gd name="T69" fmla="*/ 63 h 737"/>
                <a:gd name="T70" fmla="*/ 701 w 731"/>
                <a:gd name="T71" fmla="*/ 68 h 737"/>
                <a:gd name="T72" fmla="*/ 694 w 731"/>
                <a:gd name="T73" fmla="*/ 59 h 737"/>
                <a:gd name="T74" fmla="*/ 682 w 731"/>
                <a:gd name="T75" fmla="*/ 67 h 737"/>
                <a:gd name="T76" fmla="*/ 658 w 731"/>
                <a:gd name="T77" fmla="*/ 50 h 737"/>
                <a:gd name="T78" fmla="*/ 628 w 731"/>
                <a:gd name="T79" fmla="*/ 49 h 737"/>
                <a:gd name="T80" fmla="*/ 617 w 731"/>
                <a:gd name="T81" fmla="*/ 28 h 737"/>
                <a:gd name="T82" fmla="*/ 590 w 731"/>
                <a:gd name="T83" fmla="*/ 23 h 737"/>
                <a:gd name="T84" fmla="*/ 561 w 731"/>
                <a:gd name="T85" fmla="*/ 15 h 737"/>
                <a:gd name="T86" fmla="*/ 553 w 731"/>
                <a:gd name="T87" fmla="*/ 23 h 737"/>
                <a:gd name="T88" fmla="*/ 510 w 731"/>
                <a:gd name="T89" fmla="*/ 31 h 737"/>
                <a:gd name="T90" fmla="*/ 480 w 731"/>
                <a:gd name="T91" fmla="*/ 70 h 737"/>
                <a:gd name="T92" fmla="*/ 496 w 731"/>
                <a:gd name="T93" fmla="*/ 114 h 737"/>
                <a:gd name="T94" fmla="*/ 463 w 731"/>
                <a:gd name="T95" fmla="*/ 154 h 737"/>
                <a:gd name="T96" fmla="*/ 419 w 731"/>
                <a:gd name="T97" fmla="*/ 144 h 737"/>
                <a:gd name="T98" fmla="*/ 351 w 731"/>
                <a:gd name="T99" fmla="*/ 105 h 737"/>
                <a:gd name="T100" fmla="*/ 289 w 731"/>
                <a:gd name="T101" fmla="*/ 97 h 737"/>
                <a:gd name="T102" fmla="*/ 271 w 731"/>
                <a:gd name="T103" fmla="*/ 53 h 737"/>
                <a:gd name="T104" fmla="*/ 244 w 731"/>
                <a:gd name="T105" fmla="*/ 40 h 737"/>
                <a:gd name="T106" fmla="*/ 212 w 731"/>
                <a:gd name="T107" fmla="*/ 21 h 737"/>
                <a:gd name="T108" fmla="*/ 173 w 731"/>
                <a:gd name="T109" fmla="*/ 20 h 737"/>
                <a:gd name="T110" fmla="*/ 143 w 731"/>
                <a:gd name="T111" fmla="*/ 24 h 737"/>
                <a:gd name="T112" fmla="*/ 107 w 731"/>
                <a:gd name="T113" fmla="*/ 3 h 737"/>
                <a:gd name="T114" fmla="*/ 96 w 731"/>
                <a:gd name="T115" fmla="*/ 0 h 737"/>
                <a:gd name="T116" fmla="*/ 93 w 731"/>
                <a:gd name="T117" fmla="*/ 27 h 737"/>
                <a:gd name="T118" fmla="*/ 104 w 731"/>
                <a:gd name="T119" fmla="*/ 37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1" h="737">
                  <a:moveTo>
                    <a:pt x="104" y="37"/>
                  </a:moveTo>
                  <a:cubicBezTo>
                    <a:pt x="100" y="45"/>
                    <a:pt x="75" y="49"/>
                    <a:pt x="69" y="55"/>
                  </a:cubicBezTo>
                  <a:cubicBezTo>
                    <a:pt x="63" y="61"/>
                    <a:pt x="50" y="78"/>
                    <a:pt x="50" y="78"/>
                  </a:cubicBezTo>
                  <a:cubicBezTo>
                    <a:pt x="50" y="78"/>
                    <a:pt x="37" y="83"/>
                    <a:pt x="35" y="89"/>
                  </a:cubicBezTo>
                  <a:cubicBezTo>
                    <a:pt x="33" y="95"/>
                    <a:pt x="43" y="115"/>
                    <a:pt x="44" y="127"/>
                  </a:cubicBezTo>
                  <a:cubicBezTo>
                    <a:pt x="45" y="139"/>
                    <a:pt x="25" y="153"/>
                    <a:pt x="25" y="153"/>
                  </a:cubicBezTo>
                  <a:cubicBezTo>
                    <a:pt x="25" y="153"/>
                    <a:pt x="0" y="161"/>
                    <a:pt x="1" y="167"/>
                  </a:cubicBezTo>
                  <a:cubicBezTo>
                    <a:pt x="2" y="173"/>
                    <a:pt x="29" y="224"/>
                    <a:pt x="30" y="234"/>
                  </a:cubicBezTo>
                  <a:cubicBezTo>
                    <a:pt x="31" y="244"/>
                    <a:pt x="22" y="274"/>
                    <a:pt x="22" y="274"/>
                  </a:cubicBezTo>
                  <a:cubicBezTo>
                    <a:pt x="28" y="288"/>
                    <a:pt x="28" y="288"/>
                    <a:pt x="28" y="288"/>
                  </a:cubicBezTo>
                  <a:cubicBezTo>
                    <a:pt x="19" y="301"/>
                    <a:pt x="19" y="301"/>
                    <a:pt x="19" y="301"/>
                  </a:cubicBezTo>
                  <a:cubicBezTo>
                    <a:pt x="24" y="337"/>
                    <a:pt x="24" y="337"/>
                    <a:pt x="24" y="337"/>
                  </a:cubicBezTo>
                  <a:cubicBezTo>
                    <a:pt x="24" y="337"/>
                    <a:pt x="28" y="343"/>
                    <a:pt x="28" y="355"/>
                  </a:cubicBezTo>
                  <a:cubicBezTo>
                    <a:pt x="28" y="367"/>
                    <a:pt x="2" y="369"/>
                    <a:pt x="1" y="375"/>
                  </a:cubicBezTo>
                  <a:cubicBezTo>
                    <a:pt x="0" y="381"/>
                    <a:pt x="27" y="417"/>
                    <a:pt x="32" y="425"/>
                  </a:cubicBezTo>
                  <a:cubicBezTo>
                    <a:pt x="37" y="433"/>
                    <a:pt x="32" y="443"/>
                    <a:pt x="32" y="450"/>
                  </a:cubicBezTo>
                  <a:cubicBezTo>
                    <a:pt x="32" y="457"/>
                    <a:pt x="44" y="468"/>
                    <a:pt x="48" y="470"/>
                  </a:cubicBezTo>
                  <a:cubicBezTo>
                    <a:pt x="52" y="472"/>
                    <a:pt x="57" y="467"/>
                    <a:pt x="63" y="464"/>
                  </a:cubicBezTo>
                  <a:cubicBezTo>
                    <a:pt x="69" y="461"/>
                    <a:pt x="97" y="474"/>
                    <a:pt x="102" y="477"/>
                  </a:cubicBezTo>
                  <a:cubicBezTo>
                    <a:pt x="107" y="480"/>
                    <a:pt x="122" y="521"/>
                    <a:pt x="122" y="521"/>
                  </a:cubicBezTo>
                  <a:cubicBezTo>
                    <a:pt x="147" y="527"/>
                    <a:pt x="147" y="527"/>
                    <a:pt x="147" y="527"/>
                  </a:cubicBezTo>
                  <a:cubicBezTo>
                    <a:pt x="147" y="527"/>
                    <a:pt x="187" y="535"/>
                    <a:pt x="194" y="537"/>
                  </a:cubicBezTo>
                  <a:cubicBezTo>
                    <a:pt x="201" y="539"/>
                    <a:pt x="217" y="567"/>
                    <a:pt x="228" y="566"/>
                  </a:cubicBezTo>
                  <a:cubicBezTo>
                    <a:pt x="239" y="565"/>
                    <a:pt x="311" y="521"/>
                    <a:pt x="311" y="521"/>
                  </a:cubicBezTo>
                  <a:cubicBezTo>
                    <a:pt x="684" y="737"/>
                    <a:pt x="684" y="737"/>
                    <a:pt x="684" y="737"/>
                  </a:cubicBezTo>
                  <a:cubicBezTo>
                    <a:pt x="683" y="708"/>
                    <a:pt x="683" y="708"/>
                    <a:pt x="683" y="708"/>
                  </a:cubicBezTo>
                  <a:cubicBezTo>
                    <a:pt x="731" y="707"/>
                    <a:pt x="731" y="707"/>
                    <a:pt x="731" y="707"/>
                  </a:cubicBezTo>
                  <a:cubicBezTo>
                    <a:pt x="730" y="599"/>
                    <a:pt x="730" y="599"/>
                    <a:pt x="730" y="599"/>
                  </a:cubicBezTo>
                  <a:cubicBezTo>
                    <a:pt x="730" y="599"/>
                    <a:pt x="717" y="214"/>
                    <a:pt x="717" y="201"/>
                  </a:cubicBezTo>
                  <a:cubicBezTo>
                    <a:pt x="717" y="188"/>
                    <a:pt x="702" y="170"/>
                    <a:pt x="699" y="163"/>
                  </a:cubicBezTo>
                  <a:cubicBezTo>
                    <a:pt x="696" y="156"/>
                    <a:pt x="710" y="144"/>
                    <a:pt x="713" y="135"/>
                  </a:cubicBezTo>
                  <a:cubicBezTo>
                    <a:pt x="716" y="126"/>
                    <a:pt x="704" y="119"/>
                    <a:pt x="703" y="115"/>
                  </a:cubicBezTo>
                  <a:cubicBezTo>
                    <a:pt x="702" y="111"/>
                    <a:pt x="702" y="97"/>
                    <a:pt x="707" y="94"/>
                  </a:cubicBezTo>
                  <a:cubicBezTo>
                    <a:pt x="711" y="92"/>
                    <a:pt x="717" y="85"/>
                    <a:pt x="720" y="81"/>
                  </a:cubicBezTo>
                  <a:cubicBezTo>
                    <a:pt x="714" y="72"/>
                    <a:pt x="716" y="63"/>
                    <a:pt x="716" y="63"/>
                  </a:cubicBezTo>
                  <a:cubicBezTo>
                    <a:pt x="701" y="68"/>
                    <a:pt x="701" y="68"/>
                    <a:pt x="701" y="68"/>
                  </a:cubicBezTo>
                  <a:cubicBezTo>
                    <a:pt x="694" y="59"/>
                    <a:pt x="694" y="59"/>
                    <a:pt x="694" y="59"/>
                  </a:cubicBezTo>
                  <a:cubicBezTo>
                    <a:pt x="694" y="59"/>
                    <a:pt x="689" y="67"/>
                    <a:pt x="682" y="67"/>
                  </a:cubicBezTo>
                  <a:cubicBezTo>
                    <a:pt x="675" y="67"/>
                    <a:pt x="667" y="50"/>
                    <a:pt x="658" y="50"/>
                  </a:cubicBezTo>
                  <a:cubicBezTo>
                    <a:pt x="649" y="50"/>
                    <a:pt x="639" y="57"/>
                    <a:pt x="628" y="49"/>
                  </a:cubicBezTo>
                  <a:cubicBezTo>
                    <a:pt x="617" y="41"/>
                    <a:pt x="626" y="32"/>
                    <a:pt x="617" y="28"/>
                  </a:cubicBezTo>
                  <a:cubicBezTo>
                    <a:pt x="608" y="24"/>
                    <a:pt x="590" y="23"/>
                    <a:pt x="590" y="23"/>
                  </a:cubicBezTo>
                  <a:cubicBezTo>
                    <a:pt x="590" y="23"/>
                    <a:pt x="569" y="15"/>
                    <a:pt x="561" y="15"/>
                  </a:cubicBezTo>
                  <a:cubicBezTo>
                    <a:pt x="553" y="15"/>
                    <a:pt x="553" y="23"/>
                    <a:pt x="553" y="23"/>
                  </a:cubicBezTo>
                  <a:cubicBezTo>
                    <a:pt x="553" y="23"/>
                    <a:pt x="523" y="21"/>
                    <a:pt x="510" y="31"/>
                  </a:cubicBezTo>
                  <a:cubicBezTo>
                    <a:pt x="497" y="41"/>
                    <a:pt x="480" y="54"/>
                    <a:pt x="480" y="70"/>
                  </a:cubicBezTo>
                  <a:cubicBezTo>
                    <a:pt x="480" y="86"/>
                    <a:pt x="496" y="105"/>
                    <a:pt x="496" y="114"/>
                  </a:cubicBezTo>
                  <a:cubicBezTo>
                    <a:pt x="496" y="123"/>
                    <a:pt x="475" y="152"/>
                    <a:pt x="463" y="154"/>
                  </a:cubicBezTo>
                  <a:cubicBezTo>
                    <a:pt x="451" y="156"/>
                    <a:pt x="433" y="159"/>
                    <a:pt x="419" y="144"/>
                  </a:cubicBezTo>
                  <a:cubicBezTo>
                    <a:pt x="405" y="129"/>
                    <a:pt x="366" y="106"/>
                    <a:pt x="351" y="105"/>
                  </a:cubicBezTo>
                  <a:cubicBezTo>
                    <a:pt x="336" y="104"/>
                    <a:pt x="302" y="113"/>
                    <a:pt x="289" y="97"/>
                  </a:cubicBezTo>
                  <a:cubicBezTo>
                    <a:pt x="276" y="81"/>
                    <a:pt x="280" y="69"/>
                    <a:pt x="271" y="53"/>
                  </a:cubicBezTo>
                  <a:cubicBezTo>
                    <a:pt x="262" y="37"/>
                    <a:pt x="244" y="40"/>
                    <a:pt x="244" y="40"/>
                  </a:cubicBezTo>
                  <a:cubicBezTo>
                    <a:pt x="244" y="40"/>
                    <a:pt x="220" y="22"/>
                    <a:pt x="212" y="21"/>
                  </a:cubicBezTo>
                  <a:cubicBezTo>
                    <a:pt x="204" y="20"/>
                    <a:pt x="180" y="19"/>
                    <a:pt x="173" y="20"/>
                  </a:cubicBezTo>
                  <a:cubicBezTo>
                    <a:pt x="166" y="21"/>
                    <a:pt x="154" y="28"/>
                    <a:pt x="143" y="24"/>
                  </a:cubicBezTo>
                  <a:cubicBezTo>
                    <a:pt x="132" y="20"/>
                    <a:pt x="112" y="4"/>
                    <a:pt x="107" y="3"/>
                  </a:cubicBezTo>
                  <a:cubicBezTo>
                    <a:pt x="104" y="2"/>
                    <a:pt x="100" y="1"/>
                    <a:pt x="96" y="0"/>
                  </a:cubicBezTo>
                  <a:cubicBezTo>
                    <a:pt x="93" y="27"/>
                    <a:pt x="93" y="27"/>
                    <a:pt x="93" y="27"/>
                  </a:cubicBezTo>
                  <a:cubicBezTo>
                    <a:pt x="93" y="27"/>
                    <a:pt x="108" y="29"/>
                    <a:pt x="104" y="37"/>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91" name="Angola">
              <a:extLst>
                <a:ext uri="{FF2B5EF4-FFF2-40B4-BE49-F238E27FC236}">
                  <a16:creationId xmlns:a16="http://schemas.microsoft.com/office/drawing/2014/main" id="{9C7E43FB-5080-4C25-9E3B-8AA0B2501903}"/>
                </a:ext>
              </a:extLst>
            </p:cNvPr>
            <p:cNvSpPr>
              <a:spLocks noEditPoints="1"/>
            </p:cNvSpPr>
            <p:nvPr/>
          </p:nvSpPr>
          <p:spPr bwMode="gray">
            <a:xfrm>
              <a:off x="5774124" y="4160440"/>
              <a:ext cx="743536" cy="911982"/>
            </a:xfrm>
            <a:custGeom>
              <a:avLst/>
              <a:gdLst>
                <a:gd name="T0" fmla="*/ 32 w 597"/>
                <a:gd name="T1" fmla="*/ 79 h 735"/>
                <a:gd name="T2" fmla="*/ 41 w 597"/>
                <a:gd name="T3" fmla="*/ 42 h 735"/>
                <a:gd name="T4" fmla="*/ 68 w 597"/>
                <a:gd name="T5" fmla="*/ 17 h 735"/>
                <a:gd name="T6" fmla="*/ 38 w 597"/>
                <a:gd name="T7" fmla="*/ 15 h 735"/>
                <a:gd name="T8" fmla="*/ 27 w 597"/>
                <a:gd name="T9" fmla="*/ 29 h 735"/>
                <a:gd name="T10" fmla="*/ 26 w 597"/>
                <a:gd name="T11" fmla="*/ 39 h 735"/>
                <a:gd name="T12" fmla="*/ 583 w 597"/>
                <a:gd name="T13" fmla="*/ 362 h 735"/>
                <a:gd name="T14" fmla="*/ 558 w 597"/>
                <a:gd name="T15" fmla="*/ 357 h 735"/>
                <a:gd name="T16" fmla="*/ 535 w 597"/>
                <a:gd name="T17" fmla="*/ 367 h 735"/>
                <a:gd name="T18" fmla="*/ 511 w 597"/>
                <a:gd name="T19" fmla="*/ 375 h 735"/>
                <a:gd name="T20" fmla="*/ 503 w 597"/>
                <a:gd name="T21" fmla="*/ 346 h 735"/>
                <a:gd name="T22" fmla="*/ 496 w 597"/>
                <a:gd name="T23" fmla="*/ 299 h 735"/>
                <a:gd name="T24" fmla="*/ 488 w 597"/>
                <a:gd name="T25" fmla="*/ 256 h 735"/>
                <a:gd name="T26" fmla="*/ 493 w 597"/>
                <a:gd name="T27" fmla="*/ 224 h 735"/>
                <a:gd name="T28" fmla="*/ 477 w 597"/>
                <a:gd name="T29" fmla="*/ 190 h 735"/>
                <a:gd name="T30" fmla="*/ 484 w 597"/>
                <a:gd name="T31" fmla="*/ 162 h 735"/>
                <a:gd name="T32" fmla="*/ 423 w 597"/>
                <a:gd name="T33" fmla="*/ 155 h 735"/>
                <a:gd name="T34" fmla="*/ 409 w 597"/>
                <a:gd name="T35" fmla="*/ 148 h 735"/>
                <a:gd name="T36" fmla="*/ 381 w 597"/>
                <a:gd name="T37" fmla="*/ 170 h 735"/>
                <a:gd name="T38" fmla="*/ 369 w 597"/>
                <a:gd name="T39" fmla="*/ 197 h 735"/>
                <a:gd name="T40" fmla="*/ 335 w 597"/>
                <a:gd name="T41" fmla="*/ 195 h 735"/>
                <a:gd name="T42" fmla="*/ 313 w 597"/>
                <a:gd name="T43" fmla="*/ 201 h 735"/>
                <a:gd name="T44" fmla="*/ 302 w 597"/>
                <a:gd name="T45" fmla="*/ 203 h 735"/>
                <a:gd name="T46" fmla="*/ 278 w 597"/>
                <a:gd name="T47" fmla="*/ 194 h 735"/>
                <a:gd name="T48" fmla="*/ 265 w 597"/>
                <a:gd name="T49" fmla="*/ 172 h 735"/>
                <a:gd name="T50" fmla="*/ 255 w 597"/>
                <a:gd name="T51" fmla="*/ 141 h 735"/>
                <a:gd name="T52" fmla="*/ 243 w 597"/>
                <a:gd name="T53" fmla="*/ 98 h 735"/>
                <a:gd name="T54" fmla="*/ 209 w 597"/>
                <a:gd name="T55" fmla="*/ 84 h 735"/>
                <a:gd name="T56" fmla="*/ 185 w 597"/>
                <a:gd name="T57" fmla="*/ 86 h 735"/>
                <a:gd name="T58" fmla="*/ 155 w 597"/>
                <a:gd name="T59" fmla="*/ 84 h 735"/>
                <a:gd name="T60" fmla="*/ 112 w 597"/>
                <a:gd name="T61" fmla="*/ 82 h 735"/>
                <a:gd name="T62" fmla="*/ 89 w 597"/>
                <a:gd name="T63" fmla="*/ 84 h 735"/>
                <a:gd name="T64" fmla="*/ 67 w 597"/>
                <a:gd name="T65" fmla="*/ 84 h 735"/>
                <a:gd name="T66" fmla="*/ 43 w 597"/>
                <a:gd name="T67" fmla="*/ 97 h 735"/>
                <a:gd name="T68" fmla="*/ 48 w 597"/>
                <a:gd name="T69" fmla="*/ 128 h 735"/>
                <a:gd name="T70" fmla="*/ 56 w 597"/>
                <a:gd name="T71" fmla="*/ 157 h 735"/>
                <a:gd name="T72" fmla="*/ 69 w 597"/>
                <a:gd name="T73" fmla="*/ 254 h 735"/>
                <a:gd name="T74" fmla="*/ 75 w 597"/>
                <a:gd name="T75" fmla="*/ 270 h 735"/>
                <a:gd name="T76" fmla="*/ 108 w 597"/>
                <a:gd name="T77" fmla="*/ 388 h 735"/>
                <a:gd name="T78" fmla="*/ 93 w 597"/>
                <a:gd name="T79" fmla="*/ 442 h 735"/>
                <a:gd name="T80" fmla="*/ 66 w 597"/>
                <a:gd name="T81" fmla="*/ 460 h 735"/>
                <a:gd name="T82" fmla="*/ 44 w 597"/>
                <a:gd name="T83" fmla="*/ 484 h 735"/>
                <a:gd name="T84" fmla="*/ 34 w 597"/>
                <a:gd name="T85" fmla="*/ 524 h 735"/>
                <a:gd name="T86" fmla="*/ 21 w 597"/>
                <a:gd name="T87" fmla="*/ 579 h 735"/>
                <a:gd name="T88" fmla="*/ 6 w 597"/>
                <a:gd name="T89" fmla="*/ 618 h 735"/>
                <a:gd name="T90" fmla="*/ 13 w 597"/>
                <a:gd name="T91" fmla="*/ 654 h 735"/>
                <a:gd name="T92" fmla="*/ 3 w 597"/>
                <a:gd name="T93" fmla="*/ 696 h 735"/>
                <a:gd name="T94" fmla="*/ 24 w 597"/>
                <a:gd name="T95" fmla="*/ 691 h 735"/>
                <a:gd name="T96" fmla="*/ 50 w 597"/>
                <a:gd name="T97" fmla="*/ 695 h 735"/>
                <a:gd name="T98" fmla="*/ 81 w 597"/>
                <a:gd name="T99" fmla="*/ 681 h 735"/>
                <a:gd name="T100" fmla="*/ 322 w 597"/>
                <a:gd name="T101" fmla="*/ 703 h 735"/>
                <a:gd name="T102" fmla="*/ 361 w 597"/>
                <a:gd name="T103" fmla="*/ 724 h 735"/>
                <a:gd name="T104" fmla="*/ 411 w 597"/>
                <a:gd name="T105" fmla="*/ 729 h 735"/>
                <a:gd name="T106" fmla="*/ 463 w 597"/>
                <a:gd name="T107" fmla="*/ 735 h 735"/>
                <a:gd name="T108" fmla="*/ 493 w 597"/>
                <a:gd name="T109" fmla="*/ 657 h 735"/>
                <a:gd name="T110" fmla="*/ 487 w 597"/>
                <a:gd name="T111" fmla="*/ 635 h 735"/>
                <a:gd name="T112" fmla="*/ 571 w 597"/>
                <a:gd name="T113" fmla="*/ 470 h 735"/>
                <a:gd name="T114" fmla="*/ 580 w 597"/>
                <a:gd name="T115" fmla="*/ 440 h 735"/>
                <a:gd name="T116" fmla="*/ 585 w 597"/>
                <a:gd name="T117" fmla="*/ 426 h 735"/>
                <a:gd name="T118" fmla="*/ 594 w 597"/>
                <a:gd name="T119" fmla="*/ 3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35">
                  <a:moveTo>
                    <a:pt x="30" y="77"/>
                  </a:moveTo>
                  <a:cubicBezTo>
                    <a:pt x="30" y="77"/>
                    <a:pt x="31" y="78"/>
                    <a:pt x="32" y="79"/>
                  </a:cubicBezTo>
                  <a:cubicBezTo>
                    <a:pt x="37" y="76"/>
                    <a:pt x="42" y="74"/>
                    <a:pt x="45" y="72"/>
                  </a:cubicBezTo>
                  <a:cubicBezTo>
                    <a:pt x="53" y="68"/>
                    <a:pt x="41" y="42"/>
                    <a:pt x="41" y="42"/>
                  </a:cubicBezTo>
                  <a:cubicBezTo>
                    <a:pt x="65" y="25"/>
                    <a:pt x="65" y="25"/>
                    <a:pt x="65" y="25"/>
                  </a:cubicBezTo>
                  <a:cubicBezTo>
                    <a:pt x="68" y="17"/>
                    <a:pt x="68" y="17"/>
                    <a:pt x="68" y="17"/>
                  </a:cubicBezTo>
                  <a:cubicBezTo>
                    <a:pt x="68" y="17"/>
                    <a:pt x="66" y="0"/>
                    <a:pt x="59" y="1"/>
                  </a:cubicBezTo>
                  <a:cubicBezTo>
                    <a:pt x="52" y="2"/>
                    <a:pt x="38" y="15"/>
                    <a:pt x="38" y="15"/>
                  </a:cubicBezTo>
                  <a:cubicBezTo>
                    <a:pt x="38" y="29"/>
                    <a:pt x="38" y="29"/>
                    <a:pt x="38" y="29"/>
                  </a:cubicBezTo>
                  <a:cubicBezTo>
                    <a:pt x="27" y="29"/>
                    <a:pt x="27" y="29"/>
                    <a:pt x="27" y="29"/>
                  </a:cubicBezTo>
                  <a:cubicBezTo>
                    <a:pt x="23" y="35"/>
                    <a:pt x="23" y="35"/>
                    <a:pt x="23" y="35"/>
                  </a:cubicBezTo>
                  <a:cubicBezTo>
                    <a:pt x="26" y="39"/>
                    <a:pt x="26" y="39"/>
                    <a:pt x="26" y="39"/>
                  </a:cubicBezTo>
                  <a:lnTo>
                    <a:pt x="30" y="77"/>
                  </a:lnTo>
                  <a:close/>
                  <a:moveTo>
                    <a:pt x="583" y="362"/>
                  </a:moveTo>
                  <a:cubicBezTo>
                    <a:pt x="569" y="364"/>
                    <a:pt x="569" y="364"/>
                    <a:pt x="569" y="364"/>
                  </a:cubicBezTo>
                  <a:cubicBezTo>
                    <a:pt x="569" y="364"/>
                    <a:pt x="565" y="357"/>
                    <a:pt x="558" y="357"/>
                  </a:cubicBezTo>
                  <a:cubicBezTo>
                    <a:pt x="551" y="357"/>
                    <a:pt x="551" y="362"/>
                    <a:pt x="551" y="362"/>
                  </a:cubicBezTo>
                  <a:cubicBezTo>
                    <a:pt x="535" y="367"/>
                    <a:pt x="535" y="367"/>
                    <a:pt x="535" y="367"/>
                  </a:cubicBezTo>
                  <a:cubicBezTo>
                    <a:pt x="517" y="363"/>
                    <a:pt x="517" y="363"/>
                    <a:pt x="517" y="363"/>
                  </a:cubicBezTo>
                  <a:cubicBezTo>
                    <a:pt x="511" y="375"/>
                    <a:pt x="511" y="375"/>
                    <a:pt x="511" y="375"/>
                  </a:cubicBezTo>
                  <a:cubicBezTo>
                    <a:pt x="511" y="375"/>
                    <a:pt x="503" y="373"/>
                    <a:pt x="500" y="369"/>
                  </a:cubicBezTo>
                  <a:cubicBezTo>
                    <a:pt x="497" y="365"/>
                    <a:pt x="500" y="353"/>
                    <a:pt x="503" y="346"/>
                  </a:cubicBezTo>
                  <a:cubicBezTo>
                    <a:pt x="506" y="339"/>
                    <a:pt x="507" y="324"/>
                    <a:pt x="507" y="324"/>
                  </a:cubicBezTo>
                  <a:cubicBezTo>
                    <a:pt x="507" y="324"/>
                    <a:pt x="503" y="306"/>
                    <a:pt x="496" y="299"/>
                  </a:cubicBezTo>
                  <a:cubicBezTo>
                    <a:pt x="489" y="292"/>
                    <a:pt x="483" y="284"/>
                    <a:pt x="483" y="276"/>
                  </a:cubicBezTo>
                  <a:cubicBezTo>
                    <a:pt x="483" y="268"/>
                    <a:pt x="488" y="256"/>
                    <a:pt x="488" y="256"/>
                  </a:cubicBezTo>
                  <a:cubicBezTo>
                    <a:pt x="485" y="240"/>
                    <a:pt x="485" y="240"/>
                    <a:pt x="485" y="240"/>
                  </a:cubicBezTo>
                  <a:cubicBezTo>
                    <a:pt x="485" y="240"/>
                    <a:pt x="493" y="231"/>
                    <a:pt x="493" y="224"/>
                  </a:cubicBezTo>
                  <a:cubicBezTo>
                    <a:pt x="493" y="217"/>
                    <a:pt x="480" y="204"/>
                    <a:pt x="480" y="204"/>
                  </a:cubicBezTo>
                  <a:cubicBezTo>
                    <a:pt x="477" y="190"/>
                    <a:pt x="477" y="190"/>
                    <a:pt x="477" y="190"/>
                  </a:cubicBezTo>
                  <a:cubicBezTo>
                    <a:pt x="484" y="180"/>
                    <a:pt x="484" y="180"/>
                    <a:pt x="484" y="180"/>
                  </a:cubicBezTo>
                  <a:cubicBezTo>
                    <a:pt x="484" y="162"/>
                    <a:pt x="484" y="162"/>
                    <a:pt x="484" y="162"/>
                  </a:cubicBezTo>
                  <a:cubicBezTo>
                    <a:pt x="424" y="163"/>
                    <a:pt x="424" y="163"/>
                    <a:pt x="424" y="163"/>
                  </a:cubicBezTo>
                  <a:cubicBezTo>
                    <a:pt x="423" y="155"/>
                    <a:pt x="423" y="155"/>
                    <a:pt x="423" y="155"/>
                  </a:cubicBezTo>
                  <a:cubicBezTo>
                    <a:pt x="423" y="155"/>
                    <a:pt x="427" y="146"/>
                    <a:pt x="418" y="143"/>
                  </a:cubicBezTo>
                  <a:cubicBezTo>
                    <a:pt x="409" y="140"/>
                    <a:pt x="409" y="148"/>
                    <a:pt x="409" y="148"/>
                  </a:cubicBezTo>
                  <a:cubicBezTo>
                    <a:pt x="409" y="148"/>
                    <a:pt x="380" y="145"/>
                    <a:pt x="375" y="149"/>
                  </a:cubicBezTo>
                  <a:cubicBezTo>
                    <a:pt x="370" y="153"/>
                    <a:pt x="381" y="165"/>
                    <a:pt x="381" y="170"/>
                  </a:cubicBezTo>
                  <a:cubicBezTo>
                    <a:pt x="381" y="175"/>
                    <a:pt x="374" y="175"/>
                    <a:pt x="371" y="179"/>
                  </a:cubicBezTo>
                  <a:cubicBezTo>
                    <a:pt x="368" y="183"/>
                    <a:pt x="369" y="197"/>
                    <a:pt x="369" y="197"/>
                  </a:cubicBezTo>
                  <a:cubicBezTo>
                    <a:pt x="339" y="200"/>
                    <a:pt x="339" y="200"/>
                    <a:pt x="339" y="200"/>
                  </a:cubicBezTo>
                  <a:cubicBezTo>
                    <a:pt x="335" y="195"/>
                    <a:pt x="335" y="195"/>
                    <a:pt x="335" y="195"/>
                  </a:cubicBezTo>
                  <a:cubicBezTo>
                    <a:pt x="328" y="201"/>
                    <a:pt x="328" y="201"/>
                    <a:pt x="328" y="201"/>
                  </a:cubicBezTo>
                  <a:cubicBezTo>
                    <a:pt x="313" y="201"/>
                    <a:pt x="313" y="201"/>
                    <a:pt x="313" y="201"/>
                  </a:cubicBezTo>
                  <a:cubicBezTo>
                    <a:pt x="309" y="208"/>
                    <a:pt x="309" y="208"/>
                    <a:pt x="309" y="208"/>
                  </a:cubicBezTo>
                  <a:cubicBezTo>
                    <a:pt x="302" y="203"/>
                    <a:pt x="302" y="203"/>
                    <a:pt x="302" y="203"/>
                  </a:cubicBezTo>
                  <a:cubicBezTo>
                    <a:pt x="281" y="204"/>
                    <a:pt x="281" y="204"/>
                    <a:pt x="281" y="204"/>
                  </a:cubicBezTo>
                  <a:cubicBezTo>
                    <a:pt x="278" y="194"/>
                    <a:pt x="278" y="194"/>
                    <a:pt x="278" y="194"/>
                  </a:cubicBezTo>
                  <a:cubicBezTo>
                    <a:pt x="272" y="186"/>
                    <a:pt x="272" y="186"/>
                    <a:pt x="272" y="186"/>
                  </a:cubicBezTo>
                  <a:cubicBezTo>
                    <a:pt x="272" y="186"/>
                    <a:pt x="270" y="178"/>
                    <a:pt x="265" y="172"/>
                  </a:cubicBezTo>
                  <a:cubicBezTo>
                    <a:pt x="260" y="166"/>
                    <a:pt x="254" y="163"/>
                    <a:pt x="254" y="163"/>
                  </a:cubicBezTo>
                  <a:cubicBezTo>
                    <a:pt x="254" y="163"/>
                    <a:pt x="256" y="147"/>
                    <a:pt x="255" y="141"/>
                  </a:cubicBezTo>
                  <a:cubicBezTo>
                    <a:pt x="254" y="135"/>
                    <a:pt x="244" y="128"/>
                    <a:pt x="244" y="128"/>
                  </a:cubicBezTo>
                  <a:cubicBezTo>
                    <a:pt x="243" y="98"/>
                    <a:pt x="243" y="98"/>
                    <a:pt x="243" y="98"/>
                  </a:cubicBezTo>
                  <a:cubicBezTo>
                    <a:pt x="243" y="98"/>
                    <a:pt x="237" y="94"/>
                    <a:pt x="232" y="85"/>
                  </a:cubicBezTo>
                  <a:cubicBezTo>
                    <a:pt x="227" y="76"/>
                    <a:pt x="209" y="84"/>
                    <a:pt x="209" y="84"/>
                  </a:cubicBezTo>
                  <a:cubicBezTo>
                    <a:pt x="195" y="83"/>
                    <a:pt x="195" y="83"/>
                    <a:pt x="195" y="83"/>
                  </a:cubicBezTo>
                  <a:cubicBezTo>
                    <a:pt x="185" y="86"/>
                    <a:pt x="185" y="86"/>
                    <a:pt x="185" y="86"/>
                  </a:cubicBezTo>
                  <a:cubicBezTo>
                    <a:pt x="185" y="86"/>
                    <a:pt x="178" y="86"/>
                    <a:pt x="173" y="86"/>
                  </a:cubicBezTo>
                  <a:cubicBezTo>
                    <a:pt x="168" y="86"/>
                    <a:pt x="155" y="84"/>
                    <a:pt x="155" y="84"/>
                  </a:cubicBezTo>
                  <a:cubicBezTo>
                    <a:pt x="155" y="84"/>
                    <a:pt x="137" y="87"/>
                    <a:pt x="130" y="88"/>
                  </a:cubicBezTo>
                  <a:cubicBezTo>
                    <a:pt x="123" y="89"/>
                    <a:pt x="112" y="82"/>
                    <a:pt x="112" y="82"/>
                  </a:cubicBezTo>
                  <a:cubicBezTo>
                    <a:pt x="97" y="86"/>
                    <a:pt x="97" y="86"/>
                    <a:pt x="97" y="86"/>
                  </a:cubicBezTo>
                  <a:cubicBezTo>
                    <a:pt x="89" y="84"/>
                    <a:pt x="89" y="84"/>
                    <a:pt x="89" y="84"/>
                  </a:cubicBezTo>
                  <a:cubicBezTo>
                    <a:pt x="84" y="86"/>
                    <a:pt x="84" y="86"/>
                    <a:pt x="84" y="86"/>
                  </a:cubicBezTo>
                  <a:cubicBezTo>
                    <a:pt x="67" y="84"/>
                    <a:pt x="67" y="84"/>
                    <a:pt x="67" y="84"/>
                  </a:cubicBezTo>
                  <a:cubicBezTo>
                    <a:pt x="44" y="94"/>
                    <a:pt x="44" y="94"/>
                    <a:pt x="44" y="94"/>
                  </a:cubicBezTo>
                  <a:cubicBezTo>
                    <a:pt x="44" y="95"/>
                    <a:pt x="44" y="96"/>
                    <a:pt x="43" y="97"/>
                  </a:cubicBezTo>
                  <a:cubicBezTo>
                    <a:pt x="37" y="101"/>
                    <a:pt x="32" y="102"/>
                    <a:pt x="32" y="102"/>
                  </a:cubicBezTo>
                  <a:cubicBezTo>
                    <a:pt x="32" y="102"/>
                    <a:pt x="45" y="121"/>
                    <a:pt x="48" y="128"/>
                  </a:cubicBezTo>
                  <a:cubicBezTo>
                    <a:pt x="51" y="135"/>
                    <a:pt x="60" y="138"/>
                    <a:pt x="60" y="138"/>
                  </a:cubicBezTo>
                  <a:cubicBezTo>
                    <a:pt x="56" y="157"/>
                    <a:pt x="56" y="157"/>
                    <a:pt x="56" y="157"/>
                  </a:cubicBezTo>
                  <a:cubicBezTo>
                    <a:pt x="56" y="157"/>
                    <a:pt x="88" y="194"/>
                    <a:pt x="85" y="221"/>
                  </a:cubicBezTo>
                  <a:cubicBezTo>
                    <a:pt x="82" y="248"/>
                    <a:pt x="69" y="254"/>
                    <a:pt x="69" y="254"/>
                  </a:cubicBezTo>
                  <a:cubicBezTo>
                    <a:pt x="68" y="271"/>
                    <a:pt x="68" y="271"/>
                    <a:pt x="68" y="271"/>
                  </a:cubicBezTo>
                  <a:cubicBezTo>
                    <a:pt x="75" y="270"/>
                    <a:pt x="75" y="270"/>
                    <a:pt x="75" y="270"/>
                  </a:cubicBezTo>
                  <a:cubicBezTo>
                    <a:pt x="75" y="270"/>
                    <a:pt x="71" y="293"/>
                    <a:pt x="85" y="314"/>
                  </a:cubicBezTo>
                  <a:cubicBezTo>
                    <a:pt x="99" y="335"/>
                    <a:pt x="111" y="373"/>
                    <a:pt x="108" y="388"/>
                  </a:cubicBezTo>
                  <a:cubicBezTo>
                    <a:pt x="105" y="403"/>
                    <a:pt x="94" y="420"/>
                    <a:pt x="94" y="420"/>
                  </a:cubicBezTo>
                  <a:cubicBezTo>
                    <a:pt x="94" y="420"/>
                    <a:pt x="101" y="436"/>
                    <a:pt x="93" y="442"/>
                  </a:cubicBezTo>
                  <a:cubicBezTo>
                    <a:pt x="85" y="448"/>
                    <a:pt x="72" y="446"/>
                    <a:pt x="72" y="446"/>
                  </a:cubicBezTo>
                  <a:cubicBezTo>
                    <a:pt x="66" y="460"/>
                    <a:pt x="66" y="460"/>
                    <a:pt x="66" y="460"/>
                  </a:cubicBezTo>
                  <a:cubicBezTo>
                    <a:pt x="68" y="475"/>
                    <a:pt x="68" y="475"/>
                    <a:pt x="68" y="475"/>
                  </a:cubicBezTo>
                  <a:cubicBezTo>
                    <a:pt x="68" y="475"/>
                    <a:pt x="43" y="472"/>
                    <a:pt x="44" y="484"/>
                  </a:cubicBezTo>
                  <a:cubicBezTo>
                    <a:pt x="45" y="496"/>
                    <a:pt x="41" y="514"/>
                    <a:pt x="41" y="514"/>
                  </a:cubicBezTo>
                  <a:cubicBezTo>
                    <a:pt x="34" y="524"/>
                    <a:pt x="34" y="524"/>
                    <a:pt x="34" y="524"/>
                  </a:cubicBezTo>
                  <a:cubicBezTo>
                    <a:pt x="34" y="524"/>
                    <a:pt x="38" y="556"/>
                    <a:pt x="35" y="566"/>
                  </a:cubicBezTo>
                  <a:cubicBezTo>
                    <a:pt x="32" y="576"/>
                    <a:pt x="21" y="579"/>
                    <a:pt x="21" y="579"/>
                  </a:cubicBezTo>
                  <a:cubicBezTo>
                    <a:pt x="21" y="606"/>
                    <a:pt x="21" y="606"/>
                    <a:pt x="21" y="606"/>
                  </a:cubicBezTo>
                  <a:cubicBezTo>
                    <a:pt x="6" y="618"/>
                    <a:pt x="6" y="618"/>
                    <a:pt x="6" y="618"/>
                  </a:cubicBezTo>
                  <a:cubicBezTo>
                    <a:pt x="6" y="645"/>
                    <a:pt x="6" y="645"/>
                    <a:pt x="6" y="645"/>
                  </a:cubicBezTo>
                  <a:cubicBezTo>
                    <a:pt x="13" y="654"/>
                    <a:pt x="13" y="654"/>
                    <a:pt x="13" y="654"/>
                  </a:cubicBezTo>
                  <a:cubicBezTo>
                    <a:pt x="0" y="669"/>
                    <a:pt x="0" y="669"/>
                    <a:pt x="0" y="669"/>
                  </a:cubicBezTo>
                  <a:cubicBezTo>
                    <a:pt x="3" y="696"/>
                    <a:pt x="3" y="696"/>
                    <a:pt x="3" y="696"/>
                  </a:cubicBezTo>
                  <a:cubicBezTo>
                    <a:pt x="13" y="695"/>
                    <a:pt x="13" y="695"/>
                    <a:pt x="13" y="695"/>
                  </a:cubicBezTo>
                  <a:cubicBezTo>
                    <a:pt x="24" y="691"/>
                    <a:pt x="24" y="691"/>
                    <a:pt x="24" y="691"/>
                  </a:cubicBezTo>
                  <a:cubicBezTo>
                    <a:pt x="31" y="696"/>
                    <a:pt x="31" y="696"/>
                    <a:pt x="31" y="696"/>
                  </a:cubicBezTo>
                  <a:cubicBezTo>
                    <a:pt x="31" y="696"/>
                    <a:pt x="43" y="696"/>
                    <a:pt x="50" y="695"/>
                  </a:cubicBezTo>
                  <a:cubicBezTo>
                    <a:pt x="57" y="694"/>
                    <a:pt x="61" y="680"/>
                    <a:pt x="61" y="680"/>
                  </a:cubicBezTo>
                  <a:cubicBezTo>
                    <a:pt x="61" y="680"/>
                    <a:pt x="82" y="682"/>
                    <a:pt x="81" y="681"/>
                  </a:cubicBezTo>
                  <a:cubicBezTo>
                    <a:pt x="85" y="692"/>
                    <a:pt x="119" y="705"/>
                    <a:pt x="119" y="705"/>
                  </a:cubicBezTo>
                  <a:cubicBezTo>
                    <a:pt x="322" y="703"/>
                    <a:pt x="322" y="703"/>
                    <a:pt x="322" y="703"/>
                  </a:cubicBezTo>
                  <a:cubicBezTo>
                    <a:pt x="322" y="703"/>
                    <a:pt x="331" y="722"/>
                    <a:pt x="338" y="724"/>
                  </a:cubicBezTo>
                  <a:cubicBezTo>
                    <a:pt x="345" y="726"/>
                    <a:pt x="361" y="724"/>
                    <a:pt x="361" y="724"/>
                  </a:cubicBezTo>
                  <a:cubicBezTo>
                    <a:pt x="365" y="730"/>
                    <a:pt x="365" y="730"/>
                    <a:pt x="365" y="730"/>
                  </a:cubicBezTo>
                  <a:cubicBezTo>
                    <a:pt x="411" y="729"/>
                    <a:pt x="411" y="729"/>
                    <a:pt x="411" y="729"/>
                  </a:cubicBezTo>
                  <a:cubicBezTo>
                    <a:pt x="417" y="735"/>
                    <a:pt x="417" y="735"/>
                    <a:pt x="417" y="735"/>
                  </a:cubicBezTo>
                  <a:cubicBezTo>
                    <a:pt x="417" y="735"/>
                    <a:pt x="435" y="735"/>
                    <a:pt x="463" y="735"/>
                  </a:cubicBezTo>
                  <a:cubicBezTo>
                    <a:pt x="491" y="735"/>
                    <a:pt x="551" y="715"/>
                    <a:pt x="551" y="715"/>
                  </a:cubicBezTo>
                  <a:cubicBezTo>
                    <a:pt x="493" y="657"/>
                    <a:pt x="493" y="657"/>
                    <a:pt x="493" y="657"/>
                  </a:cubicBezTo>
                  <a:cubicBezTo>
                    <a:pt x="493" y="645"/>
                    <a:pt x="493" y="645"/>
                    <a:pt x="493" y="645"/>
                  </a:cubicBezTo>
                  <a:cubicBezTo>
                    <a:pt x="487" y="635"/>
                    <a:pt x="487" y="635"/>
                    <a:pt x="487" y="635"/>
                  </a:cubicBezTo>
                  <a:cubicBezTo>
                    <a:pt x="488" y="468"/>
                    <a:pt x="488" y="468"/>
                    <a:pt x="488" y="468"/>
                  </a:cubicBezTo>
                  <a:cubicBezTo>
                    <a:pt x="571" y="470"/>
                    <a:pt x="571" y="470"/>
                    <a:pt x="571" y="470"/>
                  </a:cubicBezTo>
                  <a:cubicBezTo>
                    <a:pt x="571" y="470"/>
                    <a:pt x="582" y="470"/>
                    <a:pt x="584" y="463"/>
                  </a:cubicBezTo>
                  <a:cubicBezTo>
                    <a:pt x="586" y="456"/>
                    <a:pt x="580" y="440"/>
                    <a:pt x="580" y="440"/>
                  </a:cubicBezTo>
                  <a:cubicBezTo>
                    <a:pt x="593" y="437"/>
                    <a:pt x="593" y="437"/>
                    <a:pt x="593" y="437"/>
                  </a:cubicBezTo>
                  <a:cubicBezTo>
                    <a:pt x="585" y="426"/>
                    <a:pt x="585" y="426"/>
                    <a:pt x="585" y="426"/>
                  </a:cubicBezTo>
                  <a:cubicBezTo>
                    <a:pt x="583" y="391"/>
                    <a:pt x="583" y="391"/>
                    <a:pt x="583" y="391"/>
                  </a:cubicBezTo>
                  <a:cubicBezTo>
                    <a:pt x="583" y="391"/>
                    <a:pt x="591" y="389"/>
                    <a:pt x="594" y="386"/>
                  </a:cubicBezTo>
                  <a:cubicBezTo>
                    <a:pt x="597" y="383"/>
                    <a:pt x="583" y="362"/>
                    <a:pt x="583" y="362"/>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92" name="Rwanda">
              <a:extLst>
                <a:ext uri="{FF2B5EF4-FFF2-40B4-BE49-F238E27FC236}">
                  <a16:creationId xmlns:a16="http://schemas.microsoft.com/office/drawing/2014/main" id="{6A237DF7-FA81-4CAB-9F8C-F576040400D5}"/>
                </a:ext>
              </a:extLst>
            </p:cNvPr>
            <p:cNvSpPr>
              <a:spLocks/>
            </p:cNvSpPr>
            <p:nvPr/>
          </p:nvSpPr>
          <p:spPr bwMode="gray">
            <a:xfrm>
              <a:off x="6785475" y="3942128"/>
              <a:ext cx="130381" cy="123241"/>
            </a:xfrm>
            <a:custGeom>
              <a:avLst/>
              <a:gdLst>
                <a:gd name="T0" fmla="*/ 35 w 104"/>
                <a:gd name="T1" fmla="*/ 98 h 98"/>
                <a:gd name="T2" fmla="*/ 52 w 104"/>
                <a:gd name="T3" fmla="*/ 91 h 98"/>
                <a:gd name="T4" fmla="*/ 57 w 104"/>
                <a:gd name="T5" fmla="*/ 74 h 98"/>
                <a:gd name="T6" fmla="*/ 87 w 104"/>
                <a:gd name="T7" fmla="*/ 74 h 98"/>
                <a:gd name="T8" fmla="*/ 90 w 104"/>
                <a:gd name="T9" fmla="*/ 74 h 98"/>
                <a:gd name="T10" fmla="*/ 104 w 104"/>
                <a:gd name="T11" fmla="*/ 64 h 98"/>
                <a:gd name="T12" fmla="*/ 98 w 104"/>
                <a:gd name="T13" fmla="*/ 44 h 98"/>
                <a:gd name="T14" fmla="*/ 100 w 104"/>
                <a:gd name="T15" fmla="*/ 31 h 98"/>
                <a:gd name="T16" fmla="*/ 86 w 104"/>
                <a:gd name="T17" fmla="*/ 13 h 98"/>
                <a:gd name="T18" fmla="*/ 91 w 104"/>
                <a:gd name="T19" fmla="*/ 0 h 98"/>
                <a:gd name="T20" fmla="*/ 75 w 104"/>
                <a:gd name="T21" fmla="*/ 1 h 98"/>
                <a:gd name="T22" fmla="*/ 64 w 104"/>
                <a:gd name="T23" fmla="*/ 25 h 98"/>
                <a:gd name="T24" fmla="*/ 52 w 104"/>
                <a:gd name="T25" fmla="*/ 17 h 98"/>
                <a:gd name="T26" fmla="*/ 42 w 104"/>
                <a:gd name="T27" fmla="*/ 17 h 98"/>
                <a:gd name="T28" fmla="*/ 17 w 104"/>
                <a:gd name="T29" fmla="*/ 36 h 98"/>
                <a:gd name="T30" fmla="*/ 24 w 104"/>
                <a:gd name="T31" fmla="*/ 58 h 98"/>
                <a:gd name="T32" fmla="*/ 4 w 104"/>
                <a:gd name="T33" fmla="*/ 80 h 98"/>
                <a:gd name="T34" fmla="*/ 22 w 104"/>
                <a:gd name="T35" fmla="*/ 85 h 98"/>
                <a:gd name="T36" fmla="*/ 35 w 104"/>
                <a:gd name="T3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4" h="98">
                  <a:moveTo>
                    <a:pt x="35" y="98"/>
                  </a:moveTo>
                  <a:cubicBezTo>
                    <a:pt x="39" y="98"/>
                    <a:pt x="52" y="91"/>
                    <a:pt x="52" y="91"/>
                  </a:cubicBezTo>
                  <a:cubicBezTo>
                    <a:pt x="57" y="74"/>
                    <a:pt x="57" y="74"/>
                    <a:pt x="57" y="74"/>
                  </a:cubicBezTo>
                  <a:cubicBezTo>
                    <a:pt x="87" y="74"/>
                    <a:pt x="87" y="74"/>
                    <a:pt x="87" y="74"/>
                  </a:cubicBezTo>
                  <a:cubicBezTo>
                    <a:pt x="90" y="74"/>
                    <a:pt x="90" y="74"/>
                    <a:pt x="90" y="74"/>
                  </a:cubicBezTo>
                  <a:cubicBezTo>
                    <a:pt x="96" y="73"/>
                    <a:pt x="104" y="71"/>
                    <a:pt x="104" y="64"/>
                  </a:cubicBezTo>
                  <a:cubicBezTo>
                    <a:pt x="104" y="52"/>
                    <a:pt x="98" y="44"/>
                    <a:pt x="98" y="44"/>
                  </a:cubicBezTo>
                  <a:cubicBezTo>
                    <a:pt x="98" y="44"/>
                    <a:pt x="104" y="39"/>
                    <a:pt x="100" y="31"/>
                  </a:cubicBezTo>
                  <a:cubicBezTo>
                    <a:pt x="96" y="23"/>
                    <a:pt x="86" y="13"/>
                    <a:pt x="86" y="13"/>
                  </a:cubicBezTo>
                  <a:cubicBezTo>
                    <a:pt x="91" y="0"/>
                    <a:pt x="91" y="0"/>
                    <a:pt x="91" y="0"/>
                  </a:cubicBezTo>
                  <a:cubicBezTo>
                    <a:pt x="75" y="1"/>
                    <a:pt x="75" y="1"/>
                    <a:pt x="75" y="1"/>
                  </a:cubicBezTo>
                  <a:cubicBezTo>
                    <a:pt x="75" y="1"/>
                    <a:pt x="71" y="17"/>
                    <a:pt x="64" y="25"/>
                  </a:cubicBezTo>
                  <a:cubicBezTo>
                    <a:pt x="58" y="32"/>
                    <a:pt x="52" y="17"/>
                    <a:pt x="52" y="17"/>
                  </a:cubicBezTo>
                  <a:cubicBezTo>
                    <a:pt x="42" y="17"/>
                    <a:pt x="42" y="17"/>
                    <a:pt x="42" y="17"/>
                  </a:cubicBezTo>
                  <a:cubicBezTo>
                    <a:pt x="42" y="17"/>
                    <a:pt x="18" y="28"/>
                    <a:pt x="17" y="36"/>
                  </a:cubicBezTo>
                  <a:cubicBezTo>
                    <a:pt x="15" y="44"/>
                    <a:pt x="25" y="55"/>
                    <a:pt x="24" y="58"/>
                  </a:cubicBezTo>
                  <a:cubicBezTo>
                    <a:pt x="22" y="62"/>
                    <a:pt x="0" y="72"/>
                    <a:pt x="4" y="80"/>
                  </a:cubicBezTo>
                  <a:cubicBezTo>
                    <a:pt x="8" y="88"/>
                    <a:pt x="22" y="85"/>
                    <a:pt x="22" y="85"/>
                  </a:cubicBezTo>
                  <a:cubicBezTo>
                    <a:pt x="22" y="85"/>
                    <a:pt x="31" y="98"/>
                    <a:pt x="35" y="98"/>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93" name="Central African Republic">
              <a:extLst>
                <a:ext uri="{FF2B5EF4-FFF2-40B4-BE49-F238E27FC236}">
                  <a16:creationId xmlns:a16="http://schemas.microsoft.com/office/drawing/2014/main" id="{0832AB0B-0A12-4407-961A-D86413ABA055}"/>
                </a:ext>
              </a:extLst>
            </p:cNvPr>
            <p:cNvSpPr>
              <a:spLocks/>
            </p:cNvSpPr>
            <p:nvPr/>
          </p:nvSpPr>
          <p:spPr bwMode="gray">
            <a:xfrm>
              <a:off x="5936223" y="3139305"/>
              <a:ext cx="764678" cy="580995"/>
            </a:xfrm>
            <a:custGeom>
              <a:avLst/>
              <a:gdLst>
                <a:gd name="T0" fmla="*/ 589 w 614"/>
                <a:gd name="T1" fmla="*/ 267 h 467"/>
                <a:gd name="T2" fmla="*/ 575 w 614"/>
                <a:gd name="T3" fmla="*/ 253 h 467"/>
                <a:gd name="T4" fmla="*/ 573 w 614"/>
                <a:gd name="T5" fmla="*/ 236 h 467"/>
                <a:gd name="T6" fmla="*/ 542 w 614"/>
                <a:gd name="T7" fmla="*/ 203 h 467"/>
                <a:gd name="T8" fmla="*/ 521 w 614"/>
                <a:gd name="T9" fmla="*/ 175 h 467"/>
                <a:gd name="T10" fmla="*/ 502 w 614"/>
                <a:gd name="T11" fmla="*/ 152 h 467"/>
                <a:gd name="T12" fmla="*/ 467 w 614"/>
                <a:gd name="T13" fmla="*/ 130 h 467"/>
                <a:gd name="T14" fmla="*/ 433 w 614"/>
                <a:gd name="T15" fmla="*/ 120 h 467"/>
                <a:gd name="T16" fmla="*/ 431 w 614"/>
                <a:gd name="T17" fmla="*/ 102 h 467"/>
                <a:gd name="T18" fmla="*/ 402 w 614"/>
                <a:gd name="T19" fmla="*/ 8 h 467"/>
                <a:gd name="T20" fmla="*/ 385 w 614"/>
                <a:gd name="T21" fmla="*/ 0 h 467"/>
                <a:gd name="T22" fmla="*/ 345 w 614"/>
                <a:gd name="T23" fmla="*/ 38 h 467"/>
                <a:gd name="T24" fmla="*/ 320 w 614"/>
                <a:gd name="T25" fmla="*/ 55 h 467"/>
                <a:gd name="T26" fmla="*/ 222 w 614"/>
                <a:gd name="T27" fmla="*/ 107 h 467"/>
                <a:gd name="T28" fmla="*/ 223 w 614"/>
                <a:gd name="T29" fmla="*/ 132 h 467"/>
                <a:gd name="T30" fmla="*/ 151 w 614"/>
                <a:gd name="T31" fmla="*/ 160 h 467"/>
                <a:gd name="T32" fmla="*/ 108 w 614"/>
                <a:gd name="T33" fmla="*/ 165 h 467"/>
                <a:gd name="T34" fmla="*/ 56 w 614"/>
                <a:gd name="T35" fmla="*/ 186 h 467"/>
                <a:gd name="T36" fmla="*/ 35 w 614"/>
                <a:gd name="T37" fmla="*/ 224 h 467"/>
                <a:gd name="T38" fmla="*/ 24 w 614"/>
                <a:gd name="T39" fmla="*/ 249 h 467"/>
                <a:gd name="T40" fmla="*/ 15 w 614"/>
                <a:gd name="T41" fmla="*/ 273 h 467"/>
                <a:gd name="T42" fmla="*/ 7 w 614"/>
                <a:gd name="T43" fmla="*/ 306 h 467"/>
                <a:gd name="T44" fmla="*/ 19 w 614"/>
                <a:gd name="T45" fmla="*/ 344 h 467"/>
                <a:gd name="T46" fmla="*/ 36 w 614"/>
                <a:gd name="T47" fmla="*/ 381 h 467"/>
                <a:gd name="T48" fmla="*/ 79 w 614"/>
                <a:gd name="T49" fmla="*/ 428 h 467"/>
                <a:gd name="T50" fmla="*/ 83 w 614"/>
                <a:gd name="T51" fmla="*/ 461 h 467"/>
                <a:gd name="T52" fmla="*/ 106 w 614"/>
                <a:gd name="T53" fmla="*/ 441 h 467"/>
                <a:gd name="T54" fmla="*/ 108 w 614"/>
                <a:gd name="T55" fmla="*/ 400 h 467"/>
                <a:gd name="T56" fmla="*/ 147 w 614"/>
                <a:gd name="T57" fmla="*/ 390 h 467"/>
                <a:gd name="T58" fmla="*/ 193 w 614"/>
                <a:gd name="T59" fmla="*/ 394 h 467"/>
                <a:gd name="T60" fmla="*/ 203 w 614"/>
                <a:gd name="T61" fmla="*/ 370 h 467"/>
                <a:gd name="T62" fmla="*/ 218 w 614"/>
                <a:gd name="T63" fmla="*/ 344 h 467"/>
                <a:gd name="T64" fmla="*/ 273 w 614"/>
                <a:gd name="T65" fmla="*/ 330 h 467"/>
                <a:gd name="T66" fmla="*/ 295 w 614"/>
                <a:gd name="T67" fmla="*/ 351 h 467"/>
                <a:gd name="T68" fmla="*/ 335 w 614"/>
                <a:gd name="T69" fmla="*/ 362 h 467"/>
                <a:gd name="T70" fmla="*/ 385 w 614"/>
                <a:gd name="T71" fmla="*/ 368 h 467"/>
                <a:gd name="T72" fmla="*/ 410 w 614"/>
                <a:gd name="T73" fmla="*/ 328 h 467"/>
                <a:gd name="T74" fmla="*/ 449 w 614"/>
                <a:gd name="T75" fmla="*/ 330 h 467"/>
                <a:gd name="T76" fmla="*/ 477 w 614"/>
                <a:gd name="T77" fmla="*/ 316 h 467"/>
                <a:gd name="T78" fmla="*/ 512 w 614"/>
                <a:gd name="T79" fmla="*/ 321 h 467"/>
                <a:gd name="T80" fmla="*/ 539 w 614"/>
                <a:gd name="T81" fmla="*/ 311 h 467"/>
                <a:gd name="T82" fmla="*/ 586 w 614"/>
                <a:gd name="T83" fmla="*/ 319 h 467"/>
                <a:gd name="T84" fmla="*/ 606 w 614"/>
                <a:gd name="T85" fmla="*/ 28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4" h="467">
                  <a:moveTo>
                    <a:pt x="606" y="281"/>
                  </a:moveTo>
                  <a:cubicBezTo>
                    <a:pt x="598" y="273"/>
                    <a:pt x="589" y="267"/>
                    <a:pt x="589" y="267"/>
                  </a:cubicBezTo>
                  <a:cubicBezTo>
                    <a:pt x="574" y="266"/>
                    <a:pt x="574" y="266"/>
                    <a:pt x="574" y="266"/>
                  </a:cubicBezTo>
                  <a:cubicBezTo>
                    <a:pt x="575" y="253"/>
                    <a:pt x="575" y="253"/>
                    <a:pt x="575" y="253"/>
                  </a:cubicBezTo>
                  <a:cubicBezTo>
                    <a:pt x="575" y="253"/>
                    <a:pt x="568" y="250"/>
                    <a:pt x="567" y="244"/>
                  </a:cubicBezTo>
                  <a:cubicBezTo>
                    <a:pt x="566" y="238"/>
                    <a:pt x="573" y="244"/>
                    <a:pt x="573" y="236"/>
                  </a:cubicBezTo>
                  <a:cubicBezTo>
                    <a:pt x="573" y="228"/>
                    <a:pt x="558" y="227"/>
                    <a:pt x="558" y="227"/>
                  </a:cubicBezTo>
                  <a:cubicBezTo>
                    <a:pt x="558" y="227"/>
                    <a:pt x="549" y="204"/>
                    <a:pt x="542" y="203"/>
                  </a:cubicBezTo>
                  <a:cubicBezTo>
                    <a:pt x="535" y="202"/>
                    <a:pt x="521" y="200"/>
                    <a:pt x="515" y="190"/>
                  </a:cubicBezTo>
                  <a:cubicBezTo>
                    <a:pt x="509" y="180"/>
                    <a:pt x="524" y="186"/>
                    <a:pt x="521" y="175"/>
                  </a:cubicBezTo>
                  <a:cubicBezTo>
                    <a:pt x="518" y="164"/>
                    <a:pt x="502" y="165"/>
                    <a:pt x="502" y="165"/>
                  </a:cubicBezTo>
                  <a:cubicBezTo>
                    <a:pt x="502" y="152"/>
                    <a:pt x="502" y="152"/>
                    <a:pt x="502" y="152"/>
                  </a:cubicBezTo>
                  <a:cubicBezTo>
                    <a:pt x="502" y="152"/>
                    <a:pt x="472" y="154"/>
                    <a:pt x="466" y="146"/>
                  </a:cubicBezTo>
                  <a:cubicBezTo>
                    <a:pt x="460" y="138"/>
                    <a:pt x="467" y="130"/>
                    <a:pt x="467" y="130"/>
                  </a:cubicBezTo>
                  <a:cubicBezTo>
                    <a:pt x="467" y="123"/>
                    <a:pt x="467" y="123"/>
                    <a:pt x="467" y="123"/>
                  </a:cubicBezTo>
                  <a:cubicBezTo>
                    <a:pt x="433" y="120"/>
                    <a:pt x="433" y="120"/>
                    <a:pt x="433" y="120"/>
                  </a:cubicBezTo>
                  <a:cubicBezTo>
                    <a:pt x="439" y="109"/>
                    <a:pt x="439" y="109"/>
                    <a:pt x="439" y="109"/>
                  </a:cubicBezTo>
                  <a:cubicBezTo>
                    <a:pt x="439" y="109"/>
                    <a:pt x="430" y="112"/>
                    <a:pt x="431" y="102"/>
                  </a:cubicBezTo>
                  <a:cubicBezTo>
                    <a:pt x="432" y="92"/>
                    <a:pt x="447" y="85"/>
                    <a:pt x="443" y="63"/>
                  </a:cubicBezTo>
                  <a:cubicBezTo>
                    <a:pt x="439" y="41"/>
                    <a:pt x="402" y="8"/>
                    <a:pt x="402" y="8"/>
                  </a:cubicBezTo>
                  <a:cubicBezTo>
                    <a:pt x="401" y="1"/>
                    <a:pt x="401" y="1"/>
                    <a:pt x="401" y="1"/>
                  </a:cubicBezTo>
                  <a:cubicBezTo>
                    <a:pt x="385" y="0"/>
                    <a:pt x="385" y="0"/>
                    <a:pt x="385" y="0"/>
                  </a:cubicBezTo>
                  <a:cubicBezTo>
                    <a:pt x="348" y="18"/>
                    <a:pt x="348" y="18"/>
                    <a:pt x="348" y="18"/>
                  </a:cubicBezTo>
                  <a:cubicBezTo>
                    <a:pt x="345" y="38"/>
                    <a:pt x="345" y="38"/>
                    <a:pt x="345" y="38"/>
                  </a:cubicBezTo>
                  <a:cubicBezTo>
                    <a:pt x="333" y="50"/>
                    <a:pt x="333" y="50"/>
                    <a:pt x="333" y="50"/>
                  </a:cubicBezTo>
                  <a:cubicBezTo>
                    <a:pt x="320" y="55"/>
                    <a:pt x="320" y="55"/>
                    <a:pt x="320" y="55"/>
                  </a:cubicBezTo>
                  <a:cubicBezTo>
                    <a:pt x="320" y="55"/>
                    <a:pt x="325" y="77"/>
                    <a:pt x="293" y="92"/>
                  </a:cubicBezTo>
                  <a:cubicBezTo>
                    <a:pt x="262" y="107"/>
                    <a:pt x="222" y="107"/>
                    <a:pt x="222" y="107"/>
                  </a:cubicBezTo>
                  <a:cubicBezTo>
                    <a:pt x="208" y="115"/>
                    <a:pt x="208" y="115"/>
                    <a:pt x="208" y="115"/>
                  </a:cubicBezTo>
                  <a:cubicBezTo>
                    <a:pt x="208" y="115"/>
                    <a:pt x="228" y="125"/>
                    <a:pt x="223" y="132"/>
                  </a:cubicBezTo>
                  <a:cubicBezTo>
                    <a:pt x="218" y="138"/>
                    <a:pt x="203" y="160"/>
                    <a:pt x="203" y="160"/>
                  </a:cubicBezTo>
                  <a:cubicBezTo>
                    <a:pt x="203" y="160"/>
                    <a:pt x="170" y="160"/>
                    <a:pt x="151" y="160"/>
                  </a:cubicBezTo>
                  <a:cubicBezTo>
                    <a:pt x="133" y="160"/>
                    <a:pt x="138" y="180"/>
                    <a:pt x="120" y="185"/>
                  </a:cubicBezTo>
                  <a:cubicBezTo>
                    <a:pt x="101" y="190"/>
                    <a:pt x="108" y="165"/>
                    <a:pt x="108" y="165"/>
                  </a:cubicBezTo>
                  <a:cubicBezTo>
                    <a:pt x="108" y="165"/>
                    <a:pt x="88" y="180"/>
                    <a:pt x="78" y="187"/>
                  </a:cubicBezTo>
                  <a:cubicBezTo>
                    <a:pt x="68" y="193"/>
                    <a:pt x="56" y="186"/>
                    <a:pt x="56" y="186"/>
                  </a:cubicBezTo>
                  <a:cubicBezTo>
                    <a:pt x="56" y="186"/>
                    <a:pt x="38" y="196"/>
                    <a:pt x="37" y="204"/>
                  </a:cubicBezTo>
                  <a:cubicBezTo>
                    <a:pt x="36" y="212"/>
                    <a:pt x="35" y="224"/>
                    <a:pt x="35" y="224"/>
                  </a:cubicBezTo>
                  <a:cubicBezTo>
                    <a:pt x="29" y="224"/>
                    <a:pt x="29" y="224"/>
                    <a:pt x="29" y="224"/>
                  </a:cubicBezTo>
                  <a:cubicBezTo>
                    <a:pt x="24" y="249"/>
                    <a:pt x="24" y="249"/>
                    <a:pt x="24" y="249"/>
                  </a:cubicBezTo>
                  <a:cubicBezTo>
                    <a:pt x="24" y="249"/>
                    <a:pt x="2" y="256"/>
                    <a:pt x="1" y="264"/>
                  </a:cubicBezTo>
                  <a:cubicBezTo>
                    <a:pt x="0" y="272"/>
                    <a:pt x="15" y="273"/>
                    <a:pt x="15" y="273"/>
                  </a:cubicBezTo>
                  <a:cubicBezTo>
                    <a:pt x="14" y="298"/>
                    <a:pt x="14" y="298"/>
                    <a:pt x="14" y="298"/>
                  </a:cubicBezTo>
                  <a:cubicBezTo>
                    <a:pt x="7" y="306"/>
                    <a:pt x="7" y="306"/>
                    <a:pt x="7" y="306"/>
                  </a:cubicBezTo>
                  <a:cubicBezTo>
                    <a:pt x="19" y="313"/>
                    <a:pt x="19" y="313"/>
                    <a:pt x="19" y="313"/>
                  </a:cubicBezTo>
                  <a:cubicBezTo>
                    <a:pt x="19" y="344"/>
                    <a:pt x="19" y="344"/>
                    <a:pt x="19" y="344"/>
                  </a:cubicBezTo>
                  <a:cubicBezTo>
                    <a:pt x="19" y="344"/>
                    <a:pt x="36" y="355"/>
                    <a:pt x="38" y="358"/>
                  </a:cubicBezTo>
                  <a:cubicBezTo>
                    <a:pt x="40" y="361"/>
                    <a:pt x="36" y="381"/>
                    <a:pt x="36" y="381"/>
                  </a:cubicBezTo>
                  <a:cubicBezTo>
                    <a:pt x="36" y="381"/>
                    <a:pt x="47" y="404"/>
                    <a:pt x="57" y="412"/>
                  </a:cubicBezTo>
                  <a:cubicBezTo>
                    <a:pt x="67" y="420"/>
                    <a:pt x="79" y="428"/>
                    <a:pt x="79" y="428"/>
                  </a:cubicBezTo>
                  <a:cubicBezTo>
                    <a:pt x="83" y="442"/>
                    <a:pt x="83" y="442"/>
                    <a:pt x="83" y="442"/>
                  </a:cubicBezTo>
                  <a:cubicBezTo>
                    <a:pt x="83" y="461"/>
                    <a:pt x="83" y="461"/>
                    <a:pt x="83" y="461"/>
                  </a:cubicBezTo>
                  <a:cubicBezTo>
                    <a:pt x="88" y="467"/>
                    <a:pt x="88" y="467"/>
                    <a:pt x="88" y="467"/>
                  </a:cubicBezTo>
                  <a:cubicBezTo>
                    <a:pt x="88" y="467"/>
                    <a:pt x="104" y="448"/>
                    <a:pt x="106" y="441"/>
                  </a:cubicBezTo>
                  <a:cubicBezTo>
                    <a:pt x="108" y="434"/>
                    <a:pt x="98" y="421"/>
                    <a:pt x="98" y="421"/>
                  </a:cubicBezTo>
                  <a:cubicBezTo>
                    <a:pt x="108" y="400"/>
                    <a:pt x="108" y="400"/>
                    <a:pt x="108" y="400"/>
                  </a:cubicBezTo>
                  <a:cubicBezTo>
                    <a:pt x="128" y="401"/>
                    <a:pt x="128" y="401"/>
                    <a:pt x="128" y="401"/>
                  </a:cubicBezTo>
                  <a:cubicBezTo>
                    <a:pt x="128" y="401"/>
                    <a:pt x="141" y="390"/>
                    <a:pt x="147" y="390"/>
                  </a:cubicBezTo>
                  <a:cubicBezTo>
                    <a:pt x="153" y="390"/>
                    <a:pt x="167" y="398"/>
                    <a:pt x="178" y="399"/>
                  </a:cubicBezTo>
                  <a:cubicBezTo>
                    <a:pt x="189" y="400"/>
                    <a:pt x="193" y="394"/>
                    <a:pt x="193" y="394"/>
                  </a:cubicBezTo>
                  <a:cubicBezTo>
                    <a:pt x="203" y="380"/>
                    <a:pt x="203" y="380"/>
                    <a:pt x="203" y="380"/>
                  </a:cubicBezTo>
                  <a:cubicBezTo>
                    <a:pt x="203" y="370"/>
                    <a:pt x="203" y="370"/>
                    <a:pt x="203" y="370"/>
                  </a:cubicBezTo>
                  <a:cubicBezTo>
                    <a:pt x="203" y="370"/>
                    <a:pt x="193" y="367"/>
                    <a:pt x="201" y="357"/>
                  </a:cubicBezTo>
                  <a:cubicBezTo>
                    <a:pt x="209" y="347"/>
                    <a:pt x="208" y="358"/>
                    <a:pt x="218" y="344"/>
                  </a:cubicBezTo>
                  <a:cubicBezTo>
                    <a:pt x="228" y="330"/>
                    <a:pt x="218" y="311"/>
                    <a:pt x="247" y="313"/>
                  </a:cubicBezTo>
                  <a:cubicBezTo>
                    <a:pt x="276" y="315"/>
                    <a:pt x="273" y="330"/>
                    <a:pt x="273" y="330"/>
                  </a:cubicBezTo>
                  <a:cubicBezTo>
                    <a:pt x="273" y="330"/>
                    <a:pt x="286" y="328"/>
                    <a:pt x="289" y="332"/>
                  </a:cubicBezTo>
                  <a:cubicBezTo>
                    <a:pt x="292" y="336"/>
                    <a:pt x="280" y="351"/>
                    <a:pt x="295" y="351"/>
                  </a:cubicBezTo>
                  <a:cubicBezTo>
                    <a:pt x="310" y="351"/>
                    <a:pt x="319" y="351"/>
                    <a:pt x="319" y="351"/>
                  </a:cubicBezTo>
                  <a:cubicBezTo>
                    <a:pt x="319" y="351"/>
                    <a:pt x="325" y="363"/>
                    <a:pt x="335" y="362"/>
                  </a:cubicBezTo>
                  <a:cubicBezTo>
                    <a:pt x="345" y="361"/>
                    <a:pt x="363" y="361"/>
                    <a:pt x="363" y="361"/>
                  </a:cubicBezTo>
                  <a:cubicBezTo>
                    <a:pt x="363" y="361"/>
                    <a:pt x="376" y="375"/>
                    <a:pt x="385" y="368"/>
                  </a:cubicBezTo>
                  <a:cubicBezTo>
                    <a:pt x="394" y="361"/>
                    <a:pt x="389" y="347"/>
                    <a:pt x="396" y="344"/>
                  </a:cubicBezTo>
                  <a:cubicBezTo>
                    <a:pt x="403" y="341"/>
                    <a:pt x="410" y="328"/>
                    <a:pt x="410" y="328"/>
                  </a:cubicBezTo>
                  <a:cubicBezTo>
                    <a:pt x="410" y="328"/>
                    <a:pt x="424" y="349"/>
                    <a:pt x="430" y="344"/>
                  </a:cubicBezTo>
                  <a:cubicBezTo>
                    <a:pt x="436" y="339"/>
                    <a:pt x="449" y="330"/>
                    <a:pt x="449" y="330"/>
                  </a:cubicBezTo>
                  <a:cubicBezTo>
                    <a:pt x="461" y="330"/>
                    <a:pt x="461" y="330"/>
                    <a:pt x="461" y="330"/>
                  </a:cubicBezTo>
                  <a:cubicBezTo>
                    <a:pt x="477" y="316"/>
                    <a:pt x="477" y="316"/>
                    <a:pt x="477" y="316"/>
                  </a:cubicBezTo>
                  <a:cubicBezTo>
                    <a:pt x="477" y="316"/>
                    <a:pt x="486" y="326"/>
                    <a:pt x="490" y="326"/>
                  </a:cubicBezTo>
                  <a:cubicBezTo>
                    <a:pt x="494" y="326"/>
                    <a:pt x="512" y="321"/>
                    <a:pt x="512" y="321"/>
                  </a:cubicBezTo>
                  <a:cubicBezTo>
                    <a:pt x="512" y="321"/>
                    <a:pt x="517" y="300"/>
                    <a:pt x="524" y="299"/>
                  </a:cubicBezTo>
                  <a:cubicBezTo>
                    <a:pt x="531" y="298"/>
                    <a:pt x="539" y="311"/>
                    <a:pt x="539" y="311"/>
                  </a:cubicBezTo>
                  <a:cubicBezTo>
                    <a:pt x="560" y="308"/>
                    <a:pt x="560" y="308"/>
                    <a:pt x="560" y="308"/>
                  </a:cubicBezTo>
                  <a:cubicBezTo>
                    <a:pt x="560" y="308"/>
                    <a:pt x="566" y="324"/>
                    <a:pt x="586" y="319"/>
                  </a:cubicBezTo>
                  <a:cubicBezTo>
                    <a:pt x="606" y="314"/>
                    <a:pt x="610" y="303"/>
                    <a:pt x="610" y="303"/>
                  </a:cubicBezTo>
                  <a:cubicBezTo>
                    <a:pt x="610" y="303"/>
                    <a:pt x="614" y="289"/>
                    <a:pt x="606" y="28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94" name="Republc of the Congo">
              <a:extLst>
                <a:ext uri="{FF2B5EF4-FFF2-40B4-BE49-F238E27FC236}">
                  <a16:creationId xmlns:a16="http://schemas.microsoft.com/office/drawing/2014/main" id="{7808A235-C791-40AB-8573-71200B756318}"/>
                </a:ext>
              </a:extLst>
            </p:cNvPr>
            <p:cNvSpPr>
              <a:spLocks/>
            </p:cNvSpPr>
            <p:nvPr/>
          </p:nvSpPr>
          <p:spPr bwMode="gray">
            <a:xfrm>
              <a:off x="5745934" y="3625223"/>
              <a:ext cx="444008" cy="577471"/>
            </a:xfrm>
            <a:custGeom>
              <a:avLst/>
              <a:gdLst>
                <a:gd name="T0" fmla="*/ 238 w 356"/>
                <a:gd name="T1" fmla="*/ 83 h 466"/>
                <a:gd name="T2" fmla="*/ 219 w 356"/>
                <a:gd name="T3" fmla="*/ 95 h 466"/>
                <a:gd name="T4" fmla="*/ 166 w 356"/>
                <a:gd name="T5" fmla="*/ 83 h 466"/>
                <a:gd name="T6" fmla="*/ 96 w 356"/>
                <a:gd name="T7" fmla="*/ 108 h 466"/>
                <a:gd name="T8" fmla="*/ 115 w 356"/>
                <a:gd name="T9" fmla="*/ 134 h 466"/>
                <a:gd name="T10" fmla="*/ 149 w 356"/>
                <a:gd name="T11" fmla="*/ 128 h 466"/>
                <a:gd name="T12" fmla="*/ 159 w 356"/>
                <a:gd name="T13" fmla="*/ 146 h 466"/>
                <a:gd name="T14" fmla="*/ 140 w 356"/>
                <a:gd name="T15" fmla="*/ 172 h 466"/>
                <a:gd name="T16" fmla="*/ 130 w 356"/>
                <a:gd name="T17" fmla="*/ 212 h 466"/>
                <a:gd name="T18" fmla="*/ 147 w 356"/>
                <a:gd name="T19" fmla="*/ 225 h 466"/>
                <a:gd name="T20" fmla="*/ 158 w 356"/>
                <a:gd name="T21" fmla="*/ 243 h 466"/>
                <a:gd name="T22" fmla="*/ 155 w 356"/>
                <a:gd name="T23" fmla="*/ 284 h 466"/>
                <a:gd name="T24" fmla="*/ 146 w 356"/>
                <a:gd name="T25" fmla="*/ 316 h 466"/>
                <a:gd name="T26" fmla="*/ 127 w 356"/>
                <a:gd name="T27" fmla="*/ 311 h 466"/>
                <a:gd name="T28" fmla="*/ 90 w 356"/>
                <a:gd name="T29" fmla="*/ 327 h 466"/>
                <a:gd name="T30" fmla="*/ 64 w 356"/>
                <a:gd name="T31" fmla="*/ 297 h 466"/>
                <a:gd name="T32" fmla="*/ 58 w 356"/>
                <a:gd name="T33" fmla="*/ 329 h 466"/>
                <a:gd name="T34" fmla="*/ 25 w 356"/>
                <a:gd name="T35" fmla="*/ 346 h 466"/>
                <a:gd name="T36" fmla="*/ 35 w 356"/>
                <a:gd name="T37" fmla="*/ 359 h 466"/>
                <a:gd name="T38" fmla="*/ 38 w 356"/>
                <a:gd name="T39" fmla="*/ 376 h 466"/>
                <a:gd name="T40" fmla="*/ 19 w 356"/>
                <a:gd name="T41" fmla="*/ 389 h 466"/>
                <a:gd name="T42" fmla="*/ 0 w 356"/>
                <a:gd name="T43" fmla="*/ 411 h 466"/>
                <a:gd name="T44" fmla="*/ 37 w 356"/>
                <a:gd name="T45" fmla="*/ 454 h 466"/>
                <a:gd name="T46" fmla="*/ 50 w 356"/>
                <a:gd name="T47" fmla="*/ 460 h 466"/>
                <a:gd name="T48" fmla="*/ 61 w 356"/>
                <a:gd name="T49" fmla="*/ 446 h 466"/>
                <a:gd name="T50" fmla="*/ 91 w 356"/>
                <a:gd name="T51" fmla="*/ 448 h 466"/>
                <a:gd name="T52" fmla="*/ 114 w 356"/>
                <a:gd name="T53" fmla="*/ 461 h 466"/>
                <a:gd name="T54" fmla="*/ 138 w 356"/>
                <a:gd name="T55" fmla="*/ 441 h 466"/>
                <a:gd name="T56" fmla="*/ 159 w 356"/>
                <a:gd name="T57" fmla="*/ 462 h 466"/>
                <a:gd name="T58" fmla="*/ 209 w 356"/>
                <a:gd name="T59" fmla="*/ 418 h 466"/>
                <a:gd name="T60" fmla="*/ 242 w 356"/>
                <a:gd name="T61" fmla="*/ 385 h 466"/>
                <a:gd name="T62" fmla="*/ 260 w 356"/>
                <a:gd name="T63" fmla="*/ 302 h 466"/>
                <a:gd name="T64" fmla="*/ 298 w 356"/>
                <a:gd name="T65" fmla="*/ 251 h 466"/>
                <a:gd name="T66" fmla="*/ 317 w 356"/>
                <a:gd name="T67" fmla="*/ 197 h 466"/>
                <a:gd name="T68" fmla="*/ 320 w 356"/>
                <a:gd name="T69" fmla="*/ 152 h 466"/>
                <a:gd name="T70" fmla="*/ 332 w 356"/>
                <a:gd name="T71" fmla="*/ 77 h 466"/>
                <a:gd name="T72" fmla="*/ 356 w 356"/>
                <a:gd name="T73" fmla="*/ 11 h 466"/>
                <a:gd name="T74" fmla="*/ 332 w 356"/>
                <a:gd name="T75" fmla="*/ 9 h 466"/>
                <a:gd name="T76" fmla="*/ 282 w 356"/>
                <a:gd name="T77" fmla="*/ 11 h 466"/>
                <a:gd name="T78" fmla="*/ 252 w 356"/>
                <a:gd name="T79" fmla="*/ 31 h 466"/>
                <a:gd name="T80" fmla="*/ 242 w 356"/>
                <a:gd name="T81" fmla="*/ 77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6" h="466">
                  <a:moveTo>
                    <a:pt x="242" y="77"/>
                  </a:moveTo>
                  <a:cubicBezTo>
                    <a:pt x="238" y="83"/>
                    <a:pt x="238" y="83"/>
                    <a:pt x="238" y="83"/>
                  </a:cubicBezTo>
                  <a:cubicBezTo>
                    <a:pt x="237" y="110"/>
                    <a:pt x="237" y="110"/>
                    <a:pt x="237" y="110"/>
                  </a:cubicBezTo>
                  <a:cubicBezTo>
                    <a:pt x="219" y="95"/>
                    <a:pt x="219" y="95"/>
                    <a:pt x="219" y="95"/>
                  </a:cubicBezTo>
                  <a:cubicBezTo>
                    <a:pt x="199" y="96"/>
                    <a:pt x="199" y="96"/>
                    <a:pt x="199" y="96"/>
                  </a:cubicBezTo>
                  <a:cubicBezTo>
                    <a:pt x="199" y="96"/>
                    <a:pt x="171" y="83"/>
                    <a:pt x="166" y="83"/>
                  </a:cubicBezTo>
                  <a:cubicBezTo>
                    <a:pt x="161" y="83"/>
                    <a:pt x="106" y="86"/>
                    <a:pt x="106" y="86"/>
                  </a:cubicBezTo>
                  <a:cubicBezTo>
                    <a:pt x="96" y="108"/>
                    <a:pt x="96" y="108"/>
                    <a:pt x="96" y="108"/>
                  </a:cubicBezTo>
                  <a:cubicBezTo>
                    <a:pt x="98" y="129"/>
                    <a:pt x="98" y="129"/>
                    <a:pt x="98" y="129"/>
                  </a:cubicBezTo>
                  <a:cubicBezTo>
                    <a:pt x="98" y="129"/>
                    <a:pt x="106" y="134"/>
                    <a:pt x="115" y="134"/>
                  </a:cubicBezTo>
                  <a:cubicBezTo>
                    <a:pt x="124" y="134"/>
                    <a:pt x="124" y="119"/>
                    <a:pt x="129" y="119"/>
                  </a:cubicBezTo>
                  <a:cubicBezTo>
                    <a:pt x="134" y="119"/>
                    <a:pt x="146" y="124"/>
                    <a:pt x="149" y="128"/>
                  </a:cubicBezTo>
                  <a:cubicBezTo>
                    <a:pt x="152" y="132"/>
                    <a:pt x="153" y="142"/>
                    <a:pt x="153" y="142"/>
                  </a:cubicBezTo>
                  <a:cubicBezTo>
                    <a:pt x="159" y="146"/>
                    <a:pt x="159" y="146"/>
                    <a:pt x="159" y="146"/>
                  </a:cubicBezTo>
                  <a:cubicBezTo>
                    <a:pt x="159" y="146"/>
                    <a:pt x="159" y="159"/>
                    <a:pt x="153" y="166"/>
                  </a:cubicBezTo>
                  <a:cubicBezTo>
                    <a:pt x="147" y="173"/>
                    <a:pt x="140" y="172"/>
                    <a:pt x="140" y="172"/>
                  </a:cubicBezTo>
                  <a:cubicBezTo>
                    <a:pt x="131" y="188"/>
                    <a:pt x="131" y="188"/>
                    <a:pt x="131" y="188"/>
                  </a:cubicBezTo>
                  <a:cubicBezTo>
                    <a:pt x="130" y="212"/>
                    <a:pt x="130" y="212"/>
                    <a:pt x="130" y="212"/>
                  </a:cubicBezTo>
                  <a:cubicBezTo>
                    <a:pt x="142" y="213"/>
                    <a:pt x="142" y="213"/>
                    <a:pt x="142" y="213"/>
                  </a:cubicBezTo>
                  <a:cubicBezTo>
                    <a:pt x="147" y="225"/>
                    <a:pt x="147" y="225"/>
                    <a:pt x="147" y="225"/>
                  </a:cubicBezTo>
                  <a:cubicBezTo>
                    <a:pt x="147" y="225"/>
                    <a:pt x="163" y="226"/>
                    <a:pt x="165" y="232"/>
                  </a:cubicBezTo>
                  <a:cubicBezTo>
                    <a:pt x="167" y="238"/>
                    <a:pt x="158" y="243"/>
                    <a:pt x="158" y="243"/>
                  </a:cubicBezTo>
                  <a:cubicBezTo>
                    <a:pt x="159" y="273"/>
                    <a:pt x="159" y="273"/>
                    <a:pt x="159" y="273"/>
                  </a:cubicBezTo>
                  <a:cubicBezTo>
                    <a:pt x="155" y="284"/>
                    <a:pt x="155" y="284"/>
                    <a:pt x="155" y="284"/>
                  </a:cubicBezTo>
                  <a:cubicBezTo>
                    <a:pt x="159" y="298"/>
                    <a:pt x="159" y="298"/>
                    <a:pt x="159" y="298"/>
                  </a:cubicBezTo>
                  <a:cubicBezTo>
                    <a:pt x="159" y="298"/>
                    <a:pt x="146" y="302"/>
                    <a:pt x="146" y="316"/>
                  </a:cubicBezTo>
                  <a:cubicBezTo>
                    <a:pt x="146" y="330"/>
                    <a:pt x="144" y="336"/>
                    <a:pt x="134" y="336"/>
                  </a:cubicBezTo>
                  <a:cubicBezTo>
                    <a:pt x="124" y="336"/>
                    <a:pt x="131" y="314"/>
                    <a:pt x="127" y="311"/>
                  </a:cubicBezTo>
                  <a:cubicBezTo>
                    <a:pt x="123" y="308"/>
                    <a:pt x="120" y="324"/>
                    <a:pt x="112" y="326"/>
                  </a:cubicBezTo>
                  <a:cubicBezTo>
                    <a:pt x="104" y="328"/>
                    <a:pt x="90" y="327"/>
                    <a:pt x="90" y="327"/>
                  </a:cubicBezTo>
                  <a:cubicBezTo>
                    <a:pt x="81" y="298"/>
                    <a:pt x="81" y="298"/>
                    <a:pt x="81" y="298"/>
                  </a:cubicBezTo>
                  <a:cubicBezTo>
                    <a:pt x="81" y="298"/>
                    <a:pt x="70" y="296"/>
                    <a:pt x="64" y="297"/>
                  </a:cubicBezTo>
                  <a:cubicBezTo>
                    <a:pt x="58" y="298"/>
                    <a:pt x="71" y="316"/>
                    <a:pt x="71" y="316"/>
                  </a:cubicBezTo>
                  <a:cubicBezTo>
                    <a:pt x="71" y="316"/>
                    <a:pt x="62" y="324"/>
                    <a:pt x="58" y="329"/>
                  </a:cubicBezTo>
                  <a:cubicBezTo>
                    <a:pt x="54" y="334"/>
                    <a:pt x="30" y="325"/>
                    <a:pt x="24" y="323"/>
                  </a:cubicBezTo>
                  <a:cubicBezTo>
                    <a:pt x="18" y="321"/>
                    <a:pt x="25" y="346"/>
                    <a:pt x="25" y="346"/>
                  </a:cubicBezTo>
                  <a:cubicBezTo>
                    <a:pt x="18" y="346"/>
                    <a:pt x="18" y="346"/>
                    <a:pt x="18" y="346"/>
                  </a:cubicBezTo>
                  <a:cubicBezTo>
                    <a:pt x="35" y="359"/>
                    <a:pt x="35" y="359"/>
                    <a:pt x="35" y="359"/>
                  </a:cubicBezTo>
                  <a:cubicBezTo>
                    <a:pt x="26" y="368"/>
                    <a:pt x="26" y="368"/>
                    <a:pt x="26" y="368"/>
                  </a:cubicBezTo>
                  <a:cubicBezTo>
                    <a:pt x="38" y="376"/>
                    <a:pt x="38" y="376"/>
                    <a:pt x="38" y="376"/>
                  </a:cubicBezTo>
                  <a:cubicBezTo>
                    <a:pt x="38" y="376"/>
                    <a:pt x="42" y="389"/>
                    <a:pt x="38" y="398"/>
                  </a:cubicBezTo>
                  <a:cubicBezTo>
                    <a:pt x="34" y="407"/>
                    <a:pt x="19" y="389"/>
                    <a:pt x="19" y="389"/>
                  </a:cubicBezTo>
                  <a:cubicBezTo>
                    <a:pt x="5" y="398"/>
                    <a:pt x="5" y="398"/>
                    <a:pt x="5" y="398"/>
                  </a:cubicBezTo>
                  <a:cubicBezTo>
                    <a:pt x="0" y="411"/>
                    <a:pt x="0" y="411"/>
                    <a:pt x="0" y="411"/>
                  </a:cubicBezTo>
                  <a:cubicBezTo>
                    <a:pt x="36" y="442"/>
                    <a:pt x="36" y="442"/>
                    <a:pt x="36" y="442"/>
                  </a:cubicBezTo>
                  <a:cubicBezTo>
                    <a:pt x="37" y="454"/>
                    <a:pt x="37" y="454"/>
                    <a:pt x="37" y="454"/>
                  </a:cubicBezTo>
                  <a:cubicBezTo>
                    <a:pt x="46" y="466"/>
                    <a:pt x="46" y="466"/>
                    <a:pt x="46" y="466"/>
                  </a:cubicBezTo>
                  <a:cubicBezTo>
                    <a:pt x="50" y="460"/>
                    <a:pt x="50" y="460"/>
                    <a:pt x="50" y="460"/>
                  </a:cubicBezTo>
                  <a:cubicBezTo>
                    <a:pt x="61" y="460"/>
                    <a:pt x="61" y="460"/>
                    <a:pt x="61" y="460"/>
                  </a:cubicBezTo>
                  <a:cubicBezTo>
                    <a:pt x="61" y="446"/>
                    <a:pt x="61" y="446"/>
                    <a:pt x="61" y="446"/>
                  </a:cubicBezTo>
                  <a:cubicBezTo>
                    <a:pt x="61" y="446"/>
                    <a:pt x="75" y="433"/>
                    <a:pt x="82" y="432"/>
                  </a:cubicBezTo>
                  <a:cubicBezTo>
                    <a:pt x="89" y="431"/>
                    <a:pt x="91" y="448"/>
                    <a:pt x="91" y="448"/>
                  </a:cubicBezTo>
                  <a:cubicBezTo>
                    <a:pt x="98" y="445"/>
                    <a:pt x="98" y="445"/>
                    <a:pt x="98" y="445"/>
                  </a:cubicBezTo>
                  <a:cubicBezTo>
                    <a:pt x="98" y="445"/>
                    <a:pt x="102" y="466"/>
                    <a:pt x="114" y="461"/>
                  </a:cubicBezTo>
                  <a:cubicBezTo>
                    <a:pt x="126" y="456"/>
                    <a:pt x="125" y="440"/>
                    <a:pt x="125" y="440"/>
                  </a:cubicBezTo>
                  <a:cubicBezTo>
                    <a:pt x="138" y="441"/>
                    <a:pt x="138" y="441"/>
                    <a:pt x="138" y="441"/>
                  </a:cubicBezTo>
                  <a:cubicBezTo>
                    <a:pt x="138" y="441"/>
                    <a:pt x="148" y="425"/>
                    <a:pt x="155" y="432"/>
                  </a:cubicBezTo>
                  <a:cubicBezTo>
                    <a:pt x="162" y="439"/>
                    <a:pt x="144" y="462"/>
                    <a:pt x="159" y="462"/>
                  </a:cubicBezTo>
                  <a:cubicBezTo>
                    <a:pt x="174" y="462"/>
                    <a:pt x="177" y="457"/>
                    <a:pt x="184" y="448"/>
                  </a:cubicBezTo>
                  <a:cubicBezTo>
                    <a:pt x="191" y="439"/>
                    <a:pt x="203" y="418"/>
                    <a:pt x="209" y="418"/>
                  </a:cubicBezTo>
                  <a:cubicBezTo>
                    <a:pt x="215" y="418"/>
                    <a:pt x="225" y="415"/>
                    <a:pt x="225" y="415"/>
                  </a:cubicBezTo>
                  <a:cubicBezTo>
                    <a:pt x="242" y="385"/>
                    <a:pt x="242" y="385"/>
                    <a:pt x="242" y="385"/>
                  </a:cubicBezTo>
                  <a:cubicBezTo>
                    <a:pt x="241" y="318"/>
                    <a:pt x="241" y="318"/>
                    <a:pt x="241" y="318"/>
                  </a:cubicBezTo>
                  <a:cubicBezTo>
                    <a:pt x="241" y="318"/>
                    <a:pt x="259" y="311"/>
                    <a:pt x="260" y="302"/>
                  </a:cubicBezTo>
                  <a:cubicBezTo>
                    <a:pt x="261" y="293"/>
                    <a:pt x="261" y="270"/>
                    <a:pt x="268" y="267"/>
                  </a:cubicBezTo>
                  <a:cubicBezTo>
                    <a:pt x="275" y="264"/>
                    <a:pt x="288" y="258"/>
                    <a:pt x="298" y="251"/>
                  </a:cubicBezTo>
                  <a:cubicBezTo>
                    <a:pt x="308" y="244"/>
                    <a:pt x="314" y="229"/>
                    <a:pt x="314" y="229"/>
                  </a:cubicBezTo>
                  <a:cubicBezTo>
                    <a:pt x="317" y="197"/>
                    <a:pt x="317" y="197"/>
                    <a:pt x="317" y="197"/>
                  </a:cubicBezTo>
                  <a:cubicBezTo>
                    <a:pt x="317" y="197"/>
                    <a:pt x="327" y="189"/>
                    <a:pt x="327" y="178"/>
                  </a:cubicBezTo>
                  <a:cubicBezTo>
                    <a:pt x="327" y="167"/>
                    <a:pt x="318" y="160"/>
                    <a:pt x="320" y="152"/>
                  </a:cubicBezTo>
                  <a:cubicBezTo>
                    <a:pt x="322" y="144"/>
                    <a:pt x="332" y="136"/>
                    <a:pt x="331" y="125"/>
                  </a:cubicBezTo>
                  <a:cubicBezTo>
                    <a:pt x="330" y="114"/>
                    <a:pt x="323" y="87"/>
                    <a:pt x="332" y="77"/>
                  </a:cubicBezTo>
                  <a:cubicBezTo>
                    <a:pt x="341" y="67"/>
                    <a:pt x="356" y="38"/>
                    <a:pt x="356" y="30"/>
                  </a:cubicBezTo>
                  <a:cubicBezTo>
                    <a:pt x="356" y="22"/>
                    <a:pt x="356" y="11"/>
                    <a:pt x="356" y="11"/>
                  </a:cubicBezTo>
                  <a:cubicBezTo>
                    <a:pt x="347" y="4"/>
                    <a:pt x="347" y="4"/>
                    <a:pt x="347" y="4"/>
                  </a:cubicBezTo>
                  <a:cubicBezTo>
                    <a:pt x="347" y="4"/>
                    <a:pt x="343" y="10"/>
                    <a:pt x="332" y="9"/>
                  </a:cubicBezTo>
                  <a:cubicBezTo>
                    <a:pt x="321" y="8"/>
                    <a:pt x="307" y="0"/>
                    <a:pt x="301" y="0"/>
                  </a:cubicBezTo>
                  <a:cubicBezTo>
                    <a:pt x="295" y="0"/>
                    <a:pt x="282" y="11"/>
                    <a:pt x="282" y="11"/>
                  </a:cubicBezTo>
                  <a:cubicBezTo>
                    <a:pt x="262" y="10"/>
                    <a:pt x="262" y="10"/>
                    <a:pt x="262" y="10"/>
                  </a:cubicBezTo>
                  <a:cubicBezTo>
                    <a:pt x="252" y="31"/>
                    <a:pt x="252" y="31"/>
                    <a:pt x="252" y="31"/>
                  </a:cubicBezTo>
                  <a:cubicBezTo>
                    <a:pt x="252" y="31"/>
                    <a:pt x="262" y="44"/>
                    <a:pt x="260" y="51"/>
                  </a:cubicBezTo>
                  <a:cubicBezTo>
                    <a:pt x="258" y="58"/>
                    <a:pt x="242" y="77"/>
                    <a:pt x="242" y="77"/>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95" name="Sudan">
              <a:extLst>
                <a:ext uri="{FF2B5EF4-FFF2-40B4-BE49-F238E27FC236}">
                  <a16:creationId xmlns:a16="http://schemas.microsoft.com/office/drawing/2014/main" id="{6FBEEC77-A97A-4E15-ABCE-5F3E0BC08785}"/>
                </a:ext>
              </a:extLst>
            </p:cNvPr>
            <p:cNvSpPr>
              <a:spLocks/>
            </p:cNvSpPr>
            <p:nvPr/>
          </p:nvSpPr>
          <p:spPr bwMode="gray">
            <a:xfrm>
              <a:off x="6373184" y="2332960"/>
              <a:ext cx="969062" cy="1309876"/>
            </a:xfrm>
            <a:custGeom>
              <a:avLst/>
              <a:gdLst>
                <a:gd name="T0" fmla="*/ 569 w 781"/>
                <a:gd name="T1" fmla="*/ 46 h 1054"/>
                <a:gd name="T2" fmla="*/ 443 w 781"/>
                <a:gd name="T3" fmla="*/ 56 h 1054"/>
                <a:gd name="T4" fmla="*/ 143 w 781"/>
                <a:gd name="T5" fmla="*/ 56 h 1054"/>
                <a:gd name="T6" fmla="*/ 101 w 781"/>
                <a:gd name="T7" fmla="*/ 398 h 1054"/>
                <a:gd name="T8" fmla="*/ 41 w 781"/>
                <a:gd name="T9" fmla="*/ 434 h 1054"/>
                <a:gd name="T10" fmla="*/ 30 w 781"/>
                <a:gd name="T11" fmla="*/ 468 h 1054"/>
                <a:gd name="T12" fmla="*/ 15 w 781"/>
                <a:gd name="T13" fmla="*/ 504 h 1054"/>
                <a:gd name="T14" fmla="*/ 11 w 781"/>
                <a:gd name="T15" fmla="*/ 565 h 1054"/>
                <a:gd name="T16" fmla="*/ 42 w 781"/>
                <a:gd name="T17" fmla="*/ 598 h 1054"/>
                <a:gd name="T18" fmla="*/ 56 w 781"/>
                <a:gd name="T19" fmla="*/ 634 h 1054"/>
                <a:gd name="T20" fmla="*/ 93 w 781"/>
                <a:gd name="T21" fmla="*/ 714 h 1054"/>
                <a:gd name="T22" fmla="*/ 83 w 781"/>
                <a:gd name="T23" fmla="*/ 771 h 1054"/>
                <a:gd name="T24" fmla="*/ 116 w 781"/>
                <a:gd name="T25" fmla="*/ 797 h 1054"/>
                <a:gd name="T26" fmla="*/ 171 w 781"/>
                <a:gd name="T27" fmla="*/ 826 h 1054"/>
                <a:gd name="T28" fmla="*/ 208 w 781"/>
                <a:gd name="T29" fmla="*/ 878 h 1054"/>
                <a:gd name="T30" fmla="*/ 225 w 781"/>
                <a:gd name="T31" fmla="*/ 904 h 1054"/>
                <a:gd name="T32" fmla="*/ 256 w 781"/>
                <a:gd name="T33" fmla="*/ 932 h 1054"/>
                <a:gd name="T34" fmla="*/ 285 w 781"/>
                <a:gd name="T35" fmla="*/ 981 h 1054"/>
                <a:gd name="T36" fmla="*/ 333 w 781"/>
                <a:gd name="T37" fmla="*/ 994 h 1054"/>
                <a:gd name="T38" fmla="*/ 390 w 781"/>
                <a:gd name="T39" fmla="*/ 1017 h 1054"/>
                <a:gd name="T40" fmla="*/ 431 w 781"/>
                <a:gd name="T41" fmla="*/ 1049 h 1054"/>
                <a:gd name="T42" fmla="*/ 474 w 781"/>
                <a:gd name="T43" fmla="*/ 1037 h 1054"/>
                <a:gd name="T44" fmla="*/ 508 w 781"/>
                <a:gd name="T45" fmla="*/ 1039 h 1054"/>
                <a:gd name="T46" fmla="*/ 553 w 781"/>
                <a:gd name="T47" fmla="*/ 1040 h 1054"/>
                <a:gd name="T48" fmla="*/ 597 w 781"/>
                <a:gd name="T49" fmla="*/ 995 h 1054"/>
                <a:gd name="T50" fmla="*/ 669 w 781"/>
                <a:gd name="T51" fmla="*/ 976 h 1054"/>
                <a:gd name="T52" fmla="*/ 628 w 781"/>
                <a:gd name="T53" fmla="*/ 912 h 1054"/>
                <a:gd name="T54" fmla="*/ 610 w 781"/>
                <a:gd name="T55" fmla="*/ 882 h 1054"/>
                <a:gd name="T56" fmla="*/ 587 w 781"/>
                <a:gd name="T57" fmla="*/ 846 h 1054"/>
                <a:gd name="T58" fmla="*/ 542 w 781"/>
                <a:gd name="T59" fmla="*/ 802 h 1054"/>
                <a:gd name="T60" fmla="*/ 568 w 781"/>
                <a:gd name="T61" fmla="*/ 792 h 1054"/>
                <a:gd name="T62" fmla="*/ 580 w 781"/>
                <a:gd name="T63" fmla="*/ 719 h 1054"/>
                <a:gd name="T64" fmla="*/ 603 w 781"/>
                <a:gd name="T65" fmla="*/ 656 h 1054"/>
                <a:gd name="T66" fmla="*/ 621 w 781"/>
                <a:gd name="T67" fmla="*/ 631 h 1054"/>
                <a:gd name="T68" fmla="*/ 642 w 781"/>
                <a:gd name="T69" fmla="*/ 596 h 1054"/>
                <a:gd name="T70" fmla="*/ 677 w 781"/>
                <a:gd name="T71" fmla="*/ 555 h 1054"/>
                <a:gd name="T72" fmla="*/ 691 w 781"/>
                <a:gd name="T73" fmla="*/ 471 h 1054"/>
                <a:gd name="T74" fmla="*/ 696 w 781"/>
                <a:gd name="T75" fmla="*/ 414 h 1054"/>
                <a:gd name="T76" fmla="*/ 703 w 781"/>
                <a:gd name="T77" fmla="*/ 346 h 1054"/>
                <a:gd name="T78" fmla="*/ 733 w 781"/>
                <a:gd name="T79" fmla="*/ 321 h 1054"/>
                <a:gd name="T80" fmla="*/ 781 w 781"/>
                <a:gd name="T81" fmla="*/ 271 h 1054"/>
                <a:gd name="T82" fmla="*/ 722 w 781"/>
                <a:gd name="T83" fmla="*/ 228 h 1054"/>
                <a:gd name="T84" fmla="*/ 708 w 781"/>
                <a:gd name="T85" fmla="*/ 127 h 1054"/>
                <a:gd name="T86" fmla="*/ 696 w 781"/>
                <a:gd name="T87" fmla="*/ 84 h 1054"/>
                <a:gd name="T88" fmla="*/ 661 w 781"/>
                <a:gd name="T89" fmla="*/ 23 h 1054"/>
                <a:gd name="T90" fmla="*/ 618 w 781"/>
                <a:gd name="T91" fmla="*/ 15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1" h="1054">
                  <a:moveTo>
                    <a:pt x="601" y="16"/>
                  </a:moveTo>
                  <a:cubicBezTo>
                    <a:pt x="601" y="16"/>
                    <a:pt x="601" y="39"/>
                    <a:pt x="591" y="43"/>
                  </a:cubicBezTo>
                  <a:cubicBezTo>
                    <a:pt x="581" y="47"/>
                    <a:pt x="579" y="43"/>
                    <a:pt x="569" y="46"/>
                  </a:cubicBezTo>
                  <a:cubicBezTo>
                    <a:pt x="559" y="49"/>
                    <a:pt x="560" y="70"/>
                    <a:pt x="547" y="77"/>
                  </a:cubicBezTo>
                  <a:cubicBezTo>
                    <a:pt x="534" y="84"/>
                    <a:pt x="522" y="59"/>
                    <a:pt x="522" y="59"/>
                  </a:cubicBezTo>
                  <a:cubicBezTo>
                    <a:pt x="443" y="56"/>
                    <a:pt x="443" y="56"/>
                    <a:pt x="443" y="56"/>
                  </a:cubicBezTo>
                  <a:cubicBezTo>
                    <a:pt x="443" y="56"/>
                    <a:pt x="445" y="46"/>
                    <a:pt x="438" y="48"/>
                  </a:cubicBezTo>
                  <a:cubicBezTo>
                    <a:pt x="431" y="50"/>
                    <a:pt x="429" y="60"/>
                    <a:pt x="429" y="60"/>
                  </a:cubicBezTo>
                  <a:cubicBezTo>
                    <a:pt x="143" y="56"/>
                    <a:pt x="143" y="56"/>
                    <a:pt x="143" y="56"/>
                  </a:cubicBezTo>
                  <a:cubicBezTo>
                    <a:pt x="144" y="164"/>
                    <a:pt x="144" y="164"/>
                    <a:pt x="144" y="164"/>
                  </a:cubicBezTo>
                  <a:cubicBezTo>
                    <a:pt x="96" y="165"/>
                    <a:pt x="96" y="165"/>
                    <a:pt x="96" y="165"/>
                  </a:cubicBezTo>
                  <a:cubicBezTo>
                    <a:pt x="101" y="398"/>
                    <a:pt x="101" y="398"/>
                    <a:pt x="101" y="398"/>
                  </a:cubicBezTo>
                  <a:cubicBezTo>
                    <a:pt x="101" y="398"/>
                    <a:pt x="69" y="393"/>
                    <a:pt x="56" y="397"/>
                  </a:cubicBezTo>
                  <a:cubicBezTo>
                    <a:pt x="43" y="401"/>
                    <a:pt x="52" y="412"/>
                    <a:pt x="54" y="420"/>
                  </a:cubicBezTo>
                  <a:cubicBezTo>
                    <a:pt x="56" y="428"/>
                    <a:pt x="47" y="428"/>
                    <a:pt x="41" y="434"/>
                  </a:cubicBezTo>
                  <a:cubicBezTo>
                    <a:pt x="35" y="440"/>
                    <a:pt x="37" y="452"/>
                    <a:pt x="37" y="452"/>
                  </a:cubicBezTo>
                  <a:cubicBezTo>
                    <a:pt x="27" y="452"/>
                    <a:pt x="27" y="452"/>
                    <a:pt x="27" y="452"/>
                  </a:cubicBezTo>
                  <a:cubicBezTo>
                    <a:pt x="30" y="468"/>
                    <a:pt x="30" y="468"/>
                    <a:pt x="30" y="468"/>
                  </a:cubicBezTo>
                  <a:cubicBezTo>
                    <a:pt x="35" y="479"/>
                    <a:pt x="35" y="479"/>
                    <a:pt x="35" y="479"/>
                  </a:cubicBezTo>
                  <a:cubicBezTo>
                    <a:pt x="24" y="486"/>
                    <a:pt x="24" y="486"/>
                    <a:pt x="24" y="486"/>
                  </a:cubicBezTo>
                  <a:cubicBezTo>
                    <a:pt x="24" y="486"/>
                    <a:pt x="9" y="494"/>
                    <a:pt x="15" y="504"/>
                  </a:cubicBezTo>
                  <a:cubicBezTo>
                    <a:pt x="21" y="514"/>
                    <a:pt x="24" y="518"/>
                    <a:pt x="22" y="527"/>
                  </a:cubicBezTo>
                  <a:cubicBezTo>
                    <a:pt x="20" y="536"/>
                    <a:pt x="6" y="536"/>
                    <a:pt x="3" y="547"/>
                  </a:cubicBezTo>
                  <a:cubicBezTo>
                    <a:pt x="0" y="558"/>
                    <a:pt x="6" y="563"/>
                    <a:pt x="11" y="565"/>
                  </a:cubicBezTo>
                  <a:cubicBezTo>
                    <a:pt x="16" y="567"/>
                    <a:pt x="21" y="557"/>
                    <a:pt x="28" y="560"/>
                  </a:cubicBezTo>
                  <a:cubicBezTo>
                    <a:pt x="35" y="563"/>
                    <a:pt x="33" y="590"/>
                    <a:pt x="33" y="590"/>
                  </a:cubicBezTo>
                  <a:cubicBezTo>
                    <a:pt x="42" y="598"/>
                    <a:pt x="42" y="598"/>
                    <a:pt x="42" y="598"/>
                  </a:cubicBezTo>
                  <a:cubicBezTo>
                    <a:pt x="31" y="603"/>
                    <a:pt x="31" y="603"/>
                    <a:pt x="31" y="603"/>
                  </a:cubicBezTo>
                  <a:cubicBezTo>
                    <a:pt x="35" y="620"/>
                    <a:pt x="35" y="620"/>
                    <a:pt x="35" y="620"/>
                  </a:cubicBezTo>
                  <a:cubicBezTo>
                    <a:pt x="35" y="620"/>
                    <a:pt x="44" y="621"/>
                    <a:pt x="56" y="634"/>
                  </a:cubicBezTo>
                  <a:cubicBezTo>
                    <a:pt x="68" y="647"/>
                    <a:pt x="50" y="643"/>
                    <a:pt x="50" y="643"/>
                  </a:cubicBezTo>
                  <a:cubicBezTo>
                    <a:pt x="52" y="659"/>
                    <a:pt x="52" y="659"/>
                    <a:pt x="52" y="659"/>
                  </a:cubicBezTo>
                  <a:cubicBezTo>
                    <a:pt x="52" y="659"/>
                    <a:pt x="89" y="692"/>
                    <a:pt x="93" y="714"/>
                  </a:cubicBezTo>
                  <a:cubicBezTo>
                    <a:pt x="97" y="736"/>
                    <a:pt x="82" y="743"/>
                    <a:pt x="81" y="753"/>
                  </a:cubicBezTo>
                  <a:cubicBezTo>
                    <a:pt x="80" y="763"/>
                    <a:pt x="89" y="760"/>
                    <a:pt x="89" y="760"/>
                  </a:cubicBezTo>
                  <a:cubicBezTo>
                    <a:pt x="83" y="771"/>
                    <a:pt x="83" y="771"/>
                    <a:pt x="83" y="771"/>
                  </a:cubicBezTo>
                  <a:cubicBezTo>
                    <a:pt x="117" y="774"/>
                    <a:pt x="117" y="774"/>
                    <a:pt x="117" y="774"/>
                  </a:cubicBezTo>
                  <a:cubicBezTo>
                    <a:pt x="117" y="781"/>
                    <a:pt x="117" y="781"/>
                    <a:pt x="117" y="781"/>
                  </a:cubicBezTo>
                  <a:cubicBezTo>
                    <a:pt x="117" y="781"/>
                    <a:pt x="110" y="789"/>
                    <a:pt x="116" y="797"/>
                  </a:cubicBezTo>
                  <a:cubicBezTo>
                    <a:pt x="122" y="805"/>
                    <a:pt x="152" y="803"/>
                    <a:pt x="152" y="803"/>
                  </a:cubicBezTo>
                  <a:cubicBezTo>
                    <a:pt x="152" y="816"/>
                    <a:pt x="152" y="816"/>
                    <a:pt x="152" y="816"/>
                  </a:cubicBezTo>
                  <a:cubicBezTo>
                    <a:pt x="152" y="816"/>
                    <a:pt x="168" y="815"/>
                    <a:pt x="171" y="826"/>
                  </a:cubicBezTo>
                  <a:cubicBezTo>
                    <a:pt x="174" y="837"/>
                    <a:pt x="159" y="831"/>
                    <a:pt x="165" y="841"/>
                  </a:cubicBezTo>
                  <a:cubicBezTo>
                    <a:pt x="171" y="851"/>
                    <a:pt x="185" y="853"/>
                    <a:pt x="192" y="854"/>
                  </a:cubicBezTo>
                  <a:cubicBezTo>
                    <a:pt x="199" y="855"/>
                    <a:pt x="208" y="878"/>
                    <a:pt x="208" y="878"/>
                  </a:cubicBezTo>
                  <a:cubicBezTo>
                    <a:pt x="208" y="878"/>
                    <a:pt x="223" y="879"/>
                    <a:pt x="223" y="887"/>
                  </a:cubicBezTo>
                  <a:cubicBezTo>
                    <a:pt x="223" y="895"/>
                    <a:pt x="216" y="889"/>
                    <a:pt x="217" y="895"/>
                  </a:cubicBezTo>
                  <a:cubicBezTo>
                    <a:pt x="218" y="901"/>
                    <a:pt x="225" y="904"/>
                    <a:pt x="225" y="904"/>
                  </a:cubicBezTo>
                  <a:cubicBezTo>
                    <a:pt x="224" y="917"/>
                    <a:pt x="224" y="917"/>
                    <a:pt x="224" y="917"/>
                  </a:cubicBezTo>
                  <a:cubicBezTo>
                    <a:pt x="239" y="918"/>
                    <a:pt x="239" y="918"/>
                    <a:pt x="239" y="918"/>
                  </a:cubicBezTo>
                  <a:cubicBezTo>
                    <a:pt x="239" y="918"/>
                    <a:pt x="248" y="924"/>
                    <a:pt x="256" y="932"/>
                  </a:cubicBezTo>
                  <a:cubicBezTo>
                    <a:pt x="264" y="940"/>
                    <a:pt x="260" y="954"/>
                    <a:pt x="260" y="954"/>
                  </a:cubicBezTo>
                  <a:cubicBezTo>
                    <a:pt x="264" y="962"/>
                    <a:pt x="264" y="962"/>
                    <a:pt x="264" y="962"/>
                  </a:cubicBezTo>
                  <a:cubicBezTo>
                    <a:pt x="285" y="981"/>
                    <a:pt x="285" y="981"/>
                    <a:pt x="285" y="981"/>
                  </a:cubicBezTo>
                  <a:cubicBezTo>
                    <a:pt x="285" y="995"/>
                    <a:pt x="285" y="995"/>
                    <a:pt x="285" y="995"/>
                  </a:cubicBezTo>
                  <a:cubicBezTo>
                    <a:pt x="316" y="1010"/>
                    <a:pt x="316" y="1010"/>
                    <a:pt x="316" y="1010"/>
                  </a:cubicBezTo>
                  <a:cubicBezTo>
                    <a:pt x="316" y="1010"/>
                    <a:pt x="324" y="994"/>
                    <a:pt x="333" y="994"/>
                  </a:cubicBezTo>
                  <a:cubicBezTo>
                    <a:pt x="342" y="994"/>
                    <a:pt x="343" y="1006"/>
                    <a:pt x="354" y="1006"/>
                  </a:cubicBezTo>
                  <a:cubicBezTo>
                    <a:pt x="365" y="1006"/>
                    <a:pt x="364" y="988"/>
                    <a:pt x="371" y="988"/>
                  </a:cubicBezTo>
                  <a:cubicBezTo>
                    <a:pt x="378" y="988"/>
                    <a:pt x="382" y="1005"/>
                    <a:pt x="390" y="1017"/>
                  </a:cubicBezTo>
                  <a:cubicBezTo>
                    <a:pt x="398" y="1029"/>
                    <a:pt x="417" y="1033"/>
                    <a:pt x="417" y="1033"/>
                  </a:cubicBezTo>
                  <a:cubicBezTo>
                    <a:pt x="420" y="1047"/>
                    <a:pt x="420" y="1047"/>
                    <a:pt x="420" y="1047"/>
                  </a:cubicBezTo>
                  <a:cubicBezTo>
                    <a:pt x="431" y="1049"/>
                    <a:pt x="431" y="1049"/>
                    <a:pt x="431" y="1049"/>
                  </a:cubicBezTo>
                  <a:cubicBezTo>
                    <a:pt x="431" y="1049"/>
                    <a:pt x="442" y="1036"/>
                    <a:pt x="447" y="1036"/>
                  </a:cubicBezTo>
                  <a:cubicBezTo>
                    <a:pt x="452" y="1036"/>
                    <a:pt x="461" y="1043"/>
                    <a:pt x="467" y="1044"/>
                  </a:cubicBezTo>
                  <a:cubicBezTo>
                    <a:pt x="473" y="1045"/>
                    <a:pt x="474" y="1037"/>
                    <a:pt x="474" y="1037"/>
                  </a:cubicBezTo>
                  <a:cubicBezTo>
                    <a:pt x="481" y="1036"/>
                    <a:pt x="481" y="1036"/>
                    <a:pt x="481" y="1036"/>
                  </a:cubicBezTo>
                  <a:cubicBezTo>
                    <a:pt x="495" y="1054"/>
                    <a:pt x="495" y="1054"/>
                    <a:pt x="495" y="1054"/>
                  </a:cubicBezTo>
                  <a:cubicBezTo>
                    <a:pt x="508" y="1039"/>
                    <a:pt x="508" y="1039"/>
                    <a:pt x="508" y="1039"/>
                  </a:cubicBezTo>
                  <a:cubicBezTo>
                    <a:pt x="524" y="1040"/>
                    <a:pt x="524" y="1040"/>
                    <a:pt x="524" y="1040"/>
                  </a:cubicBezTo>
                  <a:cubicBezTo>
                    <a:pt x="524" y="1040"/>
                    <a:pt x="531" y="1032"/>
                    <a:pt x="536" y="1032"/>
                  </a:cubicBezTo>
                  <a:cubicBezTo>
                    <a:pt x="541" y="1032"/>
                    <a:pt x="540" y="1038"/>
                    <a:pt x="553" y="1040"/>
                  </a:cubicBezTo>
                  <a:cubicBezTo>
                    <a:pt x="566" y="1042"/>
                    <a:pt x="575" y="1015"/>
                    <a:pt x="575" y="1015"/>
                  </a:cubicBezTo>
                  <a:cubicBezTo>
                    <a:pt x="583" y="1015"/>
                    <a:pt x="583" y="1015"/>
                    <a:pt x="583" y="1015"/>
                  </a:cubicBezTo>
                  <a:cubicBezTo>
                    <a:pt x="597" y="995"/>
                    <a:pt x="597" y="995"/>
                    <a:pt x="597" y="995"/>
                  </a:cubicBezTo>
                  <a:cubicBezTo>
                    <a:pt x="657" y="994"/>
                    <a:pt x="657" y="994"/>
                    <a:pt x="657" y="994"/>
                  </a:cubicBezTo>
                  <a:cubicBezTo>
                    <a:pt x="670" y="986"/>
                    <a:pt x="670" y="986"/>
                    <a:pt x="670" y="986"/>
                  </a:cubicBezTo>
                  <a:cubicBezTo>
                    <a:pt x="669" y="976"/>
                    <a:pt x="669" y="976"/>
                    <a:pt x="669" y="976"/>
                  </a:cubicBezTo>
                  <a:cubicBezTo>
                    <a:pt x="669" y="976"/>
                    <a:pt x="670" y="962"/>
                    <a:pt x="665" y="954"/>
                  </a:cubicBezTo>
                  <a:cubicBezTo>
                    <a:pt x="660" y="946"/>
                    <a:pt x="650" y="955"/>
                    <a:pt x="640" y="947"/>
                  </a:cubicBezTo>
                  <a:cubicBezTo>
                    <a:pt x="630" y="939"/>
                    <a:pt x="628" y="912"/>
                    <a:pt x="628" y="912"/>
                  </a:cubicBezTo>
                  <a:cubicBezTo>
                    <a:pt x="621" y="908"/>
                    <a:pt x="621" y="908"/>
                    <a:pt x="621" y="908"/>
                  </a:cubicBezTo>
                  <a:cubicBezTo>
                    <a:pt x="619" y="883"/>
                    <a:pt x="619" y="883"/>
                    <a:pt x="619" y="883"/>
                  </a:cubicBezTo>
                  <a:cubicBezTo>
                    <a:pt x="610" y="882"/>
                    <a:pt x="610" y="882"/>
                    <a:pt x="610" y="882"/>
                  </a:cubicBezTo>
                  <a:cubicBezTo>
                    <a:pt x="607" y="869"/>
                    <a:pt x="607" y="869"/>
                    <a:pt x="607" y="869"/>
                  </a:cubicBezTo>
                  <a:cubicBezTo>
                    <a:pt x="607" y="869"/>
                    <a:pt x="596" y="871"/>
                    <a:pt x="592" y="866"/>
                  </a:cubicBezTo>
                  <a:cubicBezTo>
                    <a:pt x="588" y="861"/>
                    <a:pt x="587" y="846"/>
                    <a:pt x="587" y="846"/>
                  </a:cubicBezTo>
                  <a:cubicBezTo>
                    <a:pt x="587" y="846"/>
                    <a:pt x="570" y="831"/>
                    <a:pt x="562" y="827"/>
                  </a:cubicBezTo>
                  <a:cubicBezTo>
                    <a:pt x="554" y="823"/>
                    <a:pt x="538" y="829"/>
                    <a:pt x="535" y="824"/>
                  </a:cubicBezTo>
                  <a:cubicBezTo>
                    <a:pt x="532" y="819"/>
                    <a:pt x="542" y="802"/>
                    <a:pt x="542" y="802"/>
                  </a:cubicBezTo>
                  <a:cubicBezTo>
                    <a:pt x="540" y="786"/>
                    <a:pt x="540" y="786"/>
                    <a:pt x="540" y="786"/>
                  </a:cubicBezTo>
                  <a:cubicBezTo>
                    <a:pt x="563" y="787"/>
                    <a:pt x="563" y="787"/>
                    <a:pt x="563" y="787"/>
                  </a:cubicBezTo>
                  <a:cubicBezTo>
                    <a:pt x="568" y="792"/>
                    <a:pt x="568" y="792"/>
                    <a:pt x="568" y="792"/>
                  </a:cubicBezTo>
                  <a:cubicBezTo>
                    <a:pt x="568" y="792"/>
                    <a:pt x="575" y="787"/>
                    <a:pt x="582" y="782"/>
                  </a:cubicBezTo>
                  <a:cubicBezTo>
                    <a:pt x="589" y="777"/>
                    <a:pt x="586" y="746"/>
                    <a:pt x="586" y="746"/>
                  </a:cubicBezTo>
                  <a:cubicBezTo>
                    <a:pt x="586" y="746"/>
                    <a:pt x="579" y="727"/>
                    <a:pt x="580" y="719"/>
                  </a:cubicBezTo>
                  <a:cubicBezTo>
                    <a:pt x="581" y="711"/>
                    <a:pt x="596" y="700"/>
                    <a:pt x="597" y="697"/>
                  </a:cubicBezTo>
                  <a:cubicBezTo>
                    <a:pt x="598" y="694"/>
                    <a:pt x="592" y="683"/>
                    <a:pt x="592" y="676"/>
                  </a:cubicBezTo>
                  <a:cubicBezTo>
                    <a:pt x="592" y="669"/>
                    <a:pt x="598" y="656"/>
                    <a:pt x="603" y="656"/>
                  </a:cubicBezTo>
                  <a:cubicBezTo>
                    <a:pt x="608" y="656"/>
                    <a:pt x="610" y="667"/>
                    <a:pt x="610" y="667"/>
                  </a:cubicBezTo>
                  <a:cubicBezTo>
                    <a:pt x="610" y="667"/>
                    <a:pt x="616" y="670"/>
                    <a:pt x="622" y="662"/>
                  </a:cubicBezTo>
                  <a:cubicBezTo>
                    <a:pt x="628" y="654"/>
                    <a:pt x="621" y="631"/>
                    <a:pt x="621" y="631"/>
                  </a:cubicBezTo>
                  <a:cubicBezTo>
                    <a:pt x="628" y="620"/>
                    <a:pt x="628" y="620"/>
                    <a:pt x="628" y="620"/>
                  </a:cubicBezTo>
                  <a:cubicBezTo>
                    <a:pt x="626" y="605"/>
                    <a:pt x="626" y="605"/>
                    <a:pt x="626" y="605"/>
                  </a:cubicBezTo>
                  <a:cubicBezTo>
                    <a:pt x="626" y="605"/>
                    <a:pt x="637" y="601"/>
                    <a:pt x="642" y="596"/>
                  </a:cubicBezTo>
                  <a:cubicBezTo>
                    <a:pt x="647" y="591"/>
                    <a:pt x="642" y="581"/>
                    <a:pt x="643" y="576"/>
                  </a:cubicBezTo>
                  <a:cubicBezTo>
                    <a:pt x="644" y="571"/>
                    <a:pt x="655" y="557"/>
                    <a:pt x="655" y="557"/>
                  </a:cubicBezTo>
                  <a:cubicBezTo>
                    <a:pt x="677" y="555"/>
                    <a:pt x="677" y="555"/>
                    <a:pt x="677" y="555"/>
                  </a:cubicBezTo>
                  <a:cubicBezTo>
                    <a:pt x="677" y="555"/>
                    <a:pt x="675" y="537"/>
                    <a:pt x="675" y="529"/>
                  </a:cubicBezTo>
                  <a:cubicBezTo>
                    <a:pt x="675" y="521"/>
                    <a:pt x="691" y="501"/>
                    <a:pt x="691" y="501"/>
                  </a:cubicBezTo>
                  <a:cubicBezTo>
                    <a:pt x="691" y="471"/>
                    <a:pt x="691" y="471"/>
                    <a:pt x="691" y="471"/>
                  </a:cubicBezTo>
                  <a:cubicBezTo>
                    <a:pt x="689" y="438"/>
                    <a:pt x="689" y="438"/>
                    <a:pt x="689" y="438"/>
                  </a:cubicBezTo>
                  <a:cubicBezTo>
                    <a:pt x="689" y="438"/>
                    <a:pt x="683" y="436"/>
                    <a:pt x="684" y="428"/>
                  </a:cubicBezTo>
                  <a:cubicBezTo>
                    <a:pt x="685" y="420"/>
                    <a:pt x="696" y="421"/>
                    <a:pt x="696" y="414"/>
                  </a:cubicBezTo>
                  <a:cubicBezTo>
                    <a:pt x="696" y="407"/>
                    <a:pt x="697" y="397"/>
                    <a:pt x="697" y="397"/>
                  </a:cubicBezTo>
                  <a:cubicBezTo>
                    <a:pt x="697" y="397"/>
                    <a:pt x="709" y="395"/>
                    <a:pt x="709" y="377"/>
                  </a:cubicBezTo>
                  <a:cubicBezTo>
                    <a:pt x="709" y="359"/>
                    <a:pt x="703" y="349"/>
                    <a:pt x="703" y="346"/>
                  </a:cubicBezTo>
                  <a:cubicBezTo>
                    <a:pt x="703" y="343"/>
                    <a:pt x="714" y="338"/>
                    <a:pt x="714" y="338"/>
                  </a:cubicBezTo>
                  <a:cubicBezTo>
                    <a:pt x="714" y="328"/>
                    <a:pt x="714" y="328"/>
                    <a:pt x="714" y="328"/>
                  </a:cubicBezTo>
                  <a:cubicBezTo>
                    <a:pt x="714" y="328"/>
                    <a:pt x="732" y="328"/>
                    <a:pt x="733" y="321"/>
                  </a:cubicBezTo>
                  <a:cubicBezTo>
                    <a:pt x="734" y="314"/>
                    <a:pt x="734" y="306"/>
                    <a:pt x="734" y="306"/>
                  </a:cubicBezTo>
                  <a:cubicBezTo>
                    <a:pt x="734" y="306"/>
                    <a:pt x="761" y="304"/>
                    <a:pt x="770" y="296"/>
                  </a:cubicBezTo>
                  <a:cubicBezTo>
                    <a:pt x="775" y="292"/>
                    <a:pt x="779" y="280"/>
                    <a:pt x="781" y="271"/>
                  </a:cubicBezTo>
                  <a:cubicBezTo>
                    <a:pt x="756" y="256"/>
                    <a:pt x="756" y="256"/>
                    <a:pt x="756" y="256"/>
                  </a:cubicBezTo>
                  <a:cubicBezTo>
                    <a:pt x="756" y="256"/>
                    <a:pt x="753" y="240"/>
                    <a:pt x="747" y="236"/>
                  </a:cubicBezTo>
                  <a:cubicBezTo>
                    <a:pt x="741" y="232"/>
                    <a:pt x="726" y="242"/>
                    <a:pt x="722" y="228"/>
                  </a:cubicBezTo>
                  <a:cubicBezTo>
                    <a:pt x="718" y="214"/>
                    <a:pt x="717" y="176"/>
                    <a:pt x="717" y="176"/>
                  </a:cubicBezTo>
                  <a:cubicBezTo>
                    <a:pt x="710" y="174"/>
                    <a:pt x="710" y="174"/>
                    <a:pt x="710" y="174"/>
                  </a:cubicBezTo>
                  <a:cubicBezTo>
                    <a:pt x="710" y="174"/>
                    <a:pt x="708" y="132"/>
                    <a:pt x="708" y="127"/>
                  </a:cubicBezTo>
                  <a:cubicBezTo>
                    <a:pt x="708" y="122"/>
                    <a:pt x="703" y="111"/>
                    <a:pt x="703" y="111"/>
                  </a:cubicBezTo>
                  <a:cubicBezTo>
                    <a:pt x="715" y="108"/>
                    <a:pt x="715" y="108"/>
                    <a:pt x="715" y="108"/>
                  </a:cubicBezTo>
                  <a:cubicBezTo>
                    <a:pt x="715" y="108"/>
                    <a:pt x="697" y="93"/>
                    <a:pt x="696" y="84"/>
                  </a:cubicBezTo>
                  <a:cubicBezTo>
                    <a:pt x="695" y="75"/>
                    <a:pt x="701" y="59"/>
                    <a:pt x="693" y="53"/>
                  </a:cubicBezTo>
                  <a:cubicBezTo>
                    <a:pt x="685" y="47"/>
                    <a:pt x="674" y="39"/>
                    <a:pt x="674" y="39"/>
                  </a:cubicBezTo>
                  <a:cubicBezTo>
                    <a:pt x="674" y="39"/>
                    <a:pt x="665" y="27"/>
                    <a:pt x="661" y="23"/>
                  </a:cubicBezTo>
                  <a:cubicBezTo>
                    <a:pt x="657" y="19"/>
                    <a:pt x="656" y="26"/>
                    <a:pt x="650" y="22"/>
                  </a:cubicBezTo>
                  <a:cubicBezTo>
                    <a:pt x="646" y="19"/>
                    <a:pt x="639" y="10"/>
                    <a:pt x="634" y="0"/>
                  </a:cubicBezTo>
                  <a:cubicBezTo>
                    <a:pt x="618" y="15"/>
                    <a:pt x="618" y="15"/>
                    <a:pt x="618" y="15"/>
                  </a:cubicBezTo>
                  <a:lnTo>
                    <a:pt x="601" y="16"/>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96" name="Equatorial Guinea">
              <a:extLst>
                <a:ext uri="{FF2B5EF4-FFF2-40B4-BE49-F238E27FC236}">
                  <a16:creationId xmlns:a16="http://schemas.microsoft.com/office/drawing/2014/main" id="{D90E856D-8FF1-4CF9-8FD1-D25545A7FB1B}"/>
                </a:ext>
              </a:extLst>
            </p:cNvPr>
            <p:cNvSpPr>
              <a:spLocks/>
            </p:cNvSpPr>
            <p:nvPr/>
          </p:nvSpPr>
          <p:spPr bwMode="gray">
            <a:xfrm>
              <a:off x="5636694" y="3720297"/>
              <a:ext cx="126859" cy="88031"/>
            </a:xfrm>
            <a:custGeom>
              <a:avLst/>
              <a:gdLst>
                <a:gd name="T0" fmla="*/ 97 w 103"/>
                <a:gd name="T1" fmla="*/ 29 h 71"/>
                <a:gd name="T2" fmla="*/ 100 w 103"/>
                <a:gd name="T3" fmla="*/ 6 h 71"/>
                <a:gd name="T4" fmla="*/ 36 w 103"/>
                <a:gd name="T5" fmla="*/ 6 h 71"/>
                <a:gd name="T6" fmla="*/ 30 w 103"/>
                <a:gd name="T7" fmla="*/ 0 h 71"/>
                <a:gd name="T8" fmla="*/ 24 w 103"/>
                <a:gd name="T9" fmla="*/ 3 h 71"/>
                <a:gd name="T10" fmla="*/ 23 w 103"/>
                <a:gd name="T11" fmla="*/ 29 h 71"/>
                <a:gd name="T12" fmla="*/ 4 w 103"/>
                <a:gd name="T13" fmla="*/ 57 h 71"/>
                <a:gd name="T14" fmla="*/ 21 w 103"/>
                <a:gd name="T15" fmla="*/ 67 h 71"/>
                <a:gd name="T16" fmla="*/ 29 w 103"/>
                <a:gd name="T17" fmla="*/ 65 h 71"/>
                <a:gd name="T18" fmla="*/ 31 w 103"/>
                <a:gd name="T19" fmla="*/ 71 h 71"/>
                <a:gd name="T20" fmla="*/ 98 w 103"/>
                <a:gd name="T21" fmla="*/ 69 h 71"/>
                <a:gd name="T22" fmla="*/ 103 w 103"/>
                <a:gd name="T23" fmla="*/ 33 h 71"/>
                <a:gd name="T24" fmla="*/ 97 w 103"/>
                <a:gd name="T25" fmla="*/ 2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71">
                  <a:moveTo>
                    <a:pt x="97" y="29"/>
                  </a:moveTo>
                  <a:cubicBezTo>
                    <a:pt x="100" y="6"/>
                    <a:pt x="100" y="6"/>
                    <a:pt x="100" y="6"/>
                  </a:cubicBezTo>
                  <a:cubicBezTo>
                    <a:pt x="36" y="6"/>
                    <a:pt x="36" y="6"/>
                    <a:pt x="36" y="6"/>
                  </a:cubicBezTo>
                  <a:cubicBezTo>
                    <a:pt x="30" y="0"/>
                    <a:pt x="30" y="0"/>
                    <a:pt x="30" y="0"/>
                  </a:cubicBezTo>
                  <a:cubicBezTo>
                    <a:pt x="24" y="3"/>
                    <a:pt x="24" y="3"/>
                    <a:pt x="24" y="3"/>
                  </a:cubicBezTo>
                  <a:cubicBezTo>
                    <a:pt x="24" y="3"/>
                    <a:pt x="28" y="21"/>
                    <a:pt x="23" y="29"/>
                  </a:cubicBezTo>
                  <a:cubicBezTo>
                    <a:pt x="18" y="37"/>
                    <a:pt x="0" y="50"/>
                    <a:pt x="4" y="57"/>
                  </a:cubicBezTo>
                  <a:cubicBezTo>
                    <a:pt x="7" y="63"/>
                    <a:pt x="17" y="66"/>
                    <a:pt x="21" y="67"/>
                  </a:cubicBezTo>
                  <a:cubicBezTo>
                    <a:pt x="29" y="65"/>
                    <a:pt x="29" y="65"/>
                    <a:pt x="29" y="65"/>
                  </a:cubicBezTo>
                  <a:cubicBezTo>
                    <a:pt x="31" y="71"/>
                    <a:pt x="31" y="71"/>
                    <a:pt x="31" y="71"/>
                  </a:cubicBezTo>
                  <a:cubicBezTo>
                    <a:pt x="31" y="71"/>
                    <a:pt x="93" y="70"/>
                    <a:pt x="98" y="69"/>
                  </a:cubicBezTo>
                  <a:cubicBezTo>
                    <a:pt x="103" y="68"/>
                    <a:pt x="103" y="33"/>
                    <a:pt x="103" y="33"/>
                  </a:cubicBezTo>
                  <a:lnTo>
                    <a:pt x="97" y="29"/>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97" name="South Africa">
              <a:extLst>
                <a:ext uri="{FF2B5EF4-FFF2-40B4-BE49-F238E27FC236}">
                  <a16:creationId xmlns:a16="http://schemas.microsoft.com/office/drawing/2014/main" id="{D454201B-9257-49A1-98BA-183BE1B8E71E}"/>
                </a:ext>
              </a:extLst>
            </p:cNvPr>
            <p:cNvSpPr>
              <a:spLocks noEditPoints="1"/>
            </p:cNvSpPr>
            <p:nvPr/>
          </p:nvSpPr>
          <p:spPr bwMode="gray">
            <a:xfrm>
              <a:off x="6045463" y="5350598"/>
              <a:ext cx="944396" cy="848603"/>
            </a:xfrm>
            <a:custGeom>
              <a:avLst/>
              <a:gdLst>
                <a:gd name="T0" fmla="*/ 725 w 759"/>
                <a:gd name="T1" fmla="*/ 254 h 682"/>
                <a:gd name="T2" fmla="*/ 696 w 759"/>
                <a:gd name="T3" fmla="*/ 278 h 682"/>
                <a:gd name="T4" fmla="*/ 673 w 759"/>
                <a:gd name="T5" fmla="*/ 221 h 682"/>
                <a:gd name="T6" fmla="*/ 708 w 759"/>
                <a:gd name="T7" fmla="*/ 206 h 682"/>
                <a:gd name="T8" fmla="*/ 727 w 759"/>
                <a:gd name="T9" fmla="*/ 125 h 682"/>
                <a:gd name="T10" fmla="*/ 696 w 759"/>
                <a:gd name="T11" fmla="*/ 15 h 682"/>
                <a:gd name="T12" fmla="*/ 649 w 759"/>
                <a:gd name="T13" fmla="*/ 8 h 682"/>
                <a:gd name="T14" fmla="*/ 586 w 759"/>
                <a:gd name="T15" fmla="*/ 2 h 682"/>
                <a:gd name="T16" fmla="*/ 549 w 759"/>
                <a:gd name="T17" fmla="*/ 25 h 682"/>
                <a:gd name="T18" fmla="*/ 495 w 759"/>
                <a:gd name="T19" fmla="*/ 77 h 682"/>
                <a:gd name="T20" fmla="*/ 461 w 759"/>
                <a:gd name="T21" fmla="*/ 137 h 682"/>
                <a:gd name="T22" fmla="*/ 436 w 759"/>
                <a:gd name="T23" fmla="*/ 152 h 682"/>
                <a:gd name="T24" fmla="*/ 402 w 759"/>
                <a:gd name="T25" fmla="*/ 192 h 682"/>
                <a:gd name="T26" fmla="*/ 364 w 759"/>
                <a:gd name="T27" fmla="*/ 190 h 682"/>
                <a:gd name="T28" fmla="*/ 337 w 759"/>
                <a:gd name="T29" fmla="*/ 179 h 682"/>
                <a:gd name="T30" fmla="*/ 290 w 759"/>
                <a:gd name="T31" fmla="*/ 212 h 682"/>
                <a:gd name="T32" fmla="*/ 263 w 759"/>
                <a:gd name="T33" fmla="*/ 240 h 682"/>
                <a:gd name="T34" fmla="*/ 244 w 759"/>
                <a:gd name="T35" fmla="*/ 251 h 682"/>
                <a:gd name="T36" fmla="*/ 193 w 759"/>
                <a:gd name="T37" fmla="*/ 231 h 682"/>
                <a:gd name="T38" fmla="*/ 196 w 759"/>
                <a:gd name="T39" fmla="*/ 189 h 682"/>
                <a:gd name="T40" fmla="*/ 166 w 759"/>
                <a:gd name="T41" fmla="*/ 143 h 682"/>
                <a:gd name="T42" fmla="*/ 142 w 759"/>
                <a:gd name="T43" fmla="*/ 343 h 682"/>
                <a:gd name="T44" fmla="*/ 129 w 759"/>
                <a:gd name="T45" fmla="*/ 353 h 682"/>
                <a:gd name="T46" fmla="*/ 114 w 759"/>
                <a:gd name="T47" fmla="*/ 367 h 682"/>
                <a:gd name="T48" fmla="*/ 88 w 759"/>
                <a:gd name="T49" fmla="*/ 369 h 682"/>
                <a:gd name="T50" fmla="*/ 65 w 759"/>
                <a:gd name="T51" fmla="*/ 357 h 682"/>
                <a:gd name="T52" fmla="*/ 41 w 759"/>
                <a:gd name="T53" fmla="*/ 330 h 682"/>
                <a:gd name="T54" fmla="*/ 12 w 759"/>
                <a:gd name="T55" fmla="*/ 340 h 682"/>
                <a:gd name="T56" fmla="*/ 0 w 759"/>
                <a:gd name="T57" fmla="*/ 345 h 682"/>
                <a:gd name="T58" fmla="*/ 31 w 759"/>
                <a:gd name="T59" fmla="*/ 407 h 682"/>
                <a:gd name="T60" fmla="*/ 83 w 759"/>
                <a:gd name="T61" fmla="*/ 523 h 682"/>
                <a:gd name="T62" fmla="*/ 61 w 759"/>
                <a:gd name="T63" fmla="*/ 572 h 682"/>
                <a:gd name="T64" fmla="*/ 81 w 759"/>
                <a:gd name="T65" fmla="*/ 649 h 682"/>
                <a:gd name="T66" fmla="*/ 103 w 759"/>
                <a:gd name="T67" fmla="*/ 650 h 682"/>
                <a:gd name="T68" fmla="*/ 145 w 759"/>
                <a:gd name="T69" fmla="*/ 679 h 682"/>
                <a:gd name="T70" fmla="*/ 233 w 759"/>
                <a:gd name="T71" fmla="*/ 662 h 682"/>
                <a:gd name="T72" fmla="*/ 292 w 759"/>
                <a:gd name="T73" fmla="*/ 646 h 682"/>
                <a:gd name="T74" fmla="*/ 366 w 759"/>
                <a:gd name="T75" fmla="*/ 646 h 682"/>
                <a:gd name="T76" fmla="*/ 406 w 759"/>
                <a:gd name="T77" fmla="*/ 637 h 682"/>
                <a:gd name="T78" fmla="*/ 473 w 759"/>
                <a:gd name="T79" fmla="*/ 617 h 682"/>
                <a:gd name="T80" fmla="*/ 538 w 759"/>
                <a:gd name="T81" fmla="*/ 565 h 682"/>
                <a:gd name="T82" fmla="*/ 615 w 759"/>
                <a:gd name="T83" fmla="*/ 500 h 682"/>
                <a:gd name="T84" fmla="*/ 686 w 759"/>
                <a:gd name="T85" fmla="*/ 379 h 682"/>
                <a:gd name="T86" fmla="*/ 748 w 759"/>
                <a:gd name="T87" fmla="*/ 297 h 682"/>
                <a:gd name="T88" fmla="*/ 746 w 759"/>
                <a:gd name="T89" fmla="*/ 250 h 682"/>
                <a:gd name="T90" fmla="*/ 563 w 759"/>
                <a:gd name="T91" fmla="*/ 428 h 682"/>
                <a:gd name="T92" fmla="*/ 531 w 759"/>
                <a:gd name="T93" fmla="*/ 456 h 682"/>
                <a:gd name="T94" fmla="*/ 498 w 759"/>
                <a:gd name="T95" fmla="*/ 437 h 682"/>
                <a:gd name="T96" fmla="*/ 481 w 759"/>
                <a:gd name="T97" fmla="*/ 401 h 682"/>
                <a:gd name="T98" fmla="*/ 500 w 759"/>
                <a:gd name="T99" fmla="*/ 389 h 682"/>
                <a:gd name="T100" fmla="*/ 519 w 759"/>
                <a:gd name="T101" fmla="*/ 362 h 682"/>
                <a:gd name="T102" fmla="*/ 535 w 759"/>
                <a:gd name="T103" fmla="*/ 351 h 682"/>
                <a:gd name="T104" fmla="*/ 564 w 759"/>
                <a:gd name="T105" fmla="*/ 349 h 682"/>
                <a:gd name="T106" fmla="*/ 591 w 759"/>
                <a:gd name="T107" fmla="*/ 377 h 682"/>
                <a:gd name="T108" fmla="*/ 577 w 759"/>
                <a:gd name="T109" fmla="*/ 40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59" h="682">
                  <a:moveTo>
                    <a:pt x="746" y="250"/>
                  </a:moveTo>
                  <a:cubicBezTo>
                    <a:pt x="738" y="246"/>
                    <a:pt x="725" y="254"/>
                    <a:pt x="725" y="254"/>
                  </a:cubicBezTo>
                  <a:cubicBezTo>
                    <a:pt x="718" y="279"/>
                    <a:pt x="718" y="279"/>
                    <a:pt x="718" y="279"/>
                  </a:cubicBezTo>
                  <a:cubicBezTo>
                    <a:pt x="718" y="279"/>
                    <a:pt x="703" y="278"/>
                    <a:pt x="696" y="278"/>
                  </a:cubicBezTo>
                  <a:cubicBezTo>
                    <a:pt x="689" y="278"/>
                    <a:pt x="666" y="262"/>
                    <a:pt x="664" y="250"/>
                  </a:cubicBezTo>
                  <a:cubicBezTo>
                    <a:pt x="662" y="238"/>
                    <a:pt x="670" y="225"/>
                    <a:pt x="673" y="221"/>
                  </a:cubicBezTo>
                  <a:cubicBezTo>
                    <a:pt x="676" y="217"/>
                    <a:pt x="682" y="192"/>
                    <a:pt x="689" y="192"/>
                  </a:cubicBezTo>
                  <a:cubicBezTo>
                    <a:pt x="696" y="192"/>
                    <a:pt x="708" y="206"/>
                    <a:pt x="708" y="206"/>
                  </a:cubicBezTo>
                  <a:cubicBezTo>
                    <a:pt x="726" y="182"/>
                    <a:pt x="726" y="182"/>
                    <a:pt x="726" y="182"/>
                  </a:cubicBezTo>
                  <a:cubicBezTo>
                    <a:pt x="726" y="182"/>
                    <a:pt x="726" y="134"/>
                    <a:pt x="727" y="125"/>
                  </a:cubicBezTo>
                  <a:cubicBezTo>
                    <a:pt x="728" y="116"/>
                    <a:pt x="707" y="84"/>
                    <a:pt x="705" y="75"/>
                  </a:cubicBezTo>
                  <a:cubicBezTo>
                    <a:pt x="703" y="66"/>
                    <a:pt x="696" y="15"/>
                    <a:pt x="696" y="15"/>
                  </a:cubicBezTo>
                  <a:cubicBezTo>
                    <a:pt x="684" y="8"/>
                    <a:pt x="684" y="8"/>
                    <a:pt x="684" y="8"/>
                  </a:cubicBezTo>
                  <a:cubicBezTo>
                    <a:pt x="684" y="8"/>
                    <a:pt x="657" y="9"/>
                    <a:pt x="649" y="8"/>
                  </a:cubicBezTo>
                  <a:cubicBezTo>
                    <a:pt x="641" y="7"/>
                    <a:pt x="625" y="0"/>
                    <a:pt x="625" y="0"/>
                  </a:cubicBezTo>
                  <a:cubicBezTo>
                    <a:pt x="586" y="2"/>
                    <a:pt x="586" y="2"/>
                    <a:pt x="586" y="2"/>
                  </a:cubicBezTo>
                  <a:cubicBezTo>
                    <a:pt x="578" y="18"/>
                    <a:pt x="578" y="18"/>
                    <a:pt x="578" y="18"/>
                  </a:cubicBezTo>
                  <a:cubicBezTo>
                    <a:pt x="578" y="18"/>
                    <a:pt x="554" y="19"/>
                    <a:pt x="549" y="25"/>
                  </a:cubicBezTo>
                  <a:cubicBezTo>
                    <a:pt x="544" y="31"/>
                    <a:pt x="530" y="57"/>
                    <a:pt x="519" y="64"/>
                  </a:cubicBezTo>
                  <a:cubicBezTo>
                    <a:pt x="508" y="71"/>
                    <a:pt x="505" y="70"/>
                    <a:pt x="495" y="77"/>
                  </a:cubicBezTo>
                  <a:cubicBezTo>
                    <a:pt x="485" y="84"/>
                    <a:pt x="484" y="107"/>
                    <a:pt x="484" y="113"/>
                  </a:cubicBezTo>
                  <a:cubicBezTo>
                    <a:pt x="484" y="119"/>
                    <a:pt x="461" y="137"/>
                    <a:pt x="461" y="137"/>
                  </a:cubicBezTo>
                  <a:cubicBezTo>
                    <a:pt x="450" y="140"/>
                    <a:pt x="450" y="140"/>
                    <a:pt x="450" y="140"/>
                  </a:cubicBezTo>
                  <a:cubicBezTo>
                    <a:pt x="436" y="152"/>
                    <a:pt x="436" y="152"/>
                    <a:pt x="436" y="152"/>
                  </a:cubicBezTo>
                  <a:cubicBezTo>
                    <a:pt x="436" y="152"/>
                    <a:pt x="432" y="185"/>
                    <a:pt x="421" y="192"/>
                  </a:cubicBezTo>
                  <a:cubicBezTo>
                    <a:pt x="410" y="199"/>
                    <a:pt x="402" y="192"/>
                    <a:pt x="402" y="192"/>
                  </a:cubicBezTo>
                  <a:cubicBezTo>
                    <a:pt x="402" y="192"/>
                    <a:pt x="399" y="197"/>
                    <a:pt x="389" y="199"/>
                  </a:cubicBezTo>
                  <a:cubicBezTo>
                    <a:pt x="379" y="201"/>
                    <a:pt x="364" y="190"/>
                    <a:pt x="364" y="190"/>
                  </a:cubicBezTo>
                  <a:cubicBezTo>
                    <a:pt x="347" y="189"/>
                    <a:pt x="347" y="189"/>
                    <a:pt x="347" y="189"/>
                  </a:cubicBezTo>
                  <a:cubicBezTo>
                    <a:pt x="337" y="179"/>
                    <a:pt x="337" y="179"/>
                    <a:pt x="337" y="179"/>
                  </a:cubicBezTo>
                  <a:cubicBezTo>
                    <a:pt x="337" y="179"/>
                    <a:pt x="321" y="167"/>
                    <a:pt x="308" y="167"/>
                  </a:cubicBezTo>
                  <a:cubicBezTo>
                    <a:pt x="295" y="167"/>
                    <a:pt x="290" y="205"/>
                    <a:pt x="290" y="212"/>
                  </a:cubicBezTo>
                  <a:cubicBezTo>
                    <a:pt x="290" y="219"/>
                    <a:pt x="279" y="217"/>
                    <a:pt x="272" y="220"/>
                  </a:cubicBezTo>
                  <a:cubicBezTo>
                    <a:pt x="265" y="223"/>
                    <a:pt x="263" y="240"/>
                    <a:pt x="263" y="240"/>
                  </a:cubicBezTo>
                  <a:cubicBezTo>
                    <a:pt x="263" y="240"/>
                    <a:pt x="253" y="238"/>
                    <a:pt x="249" y="239"/>
                  </a:cubicBezTo>
                  <a:cubicBezTo>
                    <a:pt x="245" y="240"/>
                    <a:pt x="244" y="251"/>
                    <a:pt x="244" y="251"/>
                  </a:cubicBezTo>
                  <a:cubicBezTo>
                    <a:pt x="244" y="251"/>
                    <a:pt x="198" y="256"/>
                    <a:pt x="193" y="253"/>
                  </a:cubicBezTo>
                  <a:cubicBezTo>
                    <a:pt x="188" y="250"/>
                    <a:pt x="193" y="231"/>
                    <a:pt x="193" y="231"/>
                  </a:cubicBezTo>
                  <a:cubicBezTo>
                    <a:pt x="193" y="231"/>
                    <a:pt x="201" y="218"/>
                    <a:pt x="203" y="209"/>
                  </a:cubicBezTo>
                  <a:cubicBezTo>
                    <a:pt x="205" y="200"/>
                    <a:pt x="196" y="189"/>
                    <a:pt x="196" y="189"/>
                  </a:cubicBezTo>
                  <a:cubicBezTo>
                    <a:pt x="196" y="189"/>
                    <a:pt x="197" y="179"/>
                    <a:pt x="188" y="160"/>
                  </a:cubicBezTo>
                  <a:cubicBezTo>
                    <a:pt x="184" y="152"/>
                    <a:pt x="175" y="147"/>
                    <a:pt x="166" y="143"/>
                  </a:cubicBezTo>
                  <a:cubicBezTo>
                    <a:pt x="163" y="339"/>
                    <a:pt x="163" y="339"/>
                    <a:pt x="163" y="339"/>
                  </a:cubicBezTo>
                  <a:cubicBezTo>
                    <a:pt x="163" y="339"/>
                    <a:pt x="149" y="340"/>
                    <a:pt x="142" y="343"/>
                  </a:cubicBezTo>
                  <a:cubicBezTo>
                    <a:pt x="135" y="346"/>
                    <a:pt x="137" y="351"/>
                    <a:pt x="137" y="351"/>
                  </a:cubicBezTo>
                  <a:cubicBezTo>
                    <a:pt x="129" y="353"/>
                    <a:pt x="129" y="353"/>
                    <a:pt x="129" y="353"/>
                  </a:cubicBezTo>
                  <a:cubicBezTo>
                    <a:pt x="129" y="353"/>
                    <a:pt x="132" y="367"/>
                    <a:pt x="126" y="367"/>
                  </a:cubicBezTo>
                  <a:cubicBezTo>
                    <a:pt x="121" y="367"/>
                    <a:pt x="114" y="367"/>
                    <a:pt x="114" y="367"/>
                  </a:cubicBezTo>
                  <a:cubicBezTo>
                    <a:pt x="114" y="367"/>
                    <a:pt x="110" y="361"/>
                    <a:pt x="102" y="361"/>
                  </a:cubicBezTo>
                  <a:cubicBezTo>
                    <a:pt x="94" y="361"/>
                    <a:pt x="88" y="369"/>
                    <a:pt x="88" y="369"/>
                  </a:cubicBezTo>
                  <a:cubicBezTo>
                    <a:pt x="76" y="369"/>
                    <a:pt x="76" y="369"/>
                    <a:pt x="76" y="369"/>
                  </a:cubicBezTo>
                  <a:cubicBezTo>
                    <a:pt x="76" y="369"/>
                    <a:pt x="72" y="361"/>
                    <a:pt x="65" y="357"/>
                  </a:cubicBezTo>
                  <a:cubicBezTo>
                    <a:pt x="58" y="353"/>
                    <a:pt x="49" y="359"/>
                    <a:pt x="45" y="352"/>
                  </a:cubicBezTo>
                  <a:cubicBezTo>
                    <a:pt x="40" y="345"/>
                    <a:pt x="41" y="330"/>
                    <a:pt x="41" y="330"/>
                  </a:cubicBezTo>
                  <a:cubicBezTo>
                    <a:pt x="41" y="330"/>
                    <a:pt x="31" y="318"/>
                    <a:pt x="27" y="317"/>
                  </a:cubicBezTo>
                  <a:cubicBezTo>
                    <a:pt x="23" y="316"/>
                    <a:pt x="12" y="340"/>
                    <a:pt x="12" y="340"/>
                  </a:cubicBezTo>
                  <a:cubicBezTo>
                    <a:pt x="0" y="346"/>
                    <a:pt x="0" y="346"/>
                    <a:pt x="0" y="346"/>
                  </a:cubicBezTo>
                  <a:cubicBezTo>
                    <a:pt x="0" y="345"/>
                    <a:pt x="0" y="345"/>
                    <a:pt x="0" y="345"/>
                  </a:cubicBezTo>
                  <a:cubicBezTo>
                    <a:pt x="0" y="345"/>
                    <a:pt x="7" y="368"/>
                    <a:pt x="11" y="372"/>
                  </a:cubicBezTo>
                  <a:cubicBezTo>
                    <a:pt x="15" y="376"/>
                    <a:pt x="31" y="394"/>
                    <a:pt x="31" y="407"/>
                  </a:cubicBezTo>
                  <a:cubicBezTo>
                    <a:pt x="31" y="420"/>
                    <a:pt x="28" y="446"/>
                    <a:pt x="38" y="461"/>
                  </a:cubicBezTo>
                  <a:cubicBezTo>
                    <a:pt x="48" y="476"/>
                    <a:pt x="83" y="509"/>
                    <a:pt x="83" y="523"/>
                  </a:cubicBezTo>
                  <a:cubicBezTo>
                    <a:pt x="83" y="537"/>
                    <a:pt x="82" y="564"/>
                    <a:pt x="78" y="568"/>
                  </a:cubicBezTo>
                  <a:cubicBezTo>
                    <a:pt x="74" y="572"/>
                    <a:pt x="62" y="564"/>
                    <a:pt x="61" y="572"/>
                  </a:cubicBezTo>
                  <a:cubicBezTo>
                    <a:pt x="60" y="580"/>
                    <a:pt x="63" y="588"/>
                    <a:pt x="73" y="605"/>
                  </a:cubicBezTo>
                  <a:cubicBezTo>
                    <a:pt x="83" y="622"/>
                    <a:pt x="75" y="641"/>
                    <a:pt x="81" y="649"/>
                  </a:cubicBezTo>
                  <a:cubicBezTo>
                    <a:pt x="87" y="657"/>
                    <a:pt x="84" y="646"/>
                    <a:pt x="90" y="643"/>
                  </a:cubicBezTo>
                  <a:cubicBezTo>
                    <a:pt x="96" y="640"/>
                    <a:pt x="103" y="650"/>
                    <a:pt x="103" y="650"/>
                  </a:cubicBezTo>
                  <a:cubicBezTo>
                    <a:pt x="121" y="656"/>
                    <a:pt x="121" y="656"/>
                    <a:pt x="121" y="656"/>
                  </a:cubicBezTo>
                  <a:cubicBezTo>
                    <a:pt x="121" y="656"/>
                    <a:pt x="126" y="682"/>
                    <a:pt x="145" y="679"/>
                  </a:cubicBezTo>
                  <a:cubicBezTo>
                    <a:pt x="164" y="676"/>
                    <a:pt x="165" y="662"/>
                    <a:pt x="177" y="658"/>
                  </a:cubicBezTo>
                  <a:cubicBezTo>
                    <a:pt x="189" y="654"/>
                    <a:pt x="224" y="665"/>
                    <a:pt x="233" y="662"/>
                  </a:cubicBezTo>
                  <a:cubicBezTo>
                    <a:pt x="242" y="659"/>
                    <a:pt x="238" y="638"/>
                    <a:pt x="261" y="638"/>
                  </a:cubicBezTo>
                  <a:cubicBezTo>
                    <a:pt x="284" y="638"/>
                    <a:pt x="292" y="646"/>
                    <a:pt x="292" y="646"/>
                  </a:cubicBezTo>
                  <a:cubicBezTo>
                    <a:pt x="292" y="646"/>
                    <a:pt x="303" y="635"/>
                    <a:pt x="326" y="636"/>
                  </a:cubicBezTo>
                  <a:cubicBezTo>
                    <a:pt x="349" y="637"/>
                    <a:pt x="361" y="647"/>
                    <a:pt x="366" y="646"/>
                  </a:cubicBezTo>
                  <a:cubicBezTo>
                    <a:pt x="371" y="645"/>
                    <a:pt x="383" y="635"/>
                    <a:pt x="383" y="635"/>
                  </a:cubicBezTo>
                  <a:cubicBezTo>
                    <a:pt x="383" y="635"/>
                    <a:pt x="397" y="642"/>
                    <a:pt x="406" y="637"/>
                  </a:cubicBezTo>
                  <a:cubicBezTo>
                    <a:pt x="415" y="632"/>
                    <a:pt x="427" y="624"/>
                    <a:pt x="427" y="624"/>
                  </a:cubicBezTo>
                  <a:cubicBezTo>
                    <a:pt x="427" y="624"/>
                    <a:pt x="451" y="632"/>
                    <a:pt x="473" y="617"/>
                  </a:cubicBezTo>
                  <a:cubicBezTo>
                    <a:pt x="495" y="602"/>
                    <a:pt x="525" y="573"/>
                    <a:pt x="525" y="573"/>
                  </a:cubicBezTo>
                  <a:cubicBezTo>
                    <a:pt x="538" y="565"/>
                    <a:pt x="538" y="565"/>
                    <a:pt x="538" y="565"/>
                  </a:cubicBezTo>
                  <a:cubicBezTo>
                    <a:pt x="600" y="499"/>
                    <a:pt x="600" y="499"/>
                    <a:pt x="600" y="499"/>
                  </a:cubicBezTo>
                  <a:cubicBezTo>
                    <a:pt x="615" y="500"/>
                    <a:pt x="615" y="500"/>
                    <a:pt x="615" y="500"/>
                  </a:cubicBezTo>
                  <a:cubicBezTo>
                    <a:pt x="615" y="500"/>
                    <a:pt x="652" y="449"/>
                    <a:pt x="656" y="435"/>
                  </a:cubicBezTo>
                  <a:cubicBezTo>
                    <a:pt x="660" y="421"/>
                    <a:pt x="677" y="385"/>
                    <a:pt x="686" y="379"/>
                  </a:cubicBezTo>
                  <a:cubicBezTo>
                    <a:pt x="695" y="373"/>
                    <a:pt x="726" y="360"/>
                    <a:pt x="729" y="349"/>
                  </a:cubicBezTo>
                  <a:cubicBezTo>
                    <a:pt x="732" y="338"/>
                    <a:pt x="748" y="297"/>
                    <a:pt x="748" y="297"/>
                  </a:cubicBezTo>
                  <a:cubicBezTo>
                    <a:pt x="748" y="297"/>
                    <a:pt x="754" y="280"/>
                    <a:pt x="759" y="264"/>
                  </a:cubicBezTo>
                  <a:cubicBezTo>
                    <a:pt x="755" y="258"/>
                    <a:pt x="750" y="252"/>
                    <a:pt x="746" y="250"/>
                  </a:cubicBezTo>
                  <a:close/>
                  <a:moveTo>
                    <a:pt x="580" y="418"/>
                  </a:moveTo>
                  <a:cubicBezTo>
                    <a:pt x="580" y="418"/>
                    <a:pt x="571" y="426"/>
                    <a:pt x="563" y="428"/>
                  </a:cubicBezTo>
                  <a:cubicBezTo>
                    <a:pt x="555" y="430"/>
                    <a:pt x="552" y="428"/>
                    <a:pt x="542" y="432"/>
                  </a:cubicBezTo>
                  <a:cubicBezTo>
                    <a:pt x="532" y="436"/>
                    <a:pt x="531" y="456"/>
                    <a:pt x="531" y="456"/>
                  </a:cubicBezTo>
                  <a:cubicBezTo>
                    <a:pt x="516" y="457"/>
                    <a:pt x="516" y="457"/>
                    <a:pt x="516" y="457"/>
                  </a:cubicBezTo>
                  <a:cubicBezTo>
                    <a:pt x="498" y="437"/>
                    <a:pt x="498" y="437"/>
                    <a:pt x="498" y="437"/>
                  </a:cubicBezTo>
                  <a:cubicBezTo>
                    <a:pt x="498" y="426"/>
                    <a:pt x="498" y="426"/>
                    <a:pt x="498" y="426"/>
                  </a:cubicBezTo>
                  <a:cubicBezTo>
                    <a:pt x="481" y="401"/>
                    <a:pt x="481" y="401"/>
                    <a:pt x="481" y="401"/>
                  </a:cubicBezTo>
                  <a:cubicBezTo>
                    <a:pt x="498" y="399"/>
                    <a:pt x="498" y="399"/>
                    <a:pt x="498" y="399"/>
                  </a:cubicBezTo>
                  <a:cubicBezTo>
                    <a:pt x="500" y="389"/>
                    <a:pt x="500" y="389"/>
                    <a:pt x="500" y="389"/>
                  </a:cubicBezTo>
                  <a:cubicBezTo>
                    <a:pt x="512" y="376"/>
                    <a:pt x="512" y="376"/>
                    <a:pt x="512" y="376"/>
                  </a:cubicBezTo>
                  <a:cubicBezTo>
                    <a:pt x="512" y="376"/>
                    <a:pt x="514" y="366"/>
                    <a:pt x="519" y="362"/>
                  </a:cubicBezTo>
                  <a:cubicBezTo>
                    <a:pt x="524" y="358"/>
                    <a:pt x="534" y="361"/>
                    <a:pt x="534" y="361"/>
                  </a:cubicBezTo>
                  <a:cubicBezTo>
                    <a:pt x="535" y="351"/>
                    <a:pt x="535" y="351"/>
                    <a:pt x="535" y="351"/>
                  </a:cubicBezTo>
                  <a:cubicBezTo>
                    <a:pt x="543" y="348"/>
                    <a:pt x="543" y="348"/>
                    <a:pt x="543" y="348"/>
                  </a:cubicBezTo>
                  <a:cubicBezTo>
                    <a:pt x="543" y="348"/>
                    <a:pt x="559" y="343"/>
                    <a:pt x="564" y="349"/>
                  </a:cubicBezTo>
                  <a:cubicBezTo>
                    <a:pt x="569" y="355"/>
                    <a:pt x="581" y="374"/>
                    <a:pt x="581" y="374"/>
                  </a:cubicBezTo>
                  <a:cubicBezTo>
                    <a:pt x="591" y="377"/>
                    <a:pt x="591" y="377"/>
                    <a:pt x="591" y="377"/>
                  </a:cubicBezTo>
                  <a:cubicBezTo>
                    <a:pt x="592" y="393"/>
                    <a:pt x="592" y="393"/>
                    <a:pt x="592" y="393"/>
                  </a:cubicBezTo>
                  <a:cubicBezTo>
                    <a:pt x="577" y="406"/>
                    <a:pt x="577" y="406"/>
                    <a:pt x="577" y="406"/>
                  </a:cubicBezTo>
                  <a:lnTo>
                    <a:pt x="580" y="418"/>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98" name="Mozambique">
              <a:extLst>
                <a:ext uri="{FF2B5EF4-FFF2-40B4-BE49-F238E27FC236}">
                  <a16:creationId xmlns:a16="http://schemas.microsoft.com/office/drawing/2014/main" id="{6CDA3017-75BF-44EE-B110-6292B06C56D5}"/>
                </a:ext>
              </a:extLst>
            </p:cNvPr>
            <p:cNvSpPr>
              <a:spLocks/>
            </p:cNvSpPr>
            <p:nvPr/>
          </p:nvSpPr>
          <p:spPr bwMode="gray">
            <a:xfrm>
              <a:off x="6852431" y="4572415"/>
              <a:ext cx="630770" cy="1105647"/>
            </a:xfrm>
            <a:custGeom>
              <a:avLst/>
              <a:gdLst>
                <a:gd name="T0" fmla="*/ 507 w 508"/>
                <a:gd name="T1" fmla="*/ 210 h 891"/>
                <a:gd name="T2" fmla="*/ 499 w 508"/>
                <a:gd name="T3" fmla="*/ 170 h 891"/>
                <a:gd name="T4" fmla="*/ 502 w 508"/>
                <a:gd name="T5" fmla="*/ 155 h 891"/>
                <a:gd name="T6" fmla="*/ 503 w 508"/>
                <a:gd name="T7" fmla="*/ 104 h 891"/>
                <a:gd name="T8" fmla="*/ 505 w 508"/>
                <a:gd name="T9" fmla="*/ 13 h 891"/>
                <a:gd name="T10" fmla="*/ 497 w 508"/>
                <a:gd name="T11" fmla="*/ 0 h 891"/>
                <a:gd name="T12" fmla="*/ 425 w 508"/>
                <a:gd name="T13" fmla="*/ 38 h 891"/>
                <a:gd name="T14" fmla="*/ 393 w 508"/>
                <a:gd name="T15" fmla="*/ 45 h 891"/>
                <a:gd name="T16" fmla="*/ 354 w 508"/>
                <a:gd name="T17" fmla="*/ 66 h 891"/>
                <a:gd name="T18" fmla="*/ 325 w 508"/>
                <a:gd name="T19" fmla="*/ 61 h 891"/>
                <a:gd name="T20" fmla="*/ 279 w 508"/>
                <a:gd name="T21" fmla="*/ 51 h 891"/>
                <a:gd name="T22" fmla="*/ 237 w 508"/>
                <a:gd name="T23" fmla="*/ 62 h 891"/>
                <a:gd name="T24" fmla="*/ 224 w 508"/>
                <a:gd name="T25" fmla="*/ 89 h 891"/>
                <a:gd name="T26" fmla="*/ 228 w 508"/>
                <a:gd name="T27" fmla="*/ 144 h 891"/>
                <a:gd name="T28" fmla="*/ 235 w 508"/>
                <a:gd name="T29" fmla="*/ 166 h 891"/>
                <a:gd name="T30" fmla="*/ 281 w 508"/>
                <a:gd name="T31" fmla="*/ 231 h 891"/>
                <a:gd name="T32" fmla="*/ 268 w 508"/>
                <a:gd name="T33" fmla="*/ 300 h 891"/>
                <a:gd name="T34" fmla="*/ 246 w 508"/>
                <a:gd name="T35" fmla="*/ 333 h 891"/>
                <a:gd name="T36" fmla="*/ 234 w 508"/>
                <a:gd name="T37" fmla="*/ 340 h 891"/>
                <a:gd name="T38" fmla="*/ 202 w 508"/>
                <a:gd name="T39" fmla="*/ 297 h 891"/>
                <a:gd name="T40" fmla="*/ 208 w 508"/>
                <a:gd name="T41" fmla="*/ 279 h 891"/>
                <a:gd name="T42" fmla="*/ 210 w 508"/>
                <a:gd name="T43" fmla="*/ 263 h 891"/>
                <a:gd name="T44" fmla="*/ 208 w 508"/>
                <a:gd name="T45" fmla="*/ 234 h 891"/>
                <a:gd name="T46" fmla="*/ 189 w 508"/>
                <a:gd name="T47" fmla="*/ 218 h 891"/>
                <a:gd name="T48" fmla="*/ 148 w 508"/>
                <a:gd name="T49" fmla="*/ 189 h 891"/>
                <a:gd name="T50" fmla="*/ 43 w 508"/>
                <a:gd name="T51" fmla="*/ 227 h 891"/>
                <a:gd name="T52" fmla="*/ 5 w 508"/>
                <a:gd name="T53" fmla="*/ 243 h 891"/>
                <a:gd name="T54" fmla="*/ 17 w 508"/>
                <a:gd name="T55" fmla="*/ 297 h 891"/>
                <a:gd name="T56" fmla="*/ 64 w 508"/>
                <a:gd name="T57" fmla="*/ 309 h 891"/>
                <a:gd name="T58" fmla="*/ 89 w 508"/>
                <a:gd name="T59" fmla="*/ 322 h 891"/>
                <a:gd name="T60" fmla="*/ 120 w 508"/>
                <a:gd name="T61" fmla="*/ 331 h 891"/>
                <a:gd name="T62" fmla="*/ 129 w 508"/>
                <a:gd name="T63" fmla="*/ 357 h 891"/>
                <a:gd name="T64" fmla="*/ 131 w 508"/>
                <a:gd name="T65" fmla="*/ 375 h 891"/>
                <a:gd name="T66" fmla="*/ 129 w 508"/>
                <a:gd name="T67" fmla="*/ 395 h 891"/>
                <a:gd name="T68" fmla="*/ 131 w 508"/>
                <a:gd name="T69" fmla="*/ 434 h 891"/>
                <a:gd name="T70" fmla="*/ 117 w 508"/>
                <a:gd name="T71" fmla="*/ 450 h 891"/>
                <a:gd name="T72" fmla="*/ 117 w 508"/>
                <a:gd name="T73" fmla="*/ 482 h 891"/>
                <a:gd name="T74" fmla="*/ 125 w 508"/>
                <a:gd name="T75" fmla="*/ 518 h 891"/>
                <a:gd name="T76" fmla="*/ 105 w 508"/>
                <a:gd name="T77" fmla="*/ 542 h 891"/>
                <a:gd name="T78" fmla="*/ 96 w 508"/>
                <a:gd name="T79" fmla="*/ 570 h 891"/>
                <a:gd name="T80" fmla="*/ 95 w 508"/>
                <a:gd name="T81" fmla="*/ 586 h 891"/>
                <a:gd name="T82" fmla="*/ 57 w 508"/>
                <a:gd name="T83" fmla="*/ 702 h 891"/>
                <a:gd name="T84" fmla="*/ 78 w 508"/>
                <a:gd name="T85" fmla="*/ 809 h 891"/>
                <a:gd name="T86" fmla="*/ 76 w 508"/>
                <a:gd name="T87" fmla="*/ 830 h 891"/>
                <a:gd name="T88" fmla="*/ 83 w 508"/>
                <a:gd name="T89" fmla="*/ 861 h 891"/>
                <a:gd name="T90" fmla="*/ 98 w 508"/>
                <a:gd name="T91" fmla="*/ 877 h 891"/>
                <a:gd name="T92" fmla="*/ 115 w 508"/>
                <a:gd name="T93" fmla="*/ 871 h 891"/>
                <a:gd name="T94" fmla="*/ 109 w 508"/>
                <a:gd name="T95" fmla="*/ 819 h 891"/>
                <a:gd name="T96" fmla="*/ 242 w 508"/>
                <a:gd name="T97" fmla="*/ 735 h 891"/>
                <a:gd name="T98" fmla="*/ 230 w 508"/>
                <a:gd name="T99" fmla="*/ 713 h 891"/>
                <a:gd name="T100" fmla="*/ 241 w 508"/>
                <a:gd name="T101" fmla="*/ 650 h 891"/>
                <a:gd name="T102" fmla="*/ 246 w 508"/>
                <a:gd name="T103" fmla="*/ 626 h 891"/>
                <a:gd name="T104" fmla="*/ 238 w 508"/>
                <a:gd name="T105" fmla="*/ 612 h 891"/>
                <a:gd name="T106" fmla="*/ 225 w 508"/>
                <a:gd name="T107" fmla="*/ 555 h 891"/>
                <a:gd name="T108" fmla="*/ 222 w 508"/>
                <a:gd name="T109" fmla="*/ 503 h 891"/>
                <a:gd name="T110" fmla="*/ 267 w 508"/>
                <a:gd name="T111" fmla="*/ 455 h 891"/>
                <a:gd name="T112" fmla="*/ 312 w 508"/>
                <a:gd name="T113" fmla="*/ 419 h 891"/>
                <a:gd name="T114" fmla="*/ 417 w 508"/>
                <a:gd name="T115" fmla="*/ 348 h 891"/>
                <a:gd name="T116" fmla="*/ 458 w 508"/>
                <a:gd name="T117" fmla="*/ 314 h 891"/>
                <a:gd name="T118" fmla="*/ 498 w 508"/>
                <a:gd name="T119" fmla="*/ 263 h 891"/>
                <a:gd name="T120" fmla="*/ 508 w 508"/>
                <a:gd name="T121" fmla="*/ 229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8" h="891">
                  <a:moveTo>
                    <a:pt x="508" y="229"/>
                  </a:moveTo>
                  <a:cubicBezTo>
                    <a:pt x="508" y="221"/>
                    <a:pt x="507" y="210"/>
                    <a:pt x="507" y="210"/>
                  </a:cubicBezTo>
                  <a:cubicBezTo>
                    <a:pt x="499" y="211"/>
                    <a:pt x="499" y="211"/>
                    <a:pt x="499" y="211"/>
                  </a:cubicBezTo>
                  <a:cubicBezTo>
                    <a:pt x="499" y="170"/>
                    <a:pt x="499" y="170"/>
                    <a:pt x="499" y="170"/>
                  </a:cubicBezTo>
                  <a:cubicBezTo>
                    <a:pt x="491" y="162"/>
                    <a:pt x="491" y="162"/>
                    <a:pt x="491" y="162"/>
                  </a:cubicBezTo>
                  <a:cubicBezTo>
                    <a:pt x="502" y="155"/>
                    <a:pt x="502" y="155"/>
                    <a:pt x="502" y="155"/>
                  </a:cubicBezTo>
                  <a:cubicBezTo>
                    <a:pt x="495" y="124"/>
                    <a:pt x="495" y="124"/>
                    <a:pt x="495" y="124"/>
                  </a:cubicBezTo>
                  <a:cubicBezTo>
                    <a:pt x="503" y="104"/>
                    <a:pt x="503" y="104"/>
                    <a:pt x="503" y="104"/>
                  </a:cubicBezTo>
                  <a:cubicBezTo>
                    <a:pt x="493" y="78"/>
                    <a:pt x="493" y="78"/>
                    <a:pt x="493" y="78"/>
                  </a:cubicBezTo>
                  <a:cubicBezTo>
                    <a:pt x="493" y="78"/>
                    <a:pt x="505" y="21"/>
                    <a:pt x="505" y="13"/>
                  </a:cubicBezTo>
                  <a:cubicBezTo>
                    <a:pt x="505" y="5"/>
                    <a:pt x="497" y="0"/>
                    <a:pt x="497" y="0"/>
                  </a:cubicBezTo>
                  <a:cubicBezTo>
                    <a:pt x="497" y="0"/>
                    <a:pt x="497" y="0"/>
                    <a:pt x="497" y="0"/>
                  </a:cubicBezTo>
                  <a:cubicBezTo>
                    <a:pt x="444" y="37"/>
                    <a:pt x="444" y="37"/>
                    <a:pt x="444" y="37"/>
                  </a:cubicBezTo>
                  <a:cubicBezTo>
                    <a:pt x="425" y="38"/>
                    <a:pt x="425" y="38"/>
                    <a:pt x="425" y="38"/>
                  </a:cubicBezTo>
                  <a:cubicBezTo>
                    <a:pt x="425" y="38"/>
                    <a:pt x="404" y="51"/>
                    <a:pt x="400" y="52"/>
                  </a:cubicBezTo>
                  <a:cubicBezTo>
                    <a:pt x="396" y="53"/>
                    <a:pt x="393" y="45"/>
                    <a:pt x="393" y="45"/>
                  </a:cubicBezTo>
                  <a:cubicBezTo>
                    <a:pt x="377" y="45"/>
                    <a:pt x="377" y="45"/>
                    <a:pt x="377" y="45"/>
                  </a:cubicBezTo>
                  <a:cubicBezTo>
                    <a:pt x="377" y="45"/>
                    <a:pt x="361" y="63"/>
                    <a:pt x="354" y="66"/>
                  </a:cubicBezTo>
                  <a:cubicBezTo>
                    <a:pt x="347" y="69"/>
                    <a:pt x="343" y="67"/>
                    <a:pt x="343" y="67"/>
                  </a:cubicBezTo>
                  <a:cubicBezTo>
                    <a:pt x="343" y="67"/>
                    <a:pt x="329" y="59"/>
                    <a:pt x="325" y="61"/>
                  </a:cubicBezTo>
                  <a:cubicBezTo>
                    <a:pt x="321" y="63"/>
                    <a:pt x="316" y="72"/>
                    <a:pt x="311" y="72"/>
                  </a:cubicBezTo>
                  <a:cubicBezTo>
                    <a:pt x="306" y="72"/>
                    <a:pt x="287" y="51"/>
                    <a:pt x="279" y="51"/>
                  </a:cubicBezTo>
                  <a:cubicBezTo>
                    <a:pt x="271" y="51"/>
                    <a:pt x="267" y="61"/>
                    <a:pt x="267" y="61"/>
                  </a:cubicBezTo>
                  <a:cubicBezTo>
                    <a:pt x="267" y="61"/>
                    <a:pt x="250" y="62"/>
                    <a:pt x="237" y="62"/>
                  </a:cubicBezTo>
                  <a:cubicBezTo>
                    <a:pt x="236" y="66"/>
                    <a:pt x="236" y="70"/>
                    <a:pt x="236" y="72"/>
                  </a:cubicBezTo>
                  <a:cubicBezTo>
                    <a:pt x="236" y="75"/>
                    <a:pt x="233" y="81"/>
                    <a:pt x="224" y="89"/>
                  </a:cubicBezTo>
                  <a:cubicBezTo>
                    <a:pt x="215" y="97"/>
                    <a:pt x="225" y="104"/>
                    <a:pt x="229" y="109"/>
                  </a:cubicBezTo>
                  <a:cubicBezTo>
                    <a:pt x="233" y="114"/>
                    <a:pt x="233" y="132"/>
                    <a:pt x="228" y="144"/>
                  </a:cubicBezTo>
                  <a:cubicBezTo>
                    <a:pt x="225" y="151"/>
                    <a:pt x="225" y="159"/>
                    <a:pt x="226" y="164"/>
                  </a:cubicBezTo>
                  <a:cubicBezTo>
                    <a:pt x="229" y="165"/>
                    <a:pt x="233" y="165"/>
                    <a:pt x="235" y="166"/>
                  </a:cubicBezTo>
                  <a:cubicBezTo>
                    <a:pt x="239" y="169"/>
                    <a:pt x="257" y="196"/>
                    <a:pt x="261" y="204"/>
                  </a:cubicBezTo>
                  <a:cubicBezTo>
                    <a:pt x="265" y="212"/>
                    <a:pt x="275" y="222"/>
                    <a:pt x="281" y="231"/>
                  </a:cubicBezTo>
                  <a:cubicBezTo>
                    <a:pt x="287" y="240"/>
                    <a:pt x="270" y="258"/>
                    <a:pt x="270" y="258"/>
                  </a:cubicBezTo>
                  <a:cubicBezTo>
                    <a:pt x="270" y="258"/>
                    <a:pt x="274" y="293"/>
                    <a:pt x="268" y="300"/>
                  </a:cubicBezTo>
                  <a:cubicBezTo>
                    <a:pt x="262" y="307"/>
                    <a:pt x="244" y="299"/>
                    <a:pt x="238" y="317"/>
                  </a:cubicBezTo>
                  <a:cubicBezTo>
                    <a:pt x="232" y="335"/>
                    <a:pt x="242" y="323"/>
                    <a:pt x="246" y="333"/>
                  </a:cubicBezTo>
                  <a:cubicBezTo>
                    <a:pt x="250" y="343"/>
                    <a:pt x="243" y="360"/>
                    <a:pt x="232" y="358"/>
                  </a:cubicBezTo>
                  <a:cubicBezTo>
                    <a:pt x="221" y="356"/>
                    <a:pt x="235" y="346"/>
                    <a:pt x="234" y="340"/>
                  </a:cubicBezTo>
                  <a:cubicBezTo>
                    <a:pt x="233" y="334"/>
                    <a:pt x="202" y="314"/>
                    <a:pt x="202" y="314"/>
                  </a:cubicBezTo>
                  <a:cubicBezTo>
                    <a:pt x="202" y="297"/>
                    <a:pt x="202" y="297"/>
                    <a:pt x="202" y="297"/>
                  </a:cubicBezTo>
                  <a:cubicBezTo>
                    <a:pt x="202" y="297"/>
                    <a:pt x="197" y="297"/>
                    <a:pt x="195" y="294"/>
                  </a:cubicBezTo>
                  <a:cubicBezTo>
                    <a:pt x="193" y="291"/>
                    <a:pt x="208" y="279"/>
                    <a:pt x="208" y="279"/>
                  </a:cubicBezTo>
                  <a:cubicBezTo>
                    <a:pt x="200" y="266"/>
                    <a:pt x="200" y="266"/>
                    <a:pt x="200" y="266"/>
                  </a:cubicBezTo>
                  <a:cubicBezTo>
                    <a:pt x="210" y="263"/>
                    <a:pt x="210" y="263"/>
                    <a:pt x="210" y="263"/>
                  </a:cubicBezTo>
                  <a:cubicBezTo>
                    <a:pt x="213" y="242"/>
                    <a:pt x="213" y="242"/>
                    <a:pt x="213" y="242"/>
                  </a:cubicBezTo>
                  <a:cubicBezTo>
                    <a:pt x="213" y="242"/>
                    <a:pt x="207" y="243"/>
                    <a:pt x="208" y="234"/>
                  </a:cubicBezTo>
                  <a:cubicBezTo>
                    <a:pt x="209" y="225"/>
                    <a:pt x="205" y="214"/>
                    <a:pt x="205" y="214"/>
                  </a:cubicBezTo>
                  <a:cubicBezTo>
                    <a:pt x="199" y="211"/>
                    <a:pt x="189" y="218"/>
                    <a:pt x="189" y="218"/>
                  </a:cubicBezTo>
                  <a:cubicBezTo>
                    <a:pt x="169" y="221"/>
                    <a:pt x="169" y="221"/>
                    <a:pt x="169" y="221"/>
                  </a:cubicBezTo>
                  <a:cubicBezTo>
                    <a:pt x="148" y="189"/>
                    <a:pt x="148" y="189"/>
                    <a:pt x="148" y="189"/>
                  </a:cubicBezTo>
                  <a:cubicBezTo>
                    <a:pt x="148" y="189"/>
                    <a:pt x="104" y="209"/>
                    <a:pt x="95" y="214"/>
                  </a:cubicBezTo>
                  <a:cubicBezTo>
                    <a:pt x="85" y="219"/>
                    <a:pt x="43" y="227"/>
                    <a:pt x="43" y="227"/>
                  </a:cubicBezTo>
                  <a:cubicBezTo>
                    <a:pt x="31" y="238"/>
                    <a:pt x="31" y="238"/>
                    <a:pt x="31" y="238"/>
                  </a:cubicBezTo>
                  <a:cubicBezTo>
                    <a:pt x="31" y="238"/>
                    <a:pt x="11" y="239"/>
                    <a:pt x="5" y="243"/>
                  </a:cubicBezTo>
                  <a:cubicBezTo>
                    <a:pt x="0" y="247"/>
                    <a:pt x="15" y="261"/>
                    <a:pt x="15" y="261"/>
                  </a:cubicBezTo>
                  <a:cubicBezTo>
                    <a:pt x="17" y="297"/>
                    <a:pt x="17" y="297"/>
                    <a:pt x="17" y="297"/>
                  </a:cubicBezTo>
                  <a:cubicBezTo>
                    <a:pt x="56" y="297"/>
                    <a:pt x="56" y="297"/>
                    <a:pt x="56" y="297"/>
                  </a:cubicBezTo>
                  <a:cubicBezTo>
                    <a:pt x="64" y="309"/>
                    <a:pt x="64" y="309"/>
                    <a:pt x="64" y="309"/>
                  </a:cubicBezTo>
                  <a:cubicBezTo>
                    <a:pt x="79" y="306"/>
                    <a:pt x="79" y="306"/>
                    <a:pt x="79" y="306"/>
                  </a:cubicBezTo>
                  <a:cubicBezTo>
                    <a:pt x="89" y="322"/>
                    <a:pt x="89" y="322"/>
                    <a:pt x="89" y="322"/>
                  </a:cubicBezTo>
                  <a:cubicBezTo>
                    <a:pt x="89" y="322"/>
                    <a:pt x="99" y="319"/>
                    <a:pt x="107" y="319"/>
                  </a:cubicBezTo>
                  <a:cubicBezTo>
                    <a:pt x="115" y="319"/>
                    <a:pt x="120" y="331"/>
                    <a:pt x="120" y="331"/>
                  </a:cubicBezTo>
                  <a:cubicBezTo>
                    <a:pt x="120" y="331"/>
                    <a:pt x="135" y="331"/>
                    <a:pt x="139" y="339"/>
                  </a:cubicBezTo>
                  <a:cubicBezTo>
                    <a:pt x="143" y="347"/>
                    <a:pt x="129" y="357"/>
                    <a:pt x="129" y="357"/>
                  </a:cubicBezTo>
                  <a:cubicBezTo>
                    <a:pt x="137" y="366"/>
                    <a:pt x="137" y="366"/>
                    <a:pt x="137" y="366"/>
                  </a:cubicBezTo>
                  <a:cubicBezTo>
                    <a:pt x="131" y="375"/>
                    <a:pt x="131" y="375"/>
                    <a:pt x="131" y="375"/>
                  </a:cubicBezTo>
                  <a:cubicBezTo>
                    <a:pt x="137" y="383"/>
                    <a:pt x="137" y="383"/>
                    <a:pt x="137" y="383"/>
                  </a:cubicBezTo>
                  <a:cubicBezTo>
                    <a:pt x="137" y="383"/>
                    <a:pt x="132" y="390"/>
                    <a:pt x="129" y="395"/>
                  </a:cubicBezTo>
                  <a:cubicBezTo>
                    <a:pt x="127" y="401"/>
                    <a:pt x="135" y="407"/>
                    <a:pt x="137" y="421"/>
                  </a:cubicBezTo>
                  <a:cubicBezTo>
                    <a:pt x="140" y="434"/>
                    <a:pt x="131" y="434"/>
                    <a:pt x="131" y="434"/>
                  </a:cubicBezTo>
                  <a:cubicBezTo>
                    <a:pt x="131" y="443"/>
                    <a:pt x="131" y="443"/>
                    <a:pt x="131" y="443"/>
                  </a:cubicBezTo>
                  <a:cubicBezTo>
                    <a:pt x="117" y="450"/>
                    <a:pt x="117" y="450"/>
                    <a:pt x="117" y="450"/>
                  </a:cubicBezTo>
                  <a:cubicBezTo>
                    <a:pt x="131" y="466"/>
                    <a:pt x="131" y="466"/>
                    <a:pt x="131" y="466"/>
                  </a:cubicBezTo>
                  <a:cubicBezTo>
                    <a:pt x="131" y="466"/>
                    <a:pt x="119" y="477"/>
                    <a:pt x="117" y="482"/>
                  </a:cubicBezTo>
                  <a:cubicBezTo>
                    <a:pt x="116" y="487"/>
                    <a:pt x="133" y="498"/>
                    <a:pt x="135" y="505"/>
                  </a:cubicBezTo>
                  <a:cubicBezTo>
                    <a:pt x="136" y="511"/>
                    <a:pt x="125" y="518"/>
                    <a:pt x="125" y="518"/>
                  </a:cubicBezTo>
                  <a:cubicBezTo>
                    <a:pt x="125" y="518"/>
                    <a:pt x="123" y="525"/>
                    <a:pt x="121" y="533"/>
                  </a:cubicBezTo>
                  <a:cubicBezTo>
                    <a:pt x="120" y="541"/>
                    <a:pt x="105" y="542"/>
                    <a:pt x="105" y="542"/>
                  </a:cubicBezTo>
                  <a:cubicBezTo>
                    <a:pt x="104" y="565"/>
                    <a:pt x="104" y="565"/>
                    <a:pt x="104" y="565"/>
                  </a:cubicBezTo>
                  <a:cubicBezTo>
                    <a:pt x="96" y="570"/>
                    <a:pt x="96" y="570"/>
                    <a:pt x="96" y="570"/>
                  </a:cubicBezTo>
                  <a:cubicBezTo>
                    <a:pt x="105" y="583"/>
                    <a:pt x="105" y="583"/>
                    <a:pt x="105" y="583"/>
                  </a:cubicBezTo>
                  <a:cubicBezTo>
                    <a:pt x="95" y="586"/>
                    <a:pt x="95" y="586"/>
                    <a:pt x="95" y="586"/>
                  </a:cubicBezTo>
                  <a:cubicBezTo>
                    <a:pt x="48" y="642"/>
                    <a:pt x="48" y="642"/>
                    <a:pt x="48" y="642"/>
                  </a:cubicBezTo>
                  <a:cubicBezTo>
                    <a:pt x="48" y="642"/>
                    <a:pt x="55" y="693"/>
                    <a:pt x="57" y="702"/>
                  </a:cubicBezTo>
                  <a:cubicBezTo>
                    <a:pt x="59" y="711"/>
                    <a:pt x="80" y="743"/>
                    <a:pt x="79" y="752"/>
                  </a:cubicBezTo>
                  <a:cubicBezTo>
                    <a:pt x="78" y="761"/>
                    <a:pt x="78" y="809"/>
                    <a:pt x="78" y="809"/>
                  </a:cubicBezTo>
                  <a:cubicBezTo>
                    <a:pt x="60" y="833"/>
                    <a:pt x="60" y="833"/>
                    <a:pt x="60" y="833"/>
                  </a:cubicBezTo>
                  <a:cubicBezTo>
                    <a:pt x="76" y="830"/>
                    <a:pt x="76" y="830"/>
                    <a:pt x="76" y="830"/>
                  </a:cubicBezTo>
                  <a:cubicBezTo>
                    <a:pt x="76" y="830"/>
                    <a:pt x="71" y="847"/>
                    <a:pt x="73" y="854"/>
                  </a:cubicBezTo>
                  <a:cubicBezTo>
                    <a:pt x="76" y="861"/>
                    <a:pt x="83" y="861"/>
                    <a:pt x="83" y="861"/>
                  </a:cubicBezTo>
                  <a:cubicBezTo>
                    <a:pt x="87" y="877"/>
                    <a:pt x="87" y="877"/>
                    <a:pt x="87" y="877"/>
                  </a:cubicBezTo>
                  <a:cubicBezTo>
                    <a:pt x="91" y="876"/>
                    <a:pt x="95" y="875"/>
                    <a:pt x="98" y="877"/>
                  </a:cubicBezTo>
                  <a:cubicBezTo>
                    <a:pt x="102" y="879"/>
                    <a:pt x="107" y="885"/>
                    <a:pt x="111" y="891"/>
                  </a:cubicBezTo>
                  <a:cubicBezTo>
                    <a:pt x="113" y="883"/>
                    <a:pt x="115" y="876"/>
                    <a:pt x="115" y="871"/>
                  </a:cubicBezTo>
                  <a:cubicBezTo>
                    <a:pt x="116" y="856"/>
                    <a:pt x="107" y="845"/>
                    <a:pt x="107" y="845"/>
                  </a:cubicBezTo>
                  <a:cubicBezTo>
                    <a:pt x="107" y="845"/>
                    <a:pt x="88" y="839"/>
                    <a:pt x="109" y="819"/>
                  </a:cubicBezTo>
                  <a:cubicBezTo>
                    <a:pt x="130" y="799"/>
                    <a:pt x="165" y="785"/>
                    <a:pt x="186" y="773"/>
                  </a:cubicBezTo>
                  <a:cubicBezTo>
                    <a:pt x="207" y="761"/>
                    <a:pt x="242" y="744"/>
                    <a:pt x="242" y="735"/>
                  </a:cubicBezTo>
                  <a:cubicBezTo>
                    <a:pt x="242" y="726"/>
                    <a:pt x="242" y="718"/>
                    <a:pt x="242" y="718"/>
                  </a:cubicBezTo>
                  <a:cubicBezTo>
                    <a:pt x="242" y="718"/>
                    <a:pt x="231" y="727"/>
                    <a:pt x="230" y="713"/>
                  </a:cubicBezTo>
                  <a:cubicBezTo>
                    <a:pt x="229" y="699"/>
                    <a:pt x="249" y="684"/>
                    <a:pt x="247" y="674"/>
                  </a:cubicBezTo>
                  <a:cubicBezTo>
                    <a:pt x="245" y="664"/>
                    <a:pt x="241" y="650"/>
                    <a:pt x="241" y="650"/>
                  </a:cubicBezTo>
                  <a:cubicBezTo>
                    <a:pt x="248" y="631"/>
                    <a:pt x="248" y="631"/>
                    <a:pt x="248" y="631"/>
                  </a:cubicBezTo>
                  <a:cubicBezTo>
                    <a:pt x="246" y="626"/>
                    <a:pt x="246" y="626"/>
                    <a:pt x="246" y="626"/>
                  </a:cubicBezTo>
                  <a:cubicBezTo>
                    <a:pt x="235" y="639"/>
                    <a:pt x="235" y="639"/>
                    <a:pt x="235" y="639"/>
                  </a:cubicBezTo>
                  <a:cubicBezTo>
                    <a:pt x="238" y="612"/>
                    <a:pt x="238" y="612"/>
                    <a:pt x="238" y="612"/>
                  </a:cubicBezTo>
                  <a:cubicBezTo>
                    <a:pt x="238" y="612"/>
                    <a:pt x="223" y="597"/>
                    <a:pt x="222" y="587"/>
                  </a:cubicBezTo>
                  <a:cubicBezTo>
                    <a:pt x="221" y="577"/>
                    <a:pt x="230" y="567"/>
                    <a:pt x="225" y="555"/>
                  </a:cubicBezTo>
                  <a:cubicBezTo>
                    <a:pt x="220" y="543"/>
                    <a:pt x="208" y="554"/>
                    <a:pt x="208" y="541"/>
                  </a:cubicBezTo>
                  <a:cubicBezTo>
                    <a:pt x="208" y="528"/>
                    <a:pt x="219" y="507"/>
                    <a:pt x="222" y="503"/>
                  </a:cubicBezTo>
                  <a:cubicBezTo>
                    <a:pt x="225" y="499"/>
                    <a:pt x="249" y="493"/>
                    <a:pt x="252" y="484"/>
                  </a:cubicBezTo>
                  <a:cubicBezTo>
                    <a:pt x="255" y="475"/>
                    <a:pt x="260" y="460"/>
                    <a:pt x="267" y="455"/>
                  </a:cubicBezTo>
                  <a:cubicBezTo>
                    <a:pt x="274" y="450"/>
                    <a:pt x="279" y="455"/>
                    <a:pt x="287" y="449"/>
                  </a:cubicBezTo>
                  <a:cubicBezTo>
                    <a:pt x="295" y="443"/>
                    <a:pt x="310" y="435"/>
                    <a:pt x="312" y="419"/>
                  </a:cubicBezTo>
                  <a:cubicBezTo>
                    <a:pt x="314" y="403"/>
                    <a:pt x="331" y="385"/>
                    <a:pt x="348" y="377"/>
                  </a:cubicBezTo>
                  <a:cubicBezTo>
                    <a:pt x="365" y="369"/>
                    <a:pt x="409" y="355"/>
                    <a:pt x="417" y="348"/>
                  </a:cubicBezTo>
                  <a:cubicBezTo>
                    <a:pt x="425" y="341"/>
                    <a:pt x="458" y="324"/>
                    <a:pt x="458" y="324"/>
                  </a:cubicBezTo>
                  <a:cubicBezTo>
                    <a:pt x="458" y="314"/>
                    <a:pt x="458" y="314"/>
                    <a:pt x="458" y="314"/>
                  </a:cubicBezTo>
                  <a:cubicBezTo>
                    <a:pt x="458" y="314"/>
                    <a:pt x="476" y="295"/>
                    <a:pt x="476" y="290"/>
                  </a:cubicBezTo>
                  <a:cubicBezTo>
                    <a:pt x="476" y="285"/>
                    <a:pt x="498" y="263"/>
                    <a:pt x="498" y="263"/>
                  </a:cubicBezTo>
                  <a:cubicBezTo>
                    <a:pt x="496" y="254"/>
                    <a:pt x="496" y="254"/>
                    <a:pt x="496" y="254"/>
                  </a:cubicBezTo>
                  <a:cubicBezTo>
                    <a:pt x="496" y="254"/>
                    <a:pt x="508" y="237"/>
                    <a:pt x="508" y="229"/>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99" name="Malawi">
              <a:extLst>
                <a:ext uri="{FF2B5EF4-FFF2-40B4-BE49-F238E27FC236}">
                  <a16:creationId xmlns:a16="http://schemas.microsoft.com/office/drawing/2014/main" id="{5CE2D68B-5C9D-44A8-91BB-310ED194BD62}"/>
                </a:ext>
              </a:extLst>
            </p:cNvPr>
            <p:cNvSpPr>
              <a:spLocks/>
            </p:cNvSpPr>
            <p:nvPr/>
          </p:nvSpPr>
          <p:spPr bwMode="gray">
            <a:xfrm>
              <a:off x="7007481" y="4501997"/>
              <a:ext cx="200860" cy="517613"/>
            </a:xfrm>
            <a:custGeom>
              <a:avLst/>
              <a:gdLst>
                <a:gd name="T0" fmla="*/ 156 w 162"/>
                <a:gd name="T1" fmla="*/ 287 h 416"/>
                <a:gd name="T2" fmla="*/ 136 w 162"/>
                <a:gd name="T3" fmla="*/ 260 h 416"/>
                <a:gd name="T4" fmla="*/ 110 w 162"/>
                <a:gd name="T5" fmla="*/ 222 h 416"/>
                <a:gd name="T6" fmla="*/ 101 w 162"/>
                <a:gd name="T7" fmla="*/ 220 h 416"/>
                <a:gd name="T8" fmla="*/ 105 w 162"/>
                <a:gd name="T9" fmla="*/ 229 h 416"/>
                <a:gd name="T10" fmla="*/ 114 w 162"/>
                <a:gd name="T11" fmla="*/ 237 h 416"/>
                <a:gd name="T12" fmla="*/ 113 w 162"/>
                <a:gd name="T13" fmla="*/ 264 h 416"/>
                <a:gd name="T14" fmla="*/ 105 w 162"/>
                <a:gd name="T15" fmla="*/ 253 h 416"/>
                <a:gd name="T16" fmla="*/ 90 w 162"/>
                <a:gd name="T17" fmla="*/ 257 h 416"/>
                <a:gd name="T18" fmla="*/ 86 w 162"/>
                <a:gd name="T19" fmla="*/ 234 h 416"/>
                <a:gd name="T20" fmla="*/ 81 w 162"/>
                <a:gd name="T21" fmla="*/ 220 h 416"/>
                <a:gd name="T22" fmla="*/ 81 w 162"/>
                <a:gd name="T23" fmla="*/ 195 h 416"/>
                <a:gd name="T24" fmla="*/ 64 w 162"/>
                <a:gd name="T25" fmla="*/ 171 h 416"/>
                <a:gd name="T26" fmla="*/ 59 w 162"/>
                <a:gd name="T27" fmla="*/ 154 h 416"/>
                <a:gd name="T28" fmla="*/ 77 w 162"/>
                <a:gd name="T29" fmla="*/ 126 h 416"/>
                <a:gd name="T30" fmla="*/ 84 w 162"/>
                <a:gd name="T31" fmla="*/ 108 h 416"/>
                <a:gd name="T32" fmla="*/ 81 w 162"/>
                <a:gd name="T33" fmla="*/ 90 h 416"/>
                <a:gd name="T34" fmla="*/ 78 w 162"/>
                <a:gd name="T35" fmla="*/ 51 h 416"/>
                <a:gd name="T36" fmla="*/ 64 w 162"/>
                <a:gd name="T37" fmla="*/ 37 h 416"/>
                <a:gd name="T38" fmla="*/ 60 w 162"/>
                <a:gd name="T39" fmla="*/ 10 h 416"/>
                <a:gd name="T40" fmla="*/ 41 w 162"/>
                <a:gd name="T41" fmla="*/ 10 h 416"/>
                <a:gd name="T42" fmla="*/ 35 w 162"/>
                <a:gd name="T43" fmla="*/ 0 h 416"/>
                <a:gd name="T44" fmla="*/ 20 w 162"/>
                <a:gd name="T45" fmla="*/ 1 h 416"/>
                <a:gd name="T46" fmla="*/ 20 w 162"/>
                <a:gd name="T47" fmla="*/ 9 h 416"/>
                <a:gd name="T48" fmla="*/ 35 w 162"/>
                <a:gd name="T49" fmla="*/ 16 h 416"/>
                <a:gd name="T50" fmla="*/ 37 w 162"/>
                <a:gd name="T51" fmla="*/ 42 h 416"/>
                <a:gd name="T52" fmla="*/ 46 w 162"/>
                <a:gd name="T53" fmla="*/ 41 h 416"/>
                <a:gd name="T54" fmla="*/ 46 w 162"/>
                <a:gd name="T55" fmla="*/ 54 h 416"/>
                <a:gd name="T56" fmla="*/ 52 w 162"/>
                <a:gd name="T57" fmla="*/ 64 h 416"/>
                <a:gd name="T58" fmla="*/ 30 w 162"/>
                <a:gd name="T59" fmla="*/ 75 h 416"/>
                <a:gd name="T60" fmla="*/ 30 w 162"/>
                <a:gd name="T61" fmla="*/ 86 h 416"/>
                <a:gd name="T62" fmla="*/ 37 w 162"/>
                <a:gd name="T63" fmla="*/ 92 h 416"/>
                <a:gd name="T64" fmla="*/ 33 w 162"/>
                <a:gd name="T65" fmla="*/ 105 h 416"/>
                <a:gd name="T66" fmla="*/ 34 w 162"/>
                <a:gd name="T67" fmla="*/ 153 h 416"/>
                <a:gd name="T68" fmla="*/ 42 w 162"/>
                <a:gd name="T69" fmla="*/ 157 h 416"/>
                <a:gd name="T70" fmla="*/ 14 w 162"/>
                <a:gd name="T71" fmla="*/ 175 h 416"/>
                <a:gd name="T72" fmla="*/ 16 w 162"/>
                <a:gd name="T73" fmla="*/ 200 h 416"/>
                <a:gd name="T74" fmla="*/ 1 w 162"/>
                <a:gd name="T75" fmla="*/ 226 h 416"/>
                <a:gd name="T76" fmla="*/ 23 w 162"/>
                <a:gd name="T77" fmla="*/ 245 h 416"/>
                <a:gd name="T78" fmla="*/ 44 w 162"/>
                <a:gd name="T79" fmla="*/ 277 h 416"/>
                <a:gd name="T80" fmla="*/ 64 w 162"/>
                <a:gd name="T81" fmla="*/ 274 h 416"/>
                <a:gd name="T82" fmla="*/ 80 w 162"/>
                <a:gd name="T83" fmla="*/ 270 h 416"/>
                <a:gd name="T84" fmla="*/ 83 w 162"/>
                <a:gd name="T85" fmla="*/ 290 h 416"/>
                <a:gd name="T86" fmla="*/ 88 w 162"/>
                <a:gd name="T87" fmla="*/ 298 h 416"/>
                <a:gd name="T88" fmla="*/ 85 w 162"/>
                <a:gd name="T89" fmla="*/ 319 h 416"/>
                <a:gd name="T90" fmla="*/ 75 w 162"/>
                <a:gd name="T91" fmla="*/ 322 h 416"/>
                <a:gd name="T92" fmla="*/ 83 w 162"/>
                <a:gd name="T93" fmla="*/ 335 h 416"/>
                <a:gd name="T94" fmla="*/ 70 w 162"/>
                <a:gd name="T95" fmla="*/ 350 h 416"/>
                <a:gd name="T96" fmla="*/ 77 w 162"/>
                <a:gd name="T97" fmla="*/ 353 h 416"/>
                <a:gd name="T98" fmla="*/ 77 w 162"/>
                <a:gd name="T99" fmla="*/ 370 h 416"/>
                <a:gd name="T100" fmla="*/ 109 w 162"/>
                <a:gd name="T101" fmla="*/ 396 h 416"/>
                <a:gd name="T102" fmla="*/ 107 w 162"/>
                <a:gd name="T103" fmla="*/ 414 h 416"/>
                <a:gd name="T104" fmla="*/ 121 w 162"/>
                <a:gd name="T105" fmla="*/ 389 h 416"/>
                <a:gd name="T106" fmla="*/ 113 w 162"/>
                <a:gd name="T107" fmla="*/ 373 h 416"/>
                <a:gd name="T108" fmla="*/ 143 w 162"/>
                <a:gd name="T109" fmla="*/ 356 h 416"/>
                <a:gd name="T110" fmla="*/ 145 w 162"/>
                <a:gd name="T111" fmla="*/ 314 h 416"/>
                <a:gd name="T112" fmla="*/ 156 w 162"/>
                <a:gd name="T113" fmla="*/ 28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416">
                  <a:moveTo>
                    <a:pt x="156" y="287"/>
                  </a:moveTo>
                  <a:cubicBezTo>
                    <a:pt x="150" y="278"/>
                    <a:pt x="140" y="268"/>
                    <a:pt x="136" y="260"/>
                  </a:cubicBezTo>
                  <a:cubicBezTo>
                    <a:pt x="132" y="252"/>
                    <a:pt x="114" y="225"/>
                    <a:pt x="110" y="222"/>
                  </a:cubicBezTo>
                  <a:cubicBezTo>
                    <a:pt x="108" y="221"/>
                    <a:pt x="104" y="221"/>
                    <a:pt x="101" y="220"/>
                  </a:cubicBezTo>
                  <a:cubicBezTo>
                    <a:pt x="101" y="225"/>
                    <a:pt x="103" y="228"/>
                    <a:pt x="105" y="229"/>
                  </a:cubicBezTo>
                  <a:cubicBezTo>
                    <a:pt x="110" y="231"/>
                    <a:pt x="114" y="237"/>
                    <a:pt x="114" y="237"/>
                  </a:cubicBezTo>
                  <a:cubicBezTo>
                    <a:pt x="114" y="237"/>
                    <a:pt x="119" y="262"/>
                    <a:pt x="113" y="264"/>
                  </a:cubicBezTo>
                  <a:cubicBezTo>
                    <a:pt x="107" y="266"/>
                    <a:pt x="105" y="253"/>
                    <a:pt x="105" y="253"/>
                  </a:cubicBezTo>
                  <a:cubicBezTo>
                    <a:pt x="105" y="253"/>
                    <a:pt x="93" y="259"/>
                    <a:pt x="90" y="257"/>
                  </a:cubicBezTo>
                  <a:cubicBezTo>
                    <a:pt x="87" y="255"/>
                    <a:pt x="87" y="241"/>
                    <a:pt x="86" y="234"/>
                  </a:cubicBezTo>
                  <a:cubicBezTo>
                    <a:pt x="85" y="227"/>
                    <a:pt x="83" y="224"/>
                    <a:pt x="81" y="220"/>
                  </a:cubicBezTo>
                  <a:cubicBezTo>
                    <a:pt x="79" y="216"/>
                    <a:pt x="81" y="203"/>
                    <a:pt x="81" y="195"/>
                  </a:cubicBezTo>
                  <a:cubicBezTo>
                    <a:pt x="81" y="187"/>
                    <a:pt x="76" y="181"/>
                    <a:pt x="64" y="171"/>
                  </a:cubicBezTo>
                  <a:cubicBezTo>
                    <a:pt x="52" y="161"/>
                    <a:pt x="61" y="163"/>
                    <a:pt x="59" y="154"/>
                  </a:cubicBezTo>
                  <a:cubicBezTo>
                    <a:pt x="57" y="145"/>
                    <a:pt x="67" y="137"/>
                    <a:pt x="77" y="126"/>
                  </a:cubicBezTo>
                  <a:cubicBezTo>
                    <a:pt x="87" y="115"/>
                    <a:pt x="83" y="113"/>
                    <a:pt x="84" y="108"/>
                  </a:cubicBezTo>
                  <a:cubicBezTo>
                    <a:pt x="85" y="103"/>
                    <a:pt x="81" y="98"/>
                    <a:pt x="81" y="90"/>
                  </a:cubicBezTo>
                  <a:cubicBezTo>
                    <a:pt x="81" y="82"/>
                    <a:pt x="79" y="67"/>
                    <a:pt x="78" y="51"/>
                  </a:cubicBezTo>
                  <a:cubicBezTo>
                    <a:pt x="77" y="35"/>
                    <a:pt x="75" y="44"/>
                    <a:pt x="64" y="37"/>
                  </a:cubicBezTo>
                  <a:cubicBezTo>
                    <a:pt x="53" y="30"/>
                    <a:pt x="61" y="21"/>
                    <a:pt x="60" y="10"/>
                  </a:cubicBezTo>
                  <a:cubicBezTo>
                    <a:pt x="41" y="10"/>
                    <a:pt x="41" y="10"/>
                    <a:pt x="41" y="10"/>
                  </a:cubicBezTo>
                  <a:cubicBezTo>
                    <a:pt x="35" y="0"/>
                    <a:pt x="35" y="0"/>
                    <a:pt x="35" y="0"/>
                  </a:cubicBezTo>
                  <a:cubicBezTo>
                    <a:pt x="20" y="1"/>
                    <a:pt x="20" y="1"/>
                    <a:pt x="20" y="1"/>
                  </a:cubicBezTo>
                  <a:cubicBezTo>
                    <a:pt x="20" y="9"/>
                    <a:pt x="20" y="9"/>
                    <a:pt x="20" y="9"/>
                  </a:cubicBezTo>
                  <a:cubicBezTo>
                    <a:pt x="20" y="9"/>
                    <a:pt x="34" y="9"/>
                    <a:pt x="35" y="16"/>
                  </a:cubicBezTo>
                  <a:cubicBezTo>
                    <a:pt x="36" y="23"/>
                    <a:pt x="34" y="42"/>
                    <a:pt x="37" y="42"/>
                  </a:cubicBezTo>
                  <a:cubicBezTo>
                    <a:pt x="40" y="42"/>
                    <a:pt x="46" y="41"/>
                    <a:pt x="46" y="41"/>
                  </a:cubicBezTo>
                  <a:cubicBezTo>
                    <a:pt x="46" y="54"/>
                    <a:pt x="46" y="54"/>
                    <a:pt x="46" y="54"/>
                  </a:cubicBezTo>
                  <a:cubicBezTo>
                    <a:pt x="46" y="54"/>
                    <a:pt x="58" y="57"/>
                    <a:pt x="52" y="64"/>
                  </a:cubicBezTo>
                  <a:cubicBezTo>
                    <a:pt x="46" y="71"/>
                    <a:pt x="30" y="75"/>
                    <a:pt x="30" y="75"/>
                  </a:cubicBezTo>
                  <a:cubicBezTo>
                    <a:pt x="30" y="86"/>
                    <a:pt x="30" y="86"/>
                    <a:pt x="30" y="86"/>
                  </a:cubicBezTo>
                  <a:cubicBezTo>
                    <a:pt x="37" y="92"/>
                    <a:pt x="37" y="92"/>
                    <a:pt x="37" y="92"/>
                  </a:cubicBezTo>
                  <a:cubicBezTo>
                    <a:pt x="33" y="105"/>
                    <a:pt x="33" y="105"/>
                    <a:pt x="33" y="105"/>
                  </a:cubicBezTo>
                  <a:cubicBezTo>
                    <a:pt x="34" y="153"/>
                    <a:pt x="34" y="153"/>
                    <a:pt x="34" y="153"/>
                  </a:cubicBezTo>
                  <a:cubicBezTo>
                    <a:pt x="34" y="153"/>
                    <a:pt x="45" y="150"/>
                    <a:pt x="42" y="157"/>
                  </a:cubicBezTo>
                  <a:cubicBezTo>
                    <a:pt x="39" y="164"/>
                    <a:pt x="14" y="175"/>
                    <a:pt x="14" y="175"/>
                  </a:cubicBezTo>
                  <a:cubicBezTo>
                    <a:pt x="16" y="200"/>
                    <a:pt x="16" y="200"/>
                    <a:pt x="16" y="200"/>
                  </a:cubicBezTo>
                  <a:cubicBezTo>
                    <a:pt x="16" y="200"/>
                    <a:pt x="0" y="223"/>
                    <a:pt x="1" y="226"/>
                  </a:cubicBezTo>
                  <a:cubicBezTo>
                    <a:pt x="2" y="229"/>
                    <a:pt x="23" y="245"/>
                    <a:pt x="23" y="245"/>
                  </a:cubicBezTo>
                  <a:cubicBezTo>
                    <a:pt x="44" y="277"/>
                    <a:pt x="44" y="277"/>
                    <a:pt x="44" y="277"/>
                  </a:cubicBezTo>
                  <a:cubicBezTo>
                    <a:pt x="64" y="274"/>
                    <a:pt x="64" y="274"/>
                    <a:pt x="64" y="274"/>
                  </a:cubicBezTo>
                  <a:cubicBezTo>
                    <a:pt x="64" y="274"/>
                    <a:pt x="74" y="267"/>
                    <a:pt x="80" y="270"/>
                  </a:cubicBezTo>
                  <a:cubicBezTo>
                    <a:pt x="80" y="270"/>
                    <a:pt x="84" y="281"/>
                    <a:pt x="83" y="290"/>
                  </a:cubicBezTo>
                  <a:cubicBezTo>
                    <a:pt x="82" y="299"/>
                    <a:pt x="88" y="298"/>
                    <a:pt x="88" y="298"/>
                  </a:cubicBezTo>
                  <a:cubicBezTo>
                    <a:pt x="85" y="319"/>
                    <a:pt x="85" y="319"/>
                    <a:pt x="85" y="319"/>
                  </a:cubicBezTo>
                  <a:cubicBezTo>
                    <a:pt x="75" y="322"/>
                    <a:pt x="75" y="322"/>
                    <a:pt x="75" y="322"/>
                  </a:cubicBezTo>
                  <a:cubicBezTo>
                    <a:pt x="83" y="335"/>
                    <a:pt x="83" y="335"/>
                    <a:pt x="83" y="335"/>
                  </a:cubicBezTo>
                  <a:cubicBezTo>
                    <a:pt x="83" y="335"/>
                    <a:pt x="68" y="347"/>
                    <a:pt x="70" y="350"/>
                  </a:cubicBezTo>
                  <a:cubicBezTo>
                    <a:pt x="72" y="353"/>
                    <a:pt x="77" y="353"/>
                    <a:pt x="77" y="353"/>
                  </a:cubicBezTo>
                  <a:cubicBezTo>
                    <a:pt x="77" y="370"/>
                    <a:pt x="77" y="370"/>
                    <a:pt x="77" y="370"/>
                  </a:cubicBezTo>
                  <a:cubicBezTo>
                    <a:pt x="77" y="370"/>
                    <a:pt x="108" y="390"/>
                    <a:pt x="109" y="396"/>
                  </a:cubicBezTo>
                  <a:cubicBezTo>
                    <a:pt x="110" y="402"/>
                    <a:pt x="96" y="412"/>
                    <a:pt x="107" y="414"/>
                  </a:cubicBezTo>
                  <a:cubicBezTo>
                    <a:pt x="118" y="416"/>
                    <a:pt x="125" y="399"/>
                    <a:pt x="121" y="389"/>
                  </a:cubicBezTo>
                  <a:cubicBezTo>
                    <a:pt x="117" y="379"/>
                    <a:pt x="107" y="391"/>
                    <a:pt x="113" y="373"/>
                  </a:cubicBezTo>
                  <a:cubicBezTo>
                    <a:pt x="119" y="355"/>
                    <a:pt x="137" y="363"/>
                    <a:pt x="143" y="356"/>
                  </a:cubicBezTo>
                  <a:cubicBezTo>
                    <a:pt x="149" y="349"/>
                    <a:pt x="145" y="314"/>
                    <a:pt x="145" y="314"/>
                  </a:cubicBezTo>
                  <a:cubicBezTo>
                    <a:pt x="145" y="314"/>
                    <a:pt x="162" y="296"/>
                    <a:pt x="156" y="287"/>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00" name="Zambia">
              <a:extLst>
                <a:ext uri="{FF2B5EF4-FFF2-40B4-BE49-F238E27FC236}">
                  <a16:creationId xmlns:a16="http://schemas.microsoft.com/office/drawing/2014/main" id="{4206E467-4DF5-4F32-992B-DEDB601EECBC}"/>
                </a:ext>
              </a:extLst>
            </p:cNvPr>
            <p:cNvSpPr>
              <a:spLocks/>
            </p:cNvSpPr>
            <p:nvPr/>
          </p:nvSpPr>
          <p:spPr bwMode="gray">
            <a:xfrm>
              <a:off x="6380233" y="4417490"/>
              <a:ext cx="697726" cy="665502"/>
            </a:xfrm>
            <a:custGeom>
              <a:avLst/>
              <a:gdLst>
                <a:gd name="T0" fmla="*/ 551 w 563"/>
                <a:gd name="T1" fmla="*/ 109 h 536"/>
                <a:gd name="T2" fmla="*/ 540 w 563"/>
                <a:gd name="T3" fmla="*/ 84 h 536"/>
                <a:gd name="T4" fmla="*/ 525 w 563"/>
                <a:gd name="T5" fmla="*/ 69 h 536"/>
                <a:gd name="T6" fmla="*/ 502 w 563"/>
                <a:gd name="T7" fmla="*/ 60 h 536"/>
                <a:gd name="T8" fmla="*/ 485 w 563"/>
                <a:gd name="T9" fmla="*/ 51 h 536"/>
                <a:gd name="T10" fmla="*/ 461 w 563"/>
                <a:gd name="T11" fmla="*/ 38 h 536"/>
                <a:gd name="T12" fmla="*/ 436 w 563"/>
                <a:gd name="T13" fmla="*/ 26 h 536"/>
                <a:gd name="T14" fmla="*/ 419 w 563"/>
                <a:gd name="T15" fmla="*/ 25 h 536"/>
                <a:gd name="T16" fmla="*/ 402 w 563"/>
                <a:gd name="T17" fmla="*/ 0 h 536"/>
                <a:gd name="T18" fmla="*/ 333 w 563"/>
                <a:gd name="T19" fmla="*/ 15 h 536"/>
                <a:gd name="T20" fmla="*/ 306 w 563"/>
                <a:gd name="T21" fmla="*/ 57 h 536"/>
                <a:gd name="T22" fmla="*/ 320 w 563"/>
                <a:gd name="T23" fmla="*/ 87 h 536"/>
                <a:gd name="T24" fmla="*/ 304 w 563"/>
                <a:gd name="T25" fmla="*/ 189 h 536"/>
                <a:gd name="T26" fmla="*/ 351 w 563"/>
                <a:gd name="T27" fmla="*/ 230 h 536"/>
                <a:gd name="T28" fmla="*/ 364 w 563"/>
                <a:gd name="T29" fmla="*/ 214 h 536"/>
                <a:gd name="T30" fmla="*/ 367 w 563"/>
                <a:gd name="T31" fmla="*/ 282 h 536"/>
                <a:gd name="T32" fmla="*/ 344 w 563"/>
                <a:gd name="T33" fmla="*/ 281 h 536"/>
                <a:gd name="T34" fmla="*/ 324 w 563"/>
                <a:gd name="T35" fmla="*/ 251 h 536"/>
                <a:gd name="T36" fmla="*/ 305 w 563"/>
                <a:gd name="T37" fmla="*/ 228 h 536"/>
                <a:gd name="T38" fmla="*/ 282 w 563"/>
                <a:gd name="T39" fmla="*/ 216 h 536"/>
                <a:gd name="T40" fmla="*/ 267 w 563"/>
                <a:gd name="T41" fmla="*/ 203 h 536"/>
                <a:gd name="T42" fmla="*/ 246 w 563"/>
                <a:gd name="T43" fmla="*/ 179 h 536"/>
                <a:gd name="T44" fmla="*/ 165 w 563"/>
                <a:gd name="T45" fmla="*/ 188 h 536"/>
                <a:gd name="T46" fmla="*/ 128 w 563"/>
                <a:gd name="T47" fmla="*/ 168 h 536"/>
                <a:gd name="T48" fmla="*/ 117 w 563"/>
                <a:gd name="T49" fmla="*/ 151 h 536"/>
                <a:gd name="T50" fmla="*/ 101 w 563"/>
                <a:gd name="T51" fmla="*/ 144 h 536"/>
                <a:gd name="T52" fmla="*/ 107 w 563"/>
                <a:gd name="T53" fmla="*/ 178 h 536"/>
                <a:gd name="T54" fmla="*/ 98 w 563"/>
                <a:gd name="T55" fmla="*/ 218 h 536"/>
                <a:gd name="T56" fmla="*/ 93 w 563"/>
                <a:gd name="T57" fmla="*/ 232 h 536"/>
                <a:gd name="T58" fmla="*/ 84 w 563"/>
                <a:gd name="T59" fmla="*/ 262 h 536"/>
                <a:gd name="T60" fmla="*/ 0 w 563"/>
                <a:gd name="T61" fmla="*/ 427 h 536"/>
                <a:gd name="T62" fmla="*/ 6 w 563"/>
                <a:gd name="T63" fmla="*/ 449 h 536"/>
                <a:gd name="T64" fmla="*/ 79 w 563"/>
                <a:gd name="T65" fmla="*/ 511 h 536"/>
                <a:gd name="T66" fmla="*/ 108 w 563"/>
                <a:gd name="T67" fmla="*/ 498 h 536"/>
                <a:gd name="T68" fmla="*/ 138 w 563"/>
                <a:gd name="T69" fmla="*/ 504 h 536"/>
                <a:gd name="T70" fmla="*/ 177 w 563"/>
                <a:gd name="T71" fmla="*/ 517 h 536"/>
                <a:gd name="T72" fmla="*/ 202 w 563"/>
                <a:gd name="T73" fmla="*/ 521 h 536"/>
                <a:gd name="T74" fmla="*/ 267 w 563"/>
                <a:gd name="T75" fmla="*/ 491 h 536"/>
                <a:gd name="T76" fmla="*/ 323 w 563"/>
                <a:gd name="T77" fmla="*/ 449 h 536"/>
                <a:gd name="T78" fmla="*/ 356 w 563"/>
                <a:gd name="T79" fmla="*/ 405 h 536"/>
                <a:gd name="T80" fmla="*/ 395 w 563"/>
                <a:gd name="T81" fmla="*/ 385 h 536"/>
                <a:gd name="T82" fmla="*/ 411 w 563"/>
                <a:gd name="T83" fmla="*/ 362 h 536"/>
                <a:gd name="T84" fmla="*/ 475 w 563"/>
                <a:gd name="T85" fmla="*/ 338 h 536"/>
                <a:gd name="T86" fmla="*/ 506 w 563"/>
                <a:gd name="T87" fmla="*/ 294 h 536"/>
                <a:gd name="T88" fmla="*/ 519 w 563"/>
                <a:gd name="T89" fmla="*/ 243 h 536"/>
                <a:gd name="T90" fmla="*/ 539 w 563"/>
                <a:gd name="T91" fmla="*/ 221 h 536"/>
                <a:gd name="T92" fmla="*/ 542 w 563"/>
                <a:gd name="T93" fmla="*/ 160 h 536"/>
                <a:gd name="T94" fmla="*/ 535 w 563"/>
                <a:gd name="T95" fmla="*/ 143 h 536"/>
                <a:gd name="T96" fmla="*/ 551 w 563"/>
                <a:gd name="T97" fmla="*/ 12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3" h="536">
                  <a:moveTo>
                    <a:pt x="551" y="122"/>
                  </a:moveTo>
                  <a:cubicBezTo>
                    <a:pt x="551" y="109"/>
                    <a:pt x="551" y="109"/>
                    <a:pt x="551" y="109"/>
                  </a:cubicBezTo>
                  <a:cubicBezTo>
                    <a:pt x="551" y="109"/>
                    <a:pt x="545" y="110"/>
                    <a:pt x="542" y="110"/>
                  </a:cubicBezTo>
                  <a:cubicBezTo>
                    <a:pt x="539" y="110"/>
                    <a:pt x="541" y="91"/>
                    <a:pt x="540" y="84"/>
                  </a:cubicBezTo>
                  <a:cubicBezTo>
                    <a:pt x="539" y="77"/>
                    <a:pt x="525" y="77"/>
                    <a:pt x="525" y="77"/>
                  </a:cubicBezTo>
                  <a:cubicBezTo>
                    <a:pt x="525" y="69"/>
                    <a:pt x="525" y="69"/>
                    <a:pt x="525" y="69"/>
                  </a:cubicBezTo>
                  <a:cubicBezTo>
                    <a:pt x="514" y="59"/>
                    <a:pt x="514" y="59"/>
                    <a:pt x="514" y="59"/>
                  </a:cubicBezTo>
                  <a:cubicBezTo>
                    <a:pt x="502" y="60"/>
                    <a:pt x="502" y="60"/>
                    <a:pt x="502" y="60"/>
                  </a:cubicBezTo>
                  <a:cubicBezTo>
                    <a:pt x="500" y="49"/>
                    <a:pt x="500" y="49"/>
                    <a:pt x="500" y="49"/>
                  </a:cubicBezTo>
                  <a:cubicBezTo>
                    <a:pt x="500" y="49"/>
                    <a:pt x="490" y="55"/>
                    <a:pt x="485" y="51"/>
                  </a:cubicBezTo>
                  <a:cubicBezTo>
                    <a:pt x="480" y="47"/>
                    <a:pt x="473" y="38"/>
                    <a:pt x="473" y="38"/>
                  </a:cubicBezTo>
                  <a:cubicBezTo>
                    <a:pt x="473" y="38"/>
                    <a:pt x="464" y="41"/>
                    <a:pt x="461" y="38"/>
                  </a:cubicBezTo>
                  <a:cubicBezTo>
                    <a:pt x="458" y="35"/>
                    <a:pt x="456" y="23"/>
                    <a:pt x="456" y="23"/>
                  </a:cubicBezTo>
                  <a:cubicBezTo>
                    <a:pt x="456" y="23"/>
                    <a:pt x="444" y="27"/>
                    <a:pt x="436" y="26"/>
                  </a:cubicBezTo>
                  <a:cubicBezTo>
                    <a:pt x="434" y="31"/>
                    <a:pt x="431" y="36"/>
                    <a:pt x="428" y="38"/>
                  </a:cubicBezTo>
                  <a:cubicBezTo>
                    <a:pt x="420" y="42"/>
                    <a:pt x="419" y="25"/>
                    <a:pt x="419" y="25"/>
                  </a:cubicBezTo>
                  <a:cubicBezTo>
                    <a:pt x="419" y="25"/>
                    <a:pt x="411" y="20"/>
                    <a:pt x="400" y="16"/>
                  </a:cubicBezTo>
                  <a:cubicBezTo>
                    <a:pt x="393" y="13"/>
                    <a:pt x="398" y="6"/>
                    <a:pt x="402" y="0"/>
                  </a:cubicBezTo>
                  <a:cubicBezTo>
                    <a:pt x="394" y="4"/>
                    <a:pt x="387" y="6"/>
                    <a:pt x="383" y="7"/>
                  </a:cubicBezTo>
                  <a:cubicBezTo>
                    <a:pt x="370" y="10"/>
                    <a:pt x="333" y="15"/>
                    <a:pt x="333" y="15"/>
                  </a:cubicBezTo>
                  <a:cubicBezTo>
                    <a:pt x="333" y="15"/>
                    <a:pt x="333" y="28"/>
                    <a:pt x="333" y="35"/>
                  </a:cubicBezTo>
                  <a:cubicBezTo>
                    <a:pt x="333" y="42"/>
                    <a:pt x="306" y="57"/>
                    <a:pt x="306" y="57"/>
                  </a:cubicBezTo>
                  <a:cubicBezTo>
                    <a:pt x="306" y="57"/>
                    <a:pt x="312" y="64"/>
                    <a:pt x="315" y="66"/>
                  </a:cubicBezTo>
                  <a:cubicBezTo>
                    <a:pt x="318" y="68"/>
                    <a:pt x="320" y="87"/>
                    <a:pt x="320" y="87"/>
                  </a:cubicBezTo>
                  <a:cubicBezTo>
                    <a:pt x="320" y="87"/>
                    <a:pt x="324" y="121"/>
                    <a:pt x="324" y="135"/>
                  </a:cubicBezTo>
                  <a:cubicBezTo>
                    <a:pt x="324" y="149"/>
                    <a:pt x="302" y="171"/>
                    <a:pt x="304" y="189"/>
                  </a:cubicBezTo>
                  <a:cubicBezTo>
                    <a:pt x="306" y="207"/>
                    <a:pt x="317" y="202"/>
                    <a:pt x="323" y="209"/>
                  </a:cubicBezTo>
                  <a:cubicBezTo>
                    <a:pt x="329" y="216"/>
                    <a:pt x="341" y="230"/>
                    <a:pt x="351" y="230"/>
                  </a:cubicBezTo>
                  <a:cubicBezTo>
                    <a:pt x="361" y="230"/>
                    <a:pt x="358" y="217"/>
                    <a:pt x="358" y="217"/>
                  </a:cubicBezTo>
                  <a:cubicBezTo>
                    <a:pt x="364" y="214"/>
                    <a:pt x="364" y="214"/>
                    <a:pt x="364" y="214"/>
                  </a:cubicBezTo>
                  <a:cubicBezTo>
                    <a:pt x="372" y="214"/>
                    <a:pt x="372" y="214"/>
                    <a:pt x="372" y="214"/>
                  </a:cubicBezTo>
                  <a:cubicBezTo>
                    <a:pt x="372" y="214"/>
                    <a:pt x="373" y="279"/>
                    <a:pt x="367" y="282"/>
                  </a:cubicBezTo>
                  <a:cubicBezTo>
                    <a:pt x="361" y="285"/>
                    <a:pt x="359" y="271"/>
                    <a:pt x="359" y="271"/>
                  </a:cubicBezTo>
                  <a:cubicBezTo>
                    <a:pt x="344" y="281"/>
                    <a:pt x="344" y="281"/>
                    <a:pt x="344" y="281"/>
                  </a:cubicBezTo>
                  <a:cubicBezTo>
                    <a:pt x="332" y="281"/>
                    <a:pt x="332" y="281"/>
                    <a:pt x="332" y="281"/>
                  </a:cubicBezTo>
                  <a:cubicBezTo>
                    <a:pt x="332" y="281"/>
                    <a:pt x="329" y="258"/>
                    <a:pt x="324" y="251"/>
                  </a:cubicBezTo>
                  <a:cubicBezTo>
                    <a:pt x="319" y="244"/>
                    <a:pt x="313" y="247"/>
                    <a:pt x="313" y="247"/>
                  </a:cubicBezTo>
                  <a:cubicBezTo>
                    <a:pt x="313" y="247"/>
                    <a:pt x="311" y="236"/>
                    <a:pt x="305" y="228"/>
                  </a:cubicBezTo>
                  <a:cubicBezTo>
                    <a:pt x="299" y="220"/>
                    <a:pt x="294" y="228"/>
                    <a:pt x="290" y="228"/>
                  </a:cubicBezTo>
                  <a:cubicBezTo>
                    <a:pt x="286" y="228"/>
                    <a:pt x="287" y="220"/>
                    <a:pt x="282" y="216"/>
                  </a:cubicBezTo>
                  <a:cubicBezTo>
                    <a:pt x="277" y="212"/>
                    <a:pt x="275" y="218"/>
                    <a:pt x="267" y="217"/>
                  </a:cubicBezTo>
                  <a:cubicBezTo>
                    <a:pt x="259" y="216"/>
                    <a:pt x="267" y="207"/>
                    <a:pt x="267" y="203"/>
                  </a:cubicBezTo>
                  <a:cubicBezTo>
                    <a:pt x="267" y="199"/>
                    <a:pt x="257" y="199"/>
                    <a:pt x="253" y="194"/>
                  </a:cubicBezTo>
                  <a:cubicBezTo>
                    <a:pt x="249" y="189"/>
                    <a:pt x="258" y="184"/>
                    <a:pt x="246" y="179"/>
                  </a:cubicBezTo>
                  <a:cubicBezTo>
                    <a:pt x="234" y="174"/>
                    <a:pt x="237" y="200"/>
                    <a:pt x="232" y="204"/>
                  </a:cubicBezTo>
                  <a:cubicBezTo>
                    <a:pt x="227" y="208"/>
                    <a:pt x="175" y="195"/>
                    <a:pt x="165" y="188"/>
                  </a:cubicBezTo>
                  <a:cubicBezTo>
                    <a:pt x="155" y="181"/>
                    <a:pt x="159" y="162"/>
                    <a:pt x="159" y="162"/>
                  </a:cubicBezTo>
                  <a:cubicBezTo>
                    <a:pt x="128" y="168"/>
                    <a:pt x="128" y="168"/>
                    <a:pt x="128" y="168"/>
                  </a:cubicBezTo>
                  <a:cubicBezTo>
                    <a:pt x="128" y="168"/>
                    <a:pt x="142" y="178"/>
                    <a:pt x="125" y="177"/>
                  </a:cubicBezTo>
                  <a:cubicBezTo>
                    <a:pt x="108" y="176"/>
                    <a:pt x="117" y="151"/>
                    <a:pt x="117" y="151"/>
                  </a:cubicBezTo>
                  <a:cubicBezTo>
                    <a:pt x="106" y="153"/>
                    <a:pt x="106" y="153"/>
                    <a:pt x="106" y="153"/>
                  </a:cubicBezTo>
                  <a:cubicBezTo>
                    <a:pt x="101" y="144"/>
                    <a:pt x="101" y="144"/>
                    <a:pt x="101" y="144"/>
                  </a:cubicBezTo>
                  <a:cubicBezTo>
                    <a:pt x="96" y="154"/>
                    <a:pt x="96" y="154"/>
                    <a:pt x="96" y="154"/>
                  </a:cubicBezTo>
                  <a:cubicBezTo>
                    <a:pt x="96" y="154"/>
                    <a:pt x="110" y="175"/>
                    <a:pt x="107" y="178"/>
                  </a:cubicBezTo>
                  <a:cubicBezTo>
                    <a:pt x="104" y="181"/>
                    <a:pt x="96" y="183"/>
                    <a:pt x="96" y="183"/>
                  </a:cubicBezTo>
                  <a:cubicBezTo>
                    <a:pt x="98" y="218"/>
                    <a:pt x="98" y="218"/>
                    <a:pt x="98" y="218"/>
                  </a:cubicBezTo>
                  <a:cubicBezTo>
                    <a:pt x="106" y="229"/>
                    <a:pt x="106" y="229"/>
                    <a:pt x="106" y="229"/>
                  </a:cubicBezTo>
                  <a:cubicBezTo>
                    <a:pt x="93" y="232"/>
                    <a:pt x="93" y="232"/>
                    <a:pt x="93" y="232"/>
                  </a:cubicBezTo>
                  <a:cubicBezTo>
                    <a:pt x="93" y="232"/>
                    <a:pt x="99" y="248"/>
                    <a:pt x="97" y="255"/>
                  </a:cubicBezTo>
                  <a:cubicBezTo>
                    <a:pt x="95" y="262"/>
                    <a:pt x="84" y="262"/>
                    <a:pt x="84" y="262"/>
                  </a:cubicBezTo>
                  <a:cubicBezTo>
                    <a:pt x="1" y="260"/>
                    <a:pt x="1" y="260"/>
                    <a:pt x="1" y="260"/>
                  </a:cubicBezTo>
                  <a:cubicBezTo>
                    <a:pt x="0" y="427"/>
                    <a:pt x="0" y="427"/>
                    <a:pt x="0" y="427"/>
                  </a:cubicBezTo>
                  <a:cubicBezTo>
                    <a:pt x="6" y="437"/>
                    <a:pt x="6" y="437"/>
                    <a:pt x="6" y="437"/>
                  </a:cubicBezTo>
                  <a:cubicBezTo>
                    <a:pt x="6" y="449"/>
                    <a:pt x="6" y="449"/>
                    <a:pt x="6" y="449"/>
                  </a:cubicBezTo>
                  <a:cubicBezTo>
                    <a:pt x="64" y="507"/>
                    <a:pt x="64" y="507"/>
                    <a:pt x="64" y="507"/>
                  </a:cubicBezTo>
                  <a:cubicBezTo>
                    <a:pt x="79" y="511"/>
                    <a:pt x="79" y="511"/>
                    <a:pt x="79" y="511"/>
                  </a:cubicBezTo>
                  <a:cubicBezTo>
                    <a:pt x="92" y="503"/>
                    <a:pt x="92" y="503"/>
                    <a:pt x="92" y="503"/>
                  </a:cubicBezTo>
                  <a:cubicBezTo>
                    <a:pt x="92" y="503"/>
                    <a:pt x="99" y="498"/>
                    <a:pt x="108" y="498"/>
                  </a:cubicBezTo>
                  <a:cubicBezTo>
                    <a:pt x="117" y="498"/>
                    <a:pt x="118" y="506"/>
                    <a:pt x="118" y="506"/>
                  </a:cubicBezTo>
                  <a:cubicBezTo>
                    <a:pt x="138" y="504"/>
                    <a:pt x="138" y="504"/>
                    <a:pt x="138" y="504"/>
                  </a:cubicBezTo>
                  <a:cubicBezTo>
                    <a:pt x="151" y="517"/>
                    <a:pt x="151" y="517"/>
                    <a:pt x="151" y="517"/>
                  </a:cubicBezTo>
                  <a:cubicBezTo>
                    <a:pt x="151" y="517"/>
                    <a:pt x="175" y="513"/>
                    <a:pt x="177" y="517"/>
                  </a:cubicBezTo>
                  <a:cubicBezTo>
                    <a:pt x="179" y="521"/>
                    <a:pt x="185" y="527"/>
                    <a:pt x="189" y="527"/>
                  </a:cubicBezTo>
                  <a:cubicBezTo>
                    <a:pt x="193" y="527"/>
                    <a:pt x="195" y="515"/>
                    <a:pt x="202" y="521"/>
                  </a:cubicBezTo>
                  <a:cubicBezTo>
                    <a:pt x="209" y="527"/>
                    <a:pt x="210" y="536"/>
                    <a:pt x="228" y="527"/>
                  </a:cubicBezTo>
                  <a:cubicBezTo>
                    <a:pt x="246" y="518"/>
                    <a:pt x="267" y="491"/>
                    <a:pt x="267" y="491"/>
                  </a:cubicBezTo>
                  <a:cubicBezTo>
                    <a:pt x="267" y="491"/>
                    <a:pt x="269" y="475"/>
                    <a:pt x="276" y="468"/>
                  </a:cubicBezTo>
                  <a:cubicBezTo>
                    <a:pt x="283" y="461"/>
                    <a:pt x="322" y="450"/>
                    <a:pt x="323" y="449"/>
                  </a:cubicBezTo>
                  <a:cubicBezTo>
                    <a:pt x="324" y="448"/>
                    <a:pt x="321" y="425"/>
                    <a:pt x="321" y="425"/>
                  </a:cubicBezTo>
                  <a:cubicBezTo>
                    <a:pt x="321" y="425"/>
                    <a:pt x="339" y="411"/>
                    <a:pt x="356" y="405"/>
                  </a:cubicBezTo>
                  <a:cubicBezTo>
                    <a:pt x="369" y="400"/>
                    <a:pt x="387" y="400"/>
                    <a:pt x="396" y="401"/>
                  </a:cubicBezTo>
                  <a:cubicBezTo>
                    <a:pt x="395" y="385"/>
                    <a:pt x="395" y="385"/>
                    <a:pt x="395" y="385"/>
                  </a:cubicBezTo>
                  <a:cubicBezTo>
                    <a:pt x="395" y="385"/>
                    <a:pt x="380" y="371"/>
                    <a:pt x="385" y="367"/>
                  </a:cubicBezTo>
                  <a:cubicBezTo>
                    <a:pt x="391" y="363"/>
                    <a:pt x="411" y="362"/>
                    <a:pt x="411" y="362"/>
                  </a:cubicBezTo>
                  <a:cubicBezTo>
                    <a:pt x="423" y="351"/>
                    <a:pt x="423" y="351"/>
                    <a:pt x="423" y="351"/>
                  </a:cubicBezTo>
                  <a:cubicBezTo>
                    <a:pt x="423" y="351"/>
                    <a:pt x="465" y="343"/>
                    <a:pt x="475" y="338"/>
                  </a:cubicBezTo>
                  <a:cubicBezTo>
                    <a:pt x="484" y="333"/>
                    <a:pt x="528" y="313"/>
                    <a:pt x="528" y="313"/>
                  </a:cubicBezTo>
                  <a:cubicBezTo>
                    <a:pt x="528" y="313"/>
                    <a:pt x="507" y="297"/>
                    <a:pt x="506" y="294"/>
                  </a:cubicBezTo>
                  <a:cubicBezTo>
                    <a:pt x="505" y="291"/>
                    <a:pt x="521" y="268"/>
                    <a:pt x="521" y="268"/>
                  </a:cubicBezTo>
                  <a:cubicBezTo>
                    <a:pt x="519" y="243"/>
                    <a:pt x="519" y="243"/>
                    <a:pt x="519" y="243"/>
                  </a:cubicBezTo>
                  <a:cubicBezTo>
                    <a:pt x="519" y="243"/>
                    <a:pt x="544" y="232"/>
                    <a:pt x="547" y="225"/>
                  </a:cubicBezTo>
                  <a:cubicBezTo>
                    <a:pt x="550" y="218"/>
                    <a:pt x="539" y="221"/>
                    <a:pt x="539" y="221"/>
                  </a:cubicBezTo>
                  <a:cubicBezTo>
                    <a:pt x="538" y="173"/>
                    <a:pt x="538" y="173"/>
                    <a:pt x="538" y="173"/>
                  </a:cubicBezTo>
                  <a:cubicBezTo>
                    <a:pt x="542" y="160"/>
                    <a:pt x="542" y="160"/>
                    <a:pt x="542" y="160"/>
                  </a:cubicBezTo>
                  <a:cubicBezTo>
                    <a:pt x="535" y="154"/>
                    <a:pt x="535" y="154"/>
                    <a:pt x="535" y="154"/>
                  </a:cubicBezTo>
                  <a:cubicBezTo>
                    <a:pt x="535" y="143"/>
                    <a:pt x="535" y="143"/>
                    <a:pt x="535" y="143"/>
                  </a:cubicBezTo>
                  <a:cubicBezTo>
                    <a:pt x="535" y="143"/>
                    <a:pt x="551" y="139"/>
                    <a:pt x="557" y="132"/>
                  </a:cubicBezTo>
                  <a:cubicBezTo>
                    <a:pt x="563" y="125"/>
                    <a:pt x="551" y="122"/>
                    <a:pt x="551" y="122"/>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01" name="DR Congo">
              <a:extLst>
                <a:ext uri="{FF2B5EF4-FFF2-40B4-BE49-F238E27FC236}">
                  <a16:creationId xmlns:a16="http://schemas.microsoft.com/office/drawing/2014/main" id="{04AC067F-EB53-4CF0-B925-BC2F4EBC929F}"/>
                </a:ext>
              </a:extLst>
            </p:cNvPr>
            <p:cNvSpPr>
              <a:spLocks/>
            </p:cNvSpPr>
            <p:nvPr/>
          </p:nvSpPr>
          <p:spPr bwMode="gray">
            <a:xfrm>
              <a:off x="5816415" y="3512544"/>
              <a:ext cx="1120590" cy="1260579"/>
            </a:xfrm>
            <a:custGeom>
              <a:avLst/>
              <a:gdLst>
                <a:gd name="T0" fmla="*/ 838 w 902"/>
                <a:gd name="T1" fmla="*/ 264 h 1016"/>
                <a:gd name="T2" fmla="*/ 853 w 902"/>
                <a:gd name="T3" fmla="*/ 230 h 1016"/>
                <a:gd name="T4" fmla="*/ 890 w 902"/>
                <a:gd name="T5" fmla="*/ 163 h 1016"/>
                <a:gd name="T6" fmla="*/ 873 w 902"/>
                <a:gd name="T7" fmla="*/ 127 h 1016"/>
                <a:gd name="T8" fmla="*/ 869 w 902"/>
                <a:gd name="T9" fmla="*/ 98 h 1016"/>
                <a:gd name="T10" fmla="*/ 820 w 902"/>
                <a:gd name="T11" fmla="*/ 39 h 1016"/>
                <a:gd name="T12" fmla="*/ 765 w 902"/>
                <a:gd name="T13" fmla="*/ 61 h 1016"/>
                <a:gd name="T14" fmla="*/ 713 w 902"/>
                <a:gd name="T15" fmla="*/ 13 h 1016"/>
                <a:gd name="T16" fmla="*/ 659 w 902"/>
                <a:gd name="T17" fmla="*/ 10 h 1016"/>
                <a:gd name="T18" fmla="*/ 611 w 902"/>
                <a:gd name="T19" fmla="*/ 23 h 1016"/>
                <a:gd name="T20" fmla="*/ 560 w 902"/>
                <a:gd name="T21" fmla="*/ 32 h 1016"/>
                <a:gd name="T22" fmla="*/ 509 w 902"/>
                <a:gd name="T23" fmla="*/ 30 h 1016"/>
                <a:gd name="T24" fmla="*/ 462 w 902"/>
                <a:gd name="T25" fmla="*/ 63 h 1016"/>
                <a:gd name="T26" fmla="*/ 394 w 902"/>
                <a:gd name="T27" fmla="*/ 53 h 1016"/>
                <a:gd name="T28" fmla="*/ 346 w 902"/>
                <a:gd name="T29" fmla="*/ 15 h 1016"/>
                <a:gd name="T30" fmla="*/ 302 w 902"/>
                <a:gd name="T31" fmla="*/ 72 h 1016"/>
                <a:gd name="T32" fmla="*/ 301 w 902"/>
                <a:gd name="T33" fmla="*/ 103 h 1016"/>
                <a:gd name="T34" fmla="*/ 276 w 902"/>
                <a:gd name="T35" fmla="*/ 217 h 1016"/>
                <a:gd name="T36" fmla="*/ 262 w 902"/>
                <a:gd name="T37" fmla="*/ 289 h 1016"/>
                <a:gd name="T38" fmla="*/ 213 w 902"/>
                <a:gd name="T39" fmla="*/ 359 h 1016"/>
                <a:gd name="T40" fmla="*/ 187 w 902"/>
                <a:gd name="T41" fmla="*/ 477 h 1016"/>
                <a:gd name="T42" fmla="*/ 129 w 902"/>
                <a:gd name="T43" fmla="*/ 540 h 1016"/>
                <a:gd name="T44" fmla="*/ 83 w 902"/>
                <a:gd name="T45" fmla="*/ 533 h 1016"/>
                <a:gd name="T46" fmla="*/ 43 w 902"/>
                <a:gd name="T47" fmla="*/ 537 h 1016"/>
                <a:gd name="T48" fmla="*/ 9 w 902"/>
                <a:gd name="T49" fmla="*/ 565 h 1016"/>
                <a:gd name="T50" fmla="*/ 12 w 902"/>
                <a:gd name="T51" fmla="*/ 617 h 1016"/>
                <a:gd name="T52" fmla="*/ 57 w 902"/>
                <a:gd name="T53" fmla="*/ 607 h 1016"/>
                <a:gd name="T54" fmla="*/ 98 w 902"/>
                <a:gd name="T55" fmla="*/ 611 h 1016"/>
                <a:gd name="T56" fmla="*/ 153 w 902"/>
                <a:gd name="T57" fmla="*/ 609 h 1016"/>
                <a:gd name="T58" fmla="*/ 200 w 902"/>
                <a:gd name="T59" fmla="*/ 608 h 1016"/>
                <a:gd name="T60" fmla="*/ 223 w 902"/>
                <a:gd name="T61" fmla="*/ 664 h 1016"/>
                <a:gd name="T62" fmla="*/ 240 w 902"/>
                <a:gd name="T63" fmla="*/ 709 h 1016"/>
                <a:gd name="T64" fmla="*/ 270 w 902"/>
                <a:gd name="T65" fmla="*/ 726 h 1016"/>
                <a:gd name="T66" fmla="*/ 296 w 902"/>
                <a:gd name="T67" fmla="*/ 724 h 1016"/>
                <a:gd name="T68" fmla="*/ 337 w 902"/>
                <a:gd name="T69" fmla="*/ 720 h 1016"/>
                <a:gd name="T70" fmla="*/ 343 w 902"/>
                <a:gd name="T71" fmla="*/ 672 h 1016"/>
                <a:gd name="T72" fmla="*/ 391 w 902"/>
                <a:gd name="T73" fmla="*/ 678 h 1016"/>
                <a:gd name="T74" fmla="*/ 452 w 902"/>
                <a:gd name="T75" fmla="*/ 703 h 1016"/>
                <a:gd name="T76" fmla="*/ 461 w 902"/>
                <a:gd name="T77" fmla="*/ 747 h 1016"/>
                <a:gd name="T78" fmla="*/ 451 w 902"/>
                <a:gd name="T79" fmla="*/ 799 h 1016"/>
                <a:gd name="T80" fmla="*/ 471 w 902"/>
                <a:gd name="T81" fmla="*/ 869 h 1016"/>
                <a:gd name="T82" fmla="*/ 485 w 902"/>
                <a:gd name="T83" fmla="*/ 886 h 1016"/>
                <a:gd name="T84" fmla="*/ 526 w 902"/>
                <a:gd name="T85" fmla="*/ 880 h 1016"/>
                <a:gd name="T86" fmla="*/ 556 w 902"/>
                <a:gd name="T87" fmla="*/ 875 h 1016"/>
                <a:gd name="T88" fmla="*/ 580 w 902"/>
                <a:gd name="T89" fmla="*/ 908 h 1016"/>
                <a:gd name="T90" fmla="*/ 620 w 902"/>
                <a:gd name="T91" fmla="*/ 919 h 1016"/>
                <a:gd name="T92" fmla="*/ 708 w 902"/>
                <a:gd name="T93" fmla="*/ 925 h 1016"/>
                <a:gd name="T94" fmla="*/ 737 w 902"/>
                <a:gd name="T95" fmla="*/ 947 h 1016"/>
                <a:gd name="T96" fmla="*/ 768 w 902"/>
                <a:gd name="T97" fmla="*/ 978 h 1016"/>
                <a:gd name="T98" fmla="*/ 799 w 902"/>
                <a:gd name="T99" fmla="*/ 1012 h 1016"/>
                <a:gd name="T100" fmla="*/ 827 w 902"/>
                <a:gd name="T101" fmla="*/ 945 h 1016"/>
                <a:gd name="T102" fmla="*/ 806 w 902"/>
                <a:gd name="T103" fmla="*/ 961 h 1016"/>
                <a:gd name="T104" fmla="*/ 779 w 902"/>
                <a:gd name="T105" fmla="*/ 866 h 1016"/>
                <a:gd name="T106" fmla="*/ 761 w 902"/>
                <a:gd name="T107" fmla="*/ 788 h 1016"/>
                <a:gd name="T108" fmla="*/ 838 w 902"/>
                <a:gd name="T109" fmla="*/ 738 h 1016"/>
                <a:gd name="T110" fmla="*/ 850 w 902"/>
                <a:gd name="T111" fmla="*/ 710 h 1016"/>
                <a:gd name="T112" fmla="*/ 828 w 902"/>
                <a:gd name="T113" fmla="*/ 658 h 1016"/>
                <a:gd name="T114" fmla="*/ 810 w 902"/>
                <a:gd name="T115" fmla="*/ 589 h 1016"/>
                <a:gd name="T116" fmla="*/ 802 w 902"/>
                <a:gd name="T117" fmla="*/ 502 h 1016"/>
                <a:gd name="T118" fmla="*/ 816 w 902"/>
                <a:gd name="T119" fmla="*/ 471 h 1016"/>
                <a:gd name="T120" fmla="*/ 795 w 902"/>
                <a:gd name="T121" fmla="*/ 434 h 1016"/>
                <a:gd name="T122" fmla="*/ 799 w 902"/>
                <a:gd name="T123" fmla="*/ 384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2" h="1016">
                  <a:moveTo>
                    <a:pt x="828" y="315"/>
                  </a:moveTo>
                  <a:cubicBezTo>
                    <a:pt x="828" y="295"/>
                    <a:pt x="828" y="295"/>
                    <a:pt x="828" y="295"/>
                  </a:cubicBezTo>
                  <a:cubicBezTo>
                    <a:pt x="838" y="264"/>
                    <a:pt x="838" y="264"/>
                    <a:pt x="838" y="264"/>
                  </a:cubicBezTo>
                  <a:cubicBezTo>
                    <a:pt x="840" y="247"/>
                    <a:pt x="840" y="247"/>
                    <a:pt x="840" y="247"/>
                  </a:cubicBezTo>
                  <a:cubicBezTo>
                    <a:pt x="853" y="239"/>
                    <a:pt x="853" y="239"/>
                    <a:pt x="853" y="239"/>
                  </a:cubicBezTo>
                  <a:cubicBezTo>
                    <a:pt x="853" y="230"/>
                    <a:pt x="853" y="230"/>
                    <a:pt x="853" y="230"/>
                  </a:cubicBezTo>
                  <a:cubicBezTo>
                    <a:pt x="869" y="222"/>
                    <a:pt x="869" y="222"/>
                    <a:pt x="869" y="222"/>
                  </a:cubicBezTo>
                  <a:cubicBezTo>
                    <a:pt x="869" y="222"/>
                    <a:pt x="902" y="182"/>
                    <a:pt x="902" y="174"/>
                  </a:cubicBezTo>
                  <a:cubicBezTo>
                    <a:pt x="902" y="166"/>
                    <a:pt x="890" y="163"/>
                    <a:pt x="890" y="163"/>
                  </a:cubicBezTo>
                  <a:cubicBezTo>
                    <a:pt x="890" y="163"/>
                    <a:pt x="879" y="164"/>
                    <a:pt x="876" y="158"/>
                  </a:cubicBezTo>
                  <a:cubicBezTo>
                    <a:pt x="873" y="153"/>
                    <a:pt x="882" y="142"/>
                    <a:pt x="883" y="137"/>
                  </a:cubicBezTo>
                  <a:cubicBezTo>
                    <a:pt x="884" y="131"/>
                    <a:pt x="873" y="127"/>
                    <a:pt x="873" y="127"/>
                  </a:cubicBezTo>
                  <a:cubicBezTo>
                    <a:pt x="886" y="113"/>
                    <a:pt x="886" y="113"/>
                    <a:pt x="886" y="113"/>
                  </a:cubicBezTo>
                  <a:cubicBezTo>
                    <a:pt x="880" y="100"/>
                    <a:pt x="880" y="100"/>
                    <a:pt x="880" y="100"/>
                  </a:cubicBezTo>
                  <a:cubicBezTo>
                    <a:pt x="869" y="98"/>
                    <a:pt x="869" y="98"/>
                    <a:pt x="869" y="98"/>
                  </a:cubicBezTo>
                  <a:cubicBezTo>
                    <a:pt x="866" y="84"/>
                    <a:pt x="866" y="84"/>
                    <a:pt x="866" y="84"/>
                  </a:cubicBezTo>
                  <a:cubicBezTo>
                    <a:pt x="866" y="84"/>
                    <a:pt x="847" y="80"/>
                    <a:pt x="839" y="68"/>
                  </a:cubicBezTo>
                  <a:cubicBezTo>
                    <a:pt x="831" y="56"/>
                    <a:pt x="827" y="39"/>
                    <a:pt x="820" y="39"/>
                  </a:cubicBezTo>
                  <a:cubicBezTo>
                    <a:pt x="813" y="39"/>
                    <a:pt x="814" y="57"/>
                    <a:pt x="803" y="57"/>
                  </a:cubicBezTo>
                  <a:cubicBezTo>
                    <a:pt x="792" y="57"/>
                    <a:pt x="791" y="45"/>
                    <a:pt x="782" y="45"/>
                  </a:cubicBezTo>
                  <a:cubicBezTo>
                    <a:pt x="773" y="45"/>
                    <a:pt x="765" y="61"/>
                    <a:pt x="765" y="61"/>
                  </a:cubicBezTo>
                  <a:cubicBezTo>
                    <a:pt x="734" y="46"/>
                    <a:pt x="734" y="46"/>
                    <a:pt x="734" y="46"/>
                  </a:cubicBezTo>
                  <a:cubicBezTo>
                    <a:pt x="734" y="32"/>
                    <a:pt x="734" y="32"/>
                    <a:pt x="734" y="32"/>
                  </a:cubicBezTo>
                  <a:cubicBezTo>
                    <a:pt x="713" y="13"/>
                    <a:pt x="713" y="13"/>
                    <a:pt x="713" y="13"/>
                  </a:cubicBezTo>
                  <a:cubicBezTo>
                    <a:pt x="709" y="5"/>
                    <a:pt x="709" y="5"/>
                    <a:pt x="709" y="5"/>
                  </a:cubicBezTo>
                  <a:cubicBezTo>
                    <a:pt x="709" y="5"/>
                    <a:pt x="705" y="16"/>
                    <a:pt x="685" y="21"/>
                  </a:cubicBezTo>
                  <a:cubicBezTo>
                    <a:pt x="665" y="26"/>
                    <a:pt x="659" y="10"/>
                    <a:pt x="659" y="10"/>
                  </a:cubicBezTo>
                  <a:cubicBezTo>
                    <a:pt x="638" y="13"/>
                    <a:pt x="638" y="13"/>
                    <a:pt x="638" y="13"/>
                  </a:cubicBezTo>
                  <a:cubicBezTo>
                    <a:pt x="638" y="13"/>
                    <a:pt x="630" y="0"/>
                    <a:pt x="623" y="1"/>
                  </a:cubicBezTo>
                  <a:cubicBezTo>
                    <a:pt x="616" y="2"/>
                    <a:pt x="611" y="23"/>
                    <a:pt x="611" y="23"/>
                  </a:cubicBezTo>
                  <a:cubicBezTo>
                    <a:pt x="611" y="23"/>
                    <a:pt x="593" y="28"/>
                    <a:pt x="589" y="28"/>
                  </a:cubicBezTo>
                  <a:cubicBezTo>
                    <a:pt x="585" y="28"/>
                    <a:pt x="576" y="18"/>
                    <a:pt x="576" y="18"/>
                  </a:cubicBezTo>
                  <a:cubicBezTo>
                    <a:pt x="560" y="32"/>
                    <a:pt x="560" y="32"/>
                    <a:pt x="560" y="32"/>
                  </a:cubicBezTo>
                  <a:cubicBezTo>
                    <a:pt x="548" y="32"/>
                    <a:pt x="548" y="32"/>
                    <a:pt x="548" y="32"/>
                  </a:cubicBezTo>
                  <a:cubicBezTo>
                    <a:pt x="548" y="32"/>
                    <a:pt x="535" y="41"/>
                    <a:pt x="529" y="46"/>
                  </a:cubicBezTo>
                  <a:cubicBezTo>
                    <a:pt x="523" y="51"/>
                    <a:pt x="509" y="30"/>
                    <a:pt x="509" y="30"/>
                  </a:cubicBezTo>
                  <a:cubicBezTo>
                    <a:pt x="509" y="30"/>
                    <a:pt x="502" y="43"/>
                    <a:pt x="495" y="46"/>
                  </a:cubicBezTo>
                  <a:cubicBezTo>
                    <a:pt x="488" y="49"/>
                    <a:pt x="493" y="63"/>
                    <a:pt x="484" y="70"/>
                  </a:cubicBezTo>
                  <a:cubicBezTo>
                    <a:pt x="475" y="77"/>
                    <a:pt x="462" y="63"/>
                    <a:pt x="462" y="63"/>
                  </a:cubicBezTo>
                  <a:cubicBezTo>
                    <a:pt x="462" y="63"/>
                    <a:pt x="444" y="63"/>
                    <a:pt x="434" y="64"/>
                  </a:cubicBezTo>
                  <a:cubicBezTo>
                    <a:pt x="424" y="65"/>
                    <a:pt x="418" y="53"/>
                    <a:pt x="418" y="53"/>
                  </a:cubicBezTo>
                  <a:cubicBezTo>
                    <a:pt x="418" y="53"/>
                    <a:pt x="409" y="53"/>
                    <a:pt x="394" y="53"/>
                  </a:cubicBezTo>
                  <a:cubicBezTo>
                    <a:pt x="379" y="53"/>
                    <a:pt x="391" y="38"/>
                    <a:pt x="388" y="34"/>
                  </a:cubicBezTo>
                  <a:cubicBezTo>
                    <a:pt x="385" y="30"/>
                    <a:pt x="372" y="32"/>
                    <a:pt x="372" y="32"/>
                  </a:cubicBezTo>
                  <a:cubicBezTo>
                    <a:pt x="372" y="32"/>
                    <a:pt x="375" y="17"/>
                    <a:pt x="346" y="15"/>
                  </a:cubicBezTo>
                  <a:cubicBezTo>
                    <a:pt x="317" y="13"/>
                    <a:pt x="327" y="32"/>
                    <a:pt x="317" y="46"/>
                  </a:cubicBezTo>
                  <a:cubicBezTo>
                    <a:pt x="307" y="60"/>
                    <a:pt x="308" y="49"/>
                    <a:pt x="300" y="59"/>
                  </a:cubicBezTo>
                  <a:cubicBezTo>
                    <a:pt x="292" y="69"/>
                    <a:pt x="302" y="72"/>
                    <a:pt x="302" y="72"/>
                  </a:cubicBezTo>
                  <a:cubicBezTo>
                    <a:pt x="302" y="82"/>
                    <a:pt x="302" y="82"/>
                    <a:pt x="302" y="82"/>
                  </a:cubicBezTo>
                  <a:cubicBezTo>
                    <a:pt x="292" y="96"/>
                    <a:pt x="292" y="96"/>
                    <a:pt x="292" y="96"/>
                  </a:cubicBezTo>
                  <a:cubicBezTo>
                    <a:pt x="301" y="103"/>
                    <a:pt x="301" y="103"/>
                    <a:pt x="301" y="103"/>
                  </a:cubicBezTo>
                  <a:cubicBezTo>
                    <a:pt x="301" y="103"/>
                    <a:pt x="301" y="114"/>
                    <a:pt x="301" y="122"/>
                  </a:cubicBezTo>
                  <a:cubicBezTo>
                    <a:pt x="301" y="130"/>
                    <a:pt x="286" y="159"/>
                    <a:pt x="277" y="169"/>
                  </a:cubicBezTo>
                  <a:cubicBezTo>
                    <a:pt x="268" y="179"/>
                    <a:pt x="275" y="206"/>
                    <a:pt x="276" y="217"/>
                  </a:cubicBezTo>
                  <a:cubicBezTo>
                    <a:pt x="277" y="228"/>
                    <a:pt x="267" y="236"/>
                    <a:pt x="265" y="244"/>
                  </a:cubicBezTo>
                  <a:cubicBezTo>
                    <a:pt x="263" y="252"/>
                    <a:pt x="272" y="259"/>
                    <a:pt x="272" y="270"/>
                  </a:cubicBezTo>
                  <a:cubicBezTo>
                    <a:pt x="272" y="281"/>
                    <a:pt x="262" y="289"/>
                    <a:pt x="262" y="289"/>
                  </a:cubicBezTo>
                  <a:cubicBezTo>
                    <a:pt x="259" y="321"/>
                    <a:pt x="259" y="321"/>
                    <a:pt x="259" y="321"/>
                  </a:cubicBezTo>
                  <a:cubicBezTo>
                    <a:pt x="259" y="321"/>
                    <a:pt x="253" y="336"/>
                    <a:pt x="243" y="343"/>
                  </a:cubicBezTo>
                  <a:cubicBezTo>
                    <a:pt x="233" y="350"/>
                    <a:pt x="220" y="356"/>
                    <a:pt x="213" y="359"/>
                  </a:cubicBezTo>
                  <a:cubicBezTo>
                    <a:pt x="206" y="362"/>
                    <a:pt x="206" y="385"/>
                    <a:pt x="205" y="394"/>
                  </a:cubicBezTo>
                  <a:cubicBezTo>
                    <a:pt x="204" y="403"/>
                    <a:pt x="186" y="410"/>
                    <a:pt x="186" y="410"/>
                  </a:cubicBezTo>
                  <a:cubicBezTo>
                    <a:pt x="187" y="477"/>
                    <a:pt x="187" y="477"/>
                    <a:pt x="187" y="477"/>
                  </a:cubicBezTo>
                  <a:cubicBezTo>
                    <a:pt x="170" y="507"/>
                    <a:pt x="170" y="507"/>
                    <a:pt x="170" y="507"/>
                  </a:cubicBezTo>
                  <a:cubicBezTo>
                    <a:pt x="170" y="507"/>
                    <a:pt x="160" y="510"/>
                    <a:pt x="154" y="510"/>
                  </a:cubicBezTo>
                  <a:cubicBezTo>
                    <a:pt x="148" y="510"/>
                    <a:pt x="136" y="531"/>
                    <a:pt x="129" y="540"/>
                  </a:cubicBezTo>
                  <a:cubicBezTo>
                    <a:pt x="122" y="549"/>
                    <a:pt x="119" y="554"/>
                    <a:pt x="104" y="554"/>
                  </a:cubicBezTo>
                  <a:cubicBezTo>
                    <a:pt x="89" y="554"/>
                    <a:pt x="107" y="531"/>
                    <a:pt x="100" y="524"/>
                  </a:cubicBezTo>
                  <a:cubicBezTo>
                    <a:pt x="93" y="517"/>
                    <a:pt x="83" y="533"/>
                    <a:pt x="83" y="533"/>
                  </a:cubicBezTo>
                  <a:cubicBezTo>
                    <a:pt x="70" y="532"/>
                    <a:pt x="70" y="532"/>
                    <a:pt x="70" y="532"/>
                  </a:cubicBezTo>
                  <a:cubicBezTo>
                    <a:pt x="70" y="532"/>
                    <a:pt x="71" y="548"/>
                    <a:pt x="59" y="553"/>
                  </a:cubicBezTo>
                  <a:cubicBezTo>
                    <a:pt x="47" y="558"/>
                    <a:pt x="43" y="537"/>
                    <a:pt x="43" y="537"/>
                  </a:cubicBezTo>
                  <a:cubicBezTo>
                    <a:pt x="36" y="540"/>
                    <a:pt x="36" y="540"/>
                    <a:pt x="36" y="540"/>
                  </a:cubicBezTo>
                  <a:cubicBezTo>
                    <a:pt x="33" y="548"/>
                    <a:pt x="33" y="548"/>
                    <a:pt x="33" y="548"/>
                  </a:cubicBezTo>
                  <a:cubicBezTo>
                    <a:pt x="9" y="565"/>
                    <a:pt x="9" y="565"/>
                    <a:pt x="9" y="565"/>
                  </a:cubicBezTo>
                  <a:cubicBezTo>
                    <a:pt x="9" y="565"/>
                    <a:pt x="21" y="591"/>
                    <a:pt x="13" y="595"/>
                  </a:cubicBezTo>
                  <a:cubicBezTo>
                    <a:pt x="10" y="597"/>
                    <a:pt x="5" y="599"/>
                    <a:pt x="0" y="602"/>
                  </a:cubicBezTo>
                  <a:cubicBezTo>
                    <a:pt x="4" y="605"/>
                    <a:pt x="11" y="612"/>
                    <a:pt x="12" y="617"/>
                  </a:cubicBezTo>
                  <a:cubicBezTo>
                    <a:pt x="35" y="607"/>
                    <a:pt x="35" y="607"/>
                    <a:pt x="35" y="607"/>
                  </a:cubicBezTo>
                  <a:cubicBezTo>
                    <a:pt x="52" y="609"/>
                    <a:pt x="52" y="609"/>
                    <a:pt x="52" y="609"/>
                  </a:cubicBezTo>
                  <a:cubicBezTo>
                    <a:pt x="57" y="607"/>
                    <a:pt x="57" y="607"/>
                    <a:pt x="57" y="607"/>
                  </a:cubicBezTo>
                  <a:cubicBezTo>
                    <a:pt x="65" y="609"/>
                    <a:pt x="65" y="609"/>
                    <a:pt x="65" y="609"/>
                  </a:cubicBezTo>
                  <a:cubicBezTo>
                    <a:pt x="80" y="605"/>
                    <a:pt x="80" y="605"/>
                    <a:pt x="80" y="605"/>
                  </a:cubicBezTo>
                  <a:cubicBezTo>
                    <a:pt x="80" y="605"/>
                    <a:pt x="91" y="612"/>
                    <a:pt x="98" y="611"/>
                  </a:cubicBezTo>
                  <a:cubicBezTo>
                    <a:pt x="105" y="610"/>
                    <a:pt x="123" y="607"/>
                    <a:pt x="123" y="607"/>
                  </a:cubicBezTo>
                  <a:cubicBezTo>
                    <a:pt x="123" y="607"/>
                    <a:pt x="136" y="609"/>
                    <a:pt x="141" y="609"/>
                  </a:cubicBezTo>
                  <a:cubicBezTo>
                    <a:pt x="146" y="609"/>
                    <a:pt x="153" y="609"/>
                    <a:pt x="153" y="609"/>
                  </a:cubicBezTo>
                  <a:cubicBezTo>
                    <a:pt x="163" y="606"/>
                    <a:pt x="163" y="606"/>
                    <a:pt x="163" y="606"/>
                  </a:cubicBezTo>
                  <a:cubicBezTo>
                    <a:pt x="177" y="607"/>
                    <a:pt x="177" y="607"/>
                    <a:pt x="177" y="607"/>
                  </a:cubicBezTo>
                  <a:cubicBezTo>
                    <a:pt x="177" y="607"/>
                    <a:pt x="195" y="599"/>
                    <a:pt x="200" y="608"/>
                  </a:cubicBezTo>
                  <a:cubicBezTo>
                    <a:pt x="205" y="617"/>
                    <a:pt x="211" y="621"/>
                    <a:pt x="211" y="621"/>
                  </a:cubicBezTo>
                  <a:cubicBezTo>
                    <a:pt x="212" y="651"/>
                    <a:pt x="212" y="651"/>
                    <a:pt x="212" y="651"/>
                  </a:cubicBezTo>
                  <a:cubicBezTo>
                    <a:pt x="212" y="651"/>
                    <a:pt x="222" y="658"/>
                    <a:pt x="223" y="664"/>
                  </a:cubicBezTo>
                  <a:cubicBezTo>
                    <a:pt x="224" y="670"/>
                    <a:pt x="222" y="686"/>
                    <a:pt x="222" y="686"/>
                  </a:cubicBezTo>
                  <a:cubicBezTo>
                    <a:pt x="222" y="686"/>
                    <a:pt x="228" y="689"/>
                    <a:pt x="233" y="695"/>
                  </a:cubicBezTo>
                  <a:cubicBezTo>
                    <a:pt x="238" y="701"/>
                    <a:pt x="240" y="709"/>
                    <a:pt x="240" y="709"/>
                  </a:cubicBezTo>
                  <a:cubicBezTo>
                    <a:pt x="246" y="717"/>
                    <a:pt x="246" y="717"/>
                    <a:pt x="246" y="717"/>
                  </a:cubicBezTo>
                  <a:cubicBezTo>
                    <a:pt x="249" y="727"/>
                    <a:pt x="249" y="727"/>
                    <a:pt x="249" y="727"/>
                  </a:cubicBezTo>
                  <a:cubicBezTo>
                    <a:pt x="270" y="726"/>
                    <a:pt x="270" y="726"/>
                    <a:pt x="270" y="726"/>
                  </a:cubicBezTo>
                  <a:cubicBezTo>
                    <a:pt x="277" y="731"/>
                    <a:pt x="277" y="731"/>
                    <a:pt x="277" y="731"/>
                  </a:cubicBezTo>
                  <a:cubicBezTo>
                    <a:pt x="281" y="724"/>
                    <a:pt x="281" y="724"/>
                    <a:pt x="281" y="724"/>
                  </a:cubicBezTo>
                  <a:cubicBezTo>
                    <a:pt x="296" y="724"/>
                    <a:pt x="296" y="724"/>
                    <a:pt x="296" y="724"/>
                  </a:cubicBezTo>
                  <a:cubicBezTo>
                    <a:pt x="303" y="718"/>
                    <a:pt x="303" y="718"/>
                    <a:pt x="303" y="718"/>
                  </a:cubicBezTo>
                  <a:cubicBezTo>
                    <a:pt x="307" y="723"/>
                    <a:pt x="307" y="723"/>
                    <a:pt x="307" y="723"/>
                  </a:cubicBezTo>
                  <a:cubicBezTo>
                    <a:pt x="337" y="720"/>
                    <a:pt x="337" y="720"/>
                    <a:pt x="337" y="720"/>
                  </a:cubicBezTo>
                  <a:cubicBezTo>
                    <a:pt x="337" y="720"/>
                    <a:pt x="336" y="706"/>
                    <a:pt x="339" y="702"/>
                  </a:cubicBezTo>
                  <a:cubicBezTo>
                    <a:pt x="342" y="698"/>
                    <a:pt x="349" y="698"/>
                    <a:pt x="349" y="693"/>
                  </a:cubicBezTo>
                  <a:cubicBezTo>
                    <a:pt x="349" y="688"/>
                    <a:pt x="338" y="676"/>
                    <a:pt x="343" y="672"/>
                  </a:cubicBezTo>
                  <a:cubicBezTo>
                    <a:pt x="348" y="668"/>
                    <a:pt x="377" y="671"/>
                    <a:pt x="377" y="671"/>
                  </a:cubicBezTo>
                  <a:cubicBezTo>
                    <a:pt x="377" y="671"/>
                    <a:pt x="377" y="663"/>
                    <a:pt x="386" y="666"/>
                  </a:cubicBezTo>
                  <a:cubicBezTo>
                    <a:pt x="395" y="669"/>
                    <a:pt x="391" y="678"/>
                    <a:pt x="391" y="678"/>
                  </a:cubicBezTo>
                  <a:cubicBezTo>
                    <a:pt x="392" y="686"/>
                    <a:pt x="392" y="686"/>
                    <a:pt x="392" y="686"/>
                  </a:cubicBezTo>
                  <a:cubicBezTo>
                    <a:pt x="452" y="685"/>
                    <a:pt x="452" y="685"/>
                    <a:pt x="452" y="685"/>
                  </a:cubicBezTo>
                  <a:cubicBezTo>
                    <a:pt x="452" y="703"/>
                    <a:pt x="452" y="703"/>
                    <a:pt x="452" y="703"/>
                  </a:cubicBezTo>
                  <a:cubicBezTo>
                    <a:pt x="445" y="713"/>
                    <a:pt x="445" y="713"/>
                    <a:pt x="445" y="713"/>
                  </a:cubicBezTo>
                  <a:cubicBezTo>
                    <a:pt x="448" y="727"/>
                    <a:pt x="448" y="727"/>
                    <a:pt x="448" y="727"/>
                  </a:cubicBezTo>
                  <a:cubicBezTo>
                    <a:pt x="448" y="727"/>
                    <a:pt x="461" y="740"/>
                    <a:pt x="461" y="747"/>
                  </a:cubicBezTo>
                  <a:cubicBezTo>
                    <a:pt x="461" y="754"/>
                    <a:pt x="453" y="763"/>
                    <a:pt x="453" y="763"/>
                  </a:cubicBezTo>
                  <a:cubicBezTo>
                    <a:pt x="456" y="779"/>
                    <a:pt x="456" y="779"/>
                    <a:pt x="456" y="779"/>
                  </a:cubicBezTo>
                  <a:cubicBezTo>
                    <a:pt x="456" y="779"/>
                    <a:pt x="451" y="791"/>
                    <a:pt x="451" y="799"/>
                  </a:cubicBezTo>
                  <a:cubicBezTo>
                    <a:pt x="451" y="807"/>
                    <a:pt x="457" y="815"/>
                    <a:pt x="464" y="822"/>
                  </a:cubicBezTo>
                  <a:cubicBezTo>
                    <a:pt x="471" y="829"/>
                    <a:pt x="475" y="847"/>
                    <a:pt x="475" y="847"/>
                  </a:cubicBezTo>
                  <a:cubicBezTo>
                    <a:pt x="475" y="847"/>
                    <a:pt x="474" y="862"/>
                    <a:pt x="471" y="869"/>
                  </a:cubicBezTo>
                  <a:cubicBezTo>
                    <a:pt x="468" y="876"/>
                    <a:pt x="465" y="888"/>
                    <a:pt x="468" y="892"/>
                  </a:cubicBezTo>
                  <a:cubicBezTo>
                    <a:pt x="471" y="896"/>
                    <a:pt x="479" y="898"/>
                    <a:pt x="479" y="898"/>
                  </a:cubicBezTo>
                  <a:cubicBezTo>
                    <a:pt x="485" y="886"/>
                    <a:pt x="485" y="886"/>
                    <a:pt x="485" y="886"/>
                  </a:cubicBezTo>
                  <a:cubicBezTo>
                    <a:pt x="503" y="890"/>
                    <a:pt x="503" y="890"/>
                    <a:pt x="503" y="890"/>
                  </a:cubicBezTo>
                  <a:cubicBezTo>
                    <a:pt x="519" y="885"/>
                    <a:pt x="519" y="885"/>
                    <a:pt x="519" y="885"/>
                  </a:cubicBezTo>
                  <a:cubicBezTo>
                    <a:pt x="519" y="885"/>
                    <a:pt x="519" y="880"/>
                    <a:pt x="526" y="880"/>
                  </a:cubicBezTo>
                  <a:cubicBezTo>
                    <a:pt x="533" y="880"/>
                    <a:pt x="537" y="887"/>
                    <a:pt x="537" y="887"/>
                  </a:cubicBezTo>
                  <a:cubicBezTo>
                    <a:pt x="551" y="885"/>
                    <a:pt x="551" y="885"/>
                    <a:pt x="551" y="885"/>
                  </a:cubicBezTo>
                  <a:cubicBezTo>
                    <a:pt x="556" y="875"/>
                    <a:pt x="556" y="875"/>
                    <a:pt x="556" y="875"/>
                  </a:cubicBezTo>
                  <a:cubicBezTo>
                    <a:pt x="561" y="884"/>
                    <a:pt x="561" y="884"/>
                    <a:pt x="561" y="884"/>
                  </a:cubicBezTo>
                  <a:cubicBezTo>
                    <a:pt x="572" y="882"/>
                    <a:pt x="572" y="882"/>
                    <a:pt x="572" y="882"/>
                  </a:cubicBezTo>
                  <a:cubicBezTo>
                    <a:pt x="572" y="882"/>
                    <a:pt x="563" y="907"/>
                    <a:pt x="580" y="908"/>
                  </a:cubicBezTo>
                  <a:cubicBezTo>
                    <a:pt x="597" y="909"/>
                    <a:pt x="583" y="899"/>
                    <a:pt x="583" y="899"/>
                  </a:cubicBezTo>
                  <a:cubicBezTo>
                    <a:pt x="614" y="893"/>
                    <a:pt x="614" y="893"/>
                    <a:pt x="614" y="893"/>
                  </a:cubicBezTo>
                  <a:cubicBezTo>
                    <a:pt x="614" y="893"/>
                    <a:pt x="610" y="912"/>
                    <a:pt x="620" y="919"/>
                  </a:cubicBezTo>
                  <a:cubicBezTo>
                    <a:pt x="630" y="926"/>
                    <a:pt x="682" y="939"/>
                    <a:pt x="687" y="935"/>
                  </a:cubicBezTo>
                  <a:cubicBezTo>
                    <a:pt x="692" y="931"/>
                    <a:pt x="689" y="905"/>
                    <a:pt x="701" y="910"/>
                  </a:cubicBezTo>
                  <a:cubicBezTo>
                    <a:pt x="713" y="915"/>
                    <a:pt x="704" y="920"/>
                    <a:pt x="708" y="925"/>
                  </a:cubicBezTo>
                  <a:cubicBezTo>
                    <a:pt x="712" y="930"/>
                    <a:pt x="722" y="930"/>
                    <a:pt x="722" y="934"/>
                  </a:cubicBezTo>
                  <a:cubicBezTo>
                    <a:pt x="722" y="938"/>
                    <a:pt x="714" y="947"/>
                    <a:pt x="722" y="948"/>
                  </a:cubicBezTo>
                  <a:cubicBezTo>
                    <a:pt x="730" y="949"/>
                    <a:pt x="732" y="943"/>
                    <a:pt x="737" y="947"/>
                  </a:cubicBezTo>
                  <a:cubicBezTo>
                    <a:pt x="742" y="951"/>
                    <a:pt x="741" y="959"/>
                    <a:pt x="745" y="959"/>
                  </a:cubicBezTo>
                  <a:cubicBezTo>
                    <a:pt x="749" y="959"/>
                    <a:pt x="754" y="951"/>
                    <a:pt x="760" y="959"/>
                  </a:cubicBezTo>
                  <a:cubicBezTo>
                    <a:pt x="766" y="967"/>
                    <a:pt x="768" y="978"/>
                    <a:pt x="768" y="978"/>
                  </a:cubicBezTo>
                  <a:cubicBezTo>
                    <a:pt x="768" y="978"/>
                    <a:pt x="774" y="975"/>
                    <a:pt x="779" y="982"/>
                  </a:cubicBezTo>
                  <a:cubicBezTo>
                    <a:pt x="784" y="989"/>
                    <a:pt x="787" y="1012"/>
                    <a:pt x="787" y="1012"/>
                  </a:cubicBezTo>
                  <a:cubicBezTo>
                    <a:pt x="799" y="1012"/>
                    <a:pt x="799" y="1012"/>
                    <a:pt x="799" y="1012"/>
                  </a:cubicBezTo>
                  <a:cubicBezTo>
                    <a:pt x="814" y="1002"/>
                    <a:pt x="814" y="1002"/>
                    <a:pt x="814" y="1002"/>
                  </a:cubicBezTo>
                  <a:cubicBezTo>
                    <a:pt x="814" y="1002"/>
                    <a:pt x="816" y="1016"/>
                    <a:pt x="822" y="1013"/>
                  </a:cubicBezTo>
                  <a:cubicBezTo>
                    <a:pt x="828" y="1010"/>
                    <a:pt x="827" y="945"/>
                    <a:pt x="827" y="945"/>
                  </a:cubicBezTo>
                  <a:cubicBezTo>
                    <a:pt x="819" y="945"/>
                    <a:pt x="819" y="945"/>
                    <a:pt x="819" y="945"/>
                  </a:cubicBezTo>
                  <a:cubicBezTo>
                    <a:pt x="813" y="948"/>
                    <a:pt x="813" y="948"/>
                    <a:pt x="813" y="948"/>
                  </a:cubicBezTo>
                  <a:cubicBezTo>
                    <a:pt x="813" y="948"/>
                    <a:pt x="816" y="961"/>
                    <a:pt x="806" y="961"/>
                  </a:cubicBezTo>
                  <a:cubicBezTo>
                    <a:pt x="796" y="961"/>
                    <a:pt x="784" y="947"/>
                    <a:pt x="778" y="940"/>
                  </a:cubicBezTo>
                  <a:cubicBezTo>
                    <a:pt x="772" y="933"/>
                    <a:pt x="761" y="938"/>
                    <a:pt x="759" y="920"/>
                  </a:cubicBezTo>
                  <a:cubicBezTo>
                    <a:pt x="757" y="902"/>
                    <a:pt x="779" y="880"/>
                    <a:pt x="779" y="866"/>
                  </a:cubicBezTo>
                  <a:cubicBezTo>
                    <a:pt x="779" y="852"/>
                    <a:pt x="775" y="818"/>
                    <a:pt x="775" y="818"/>
                  </a:cubicBezTo>
                  <a:cubicBezTo>
                    <a:pt x="775" y="818"/>
                    <a:pt x="773" y="799"/>
                    <a:pt x="770" y="797"/>
                  </a:cubicBezTo>
                  <a:cubicBezTo>
                    <a:pt x="767" y="795"/>
                    <a:pt x="761" y="788"/>
                    <a:pt x="761" y="788"/>
                  </a:cubicBezTo>
                  <a:cubicBezTo>
                    <a:pt x="761" y="788"/>
                    <a:pt x="788" y="773"/>
                    <a:pt x="788" y="766"/>
                  </a:cubicBezTo>
                  <a:cubicBezTo>
                    <a:pt x="788" y="759"/>
                    <a:pt x="788" y="746"/>
                    <a:pt x="788" y="746"/>
                  </a:cubicBezTo>
                  <a:cubicBezTo>
                    <a:pt x="788" y="746"/>
                    <a:pt x="825" y="741"/>
                    <a:pt x="838" y="738"/>
                  </a:cubicBezTo>
                  <a:cubicBezTo>
                    <a:pt x="842" y="737"/>
                    <a:pt x="849" y="735"/>
                    <a:pt x="857" y="731"/>
                  </a:cubicBezTo>
                  <a:cubicBezTo>
                    <a:pt x="860" y="728"/>
                    <a:pt x="862" y="726"/>
                    <a:pt x="862" y="726"/>
                  </a:cubicBezTo>
                  <a:cubicBezTo>
                    <a:pt x="862" y="726"/>
                    <a:pt x="855" y="714"/>
                    <a:pt x="850" y="710"/>
                  </a:cubicBezTo>
                  <a:cubicBezTo>
                    <a:pt x="846" y="706"/>
                    <a:pt x="849" y="688"/>
                    <a:pt x="849" y="681"/>
                  </a:cubicBezTo>
                  <a:cubicBezTo>
                    <a:pt x="849" y="674"/>
                    <a:pt x="837" y="678"/>
                    <a:pt x="834" y="677"/>
                  </a:cubicBezTo>
                  <a:cubicBezTo>
                    <a:pt x="831" y="676"/>
                    <a:pt x="828" y="666"/>
                    <a:pt x="828" y="658"/>
                  </a:cubicBezTo>
                  <a:cubicBezTo>
                    <a:pt x="828" y="650"/>
                    <a:pt x="819" y="649"/>
                    <a:pt x="812" y="642"/>
                  </a:cubicBezTo>
                  <a:cubicBezTo>
                    <a:pt x="805" y="635"/>
                    <a:pt x="803" y="618"/>
                    <a:pt x="804" y="612"/>
                  </a:cubicBezTo>
                  <a:cubicBezTo>
                    <a:pt x="805" y="606"/>
                    <a:pt x="810" y="596"/>
                    <a:pt x="810" y="589"/>
                  </a:cubicBezTo>
                  <a:cubicBezTo>
                    <a:pt x="810" y="582"/>
                    <a:pt x="800" y="582"/>
                    <a:pt x="796" y="572"/>
                  </a:cubicBezTo>
                  <a:cubicBezTo>
                    <a:pt x="792" y="562"/>
                    <a:pt x="796" y="550"/>
                    <a:pt x="797" y="538"/>
                  </a:cubicBezTo>
                  <a:cubicBezTo>
                    <a:pt x="798" y="526"/>
                    <a:pt x="799" y="515"/>
                    <a:pt x="802" y="502"/>
                  </a:cubicBezTo>
                  <a:cubicBezTo>
                    <a:pt x="804" y="494"/>
                    <a:pt x="810" y="495"/>
                    <a:pt x="814" y="498"/>
                  </a:cubicBezTo>
                  <a:cubicBezTo>
                    <a:pt x="814" y="496"/>
                    <a:pt x="814" y="494"/>
                    <a:pt x="814" y="494"/>
                  </a:cubicBezTo>
                  <a:cubicBezTo>
                    <a:pt x="814" y="494"/>
                    <a:pt x="816" y="480"/>
                    <a:pt x="816" y="471"/>
                  </a:cubicBezTo>
                  <a:cubicBezTo>
                    <a:pt x="816" y="462"/>
                    <a:pt x="801" y="454"/>
                    <a:pt x="801" y="454"/>
                  </a:cubicBezTo>
                  <a:cubicBezTo>
                    <a:pt x="795" y="434"/>
                    <a:pt x="795" y="434"/>
                    <a:pt x="795" y="434"/>
                  </a:cubicBezTo>
                  <a:cubicBezTo>
                    <a:pt x="795" y="434"/>
                    <a:pt x="795" y="434"/>
                    <a:pt x="795" y="434"/>
                  </a:cubicBezTo>
                  <a:cubicBezTo>
                    <a:pt x="791" y="433"/>
                    <a:pt x="787" y="432"/>
                    <a:pt x="786" y="428"/>
                  </a:cubicBezTo>
                  <a:cubicBezTo>
                    <a:pt x="782" y="420"/>
                    <a:pt x="804" y="410"/>
                    <a:pt x="806" y="406"/>
                  </a:cubicBezTo>
                  <a:cubicBezTo>
                    <a:pt x="807" y="403"/>
                    <a:pt x="797" y="392"/>
                    <a:pt x="799" y="384"/>
                  </a:cubicBezTo>
                  <a:cubicBezTo>
                    <a:pt x="800" y="376"/>
                    <a:pt x="824" y="365"/>
                    <a:pt x="824" y="365"/>
                  </a:cubicBezTo>
                  <a:lnTo>
                    <a:pt x="828" y="315"/>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02" name="Burundi">
              <a:extLst>
                <a:ext uri="{FF2B5EF4-FFF2-40B4-BE49-F238E27FC236}">
                  <a16:creationId xmlns:a16="http://schemas.microsoft.com/office/drawing/2014/main" id="{290C341D-FCBA-433D-A475-49725E659876}"/>
                </a:ext>
              </a:extLst>
            </p:cNvPr>
            <p:cNvSpPr>
              <a:spLocks/>
            </p:cNvSpPr>
            <p:nvPr/>
          </p:nvSpPr>
          <p:spPr bwMode="gray">
            <a:xfrm>
              <a:off x="6803081" y="4033677"/>
              <a:ext cx="105715" cy="140848"/>
            </a:xfrm>
            <a:custGeom>
              <a:avLst/>
              <a:gdLst>
                <a:gd name="T0" fmla="*/ 21 w 87"/>
                <a:gd name="T1" fmla="*/ 49 h 112"/>
                <a:gd name="T2" fmla="*/ 19 w 87"/>
                <a:gd name="T3" fmla="*/ 72 h 112"/>
                <a:gd name="T4" fmla="*/ 25 w 87"/>
                <a:gd name="T5" fmla="*/ 112 h 112"/>
                <a:gd name="T6" fmla="*/ 45 w 87"/>
                <a:gd name="T7" fmla="*/ 103 h 112"/>
                <a:gd name="T8" fmla="*/ 61 w 87"/>
                <a:gd name="T9" fmla="*/ 68 h 112"/>
                <a:gd name="T10" fmla="*/ 80 w 87"/>
                <a:gd name="T11" fmla="*/ 56 h 112"/>
                <a:gd name="T12" fmla="*/ 78 w 87"/>
                <a:gd name="T13" fmla="*/ 47 h 112"/>
                <a:gd name="T14" fmla="*/ 86 w 87"/>
                <a:gd name="T15" fmla="*/ 44 h 112"/>
                <a:gd name="T16" fmla="*/ 87 w 87"/>
                <a:gd name="T17" fmla="*/ 33 h 112"/>
                <a:gd name="T18" fmla="*/ 65 w 87"/>
                <a:gd name="T19" fmla="*/ 23 h 112"/>
                <a:gd name="T20" fmla="*/ 71 w 87"/>
                <a:gd name="T21" fmla="*/ 0 h 112"/>
                <a:gd name="T22" fmla="*/ 77 w 87"/>
                <a:gd name="T23" fmla="*/ 0 h 112"/>
                <a:gd name="T24" fmla="*/ 74 w 87"/>
                <a:gd name="T25" fmla="*/ 0 h 112"/>
                <a:gd name="T26" fmla="*/ 44 w 87"/>
                <a:gd name="T27" fmla="*/ 0 h 112"/>
                <a:gd name="T28" fmla="*/ 39 w 87"/>
                <a:gd name="T29" fmla="*/ 17 h 112"/>
                <a:gd name="T30" fmla="*/ 22 w 87"/>
                <a:gd name="T31" fmla="*/ 24 h 112"/>
                <a:gd name="T32" fmla="*/ 9 w 87"/>
                <a:gd name="T33" fmla="*/ 11 h 112"/>
                <a:gd name="T34" fmla="*/ 0 w 87"/>
                <a:gd name="T35" fmla="*/ 12 h 112"/>
                <a:gd name="T36" fmla="*/ 6 w 87"/>
                <a:gd name="T37" fmla="*/ 32 h 112"/>
                <a:gd name="T38" fmla="*/ 21 w 87"/>
                <a:gd name="T39" fmla="*/ 4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112">
                  <a:moveTo>
                    <a:pt x="21" y="49"/>
                  </a:moveTo>
                  <a:cubicBezTo>
                    <a:pt x="21" y="58"/>
                    <a:pt x="19" y="72"/>
                    <a:pt x="19" y="72"/>
                  </a:cubicBezTo>
                  <a:cubicBezTo>
                    <a:pt x="19" y="72"/>
                    <a:pt x="19" y="99"/>
                    <a:pt x="25" y="112"/>
                  </a:cubicBezTo>
                  <a:cubicBezTo>
                    <a:pt x="29" y="112"/>
                    <a:pt x="35" y="110"/>
                    <a:pt x="45" y="103"/>
                  </a:cubicBezTo>
                  <a:cubicBezTo>
                    <a:pt x="61" y="91"/>
                    <a:pt x="54" y="81"/>
                    <a:pt x="61" y="68"/>
                  </a:cubicBezTo>
                  <a:cubicBezTo>
                    <a:pt x="68" y="55"/>
                    <a:pt x="80" y="56"/>
                    <a:pt x="80" y="56"/>
                  </a:cubicBezTo>
                  <a:cubicBezTo>
                    <a:pt x="78" y="47"/>
                    <a:pt x="78" y="47"/>
                    <a:pt x="78" y="47"/>
                  </a:cubicBezTo>
                  <a:cubicBezTo>
                    <a:pt x="86" y="44"/>
                    <a:pt x="86" y="44"/>
                    <a:pt x="86" y="44"/>
                  </a:cubicBezTo>
                  <a:cubicBezTo>
                    <a:pt x="87" y="33"/>
                    <a:pt x="87" y="33"/>
                    <a:pt x="87" y="33"/>
                  </a:cubicBezTo>
                  <a:cubicBezTo>
                    <a:pt x="87" y="33"/>
                    <a:pt x="63" y="32"/>
                    <a:pt x="65" y="23"/>
                  </a:cubicBezTo>
                  <a:cubicBezTo>
                    <a:pt x="67" y="14"/>
                    <a:pt x="71" y="0"/>
                    <a:pt x="71" y="0"/>
                  </a:cubicBezTo>
                  <a:cubicBezTo>
                    <a:pt x="71" y="0"/>
                    <a:pt x="74" y="0"/>
                    <a:pt x="77" y="0"/>
                  </a:cubicBezTo>
                  <a:cubicBezTo>
                    <a:pt x="74" y="0"/>
                    <a:pt x="74" y="0"/>
                    <a:pt x="74" y="0"/>
                  </a:cubicBezTo>
                  <a:cubicBezTo>
                    <a:pt x="44" y="0"/>
                    <a:pt x="44" y="0"/>
                    <a:pt x="44" y="0"/>
                  </a:cubicBezTo>
                  <a:cubicBezTo>
                    <a:pt x="39" y="17"/>
                    <a:pt x="39" y="17"/>
                    <a:pt x="39" y="17"/>
                  </a:cubicBezTo>
                  <a:cubicBezTo>
                    <a:pt x="39" y="17"/>
                    <a:pt x="26" y="24"/>
                    <a:pt x="22" y="24"/>
                  </a:cubicBezTo>
                  <a:cubicBezTo>
                    <a:pt x="18" y="24"/>
                    <a:pt x="9" y="11"/>
                    <a:pt x="9" y="11"/>
                  </a:cubicBezTo>
                  <a:cubicBezTo>
                    <a:pt x="9" y="11"/>
                    <a:pt x="5" y="12"/>
                    <a:pt x="0" y="12"/>
                  </a:cubicBezTo>
                  <a:cubicBezTo>
                    <a:pt x="6" y="32"/>
                    <a:pt x="6" y="32"/>
                    <a:pt x="6" y="32"/>
                  </a:cubicBezTo>
                  <a:cubicBezTo>
                    <a:pt x="6" y="32"/>
                    <a:pt x="21" y="40"/>
                    <a:pt x="21" y="49"/>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03" name="Tanzania">
              <a:extLst>
                <a:ext uri="{FF2B5EF4-FFF2-40B4-BE49-F238E27FC236}">
                  <a16:creationId xmlns:a16="http://schemas.microsoft.com/office/drawing/2014/main" id="{B8F191A8-C6F4-4B5F-A362-65F87B167FD8}"/>
                </a:ext>
              </a:extLst>
            </p:cNvPr>
            <p:cNvSpPr>
              <a:spLocks noEditPoints="1"/>
            </p:cNvSpPr>
            <p:nvPr/>
          </p:nvSpPr>
          <p:spPr bwMode="gray">
            <a:xfrm>
              <a:off x="6834809" y="3942130"/>
              <a:ext cx="634297" cy="718318"/>
            </a:xfrm>
            <a:custGeom>
              <a:avLst/>
              <a:gdLst>
                <a:gd name="T0" fmla="*/ 477 w 510"/>
                <a:gd name="T1" fmla="*/ 478 h 579"/>
                <a:gd name="T2" fmla="*/ 458 w 510"/>
                <a:gd name="T3" fmla="*/ 405 h 579"/>
                <a:gd name="T4" fmla="*/ 456 w 510"/>
                <a:gd name="T5" fmla="*/ 360 h 579"/>
                <a:gd name="T6" fmla="*/ 436 w 510"/>
                <a:gd name="T7" fmla="*/ 290 h 579"/>
                <a:gd name="T8" fmla="*/ 455 w 510"/>
                <a:gd name="T9" fmla="*/ 198 h 579"/>
                <a:gd name="T10" fmla="*/ 391 w 510"/>
                <a:gd name="T11" fmla="*/ 118 h 579"/>
                <a:gd name="T12" fmla="*/ 216 w 510"/>
                <a:gd name="T13" fmla="*/ 1 h 579"/>
                <a:gd name="T14" fmla="*/ 206 w 510"/>
                <a:gd name="T15" fmla="*/ 1 h 579"/>
                <a:gd name="T16" fmla="*/ 194 w 510"/>
                <a:gd name="T17" fmla="*/ 31 h 579"/>
                <a:gd name="T18" fmla="*/ 206 w 510"/>
                <a:gd name="T19" fmla="*/ 59 h 579"/>
                <a:gd name="T20" fmla="*/ 162 w 510"/>
                <a:gd name="T21" fmla="*/ 71 h 579"/>
                <a:gd name="T22" fmla="*/ 161 w 510"/>
                <a:gd name="T23" fmla="*/ 99 h 579"/>
                <a:gd name="T24" fmla="*/ 150 w 510"/>
                <a:gd name="T25" fmla="*/ 73 h 579"/>
                <a:gd name="T26" fmla="*/ 123 w 510"/>
                <a:gd name="T27" fmla="*/ 66 h 579"/>
                <a:gd name="T28" fmla="*/ 104 w 510"/>
                <a:gd name="T29" fmla="*/ 80 h 579"/>
                <a:gd name="T30" fmla="*/ 112 w 510"/>
                <a:gd name="T31" fmla="*/ 2 h 579"/>
                <a:gd name="T32" fmla="*/ 51 w 510"/>
                <a:gd name="T33" fmla="*/ 0 h 579"/>
                <a:gd name="T34" fmla="*/ 60 w 510"/>
                <a:gd name="T35" fmla="*/ 31 h 579"/>
                <a:gd name="T36" fmla="*/ 64 w 510"/>
                <a:gd name="T37" fmla="*/ 64 h 579"/>
                <a:gd name="T38" fmla="*/ 38 w 510"/>
                <a:gd name="T39" fmla="*/ 97 h 579"/>
                <a:gd name="T40" fmla="*/ 59 w 510"/>
                <a:gd name="T41" fmla="*/ 118 h 579"/>
                <a:gd name="T42" fmla="*/ 53 w 510"/>
                <a:gd name="T43" fmla="*/ 130 h 579"/>
                <a:gd name="T44" fmla="*/ 18 w 510"/>
                <a:gd name="T45" fmla="*/ 177 h 579"/>
                <a:gd name="T46" fmla="*/ 0 w 510"/>
                <a:gd name="T47" fmla="*/ 194 h 579"/>
                <a:gd name="T48" fmla="*/ 8 w 510"/>
                <a:gd name="T49" fmla="*/ 226 h 579"/>
                <a:gd name="T50" fmla="*/ 9 w 510"/>
                <a:gd name="T51" fmla="*/ 279 h 579"/>
                <a:gd name="T52" fmla="*/ 51 w 510"/>
                <a:gd name="T53" fmla="*/ 322 h 579"/>
                <a:gd name="T54" fmla="*/ 56 w 510"/>
                <a:gd name="T55" fmla="*/ 370 h 579"/>
                <a:gd name="T56" fmla="*/ 69 w 510"/>
                <a:gd name="T57" fmla="*/ 409 h 579"/>
                <a:gd name="T58" fmla="*/ 94 w 510"/>
                <a:gd name="T59" fmla="*/ 421 h 579"/>
                <a:gd name="T60" fmla="*/ 118 w 510"/>
                <a:gd name="T61" fmla="*/ 434 h 579"/>
                <a:gd name="T62" fmla="*/ 135 w 510"/>
                <a:gd name="T63" fmla="*/ 443 h 579"/>
                <a:gd name="T64" fmla="*/ 158 w 510"/>
                <a:gd name="T65" fmla="*/ 452 h 579"/>
                <a:gd name="T66" fmla="*/ 179 w 510"/>
                <a:gd name="T67" fmla="*/ 461 h 579"/>
                <a:gd name="T68" fmla="*/ 212 w 510"/>
                <a:gd name="T69" fmla="*/ 453 h 579"/>
                <a:gd name="T70" fmla="*/ 232 w 510"/>
                <a:gd name="T71" fmla="*/ 514 h 579"/>
                <a:gd name="T72" fmla="*/ 231 w 510"/>
                <a:gd name="T73" fmla="*/ 539 h 579"/>
                <a:gd name="T74" fmla="*/ 249 w 510"/>
                <a:gd name="T75" fmla="*/ 569 h 579"/>
                <a:gd name="T76" fmla="*/ 292 w 510"/>
                <a:gd name="T77" fmla="*/ 558 h 579"/>
                <a:gd name="T78" fmla="*/ 338 w 510"/>
                <a:gd name="T79" fmla="*/ 568 h 579"/>
                <a:gd name="T80" fmla="*/ 367 w 510"/>
                <a:gd name="T81" fmla="*/ 573 h 579"/>
                <a:gd name="T82" fmla="*/ 406 w 510"/>
                <a:gd name="T83" fmla="*/ 552 h 579"/>
                <a:gd name="T84" fmla="*/ 438 w 510"/>
                <a:gd name="T85" fmla="*/ 545 h 579"/>
                <a:gd name="T86" fmla="*/ 510 w 510"/>
                <a:gd name="T87" fmla="*/ 507 h 579"/>
                <a:gd name="T88" fmla="*/ 481 w 510"/>
                <a:gd name="T89" fmla="*/ 237 h 579"/>
                <a:gd name="T90" fmla="*/ 481 w 510"/>
                <a:gd name="T91" fmla="*/ 237 h 579"/>
                <a:gd name="T92" fmla="*/ 478 w 510"/>
                <a:gd name="T93" fmla="*/ 294 h 579"/>
                <a:gd name="T94" fmla="*/ 458 w 510"/>
                <a:gd name="T95" fmla="*/ 251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0" h="579">
                  <a:moveTo>
                    <a:pt x="507" y="496"/>
                  </a:moveTo>
                  <a:cubicBezTo>
                    <a:pt x="507" y="496"/>
                    <a:pt x="479" y="489"/>
                    <a:pt x="477" y="478"/>
                  </a:cubicBezTo>
                  <a:cubicBezTo>
                    <a:pt x="475" y="467"/>
                    <a:pt x="473" y="436"/>
                    <a:pt x="473" y="436"/>
                  </a:cubicBezTo>
                  <a:cubicBezTo>
                    <a:pt x="458" y="405"/>
                    <a:pt x="458" y="405"/>
                    <a:pt x="458" y="405"/>
                  </a:cubicBezTo>
                  <a:cubicBezTo>
                    <a:pt x="467" y="374"/>
                    <a:pt x="467" y="374"/>
                    <a:pt x="467" y="374"/>
                  </a:cubicBezTo>
                  <a:cubicBezTo>
                    <a:pt x="456" y="360"/>
                    <a:pt x="456" y="360"/>
                    <a:pt x="456" y="360"/>
                  </a:cubicBezTo>
                  <a:cubicBezTo>
                    <a:pt x="456" y="360"/>
                    <a:pt x="476" y="325"/>
                    <a:pt x="471" y="317"/>
                  </a:cubicBezTo>
                  <a:cubicBezTo>
                    <a:pt x="466" y="309"/>
                    <a:pt x="439" y="302"/>
                    <a:pt x="436" y="290"/>
                  </a:cubicBezTo>
                  <a:cubicBezTo>
                    <a:pt x="433" y="278"/>
                    <a:pt x="450" y="239"/>
                    <a:pt x="451" y="232"/>
                  </a:cubicBezTo>
                  <a:cubicBezTo>
                    <a:pt x="452" y="226"/>
                    <a:pt x="454" y="203"/>
                    <a:pt x="455" y="198"/>
                  </a:cubicBezTo>
                  <a:cubicBezTo>
                    <a:pt x="380" y="128"/>
                    <a:pt x="380" y="128"/>
                    <a:pt x="380" y="128"/>
                  </a:cubicBezTo>
                  <a:cubicBezTo>
                    <a:pt x="380" y="128"/>
                    <a:pt x="388" y="122"/>
                    <a:pt x="391" y="118"/>
                  </a:cubicBezTo>
                  <a:cubicBezTo>
                    <a:pt x="394" y="114"/>
                    <a:pt x="382" y="105"/>
                    <a:pt x="382" y="105"/>
                  </a:cubicBezTo>
                  <a:cubicBezTo>
                    <a:pt x="216" y="1"/>
                    <a:pt x="216" y="1"/>
                    <a:pt x="216" y="1"/>
                  </a:cubicBezTo>
                  <a:cubicBezTo>
                    <a:pt x="206" y="1"/>
                    <a:pt x="206" y="1"/>
                    <a:pt x="206" y="1"/>
                  </a:cubicBezTo>
                  <a:cubicBezTo>
                    <a:pt x="206" y="1"/>
                    <a:pt x="206" y="1"/>
                    <a:pt x="206" y="1"/>
                  </a:cubicBezTo>
                  <a:cubicBezTo>
                    <a:pt x="206" y="10"/>
                    <a:pt x="209" y="24"/>
                    <a:pt x="209" y="24"/>
                  </a:cubicBezTo>
                  <a:cubicBezTo>
                    <a:pt x="194" y="31"/>
                    <a:pt x="194" y="31"/>
                    <a:pt x="194" y="31"/>
                  </a:cubicBezTo>
                  <a:cubicBezTo>
                    <a:pt x="194" y="31"/>
                    <a:pt x="181" y="40"/>
                    <a:pt x="176" y="55"/>
                  </a:cubicBezTo>
                  <a:cubicBezTo>
                    <a:pt x="171" y="70"/>
                    <a:pt x="206" y="59"/>
                    <a:pt x="206" y="59"/>
                  </a:cubicBezTo>
                  <a:cubicBezTo>
                    <a:pt x="206" y="59"/>
                    <a:pt x="187" y="75"/>
                    <a:pt x="181" y="78"/>
                  </a:cubicBezTo>
                  <a:cubicBezTo>
                    <a:pt x="175" y="81"/>
                    <a:pt x="171" y="72"/>
                    <a:pt x="162" y="71"/>
                  </a:cubicBezTo>
                  <a:cubicBezTo>
                    <a:pt x="153" y="70"/>
                    <a:pt x="154" y="89"/>
                    <a:pt x="154" y="89"/>
                  </a:cubicBezTo>
                  <a:cubicBezTo>
                    <a:pt x="161" y="99"/>
                    <a:pt x="161" y="99"/>
                    <a:pt x="161" y="99"/>
                  </a:cubicBezTo>
                  <a:cubicBezTo>
                    <a:pt x="161" y="99"/>
                    <a:pt x="158" y="100"/>
                    <a:pt x="148" y="99"/>
                  </a:cubicBezTo>
                  <a:cubicBezTo>
                    <a:pt x="138" y="98"/>
                    <a:pt x="150" y="73"/>
                    <a:pt x="150" y="73"/>
                  </a:cubicBezTo>
                  <a:cubicBezTo>
                    <a:pt x="138" y="78"/>
                    <a:pt x="138" y="78"/>
                    <a:pt x="138" y="78"/>
                  </a:cubicBezTo>
                  <a:cubicBezTo>
                    <a:pt x="138" y="78"/>
                    <a:pt x="130" y="66"/>
                    <a:pt x="123" y="66"/>
                  </a:cubicBezTo>
                  <a:cubicBezTo>
                    <a:pt x="113" y="66"/>
                    <a:pt x="114" y="92"/>
                    <a:pt x="109" y="92"/>
                  </a:cubicBezTo>
                  <a:cubicBezTo>
                    <a:pt x="104" y="92"/>
                    <a:pt x="104" y="80"/>
                    <a:pt x="104" y="80"/>
                  </a:cubicBezTo>
                  <a:cubicBezTo>
                    <a:pt x="104" y="80"/>
                    <a:pt x="99" y="54"/>
                    <a:pt x="101" y="40"/>
                  </a:cubicBezTo>
                  <a:cubicBezTo>
                    <a:pt x="103" y="26"/>
                    <a:pt x="111" y="8"/>
                    <a:pt x="112" y="2"/>
                  </a:cubicBezTo>
                  <a:cubicBezTo>
                    <a:pt x="112" y="1"/>
                    <a:pt x="112" y="1"/>
                    <a:pt x="112" y="0"/>
                  </a:cubicBezTo>
                  <a:cubicBezTo>
                    <a:pt x="51" y="0"/>
                    <a:pt x="51" y="0"/>
                    <a:pt x="51" y="0"/>
                  </a:cubicBezTo>
                  <a:cubicBezTo>
                    <a:pt x="46" y="13"/>
                    <a:pt x="46" y="13"/>
                    <a:pt x="46" y="13"/>
                  </a:cubicBezTo>
                  <a:cubicBezTo>
                    <a:pt x="46" y="13"/>
                    <a:pt x="56" y="23"/>
                    <a:pt x="60" y="31"/>
                  </a:cubicBezTo>
                  <a:cubicBezTo>
                    <a:pt x="64" y="39"/>
                    <a:pt x="58" y="44"/>
                    <a:pt x="58" y="44"/>
                  </a:cubicBezTo>
                  <a:cubicBezTo>
                    <a:pt x="58" y="44"/>
                    <a:pt x="64" y="52"/>
                    <a:pt x="64" y="64"/>
                  </a:cubicBezTo>
                  <a:cubicBezTo>
                    <a:pt x="64" y="76"/>
                    <a:pt x="44" y="74"/>
                    <a:pt x="44" y="74"/>
                  </a:cubicBezTo>
                  <a:cubicBezTo>
                    <a:pt x="44" y="74"/>
                    <a:pt x="40" y="88"/>
                    <a:pt x="38" y="97"/>
                  </a:cubicBezTo>
                  <a:cubicBezTo>
                    <a:pt x="36" y="106"/>
                    <a:pt x="60" y="107"/>
                    <a:pt x="60" y="107"/>
                  </a:cubicBezTo>
                  <a:cubicBezTo>
                    <a:pt x="59" y="118"/>
                    <a:pt x="59" y="118"/>
                    <a:pt x="59" y="118"/>
                  </a:cubicBezTo>
                  <a:cubicBezTo>
                    <a:pt x="51" y="121"/>
                    <a:pt x="51" y="121"/>
                    <a:pt x="51" y="121"/>
                  </a:cubicBezTo>
                  <a:cubicBezTo>
                    <a:pt x="53" y="130"/>
                    <a:pt x="53" y="130"/>
                    <a:pt x="53" y="130"/>
                  </a:cubicBezTo>
                  <a:cubicBezTo>
                    <a:pt x="53" y="130"/>
                    <a:pt x="41" y="129"/>
                    <a:pt x="34" y="142"/>
                  </a:cubicBezTo>
                  <a:cubicBezTo>
                    <a:pt x="27" y="155"/>
                    <a:pt x="34" y="165"/>
                    <a:pt x="18" y="177"/>
                  </a:cubicBezTo>
                  <a:cubicBezTo>
                    <a:pt x="11" y="182"/>
                    <a:pt x="6" y="184"/>
                    <a:pt x="2" y="185"/>
                  </a:cubicBezTo>
                  <a:cubicBezTo>
                    <a:pt x="0" y="194"/>
                    <a:pt x="0" y="194"/>
                    <a:pt x="0" y="194"/>
                  </a:cubicBezTo>
                  <a:cubicBezTo>
                    <a:pt x="0" y="194"/>
                    <a:pt x="6" y="205"/>
                    <a:pt x="9" y="209"/>
                  </a:cubicBezTo>
                  <a:cubicBezTo>
                    <a:pt x="12" y="213"/>
                    <a:pt x="8" y="226"/>
                    <a:pt x="8" y="226"/>
                  </a:cubicBezTo>
                  <a:cubicBezTo>
                    <a:pt x="8" y="226"/>
                    <a:pt x="19" y="256"/>
                    <a:pt x="15" y="261"/>
                  </a:cubicBezTo>
                  <a:cubicBezTo>
                    <a:pt x="11" y="266"/>
                    <a:pt x="8" y="269"/>
                    <a:pt x="9" y="279"/>
                  </a:cubicBezTo>
                  <a:cubicBezTo>
                    <a:pt x="10" y="289"/>
                    <a:pt x="18" y="294"/>
                    <a:pt x="24" y="296"/>
                  </a:cubicBezTo>
                  <a:cubicBezTo>
                    <a:pt x="30" y="298"/>
                    <a:pt x="47" y="316"/>
                    <a:pt x="51" y="322"/>
                  </a:cubicBezTo>
                  <a:cubicBezTo>
                    <a:pt x="55" y="328"/>
                    <a:pt x="51" y="337"/>
                    <a:pt x="49" y="345"/>
                  </a:cubicBezTo>
                  <a:cubicBezTo>
                    <a:pt x="47" y="353"/>
                    <a:pt x="56" y="370"/>
                    <a:pt x="56" y="370"/>
                  </a:cubicBezTo>
                  <a:cubicBezTo>
                    <a:pt x="74" y="394"/>
                    <a:pt x="74" y="394"/>
                    <a:pt x="74" y="394"/>
                  </a:cubicBezTo>
                  <a:cubicBezTo>
                    <a:pt x="74" y="394"/>
                    <a:pt x="72" y="401"/>
                    <a:pt x="69" y="409"/>
                  </a:cubicBezTo>
                  <a:cubicBezTo>
                    <a:pt x="77" y="410"/>
                    <a:pt x="89" y="406"/>
                    <a:pt x="89" y="406"/>
                  </a:cubicBezTo>
                  <a:cubicBezTo>
                    <a:pt x="89" y="406"/>
                    <a:pt x="91" y="418"/>
                    <a:pt x="94" y="421"/>
                  </a:cubicBezTo>
                  <a:cubicBezTo>
                    <a:pt x="97" y="424"/>
                    <a:pt x="106" y="421"/>
                    <a:pt x="106" y="421"/>
                  </a:cubicBezTo>
                  <a:cubicBezTo>
                    <a:pt x="106" y="421"/>
                    <a:pt x="113" y="430"/>
                    <a:pt x="118" y="434"/>
                  </a:cubicBezTo>
                  <a:cubicBezTo>
                    <a:pt x="123" y="438"/>
                    <a:pt x="133" y="432"/>
                    <a:pt x="133" y="432"/>
                  </a:cubicBezTo>
                  <a:cubicBezTo>
                    <a:pt x="135" y="443"/>
                    <a:pt x="135" y="443"/>
                    <a:pt x="135" y="443"/>
                  </a:cubicBezTo>
                  <a:cubicBezTo>
                    <a:pt x="147" y="442"/>
                    <a:pt x="147" y="442"/>
                    <a:pt x="147" y="442"/>
                  </a:cubicBezTo>
                  <a:cubicBezTo>
                    <a:pt x="158" y="452"/>
                    <a:pt x="158" y="452"/>
                    <a:pt x="158" y="452"/>
                  </a:cubicBezTo>
                  <a:cubicBezTo>
                    <a:pt x="173" y="451"/>
                    <a:pt x="173" y="451"/>
                    <a:pt x="173" y="451"/>
                  </a:cubicBezTo>
                  <a:cubicBezTo>
                    <a:pt x="179" y="461"/>
                    <a:pt x="179" y="461"/>
                    <a:pt x="179" y="461"/>
                  </a:cubicBezTo>
                  <a:cubicBezTo>
                    <a:pt x="198" y="461"/>
                    <a:pt x="198" y="461"/>
                    <a:pt x="198" y="461"/>
                  </a:cubicBezTo>
                  <a:cubicBezTo>
                    <a:pt x="198" y="461"/>
                    <a:pt x="202" y="448"/>
                    <a:pt x="212" y="453"/>
                  </a:cubicBezTo>
                  <a:cubicBezTo>
                    <a:pt x="222" y="458"/>
                    <a:pt x="230" y="479"/>
                    <a:pt x="230" y="479"/>
                  </a:cubicBezTo>
                  <a:cubicBezTo>
                    <a:pt x="232" y="514"/>
                    <a:pt x="232" y="514"/>
                    <a:pt x="232" y="514"/>
                  </a:cubicBezTo>
                  <a:cubicBezTo>
                    <a:pt x="232" y="514"/>
                    <a:pt x="237" y="515"/>
                    <a:pt x="237" y="522"/>
                  </a:cubicBezTo>
                  <a:cubicBezTo>
                    <a:pt x="237" y="529"/>
                    <a:pt x="234" y="531"/>
                    <a:pt x="231" y="539"/>
                  </a:cubicBezTo>
                  <a:cubicBezTo>
                    <a:pt x="228" y="547"/>
                    <a:pt x="250" y="557"/>
                    <a:pt x="250" y="557"/>
                  </a:cubicBezTo>
                  <a:cubicBezTo>
                    <a:pt x="249" y="569"/>
                    <a:pt x="249" y="569"/>
                    <a:pt x="249" y="569"/>
                  </a:cubicBezTo>
                  <a:cubicBezTo>
                    <a:pt x="262" y="569"/>
                    <a:pt x="280" y="568"/>
                    <a:pt x="280" y="568"/>
                  </a:cubicBezTo>
                  <a:cubicBezTo>
                    <a:pt x="280" y="568"/>
                    <a:pt x="284" y="558"/>
                    <a:pt x="292" y="558"/>
                  </a:cubicBezTo>
                  <a:cubicBezTo>
                    <a:pt x="300" y="558"/>
                    <a:pt x="319" y="579"/>
                    <a:pt x="324" y="579"/>
                  </a:cubicBezTo>
                  <a:cubicBezTo>
                    <a:pt x="329" y="579"/>
                    <a:pt x="334" y="570"/>
                    <a:pt x="338" y="568"/>
                  </a:cubicBezTo>
                  <a:cubicBezTo>
                    <a:pt x="342" y="566"/>
                    <a:pt x="356" y="574"/>
                    <a:pt x="356" y="574"/>
                  </a:cubicBezTo>
                  <a:cubicBezTo>
                    <a:pt x="356" y="574"/>
                    <a:pt x="360" y="576"/>
                    <a:pt x="367" y="573"/>
                  </a:cubicBezTo>
                  <a:cubicBezTo>
                    <a:pt x="374" y="570"/>
                    <a:pt x="390" y="552"/>
                    <a:pt x="390" y="552"/>
                  </a:cubicBezTo>
                  <a:cubicBezTo>
                    <a:pt x="406" y="552"/>
                    <a:pt x="406" y="552"/>
                    <a:pt x="406" y="552"/>
                  </a:cubicBezTo>
                  <a:cubicBezTo>
                    <a:pt x="406" y="552"/>
                    <a:pt x="409" y="560"/>
                    <a:pt x="413" y="559"/>
                  </a:cubicBezTo>
                  <a:cubicBezTo>
                    <a:pt x="417" y="558"/>
                    <a:pt x="438" y="545"/>
                    <a:pt x="438" y="545"/>
                  </a:cubicBezTo>
                  <a:cubicBezTo>
                    <a:pt x="457" y="544"/>
                    <a:pt x="457" y="544"/>
                    <a:pt x="457" y="544"/>
                  </a:cubicBezTo>
                  <a:cubicBezTo>
                    <a:pt x="510" y="507"/>
                    <a:pt x="510" y="507"/>
                    <a:pt x="510" y="507"/>
                  </a:cubicBezTo>
                  <a:lnTo>
                    <a:pt x="507" y="496"/>
                  </a:lnTo>
                  <a:close/>
                  <a:moveTo>
                    <a:pt x="481" y="237"/>
                  </a:moveTo>
                  <a:cubicBezTo>
                    <a:pt x="497" y="235"/>
                    <a:pt x="483" y="196"/>
                    <a:pt x="476" y="204"/>
                  </a:cubicBezTo>
                  <a:cubicBezTo>
                    <a:pt x="468" y="212"/>
                    <a:pt x="468" y="239"/>
                    <a:pt x="481" y="237"/>
                  </a:cubicBezTo>
                  <a:close/>
                  <a:moveTo>
                    <a:pt x="452" y="278"/>
                  </a:moveTo>
                  <a:cubicBezTo>
                    <a:pt x="452" y="278"/>
                    <a:pt x="468" y="296"/>
                    <a:pt x="478" y="294"/>
                  </a:cubicBezTo>
                  <a:cubicBezTo>
                    <a:pt x="487" y="292"/>
                    <a:pt x="470" y="272"/>
                    <a:pt x="470" y="272"/>
                  </a:cubicBezTo>
                  <a:cubicBezTo>
                    <a:pt x="470" y="272"/>
                    <a:pt x="474" y="251"/>
                    <a:pt x="458" y="251"/>
                  </a:cubicBezTo>
                  <a:cubicBezTo>
                    <a:pt x="442" y="251"/>
                    <a:pt x="452" y="278"/>
                    <a:pt x="452" y="278"/>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04" name="Uganda">
              <a:extLst>
                <a:ext uri="{FF2B5EF4-FFF2-40B4-BE49-F238E27FC236}">
                  <a16:creationId xmlns:a16="http://schemas.microsoft.com/office/drawing/2014/main" id="{8CA18338-5464-48AE-B8DD-0BEF31194E9F}"/>
                </a:ext>
              </a:extLst>
            </p:cNvPr>
            <p:cNvSpPr>
              <a:spLocks noEditPoints="1"/>
            </p:cNvSpPr>
            <p:nvPr/>
          </p:nvSpPr>
          <p:spPr bwMode="gray">
            <a:xfrm>
              <a:off x="6838322" y="3593536"/>
              <a:ext cx="331244" cy="390850"/>
            </a:xfrm>
            <a:custGeom>
              <a:avLst/>
              <a:gdLst>
                <a:gd name="T0" fmla="*/ 204 w 266"/>
                <a:gd name="T1" fmla="*/ 283 h 314"/>
                <a:gd name="T2" fmla="*/ 214 w 266"/>
                <a:gd name="T3" fmla="*/ 283 h 314"/>
                <a:gd name="T4" fmla="*/ 215 w 266"/>
                <a:gd name="T5" fmla="*/ 282 h 314"/>
                <a:gd name="T6" fmla="*/ 204 w 266"/>
                <a:gd name="T7" fmla="*/ 283 h 314"/>
                <a:gd name="T8" fmla="*/ 262 w 266"/>
                <a:gd name="T9" fmla="*/ 127 h 314"/>
                <a:gd name="T10" fmla="*/ 246 w 266"/>
                <a:gd name="T11" fmla="*/ 97 h 314"/>
                <a:gd name="T12" fmla="*/ 255 w 266"/>
                <a:gd name="T13" fmla="*/ 87 h 314"/>
                <a:gd name="T14" fmla="*/ 234 w 266"/>
                <a:gd name="T15" fmla="*/ 62 h 314"/>
                <a:gd name="T16" fmla="*/ 235 w 266"/>
                <a:gd name="T17" fmla="*/ 57 h 314"/>
                <a:gd name="T18" fmla="*/ 226 w 266"/>
                <a:gd name="T19" fmla="*/ 42 h 314"/>
                <a:gd name="T20" fmla="*/ 228 w 266"/>
                <a:gd name="T21" fmla="*/ 27 h 314"/>
                <a:gd name="T22" fmla="*/ 215 w 266"/>
                <a:gd name="T23" fmla="*/ 22 h 314"/>
                <a:gd name="T24" fmla="*/ 208 w 266"/>
                <a:gd name="T25" fmla="*/ 0 h 314"/>
                <a:gd name="T26" fmla="*/ 200 w 266"/>
                <a:gd name="T27" fmla="*/ 0 h 314"/>
                <a:gd name="T28" fmla="*/ 178 w 266"/>
                <a:gd name="T29" fmla="*/ 25 h 314"/>
                <a:gd name="T30" fmla="*/ 161 w 266"/>
                <a:gd name="T31" fmla="*/ 17 h 314"/>
                <a:gd name="T32" fmla="*/ 149 w 266"/>
                <a:gd name="T33" fmla="*/ 25 h 314"/>
                <a:gd name="T34" fmla="*/ 133 w 266"/>
                <a:gd name="T35" fmla="*/ 24 h 314"/>
                <a:gd name="T36" fmla="*/ 120 w 266"/>
                <a:gd name="T37" fmla="*/ 39 h 314"/>
                <a:gd name="T38" fmla="*/ 106 w 266"/>
                <a:gd name="T39" fmla="*/ 21 h 314"/>
                <a:gd name="T40" fmla="*/ 99 w 266"/>
                <a:gd name="T41" fmla="*/ 22 h 314"/>
                <a:gd name="T42" fmla="*/ 92 w 266"/>
                <a:gd name="T43" fmla="*/ 29 h 314"/>
                <a:gd name="T44" fmla="*/ 72 w 266"/>
                <a:gd name="T45" fmla="*/ 21 h 314"/>
                <a:gd name="T46" fmla="*/ 56 w 266"/>
                <a:gd name="T47" fmla="*/ 34 h 314"/>
                <a:gd name="T48" fmla="*/ 62 w 266"/>
                <a:gd name="T49" fmla="*/ 47 h 314"/>
                <a:gd name="T50" fmla="*/ 49 w 266"/>
                <a:gd name="T51" fmla="*/ 61 h 314"/>
                <a:gd name="T52" fmla="*/ 59 w 266"/>
                <a:gd name="T53" fmla="*/ 71 h 314"/>
                <a:gd name="T54" fmla="*/ 52 w 266"/>
                <a:gd name="T55" fmla="*/ 92 h 314"/>
                <a:gd name="T56" fmla="*/ 66 w 266"/>
                <a:gd name="T57" fmla="*/ 97 h 314"/>
                <a:gd name="T58" fmla="*/ 78 w 266"/>
                <a:gd name="T59" fmla="*/ 108 h 314"/>
                <a:gd name="T60" fmla="*/ 45 w 266"/>
                <a:gd name="T61" fmla="*/ 156 h 314"/>
                <a:gd name="T62" fmla="*/ 29 w 266"/>
                <a:gd name="T63" fmla="*/ 164 h 314"/>
                <a:gd name="T64" fmla="*/ 29 w 266"/>
                <a:gd name="T65" fmla="*/ 173 h 314"/>
                <a:gd name="T66" fmla="*/ 16 w 266"/>
                <a:gd name="T67" fmla="*/ 181 h 314"/>
                <a:gd name="T68" fmla="*/ 14 w 266"/>
                <a:gd name="T69" fmla="*/ 198 h 314"/>
                <a:gd name="T70" fmla="*/ 4 w 266"/>
                <a:gd name="T71" fmla="*/ 229 h 314"/>
                <a:gd name="T72" fmla="*/ 4 w 266"/>
                <a:gd name="T73" fmla="*/ 249 h 314"/>
                <a:gd name="T74" fmla="*/ 0 w 266"/>
                <a:gd name="T75" fmla="*/ 299 h 314"/>
                <a:gd name="T76" fmla="*/ 10 w 266"/>
                <a:gd name="T77" fmla="*/ 299 h 314"/>
                <a:gd name="T78" fmla="*/ 22 w 266"/>
                <a:gd name="T79" fmla="*/ 307 h 314"/>
                <a:gd name="T80" fmla="*/ 33 w 266"/>
                <a:gd name="T81" fmla="*/ 283 h 314"/>
                <a:gd name="T82" fmla="*/ 49 w 266"/>
                <a:gd name="T83" fmla="*/ 282 h 314"/>
                <a:gd name="T84" fmla="*/ 110 w 266"/>
                <a:gd name="T85" fmla="*/ 282 h 314"/>
                <a:gd name="T86" fmla="*/ 102 w 266"/>
                <a:gd name="T87" fmla="*/ 265 h 314"/>
                <a:gd name="T88" fmla="*/ 111 w 266"/>
                <a:gd name="T89" fmla="*/ 246 h 314"/>
                <a:gd name="T90" fmla="*/ 118 w 266"/>
                <a:gd name="T91" fmla="*/ 223 h 314"/>
                <a:gd name="T92" fmla="*/ 160 w 266"/>
                <a:gd name="T93" fmla="*/ 216 h 314"/>
                <a:gd name="T94" fmla="*/ 176 w 266"/>
                <a:gd name="T95" fmla="*/ 202 h 314"/>
                <a:gd name="T96" fmla="*/ 182 w 266"/>
                <a:gd name="T97" fmla="*/ 219 h 314"/>
                <a:gd name="T98" fmla="*/ 200 w 266"/>
                <a:gd name="T99" fmla="*/ 215 h 314"/>
                <a:gd name="T100" fmla="*/ 207 w 266"/>
                <a:gd name="T101" fmla="*/ 217 h 314"/>
                <a:gd name="T102" fmla="*/ 207 w 266"/>
                <a:gd name="T103" fmla="*/ 219 h 314"/>
                <a:gd name="T104" fmla="*/ 218 w 266"/>
                <a:gd name="T105" fmla="*/ 201 h 314"/>
                <a:gd name="T106" fmla="*/ 219 w 266"/>
                <a:gd name="T107" fmla="*/ 190 h 314"/>
                <a:gd name="T108" fmla="*/ 231 w 266"/>
                <a:gd name="T109" fmla="*/ 179 h 314"/>
                <a:gd name="T110" fmla="*/ 234 w 266"/>
                <a:gd name="T111" fmla="*/ 164 h 314"/>
                <a:gd name="T112" fmla="*/ 247 w 266"/>
                <a:gd name="T113" fmla="*/ 160 h 314"/>
                <a:gd name="T114" fmla="*/ 251 w 266"/>
                <a:gd name="T115" fmla="*/ 145 h 314"/>
                <a:gd name="T116" fmla="*/ 262 w 266"/>
                <a:gd name="T117" fmla="*/ 12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6" h="314">
                  <a:moveTo>
                    <a:pt x="204" y="283"/>
                  </a:moveTo>
                  <a:cubicBezTo>
                    <a:pt x="214" y="283"/>
                    <a:pt x="214" y="283"/>
                    <a:pt x="214" y="283"/>
                  </a:cubicBezTo>
                  <a:cubicBezTo>
                    <a:pt x="215" y="282"/>
                    <a:pt x="215" y="282"/>
                    <a:pt x="215" y="282"/>
                  </a:cubicBezTo>
                  <a:cubicBezTo>
                    <a:pt x="209" y="282"/>
                    <a:pt x="204" y="282"/>
                    <a:pt x="204" y="283"/>
                  </a:cubicBezTo>
                  <a:close/>
                  <a:moveTo>
                    <a:pt x="262" y="127"/>
                  </a:moveTo>
                  <a:cubicBezTo>
                    <a:pt x="258" y="121"/>
                    <a:pt x="245" y="102"/>
                    <a:pt x="246" y="97"/>
                  </a:cubicBezTo>
                  <a:cubicBezTo>
                    <a:pt x="247" y="92"/>
                    <a:pt x="255" y="87"/>
                    <a:pt x="255" y="87"/>
                  </a:cubicBezTo>
                  <a:cubicBezTo>
                    <a:pt x="234" y="62"/>
                    <a:pt x="234" y="62"/>
                    <a:pt x="234" y="62"/>
                  </a:cubicBezTo>
                  <a:cubicBezTo>
                    <a:pt x="235" y="57"/>
                    <a:pt x="235" y="57"/>
                    <a:pt x="235" y="57"/>
                  </a:cubicBezTo>
                  <a:cubicBezTo>
                    <a:pt x="235" y="57"/>
                    <a:pt x="224" y="48"/>
                    <a:pt x="226" y="42"/>
                  </a:cubicBezTo>
                  <a:cubicBezTo>
                    <a:pt x="228" y="36"/>
                    <a:pt x="228" y="27"/>
                    <a:pt x="228" y="27"/>
                  </a:cubicBezTo>
                  <a:cubicBezTo>
                    <a:pt x="228" y="27"/>
                    <a:pt x="215" y="35"/>
                    <a:pt x="215" y="22"/>
                  </a:cubicBezTo>
                  <a:cubicBezTo>
                    <a:pt x="215" y="9"/>
                    <a:pt x="208" y="0"/>
                    <a:pt x="208" y="0"/>
                  </a:cubicBezTo>
                  <a:cubicBezTo>
                    <a:pt x="200" y="0"/>
                    <a:pt x="200" y="0"/>
                    <a:pt x="200" y="0"/>
                  </a:cubicBezTo>
                  <a:cubicBezTo>
                    <a:pt x="200" y="0"/>
                    <a:pt x="191" y="27"/>
                    <a:pt x="178" y="25"/>
                  </a:cubicBezTo>
                  <a:cubicBezTo>
                    <a:pt x="165" y="23"/>
                    <a:pt x="166" y="17"/>
                    <a:pt x="161" y="17"/>
                  </a:cubicBezTo>
                  <a:cubicBezTo>
                    <a:pt x="156" y="17"/>
                    <a:pt x="149" y="25"/>
                    <a:pt x="149" y="25"/>
                  </a:cubicBezTo>
                  <a:cubicBezTo>
                    <a:pt x="133" y="24"/>
                    <a:pt x="133" y="24"/>
                    <a:pt x="133" y="24"/>
                  </a:cubicBezTo>
                  <a:cubicBezTo>
                    <a:pt x="120" y="39"/>
                    <a:pt x="120" y="39"/>
                    <a:pt x="120" y="39"/>
                  </a:cubicBezTo>
                  <a:cubicBezTo>
                    <a:pt x="106" y="21"/>
                    <a:pt x="106" y="21"/>
                    <a:pt x="106" y="21"/>
                  </a:cubicBezTo>
                  <a:cubicBezTo>
                    <a:pt x="99" y="22"/>
                    <a:pt x="99" y="22"/>
                    <a:pt x="99" y="22"/>
                  </a:cubicBezTo>
                  <a:cubicBezTo>
                    <a:pt x="99" y="22"/>
                    <a:pt x="98" y="30"/>
                    <a:pt x="92" y="29"/>
                  </a:cubicBezTo>
                  <a:cubicBezTo>
                    <a:pt x="86" y="28"/>
                    <a:pt x="77" y="21"/>
                    <a:pt x="72" y="21"/>
                  </a:cubicBezTo>
                  <a:cubicBezTo>
                    <a:pt x="67" y="21"/>
                    <a:pt x="56" y="34"/>
                    <a:pt x="56" y="34"/>
                  </a:cubicBezTo>
                  <a:cubicBezTo>
                    <a:pt x="62" y="47"/>
                    <a:pt x="62" y="47"/>
                    <a:pt x="62" y="47"/>
                  </a:cubicBezTo>
                  <a:cubicBezTo>
                    <a:pt x="49" y="61"/>
                    <a:pt x="49" y="61"/>
                    <a:pt x="49" y="61"/>
                  </a:cubicBezTo>
                  <a:cubicBezTo>
                    <a:pt x="49" y="61"/>
                    <a:pt x="60" y="65"/>
                    <a:pt x="59" y="71"/>
                  </a:cubicBezTo>
                  <a:cubicBezTo>
                    <a:pt x="58" y="76"/>
                    <a:pt x="49" y="87"/>
                    <a:pt x="52" y="92"/>
                  </a:cubicBezTo>
                  <a:cubicBezTo>
                    <a:pt x="55" y="98"/>
                    <a:pt x="66" y="97"/>
                    <a:pt x="66" y="97"/>
                  </a:cubicBezTo>
                  <a:cubicBezTo>
                    <a:pt x="66" y="97"/>
                    <a:pt x="78" y="100"/>
                    <a:pt x="78" y="108"/>
                  </a:cubicBezTo>
                  <a:cubicBezTo>
                    <a:pt x="78" y="116"/>
                    <a:pt x="45" y="156"/>
                    <a:pt x="45" y="156"/>
                  </a:cubicBezTo>
                  <a:cubicBezTo>
                    <a:pt x="29" y="164"/>
                    <a:pt x="29" y="164"/>
                    <a:pt x="29" y="164"/>
                  </a:cubicBezTo>
                  <a:cubicBezTo>
                    <a:pt x="29" y="173"/>
                    <a:pt x="29" y="173"/>
                    <a:pt x="29" y="173"/>
                  </a:cubicBezTo>
                  <a:cubicBezTo>
                    <a:pt x="16" y="181"/>
                    <a:pt x="16" y="181"/>
                    <a:pt x="16" y="181"/>
                  </a:cubicBezTo>
                  <a:cubicBezTo>
                    <a:pt x="14" y="198"/>
                    <a:pt x="14" y="198"/>
                    <a:pt x="14" y="198"/>
                  </a:cubicBezTo>
                  <a:cubicBezTo>
                    <a:pt x="4" y="229"/>
                    <a:pt x="4" y="229"/>
                    <a:pt x="4" y="229"/>
                  </a:cubicBezTo>
                  <a:cubicBezTo>
                    <a:pt x="4" y="249"/>
                    <a:pt x="4" y="249"/>
                    <a:pt x="4" y="249"/>
                  </a:cubicBezTo>
                  <a:cubicBezTo>
                    <a:pt x="0" y="299"/>
                    <a:pt x="0" y="299"/>
                    <a:pt x="0" y="299"/>
                  </a:cubicBezTo>
                  <a:cubicBezTo>
                    <a:pt x="10" y="299"/>
                    <a:pt x="10" y="299"/>
                    <a:pt x="10" y="299"/>
                  </a:cubicBezTo>
                  <a:cubicBezTo>
                    <a:pt x="10" y="299"/>
                    <a:pt x="16" y="314"/>
                    <a:pt x="22" y="307"/>
                  </a:cubicBezTo>
                  <a:cubicBezTo>
                    <a:pt x="29" y="299"/>
                    <a:pt x="33" y="283"/>
                    <a:pt x="33" y="283"/>
                  </a:cubicBezTo>
                  <a:cubicBezTo>
                    <a:pt x="49" y="282"/>
                    <a:pt x="49" y="282"/>
                    <a:pt x="49" y="282"/>
                  </a:cubicBezTo>
                  <a:cubicBezTo>
                    <a:pt x="110" y="282"/>
                    <a:pt x="110" y="282"/>
                    <a:pt x="110" y="282"/>
                  </a:cubicBezTo>
                  <a:cubicBezTo>
                    <a:pt x="110" y="277"/>
                    <a:pt x="104" y="271"/>
                    <a:pt x="102" y="265"/>
                  </a:cubicBezTo>
                  <a:cubicBezTo>
                    <a:pt x="100" y="258"/>
                    <a:pt x="107" y="250"/>
                    <a:pt x="111" y="246"/>
                  </a:cubicBezTo>
                  <a:cubicBezTo>
                    <a:pt x="115" y="242"/>
                    <a:pt x="109" y="230"/>
                    <a:pt x="118" y="223"/>
                  </a:cubicBezTo>
                  <a:cubicBezTo>
                    <a:pt x="127" y="216"/>
                    <a:pt x="157" y="218"/>
                    <a:pt x="160" y="216"/>
                  </a:cubicBezTo>
                  <a:cubicBezTo>
                    <a:pt x="163" y="214"/>
                    <a:pt x="170" y="202"/>
                    <a:pt x="176" y="202"/>
                  </a:cubicBezTo>
                  <a:cubicBezTo>
                    <a:pt x="182" y="202"/>
                    <a:pt x="182" y="219"/>
                    <a:pt x="182" y="219"/>
                  </a:cubicBezTo>
                  <a:cubicBezTo>
                    <a:pt x="182" y="219"/>
                    <a:pt x="189" y="212"/>
                    <a:pt x="200" y="215"/>
                  </a:cubicBezTo>
                  <a:cubicBezTo>
                    <a:pt x="202" y="215"/>
                    <a:pt x="204" y="216"/>
                    <a:pt x="207" y="217"/>
                  </a:cubicBezTo>
                  <a:cubicBezTo>
                    <a:pt x="207" y="218"/>
                    <a:pt x="207" y="218"/>
                    <a:pt x="207" y="219"/>
                  </a:cubicBezTo>
                  <a:cubicBezTo>
                    <a:pt x="207" y="208"/>
                    <a:pt x="218" y="201"/>
                    <a:pt x="218" y="201"/>
                  </a:cubicBezTo>
                  <a:cubicBezTo>
                    <a:pt x="219" y="190"/>
                    <a:pt x="219" y="190"/>
                    <a:pt x="219" y="190"/>
                  </a:cubicBezTo>
                  <a:cubicBezTo>
                    <a:pt x="231" y="179"/>
                    <a:pt x="231" y="179"/>
                    <a:pt x="231" y="179"/>
                  </a:cubicBezTo>
                  <a:cubicBezTo>
                    <a:pt x="231" y="179"/>
                    <a:pt x="227" y="170"/>
                    <a:pt x="234" y="164"/>
                  </a:cubicBezTo>
                  <a:cubicBezTo>
                    <a:pt x="241" y="158"/>
                    <a:pt x="247" y="160"/>
                    <a:pt x="247" y="160"/>
                  </a:cubicBezTo>
                  <a:cubicBezTo>
                    <a:pt x="251" y="145"/>
                    <a:pt x="251" y="145"/>
                    <a:pt x="251" y="145"/>
                  </a:cubicBezTo>
                  <a:cubicBezTo>
                    <a:pt x="251" y="145"/>
                    <a:pt x="266" y="133"/>
                    <a:pt x="262" y="127"/>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105" name="Kenya">
              <a:extLst>
                <a:ext uri="{FF2B5EF4-FFF2-40B4-BE49-F238E27FC236}">
                  <a16:creationId xmlns:a16="http://schemas.microsoft.com/office/drawing/2014/main" id="{AD509095-8669-459D-96EC-CCF7C3CA4F71}"/>
                </a:ext>
              </a:extLst>
            </p:cNvPr>
            <p:cNvSpPr>
              <a:spLocks/>
            </p:cNvSpPr>
            <p:nvPr/>
          </p:nvSpPr>
          <p:spPr bwMode="gray">
            <a:xfrm>
              <a:off x="7092034" y="3558328"/>
              <a:ext cx="472198" cy="630289"/>
            </a:xfrm>
            <a:custGeom>
              <a:avLst/>
              <a:gdLst>
                <a:gd name="T0" fmla="*/ 337 w 378"/>
                <a:gd name="T1" fmla="*/ 100 h 509"/>
                <a:gd name="T2" fmla="*/ 358 w 378"/>
                <a:gd name="T3" fmla="*/ 79 h 509"/>
                <a:gd name="T4" fmla="*/ 378 w 378"/>
                <a:gd name="T5" fmla="*/ 43 h 509"/>
                <a:gd name="T6" fmla="*/ 362 w 378"/>
                <a:gd name="T7" fmla="*/ 37 h 509"/>
                <a:gd name="T8" fmla="*/ 358 w 378"/>
                <a:gd name="T9" fmla="*/ 41 h 509"/>
                <a:gd name="T10" fmla="*/ 340 w 378"/>
                <a:gd name="T11" fmla="*/ 40 h 509"/>
                <a:gd name="T12" fmla="*/ 324 w 378"/>
                <a:gd name="T13" fmla="*/ 23 h 509"/>
                <a:gd name="T14" fmla="*/ 312 w 378"/>
                <a:gd name="T15" fmla="*/ 32 h 509"/>
                <a:gd name="T16" fmla="*/ 283 w 378"/>
                <a:gd name="T17" fmla="*/ 46 h 509"/>
                <a:gd name="T18" fmla="*/ 278 w 378"/>
                <a:gd name="T19" fmla="*/ 56 h 509"/>
                <a:gd name="T20" fmla="*/ 265 w 378"/>
                <a:gd name="T21" fmla="*/ 70 h 509"/>
                <a:gd name="T22" fmla="*/ 234 w 378"/>
                <a:gd name="T23" fmla="*/ 61 h 509"/>
                <a:gd name="T24" fmla="*/ 194 w 378"/>
                <a:gd name="T25" fmla="*/ 57 h 509"/>
                <a:gd name="T26" fmla="*/ 143 w 378"/>
                <a:gd name="T27" fmla="*/ 17 h 509"/>
                <a:gd name="T28" fmla="*/ 96 w 378"/>
                <a:gd name="T29" fmla="*/ 15 h 509"/>
                <a:gd name="T30" fmla="*/ 90 w 378"/>
                <a:gd name="T31" fmla="*/ 0 h 509"/>
                <a:gd name="T32" fmla="*/ 77 w 378"/>
                <a:gd name="T33" fmla="*/ 8 h 509"/>
                <a:gd name="T34" fmla="*/ 17 w 378"/>
                <a:gd name="T35" fmla="*/ 9 h 509"/>
                <a:gd name="T36" fmla="*/ 3 w 378"/>
                <a:gd name="T37" fmla="*/ 29 h 509"/>
                <a:gd name="T38" fmla="*/ 10 w 378"/>
                <a:gd name="T39" fmla="*/ 51 h 509"/>
                <a:gd name="T40" fmla="*/ 23 w 378"/>
                <a:gd name="T41" fmla="*/ 56 h 509"/>
                <a:gd name="T42" fmla="*/ 21 w 378"/>
                <a:gd name="T43" fmla="*/ 71 h 509"/>
                <a:gd name="T44" fmla="*/ 30 w 378"/>
                <a:gd name="T45" fmla="*/ 86 h 509"/>
                <a:gd name="T46" fmla="*/ 29 w 378"/>
                <a:gd name="T47" fmla="*/ 91 h 509"/>
                <a:gd name="T48" fmla="*/ 50 w 378"/>
                <a:gd name="T49" fmla="*/ 116 h 509"/>
                <a:gd name="T50" fmla="*/ 41 w 378"/>
                <a:gd name="T51" fmla="*/ 126 h 509"/>
                <a:gd name="T52" fmla="*/ 57 w 378"/>
                <a:gd name="T53" fmla="*/ 156 h 509"/>
                <a:gd name="T54" fmla="*/ 46 w 378"/>
                <a:gd name="T55" fmla="*/ 174 h 509"/>
                <a:gd name="T56" fmla="*/ 42 w 378"/>
                <a:gd name="T57" fmla="*/ 189 h 509"/>
                <a:gd name="T58" fmla="*/ 29 w 378"/>
                <a:gd name="T59" fmla="*/ 193 h 509"/>
                <a:gd name="T60" fmla="*/ 26 w 378"/>
                <a:gd name="T61" fmla="*/ 208 h 509"/>
                <a:gd name="T62" fmla="*/ 14 w 378"/>
                <a:gd name="T63" fmla="*/ 219 h 509"/>
                <a:gd name="T64" fmla="*/ 13 w 378"/>
                <a:gd name="T65" fmla="*/ 230 h 509"/>
                <a:gd name="T66" fmla="*/ 2 w 378"/>
                <a:gd name="T67" fmla="*/ 248 h 509"/>
                <a:gd name="T68" fmla="*/ 18 w 378"/>
                <a:gd name="T69" fmla="*/ 270 h 509"/>
                <a:gd name="T70" fmla="*/ 25 w 378"/>
                <a:gd name="T71" fmla="*/ 262 h 509"/>
                <a:gd name="T72" fmla="*/ 39 w 378"/>
                <a:gd name="T73" fmla="*/ 261 h 509"/>
                <a:gd name="T74" fmla="*/ 42 w 378"/>
                <a:gd name="T75" fmla="*/ 273 h 509"/>
                <a:gd name="T76" fmla="*/ 33 w 378"/>
                <a:gd name="T77" fmla="*/ 275 h 509"/>
                <a:gd name="T78" fmla="*/ 23 w 378"/>
                <a:gd name="T79" fmla="*/ 283 h 509"/>
                <a:gd name="T80" fmla="*/ 9 w 378"/>
                <a:gd name="T81" fmla="*/ 283 h 509"/>
                <a:gd name="T82" fmla="*/ 13 w 378"/>
                <a:gd name="T83" fmla="*/ 302 h 509"/>
                <a:gd name="T84" fmla="*/ 9 w 378"/>
                <a:gd name="T85" fmla="*/ 312 h 509"/>
                <a:gd name="T86" fmla="*/ 175 w 378"/>
                <a:gd name="T87" fmla="*/ 416 h 509"/>
                <a:gd name="T88" fmla="*/ 184 w 378"/>
                <a:gd name="T89" fmla="*/ 429 h 509"/>
                <a:gd name="T90" fmla="*/ 173 w 378"/>
                <a:gd name="T91" fmla="*/ 439 h 509"/>
                <a:gd name="T92" fmla="*/ 248 w 378"/>
                <a:gd name="T93" fmla="*/ 509 h 509"/>
                <a:gd name="T94" fmla="*/ 248 w 378"/>
                <a:gd name="T95" fmla="*/ 508 h 509"/>
                <a:gd name="T96" fmla="*/ 261 w 378"/>
                <a:gd name="T97" fmla="*/ 505 h 509"/>
                <a:gd name="T98" fmla="*/ 281 w 378"/>
                <a:gd name="T99" fmla="*/ 463 h 509"/>
                <a:gd name="T100" fmla="*/ 279 w 378"/>
                <a:gd name="T101" fmla="*/ 441 h 509"/>
                <a:gd name="T102" fmla="*/ 299 w 378"/>
                <a:gd name="T103" fmla="*/ 424 h 509"/>
                <a:gd name="T104" fmla="*/ 301 w 378"/>
                <a:gd name="T105" fmla="*/ 398 h 509"/>
                <a:gd name="T106" fmla="*/ 324 w 378"/>
                <a:gd name="T107" fmla="*/ 388 h 509"/>
                <a:gd name="T108" fmla="*/ 328 w 378"/>
                <a:gd name="T109" fmla="*/ 361 h 509"/>
                <a:gd name="T110" fmla="*/ 360 w 378"/>
                <a:gd name="T111" fmla="*/ 351 h 509"/>
                <a:gd name="T112" fmla="*/ 364 w 378"/>
                <a:gd name="T113" fmla="*/ 343 h 509"/>
                <a:gd name="T114" fmla="*/ 336 w 378"/>
                <a:gd name="T115" fmla="*/ 303 h 509"/>
                <a:gd name="T116" fmla="*/ 337 w 378"/>
                <a:gd name="T117" fmla="*/ 100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8" h="509">
                  <a:moveTo>
                    <a:pt x="337" y="100"/>
                  </a:moveTo>
                  <a:cubicBezTo>
                    <a:pt x="337" y="100"/>
                    <a:pt x="351" y="87"/>
                    <a:pt x="358" y="79"/>
                  </a:cubicBezTo>
                  <a:cubicBezTo>
                    <a:pt x="365" y="71"/>
                    <a:pt x="378" y="43"/>
                    <a:pt x="378" y="43"/>
                  </a:cubicBezTo>
                  <a:cubicBezTo>
                    <a:pt x="362" y="37"/>
                    <a:pt x="362" y="37"/>
                    <a:pt x="362" y="37"/>
                  </a:cubicBezTo>
                  <a:cubicBezTo>
                    <a:pt x="358" y="41"/>
                    <a:pt x="358" y="41"/>
                    <a:pt x="358" y="41"/>
                  </a:cubicBezTo>
                  <a:cubicBezTo>
                    <a:pt x="340" y="40"/>
                    <a:pt x="340" y="40"/>
                    <a:pt x="340" y="40"/>
                  </a:cubicBezTo>
                  <a:cubicBezTo>
                    <a:pt x="324" y="23"/>
                    <a:pt x="324" y="23"/>
                    <a:pt x="324" y="23"/>
                  </a:cubicBezTo>
                  <a:cubicBezTo>
                    <a:pt x="312" y="32"/>
                    <a:pt x="312" y="32"/>
                    <a:pt x="312" y="32"/>
                  </a:cubicBezTo>
                  <a:cubicBezTo>
                    <a:pt x="312" y="32"/>
                    <a:pt x="290" y="40"/>
                    <a:pt x="283" y="46"/>
                  </a:cubicBezTo>
                  <a:cubicBezTo>
                    <a:pt x="276" y="52"/>
                    <a:pt x="278" y="56"/>
                    <a:pt x="278" y="56"/>
                  </a:cubicBezTo>
                  <a:cubicBezTo>
                    <a:pt x="265" y="70"/>
                    <a:pt x="265" y="70"/>
                    <a:pt x="265" y="70"/>
                  </a:cubicBezTo>
                  <a:cubicBezTo>
                    <a:pt x="265" y="70"/>
                    <a:pt x="247" y="63"/>
                    <a:pt x="234" y="61"/>
                  </a:cubicBezTo>
                  <a:cubicBezTo>
                    <a:pt x="221" y="59"/>
                    <a:pt x="194" y="57"/>
                    <a:pt x="194" y="57"/>
                  </a:cubicBezTo>
                  <a:cubicBezTo>
                    <a:pt x="143" y="17"/>
                    <a:pt x="143" y="17"/>
                    <a:pt x="143" y="17"/>
                  </a:cubicBezTo>
                  <a:cubicBezTo>
                    <a:pt x="96" y="15"/>
                    <a:pt x="96" y="15"/>
                    <a:pt x="96" y="15"/>
                  </a:cubicBezTo>
                  <a:cubicBezTo>
                    <a:pt x="90" y="0"/>
                    <a:pt x="90" y="0"/>
                    <a:pt x="90" y="0"/>
                  </a:cubicBezTo>
                  <a:cubicBezTo>
                    <a:pt x="77" y="8"/>
                    <a:pt x="77" y="8"/>
                    <a:pt x="77" y="8"/>
                  </a:cubicBezTo>
                  <a:cubicBezTo>
                    <a:pt x="17" y="9"/>
                    <a:pt x="17" y="9"/>
                    <a:pt x="17" y="9"/>
                  </a:cubicBezTo>
                  <a:cubicBezTo>
                    <a:pt x="3" y="29"/>
                    <a:pt x="3" y="29"/>
                    <a:pt x="3" y="29"/>
                  </a:cubicBezTo>
                  <a:cubicBezTo>
                    <a:pt x="3" y="29"/>
                    <a:pt x="10" y="38"/>
                    <a:pt x="10" y="51"/>
                  </a:cubicBezTo>
                  <a:cubicBezTo>
                    <a:pt x="10" y="64"/>
                    <a:pt x="23" y="56"/>
                    <a:pt x="23" y="56"/>
                  </a:cubicBezTo>
                  <a:cubicBezTo>
                    <a:pt x="23" y="56"/>
                    <a:pt x="23" y="65"/>
                    <a:pt x="21" y="71"/>
                  </a:cubicBezTo>
                  <a:cubicBezTo>
                    <a:pt x="19" y="77"/>
                    <a:pt x="30" y="86"/>
                    <a:pt x="30" y="86"/>
                  </a:cubicBezTo>
                  <a:cubicBezTo>
                    <a:pt x="29" y="91"/>
                    <a:pt x="29" y="91"/>
                    <a:pt x="29" y="91"/>
                  </a:cubicBezTo>
                  <a:cubicBezTo>
                    <a:pt x="50" y="116"/>
                    <a:pt x="50" y="116"/>
                    <a:pt x="50" y="116"/>
                  </a:cubicBezTo>
                  <a:cubicBezTo>
                    <a:pt x="50" y="116"/>
                    <a:pt x="42" y="121"/>
                    <a:pt x="41" y="126"/>
                  </a:cubicBezTo>
                  <a:cubicBezTo>
                    <a:pt x="40" y="131"/>
                    <a:pt x="53" y="150"/>
                    <a:pt x="57" y="156"/>
                  </a:cubicBezTo>
                  <a:cubicBezTo>
                    <a:pt x="61" y="162"/>
                    <a:pt x="46" y="174"/>
                    <a:pt x="46" y="174"/>
                  </a:cubicBezTo>
                  <a:cubicBezTo>
                    <a:pt x="42" y="189"/>
                    <a:pt x="42" y="189"/>
                    <a:pt x="42" y="189"/>
                  </a:cubicBezTo>
                  <a:cubicBezTo>
                    <a:pt x="42" y="189"/>
                    <a:pt x="36" y="187"/>
                    <a:pt x="29" y="193"/>
                  </a:cubicBezTo>
                  <a:cubicBezTo>
                    <a:pt x="22" y="199"/>
                    <a:pt x="26" y="208"/>
                    <a:pt x="26" y="208"/>
                  </a:cubicBezTo>
                  <a:cubicBezTo>
                    <a:pt x="14" y="219"/>
                    <a:pt x="14" y="219"/>
                    <a:pt x="14" y="219"/>
                  </a:cubicBezTo>
                  <a:cubicBezTo>
                    <a:pt x="13" y="230"/>
                    <a:pt x="13" y="230"/>
                    <a:pt x="13" y="230"/>
                  </a:cubicBezTo>
                  <a:cubicBezTo>
                    <a:pt x="13" y="230"/>
                    <a:pt x="2" y="237"/>
                    <a:pt x="2" y="248"/>
                  </a:cubicBezTo>
                  <a:cubicBezTo>
                    <a:pt x="2" y="259"/>
                    <a:pt x="11" y="269"/>
                    <a:pt x="18" y="270"/>
                  </a:cubicBezTo>
                  <a:cubicBezTo>
                    <a:pt x="25" y="271"/>
                    <a:pt x="25" y="262"/>
                    <a:pt x="25" y="262"/>
                  </a:cubicBezTo>
                  <a:cubicBezTo>
                    <a:pt x="39" y="261"/>
                    <a:pt x="39" y="261"/>
                    <a:pt x="39" y="261"/>
                  </a:cubicBezTo>
                  <a:cubicBezTo>
                    <a:pt x="42" y="273"/>
                    <a:pt x="42" y="273"/>
                    <a:pt x="42" y="273"/>
                  </a:cubicBezTo>
                  <a:cubicBezTo>
                    <a:pt x="33" y="275"/>
                    <a:pt x="33" y="275"/>
                    <a:pt x="33" y="275"/>
                  </a:cubicBezTo>
                  <a:cubicBezTo>
                    <a:pt x="23" y="283"/>
                    <a:pt x="23" y="283"/>
                    <a:pt x="23" y="283"/>
                  </a:cubicBezTo>
                  <a:cubicBezTo>
                    <a:pt x="23" y="283"/>
                    <a:pt x="18" y="273"/>
                    <a:pt x="9" y="283"/>
                  </a:cubicBezTo>
                  <a:cubicBezTo>
                    <a:pt x="0" y="293"/>
                    <a:pt x="13" y="302"/>
                    <a:pt x="13" y="302"/>
                  </a:cubicBezTo>
                  <a:cubicBezTo>
                    <a:pt x="9" y="312"/>
                    <a:pt x="9" y="312"/>
                    <a:pt x="9" y="312"/>
                  </a:cubicBezTo>
                  <a:cubicBezTo>
                    <a:pt x="175" y="416"/>
                    <a:pt x="175" y="416"/>
                    <a:pt x="175" y="416"/>
                  </a:cubicBezTo>
                  <a:cubicBezTo>
                    <a:pt x="175" y="416"/>
                    <a:pt x="187" y="425"/>
                    <a:pt x="184" y="429"/>
                  </a:cubicBezTo>
                  <a:cubicBezTo>
                    <a:pt x="181" y="433"/>
                    <a:pt x="173" y="439"/>
                    <a:pt x="173" y="439"/>
                  </a:cubicBezTo>
                  <a:cubicBezTo>
                    <a:pt x="248" y="509"/>
                    <a:pt x="248" y="509"/>
                    <a:pt x="248" y="509"/>
                  </a:cubicBezTo>
                  <a:cubicBezTo>
                    <a:pt x="248" y="508"/>
                    <a:pt x="248" y="508"/>
                    <a:pt x="248" y="508"/>
                  </a:cubicBezTo>
                  <a:cubicBezTo>
                    <a:pt x="261" y="505"/>
                    <a:pt x="261" y="505"/>
                    <a:pt x="261" y="505"/>
                  </a:cubicBezTo>
                  <a:cubicBezTo>
                    <a:pt x="281" y="463"/>
                    <a:pt x="281" y="463"/>
                    <a:pt x="281" y="463"/>
                  </a:cubicBezTo>
                  <a:cubicBezTo>
                    <a:pt x="281" y="463"/>
                    <a:pt x="279" y="448"/>
                    <a:pt x="279" y="441"/>
                  </a:cubicBezTo>
                  <a:cubicBezTo>
                    <a:pt x="279" y="434"/>
                    <a:pt x="300" y="434"/>
                    <a:pt x="299" y="424"/>
                  </a:cubicBezTo>
                  <a:cubicBezTo>
                    <a:pt x="298" y="414"/>
                    <a:pt x="293" y="401"/>
                    <a:pt x="301" y="398"/>
                  </a:cubicBezTo>
                  <a:cubicBezTo>
                    <a:pt x="309" y="395"/>
                    <a:pt x="324" y="388"/>
                    <a:pt x="324" y="388"/>
                  </a:cubicBezTo>
                  <a:cubicBezTo>
                    <a:pt x="328" y="361"/>
                    <a:pt x="328" y="361"/>
                    <a:pt x="328" y="361"/>
                  </a:cubicBezTo>
                  <a:cubicBezTo>
                    <a:pt x="328" y="361"/>
                    <a:pt x="352" y="366"/>
                    <a:pt x="360" y="351"/>
                  </a:cubicBezTo>
                  <a:cubicBezTo>
                    <a:pt x="361" y="349"/>
                    <a:pt x="362" y="346"/>
                    <a:pt x="364" y="343"/>
                  </a:cubicBezTo>
                  <a:cubicBezTo>
                    <a:pt x="336" y="303"/>
                    <a:pt x="336" y="303"/>
                    <a:pt x="336" y="303"/>
                  </a:cubicBezTo>
                  <a:lnTo>
                    <a:pt x="337" y="100"/>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grpSp>
      <p:sp>
        <p:nvSpPr>
          <p:cNvPr id="2" name="Titel 1">
            <a:extLst>
              <a:ext uri="{FF2B5EF4-FFF2-40B4-BE49-F238E27FC236}">
                <a16:creationId xmlns:a16="http://schemas.microsoft.com/office/drawing/2014/main" id="{A3D98179-8422-4630-9FC3-4FE9C232AB4B}"/>
              </a:ext>
            </a:extLst>
          </p:cNvPr>
          <p:cNvSpPr>
            <a:spLocks noGrp="1"/>
          </p:cNvSpPr>
          <p:nvPr>
            <p:ph type="title"/>
          </p:nvPr>
        </p:nvSpPr>
        <p:spPr>
          <a:noFill/>
        </p:spPr>
        <p:txBody>
          <a:bodyPr/>
          <a:lstStyle/>
          <a:p>
            <a:r>
              <a:rPr lang="en-US" sz="3000" dirty="0"/>
              <a:t>North Africa details</a:t>
            </a:r>
          </a:p>
        </p:txBody>
      </p:sp>
      <p:sp>
        <p:nvSpPr>
          <p:cNvPr id="52" name="MIO_TEXTBOX_BODY">
            <a:extLst>
              <a:ext uri="{FF2B5EF4-FFF2-40B4-BE49-F238E27FC236}">
                <a16:creationId xmlns:a16="http://schemas.microsoft.com/office/drawing/2014/main" id="{34E76C61-2FA7-457D-B5B4-8A44738693F5}"/>
              </a:ext>
            </a:extLst>
          </p:cNvPr>
          <p:cNvSpPr txBox="1"/>
          <p:nvPr/>
        </p:nvSpPr>
        <p:spPr>
          <a:xfrm>
            <a:off x="458400" y="1832159"/>
            <a:ext cx="3504000" cy="859018"/>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dirty="0"/>
              <a:t>Lorem ipsum dolor sit amet, consectetuer adipiscing elit. Aenean commodo ligula eget dolor. </a:t>
            </a:r>
          </a:p>
        </p:txBody>
      </p:sp>
      <p:sp>
        <p:nvSpPr>
          <p:cNvPr id="53" name="MIO_TEXTBOX_HEADER">
            <a:extLst>
              <a:ext uri="{FF2B5EF4-FFF2-40B4-BE49-F238E27FC236}">
                <a16:creationId xmlns:a16="http://schemas.microsoft.com/office/drawing/2014/main" id="{63E8B914-1E75-4BBB-9D04-54A874511471}"/>
              </a:ext>
            </a:extLst>
          </p:cNvPr>
          <p:cNvSpPr txBox="1"/>
          <p:nvPr/>
        </p:nvSpPr>
        <p:spPr>
          <a:xfrm>
            <a:off x="458400" y="1387800"/>
            <a:ext cx="3504000" cy="336049"/>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800" dirty="0">
                <a:solidFill>
                  <a:schemeClr val="dk1"/>
                </a:solidFill>
              </a:rPr>
              <a:t>Lorem ipsum dolor sit amet</a:t>
            </a:r>
          </a:p>
        </p:txBody>
      </p:sp>
      <p:sp>
        <p:nvSpPr>
          <p:cNvPr id="54" name="MIO_TEXTBOX_BODY">
            <a:extLst>
              <a:ext uri="{FF2B5EF4-FFF2-40B4-BE49-F238E27FC236}">
                <a16:creationId xmlns:a16="http://schemas.microsoft.com/office/drawing/2014/main" id="{678E064E-6972-4400-BCAF-DB47D81F093C}"/>
              </a:ext>
            </a:extLst>
          </p:cNvPr>
          <p:cNvSpPr txBox="1"/>
          <p:nvPr/>
        </p:nvSpPr>
        <p:spPr>
          <a:xfrm>
            <a:off x="458400" y="3707671"/>
            <a:ext cx="3504000" cy="859018"/>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dirty="0"/>
              <a:t>Lorem ipsum dolor sit amet, consectetuer adipiscing elit. Aenean commodo ligula eget dolor. </a:t>
            </a:r>
          </a:p>
        </p:txBody>
      </p:sp>
      <p:sp>
        <p:nvSpPr>
          <p:cNvPr id="55" name="MIO_TEXTBOX_HEADER">
            <a:extLst>
              <a:ext uri="{FF2B5EF4-FFF2-40B4-BE49-F238E27FC236}">
                <a16:creationId xmlns:a16="http://schemas.microsoft.com/office/drawing/2014/main" id="{73DB0C7F-8870-4DC0-BE07-C29DD4F7C013}"/>
              </a:ext>
            </a:extLst>
          </p:cNvPr>
          <p:cNvSpPr txBox="1"/>
          <p:nvPr/>
        </p:nvSpPr>
        <p:spPr>
          <a:xfrm>
            <a:off x="458400" y="3263312"/>
            <a:ext cx="3504000" cy="336049"/>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800" dirty="0">
                <a:solidFill>
                  <a:schemeClr val="dk1"/>
                </a:solidFill>
              </a:rPr>
              <a:t>Lorem ipsum dolor sit amet</a:t>
            </a:r>
          </a:p>
        </p:txBody>
      </p:sp>
      <p:sp>
        <p:nvSpPr>
          <p:cNvPr id="56" name="MIO_TEXTBOX_BODY">
            <a:extLst>
              <a:ext uri="{FF2B5EF4-FFF2-40B4-BE49-F238E27FC236}">
                <a16:creationId xmlns:a16="http://schemas.microsoft.com/office/drawing/2014/main" id="{232C5558-FF08-4596-AC77-4ED7390CBCE8}"/>
              </a:ext>
            </a:extLst>
          </p:cNvPr>
          <p:cNvSpPr txBox="1"/>
          <p:nvPr/>
        </p:nvSpPr>
        <p:spPr>
          <a:xfrm>
            <a:off x="458400" y="5583183"/>
            <a:ext cx="3504000" cy="859018"/>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dirty="0"/>
              <a:t>Lorem ipsum dolor sit amet, consectetuer adipiscing elit. Aenean commodo ligula eget dolor. </a:t>
            </a:r>
          </a:p>
        </p:txBody>
      </p:sp>
      <p:sp>
        <p:nvSpPr>
          <p:cNvPr id="57" name="MIO_TEXTBOX_HEADER">
            <a:extLst>
              <a:ext uri="{FF2B5EF4-FFF2-40B4-BE49-F238E27FC236}">
                <a16:creationId xmlns:a16="http://schemas.microsoft.com/office/drawing/2014/main" id="{EEFA3E7D-07E1-477A-B115-71C691EF0C7F}"/>
              </a:ext>
            </a:extLst>
          </p:cNvPr>
          <p:cNvSpPr txBox="1"/>
          <p:nvPr/>
        </p:nvSpPr>
        <p:spPr>
          <a:xfrm>
            <a:off x="458400" y="5138824"/>
            <a:ext cx="3504000" cy="336049"/>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800" dirty="0">
                <a:solidFill>
                  <a:schemeClr val="dk1"/>
                </a:solidFill>
              </a:rPr>
              <a:t>Lorem ipsum dolor sit amet</a:t>
            </a:r>
          </a:p>
        </p:txBody>
      </p:sp>
      <p:sp>
        <p:nvSpPr>
          <p:cNvPr id="106" name="Deco line top">
            <a:extLst>
              <a:ext uri="{FF2B5EF4-FFF2-40B4-BE49-F238E27FC236}">
                <a16:creationId xmlns:a16="http://schemas.microsoft.com/office/drawing/2014/main" id="{327CD1AA-0465-454D-A545-1E412244EEF9}"/>
              </a:ext>
            </a:extLst>
          </p:cNvPr>
          <p:cNvSpPr>
            <a:spLocks/>
          </p:cNvSpPr>
          <p:nvPr/>
        </p:nvSpPr>
        <p:spPr>
          <a:xfrm>
            <a:off x="0" y="0"/>
            <a:ext cx="12192002" cy="97200"/>
          </a:xfrm>
          <a:prstGeom prst="rect">
            <a:avLst/>
          </a:prstGeom>
          <a:solidFill>
            <a:schemeClr val="accent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pic>
        <p:nvPicPr>
          <p:cNvPr id="110" name="Location" descr="Markierung">
            <a:extLst>
              <a:ext uri="{FF2B5EF4-FFF2-40B4-BE49-F238E27FC236}">
                <a16:creationId xmlns:a16="http://schemas.microsoft.com/office/drawing/2014/main" id="{7CE4FCFD-F349-472A-BDBD-A6BA85A29148}"/>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424590" y="5096857"/>
            <a:ext cx="483429" cy="483429"/>
          </a:xfrm>
          <a:prstGeom prst="rect">
            <a:avLst/>
          </a:prstGeom>
        </p:spPr>
      </p:pic>
      <p:pic>
        <p:nvPicPr>
          <p:cNvPr id="111" name="Location" descr="Markierung">
            <a:extLst>
              <a:ext uri="{FF2B5EF4-FFF2-40B4-BE49-F238E27FC236}">
                <a16:creationId xmlns:a16="http://schemas.microsoft.com/office/drawing/2014/main" id="{15C01083-699D-4BC1-A711-3F019068A16B}"/>
              </a:ext>
            </a:extLst>
          </p:cNvPr>
          <p:cNvPicPr>
            <a:picLocks noChangeAspect="1"/>
          </p:cNvPicPr>
          <p:nvPr>
            <p:custDataLst>
              <p:tags r:id="rId3"/>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51647" y="4015050"/>
            <a:ext cx="483429" cy="483429"/>
          </a:xfrm>
          <a:prstGeom prst="rect">
            <a:avLst/>
          </a:prstGeom>
        </p:spPr>
      </p:pic>
      <p:pic>
        <p:nvPicPr>
          <p:cNvPr id="112" name="Location" descr="Markierung">
            <a:extLst>
              <a:ext uri="{FF2B5EF4-FFF2-40B4-BE49-F238E27FC236}">
                <a16:creationId xmlns:a16="http://schemas.microsoft.com/office/drawing/2014/main" id="{E077018B-1D66-474D-9D93-CB8E3E53D2BB}"/>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22629" y="1649744"/>
            <a:ext cx="483429" cy="483429"/>
          </a:xfrm>
          <a:prstGeom prst="rect">
            <a:avLst/>
          </a:prstGeom>
        </p:spPr>
      </p:pic>
    </p:spTree>
    <p:custDataLst>
      <p:tags r:id="rId1"/>
    </p:custDataLst>
    <p:extLst>
      <p:ext uri="{BB962C8B-B14F-4D97-AF65-F5344CB8AC3E}">
        <p14:creationId xmlns:p14="http://schemas.microsoft.com/office/powerpoint/2010/main" val="3275461882"/>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Shape 3846">
            <a:extLst>
              <a:ext uri="{FF2B5EF4-FFF2-40B4-BE49-F238E27FC236}">
                <a16:creationId xmlns:a16="http://schemas.microsoft.com/office/drawing/2014/main" id="{BCAF7E1E-08CA-0E4B-B612-BF0C48205447}"/>
              </a:ext>
            </a:extLst>
          </p:cNvPr>
          <p:cNvSpPr/>
          <p:nvPr/>
        </p:nvSpPr>
        <p:spPr>
          <a:xfrm>
            <a:off x="3603159" y="1550446"/>
            <a:ext cx="3203047" cy="1826513"/>
          </a:xfrm>
          <a:custGeom>
            <a:avLst/>
            <a:gdLst/>
            <a:ahLst/>
            <a:cxnLst>
              <a:cxn ang="0">
                <a:pos x="wd2" y="hd2"/>
              </a:cxn>
              <a:cxn ang="5400000">
                <a:pos x="wd2" y="hd2"/>
              </a:cxn>
              <a:cxn ang="10800000">
                <a:pos x="wd2" y="hd2"/>
              </a:cxn>
              <a:cxn ang="16200000">
                <a:pos x="wd2" y="hd2"/>
              </a:cxn>
            </a:cxnLst>
            <a:rect l="0" t="0" r="r" b="b"/>
            <a:pathLst>
              <a:path w="21600" h="21600" extrusionOk="0">
                <a:moveTo>
                  <a:pt x="1212" y="0"/>
                </a:moveTo>
                <a:lnTo>
                  <a:pt x="1212" y="8813"/>
                </a:lnTo>
                <a:lnTo>
                  <a:pt x="0" y="10894"/>
                </a:lnTo>
                <a:lnTo>
                  <a:pt x="1212" y="12975"/>
                </a:lnTo>
                <a:lnTo>
                  <a:pt x="1212" y="21600"/>
                </a:lnTo>
                <a:lnTo>
                  <a:pt x="21600" y="21600"/>
                </a:lnTo>
                <a:lnTo>
                  <a:pt x="21600" y="0"/>
                </a:lnTo>
                <a:lnTo>
                  <a:pt x="1212" y="0"/>
                </a:lnTo>
                <a:close/>
              </a:path>
            </a:pathLst>
          </a:custGeom>
          <a:solidFill>
            <a:schemeClr val="accent1"/>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21" name="Shape 3861">
            <a:extLst>
              <a:ext uri="{FF2B5EF4-FFF2-40B4-BE49-F238E27FC236}">
                <a16:creationId xmlns:a16="http://schemas.microsoft.com/office/drawing/2014/main" id="{AEFC3CCE-5331-0746-A531-498B9CB3477B}"/>
              </a:ext>
            </a:extLst>
          </p:cNvPr>
          <p:cNvSpPr/>
          <p:nvPr/>
        </p:nvSpPr>
        <p:spPr>
          <a:xfrm flipH="1">
            <a:off x="5412404" y="4540131"/>
            <a:ext cx="3203047" cy="1826513"/>
          </a:xfrm>
          <a:custGeom>
            <a:avLst/>
            <a:gdLst/>
            <a:ahLst/>
            <a:cxnLst>
              <a:cxn ang="0">
                <a:pos x="wd2" y="hd2"/>
              </a:cxn>
              <a:cxn ang="5400000">
                <a:pos x="wd2" y="hd2"/>
              </a:cxn>
              <a:cxn ang="10800000">
                <a:pos x="wd2" y="hd2"/>
              </a:cxn>
              <a:cxn ang="16200000">
                <a:pos x="wd2" y="hd2"/>
              </a:cxn>
            </a:cxnLst>
            <a:rect l="0" t="0" r="r" b="b"/>
            <a:pathLst>
              <a:path w="21600" h="21600" extrusionOk="0">
                <a:moveTo>
                  <a:pt x="1212" y="0"/>
                </a:moveTo>
                <a:lnTo>
                  <a:pt x="1212" y="8813"/>
                </a:lnTo>
                <a:lnTo>
                  <a:pt x="0" y="10894"/>
                </a:lnTo>
                <a:lnTo>
                  <a:pt x="1212" y="12975"/>
                </a:lnTo>
                <a:lnTo>
                  <a:pt x="1212" y="21600"/>
                </a:lnTo>
                <a:lnTo>
                  <a:pt x="21600" y="21600"/>
                </a:lnTo>
                <a:lnTo>
                  <a:pt x="21600" y="0"/>
                </a:lnTo>
                <a:lnTo>
                  <a:pt x="1212" y="0"/>
                </a:lnTo>
                <a:close/>
              </a:path>
            </a:pathLst>
          </a:custGeom>
          <a:solidFill>
            <a:schemeClr val="accent2"/>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7" name="Shape 3865">
            <a:extLst>
              <a:ext uri="{FF2B5EF4-FFF2-40B4-BE49-F238E27FC236}">
                <a16:creationId xmlns:a16="http://schemas.microsoft.com/office/drawing/2014/main" id="{2E07B136-2743-1546-B115-1EFBD5B240C9}"/>
              </a:ext>
            </a:extLst>
          </p:cNvPr>
          <p:cNvSpPr/>
          <p:nvPr/>
        </p:nvSpPr>
        <p:spPr>
          <a:xfrm>
            <a:off x="5601228" y="3776170"/>
            <a:ext cx="6589185" cy="0"/>
          </a:xfrm>
          <a:prstGeom prst="line">
            <a:avLst/>
          </a:prstGeom>
          <a:noFill/>
          <a:ln w="38100" cap="flat">
            <a:solidFill>
              <a:schemeClr val="bg1">
                <a:lumMod val="85000"/>
              </a:schemeClr>
            </a:solidFill>
            <a:prstDash val="solid"/>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8" name="Shape 3866">
            <a:extLst>
              <a:ext uri="{FF2B5EF4-FFF2-40B4-BE49-F238E27FC236}">
                <a16:creationId xmlns:a16="http://schemas.microsoft.com/office/drawing/2014/main" id="{11B9B1F5-D16D-FA4A-970A-0F3D53B2919A}"/>
              </a:ext>
            </a:extLst>
          </p:cNvPr>
          <p:cNvSpPr/>
          <p:nvPr/>
        </p:nvSpPr>
        <p:spPr>
          <a:xfrm>
            <a:off x="1588" y="3776171"/>
            <a:ext cx="5603955" cy="0"/>
          </a:xfrm>
          <a:prstGeom prst="line">
            <a:avLst/>
          </a:prstGeom>
          <a:noFill/>
          <a:ln w="38100" cap="flat">
            <a:solidFill>
              <a:schemeClr val="accent1"/>
            </a:solidFill>
            <a:prstDash val="solid"/>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9" name="Shape 3867">
            <a:extLst>
              <a:ext uri="{FF2B5EF4-FFF2-40B4-BE49-F238E27FC236}">
                <a16:creationId xmlns:a16="http://schemas.microsoft.com/office/drawing/2014/main" id="{914C52B4-15D2-A24B-B1E5-E06EECC5AD6F}"/>
              </a:ext>
            </a:extLst>
          </p:cNvPr>
          <p:cNvSpPr/>
          <p:nvPr/>
        </p:nvSpPr>
        <p:spPr>
          <a:xfrm>
            <a:off x="1279049" y="3684958"/>
            <a:ext cx="182423" cy="182424"/>
          </a:xfrm>
          <a:prstGeom prst="ellipse">
            <a:avLst/>
          </a:prstGeom>
          <a:solidFill>
            <a:schemeClr val="accent1"/>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10" name="Shape 3868">
            <a:extLst>
              <a:ext uri="{FF2B5EF4-FFF2-40B4-BE49-F238E27FC236}">
                <a16:creationId xmlns:a16="http://schemas.microsoft.com/office/drawing/2014/main" id="{F2DE3217-9042-E047-9617-CBFD27C85645}"/>
              </a:ext>
            </a:extLst>
          </p:cNvPr>
          <p:cNvSpPr/>
          <p:nvPr/>
        </p:nvSpPr>
        <p:spPr>
          <a:xfrm>
            <a:off x="10798727" y="3684958"/>
            <a:ext cx="182424" cy="182424"/>
          </a:xfrm>
          <a:prstGeom prst="ellipse">
            <a:avLst/>
          </a:prstGeom>
          <a:solidFill>
            <a:schemeClr val="accent2"/>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11" name="Shape 3869">
            <a:extLst>
              <a:ext uri="{FF2B5EF4-FFF2-40B4-BE49-F238E27FC236}">
                <a16:creationId xmlns:a16="http://schemas.microsoft.com/office/drawing/2014/main" id="{398B9816-7503-8643-BF85-592CEEC938FB}"/>
              </a:ext>
            </a:extLst>
          </p:cNvPr>
          <p:cNvSpPr/>
          <p:nvPr/>
        </p:nvSpPr>
        <p:spPr>
          <a:xfrm>
            <a:off x="2336790" y="3684958"/>
            <a:ext cx="182424" cy="182424"/>
          </a:xfrm>
          <a:prstGeom prst="ellipse">
            <a:avLst/>
          </a:prstGeom>
          <a:solidFill>
            <a:schemeClr val="accent1"/>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12" name="Shape 3870">
            <a:extLst>
              <a:ext uri="{FF2B5EF4-FFF2-40B4-BE49-F238E27FC236}">
                <a16:creationId xmlns:a16="http://schemas.microsoft.com/office/drawing/2014/main" id="{06CC7CEC-D7BE-434D-A6C0-5BCC604BF5F3}"/>
              </a:ext>
            </a:extLst>
          </p:cNvPr>
          <p:cNvSpPr/>
          <p:nvPr/>
        </p:nvSpPr>
        <p:spPr>
          <a:xfrm>
            <a:off x="4452275" y="3684958"/>
            <a:ext cx="182424" cy="182424"/>
          </a:xfrm>
          <a:prstGeom prst="ellipse">
            <a:avLst/>
          </a:prstGeom>
          <a:solidFill>
            <a:schemeClr val="accent1"/>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13" name="Shape 3871">
            <a:extLst>
              <a:ext uri="{FF2B5EF4-FFF2-40B4-BE49-F238E27FC236}">
                <a16:creationId xmlns:a16="http://schemas.microsoft.com/office/drawing/2014/main" id="{57B7AC5A-28F0-D849-BDA7-79E252F5826E}"/>
              </a:ext>
            </a:extLst>
          </p:cNvPr>
          <p:cNvSpPr/>
          <p:nvPr/>
        </p:nvSpPr>
        <p:spPr>
          <a:xfrm>
            <a:off x="5510017" y="3684958"/>
            <a:ext cx="182424" cy="182424"/>
          </a:xfrm>
          <a:prstGeom prst="ellipse">
            <a:avLst/>
          </a:prstGeom>
          <a:solidFill>
            <a:schemeClr val="accent1"/>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14" name="Shape 3872">
            <a:extLst>
              <a:ext uri="{FF2B5EF4-FFF2-40B4-BE49-F238E27FC236}">
                <a16:creationId xmlns:a16="http://schemas.microsoft.com/office/drawing/2014/main" id="{F6965BC8-2A7D-F340-B030-3D21941E89E2}"/>
              </a:ext>
            </a:extLst>
          </p:cNvPr>
          <p:cNvSpPr/>
          <p:nvPr/>
        </p:nvSpPr>
        <p:spPr>
          <a:xfrm>
            <a:off x="7625501" y="3684958"/>
            <a:ext cx="182424" cy="182424"/>
          </a:xfrm>
          <a:prstGeom prst="ellipse">
            <a:avLst/>
          </a:prstGeom>
          <a:solidFill>
            <a:schemeClr val="accent2"/>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15" name="Shape 3873">
            <a:extLst>
              <a:ext uri="{FF2B5EF4-FFF2-40B4-BE49-F238E27FC236}">
                <a16:creationId xmlns:a16="http://schemas.microsoft.com/office/drawing/2014/main" id="{77C50409-3AF9-B143-9A7D-9BB866ED70A0}"/>
              </a:ext>
            </a:extLst>
          </p:cNvPr>
          <p:cNvSpPr/>
          <p:nvPr/>
        </p:nvSpPr>
        <p:spPr>
          <a:xfrm>
            <a:off x="8683244" y="3684958"/>
            <a:ext cx="182424" cy="182424"/>
          </a:xfrm>
          <a:prstGeom prst="ellipse">
            <a:avLst/>
          </a:prstGeom>
          <a:solidFill>
            <a:schemeClr val="accent2"/>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16" name="Shape 3874">
            <a:extLst>
              <a:ext uri="{FF2B5EF4-FFF2-40B4-BE49-F238E27FC236}">
                <a16:creationId xmlns:a16="http://schemas.microsoft.com/office/drawing/2014/main" id="{037CC340-B158-7849-A16E-5DD1DD19FCBB}"/>
              </a:ext>
            </a:extLst>
          </p:cNvPr>
          <p:cNvSpPr/>
          <p:nvPr/>
        </p:nvSpPr>
        <p:spPr>
          <a:xfrm>
            <a:off x="9740985" y="3684958"/>
            <a:ext cx="182424" cy="182424"/>
          </a:xfrm>
          <a:prstGeom prst="ellipse">
            <a:avLst/>
          </a:prstGeom>
          <a:solidFill>
            <a:schemeClr val="accent2"/>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17" name="Shape 3875">
            <a:extLst>
              <a:ext uri="{FF2B5EF4-FFF2-40B4-BE49-F238E27FC236}">
                <a16:creationId xmlns:a16="http://schemas.microsoft.com/office/drawing/2014/main" id="{FC496702-FBD9-934C-950B-789D76EFD1A0}"/>
              </a:ext>
            </a:extLst>
          </p:cNvPr>
          <p:cNvSpPr/>
          <p:nvPr/>
        </p:nvSpPr>
        <p:spPr>
          <a:xfrm>
            <a:off x="3394532" y="3684958"/>
            <a:ext cx="182424" cy="182424"/>
          </a:xfrm>
          <a:prstGeom prst="ellipse">
            <a:avLst/>
          </a:prstGeom>
          <a:solidFill>
            <a:schemeClr val="accent1"/>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18" name="Shape 3876">
            <a:extLst>
              <a:ext uri="{FF2B5EF4-FFF2-40B4-BE49-F238E27FC236}">
                <a16:creationId xmlns:a16="http://schemas.microsoft.com/office/drawing/2014/main" id="{7B7BBBDA-BA6B-EF41-B021-9746BDE2E0D2}"/>
              </a:ext>
            </a:extLst>
          </p:cNvPr>
          <p:cNvSpPr/>
          <p:nvPr/>
        </p:nvSpPr>
        <p:spPr>
          <a:xfrm>
            <a:off x="6567759" y="3684958"/>
            <a:ext cx="182424" cy="182424"/>
          </a:xfrm>
          <a:prstGeom prst="ellipse">
            <a:avLst/>
          </a:prstGeom>
          <a:solidFill>
            <a:schemeClr val="accent2"/>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19" name="Shape 3877">
            <a:extLst>
              <a:ext uri="{FF2B5EF4-FFF2-40B4-BE49-F238E27FC236}">
                <a16:creationId xmlns:a16="http://schemas.microsoft.com/office/drawing/2014/main" id="{12A1163F-2793-B640-841B-6366BAB5DECA}"/>
              </a:ext>
            </a:extLst>
          </p:cNvPr>
          <p:cNvSpPr/>
          <p:nvPr/>
        </p:nvSpPr>
        <p:spPr>
          <a:xfrm flipV="1">
            <a:off x="3485433" y="2463701"/>
            <a:ext cx="1" cy="1282066"/>
          </a:xfrm>
          <a:prstGeom prst="line">
            <a:avLst/>
          </a:prstGeom>
          <a:noFill/>
          <a:ln w="38100" cap="flat">
            <a:solidFill>
              <a:schemeClr val="accent1"/>
            </a:solidFill>
            <a:prstDash val="solid"/>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20" name="Shape 3878">
            <a:extLst>
              <a:ext uri="{FF2B5EF4-FFF2-40B4-BE49-F238E27FC236}">
                <a16:creationId xmlns:a16="http://schemas.microsoft.com/office/drawing/2014/main" id="{4920D962-FD19-3D48-897B-5D1AF8CFEBD8}"/>
              </a:ext>
            </a:extLst>
          </p:cNvPr>
          <p:cNvSpPr/>
          <p:nvPr/>
        </p:nvSpPr>
        <p:spPr>
          <a:xfrm flipV="1">
            <a:off x="8768838" y="3778321"/>
            <a:ext cx="1" cy="1706929"/>
          </a:xfrm>
          <a:prstGeom prst="line">
            <a:avLst/>
          </a:prstGeom>
          <a:noFill/>
          <a:ln w="38100" cap="flat">
            <a:solidFill>
              <a:schemeClr val="accent2"/>
            </a:solidFill>
            <a:prstDash val="solid"/>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39" name="Subtitle 2">
            <a:extLst>
              <a:ext uri="{FF2B5EF4-FFF2-40B4-BE49-F238E27FC236}">
                <a16:creationId xmlns:a16="http://schemas.microsoft.com/office/drawing/2014/main" id="{DDA039FB-EA17-5A42-ADCE-7C5D5A55D078}"/>
              </a:ext>
            </a:extLst>
          </p:cNvPr>
          <p:cNvSpPr txBox="1">
            <a:spLocks/>
          </p:cNvSpPr>
          <p:nvPr/>
        </p:nvSpPr>
        <p:spPr>
          <a:xfrm>
            <a:off x="3966132" y="2070755"/>
            <a:ext cx="2647077" cy="1177438"/>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 Cum sociis natoque penatibus et magnis dis parturient montes…</a:t>
            </a:r>
          </a:p>
        </p:txBody>
      </p:sp>
      <p:sp>
        <p:nvSpPr>
          <p:cNvPr id="40" name="TextBox 39">
            <a:extLst>
              <a:ext uri="{FF2B5EF4-FFF2-40B4-BE49-F238E27FC236}">
                <a16:creationId xmlns:a16="http://schemas.microsoft.com/office/drawing/2014/main" id="{9F172BF9-BB80-E140-918D-90FA74A65E6B}"/>
              </a:ext>
            </a:extLst>
          </p:cNvPr>
          <p:cNvSpPr txBox="1"/>
          <p:nvPr/>
        </p:nvSpPr>
        <p:spPr>
          <a:xfrm>
            <a:off x="3966132" y="1720776"/>
            <a:ext cx="1435521" cy="338554"/>
          </a:xfrm>
          <a:prstGeom prst="rect">
            <a:avLst/>
          </a:prstGeom>
          <a:noFill/>
        </p:spPr>
        <p:txBody>
          <a:bodyPr wrap="none" rtlCol="0" anchor="ctr" anchorCtr="0">
            <a:spAutoFit/>
          </a:bodyPr>
          <a:lstStyle/>
          <a:p>
            <a:r>
              <a:rPr lang="en-US" sz="1600" b="1" dirty="0">
                <a:solidFill>
                  <a:schemeClr val="bg1"/>
                </a:solidFill>
                <a:latin typeface="Segoe UI Light" panose="020B0502040204020203" pitchFamily="34" charset="0"/>
                <a:ea typeface="League Spartan" charset="0"/>
                <a:cs typeface="Poppins" pitchFamily="2" charset="77"/>
              </a:rPr>
              <a:t>MILESTONE 01</a:t>
            </a:r>
          </a:p>
        </p:txBody>
      </p:sp>
      <p:sp>
        <p:nvSpPr>
          <p:cNvPr id="41" name="Subtitle 2">
            <a:extLst>
              <a:ext uri="{FF2B5EF4-FFF2-40B4-BE49-F238E27FC236}">
                <a16:creationId xmlns:a16="http://schemas.microsoft.com/office/drawing/2014/main" id="{47628528-FC31-DE4B-AA1D-AEF8C7A1A30E}"/>
              </a:ext>
            </a:extLst>
          </p:cNvPr>
          <p:cNvSpPr txBox="1">
            <a:spLocks/>
          </p:cNvSpPr>
          <p:nvPr/>
        </p:nvSpPr>
        <p:spPr>
          <a:xfrm>
            <a:off x="5608095" y="5081214"/>
            <a:ext cx="2647077" cy="1177438"/>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bg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 Cum sociis natoque penatibus et magnis dis parturient montes…</a:t>
            </a:r>
          </a:p>
        </p:txBody>
      </p:sp>
      <p:sp>
        <p:nvSpPr>
          <p:cNvPr id="42" name="TextBox 41">
            <a:extLst>
              <a:ext uri="{FF2B5EF4-FFF2-40B4-BE49-F238E27FC236}">
                <a16:creationId xmlns:a16="http://schemas.microsoft.com/office/drawing/2014/main" id="{6E3147A1-35B5-8D46-A632-8022545F794E}"/>
              </a:ext>
            </a:extLst>
          </p:cNvPr>
          <p:cNvSpPr txBox="1"/>
          <p:nvPr/>
        </p:nvSpPr>
        <p:spPr>
          <a:xfrm>
            <a:off x="6787591" y="4731234"/>
            <a:ext cx="1467581" cy="338554"/>
          </a:xfrm>
          <a:prstGeom prst="rect">
            <a:avLst/>
          </a:prstGeom>
          <a:noFill/>
        </p:spPr>
        <p:txBody>
          <a:bodyPr wrap="none" rtlCol="0" anchor="ctr" anchorCtr="0">
            <a:spAutoFit/>
          </a:bodyPr>
          <a:lstStyle/>
          <a:p>
            <a:pPr algn="r"/>
            <a:r>
              <a:rPr lang="en-US" sz="1600" b="1" dirty="0">
                <a:solidFill>
                  <a:schemeClr val="bg1"/>
                </a:solidFill>
                <a:latin typeface="Segoe UI Light" panose="020B0502040204020203" pitchFamily="34" charset="0"/>
                <a:ea typeface="League Spartan" charset="0"/>
                <a:cs typeface="Poppins" pitchFamily="2" charset="77"/>
              </a:rPr>
              <a:t>MILESTONE 02</a:t>
            </a:r>
          </a:p>
        </p:txBody>
      </p:sp>
      <p:sp>
        <p:nvSpPr>
          <p:cNvPr id="43" name="TextBox 42">
            <a:extLst>
              <a:ext uri="{FF2B5EF4-FFF2-40B4-BE49-F238E27FC236}">
                <a16:creationId xmlns:a16="http://schemas.microsoft.com/office/drawing/2014/main" id="{D8E387F9-6301-A345-909C-BB69909AC41D}"/>
              </a:ext>
            </a:extLst>
          </p:cNvPr>
          <p:cNvSpPr txBox="1"/>
          <p:nvPr/>
        </p:nvSpPr>
        <p:spPr>
          <a:xfrm>
            <a:off x="1082360" y="3948123"/>
            <a:ext cx="575799" cy="338554"/>
          </a:xfrm>
          <a:prstGeom prst="rect">
            <a:avLst/>
          </a:prstGeom>
          <a:noFill/>
        </p:spPr>
        <p:txBody>
          <a:bodyPr wrap="none" rtlCol="0" anchor="ctr"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2019</a:t>
            </a:r>
          </a:p>
        </p:txBody>
      </p:sp>
      <p:sp>
        <p:nvSpPr>
          <p:cNvPr id="44" name="TextBox 43">
            <a:extLst>
              <a:ext uri="{FF2B5EF4-FFF2-40B4-BE49-F238E27FC236}">
                <a16:creationId xmlns:a16="http://schemas.microsoft.com/office/drawing/2014/main" id="{A71D270C-F1EF-C34C-849E-5D71F0957593}"/>
              </a:ext>
            </a:extLst>
          </p:cNvPr>
          <p:cNvSpPr txBox="1"/>
          <p:nvPr/>
        </p:nvSpPr>
        <p:spPr>
          <a:xfrm>
            <a:off x="2124073" y="3948122"/>
            <a:ext cx="607859" cy="338554"/>
          </a:xfrm>
          <a:prstGeom prst="rect">
            <a:avLst/>
          </a:prstGeom>
          <a:noFill/>
        </p:spPr>
        <p:txBody>
          <a:bodyPr wrap="none" rtlCol="0" anchor="ctr"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2020</a:t>
            </a:r>
          </a:p>
        </p:txBody>
      </p:sp>
      <p:sp>
        <p:nvSpPr>
          <p:cNvPr id="45" name="TextBox 44">
            <a:extLst>
              <a:ext uri="{FF2B5EF4-FFF2-40B4-BE49-F238E27FC236}">
                <a16:creationId xmlns:a16="http://schemas.microsoft.com/office/drawing/2014/main" id="{CC1D25E1-2195-E34A-BF30-6A3D79B7D14C}"/>
              </a:ext>
            </a:extLst>
          </p:cNvPr>
          <p:cNvSpPr txBox="1"/>
          <p:nvPr/>
        </p:nvSpPr>
        <p:spPr>
          <a:xfrm>
            <a:off x="3197016" y="3948874"/>
            <a:ext cx="575799" cy="338554"/>
          </a:xfrm>
          <a:prstGeom prst="rect">
            <a:avLst/>
          </a:prstGeom>
          <a:noFill/>
        </p:spPr>
        <p:txBody>
          <a:bodyPr wrap="none" rtlCol="0" anchor="ctr"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2021</a:t>
            </a:r>
          </a:p>
        </p:txBody>
      </p:sp>
      <p:sp>
        <p:nvSpPr>
          <p:cNvPr id="46" name="TextBox 45">
            <a:extLst>
              <a:ext uri="{FF2B5EF4-FFF2-40B4-BE49-F238E27FC236}">
                <a16:creationId xmlns:a16="http://schemas.microsoft.com/office/drawing/2014/main" id="{16FE8785-2129-EA4D-B8B5-3538887E9C9B}"/>
              </a:ext>
            </a:extLst>
          </p:cNvPr>
          <p:cNvSpPr txBox="1"/>
          <p:nvPr/>
        </p:nvSpPr>
        <p:spPr>
          <a:xfrm>
            <a:off x="4239558" y="3948122"/>
            <a:ext cx="607859" cy="338554"/>
          </a:xfrm>
          <a:prstGeom prst="rect">
            <a:avLst/>
          </a:prstGeom>
          <a:noFill/>
        </p:spPr>
        <p:txBody>
          <a:bodyPr wrap="none" rtlCol="0" anchor="ctr"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2022</a:t>
            </a:r>
          </a:p>
        </p:txBody>
      </p:sp>
      <p:sp>
        <p:nvSpPr>
          <p:cNvPr id="47" name="TextBox 46">
            <a:extLst>
              <a:ext uri="{FF2B5EF4-FFF2-40B4-BE49-F238E27FC236}">
                <a16:creationId xmlns:a16="http://schemas.microsoft.com/office/drawing/2014/main" id="{CD457A06-1623-B445-8DE6-851B0766E6BF}"/>
              </a:ext>
            </a:extLst>
          </p:cNvPr>
          <p:cNvSpPr txBox="1"/>
          <p:nvPr/>
        </p:nvSpPr>
        <p:spPr>
          <a:xfrm>
            <a:off x="5291371" y="3951141"/>
            <a:ext cx="607859" cy="338554"/>
          </a:xfrm>
          <a:prstGeom prst="rect">
            <a:avLst/>
          </a:prstGeom>
          <a:noFill/>
        </p:spPr>
        <p:txBody>
          <a:bodyPr wrap="none" rtlCol="0" anchor="ctr"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2023</a:t>
            </a:r>
          </a:p>
        </p:txBody>
      </p:sp>
      <p:sp>
        <p:nvSpPr>
          <p:cNvPr id="48" name="TextBox 47">
            <a:extLst>
              <a:ext uri="{FF2B5EF4-FFF2-40B4-BE49-F238E27FC236}">
                <a16:creationId xmlns:a16="http://schemas.microsoft.com/office/drawing/2014/main" id="{1E0A19E1-5A2B-FF4C-9670-C06B21FA6CDE}"/>
              </a:ext>
            </a:extLst>
          </p:cNvPr>
          <p:cNvSpPr txBox="1"/>
          <p:nvPr/>
        </p:nvSpPr>
        <p:spPr>
          <a:xfrm>
            <a:off x="6356236" y="3948122"/>
            <a:ext cx="611065" cy="338554"/>
          </a:xfrm>
          <a:prstGeom prst="rect">
            <a:avLst/>
          </a:prstGeom>
          <a:noFill/>
        </p:spPr>
        <p:txBody>
          <a:bodyPr wrap="none" rtlCol="0" anchor="ctr"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2024</a:t>
            </a:r>
          </a:p>
        </p:txBody>
      </p:sp>
      <p:sp>
        <p:nvSpPr>
          <p:cNvPr id="49" name="TextBox 48">
            <a:extLst>
              <a:ext uri="{FF2B5EF4-FFF2-40B4-BE49-F238E27FC236}">
                <a16:creationId xmlns:a16="http://schemas.microsoft.com/office/drawing/2014/main" id="{E3D7BD3D-EC5D-4D4D-A2AE-3C14ADB72CB6}"/>
              </a:ext>
            </a:extLst>
          </p:cNvPr>
          <p:cNvSpPr txBox="1"/>
          <p:nvPr/>
        </p:nvSpPr>
        <p:spPr>
          <a:xfrm>
            <a:off x="7412784" y="3954119"/>
            <a:ext cx="607859" cy="338554"/>
          </a:xfrm>
          <a:prstGeom prst="rect">
            <a:avLst/>
          </a:prstGeom>
          <a:noFill/>
        </p:spPr>
        <p:txBody>
          <a:bodyPr wrap="none" rtlCol="0" anchor="ctr"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2025</a:t>
            </a:r>
          </a:p>
        </p:txBody>
      </p:sp>
      <p:sp>
        <p:nvSpPr>
          <p:cNvPr id="50" name="TextBox 49">
            <a:extLst>
              <a:ext uri="{FF2B5EF4-FFF2-40B4-BE49-F238E27FC236}">
                <a16:creationId xmlns:a16="http://schemas.microsoft.com/office/drawing/2014/main" id="{C3D5D983-9695-5A45-916A-0B63F94CF797}"/>
              </a:ext>
            </a:extLst>
          </p:cNvPr>
          <p:cNvSpPr txBox="1"/>
          <p:nvPr/>
        </p:nvSpPr>
        <p:spPr>
          <a:xfrm>
            <a:off x="8470527" y="3269723"/>
            <a:ext cx="607859" cy="338554"/>
          </a:xfrm>
          <a:prstGeom prst="rect">
            <a:avLst/>
          </a:prstGeom>
          <a:noFill/>
        </p:spPr>
        <p:txBody>
          <a:bodyPr wrap="none" rtlCol="0" anchor="ctr"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2026</a:t>
            </a:r>
          </a:p>
        </p:txBody>
      </p:sp>
      <p:sp>
        <p:nvSpPr>
          <p:cNvPr id="51" name="TextBox 50">
            <a:extLst>
              <a:ext uri="{FF2B5EF4-FFF2-40B4-BE49-F238E27FC236}">
                <a16:creationId xmlns:a16="http://schemas.microsoft.com/office/drawing/2014/main" id="{78F10379-279B-8346-B03D-B87474EAA169}"/>
              </a:ext>
            </a:extLst>
          </p:cNvPr>
          <p:cNvSpPr txBox="1"/>
          <p:nvPr/>
        </p:nvSpPr>
        <p:spPr>
          <a:xfrm>
            <a:off x="9528585" y="3949965"/>
            <a:ext cx="604653" cy="338554"/>
          </a:xfrm>
          <a:prstGeom prst="rect">
            <a:avLst/>
          </a:prstGeom>
          <a:noFill/>
        </p:spPr>
        <p:txBody>
          <a:bodyPr wrap="none" rtlCol="0" anchor="ctr"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2027</a:t>
            </a:r>
          </a:p>
        </p:txBody>
      </p:sp>
      <p:sp>
        <p:nvSpPr>
          <p:cNvPr id="52" name="TextBox 51">
            <a:extLst>
              <a:ext uri="{FF2B5EF4-FFF2-40B4-BE49-F238E27FC236}">
                <a16:creationId xmlns:a16="http://schemas.microsoft.com/office/drawing/2014/main" id="{ABD9D32B-7B2A-8046-8EAB-AC1D3250BE9A}"/>
              </a:ext>
            </a:extLst>
          </p:cNvPr>
          <p:cNvSpPr txBox="1"/>
          <p:nvPr/>
        </p:nvSpPr>
        <p:spPr>
          <a:xfrm>
            <a:off x="10586010" y="3954444"/>
            <a:ext cx="607859" cy="338554"/>
          </a:xfrm>
          <a:prstGeom prst="rect">
            <a:avLst/>
          </a:prstGeom>
          <a:noFill/>
        </p:spPr>
        <p:txBody>
          <a:bodyPr wrap="none" rtlCol="0" anchor="ctr"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2028</a:t>
            </a:r>
          </a:p>
        </p:txBody>
      </p:sp>
      <p:sp>
        <p:nvSpPr>
          <p:cNvPr id="36" name="Titel 1">
            <a:extLst>
              <a:ext uri="{FF2B5EF4-FFF2-40B4-BE49-F238E27FC236}">
                <a16:creationId xmlns:a16="http://schemas.microsoft.com/office/drawing/2014/main" id="{2CE6665D-118D-47D5-B539-7044365E2C0B}"/>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Milestones</a:t>
            </a:r>
          </a:p>
        </p:txBody>
      </p:sp>
    </p:spTree>
    <p:custDataLst>
      <p:tags r:id="rId1"/>
    </p:custDataLst>
    <p:extLst>
      <p:ext uri="{BB962C8B-B14F-4D97-AF65-F5344CB8AC3E}">
        <p14:creationId xmlns:p14="http://schemas.microsoft.com/office/powerpoint/2010/main" val="4256809084"/>
      </p:ext>
    </p:extLst>
  </p:cSld>
  <p:clrMapOvr>
    <a:masterClrMapping/>
  </p:clrMapOvr>
  <mc:AlternateContent xmlns:mc="http://schemas.openxmlformats.org/markup-compatibility/2006" xmlns:p14="http://schemas.microsoft.com/office/powerpoint/2010/main">
    <mc:Choice Requires="p14">
      <p:transition spd="med">
        <p14:pan/>
      </p:transition>
    </mc:Choice>
    <mc:Fallback xmlns:p15="http://schemas.microsoft.com/office/powerpoint/2012/main" xmlns:asvg="http://schemas.microsoft.com/office/drawing/2016/SVG/main" xmlns:a14="http://schemas.microsoft.com/office/drawing/2010/main" xmlns:a16="http://schemas.microsoft.com/office/drawing/2014/main"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MIO_SHADOWBOX">
            <a:extLst>
              <a:ext uri="{FF2B5EF4-FFF2-40B4-BE49-F238E27FC236}">
                <a16:creationId xmlns:a16="http://schemas.microsoft.com/office/drawing/2014/main" id="{BCD3E846-B57E-4A8D-A927-99CB11C32E0A}"/>
              </a:ext>
            </a:extLst>
          </p:cNvPr>
          <p:cNvSpPr/>
          <p:nvPr/>
        </p:nvSpPr>
        <p:spPr>
          <a:xfrm>
            <a:off x="6360244" y="4118511"/>
            <a:ext cx="5372969" cy="2202188"/>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31" name="MIO_SHADOWBOX">
            <a:extLst>
              <a:ext uri="{FF2B5EF4-FFF2-40B4-BE49-F238E27FC236}">
                <a16:creationId xmlns:a16="http://schemas.microsoft.com/office/drawing/2014/main" id="{1638957E-519B-4A18-8330-B0719A11D13A}"/>
              </a:ext>
            </a:extLst>
          </p:cNvPr>
          <p:cNvSpPr/>
          <p:nvPr/>
        </p:nvSpPr>
        <p:spPr>
          <a:xfrm>
            <a:off x="6360244" y="1387800"/>
            <a:ext cx="5372968" cy="2202189"/>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32" name="MIO_SHADOWBOX">
            <a:extLst>
              <a:ext uri="{FF2B5EF4-FFF2-40B4-BE49-F238E27FC236}">
                <a16:creationId xmlns:a16="http://schemas.microsoft.com/office/drawing/2014/main" id="{40B55A0A-619F-488F-A8E4-AF2CA7F00585}"/>
              </a:ext>
            </a:extLst>
          </p:cNvPr>
          <p:cNvSpPr/>
          <p:nvPr/>
        </p:nvSpPr>
        <p:spPr>
          <a:xfrm>
            <a:off x="458787" y="1387800"/>
            <a:ext cx="5372969" cy="4932903"/>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33" name="MIO_TEXTBOX_BODY">
            <a:extLst>
              <a:ext uri="{FF2B5EF4-FFF2-40B4-BE49-F238E27FC236}">
                <a16:creationId xmlns:a16="http://schemas.microsoft.com/office/drawing/2014/main" id="{BFEE5BFE-4BC2-4D5A-ACFE-ECDBB61F1013}"/>
              </a:ext>
            </a:extLst>
          </p:cNvPr>
          <p:cNvSpPr txBox="1"/>
          <p:nvPr/>
        </p:nvSpPr>
        <p:spPr>
          <a:xfrm>
            <a:off x="6711396" y="4906013"/>
            <a:ext cx="4668317" cy="1240272"/>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dirty="0"/>
              <a:t>Lorem ipsum dolor sit amet, consectetuer adipiscing elit. Aenean commodo ligula eget dolor. Aenean massa. Cum sociis natoque penatibus et magnis dis parturient montes, nascetur ridiculus mus. </a:t>
            </a:r>
          </a:p>
        </p:txBody>
      </p:sp>
      <p:sp>
        <p:nvSpPr>
          <p:cNvPr id="39" name="MIO_TEXTBOX_HEADER">
            <a:extLst>
              <a:ext uri="{FF2B5EF4-FFF2-40B4-BE49-F238E27FC236}">
                <a16:creationId xmlns:a16="http://schemas.microsoft.com/office/drawing/2014/main" id="{29B8DFF0-853E-4A99-AD6F-F0BF4958B305}"/>
              </a:ext>
            </a:extLst>
          </p:cNvPr>
          <p:cNvSpPr txBox="1"/>
          <p:nvPr/>
        </p:nvSpPr>
        <p:spPr>
          <a:xfrm>
            <a:off x="6711396" y="4472622"/>
            <a:ext cx="4668317" cy="327972"/>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800" dirty="0">
                <a:solidFill>
                  <a:schemeClr val="dk1"/>
                </a:solidFill>
              </a:rPr>
              <a:t>Lorem ipsum dolor sit amet</a:t>
            </a:r>
          </a:p>
        </p:txBody>
      </p:sp>
      <p:sp>
        <p:nvSpPr>
          <p:cNvPr id="2" name="Titel 1">
            <a:extLst>
              <a:ext uri="{FF2B5EF4-FFF2-40B4-BE49-F238E27FC236}">
                <a16:creationId xmlns:a16="http://schemas.microsoft.com/office/drawing/2014/main" id="{4C43AC98-C637-4454-9144-531F94627AE7}"/>
              </a:ext>
            </a:extLst>
          </p:cNvPr>
          <p:cNvSpPr>
            <a:spLocks noGrp="1"/>
          </p:cNvSpPr>
          <p:nvPr>
            <p:ph type="title"/>
          </p:nvPr>
        </p:nvSpPr>
        <p:spPr/>
        <p:txBody>
          <a:bodyPr/>
          <a:lstStyle/>
          <a:p>
            <a:r>
              <a:rPr lang="en-US" sz="3000" dirty="0"/>
              <a:t>Australia dashboard</a:t>
            </a:r>
          </a:p>
        </p:txBody>
      </p:sp>
      <p:pic>
        <p:nvPicPr>
          <p:cNvPr id="35" name="MIO_PICTOGRAM_PART2" descr="Statistik">
            <a:extLst>
              <a:ext uri="{FF2B5EF4-FFF2-40B4-BE49-F238E27FC236}">
                <a16:creationId xmlns:a16="http://schemas.microsoft.com/office/drawing/2014/main" id="{117EBCD2-C5DA-44AE-B90A-DBBA1BBF837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058209" y="1699444"/>
            <a:ext cx="927830" cy="927830"/>
          </a:xfrm>
          <a:prstGeom prst="rect">
            <a:avLst/>
          </a:prstGeom>
        </p:spPr>
      </p:pic>
      <p:pic>
        <p:nvPicPr>
          <p:cNvPr id="36" name="MIO_PICTOGRAM_PART2" descr="Barcode">
            <a:extLst>
              <a:ext uri="{FF2B5EF4-FFF2-40B4-BE49-F238E27FC236}">
                <a16:creationId xmlns:a16="http://schemas.microsoft.com/office/drawing/2014/main" id="{1EEBA9DA-4EBD-48E3-91BC-F2B231B8087F}"/>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107480" y="1699444"/>
            <a:ext cx="927830" cy="927830"/>
          </a:xfrm>
          <a:prstGeom prst="rect">
            <a:avLst/>
          </a:prstGeom>
        </p:spPr>
      </p:pic>
      <p:sp>
        <p:nvSpPr>
          <p:cNvPr id="37" name="Textfeld">
            <a:extLst>
              <a:ext uri="{FF2B5EF4-FFF2-40B4-BE49-F238E27FC236}">
                <a16:creationId xmlns:a16="http://schemas.microsoft.com/office/drawing/2014/main" id="{EEA9A40D-5CF7-4084-83F3-3D778A17132F}"/>
              </a:ext>
            </a:extLst>
          </p:cNvPr>
          <p:cNvSpPr txBox="1"/>
          <p:nvPr/>
        </p:nvSpPr>
        <p:spPr>
          <a:xfrm>
            <a:off x="6360244" y="2732979"/>
            <a:ext cx="2422240" cy="545364"/>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ctr"/>
            <a:r>
              <a:rPr lang="en-US" sz="1400" dirty="0">
                <a:solidFill>
                  <a:schemeClr val="dk1"/>
                </a:solidFill>
              </a:rPr>
              <a:t>10,000</a:t>
            </a:r>
          </a:p>
          <a:p>
            <a:pPr algn="ctr"/>
            <a:r>
              <a:rPr lang="en-US" sz="1400" dirty="0">
                <a:solidFill>
                  <a:schemeClr val="dk1"/>
                </a:solidFill>
              </a:rPr>
              <a:t>Products</a:t>
            </a:r>
          </a:p>
        </p:txBody>
      </p:sp>
      <p:sp>
        <p:nvSpPr>
          <p:cNvPr id="38" name="Textfeld">
            <a:extLst>
              <a:ext uri="{FF2B5EF4-FFF2-40B4-BE49-F238E27FC236}">
                <a16:creationId xmlns:a16="http://schemas.microsoft.com/office/drawing/2014/main" id="{D7338A99-0776-49E8-AE7C-657423230A5D}"/>
              </a:ext>
            </a:extLst>
          </p:cNvPr>
          <p:cNvSpPr txBox="1"/>
          <p:nvPr/>
        </p:nvSpPr>
        <p:spPr>
          <a:xfrm>
            <a:off x="9310973" y="2732979"/>
            <a:ext cx="2422240" cy="545364"/>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ctr"/>
            <a:r>
              <a:rPr lang="en-US" sz="1400" dirty="0">
                <a:solidFill>
                  <a:schemeClr val="dk1"/>
                </a:solidFill>
              </a:rPr>
              <a:t>4.8 Mio. Euro</a:t>
            </a:r>
            <a:br>
              <a:rPr lang="en-US" sz="1400" dirty="0">
                <a:solidFill>
                  <a:schemeClr val="dk1"/>
                </a:solidFill>
              </a:rPr>
            </a:br>
            <a:r>
              <a:rPr lang="en-US" sz="1400" dirty="0">
                <a:solidFill>
                  <a:schemeClr val="dk1"/>
                </a:solidFill>
              </a:rPr>
              <a:t>Sales</a:t>
            </a:r>
          </a:p>
        </p:txBody>
      </p:sp>
      <p:grpSp>
        <p:nvGrpSpPr>
          <p:cNvPr id="44" name="Australia">
            <a:extLst>
              <a:ext uri="{FF2B5EF4-FFF2-40B4-BE49-F238E27FC236}">
                <a16:creationId xmlns:a16="http://schemas.microsoft.com/office/drawing/2014/main" id="{B0AD7832-4AB4-4DF4-973C-C3E4203E6B13}"/>
              </a:ext>
            </a:extLst>
          </p:cNvPr>
          <p:cNvGrpSpPr>
            <a:grpSpLocks/>
          </p:cNvGrpSpPr>
          <p:nvPr/>
        </p:nvGrpSpPr>
        <p:grpSpPr>
          <a:xfrm>
            <a:off x="561838" y="2094747"/>
            <a:ext cx="5166866" cy="3518213"/>
            <a:chOff x="9387433" y="4471404"/>
            <a:chExt cx="1997791" cy="1732751"/>
          </a:xfrm>
        </p:grpSpPr>
        <p:sp>
          <p:nvSpPr>
            <p:cNvPr id="47" name="Vanuatu">
              <a:extLst>
                <a:ext uri="{FF2B5EF4-FFF2-40B4-BE49-F238E27FC236}">
                  <a16:creationId xmlns:a16="http://schemas.microsoft.com/office/drawing/2014/main" id="{A5ECFA41-2670-48D5-9EFB-98D76DA45EC9}"/>
                </a:ext>
              </a:extLst>
            </p:cNvPr>
            <p:cNvSpPr>
              <a:spLocks noEditPoints="1"/>
            </p:cNvSpPr>
            <p:nvPr/>
          </p:nvSpPr>
          <p:spPr bwMode="gray">
            <a:xfrm>
              <a:off x="11007219" y="4661213"/>
              <a:ext cx="177701" cy="169402"/>
            </a:xfrm>
            <a:custGeom>
              <a:avLst/>
              <a:gdLst>
                <a:gd name="T0" fmla="*/ 21 w 247"/>
                <a:gd name="T1" fmla="*/ 14 h 235"/>
                <a:gd name="T2" fmla="*/ 9 w 247"/>
                <a:gd name="T3" fmla="*/ 0 h 235"/>
                <a:gd name="T4" fmla="*/ 2 w 247"/>
                <a:gd name="T5" fmla="*/ 16 h 235"/>
                <a:gd name="T6" fmla="*/ 15 w 247"/>
                <a:gd name="T7" fmla="*/ 32 h 235"/>
                <a:gd name="T8" fmla="*/ 21 w 247"/>
                <a:gd name="T9" fmla="*/ 14 h 235"/>
                <a:gd name="T10" fmla="*/ 0 w 247"/>
                <a:gd name="T11" fmla="*/ 84 h 235"/>
                <a:gd name="T12" fmla="*/ 13 w 247"/>
                <a:gd name="T13" fmla="*/ 89 h 235"/>
                <a:gd name="T14" fmla="*/ 22 w 247"/>
                <a:gd name="T15" fmla="*/ 67 h 235"/>
                <a:gd name="T16" fmla="*/ 0 w 247"/>
                <a:gd name="T17" fmla="*/ 70 h 235"/>
                <a:gd name="T18" fmla="*/ 0 w 247"/>
                <a:gd name="T19" fmla="*/ 84 h 235"/>
                <a:gd name="T20" fmla="*/ 51 w 247"/>
                <a:gd name="T21" fmla="*/ 81 h 235"/>
                <a:gd name="T22" fmla="*/ 25 w 247"/>
                <a:gd name="T23" fmla="*/ 81 h 235"/>
                <a:gd name="T24" fmla="*/ 26 w 247"/>
                <a:gd name="T25" fmla="*/ 97 h 235"/>
                <a:gd name="T26" fmla="*/ 53 w 247"/>
                <a:gd name="T27" fmla="*/ 91 h 235"/>
                <a:gd name="T28" fmla="*/ 51 w 247"/>
                <a:gd name="T29" fmla="*/ 81 h 235"/>
                <a:gd name="T30" fmla="*/ 39 w 247"/>
                <a:gd name="T31" fmla="*/ 126 h 235"/>
                <a:gd name="T32" fmla="*/ 64 w 247"/>
                <a:gd name="T33" fmla="*/ 123 h 235"/>
                <a:gd name="T34" fmla="*/ 32 w 247"/>
                <a:gd name="T35" fmla="*/ 103 h 235"/>
                <a:gd name="T36" fmla="*/ 39 w 247"/>
                <a:gd name="T37" fmla="*/ 126 h 235"/>
                <a:gd name="T38" fmla="*/ 163 w 247"/>
                <a:gd name="T39" fmla="*/ 149 h 235"/>
                <a:gd name="T40" fmla="*/ 128 w 247"/>
                <a:gd name="T41" fmla="*/ 142 h 235"/>
                <a:gd name="T42" fmla="*/ 142 w 247"/>
                <a:gd name="T43" fmla="*/ 169 h 235"/>
                <a:gd name="T44" fmla="*/ 183 w 247"/>
                <a:gd name="T45" fmla="*/ 172 h 235"/>
                <a:gd name="T46" fmla="*/ 163 w 247"/>
                <a:gd name="T47" fmla="*/ 149 h 235"/>
                <a:gd name="T48" fmla="*/ 205 w 247"/>
                <a:gd name="T49" fmla="*/ 193 h 235"/>
                <a:gd name="T50" fmla="*/ 238 w 247"/>
                <a:gd name="T51" fmla="*/ 235 h 235"/>
                <a:gd name="T52" fmla="*/ 247 w 247"/>
                <a:gd name="T53" fmla="*/ 215 h 235"/>
                <a:gd name="T54" fmla="*/ 205 w 247"/>
                <a:gd name="T55" fmla="*/ 193 h 235"/>
                <a:gd name="T56" fmla="*/ 189 w 247"/>
                <a:gd name="T57" fmla="*/ 84 h 235"/>
                <a:gd name="T58" fmla="*/ 184 w 247"/>
                <a:gd name="T59" fmla="*/ 130 h 235"/>
                <a:gd name="T60" fmla="*/ 218 w 247"/>
                <a:gd name="T61" fmla="*/ 160 h 235"/>
                <a:gd name="T62" fmla="*/ 189 w 247"/>
                <a:gd name="T63" fmla="*/ 84 h 235"/>
                <a:gd name="T64" fmla="*/ 81 w 247"/>
                <a:gd name="T65" fmla="*/ 41 h 235"/>
                <a:gd name="T66" fmla="*/ 138 w 247"/>
                <a:gd name="T67" fmla="*/ 102 h 235"/>
                <a:gd name="T68" fmla="*/ 81 w 247"/>
                <a:gd name="T69"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7" h="235">
                  <a:moveTo>
                    <a:pt x="21" y="14"/>
                  </a:moveTo>
                  <a:cubicBezTo>
                    <a:pt x="9" y="0"/>
                    <a:pt x="9" y="0"/>
                    <a:pt x="9" y="0"/>
                  </a:cubicBezTo>
                  <a:cubicBezTo>
                    <a:pt x="2" y="16"/>
                    <a:pt x="2" y="16"/>
                    <a:pt x="2" y="16"/>
                  </a:cubicBezTo>
                  <a:cubicBezTo>
                    <a:pt x="15" y="32"/>
                    <a:pt x="15" y="32"/>
                    <a:pt x="15" y="32"/>
                  </a:cubicBezTo>
                  <a:lnTo>
                    <a:pt x="21" y="14"/>
                  </a:lnTo>
                  <a:close/>
                  <a:moveTo>
                    <a:pt x="0" y="84"/>
                  </a:moveTo>
                  <a:cubicBezTo>
                    <a:pt x="13" y="89"/>
                    <a:pt x="13" y="89"/>
                    <a:pt x="13" y="89"/>
                  </a:cubicBezTo>
                  <a:cubicBezTo>
                    <a:pt x="22" y="67"/>
                    <a:pt x="22" y="67"/>
                    <a:pt x="22" y="67"/>
                  </a:cubicBezTo>
                  <a:cubicBezTo>
                    <a:pt x="0" y="70"/>
                    <a:pt x="0" y="70"/>
                    <a:pt x="0" y="70"/>
                  </a:cubicBezTo>
                  <a:lnTo>
                    <a:pt x="0" y="84"/>
                  </a:lnTo>
                  <a:close/>
                  <a:moveTo>
                    <a:pt x="51" y="81"/>
                  </a:moveTo>
                  <a:cubicBezTo>
                    <a:pt x="25" y="81"/>
                    <a:pt x="25" y="81"/>
                    <a:pt x="25" y="81"/>
                  </a:cubicBezTo>
                  <a:cubicBezTo>
                    <a:pt x="26" y="97"/>
                    <a:pt x="26" y="97"/>
                    <a:pt x="26" y="97"/>
                  </a:cubicBezTo>
                  <a:cubicBezTo>
                    <a:pt x="53" y="91"/>
                    <a:pt x="53" y="91"/>
                    <a:pt x="53" y="91"/>
                  </a:cubicBezTo>
                  <a:lnTo>
                    <a:pt x="51" y="81"/>
                  </a:lnTo>
                  <a:close/>
                  <a:moveTo>
                    <a:pt x="39" y="126"/>
                  </a:moveTo>
                  <a:cubicBezTo>
                    <a:pt x="64" y="123"/>
                    <a:pt x="64" y="123"/>
                    <a:pt x="64" y="123"/>
                  </a:cubicBezTo>
                  <a:cubicBezTo>
                    <a:pt x="32" y="103"/>
                    <a:pt x="32" y="103"/>
                    <a:pt x="32" y="103"/>
                  </a:cubicBezTo>
                  <a:lnTo>
                    <a:pt x="39" y="126"/>
                  </a:lnTo>
                  <a:close/>
                  <a:moveTo>
                    <a:pt x="163" y="149"/>
                  </a:moveTo>
                  <a:cubicBezTo>
                    <a:pt x="145" y="139"/>
                    <a:pt x="128" y="142"/>
                    <a:pt x="128" y="142"/>
                  </a:cubicBezTo>
                  <a:cubicBezTo>
                    <a:pt x="128" y="142"/>
                    <a:pt x="124" y="161"/>
                    <a:pt x="142" y="169"/>
                  </a:cubicBezTo>
                  <a:cubicBezTo>
                    <a:pt x="168" y="180"/>
                    <a:pt x="183" y="172"/>
                    <a:pt x="183" y="172"/>
                  </a:cubicBezTo>
                  <a:cubicBezTo>
                    <a:pt x="183" y="172"/>
                    <a:pt x="182" y="160"/>
                    <a:pt x="163" y="149"/>
                  </a:cubicBezTo>
                  <a:close/>
                  <a:moveTo>
                    <a:pt x="205" y="193"/>
                  </a:moveTo>
                  <a:cubicBezTo>
                    <a:pt x="238" y="235"/>
                    <a:pt x="238" y="235"/>
                    <a:pt x="238" y="235"/>
                  </a:cubicBezTo>
                  <a:cubicBezTo>
                    <a:pt x="247" y="215"/>
                    <a:pt x="247" y="215"/>
                    <a:pt x="247" y="215"/>
                  </a:cubicBezTo>
                  <a:lnTo>
                    <a:pt x="205" y="193"/>
                  </a:lnTo>
                  <a:close/>
                  <a:moveTo>
                    <a:pt x="189" y="84"/>
                  </a:moveTo>
                  <a:cubicBezTo>
                    <a:pt x="189" y="84"/>
                    <a:pt x="178" y="119"/>
                    <a:pt x="184" y="130"/>
                  </a:cubicBezTo>
                  <a:cubicBezTo>
                    <a:pt x="191" y="140"/>
                    <a:pt x="218" y="160"/>
                    <a:pt x="218" y="160"/>
                  </a:cubicBezTo>
                  <a:lnTo>
                    <a:pt x="189" y="84"/>
                  </a:lnTo>
                  <a:close/>
                  <a:moveTo>
                    <a:pt x="81" y="41"/>
                  </a:moveTo>
                  <a:cubicBezTo>
                    <a:pt x="75" y="51"/>
                    <a:pt x="130" y="104"/>
                    <a:pt x="138" y="102"/>
                  </a:cubicBezTo>
                  <a:cubicBezTo>
                    <a:pt x="154" y="100"/>
                    <a:pt x="86" y="30"/>
                    <a:pt x="81" y="41"/>
                  </a:cubicBezTo>
                  <a:close/>
                </a:path>
              </a:pathLst>
            </a:custGeom>
            <a:solidFill>
              <a:schemeClr val="bg1">
                <a:lumMod val="85000"/>
              </a:schemeClr>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48" name="Papua New Guinea">
              <a:extLst>
                <a:ext uri="{FF2B5EF4-FFF2-40B4-BE49-F238E27FC236}">
                  <a16:creationId xmlns:a16="http://schemas.microsoft.com/office/drawing/2014/main" id="{0FD20B10-6703-43CB-913A-62EE3D54195D}"/>
                </a:ext>
              </a:extLst>
            </p:cNvPr>
            <p:cNvSpPr>
              <a:spLocks noEditPoints="1"/>
            </p:cNvSpPr>
            <p:nvPr/>
          </p:nvSpPr>
          <p:spPr bwMode="gray">
            <a:xfrm>
              <a:off x="10463861" y="4471404"/>
              <a:ext cx="526976" cy="353090"/>
            </a:xfrm>
            <a:custGeom>
              <a:avLst/>
              <a:gdLst>
                <a:gd name="T0" fmla="*/ 296 w 730"/>
                <a:gd name="T1" fmla="*/ 19 h 491"/>
                <a:gd name="T2" fmla="*/ 331 w 730"/>
                <a:gd name="T3" fmla="*/ 7 h 491"/>
                <a:gd name="T4" fmla="*/ 521 w 730"/>
                <a:gd name="T5" fmla="*/ 171 h 491"/>
                <a:gd name="T6" fmla="*/ 476 w 730"/>
                <a:gd name="T7" fmla="*/ 209 h 491"/>
                <a:gd name="T8" fmla="*/ 404 w 730"/>
                <a:gd name="T9" fmla="*/ 228 h 491"/>
                <a:gd name="T10" fmla="*/ 398 w 730"/>
                <a:gd name="T11" fmla="*/ 257 h 491"/>
                <a:gd name="T12" fmla="*/ 474 w 730"/>
                <a:gd name="T13" fmla="*/ 251 h 491"/>
                <a:gd name="T14" fmla="*/ 523 w 730"/>
                <a:gd name="T15" fmla="*/ 228 h 491"/>
                <a:gd name="T16" fmla="*/ 536 w 730"/>
                <a:gd name="T17" fmla="*/ 206 h 491"/>
                <a:gd name="T18" fmla="*/ 555 w 730"/>
                <a:gd name="T19" fmla="*/ 140 h 491"/>
                <a:gd name="T20" fmla="*/ 564 w 730"/>
                <a:gd name="T21" fmla="*/ 94 h 491"/>
                <a:gd name="T22" fmla="*/ 520 w 730"/>
                <a:gd name="T23" fmla="*/ 58 h 491"/>
                <a:gd name="T24" fmla="*/ 494 w 730"/>
                <a:gd name="T25" fmla="*/ 31 h 491"/>
                <a:gd name="T26" fmla="*/ 516 w 730"/>
                <a:gd name="T27" fmla="*/ 69 h 491"/>
                <a:gd name="T28" fmla="*/ 576 w 730"/>
                <a:gd name="T29" fmla="*/ 122 h 491"/>
                <a:gd name="T30" fmla="*/ 599 w 730"/>
                <a:gd name="T31" fmla="*/ 131 h 491"/>
                <a:gd name="T32" fmla="*/ 728 w 730"/>
                <a:gd name="T33" fmla="*/ 249 h 491"/>
                <a:gd name="T34" fmla="*/ 664 w 730"/>
                <a:gd name="T35" fmla="*/ 185 h 491"/>
                <a:gd name="T36" fmla="*/ 670 w 730"/>
                <a:gd name="T37" fmla="*/ 225 h 491"/>
                <a:gd name="T38" fmla="*/ 730 w 730"/>
                <a:gd name="T39" fmla="*/ 300 h 491"/>
                <a:gd name="T40" fmla="*/ 17 w 730"/>
                <a:gd name="T41" fmla="*/ 401 h 491"/>
                <a:gd name="T42" fmla="*/ 17 w 730"/>
                <a:gd name="T43" fmla="*/ 401 h 491"/>
                <a:gd name="T44" fmla="*/ 452 w 730"/>
                <a:gd name="T45" fmla="*/ 453 h 491"/>
                <a:gd name="T46" fmla="*/ 437 w 730"/>
                <a:gd name="T47" fmla="*/ 426 h 491"/>
                <a:gd name="T48" fmla="*/ 408 w 730"/>
                <a:gd name="T49" fmla="*/ 388 h 491"/>
                <a:gd name="T50" fmla="*/ 374 w 730"/>
                <a:gd name="T51" fmla="*/ 375 h 491"/>
                <a:gd name="T52" fmla="*/ 357 w 730"/>
                <a:gd name="T53" fmla="*/ 337 h 491"/>
                <a:gd name="T54" fmla="*/ 304 w 730"/>
                <a:gd name="T55" fmla="*/ 274 h 491"/>
                <a:gd name="T56" fmla="*/ 308 w 730"/>
                <a:gd name="T57" fmla="*/ 220 h 491"/>
                <a:gd name="T58" fmla="*/ 256 w 730"/>
                <a:gd name="T59" fmla="*/ 169 h 491"/>
                <a:gd name="T60" fmla="*/ 200 w 730"/>
                <a:gd name="T61" fmla="*/ 113 h 491"/>
                <a:gd name="T62" fmla="*/ 151 w 730"/>
                <a:gd name="T63" fmla="*/ 91 h 491"/>
                <a:gd name="T64" fmla="*/ 49 w 730"/>
                <a:gd name="T65" fmla="*/ 49 h 491"/>
                <a:gd name="T66" fmla="*/ 6 w 730"/>
                <a:gd name="T67" fmla="*/ 36 h 491"/>
                <a:gd name="T68" fmla="*/ 30 w 730"/>
                <a:gd name="T69" fmla="*/ 155 h 491"/>
                <a:gd name="T70" fmla="*/ 27 w 730"/>
                <a:gd name="T71" fmla="*/ 253 h 491"/>
                <a:gd name="T72" fmla="*/ 26 w 730"/>
                <a:gd name="T73" fmla="*/ 282 h 491"/>
                <a:gd name="T74" fmla="*/ 15 w 730"/>
                <a:gd name="T75" fmla="*/ 353 h 491"/>
                <a:gd name="T76" fmla="*/ 17 w 730"/>
                <a:gd name="T77" fmla="*/ 401 h 491"/>
                <a:gd name="T78" fmla="*/ 88 w 730"/>
                <a:gd name="T79" fmla="*/ 408 h 491"/>
                <a:gd name="T80" fmla="*/ 71 w 730"/>
                <a:gd name="T81" fmla="*/ 347 h 491"/>
                <a:gd name="T82" fmla="*/ 130 w 730"/>
                <a:gd name="T83" fmla="*/ 329 h 491"/>
                <a:gd name="T84" fmla="*/ 146 w 730"/>
                <a:gd name="T85" fmla="*/ 313 h 491"/>
                <a:gd name="T86" fmla="*/ 185 w 730"/>
                <a:gd name="T87" fmla="*/ 311 h 491"/>
                <a:gd name="T88" fmla="*/ 258 w 730"/>
                <a:gd name="T89" fmla="*/ 342 h 491"/>
                <a:gd name="T90" fmla="*/ 302 w 730"/>
                <a:gd name="T91" fmla="*/ 398 h 491"/>
                <a:gd name="T92" fmla="*/ 418 w 730"/>
                <a:gd name="T93" fmla="*/ 464 h 491"/>
                <a:gd name="T94" fmla="*/ 450 w 730"/>
                <a:gd name="T95" fmla="*/ 464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0" h="491">
                  <a:moveTo>
                    <a:pt x="331" y="7"/>
                  </a:moveTo>
                  <a:cubicBezTo>
                    <a:pt x="318" y="0"/>
                    <a:pt x="296" y="19"/>
                    <a:pt x="296" y="19"/>
                  </a:cubicBezTo>
                  <a:cubicBezTo>
                    <a:pt x="315" y="31"/>
                    <a:pt x="315" y="31"/>
                    <a:pt x="315" y="31"/>
                  </a:cubicBezTo>
                  <a:cubicBezTo>
                    <a:pt x="333" y="35"/>
                    <a:pt x="344" y="14"/>
                    <a:pt x="331" y="7"/>
                  </a:cubicBezTo>
                  <a:close/>
                  <a:moveTo>
                    <a:pt x="508" y="150"/>
                  </a:moveTo>
                  <a:cubicBezTo>
                    <a:pt x="499" y="159"/>
                    <a:pt x="521" y="171"/>
                    <a:pt x="521" y="171"/>
                  </a:cubicBezTo>
                  <a:cubicBezTo>
                    <a:pt x="523" y="184"/>
                    <a:pt x="523" y="184"/>
                    <a:pt x="523" y="184"/>
                  </a:cubicBezTo>
                  <a:cubicBezTo>
                    <a:pt x="476" y="209"/>
                    <a:pt x="476" y="209"/>
                    <a:pt x="476" y="209"/>
                  </a:cubicBezTo>
                  <a:cubicBezTo>
                    <a:pt x="476" y="209"/>
                    <a:pt x="452" y="207"/>
                    <a:pt x="436" y="210"/>
                  </a:cubicBezTo>
                  <a:cubicBezTo>
                    <a:pt x="420" y="213"/>
                    <a:pt x="414" y="222"/>
                    <a:pt x="404" y="228"/>
                  </a:cubicBezTo>
                  <a:cubicBezTo>
                    <a:pt x="394" y="234"/>
                    <a:pt x="388" y="222"/>
                    <a:pt x="382" y="234"/>
                  </a:cubicBezTo>
                  <a:cubicBezTo>
                    <a:pt x="398" y="257"/>
                    <a:pt x="398" y="257"/>
                    <a:pt x="398" y="257"/>
                  </a:cubicBezTo>
                  <a:cubicBezTo>
                    <a:pt x="463" y="260"/>
                    <a:pt x="463" y="260"/>
                    <a:pt x="463" y="260"/>
                  </a:cubicBezTo>
                  <a:cubicBezTo>
                    <a:pt x="474" y="251"/>
                    <a:pt x="474" y="251"/>
                    <a:pt x="474" y="251"/>
                  </a:cubicBezTo>
                  <a:cubicBezTo>
                    <a:pt x="474" y="251"/>
                    <a:pt x="486" y="251"/>
                    <a:pt x="499" y="250"/>
                  </a:cubicBezTo>
                  <a:cubicBezTo>
                    <a:pt x="513" y="248"/>
                    <a:pt x="523" y="228"/>
                    <a:pt x="523" y="228"/>
                  </a:cubicBezTo>
                  <a:cubicBezTo>
                    <a:pt x="542" y="223"/>
                    <a:pt x="542" y="223"/>
                    <a:pt x="542" y="223"/>
                  </a:cubicBezTo>
                  <a:cubicBezTo>
                    <a:pt x="536" y="206"/>
                    <a:pt x="536" y="206"/>
                    <a:pt x="536" y="206"/>
                  </a:cubicBezTo>
                  <a:cubicBezTo>
                    <a:pt x="554" y="209"/>
                    <a:pt x="554" y="209"/>
                    <a:pt x="554" y="209"/>
                  </a:cubicBezTo>
                  <a:cubicBezTo>
                    <a:pt x="554" y="209"/>
                    <a:pt x="562" y="157"/>
                    <a:pt x="555" y="140"/>
                  </a:cubicBezTo>
                  <a:cubicBezTo>
                    <a:pt x="548" y="122"/>
                    <a:pt x="517" y="141"/>
                    <a:pt x="508" y="150"/>
                  </a:cubicBezTo>
                  <a:close/>
                  <a:moveTo>
                    <a:pt x="564" y="94"/>
                  </a:moveTo>
                  <a:cubicBezTo>
                    <a:pt x="555" y="94"/>
                    <a:pt x="555" y="94"/>
                    <a:pt x="555" y="94"/>
                  </a:cubicBezTo>
                  <a:cubicBezTo>
                    <a:pt x="555" y="94"/>
                    <a:pt x="524" y="60"/>
                    <a:pt x="520" y="58"/>
                  </a:cubicBezTo>
                  <a:cubicBezTo>
                    <a:pt x="516" y="55"/>
                    <a:pt x="508" y="55"/>
                    <a:pt x="508" y="55"/>
                  </a:cubicBezTo>
                  <a:cubicBezTo>
                    <a:pt x="494" y="31"/>
                    <a:pt x="494" y="31"/>
                    <a:pt x="494" y="31"/>
                  </a:cubicBezTo>
                  <a:cubicBezTo>
                    <a:pt x="486" y="63"/>
                    <a:pt x="486" y="63"/>
                    <a:pt x="486" y="63"/>
                  </a:cubicBezTo>
                  <a:cubicBezTo>
                    <a:pt x="516" y="69"/>
                    <a:pt x="516" y="69"/>
                    <a:pt x="516" y="69"/>
                  </a:cubicBezTo>
                  <a:cubicBezTo>
                    <a:pt x="516" y="69"/>
                    <a:pt x="539" y="96"/>
                    <a:pt x="545" y="102"/>
                  </a:cubicBezTo>
                  <a:cubicBezTo>
                    <a:pt x="551" y="107"/>
                    <a:pt x="571" y="109"/>
                    <a:pt x="576" y="122"/>
                  </a:cubicBezTo>
                  <a:cubicBezTo>
                    <a:pt x="580" y="135"/>
                    <a:pt x="562" y="179"/>
                    <a:pt x="589" y="181"/>
                  </a:cubicBezTo>
                  <a:cubicBezTo>
                    <a:pt x="604" y="182"/>
                    <a:pt x="612" y="150"/>
                    <a:pt x="599" y="131"/>
                  </a:cubicBezTo>
                  <a:cubicBezTo>
                    <a:pt x="586" y="112"/>
                    <a:pt x="564" y="94"/>
                    <a:pt x="564" y="94"/>
                  </a:cubicBezTo>
                  <a:close/>
                  <a:moveTo>
                    <a:pt x="728" y="249"/>
                  </a:moveTo>
                  <a:cubicBezTo>
                    <a:pt x="687" y="202"/>
                    <a:pt x="687" y="202"/>
                    <a:pt x="687" y="202"/>
                  </a:cubicBezTo>
                  <a:cubicBezTo>
                    <a:pt x="687" y="202"/>
                    <a:pt x="683" y="177"/>
                    <a:pt x="664" y="185"/>
                  </a:cubicBezTo>
                  <a:cubicBezTo>
                    <a:pt x="653" y="190"/>
                    <a:pt x="659" y="206"/>
                    <a:pt x="659" y="206"/>
                  </a:cubicBezTo>
                  <a:cubicBezTo>
                    <a:pt x="670" y="225"/>
                    <a:pt x="670" y="225"/>
                    <a:pt x="670" y="225"/>
                  </a:cubicBezTo>
                  <a:cubicBezTo>
                    <a:pt x="687" y="257"/>
                    <a:pt x="687" y="257"/>
                    <a:pt x="687" y="257"/>
                  </a:cubicBezTo>
                  <a:cubicBezTo>
                    <a:pt x="730" y="300"/>
                    <a:pt x="730" y="300"/>
                    <a:pt x="730" y="300"/>
                  </a:cubicBezTo>
                  <a:lnTo>
                    <a:pt x="728" y="249"/>
                  </a:lnTo>
                  <a:close/>
                  <a:moveTo>
                    <a:pt x="17" y="401"/>
                  </a:moveTo>
                  <a:cubicBezTo>
                    <a:pt x="17" y="401"/>
                    <a:pt x="17" y="401"/>
                    <a:pt x="17" y="401"/>
                  </a:cubicBezTo>
                  <a:cubicBezTo>
                    <a:pt x="17" y="401"/>
                    <a:pt x="17" y="401"/>
                    <a:pt x="17" y="401"/>
                  </a:cubicBezTo>
                  <a:cubicBezTo>
                    <a:pt x="17" y="401"/>
                    <a:pt x="17" y="401"/>
                    <a:pt x="17" y="401"/>
                  </a:cubicBezTo>
                  <a:close/>
                  <a:moveTo>
                    <a:pt x="452" y="453"/>
                  </a:moveTo>
                  <a:cubicBezTo>
                    <a:pt x="425" y="436"/>
                    <a:pt x="425" y="436"/>
                    <a:pt x="425" y="436"/>
                  </a:cubicBezTo>
                  <a:cubicBezTo>
                    <a:pt x="437" y="426"/>
                    <a:pt x="437" y="426"/>
                    <a:pt x="437" y="426"/>
                  </a:cubicBezTo>
                  <a:cubicBezTo>
                    <a:pt x="437" y="426"/>
                    <a:pt x="413" y="425"/>
                    <a:pt x="406" y="418"/>
                  </a:cubicBezTo>
                  <a:cubicBezTo>
                    <a:pt x="400" y="411"/>
                    <a:pt x="408" y="397"/>
                    <a:pt x="408" y="388"/>
                  </a:cubicBezTo>
                  <a:cubicBezTo>
                    <a:pt x="408" y="379"/>
                    <a:pt x="375" y="396"/>
                    <a:pt x="375" y="396"/>
                  </a:cubicBezTo>
                  <a:cubicBezTo>
                    <a:pt x="374" y="375"/>
                    <a:pt x="374" y="375"/>
                    <a:pt x="374" y="375"/>
                  </a:cubicBezTo>
                  <a:cubicBezTo>
                    <a:pt x="357" y="367"/>
                    <a:pt x="357" y="367"/>
                    <a:pt x="357" y="367"/>
                  </a:cubicBezTo>
                  <a:cubicBezTo>
                    <a:pt x="357" y="337"/>
                    <a:pt x="357" y="337"/>
                    <a:pt x="357" y="337"/>
                  </a:cubicBezTo>
                  <a:cubicBezTo>
                    <a:pt x="321" y="311"/>
                    <a:pt x="321" y="311"/>
                    <a:pt x="321" y="311"/>
                  </a:cubicBezTo>
                  <a:cubicBezTo>
                    <a:pt x="304" y="274"/>
                    <a:pt x="304" y="274"/>
                    <a:pt x="304" y="274"/>
                  </a:cubicBezTo>
                  <a:cubicBezTo>
                    <a:pt x="304" y="274"/>
                    <a:pt x="342" y="261"/>
                    <a:pt x="342" y="245"/>
                  </a:cubicBezTo>
                  <a:cubicBezTo>
                    <a:pt x="342" y="229"/>
                    <a:pt x="308" y="220"/>
                    <a:pt x="308" y="220"/>
                  </a:cubicBezTo>
                  <a:cubicBezTo>
                    <a:pt x="306" y="216"/>
                    <a:pt x="256" y="202"/>
                    <a:pt x="256" y="202"/>
                  </a:cubicBezTo>
                  <a:cubicBezTo>
                    <a:pt x="256" y="202"/>
                    <a:pt x="252" y="189"/>
                    <a:pt x="256" y="169"/>
                  </a:cubicBezTo>
                  <a:cubicBezTo>
                    <a:pt x="260" y="150"/>
                    <a:pt x="232" y="147"/>
                    <a:pt x="232" y="147"/>
                  </a:cubicBezTo>
                  <a:cubicBezTo>
                    <a:pt x="200" y="113"/>
                    <a:pt x="200" y="113"/>
                    <a:pt x="200" y="113"/>
                  </a:cubicBezTo>
                  <a:cubicBezTo>
                    <a:pt x="175" y="114"/>
                    <a:pt x="175" y="114"/>
                    <a:pt x="175" y="114"/>
                  </a:cubicBezTo>
                  <a:cubicBezTo>
                    <a:pt x="151" y="91"/>
                    <a:pt x="151" y="91"/>
                    <a:pt x="151" y="91"/>
                  </a:cubicBezTo>
                  <a:cubicBezTo>
                    <a:pt x="131" y="87"/>
                    <a:pt x="131" y="87"/>
                    <a:pt x="131" y="87"/>
                  </a:cubicBezTo>
                  <a:cubicBezTo>
                    <a:pt x="49" y="49"/>
                    <a:pt x="49" y="49"/>
                    <a:pt x="49" y="49"/>
                  </a:cubicBezTo>
                  <a:cubicBezTo>
                    <a:pt x="33" y="55"/>
                    <a:pt x="33" y="55"/>
                    <a:pt x="33" y="55"/>
                  </a:cubicBezTo>
                  <a:cubicBezTo>
                    <a:pt x="6" y="36"/>
                    <a:pt x="6" y="36"/>
                    <a:pt x="6" y="36"/>
                  </a:cubicBezTo>
                  <a:cubicBezTo>
                    <a:pt x="32" y="55"/>
                    <a:pt x="32" y="55"/>
                    <a:pt x="32" y="55"/>
                  </a:cubicBezTo>
                  <a:cubicBezTo>
                    <a:pt x="32" y="75"/>
                    <a:pt x="30" y="139"/>
                    <a:pt x="30" y="155"/>
                  </a:cubicBezTo>
                  <a:cubicBezTo>
                    <a:pt x="30" y="175"/>
                    <a:pt x="22" y="197"/>
                    <a:pt x="24" y="212"/>
                  </a:cubicBezTo>
                  <a:cubicBezTo>
                    <a:pt x="26" y="227"/>
                    <a:pt x="27" y="253"/>
                    <a:pt x="27" y="253"/>
                  </a:cubicBezTo>
                  <a:cubicBezTo>
                    <a:pt x="27" y="253"/>
                    <a:pt x="0" y="271"/>
                    <a:pt x="11" y="277"/>
                  </a:cubicBezTo>
                  <a:cubicBezTo>
                    <a:pt x="22" y="284"/>
                    <a:pt x="26" y="282"/>
                    <a:pt x="26" y="282"/>
                  </a:cubicBezTo>
                  <a:cubicBezTo>
                    <a:pt x="26" y="282"/>
                    <a:pt x="23" y="319"/>
                    <a:pt x="21" y="327"/>
                  </a:cubicBezTo>
                  <a:cubicBezTo>
                    <a:pt x="19" y="334"/>
                    <a:pt x="15" y="353"/>
                    <a:pt x="15" y="353"/>
                  </a:cubicBezTo>
                  <a:cubicBezTo>
                    <a:pt x="19" y="369"/>
                    <a:pt x="19" y="369"/>
                    <a:pt x="19" y="369"/>
                  </a:cubicBezTo>
                  <a:cubicBezTo>
                    <a:pt x="17" y="401"/>
                    <a:pt x="17" y="401"/>
                    <a:pt x="17" y="401"/>
                  </a:cubicBezTo>
                  <a:cubicBezTo>
                    <a:pt x="34" y="405"/>
                    <a:pt x="75" y="396"/>
                    <a:pt x="75" y="396"/>
                  </a:cubicBezTo>
                  <a:cubicBezTo>
                    <a:pt x="88" y="408"/>
                    <a:pt x="88" y="408"/>
                    <a:pt x="88" y="408"/>
                  </a:cubicBezTo>
                  <a:cubicBezTo>
                    <a:pt x="88" y="408"/>
                    <a:pt x="114" y="398"/>
                    <a:pt x="126" y="388"/>
                  </a:cubicBezTo>
                  <a:cubicBezTo>
                    <a:pt x="138" y="377"/>
                    <a:pt x="71" y="347"/>
                    <a:pt x="71" y="347"/>
                  </a:cubicBezTo>
                  <a:cubicBezTo>
                    <a:pt x="71" y="347"/>
                    <a:pt x="126" y="355"/>
                    <a:pt x="138" y="353"/>
                  </a:cubicBezTo>
                  <a:cubicBezTo>
                    <a:pt x="150" y="350"/>
                    <a:pt x="130" y="329"/>
                    <a:pt x="130" y="329"/>
                  </a:cubicBezTo>
                  <a:cubicBezTo>
                    <a:pt x="130" y="329"/>
                    <a:pt x="146" y="341"/>
                    <a:pt x="151" y="338"/>
                  </a:cubicBezTo>
                  <a:cubicBezTo>
                    <a:pt x="156" y="336"/>
                    <a:pt x="146" y="313"/>
                    <a:pt x="146" y="313"/>
                  </a:cubicBezTo>
                  <a:cubicBezTo>
                    <a:pt x="146" y="313"/>
                    <a:pt x="156" y="322"/>
                    <a:pt x="163" y="324"/>
                  </a:cubicBezTo>
                  <a:cubicBezTo>
                    <a:pt x="169" y="325"/>
                    <a:pt x="179" y="312"/>
                    <a:pt x="185" y="311"/>
                  </a:cubicBezTo>
                  <a:cubicBezTo>
                    <a:pt x="192" y="309"/>
                    <a:pt x="202" y="329"/>
                    <a:pt x="209" y="333"/>
                  </a:cubicBezTo>
                  <a:cubicBezTo>
                    <a:pt x="215" y="337"/>
                    <a:pt x="240" y="332"/>
                    <a:pt x="258" y="342"/>
                  </a:cubicBezTo>
                  <a:cubicBezTo>
                    <a:pt x="277" y="353"/>
                    <a:pt x="270" y="376"/>
                    <a:pt x="277" y="388"/>
                  </a:cubicBezTo>
                  <a:cubicBezTo>
                    <a:pt x="283" y="400"/>
                    <a:pt x="296" y="392"/>
                    <a:pt x="302" y="398"/>
                  </a:cubicBezTo>
                  <a:cubicBezTo>
                    <a:pt x="307" y="405"/>
                    <a:pt x="316" y="446"/>
                    <a:pt x="330" y="456"/>
                  </a:cubicBezTo>
                  <a:cubicBezTo>
                    <a:pt x="345" y="466"/>
                    <a:pt x="409" y="460"/>
                    <a:pt x="418" y="464"/>
                  </a:cubicBezTo>
                  <a:cubicBezTo>
                    <a:pt x="427" y="468"/>
                    <a:pt x="447" y="491"/>
                    <a:pt x="459" y="491"/>
                  </a:cubicBezTo>
                  <a:cubicBezTo>
                    <a:pt x="471" y="491"/>
                    <a:pt x="450" y="464"/>
                    <a:pt x="450" y="464"/>
                  </a:cubicBezTo>
                  <a:lnTo>
                    <a:pt x="452" y="453"/>
                  </a:lnTo>
                  <a:close/>
                </a:path>
              </a:pathLst>
            </a:custGeom>
            <a:solidFill>
              <a:schemeClr val="bg1">
                <a:lumMod val="85000"/>
              </a:schemeClr>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45" name="New Zealand">
              <a:extLst>
                <a:ext uri="{FF2B5EF4-FFF2-40B4-BE49-F238E27FC236}">
                  <a16:creationId xmlns:a16="http://schemas.microsoft.com/office/drawing/2014/main" id="{02E6E802-CBE4-4BE4-9382-92BE22675367}"/>
                </a:ext>
              </a:extLst>
            </p:cNvPr>
            <p:cNvSpPr>
              <a:spLocks noEditPoints="1"/>
            </p:cNvSpPr>
            <p:nvPr/>
          </p:nvSpPr>
          <p:spPr bwMode="gray">
            <a:xfrm>
              <a:off x="10772461" y="5730650"/>
              <a:ext cx="612763" cy="473505"/>
            </a:xfrm>
            <a:custGeom>
              <a:avLst/>
              <a:gdLst>
                <a:gd name="T0" fmla="*/ 489 w 851"/>
                <a:gd name="T1" fmla="*/ 375 h 656"/>
                <a:gd name="T2" fmla="*/ 477 w 851"/>
                <a:gd name="T3" fmla="*/ 361 h 656"/>
                <a:gd name="T4" fmla="*/ 456 w 851"/>
                <a:gd name="T5" fmla="*/ 351 h 656"/>
                <a:gd name="T6" fmla="*/ 425 w 851"/>
                <a:gd name="T7" fmla="*/ 380 h 656"/>
                <a:gd name="T8" fmla="*/ 360 w 851"/>
                <a:gd name="T9" fmla="*/ 432 h 656"/>
                <a:gd name="T10" fmla="*/ 261 w 851"/>
                <a:gd name="T11" fmla="*/ 484 h 656"/>
                <a:gd name="T12" fmla="*/ 177 w 851"/>
                <a:gd name="T13" fmla="*/ 513 h 656"/>
                <a:gd name="T14" fmla="*/ 112 w 851"/>
                <a:gd name="T15" fmla="*/ 564 h 656"/>
                <a:gd name="T16" fmla="*/ 56 w 851"/>
                <a:gd name="T17" fmla="*/ 583 h 656"/>
                <a:gd name="T18" fmla="*/ 0 w 851"/>
                <a:gd name="T19" fmla="*/ 608 h 656"/>
                <a:gd name="T20" fmla="*/ 12 w 851"/>
                <a:gd name="T21" fmla="*/ 629 h 656"/>
                <a:gd name="T22" fmla="*/ 47 w 851"/>
                <a:gd name="T23" fmla="*/ 631 h 656"/>
                <a:gd name="T24" fmla="*/ 65 w 851"/>
                <a:gd name="T25" fmla="*/ 637 h 656"/>
                <a:gd name="T26" fmla="*/ 96 w 851"/>
                <a:gd name="T27" fmla="*/ 648 h 656"/>
                <a:gd name="T28" fmla="*/ 152 w 851"/>
                <a:gd name="T29" fmla="*/ 653 h 656"/>
                <a:gd name="T30" fmla="*/ 215 w 851"/>
                <a:gd name="T31" fmla="*/ 620 h 656"/>
                <a:gd name="T32" fmla="*/ 265 w 851"/>
                <a:gd name="T33" fmla="*/ 574 h 656"/>
                <a:gd name="T34" fmla="*/ 279 w 851"/>
                <a:gd name="T35" fmla="*/ 557 h 656"/>
                <a:gd name="T36" fmla="*/ 306 w 851"/>
                <a:gd name="T37" fmla="*/ 517 h 656"/>
                <a:gd name="T38" fmla="*/ 343 w 851"/>
                <a:gd name="T39" fmla="*/ 510 h 656"/>
                <a:gd name="T40" fmla="*/ 388 w 851"/>
                <a:gd name="T41" fmla="*/ 503 h 656"/>
                <a:gd name="T42" fmla="*/ 395 w 851"/>
                <a:gd name="T43" fmla="*/ 480 h 656"/>
                <a:gd name="T44" fmla="*/ 430 w 851"/>
                <a:gd name="T45" fmla="*/ 456 h 656"/>
                <a:gd name="T46" fmla="*/ 468 w 851"/>
                <a:gd name="T47" fmla="*/ 430 h 656"/>
                <a:gd name="T48" fmla="*/ 518 w 851"/>
                <a:gd name="T49" fmla="*/ 389 h 656"/>
                <a:gd name="T50" fmla="*/ 498 w 851"/>
                <a:gd name="T51" fmla="*/ 375 h 656"/>
                <a:gd name="T52" fmla="*/ 841 w 851"/>
                <a:gd name="T53" fmla="*/ 205 h 656"/>
                <a:gd name="T54" fmla="*/ 821 w 851"/>
                <a:gd name="T55" fmla="*/ 186 h 656"/>
                <a:gd name="T56" fmla="*/ 768 w 851"/>
                <a:gd name="T57" fmla="*/ 192 h 656"/>
                <a:gd name="T58" fmla="*/ 777 w 851"/>
                <a:gd name="T59" fmla="*/ 120 h 656"/>
                <a:gd name="T60" fmla="*/ 756 w 851"/>
                <a:gd name="T61" fmla="*/ 129 h 656"/>
                <a:gd name="T62" fmla="*/ 740 w 851"/>
                <a:gd name="T63" fmla="*/ 126 h 656"/>
                <a:gd name="T64" fmla="*/ 750 w 851"/>
                <a:gd name="T65" fmla="*/ 62 h 656"/>
                <a:gd name="T66" fmla="*/ 720 w 851"/>
                <a:gd name="T67" fmla="*/ 27 h 656"/>
                <a:gd name="T68" fmla="*/ 692 w 851"/>
                <a:gd name="T69" fmla="*/ 11 h 656"/>
                <a:gd name="T70" fmla="*/ 679 w 851"/>
                <a:gd name="T71" fmla="*/ 12 h 656"/>
                <a:gd name="T72" fmla="*/ 686 w 851"/>
                <a:gd name="T73" fmla="*/ 60 h 656"/>
                <a:gd name="T74" fmla="*/ 692 w 851"/>
                <a:gd name="T75" fmla="*/ 70 h 656"/>
                <a:gd name="T76" fmla="*/ 712 w 851"/>
                <a:gd name="T77" fmla="*/ 89 h 656"/>
                <a:gd name="T78" fmla="*/ 705 w 851"/>
                <a:gd name="T79" fmla="*/ 102 h 656"/>
                <a:gd name="T80" fmla="*/ 715 w 851"/>
                <a:gd name="T81" fmla="*/ 136 h 656"/>
                <a:gd name="T82" fmla="*/ 694 w 851"/>
                <a:gd name="T83" fmla="*/ 148 h 656"/>
                <a:gd name="T84" fmla="*/ 682 w 851"/>
                <a:gd name="T85" fmla="*/ 185 h 656"/>
                <a:gd name="T86" fmla="*/ 656 w 851"/>
                <a:gd name="T87" fmla="*/ 209 h 656"/>
                <a:gd name="T88" fmla="*/ 578 w 851"/>
                <a:gd name="T89" fmla="*/ 255 h 656"/>
                <a:gd name="T90" fmla="*/ 609 w 851"/>
                <a:gd name="T91" fmla="*/ 302 h 656"/>
                <a:gd name="T92" fmla="*/ 576 w 851"/>
                <a:gd name="T93" fmla="*/ 359 h 656"/>
                <a:gd name="T94" fmla="*/ 557 w 851"/>
                <a:gd name="T95" fmla="*/ 381 h 656"/>
                <a:gd name="T96" fmla="*/ 644 w 851"/>
                <a:gd name="T97" fmla="*/ 340 h 656"/>
                <a:gd name="T98" fmla="*/ 697 w 851"/>
                <a:gd name="T99" fmla="*/ 308 h 656"/>
                <a:gd name="T100" fmla="*/ 715 w 851"/>
                <a:gd name="T101" fmla="*/ 277 h 656"/>
                <a:gd name="T102" fmla="*/ 774 w 851"/>
                <a:gd name="T103" fmla="*/ 266 h 656"/>
                <a:gd name="T104" fmla="*/ 805 w 851"/>
                <a:gd name="T105" fmla="*/ 23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1" h="656">
                  <a:moveTo>
                    <a:pt x="498" y="375"/>
                  </a:moveTo>
                  <a:cubicBezTo>
                    <a:pt x="489" y="375"/>
                    <a:pt x="489" y="375"/>
                    <a:pt x="489" y="375"/>
                  </a:cubicBezTo>
                  <a:cubicBezTo>
                    <a:pt x="495" y="350"/>
                    <a:pt x="495" y="350"/>
                    <a:pt x="495" y="350"/>
                  </a:cubicBezTo>
                  <a:cubicBezTo>
                    <a:pt x="477" y="361"/>
                    <a:pt x="477" y="361"/>
                    <a:pt x="477" y="361"/>
                  </a:cubicBezTo>
                  <a:cubicBezTo>
                    <a:pt x="477" y="361"/>
                    <a:pt x="490" y="335"/>
                    <a:pt x="478" y="335"/>
                  </a:cubicBezTo>
                  <a:cubicBezTo>
                    <a:pt x="466" y="334"/>
                    <a:pt x="456" y="351"/>
                    <a:pt x="456" y="351"/>
                  </a:cubicBezTo>
                  <a:cubicBezTo>
                    <a:pt x="445" y="358"/>
                    <a:pt x="445" y="358"/>
                    <a:pt x="445" y="358"/>
                  </a:cubicBezTo>
                  <a:cubicBezTo>
                    <a:pt x="445" y="358"/>
                    <a:pt x="434" y="369"/>
                    <a:pt x="425" y="380"/>
                  </a:cubicBezTo>
                  <a:cubicBezTo>
                    <a:pt x="417" y="391"/>
                    <a:pt x="396" y="393"/>
                    <a:pt x="381" y="403"/>
                  </a:cubicBezTo>
                  <a:cubicBezTo>
                    <a:pt x="366" y="414"/>
                    <a:pt x="360" y="432"/>
                    <a:pt x="360" y="432"/>
                  </a:cubicBezTo>
                  <a:cubicBezTo>
                    <a:pt x="360" y="432"/>
                    <a:pt x="313" y="446"/>
                    <a:pt x="300" y="455"/>
                  </a:cubicBezTo>
                  <a:cubicBezTo>
                    <a:pt x="285" y="464"/>
                    <a:pt x="261" y="484"/>
                    <a:pt x="261" y="484"/>
                  </a:cubicBezTo>
                  <a:cubicBezTo>
                    <a:pt x="261" y="484"/>
                    <a:pt x="234" y="488"/>
                    <a:pt x="217" y="495"/>
                  </a:cubicBezTo>
                  <a:cubicBezTo>
                    <a:pt x="201" y="503"/>
                    <a:pt x="192" y="505"/>
                    <a:pt x="177" y="513"/>
                  </a:cubicBezTo>
                  <a:cubicBezTo>
                    <a:pt x="161" y="522"/>
                    <a:pt x="131" y="533"/>
                    <a:pt x="119" y="539"/>
                  </a:cubicBezTo>
                  <a:cubicBezTo>
                    <a:pt x="106" y="545"/>
                    <a:pt x="112" y="564"/>
                    <a:pt x="112" y="564"/>
                  </a:cubicBezTo>
                  <a:cubicBezTo>
                    <a:pt x="102" y="555"/>
                    <a:pt x="102" y="555"/>
                    <a:pt x="102" y="555"/>
                  </a:cubicBezTo>
                  <a:cubicBezTo>
                    <a:pt x="102" y="555"/>
                    <a:pt x="67" y="577"/>
                    <a:pt x="56" y="583"/>
                  </a:cubicBezTo>
                  <a:cubicBezTo>
                    <a:pt x="44" y="590"/>
                    <a:pt x="39" y="587"/>
                    <a:pt x="23" y="593"/>
                  </a:cubicBezTo>
                  <a:cubicBezTo>
                    <a:pt x="7" y="599"/>
                    <a:pt x="0" y="608"/>
                    <a:pt x="0" y="608"/>
                  </a:cubicBezTo>
                  <a:cubicBezTo>
                    <a:pt x="0" y="608"/>
                    <a:pt x="20" y="607"/>
                    <a:pt x="18" y="611"/>
                  </a:cubicBezTo>
                  <a:cubicBezTo>
                    <a:pt x="16" y="615"/>
                    <a:pt x="8" y="620"/>
                    <a:pt x="12" y="629"/>
                  </a:cubicBezTo>
                  <a:cubicBezTo>
                    <a:pt x="17" y="638"/>
                    <a:pt x="40" y="624"/>
                    <a:pt x="40" y="624"/>
                  </a:cubicBezTo>
                  <a:cubicBezTo>
                    <a:pt x="47" y="631"/>
                    <a:pt x="47" y="631"/>
                    <a:pt x="47" y="631"/>
                  </a:cubicBezTo>
                  <a:cubicBezTo>
                    <a:pt x="63" y="631"/>
                    <a:pt x="63" y="631"/>
                    <a:pt x="63" y="631"/>
                  </a:cubicBezTo>
                  <a:cubicBezTo>
                    <a:pt x="65" y="637"/>
                    <a:pt x="65" y="637"/>
                    <a:pt x="65" y="637"/>
                  </a:cubicBezTo>
                  <a:cubicBezTo>
                    <a:pt x="87" y="634"/>
                    <a:pt x="87" y="634"/>
                    <a:pt x="87" y="634"/>
                  </a:cubicBezTo>
                  <a:cubicBezTo>
                    <a:pt x="96" y="648"/>
                    <a:pt x="96" y="648"/>
                    <a:pt x="96" y="648"/>
                  </a:cubicBezTo>
                  <a:cubicBezTo>
                    <a:pt x="118" y="645"/>
                    <a:pt x="118" y="645"/>
                    <a:pt x="118" y="645"/>
                  </a:cubicBezTo>
                  <a:cubicBezTo>
                    <a:pt x="118" y="645"/>
                    <a:pt x="136" y="656"/>
                    <a:pt x="152" y="653"/>
                  </a:cubicBezTo>
                  <a:cubicBezTo>
                    <a:pt x="167" y="650"/>
                    <a:pt x="172" y="634"/>
                    <a:pt x="182" y="627"/>
                  </a:cubicBezTo>
                  <a:cubicBezTo>
                    <a:pt x="192" y="620"/>
                    <a:pt x="200" y="630"/>
                    <a:pt x="215" y="620"/>
                  </a:cubicBezTo>
                  <a:cubicBezTo>
                    <a:pt x="230" y="610"/>
                    <a:pt x="220" y="597"/>
                    <a:pt x="232" y="586"/>
                  </a:cubicBezTo>
                  <a:cubicBezTo>
                    <a:pt x="243" y="574"/>
                    <a:pt x="257" y="582"/>
                    <a:pt x="265" y="574"/>
                  </a:cubicBezTo>
                  <a:cubicBezTo>
                    <a:pt x="273" y="567"/>
                    <a:pt x="265" y="558"/>
                    <a:pt x="265" y="558"/>
                  </a:cubicBezTo>
                  <a:cubicBezTo>
                    <a:pt x="279" y="557"/>
                    <a:pt x="279" y="557"/>
                    <a:pt x="279" y="557"/>
                  </a:cubicBezTo>
                  <a:cubicBezTo>
                    <a:pt x="318" y="527"/>
                    <a:pt x="318" y="527"/>
                    <a:pt x="318" y="527"/>
                  </a:cubicBezTo>
                  <a:cubicBezTo>
                    <a:pt x="306" y="517"/>
                    <a:pt x="306" y="517"/>
                    <a:pt x="306" y="517"/>
                  </a:cubicBezTo>
                  <a:cubicBezTo>
                    <a:pt x="333" y="527"/>
                    <a:pt x="333" y="527"/>
                    <a:pt x="333" y="527"/>
                  </a:cubicBezTo>
                  <a:cubicBezTo>
                    <a:pt x="333" y="527"/>
                    <a:pt x="334" y="511"/>
                    <a:pt x="343" y="510"/>
                  </a:cubicBezTo>
                  <a:cubicBezTo>
                    <a:pt x="352" y="509"/>
                    <a:pt x="360" y="517"/>
                    <a:pt x="372" y="520"/>
                  </a:cubicBezTo>
                  <a:cubicBezTo>
                    <a:pt x="383" y="522"/>
                    <a:pt x="388" y="503"/>
                    <a:pt x="388" y="503"/>
                  </a:cubicBezTo>
                  <a:cubicBezTo>
                    <a:pt x="378" y="495"/>
                    <a:pt x="378" y="495"/>
                    <a:pt x="378" y="495"/>
                  </a:cubicBezTo>
                  <a:cubicBezTo>
                    <a:pt x="395" y="480"/>
                    <a:pt x="395" y="480"/>
                    <a:pt x="395" y="480"/>
                  </a:cubicBezTo>
                  <a:cubicBezTo>
                    <a:pt x="407" y="466"/>
                    <a:pt x="407" y="466"/>
                    <a:pt x="407" y="466"/>
                  </a:cubicBezTo>
                  <a:cubicBezTo>
                    <a:pt x="407" y="466"/>
                    <a:pt x="418" y="459"/>
                    <a:pt x="430" y="456"/>
                  </a:cubicBezTo>
                  <a:cubicBezTo>
                    <a:pt x="442" y="453"/>
                    <a:pt x="447" y="436"/>
                    <a:pt x="447" y="436"/>
                  </a:cubicBezTo>
                  <a:cubicBezTo>
                    <a:pt x="447" y="436"/>
                    <a:pt x="458" y="434"/>
                    <a:pt x="468" y="430"/>
                  </a:cubicBezTo>
                  <a:cubicBezTo>
                    <a:pt x="479" y="426"/>
                    <a:pt x="488" y="408"/>
                    <a:pt x="488" y="408"/>
                  </a:cubicBezTo>
                  <a:cubicBezTo>
                    <a:pt x="488" y="408"/>
                    <a:pt x="508" y="401"/>
                    <a:pt x="518" y="389"/>
                  </a:cubicBezTo>
                  <a:cubicBezTo>
                    <a:pt x="529" y="376"/>
                    <a:pt x="516" y="353"/>
                    <a:pt x="516" y="353"/>
                  </a:cubicBezTo>
                  <a:lnTo>
                    <a:pt x="498" y="375"/>
                  </a:lnTo>
                  <a:close/>
                  <a:moveTo>
                    <a:pt x="815" y="215"/>
                  </a:moveTo>
                  <a:cubicBezTo>
                    <a:pt x="823" y="210"/>
                    <a:pt x="831" y="213"/>
                    <a:pt x="841" y="205"/>
                  </a:cubicBezTo>
                  <a:cubicBezTo>
                    <a:pt x="851" y="197"/>
                    <a:pt x="847" y="183"/>
                    <a:pt x="839" y="176"/>
                  </a:cubicBezTo>
                  <a:cubicBezTo>
                    <a:pt x="831" y="168"/>
                    <a:pt x="821" y="186"/>
                    <a:pt x="821" y="186"/>
                  </a:cubicBezTo>
                  <a:cubicBezTo>
                    <a:pt x="821" y="186"/>
                    <a:pt x="815" y="186"/>
                    <a:pt x="806" y="184"/>
                  </a:cubicBezTo>
                  <a:cubicBezTo>
                    <a:pt x="798" y="181"/>
                    <a:pt x="780" y="195"/>
                    <a:pt x="768" y="192"/>
                  </a:cubicBezTo>
                  <a:cubicBezTo>
                    <a:pt x="756" y="189"/>
                    <a:pt x="761" y="145"/>
                    <a:pt x="761" y="145"/>
                  </a:cubicBezTo>
                  <a:cubicBezTo>
                    <a:pt x="777" y="120"/>
                    <a:pt x="777" y="120"/>
                    <a:pt x="777" y="120"/>
                  </a:cubicBezTo>
                  <a:cubicBezTo>
                    <a:pt x="777" y="120"/>
                    <a:pt x="777" y="102"/>
                    <a:pt x="767" y="103"/>
                  </a:cubicBezTo>
                  <a:cubicBezTo>
                    <a:pt x="756" y="103"/>
                    <a:pt x="756" y="119"/>
                    <a:pt x="756" y="129"/>
                  </a:cubicBezTo>
                  <a:cubicBezTo>
                    <a:pt x="755" y="138"/>
                    <a:pt x="743" y="146"/>
                    <a:pt x="743" y="146"/>
                  </a:cubicBezTo>
                  <a:cubicBezTo>
                    <a:pt x="740" y="126"/>
                    <a:pt x="740" y="126"/>
                    <a:pt x="740" y="126"/>
                  </a:cubicBezTo>
                  <a:cubicBezTo>
                    <a:pt x="726" y="113"/>
                    <a:pt x="726" y="113"/>
                    <a:pt x="726" y="113"/>
                  </a:cubicBezTo>
                  <a:cubicBezTo>
                    <a:pt x="726" y="113"/>
                    <a:pt x="750" y="82"/>
                    <a:pt x="750" y="62"/>
                  </a:cubicBezTo>
                  <a:cubicBezTo>
                    <a:pt x="751" y="42"/>
                    <a:pt x="717" y="41"/>
                    <a:pt x="717" y="41"/>
                  </a:cubicBezTo>
                  <a:cubicBezTo>
                    <a:pt x="720" y="27"/>
                    <a:pt x="720" y="27"/>
                    <a:pt x="720" y="27"/>
                  </a:cubicBezTo>
                  <a:cubicBezTo>
                    <a:pt x="707" y="25"/>
                    <a:pt x="707" y="25"/>
                    <a:pt x="707" y="25"/>
                  </a:cubicBezTo>
                  <a:cubicBezTo>
                    <a:pt x="692" y="11"/>
                    <a:pt x="692" y="11"/>
                    <a:pt x="692" y="11"/>
                  </a:cubicBezTo>
                  <a:cubicBezTo>
                    <a:pt x="699" y="0"/>
                    <a:pt x="699" y="0"/>
                    <a:pt x="699" y="0"/>
                  </a:cubicBezTo>
                  <a:cubicBezTo>
                    <a:pt x="679" y="12"/>
                    <a:pt x="679" y="12"/>
                    <a:pt x="679" y="12"/>
                  </a:cubicBezTo>
                  <a:cubicBezTo>
                    <a:pt x="692" y="35"/>
                    <a:pt x="692" y="35"/>
                    <a:pt x="692" y="35"/>
                  </a:cubicBezTo>
                  <a:cubicBezTo>
                    <a:pt x="686" y="60"/>
                    <a:pt x="686" y="60"/>
                    <a:pt x="686" y="60"/>
                  </a:cubicBezTo>
                  <a:cubicBezTo>
                    <a:pt x="701" y="66"/>
                    <a:pt x="701" y="66"/>
                    <a:pt x="701" y="66"/>
                  </a:cubicBezTo>
                  <a:cubicBezTo>
                    <a:pt x="692" y="70"/>
                    <a:pt x="692" y="70"/>
                    <a:pt x="692" y="70"/>
                  </a:cubicBezTo>
                  <a:cubicBezTo>
                    <a:pt x="696" y="84"/>
                    <a:pt x="696" y="84"/>
                    <a:pt x="696" y="84"/>
                  </a:cubicBezTo>
                  <a:cubicBezTo>
                    <a:pt x="712" y="89"/>
                    <a:pt x="712" y="89"/>
                    <a:pt x="712" y="89"/>
                  </a:cubicBezTo>
                  <a:cubicBezTo>
                    <a:pt x="696" y="97"/>
                    <a:pt x="696" y="97"/>
                    <a:pt x="696" y="97"/>
                  </a:cubicBezTo>
                  <a:cubicBezTo>
                    <a:pt x="705" y="102"/>
                    <a:pt x="705" y="102"/>
                    <a:pt x="705" y="102"/>
                  </a:cubicBezTo>
                  <a:cubicBezTo>
                    <a:pt x="705" y="102"/>
                    <a:pt x="702" y="116"/>
                    <a:pt x="702" y="122"/>
                  </a:cubicBezTo>
                  <a:cubicBezTo>
                    <a:pt x="702" y="129"/>
                    <a:pt x="715" y="136"/>
                    <a:pt x="715" y="136"/>
                  </a:cubicBezTo>
                  <a:cubicBezTo>
                    <a:pt x="702" y="138"/>
                    <a:pt x="702" y="138"/>
                    <a:pt x="702" y="138"/>
                  </a:cubicBezTo>
                  <a:cubicBezTo>
                    <a:pt x="694" y="148"/>
                    <a:pt x="694" y="148"/>
                    <a:pt x="694" y="148"/>
                  </a:cubicBezTo>
                  <a:cubicBezTo>
                    <a:pt x="705" y="154"/>
                    <a:pt x="705" y="154"/>
                    <a:pt x="705" y="154"/>
                  </a:cubicBezTo>
                  <a:cubicBezTo>
                    <a:pt x="705" y="154"/>
                    <a:pt x="684" y="174"/>
                    <a:pt x="682" y="185"/>
                  </a:cubicBezTo>
                  <a:cubicBezTo>
                    <a:pt x="681" y="196"/>
                    <a:pt x="691" y="199"/>
                    <a:pt x="691" y="199"/>
                  </a:cubicBezTo>
                  <a:cubicBezTo>
                    <a:pt x="691" y="199"/>
                    <a:pt x="669" y="203"/>
                    <a:pt x="656" y="209"/>
                  </a:cubicBezTo>
                  <a:cubicBezTo>
                    <a:pt x="643" y="214"/>
                    <a:pt x="646" y="217"/>
                    <a:pt x="630" y="229"/>
                  </a:cubicBezTo>
                  <a:cubicBezTo>
                    <a:pt x="613" y="242"/>
                    <a:pt x="599" y="243"/>
                    <a:pt x="578" y="255"/>
                  </a:cubicBezTo>
                  <a:cubicBezTo>
                    <a:pt x="557" y="268"/>
                    <a:pt x="576" y="302"/>
                    <a:pt x="576" y="302"/>
                  </a:cubicBezTo>
                  <a:cubicBezTo>
                    <a:pt x="576" y="302"/>
                    <a:pt x="599" y="300"/>
                    <a:pt x="609" y="302"/>
                  </a:cubicBezTo>
                  <a:cubicBezTo>
                    <a:pt x="619" y="304"/>
                    <a:pt x="609" y="323"/>
                    <a:pt x="609" y="338"/>
                  </a:cubicBezTo>
                  <a:cubicBezTo>
                    <a:pt x="610" y="354"/>
                    <a:pt x="593" y="353"/>
                    <a:pt x="576" y="359"/>
                  </a:cubicBezTo>
                  <a:cubicBezTo>
                    <a:pt x="559" y="365"/>
                    <a:pt x="567" y="370"/>
                    <a:pt x="567" y="370"/>
                  </a:cubicBezTo>
                  <a:cubicBezTo>
                    <a:pt x="557" y="381"/>
                    <a:pt x="557" y="381"/>
                    <a:pt x="557" y="381"/>
                  </a:cubicBezTo>
                  <a:cubicBezTo>
                    <a:pt x="557" y="381"/>
                    <a:pt x="575" y="394"/>
                    <a:pt x="589" y="390"/>
                  </a:cubicBezTo>
                  <a:cubicBezTo>
                    <a:pt x="602" y="385"/>
                    <a:pt x="633" y="351"/>
                    <a:pt x="644" y="340"/>
                  </a:cubicBezTo>
                  <a:cubicBezTo>
                    <a:pt x="655" y="329"/>
                    <a:pt x="682" y="321"/>
                    <a:pt x="687" y="321"/>
                  </a:cubicBezTo>
                  <a:cubicBezTo>
                    <a:pt x="692" y="320"/>
                    <a:pt x="697" y="308"/>
                    <a:pt x="697" y="308"/>
                  </a:cubicBezTo>
                  <a:cubicBezTo>
                    <a:pt x="697" y="308"/>
                    <a:pt x="704" y="305"/>
                    <a:pt x="715" y="301"/>
                  </a:cubicBezTo>
                  <a:cubicBezTo>
                    <a:pt x="726" y="296"/>
                    <a:pt x="715" y="277"/>
                    <a:pt x="715" y="277"/>
                  </a:cubicBezTo>
                  <a:cubicBezTo>
                    <a:pt x="715" y="277"/>
                    <a:pt x="725" y="269"/>
                    <a:pt x="738" y="263"/>
                  </a:cubicBezTo>
                  <a:cubicBezTo>
                    <a:pt x="752" y="257"/>
                    <a:pt x="762" y="269"/>
                    <a:pt x="774" y="266"/>
                  </a:cubicBezTo>
                  <a:cubicBezTo>
                    <a:pt x="786" y="264"/>
                    <a:pt x="782" y="240"/>
                    <a:pt x="782" y="240"/>
                  </a:cubicBezTo>
                  <a:cubicBezTo>
                    <a:pt x="782" y="240"/>
                    <a:pt x="793" y="237"/>
                    <a:pt x="805" y="236"/>
                  </a:cubicBezTo>
                  <a:cubicBezTo>
                    <a:pt x="816" y="235"/>
                    <a:pt x="808" y="221"/>
                    <a:pt x="815" y="215"/>
                  </a:cubicBezTo>
                  <a:close/>
                </a:path>
              </a:pathLst>
            </a:custGeom>
            <a:solidFill>
              <a:schemeClr val="bg1">
                <a:lumMod val="85000"/>
              </a:schemeClr>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46" name="Australia">
              <a:extLst>
                <a:ext uri="{FF2B5EF4-FFF2-40B4-BE49-F238E27FC236}">
                  <a16:creationId xmlns:a16="http://schemas.microsoft.com/office/drawing/2014/main" id="{7F037238-65A4-4618-8EA8-C632E29C5228}"/>
                </a:ext>
              </a:extLst>
            </p:cNvPr>
            <p:cNvSpPr>
              <a:spLocks noEditPoints="1"/>
            </p:cNvSpPr>
            <p:nvPr/>
          </p:nvSpPr>
          <p:spPr bwMode="gray">
            <a:xfrm>
              <a:off x="9387433" y="4816307"/>
              <a:ext cx="1366460" cy="1277649"/>
            </a:xfrm>
            <a:custGeom>
              <a:avLst/>
              <a:gdLst>
                <a:gd name="T0" fmla="*/ 971 w 1898"/>
                <a:gd name="T1" fmla="*/ 1367 h 1774"/>
                <a:gd name="T2" fmla="*/ 1008 w 1898"/>
                <a:gd name="T3" fmla="*/ 1349 h 1774"/>
                <a:gd name="T4" fmla="*/ 1830 w 1898"/>
                <a:gd name="T5" fmla="*/ 698 h 1774"/>
                <a:gd name="T6" fmla="*/ 1797 w 1898"/>
                <a:gd name="T7" fmla="*/ 622 h 1774"/>
                <a:gd name="T8" fmla="*/ 1707 w 1898"/>
                <a:gd name="T9" fmla="*/ 471 h 1774"/>
                <a:gd name="T10" fmla="*/ 1649 w 1898"/>
                <a:gd name="T11" fmla="*/ 192 h 1774"/>
                <a:gd name="T12" fmla="*/ 1596 w 1898"/>
                <a:gd name="T13" fmla="*/ 64 h 1774"/>
                <a:gd name="T14" fmla="*/ 1541 w 1898"/>
                <a:gd name="T15" fmla="*/ 18 h 1774"/>
                <a:gd name="T16" fmla="*/ 1494 w 1898"/>
                <a:gd name="T17" fmla="*/ 189 h 1774"/>
                <a:gd name="T18" fmla="*/ 1283 w 1898"/>
                <a:gd name="T19" fmla="*/ 306 h 1774"/>
                <a:gd name="T20" fmla="*/ 1239 w 1898"/>
                <a:gd name="T21" fmla="*/ 181 h 1774"/>
                <a:gd name="T22" fmla="*/ 1269 w 1898"/>
                <a:gd name="T23" fmla="*/ 69 h 1774"/>
                <a:gd name="T24" fmla="*/ 1170 w 1898"/>
                <a:gd name="T25" fmla="*/ 75 h 1774"/>
                <a:gd name="T26" fmla="*/ 1050 w 1898"/>
                <a:gd name="T27" fmla="*/ 42 h 1774"/>
                <a:gd name="T28" fmla="*/ 1012 w 1898"/>
                <a:gd name="T29" fmla="*/ 86 h 1774"/>
                <a:gd name="T30" fmla="*/ 910 w 1898"/>
                <a:gd name="T31" fmla="*/ 212 h 1774"/>
                <a:gd name="T32" fmla="*/ 872 w 1898"/>
                <a:gd name="T33" fmla="*/ 235 h 1774"/>
                <a:gd name="T34" fmla="*/ 848 w 1898"/>
                <a:gd name="T35" fmla="*/ 215 h 1774"/>
                <a:gd name="T36" fmla="*/ 788 w 1898"/>
                <a:gd name="T37" fmla="*/ 185 h 1774"/>
                <a:gd name="T38" fmla="*/ 731 w 1898"/>
                <a:gd name="T39" fmla="*/ 238 h 1774"/>
                <a:gd name="T40" fmla="*/ 676 w 1898"/>
                <a:gd name="T41" fmla="*/ 279 h 1774"/>
                <a:gd name="T42" fmla="*/ 614 w 1898"/>
                <a:gd name="T43" fmla="*/ 310 h 1774"/>
                <a:gd name="T44" fmla="*/ 606 w 1898"/>
                <a:gd name="T45" fmla="*/ 348 h 1774"/>
                <a:gd name="T46" fmla="*/ 531 w 1898"/>
                <a:gd name="T47" fmla="*/ 409 h 1774"/>
                <a:gd name="T48" fmla="*/ 359 w 1898"/>
                <a:gd name="T49" fmla="*/ 505 h 1774"/>
                <a:gd name="T50" fmla="*/ 218 w 1898"/>
                <a:gd name="T51" fmla="*/ 554 h 1774"/>
                <a:gd name="T52" fmla="*/ 83 w 1898"/>
                <a:gd name="T53" fmla="*/ 649 h 1774"/>
                <a:gd name="T54" fmla="*/ 48 w 1898"/>
                <a:gd name="T55" fmla="*/ 813 h 1774"/>
                <a:gd name="T56" fmla="*/ 35 w 1898"/>
                <a:gd name="T57" fmla="*/ 937 h 1774"/>
                <a:gd name="T58" fmla="*/ 87 w 1898"/>
                <a:gd name="T59" fmla="*/ 1141 h 1774"/>
                <a:gd name="T60" fmla="*/ 56 w 1898"/>
                <a:gd name="T61" fmla="*/ 1305 h 1774"/>
                <a:gd name="T62" fmla="*/ 186 w 1898"/>
                <a:gd name="T63" fmla="*/ 1285 h 1774"/>
                <a:gd name="T64" fmla="*/ 384 w 1898"/>
                <a:gd name="T65" fmla="*/ 1244 h 1774"/>
                <a:gd name="T66" fmla="*/ 594 w 1898"/>
                <a:gd name="T67" fmla="*/ 1153 h 1774"/>
                <a:gd name="T68" fmla="*/ 896 w 1898"/>
                <a:gd name="T69" fmla="*/ 1136 h 1774"/>
                <a:gd name="T70" fmla="*/ 932 w 1898"/>
                <a:gd name="T71" fmla="*/ 1225 h 1774"/>
                <a:gd name="T72" fmla="*/ 962 w 1898"/>
                <a:gd name="T73" fmla="*/ 1304 h 1774"/>
                <a:gd name="T74" fmla="*/ 1060 w 1898"/>
                <a:gd name="T75" fmla="*/ 1224 h 1774"/>
                <a:gd name="T76" fmla="*/ 1083 w 1898"/>
                <a:gd name="T77" fmla="*/ 1210 h 1774"/>
                <a:gd name="T78" fmla="*/ 1011 w 1898"/>
                <a:gd name="T79" fmla="*/ 1319 h 1774"/>
                <a:gd name="T80" fmla="*/ 1072 w 1898"/>
                <a:gd name="T81" fmla="*/ 1339 h 1774"/>
                <a:gd name="T82" fmla="*/ 1118 w 1898"/>
                <a:gd name="T83" fmla="*/ 1477 h 1774"/>
                <a:gd name="T84" fmla="*/ 1319 w 1898"/>
                <a:gd name="T85" fmla="*/ 1502 h 1774"/>
                <a:gd name="T86" fmla="*/ 1360 w 1898"/>
                <a:gd name="T87" fmla="*/ 1532 h 1774"/>
                <a:gd name="T88" fmla="*/ 1533 w 1898"/>
                <a:gd name="T89" fmla="*/ 1461 h 1774"/>
                <a:gd name="T90" fmla="*/ 1641 w 1898"/>
                <a:gd name="T91" fmla="*/ 1275 h 1774"/>
                <a:gd name="T92" fmla="*/ 1874 w 1898"/>
                <a:gd name="T93" fmla="*/ 952 h 1774"/>
                <a:gd name="T94" fmla="*/ 1364 w 1898"/>
                <a:gd name="T95" fmla="*/ 1612 h 1774"/>
                <a:gd name="T96" fmla="*/ 1274 w 1898"/>
                <a:gd name="T97" fmla="*/ 1651 h 1774"/>
                <a:gd name="T98" fmla="*/ 1184 w 1898"/>
                <a:gd name="T99" fmla="*/ 1616 h 1774"/>
                <a:gd name="T100" fmla="*/ 1155 w 1898"/>
                <a:gd name="T101" fmla="*/ 1713 h 1774"/>
                <a:gd name="T102" fmla="*/ 1214 w 1898"/>
                <a:gd name="T103" fmla="*/ 1769 h 1774"/>
                <a:gd name="T104" fmla="*/ 1282 w 1898"/>
                <a:gd name="T105" fmla="*/ 1706 h 1774"/>
                <a:gd name="T106" fmla="*/ 1290 w 1898"/>
                <a:gd name="T107" fmla="*/ 195 h 1774"/>
                <a:gd name="T108" fmla="*/ 1209 w 1898"/>
                <a:gd name="T109" fmla="*/ 1549 h 1774"/>
                <a:gd name="T110" fmla="*/ 1357 w 1898"/>
                <a:gd name="T111" fmla="*/ 1597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98" h="1774">
                  <a:moveTo>
                    <a:pt x="1024" y="43"/>
                  </a:moveTo>
                  <a:cubicBezTo>
                    <a:pt x="1014" y="29"/>
                    <a:pt x="990" y="54"/>
                    <a:pt x="999" y="65"/>
                  </a:cubicBezTo>
                  <a:cubicBezTo>
                    <a:pt x="1008" y="75"/>
                    <a:pt x="1024" y="43"/>
                    <a:pt x="1024" y="43"/>
                  </a:cubicBezTo>
                  <a:close/>
                  <a:moveTo>
                    <a:pt x="986" y="1341"/>
                  </a:moveTo>
                  <a:cubicBezTo>
                    <a:pt x="972" y="1343"/>
                    <a:pt x="954" y="1348"/>
                    <a:pt x="961" y="1354"/>
                  </a:cubicBezTo>
                  <a:cubicBezTo>
                    <a:pt x="968" y="1360"/>
                    <a:pt x="971" y="1367"/>
                    <a:pt x="971" y="1367"/>
                  </a:cubicBezTo>
                  <a:cubicBezTo>
                    <a:pt x="985" y="1367"/>
                    <a:pt x="999" y="1359"/>
                    <a:pt x="999" y="1359"/>
                  </a:cubicBezTo>
                  <a:cubicBezTo>
                    <a:pt x="1007" y="1359"/>
                    <a:pt x="1007" y="1359"/>
                    <a:pt x="1007" y="1359"/>
                  </a:cubicBezTo>
                  <a:cubicBezTo>
                    <a:pt x="1011" y="1356"/>
                    <a:pt x="1011" y="1356"/>
                    <a:pt x="1011" y="1356"/>
                  </a:cubicBezTo>
                  <a:cubicBezTo>
                    <a:pt x="1022" y="1356"/>
                    <a:pt x="1022" y="1356"/>
                    <a:pt x="1022" y="1356"/>
                  </a:cubicBezTo>
                  <a:cubicBezTo>
                    <a:pt x="1026" y="1351"/>
                    <a:pt x="1026" y="1351"/>
                    <a:pt x="1026" y="1351"/>
                  </a:cubicBezTo>
                  <a:cubicBezTo>
                    <a:pt x="1008" y="1349"/>
                    <a:pt x="1008" y="1349"/>
                    <a:pt x="1008" y="1349"/>
                  </a:cubicBezTo>
                  <a:cubicBezTo>
                    <a:pt x="1008" y="1349"/>
                    <a:pt x="1000" y="1340"/>
                    <a:pt x="986" y="1341"/>
                  </a:cubicBezTo>
                  <a:close/>
                  <a:moveTo>
                    <a:pt x="1869" y="774"/>
                  </a:moveTo>
                  <a:cubicBezTo>
                    <a:pt x="1869" y="774"/>
                    <a:pt x="1866" y="733"/>
                    <a:pt x="1865" y="727"/>
                  </a:cubicBezTo>
                  <a:cubicBezTo>
                    <a:pt x="1863" y="721"/>
                    <a:pt x="1843" y="720"/>
                    <a:pt x="1843" y="720"/>
                  </a:cubicBezTo>
                  <a:cubicBezTo>
                    <a:pt x="1843" y="706"/>
                    <a:pt x="1843" y="706"/>
                    <a:pt x="1843" y="706"/>
                  </a:cubicBezTo>
                  <a:cubicBezTo>
                    <a:pt x="1830" y="698"/>
                    <a:pt x="1830" y="698"/>
                    <a:pt x="1830" y="698"/>
                  </a:cubicBezTo>
                  <a:cubicBezTo>
                    <a:pt x="1830" y="698"/>
                    <a:pt x="1835" y="681"/>
                    <a:pt x="1830" y="674"/>
                  </a:cubicBezTo>
                  <a:cubicBezTo>
                    <a:pt x="1825" y="667"/>
                    <a:pt x="1805" y="660"/>
                    <a:pt x="1805" y="660"/>
                  </a:cubicBezTo>
                  <a:cubicBezTo>
                    <a:pt x="1805" y="660"/>
                    <a:pt x="1840" y="654"/>
                    <a:pt x="1842" y="641"/>
                  </a:cubicBezTo>
                  <a:cubicBezTo>
                    <a:pt x="1844" y="627"/>
                    <a:pt x="1822" y="623"/>
                    <a:pt x="1822" y="623"/>
                  </a:cubicBezTo>
                  <a:cubicBezTo>
                    <a:pt x="1822" y="623"/>
                    <a:pt x="1815" y="602"/>
                    <a:pt x="1804" y="603"/>
                  </a:cubicBezTo>
                  <a:cubicBezTo>
                    <a:pt x="1792" y="604"/>
                    <a:pt x="1797" y="622"/>
                    <a:pt x="1797" y="622"/>
                  </a:cubicBezTo>
                  <a:cubicBezTo>
                    <a:pt x="1783" y="619"/>
                    <a:pt x="1783" y="619"/>
                    <a:pt x="1783" y="619"/>
                  </a:cubicBezTo>
                  <a:cubicBezTo>
                    <a:pt x="1783" y="619"/>
                    <a:pt x="1796" y="578"/>
                    <a:pt x="1796" y="568"/>
                  </a:cubicBezTo>
                  <a:cubicBezTo>
                    <a:pt x="1795" y="559"/>
                    <a:pt x="1775" y="557"/>
                    <a:pt x="1771" y="547"/>
                  </a:cubicBezTo>
                  <a:cubicBezTo>
                    <a:pt x="1768" y="538"/>
                    <a:pt x="1781" y="521"/>
                    <a:pt x="1777" y="507"/>
                  </a:cubicBezTo>
                  <a:cubicBezTo>
                    <a:pt x="1773" y="494"/>
                    <a:pt x="1713" y="465"/>
                    <a:pt x="1713" y="465"/>
                  </a:cubicBezTo>
                  <a:cubicBezTo>
                    <a:pt x="1707" y="471"/>
                    <a:pt x="1707" y="471"/>
                    <a:pt x="1707" y="471"/>
                  </a:cubicBezTo>
                  <a:cubicBezTo>
                    <a:pt x="1707" y="471"/>
                    <a:pt x="1679" y="439"/>
                    <a:pt x="1677" y="417"/>
                  </a:cubicBezTo>
                  <a:cubicBezTo>
                    <a:pt x="1676" y="394"/>
                    <a:pt x="1685" y="381"/>
                    <a:pt x="1685" y="361"/>
                  </a:cubicBezTo>
                  <a:cubicBezTo>
                    <a:pt x="1685" y="341"/>
                    <a:pt x="1666" y="298"/>
                    <a:pt x="1662" y="282"/>
                  </a:cubicBezTo>
                  <a:cubicBezTo>
                    <a:pt x="1658" y="266"/>
                    <a:pt x="1669" y="256"/>
                    <a:pt x="1671" y="247"/>
                  </a:cubicBezTo>
                  <a:cubicBezTo>
                    <a:pt x="1673" y="238"/>
                    <a:pt x="1666" y="200"/>
                    <a:pt x="1666" y="200"/>
                  </a:cubicBezTo>
                  <a:cubicBezTo>
                    <a:pt x="1649" y="192"/>
                    <a:pt x="1649" y="192"/>
                    <a:pt x="1649" y="192"/>
                  </a:cubicBezTo>
                  <a:cubicBezTo>
                    <a:pt x="1649" y="192"/>
                    <a:pt x="1635" y="177"/>
                    <a:pt x="1625" y="177"/>
                  </a:cubicBezTo>
                  <a:cubicBezTo>
                    <a:pt x="1615" y="176"/>
                    <a:pt x="1609" y="191"/>
                    <a:pt x="1609" y="191"/>
                  </a:cubicBezTo>
                  <a:cubicBezTo>
                    <a:pt x="1609" y="191"/>
                    <a:pt x="1602" y="176"/>
                    <a:pt x="1601" y="167"/>
                  </a:cubicBezTo>
                  <a:cubicBezTo>
                    <a:pt x="1600" y="159"/>
                    <a:pt x="1607" y="135"/>
                    <a:pt x="1607" y="135"/>
                  </a:cubicBezTo>
                  <a:cubicBezTo>
                    <a:pt x="1596" y="120"/>
                    <a:pt x="1596" y="120"/>
                    <a:pt x="1596" y="120"/>
                  </a:cubicBezTo>
                  <a:cubicBezTo>
                    <a:pt x="1596" y="64"/>
                    <a:pt x="1596" y="64"/>
                    <a:pt x="1596" y="64"/>
                  </a:cubicBezTo>
                  <a:cubicBezTo>
                    <a:pt x="1596" y="64"/>
                    <a:pt x="1575" y="50"/>
                    <a:pt x="1578" y="41"/>
                  </a:cubicBezTo>
                  <a:cubicBezTo>
                    <a:pt x="1582" y="32"/>
                    <a:pt x="1586" y="20"/>
                    <a:pt x="1581" y="15"/>
                  </a:cubicBezTo>
                  <a:cubicBezTo>
                    <a:pt x="1576" y="11"/>
                    <a:pt x="1564" y="9"/>
                    <a:pt x="1564" y="9"/>
                  </a:cubicBezTo>
                  <a:cubicBezTo>
                    <a:pt x="1565" y="0"/>
                    <a:pt x="1565" y="0"/>
                    <a:pt x="1565" y="0"/>
                  </a:cubicBezTo>
                  <a:cubicBezTo>
                    <a:pt x="1545" y="5"/>
                    <a:pt x="1545" y="5"/>
                    <a:pt x="1545" y="5"/>
                  </a:cubicBezTo>
                  <a:cubicBezTo>
                    <a:pt x="1541" y="18"/>
                    <a:pt x="1541" y="18"/>
                    <a:pt x="1541" y="18"/>
                  </a:cubicBezTo>
                  <a:cubicBezTo>
                    <a:pt x="1541" y="18"/>
                    <a:pt x="1529" y="26"/>
                    <a:pt x="1523" y="30"/>
                  </a:cubicBezTo>
                  <a:cubicBezTo>
                    <a:pt x="1518" y="34"/>
                    <a:pt x="1531" y="60"/>
                    <a:pt x="1531" y="70"/>
                  </a:cubicBezTo>
                  <a:cubicBezTo>
                    <a:pt x="1530" y="81"/>
                    <a:pt x="1496" y="118"/>
                    <a:pt x="1496" y="118"/>
                  </a:cubicBezTo>
                  <a:cubicBezTo>
                    <a:pt x="1507" y="127"/>
                    <a:pt x="1507" y="127"/>
                    <a:pt x="1507" y="127"/>
                  </a:cubicBezTo>
                  <a:cubicBezTo>
                    <a:pt x="1507" y="127"/>
                    <a:pt x="1492" y="147"/>
                    <a:pt x="1490" y="155"/>
                  </a:cubicBezTo>
                  <a:cubicBezTo>
                    <a:pt x="1488" y="163"/>
                    <a:pt x="1494" y="189"/>
                    <a:pt x="1494" y="189"/>
                  </a:cubicBezTo>
                  <a:cubicBezTo>
                    <a:pt x="1494" y="189"/>
                    <a:pt x="1473" y="273"/>
                    <a:pt x="1472" y="285"/>
                  </a:cubicBezTo>
                  <a:cubicBezTo>
                    <a:pt x="1471" y="296"/>
                    <a:pt x="1444" y="325"/>
                    <a:pt x="1444" y="325"/>
                  </a:cubicBezTo>
                  <a:cubicBezTo>
                    <a:pt x="1444" y="325"/>
                    <a:pt x="1445" y="358"/>
                    <a:pt x="1428" y="366"/>
                  </a:cubicBezTo>
                  <a:cubicBezTo>
                    <a:pt x="1411" y="373"/>
                    <a:pt x="1375" y="381"/>
                    <a:pt x="1375" y="381"/>
                  </a:cubicBezTo>
                  <a:cubicBezTo>
                    <a:pt x="1375" y="381"/>
                    <a:pt x="1354" y="347"/>
                    <a:pt x="1349" y="337"/>
                  </a:cubicBezTo>
                  <a:cubicBezTo>
                    <a:pt x="1344" y="328"/>
                    <a:pt x="1303" y="314"/>
                    <a:pt x="1283" y="306"/>
                  </a:cubicBezTo>
                  <a:cubicBezTo>
                    <a:pt x="1262" y="299"/>
                    <a:pt x="1249" y="266"/>
                    <a:pt x="1246" y="262"/>
                  </a:cubicBezTo>
                  <a:cubicBezTo>
                    <a:pt x="1243" y="259"/>
                    <a:pt x="1223" y="261"/>
                    <a:pt x="1223" y="261"/>
                  </a:cubicBezTo>
                  <a:cubicBezTo>
                    <a:pt x="1207" y="231"/>
                    <a:pt x="1207" y="231"/>
                    <a:pt x="1207" y="231"/>
                  </a:cubicBezTo>
                  <a:cubicBezTo>
                    <a:pt x="1220" y="217"/>
                    <a:pt x="1220" y="217"/>
                    <a:pt x="1220" y="217"/>
                  </a:cubicBezTo>
                  <a:cubicBezTo>
                    <a:pt x="1220" y="217"/>
                    <a:pt x="1213" y="206"/>
                    <a:pt x="1221" y="195"/>
                  </a:cubicBezTo>
                  <a:cubicBezTo>
                    <a:pt x="1229" y="184"/>
                    <a:pt x="1239" y="181"/>
                    <a:pt x="1239" y="181"/>
                  </a:cubicBezTo>
                  <a:cubicBezTo>
                    <a:pt x="1235" y="151"/>
                    <a:pt x="1235" y="151"/>
                    <a:pt x="1235" y="151"/>
                  </a:cubicBezTo>
                  <a:cubicBezTo>
                    <a:pt x="1248" y="139"/>
                    <a:pt x="1248" y="139"/>
                    <a:pt x="1248" y="139"/>
                  </a:cubicBezTo>
                  <a:cubicBezTo>
                    <a:pt x="1248" y="139"/>
                    <a:pt x="1262" y="146"/>
                    <a:pt x="1267" y="144"/>
                  </a:cubicBezTo>
                  <a:cubicBezTo>
                    <a:pt x="1273" y="142"/>
                    <a:pt x="1274" y="119"/>
                    <a:pt x="1274" y="119"/>
                  </a:cubicBezTo>
                  <a:cubicBezTo>
                    <a:pt x="1299" y="95"/>
                    <a:pt x="1299" y="95"/>
                    <a:pt x="1299" y="95"/>
                  </a:cubicBezTo>
                  <a:cubicBezTo>
                    <a:pt x="1299" y="95"/>
                    <a:pt x="1285" y="72"/>
                    <a:pt x="1269" y="69"/>
                  </a:cubicBezTo>
                  <a:cubicBezTo>
                    <a:pt x="1252" y="67"/>
                    <a:pt x="1231" y="92"/>
                    <a:pt x="1231" y="92"/>
                  </a:cubicBezTo>
                  <a:cubicBezTo>
                    <a:pt x="1229" y="78"/>
                    <a:pt x="1229" y="78"/>
                    <a:pt x="1229" y="78"/>
                  </a:cubicBezTo>
                  <a:cubicBezTo>
                    <a:pt x="1209" y="80"/>
                    <a:pt x="1209" y="80"/>
                    <a:pt x="1209" y="80"/>
                  </a:cubicBezTo>
                  <a:cubicBezTo>
                    <a:pt x="1200" y="89"/>
                    <a:pt x="1200" y="89"/>
                    <a:pt x="1200" y="89"/>
                  </a:cubicBezTo>
                  <a:cubicBezTo>
                    <a:pt x="1194" y="78"/>
                    <a:pt x="1194" y="78"/>
                    <a:pt x="1194" y="78"/>
                  </a:cubicBezTo>
                  <a:cubicBezTo>
                    <a:pt x="1170" y="75"/>
                    <a:pt x="1170" y="75"/>
                    <a:pt x="1170" y="75"/>
                  </a:cubicBezTo>
                  <a:cubicBezTo>
                    <a:pt x="1170" y="75"/>
                    <a:pt x="1144" y="56"/>
                    <a:pt x="1139" y="56"/>
                  </a:cubicBezTo>
                  <a:cubicBezTo>
                    <a:pt x="1135" y="57"/>
                    <a:pt x="1101" y="53"/>
                    <a:pt x="1101" y="53"/>
                  </a:cubicBezTo>
                  <a:cubicBezTo>
                    <a:pt x="1101" y="53"/>
                    <a:pt x="1093" y="31"/>
                    <a:pt x="1086" y="28"/>
                  </a:cubicBezTo>
                  <a:cubicBezTo>
                    <a:pt x="1080" y="24"/>
                    <a:pt x="1078" y="38"/>
                    <a:pt x="1078" y="38"/>
                  </a:cubicBezTo>
                  <a:cubicBezTo>
                    <a:pt x="1078" y="38"/>
                    <a:pt x="1053" y="25"/>
                    <a:pt x="1047" y="30"/>
                  </a:cubicBezTo>
                  <a:cubicBezTo>
                    <a:pt x="1041" y="34"/>
                    <a:pt x="1050" y="42"/>
                    <a:pt x="1050" y="42"/>
                  </a:cubicBezTo>
                  <a:cubicBezTo>
                    <a:pt x="1050" y="42"/>
                    <a:pt x="1037" y="41"/>
                    <a:pt x="1035" y="46"/>
                  </a:cubicBezTo>
                  <a:cubicBezTo>
                    <a:pt x="1032" y="52"/>
                    <a:pt x="1049" y="58"/>
                    <a:pt x="1060" y="61"/>
                  </a:cubicBezTo>
                  <a:cubicBezTo>
                    <a:pt x="1071" y="64"/>
                    <a:pt x="1077" y="56"/>
                    <a:pt x="1077" y="56"/>
                  </a:cubicBezTo>
                  <a:cubicBezTo>
                    <a:pt x="1099" y="65"/>
                    <a:pt x="1099" y="65"/>
                    <a:pt x="1099" y="65"/>
                  </a:cubicBezTo>
                  <a:cubicBezTo>
                    <a:pt x="1099" y="65"/>
                    <a:pt x="1077" y="78"/>
                    <a:pt x="1065" y="83"/>
                  </a:cubicBezTo>
                  <a:cubicBezTo>
                    <a:pt x="1054" y="88"/>
                    <a:pt x="1020" y="84"/>
                    <a:pt x="1012" y="86"/>
                  </a:cubicBezTo>
                  <a:cubicBezTo>
                    <a:pt x="1005" y="88"/>
                    <a:pt x="955" y="114"/>
                    <a:pt x="955" y="114"/>
                  </a:cubicBezTo>
                  <a:cubicBezTo>
                    <a:pt x="955" y="114"/>
                    <a:pt x="949" y="131"/>
                    <a:pt x="948" y="142"/>
                  </a:cubicBezTo>
                  <a:cubicBezTo>
                    <a:pt x="947" y="152"/>
                    <a:pt x="968" y="161"/>
                    <a:pt x="968" y="161"/>
                  </a:cubicBezTo>
                  <a:cubicBezTo>
                    <a:pt x="935" y="163"/>
                    <a:pt x="935" y="163"/>
                    <a:pt x="935" y="163"/>
                  </a:cubicBezTo>
                  <a:cubicBezTo>
                    <a:pt x="912" y="185"/>
                    <a:pt x="912" y="185"/>
                    <a:pt x="912" y="185"/>
                  </a:cubicBezTo>
                  <a:cubicBezTo>
                    <a:pt x="912" y="185"/>
                    <a:pt x="916" y="205"/>
                    <a:pt x="910" y="212"/>
                  </a:cubicBezTo>
                  <a:cubicBezTo>
                    <a:pt x="904" y="219"/>
                    <a:pt x="927" y="226"/>
                    <a:pt x="936" y="231"/>
                  </a:cubicBezTo>
                  <a:cubicBezTo>
                    <a:pt x="946" y="235"/>
                    <a:pt x="942" y="256"/>
                    <a:pt x="942" y="256"/>
                  </a:cubicBezTo>
                  <a:cubicBezTo>
                    <a:pt x="927" y="242"/>
                    <a:pt x="927" y="242"/>
                    <a:pt x="927" y="242"/>
                  </a:cubicBezTo>
                  <a:cubicBezTo>
                    <a:pt x="907" y="244"/>
                    <a:pt x="907" y="244"/>
                    <a:pt x="907" y="244"/>
                  </a:cubicBezTo>
                  <a:cubicBezTo>
                    <a:pt x="899" y="256"/>
                    <a:pt x="899" y="256"/>
                    <a:pt x="899" y="256"/>
                  </a:cubicBezTo>
                  <a:cubicBezTo>
                    <a:pt x="872" y="235"/>
                    <a:pt x="872" y="235"/>
                    <a:pt x="872" y="235"/>
                  </a:cubicBezTo>
                  <a:cubicBezTo>
                    <a:pt x="869" y="256"/>
                    <a:pt x="869" y="256"/>
                    <a:pt x="869" y="256"/>
                  </a:cubicBezTo>
                  <a:cubicBezTo>
                    <a:pt x="853" y="261"/>
                    <a:pt x="853" y="261"/>
                    <a:pt x="853" y="261"/>
                  </a:cubicBezTo>
                  <a:cubicBezTo>
                    <a:pt x="856" y="279"/>
                    <a:pt x="856" y="279"/>
                    <a:pt x="856" y="279"/>
                  </a:cubicBezTo>
                  <a:cubicBezTo>
                    <a:pt x="837" y="276"/>
                    <a:pt x="837" y="276"/>
                    <a:pt x="837" y="276"/>
                  </a:cubicBezTo>
                  <a:cubicBezTo>
                    <a:pt x="856" y="232"/>
                    <a:pt x="856" y="232"/>
                    <a:pt x="856" y="232"/>
                  </a:cubicBezTo>
                  <a:cubicBezTo>
                    <a:pt x="856" y="232"/>
                    <a:pt x="851" y="226"/>
                    <a:pt x="848" y="215"/>
                  </a:cubicBezTo>
                  <a:cubicBezTo>
                    <a:pt x="846" y="203"/>
                    <a:pt x="827" y="205"/>
                    <a:pt x="827" y="205"/>
                  </a:cubicBezTo>
                  <a:cubicBezTo>
                    <a:pt x="816" y="187"/>
                    <a:pt x="816" y="187"/>
                    <a:pt x="816" y="187"/>
                  </a:cubicBezTo>
                  <a:cubicBezTo>
                    <a:pt x="816" y="187"/>
                    <a:pt x="825" y="167"/>
                    <a:pt x="814" y="159"/>
                  </a:cubicBezTo>
                  <a:cubicBezTo>
                    <a:pt x="802" y="151"/>
                    <a:pt x="787" y="162"/>
                    <a:pt x="787" y="169"/>
                  </a:cubicBezTo>
                  <a:cubicBezTo>
                    <a:pt x="786" y="176"/>
                    <a:pt x="792" y="176"/>
                    <a:pt x="792" y="176"/>
                  </a:cubicBezTo>
                  <a:cubicBezTo>
                    <a:pt x="788" y="185"/>
                    <a:pt x="788" y="185"/>
                    <a:pt x="788" y="185"/>
                  </a:cubicBezTo>
                  <a:cubicBezTo>
                    <a:pt x="768" y="184"/>
                    <a:pt x="768" y="184"/>
                    <a:pt x="768" y="184"/>
                  </a:cubicBezTo>
                  <a:cubicBezTo>
                    <a:pt x="771" y="202"/>
                    <a:pt x="771" y="202"/>
                    <a:pt x="771" y="202"/>
                  </a:cubicBezTo>
                  <a:cubicBezTo>
                    <a:pt x="758" y="196"/>
                    <a:pt x="758" y="196"/>
                    <a:pt x="758" y="196"/>
                  </a:cubicBezTo>
                  <a:cubicBezTo>
                    <a:pt x="746" y="201"/>
                    <a:pt x="746" y="201"/>
                    <a:pt x="746" y="201"/>
                  </a:cubicBezTo>
                  <a:cubicBezTo>
                    <a:pt x="746" y="201"/>
                    <a:pt x="751" y="209"/>
                    <a:pt x="749" y="219"/>
                  </a:cubicBezTo>
                  <a:cubicBezTo>
                    <a:pt x="747" y="230"/>
                    <a:pt x="731" y="238"/>
                    <a:pt x="731" y="238"/>
                  </a:cubicBezTo>
                  <a:cubicBezTo>
                    <a:pt x="736" y="214"/>
                    <a:pt x="736" y="214"/>
                    <a:pt x="736" y="214"/>
                  </a:cubicBezTo>
                  <a:cubicBezTo>
                    <a:pt x="724" y="229"/>
                    <a:pt x="724" y="229"/>
                    <a:pt x="724" y="229"/>
                  </a:cubicBezTo>
                  <a:cubicBezTo>
                    <a:pt x="724" y="229"/>
                    <a:pt x="713" y="227"/>
                    <a:pt x="706" y="237"/>
                  </a:cubicBezTo>
                  <a:cubicBezTo>
                    <a:pt x="699" y="247"/>
                    <a:pt x="710" y="268"/>
                    <a:pt x="710" y="268"/>
                  </a:cubicBezTo>
                  <a:cubicBezTo>
                    <a:pt x="679" y="255"/>
                    <a:pt x="679" y="255"/>
                    <a:pt x="679" y="255"/>
                  </a:cubicBezTo>
                  <a:cubicBezTo>
                    <a:pt x="676" y="279"/>
                    <a:pt x="676" y="279"/>
                    <a:pt x="676" y="279"/>
                  </a:cubicBezTo>
                  <a:cubicBezTo>
                    <a:pt x="665" y="281"/>
                    <a:pt x="665" y="281"/>
                    <a:pt x="665" y="281"/>
                  </a:cubicBezTo>
                  <a:cubicBezTo>
                    <a:pt x="676" y="298"/>
                    <a:pt x="676" y="298"/>
                    <a:pt x="676" y="298"/>
                  </a:cubicBezTo>
                  <a:cubicBezTo>
                    <a:pt x="688" y="297"/>
                    <a:pt x="688" y="297"/>
                    <a:pt x="688" y="297"/>
                  </a:cubicBezTo>
                  <a:cubicBezTo>
                    <a:pt x="685" y="308"/>
                    <a:pt x="685" y="308"/>
                    <a:pt x="685" y="308"/>
                  </a:cubicBezTo>
                  <a:cubicBezTo>
                    <a:pt x="638" y="312"/>
                    <a:pt x="638" y="312"/>
                    <a:pt x="638" y="312"/>
                  </a:cubicBezTo>
                  <a:cubicBezTo>
                    <a:pt x="638" y="312"/>
                    <a:pt x="624" y="302"/>
                    <a:pt x="614" y="310"/>
                  </a:cubicBezTo>
                  <a:cubicBezTo>
                    <a:pt x="604" y="319"/>
                    <a:pt x="620" y="337"/>
                    <a:pt x="620" y="337"/>
                  </a:cubicBezTo>
                  <a:cubicBezTo>
                    <a:pt x="622" y="359"/>
                    <a:pt x="622" y="359"/>
                    <a:pt x="622" y="359"/>
                  </a:cubicBezTo>
                  <a:cubicBezTo>
                    <a:pt x="616" y="373"/>
                    <a:pt x="616" y="373"/>
                    <a:pt x="616" y="373"/>
                  </a:cubicBezTo>
                  <a:cubicBezTo>
                    <a:pt x="620" y="399"/>
                    <a:pt x="620" y="399"/>
                    <a:pt x="620" y="399"/>
                  </a:cubicBezTo>
                  <a:cubicBezTo>
                    <a:pt x="609" y="400"/>
                    <a:pt x="609" y="400"/>
                    <a:pt x="609" y="400"/>
                  </a:cubicBezTo>
                  <a:cubicBezTo>
                    <a:pt x="606" y="348"/>
                    <a:pt x="606" y="348"/>
                    <a:pt x="606" y="348"/>
                  </a:cubicBezTo>
                  <a:cubicBezTo>
                    <a:pt x="595" y="337"/>
                    <a:pt x="595" y="337"/>
                    <a:pt x="595" y="337"/>
                  </a:cubicBezTo>
                  <a:cubicBezTo>
                    <a:pt x="593" y="316"/>
                    <a:pt x="593" y="316"/>
                    <a:pt x="593" y="316"/>
                  </a:cubicBezTo>
                  <a:cubicBezTo>
                    <a:pt x="580" y="317"/>
                    <a:pt x="580" y="317"/>
                    <a:pt x="580" y="317"/>
                  </a:cubicBezTo>
                  <a:cubicBezTo>
                    <a:pt x="569" y="333"/>
                    <a:pt x="569" y="333"/>
                    <a:pt x="569" y="333"/>
                  </a:cubicBezTo>
                  <a:cubicBezTo>
                    <a:pt x="569" y="333"/>
                    <a:pt x="556" y="344"/>
                    <a:pt x="537" y="360"/>
                  </a:cubicBezTo>
                  <a:cubicBezTo>
                    <a:pt x="519" y="376"/>
                    <a:pt x="531" y="409"/>
                    <a:pt x="531" y="409"/>
                  </a:cubicBezTo>
                  <a:cubicBezTo>
                    <a:pt x="531" y="409"/>
                    <a:pt x="548" y="414"/>
                    <a:pt x="546" y="423"/>
                  </a:cubicBezTo>
                  <a:cubicBezTo>
                    <a:pt x="543" y="433"/>
                    <a:pt x="510" y="445"/>
                    <a:pt x="504" y="448"/>
                  </a:cubicBezTo>
                  <a:cubicBezTo>
                    <a:pt x="498" y="451"/>
                    <a:pt x="501" y="461"/>
                    <a:pt x="501" y="461"/>
                  </a:cubicBezTo>
                  <a:cubicBezTo>
                    <a:pt x="501" y="461"/>
                    <a:pt x="480" y="480"/>
                    <a:pt x="463" y="494"/>
                  </a:cubicBezTo>
                  <a:cubicBezTo>
                    <a:pt x="445" y="507"/>
                    <a:pt x="393" y="512"/>
                    <a:pt x="393" y="512"/>
                  </a:cubicBezTo>
                  <a:cubicBezTo>
                    <a:pt x="359" y="505"/>
                    <a:pt x="359" y="505"/>
                    <a:pt x="359" y="505"/>
                  </a:cubicBezTo>
                  <a:cubicBezTo>
                    <a:pt x="332" y="519"/>
                    <a:pt x="332" y="519"/>
                    <a:pt x="332" y="519"/>
                  </a:cubicBezTo>
                  <a:cubicBezTo>
                    <a:pt x="295" y="524"/>
                    <a:pt x="295" y="524"/>
                    <a:pt x="295" y="524"/>
                  </a:cubicBezTo>
                  <a:cubicBezTo>
                    <a:pt x="290" y="529"/>
                    <a:pt x="290" y="529"/>
                    <a:pt x="290" y="529"/>
                  </a:cubicBezTo>
                  <a:cubicBezTo>
                    <a:pt x="290" y="529"/>
                    <a:pt x="280" y="529"/>
                    <a:pt x="271" y="534"/>
                  </a:cubicBezTo>
                  <a:cubicBezTo>
                    <a:pt x="262" y="538"/>
                    <a:pt x="251" y="549"/>
                    <a:pt x="251" y="549"/>
                  </a:cubicBezTo>
                  <a:cubicBezTo>
                    <a:pt x="251" y="549"/>
                    <a:pt x="232" y="550"/>
                    <a:pt x="218" y="554"/>
                  </a:cubicBezTo>
                  <a:cubicBezTo>
                    <a:pt x="204" y="558"/>
                    <a:pt x="188" y="587"/>
                    <a:pt x="188" y="587"/>
                  </a:cubicBezTo>
                  <a:cubicBezTo>
                    <a:pt x="188" y="587"/>
                    <a:pt x="153" y="595"/>
                    <a:pt x="146" y="599"/>
                  </a:cubicBezTo>
                  <a:cubicBezTo>
                    <a:pt x="138" y="604"/>
                    <a:pt x="103" y="649"/>
                    <a:pt x="103" y="649"/>
                  </a:cubicBezTo>
                  <a:cubicBezTo>
                    <a:pt x="109" y="605"/>
                    <a:pt x="109" y="605"/>
                    <a:pt x="109" y="605"/>
                  </a:cubicBezTo>
                  <a:cubicBezTo>
                    <a:pt x="97" y="612"/>
                    <a:pt x="97" y="612"/>
                    <a:pt x="97" y="612"/>
                  </a:cubicBezTo>
                  <a:cubicBezTo>
                    <a:pt x="83" y="649"/>
                    <a:pt x="83" y="649"/>
                    <a:pt x="83" y="649"/>
                  </a:cubicBezTo>
                  <a:cubicBezTo>
                    <a:pt x="83" y="649"/>
                    <a:pt x="69" y="675"/>
                    <a:pt x="62" y="690"/>
                  </a:cubicBezTo>
                  <a:cubicBezTo>
                    <a:pt x="56" y="705"/>
                    <a:pt x="79" y="711"/>
                    <a:pt x="79" y="711"/>
                  </a:cubicBezTo>
                  <a:cubicBezTo>
                    <a:pt x="79" y="711"/>
                    <a:pt x="59" y="732"/>
                    <a:pt x="49" y="741"/>
                  </a:cubicBezTo>
                  <a:cubicBezTo>
                    <a:pt x="38" y="750"/>
                    <a:pt x="58" y="789"/>
                    <a:pt x="59" y="795"/>
                  </a:cubicBezTo>
                  <a:cubicBezTo>
                    <a:pt x="59" y="802"/>
                    <a:pt x="84" y="845"/>
                    <a:pt x="78" y="849"/>
                  </a:cubicBezTo>
                  <a:cubicBezTo>
                    <a:pt x="72" y="854"/>
                    <a:pt x="48" y="813"/>
                    <a:pt x="48" y="813"/>
                  </a:cubicBezTo>
                  <a:cubicBezTo>
                    <a:pt x="36" y="811"/>
                    <a:pt x="36" y="811"/>
                    <a:pt x="36" y="811"/>
                  </a:cubicBezTo>
                  <a:cubicBezTo>
                    <a:pt x="46" y="841"/>
                    <a:pt x="46" y="841"/>
                    <a:pt x="46" y="841"/>
                  </a:cubicBezTo>
                  <a:cubicBezTo>
                    <a:pt x="23" y="821"/>
                    <a:pt x="23" y="821"/>
                    <a:pt x="23" y="821"/>
                  </a:cubicBezTo>
                  <a:cubicBezTo>
                    <a:pt x="23" y="821"/>
                    <a:pt x="19" y="844"/>
                    <a:pt x="22" y="858"/>
                  </a:cubicBezTo>
                  <a:cubicBezTo>
                    <a:pt x="25" y="872"/>
                    <a:pt x="48" y="907"/>
                    <a:pt x="48" y="907"/>
                  </a:cubicBezTo>
                  <a:cubicBezTo>
                    <a:pt x="48" y="907"/>
                    <a:pt x="37" y="929"/>
                    <a:pt x="35" y="937"/>
                  </a:cubicBezTo>
                  <a:cubicBezTo>
                    <a:pt x="33" y="945"/>
                    <a:pt x="63" y="968"/>
                    <a:pt x="64" y="974"/>
                  </a:cubicBezTo>
                  <a:cubicBezTo>
                    <a:pt x="65" y="981"/>
                    <a:pt x="66" y="1003"/>
                    <a:pt x="60" y="1011"/>
                  </a:cubicBezTo>
                  <a:cubicBezTo>
                    <a:pt x="55" y="1019"/>
                    <a:pt x="68" y="1065"/>
                    <a:pt x="68" y="1065"/>
                  </a:cubicBezTo>
                  <a:cubicBezTo>
                    <a:pt x="68" y="1065"/>
                    <a:pt x="64" y="1067"/>
                    <a:pt x="56" y="1073"/>
                  </a:cubicBezTo>
                  <a:cubicBezTo>
                    <a:pt x="49" y="1079"/>
                    <a:pt x="65" y="1115"/>
                    <a:pt x="65" y="1115"/>
                  </a:cubicBezTo>
                  <a:cubicBezTo>
                    <a:pt x="65" y="1115"/>
                    <a:pt x="85" y="1124"/>
                    <a:pt x="87" y="1141"/>
                  </a:cubicBezTo>
                  <a:cubicBezTo>
                    <a:pt x="89" y="1157"/>
                    <a:pt x="60" y="1186"/>
                    <a:pt x="60" y="1186"/>
                  </a:cubicBezTo>
                  <a:cubicBezTo>
                    <a:pt x="60" y="1186"/>
                    <a:pt x="69" y="1219"/>
                    <a:pt x="52" y="1236"/>
                  </a:cubicBezTo>
                  <a:cubicBezTo>
                    <a:pt x="35" y="1252"/>
                    <a:pt x="4" y="1244"/>
                    <a:pt x="4" y="1244"/>
                  </a:cubicBezTo>
                  <a:cubicBezTo>
                    <a:pt x="0" y="1276"/>
                    <a:pt x="0" y="1276"/>
                    <a:pt x="0" y="1276"/>
                  </a:cubicBezTo>
                  <a:cubicBezTo>
                    <a:pt x="0" y="1276"/>
                    <a:pt x="32" y="1284"/>
                    <a:pt x="41" y="1289"/>
                  </a:cubicBezTo>
                  <a:cubicBezTo>
                    <a:pt x="50" y="1295"/>
                    <a:pt x="56" y="1305"/>
                    <a:pt x="56" y="1305"/>
                  </a:cubicBezTo>
                  <a:cubicBezTo>
                    <a:pt x="73" y="1303"/>
                    <a:pt x="73" y="1303"/>
                    <a:pt x="73" y="1303"/>
                  </a:cubicBezTo>
                  <a:cubicBezTo>
                    <a:pt x="73" y="1303"/>
                    <a:pt x="82" y="1312"/>
                    <a:pt x="96" y="1317"/>
                  </a:cubicBezTo>
                  <a:cubicBezTo>
                    <a:pt x="109" y="1322"/>
                    <a:pt x="140" y="1312"/>
                    <a:pt x="153" y="1311"/>
                  </a:cubicBezTo>
                  <a:cubicBezTo>
                    <a:pt x="165" y="1311"/>
                    <a:pt x="155" y="1295"/>
                    <a:pt x="155" y="1295"/>
                  </a:cubicBezTo>
                  <a:cubicBezTo>
                    <a:pt x="180" y="1297"/>
                    <a:pt x="180" y="1297"/>
                    <a:pt x="180" y="1297"/>
                  </a:cubicBezTo>
                  <a:cubicBezTo>
                    <a:pt x="186" y="1285"/>
                    <a:pt x="186" y="1285"/>
                    <a:pt x="186" y="1285"/>
                  </a:cubicBezTo>
                  <a:cubicBezTo>
                    <a:pt x="213" y="1281"/>
                    <a:pt x="213" y="1281"/>
                    <a:pt x="213" y="1281"/>
                  </a:cubicBezTo>
                  <a:cubicBezTo>
                    <a:pt x="213" y="1281"/>
                    <a:pt x="237" y="1256"/>
                    <a:pt x="250" y="1255"/>
                  </a:cubicBezTo>
                  <a:cubicBezTo>
                    <a:pt x="262" y="1255"/>
                    <a:pt x="274" y="1270"/>
                    <a:pt x="281" y="1268"/>
                  </a:cubicBezTo>
                  <a:cubicBezTo>
                    <a:pt x="289" y="1266"/>
                    <a:pt x="326" y="1248"/>
                    <a:pt x="326" y="1248"/>
                  </a:cubicBezTo>
                  <a:cubicBezTo>
                    <a:pt x="326" y="1248"/>
                    <a:pt x="348" y="1258"/>
                    <a:pt x="359" y="1256"/>
                  </a:cubicBezTo>
                  <a:cubicBezTo>
                    <a:pt x="370" y="1255"/>
                    <a:pt x="377" y="1245"/>
                    <a:pt x="384" y="1244"/>
                  </a:cubicBezTo>
                  <a:cubicBezTo>
                    <a:pt x="392" y="1244"/>
                    <a:pt x="411" y="1256"/>
                    <a:pt x="426" y="1253"/>
                  </a:cubicBezTo>
                  <a:cubicBezTo>
                    <a:pt x="441" y="1250"/>
                    <a:pt x="438" y="1231"/>
                    <a:pt x="438" y="1231"/>
                  </a:cubicBezTo>
                  <a:cubicBezTo>
                    <a:pt x="438" y="1231"/>
                    <a:pt x="450" y="1228"/>
                    <a:pt x="454" y="1225"/>
                  </a:cubicBezTo>
                  <a:cubicBezTo>
                    <a:pt x="459" y="1222"/>
                    <a:pt x="465" y="1195"/>
                    <a:pt x="478" y="1183"/>
                  </a:cubicBezTo>
                  <a:cubicBezTo>
                    <a:pt x="491" y="1171"/>
                    <a:pt x="524" y="1179"/>
                    <a:pt x="535" y="1176"/>
                  </a:cubicBezTo>
                  <a:cubicBezTo>
                    <a:pt x="545" y="1174"/>
                    <a:pt x="579" y="1155"/>
                    <a:pt x="594" y="1153"/>
                  </a:cubicBezTo>
                  <a:cubicBezTo>
                    <a:pt x="610" y="1151"/>
                    <a:pt x="612" y="1158"/>
                    <a:pt x="631" y="1161"/>
                  </a:cubicBezTo>
                  <a:cubicBezTo>
                    <a:pt x="650" y="1164"/>
                    <a:pt x="697" y="1131"/>
                    <a:pt x="716" y="1125"/>
                  </a:cubicBezTo>
                  <a:cubicBezTo>
                    <a:pt x="736" y="1119"/>
                    <a:pt x="819" y="1113"/>
                    <a:pt x="819" y="1113"/>
                  </a:cubicBezTo>
                  <a:cubicBezTo>
                    <a:pt x="826" y="1106"/>
                    <a:pt x="826" y="1106"/>
                    <a:pt x="826" y="1106"/>
                  </a:cubicBezTo>
                  <a:cubicBezTo>
                    <a:pt x="826" y="1106"/>
                    <a:pt x="854" y="1131"/>
                    <a:pt x="872" y="1138"/>
                  </a:cubicBezTo>
                  <a:cubicBezTo>
                    <a:pt x="889" y="1145"/>
                    <a:pt x="896" y="1136"/>
                    <a:pt x="896" y="1136"/>
                  </a:cubicBezTo>
                  <a:cubicBezTo>
                    <a:pt x="896" y="1136"/>
                    <a:pt x="899" y="1153"/>
                    <a:pt x="907" y="1156"/>
                  </a:cubicBezTo>
                  <a:cubicBezTo>
                    <a:pt x="915" y="1159"/>
                    <a:pt x="920" y="1152"/>
                    <a:pt x="920" y="1152"/>
                  </a:cubicBezTo>
                  <a:cubicBezTo>
                    <a:pt x="923" y="1167"/>
                    <a:pt x="923" y="1167"/>
                    <a:pt x="923" y="1167"/>
                  </a:cubicBezTo>
                  <a:cubicBezTo>
                    <a:pt x="923" y="1167"/>
                    <a:pt x="935" y="1165"/>
                    <a:pt x="936" y="1174"/>
                  </a:cubicBezTo>
                  <a:cubicBezTo>
                    <a:pt x="937" y="1182"/>
                    <a:pt x="918" y="1206"/>
                    <a:pt x="918" y="1206"/>
                  </a:cubicBezTo>
                  <a:cubicBezTo>
                    <a:pt x="932" y="1225"/>
                    <a:pt x="932" y="1225"/>
                    <a:pt x="932" y="1225"/>
                  </a:cubicBezTo>
                  <a:cubicBezTo>
                    <a:pt x="941" y="1216"/>
                    <a:pt x="941" y="1216"/>
                    <a:pt x="941" y="1216"/>
                  </a:cubicBezTo>
                  <a:cubicBezTo>
                    <a:pt x="954" y="1243"/>
                    <a:pt x="954" y="1243"/>
                    <a:pt x="954" y="1243"/>
                  </a:cubicBezTo>
                  <a:cubicBezTo>
                    <a:pt x="954" y="1243"/>
                    <a:pt x="963" y="1270"/>
                    <a:pt x="964" y="1279"/>
                  </a:cubicBezTo>
                  <a:cubicBezTo>
                    <a:pt x="965" y="1287"/>
                    <a:pt x="937" y="1280"/>
                    <a:pt x="937" y="1280"/>
                  </a:cubicBezTo>
                  <a:cubicBezTo>
                    <a:pt x="944" y="1303"/>
                    <a:pt x="944" y="1303"/>
                    <a:pt x="944" y="1303"/>
                  </a:cubicBezTo>
                  <a:cubicBezTo>
                    <a:pt x="944" y="1303"/>
                    <a:pt x="953" y="1303"/>
                    <a:pt x="962" y="1304"/>
                  </a:cubicBezTo>
                  <a:cubicBezTo>
                    <a:pt x="971" y="1304"/>
                    <a:pt x="970" y="1311"/>
                    <a:pt x="970" y="1311"/>
                  </a:cubicBezTo>
                  <a:cubicBezTo>
                    <a:pt x="983" y="1308"/>
                    <a:pt x="983" y="1308"/>
                    <a:pt x="983" y="1308"/>
                  </a:cubicBezTo>
                  <a:cubicBezTo>
                    <a:pt x="983" y="1308"/>
                    <a:pt x="979" y="1294"/>
                    <a:pt x="979" y="1283"/>
                  </a:cubicBezTo>
                  <a:cubicBezTo>
                    <a:pt x="980" y="1272"/>
                    <a:pt x="998" y="1263"/>
                    <a:pt x="1010" y="1261"/>
                  </a:cubicBezTo>
                  <a:cubicBezTo>
                    <a:pt x="1022" y="1258"/>
                    <a:pt x="1045" y="1222"/>
                    <a:pt x="1045" y="1222"/>
                  </a:cubicBezTo>
                  <a:cubicBezTo>
                    <a:pt x="1060" y="1224"/>
                    <a:pt x="1060" y="1224"/>
                    <a:pt x="1060" y="1224"/>
                  </a:cubicBezTo>
                  <a:cubicBezTo>
                    <a:pt x="1074" y="1191"/>
                    <a:pt x="1074" y="1191"/>
                    <a:pt x="1074" y="1191"/>
                  </a:cubicBezTo>
                  <a:cubicBezTo>
                    <a:pt x="1074" y="1191"/>
                    <a:pt x="1093" y="1188"/>
                    <a:pt x="1102" y="1187"/>
                  </a:cubicBezTo>
                  <a:cubicBezTo>
                    <a:pt x="1110" y="1186"/>
                    <a:pt x="1115" y="1156"/>
                    <a:pt x="1115" y="1156"/>
                  </a:cubicBezTo>
                  <a:cubicBezTo>
                    <a:pt x="1115" y="1156"/>
                    <a:pt x="1120" y="1180"/>
                    <a:pt x="1121" y="1187"/>
                  </a:cubicBezTo>
                  <a:cubicBezTo>
                    <a:pt x="1122" y="1195"/>
                    <a:pt x="1093" y="1209"/>
                    <a:pt x="1093" y="1209"/>
                  </a:cubicBezTo>
                  <a:cubicBezTo>
                    <a:pt x="1083" y="1210"/>
                    <a:pt x="1083" y="1210"/>
                    <a:pt x="1083" y="1210"/>
                  </a:cubicBezTo>
                  <a:cubicBezTo>
                    <a:pt x="1078" y="1217"/>
                    <a:pt x="1078" y="1217"/>
                    <a:pt x="1078" y="1217"/>
                  </a:cubicBezTo>
                  <a:cubicBezTo>
                    <a:pt x="1089" y="1240"/>
                    <a:pt x="1089" y="1240"/>
                    <a:pt x="1089" y="1240"/>
                  </a:cubicBezTo>
                  <a:cubicBezTo>
                    <a:pt x="1089" y="1240"/>
                    <a:pt x="1079" y="1244"/>
                    <a:pt x="1072" y="1248"/>
                  </a:cubicBezTo>
                  <a:cubicBezTo>
                    <a:pt x="1065" y="1253"/>
                    <a:pt x="1047" y="1276"/>
                    <a:pt x="1047" y="1276"/>
                  </a:cubicBezTo>
                  <a:cubicBezTo>
                    <a:pt x="1047" y="1276"/>
                    <a:pt x="1042" y="1295"/>
                    <a:pt x="1035" y="1299"/>
                  </a:cubicBezTo>
                  <a:cubicBezTo>
                    <a:pt x="1028" y="1304"/>
                    <a:pt x="1004" y="1313"/>
                    <a:pt x="1011" y="1319"/>
                  </a:cubicBezTo>
                  <a:cubicBezTo>
                    <a:pt x="1018" y="1326"/>
                    <a:pt x="1045" y="1316"/>
                    <a:pt x="1054" y="1313"/>
                  </a:cubicBezTo>
                  <a:cubicBezTo>
                    <a:pt x="1062" y="1309"/>
                    <a:pt x="1063" y="1296"/>
                    <a:pt x="1069" y="1287"/>
                  </a:cubicBezTo>
                  <a:cubicBezTo>
                    <a:pt x="1076" y="1277"/>
                    <a:pt x="1090" y="1267"/>
                    <a:pt x="1090" y="1267"/>
                  </a:cubicBezTo>
                  <a:cubicBezTo>
                    <a:pt x="1090" y="1267"/>
                    <a:pt x="1093" y="1292"/>
                    <a:pt x="1095" y="1298"/>
                  </a:cubicBezTo>
                  <a:cubicBezTo>
                    <a:pt x="1097" y="1304"/>
                    <a:pt x="1084" y="1315"/>
                    <a:pt x="1075" y="1320"/>
                  </a:cubicBezTo>
                  <a:cubicBezTo>
                    <a:pt x="1067" y="1325"/>
                    <a:pt x="1066" y="1333"/>
                    <a:pt x="1072" y="1339"/>
                  </a:cubicBezTo>
                  <a:cubicBezTo>
                    <a:pt x="1079" y="1344"/>
                    <a:pt x="1110" y="1344"/>
                    <a:pt x="1110" y="1344"/>
                  </a:cubicBezTo>
                  <a:cubicBezTo>
                    <a:pt x="1115" y="1351"/>
                    <a:pt x="1115" y="1351"/>
                    <a:pt x="1115" y="1351"/>
                  </a:cubicBezTo>
                  <a:cubicBezTo>
                    <a:pt x="1100" y="1364"/>
                    <a:pt x="1100" y="1364"/>
                    <a:pt x="1100" y="1364"/>
                  </a:cubicBezTo>
                  <a:cubicBezTo>
                    <a:pt x="1100" y="1364"/>
                    <a:pt x="1116" y="1393"/>
                    <a:pt x="1118" y="1403"/>
                  </a:cubicBezTo>
                  <a:cubicBezTo>
                    <a:pt x="1121" y="1414"/>
                    <a:pt x="1097" y="1430"/>
                    <a:pt x="1088" y="1441"/>
                  </a:cubicBezTo>
                  <a:cubicBezTo>
                    <a:pt x="1078" y="1452"/>
                    <a:pt x="1110" y="1474"/>
                    <a:pt x="1118" y="1477"/>
                  </a:cubicBezTo>
                  <a:cubicBezTo>
                    <a:pt x="1125" y="1480"/>
                    <a:pt x="1139" y="1500"/>
                    <a:pt x="1154" y="1505"/>
                  </a:cubicBezTo>
                  <a:cubicBezTo>
                    <a:pt x="1169" y="1510"/>
                    <a:pt x="1180" y="1501"/>
                    <a:pt x="1194" y="1504"/>
                  </a:cubicBezTo>
                  <a:cubicBezTo>
                    <a:pt x="1207" y="1507"/>
                    <a:pt x="1210" y="1524"/>
                    <a:pt x="1229" y="1527"/>
                  </a:cubicBezTo>
                  <a:cubicBezTo>
                    <a:pt x="1249" y="1531"/>
                    <a:pt x="1297" y="1498"/>
                    <a:pt x="1297" y="1498"/>
                  </a:cubicBezTo>
                  <a:cubicBezTo>
                    <a:pt x="1297" y="1498"/>
                    <a:pt x="1290" y="1484"/>
                    <a:pt x="1305" y="1475"/>
                  </a:cubicBezTo>
                  <a:cubicBezTo>
                    <a:pt x="1320" y="1466"/>
                    <a:pt x="1319" y="1502"/>
                    <a:pt x="1319" y="1502"/>
                  </a:cubicBezTo>
                  <a:cubicBezTo>
                    <a:pt x="1330" y="1501"/>
                    <a:pt x="1330" y="1501"/>
                    <a:pt x="1330" y="1501"/>
                  </a:cubicBezTo>
                  <a:cubicBezTo>
                    <a:pt x="1320" y="1517"/>
                    <a:pt x="1320" y="1517"/>
                    <a:pt x="1320" y="1517"/>
                  </a:cubicBezTo>
                  <a:cubicBezTo>
                    <a:pt x="1333" y="1518"/>
                    <a:pt x="1333" y="1518"/>
                    <a:pt x="1333" y="1518"/>
                  </a:cubicBezTo>
                  <a:cubicBezTo>
                    <a:pt x="1333" y="1518"/>
                    <a:pt x="1334" y="1530"/>
                    <a:pt x="1341" y="1539"/>
                  </a:cubicBezTo>
                  <a:cubicBezTo>
                    <a:pt x="1347" y="1547"/>
                    <a:pt x="1354" y="1543"/>
                    <a:pt x="1354" y="1543"/>
                  </a:cubicBezTo>
                  <a:cubicBezTo>
                    <a:pt x="1360" y="1532"/>
                    <a:pt x="1360" y="1532"/>
                    <a:pt x="1360" y="1532"/>
                  </a:cubicBezTo>
                  <a:cubicBezTo>
                    <a:pt x="1360" y="1532"/>
                    <a:pt x="1378" y="1530"/>
                    <a:pt x="1388" y="1521"/>
                  </a:cubicBezTo>
                  <a:cubicBezTo>
                    <a:pt x="1399" y="1513"/>
                    <a:pt x="1443" y="1482"/>
                    <a:pt x="1443" y="1482"/>
                  </a:cubicBezTo>
                  <a:cubicBezTo>
                    <a:pt x="1438" y="1472"/>
                    <a:pt x="1438" y="1472"/>
                    <a:pt x="1438" y="1472"/>
                  </a:cubicBezTo>
                  <a:cubicBezTo>
                    <a:pt x="1462" y="1468"/>
                    <a:pt x="1462" y="1468"/>
                    <a:pt x="1462" y="1468"/>
                  </a:cubicBezTo>
                  <a:cubicBezTo>
                    <a:pt x="1471" y="1476"/>
                    <a:pt x="1471" y="1476"/>
                    <a:pt x="1471" y="1476"/>
                  </a:cubicBezTo>
                  <a:cubicBezTo>
                    <a:pt x="1471" y="1476"/>
                    <a:pt x="1510" y="1469"/>
                    <a:pt x="1533" y="1461"/>
                  </a:cubicBezTo>
                  <a:cubicBezTo>
                    <a:pt x="1555" y="1452"/>
                    <a:pt x="1557" y="1408"/>
                    <a:pt x="1560" y="1396"/>
                  </a:cubicBezTo>
                  <a:cubicBezTo>
                    <a:pt x="1564" y="1385"/>
                    <a:pt x="1590" y="1370"/>
                    <a:pt x="1590" y="1370"/>
                  </a:cubicBezTo>
                  <a:cubicBezTo>
                    <a:pt x="1590" y="1355"/>
                    <a:pt x="1590" y="1355"/>
                    <a:pt x="1590" y="1355"/>
                  </a:cubicBezTo>
                  <a:cubicBezTo>
                    <a:pt x="1590" y="1355"/>
                    <a:pt x="1605" y="1349"/>
                    <a:pt x="1613" y="1338"/>
                  </a:cubicBezTo>
                  <a:cubicBezTo>
                    <a:pt x="1620" y="1328"/>
                    <a:pt x="1631" y="1314"/>
                    <a:pt x="1631" y="1314"/>
                  </a:cubicBezTo>
                  <a:cubicBezTo>
                    <a:pt x="1631" y="1314"/>
                    <a:pt x="1633" y="1285"/>
                    <a:pt x="1641" y="1275"/>
                  </a:cubicBezTo>
                  <a:cubicBezTo>
                    <a:pt x="1648" y="1266"/>
                    <a:pt x="1682" y="1228"/>
                    <a:pt x="1695" y="1222"/>
                  </a:cubicBezTo>
                  <a:cubicBezTo>
                    <a:pt x="1707" y="1216"/>
                    <a:pt x="1709" y="1185"/>
                    <a:pt x="1709" y="1185"/>
                  </a:cubicBezTo>
                  <a:cubicBezTo>
                    <a:pt x="1709" y="1185"/>
                    <a:pt x="1732" y="1189"/>
                    <a:pt x="1741" y="1179"/>
                  </a:cubicBezTo>
                  <a:cubicBezTo>
                    <a:pt x="1750" y="1170"/>
                    <a:pt x="1797" y="1111"/>
                    <a:pt x="1800" y="1104"/>
                  </a:cubicBezTo>
                  <a:cubicBezTo>
                    <a:pt x="1804" y="1098"/>
                    <a:pt x="1803" y="1067"/>
                    <a:pt x="1813" y="1060"/>
                  </a:cubicBezTo>
                  <a:cubicBezTo>
                    <a:pt x="1822" y="1053"/>
                    <a:pt x="1864" y="971"/>
                    <a:pt x="1874" y="952"/>
                  </a:cubicBezTo>
                  <a:cubicBezTo>
                    <a:pt x="1884" y="933"/>
                    <a:pt x="1872" y="920"/>
                    <a:pt x="1871" y="907"/>
                  </a:cubicBezTo>
                  <a:cubicBezTo>
                    <a:pt x="1870" y="894"/>
                    <a:pt x="1880" y="873"/>
                    <a:pt x="1889" y="859"/>
                  </a:cubicBezTo>
                  <a:cubicBezTo>
                    <a:pt x="1898" y="845"/>
                    <a:pt x="1888" y="783"/>
                    <a:pt x="1888" y="783"/>
                  </a:cubicBezTo>
                  <a:lnTo>
                    <a:pt x="1869" y="774"/>
                  </a:lnTo>
                  <a:close/>
                  <a:moveTo>
                    <a:pt x="1347" y="1624"/>
                  </a:moveTo>
                  <a:cubicBezTo>
                    <a:pt x="1349" y="1631"/>
                    <a:pt x="1373" y="1619"/>
                    <a:pt x="1364" y="1612"/>
                  </a:cubicBezTo>
                  <a:cubicBezTo>
                    <a:pt x="1355" y="1605"/>
                    <a:pt x="1347" y="1624"/>
                    <a:pt x="1347" y="1624"/>
                  </a:cubicBezTo>
                  <a:close/>
                  <a:moveTo>
                    <a:pt x="1332" y="1632"/>
                  </a:moveTo>
                  <a:cubicBezTo>
                    <a:pt x="1323" y="1626"/>
                    <a:pt x="1312" y="1646"/>
                    <a:pt x="1312" y="1646"/>
                  </a:cubicBezTo>
                  <a:cubicBezTo>
                    <a:pt x="1312" y="1646"/>
                    <a:pt x="1308" y="1640"/>
                    <a:pt x="1304" y="1640"/>
                  </a:cubicBezTo>
                  <a:cubicBezTo>
                    <a:pt x="1300" y="1639"/>
                    <a:pt x="1277" y="1643"/>
                    <a:pt x="1277" y="1643"/>
                  </a:cubicBezTo>
                  <a:cubicBezTo>
                    <a:pt x="1274" y="1651"/>
                    <a:pt x="1274" y="1651"/>
                    <a:pt x="1274" y="1651"/>
                  </a:cubicBezTo>
                  <a:cubicBezTo>
                    <a:pt x="1261" y="1640"/>
                    <a:pt x="1261" y="1640"/>
                    <a:pt x="1261" y="1640"/>
                  </a:cubicBezTo>
                  <a:cubicBezTo>
                    <a:pt x="1236" y="1638"/>
                    <a:pt x="1236" y="1638"/>
                    <a:pt x="1236" y="1638"/>
                  </a:cubicBezTo>
                  <a:cubicBezTo>
                    <a:pt x="1221" y="1620"/>
                    <a:pt x="1221" y="1620"/>
                    <a:pt x="1221" y="1620"/>
                  </a:cubicBezTo>
                  <a:cubicBezTo>
                    <a:pt x="1221" y="1620"/>
                    <a:pt x="1216" y="1623"/>
                    <a:pt x="1210" y="1624"/>
                  </a:cubicBezTo>
                  <a:cubicBezTo>
                    <a:pt x="1205" y="1625"/>
                    <a:pt x="1188" y="1605"/>
                    <a:pt x="1188" y="1605"/>
                  </a:cubicBezTo>
                  <a:cubicBezTo>
                    <a:pt x="1184" y="1616"/>
                    <a:pt x="1184" y="1616"/>
                    <a:pt x="1184" y="1616"/>
                  </a:cubicBezTo>
                  <a:cubicBezTo>
                    <a:pt x="1188" y="1629"/>
                    <a:pt x="1188" y="1629"/>
                    <a:pt x="1188" y="1629"/>
                  </a:cubicBezTo>
                  <a:cubicBezTo>
                    <a:pt x="1188" y="1629"/>
                    <a:pt x="1189" y="1645"/>
                    <a:pt x="1187" y="1650"/>
                  </a:cubicBezTo>
                  <a:cubicBezTo>
                    <a:pt x="1185" y="1655"/>
                    <a:pt x="1179" y="1663"/>
                    <a:pt x="1185" y="1674"/>
                  </a:cubicBezTo>
                  <a:cubicBezTo>
                    <a:pt x="1191" y="1685"/>
                    <a:pt x="1184" y="1691"/>
                    <a:pt x="1176" y="1694"/>
                  </a:cubicBezTo>
                  <a:cubicBezTo>
                    <a:pt x="1167" y="1696"/>
                    <a:pt x="1160" y="1686"/>
                    <a:pt x="1160" y="1686"/>
                  </a:cubicBezTo>
                  <a:cubicBezTo>
                    <a:pt x="1160" y="1686"/>
                    <a:pt x="1156" y="1700"/>
                    <a:pt x="1155" y="1713"/>
                  </a:cubicBezTo>
                  <a:cubicBezTo>
                    <a:pt x="1154" y="1727"/>
                    <a:pt x="1166" y="1748"/>
                    <a:pt x="1166" y="1748"/>
                  </a:cubicBezTo>
                  <a:cubicBezTo>
                    <a:pt x="1181" y="1750"/>
                    <a:pt x="1181" y="1750"/>
                    <a:pt x="1181" y="1750"/>
                  </a:cubicBezTo>
                  <a:cubicBezTo>
                    <a:pt x="1168" y="1757"/>
                    <a:pt x="1168" y="1757"/>
                    <a:pt x="1168" y="1757"/>
                  </a:cubicBezTo>
                  <a:cubicBezTo>
                    <a:pt x="1173" y="1774"/>
                    <a:pt x="1173" y="1774"/>
                    <a:pt x="1173" y="1774"/>
                  </a:cubicBezTo>
                  <a:cubicBezTo>
                    <a:pt x="1173" y="1774"/>
                    <a:pt x="1185" y="1769"/>
                    <a:pt x="1191" y="1766"/>
                  </a:cubicBezTo>
                  <a:cubicBezTo>
                    <a:pt x="1198" y="1763"/>
                    <a:pt x="1203" y="1773"/>
                    <a:pt x="1214" y="1769"/>
                  </a:cubicBezTo>
                  <a:cubicBezTo>
                    <a:pt x="1225" y="1764"/>
                    <a:pt x="1232" y="1748"/>
                    <a:pt x="1239" y="1752"/>
                  </a:cubicBezTo>
                  <a:cubicBezTo>
                    <a:pt x="1247" y="1757"/>
                    <a:pt x="1236" y="1768"/>
                    <a:pt x="1236" y="1768"/>
                  </a:cubicBezTo>
                  <a:cubicBezTo>
                    <a:pt x="1247" y="1772"/>
                    <a:pt x="1247" y="1772"/>
                    <a:pt x="1247" y="1772"/>
                  </a:cubicBezTo>
                  <a:cubicBezTo>
                    <a:pt x="1247" y="1772"/>
                    <a:pt x="1268" y="1744"/>
                    <a:pt x="1277" y="1738"/>
                  </a:cubicBezTo>
                  <a:cubicBezTo>
                    <a:pt x="1285" y="1733"/>
                    <a:pt x="1268" y="1726"/>
                    <a:pt x="1268" y="1726"/>
                  </a:cubicBezTo>
                  <a:cubicBezTo>
                    <a:pt x="1282" y="1706"/>
                    <a:pt x="1282" y="1706"/>
                    <a:pt x="1282" y="1706"/>
                  </a:cubicBezTo>
                  <a:cubicBezTo>
                    <a:pt x="1282" y="1706"/>
                    <a:pt x="1292" y="1710"/>
                    <a:pt x="1303" y="1704"/>
                  </a:cubicBezTo>
                  <a:cubicBezTo>
                    <a:pt x="1314" y="1699"/>
                    <a:pt x="1305" y="1678"/>
                    <a:pt x="1315" y="1667"/>
                  </a:cubicBezTo>
                  <a:cubicBezTo>
                    <a:pt x="1326" y="1656"/>
                    <a:pt x="1340" y="1638"/>
                    <a:pt x="1332" y="1632"/>
                  </a:cubicBezTo>
                  <a:close/>
                  <a:moveTo>
                    <a:pt x="1269" y="162"/>
                  </a:moveTo>
                  <a:cubicBezTo>
                    <a:pt x="1263" y="162"/>
                    <a:pt x="1259" y="193"/>
                    <a:pt x="1259" y="193"/>
                  </a:cubicBezTo>
                  <a:cubicBezTo>
                    <a:pt x="1269" y="207"/>
                    <a:pt x="1290" y="195"/>
                    <a:pt x="1290" y="195"/>
                  </a:cubicBezTo>
                  <a:cubicBezTo>
                    <a:pt x="1286" y="186"/>
                    <a:pt x="1286" y="186"/>
                    <a:pt x="1286" y="186"/>
                  </a:cubicBezTo>
                  <a:cubicBezTo>
                    <a:pt x="1290" y="167"/>
                    <a:pt x="1290" y="167"/>
                    <a:pt x="1290" y="167"/>
                  </a:cubicBezTo>
                  <a:cubicBezTo>
                    <a:pt x="1290" y="167"/>
                    <a:pt x="1274" y="162"/>
                    <a:pt x="1269" y="162"/>
                  </a:cubicBezTo>
                  <a:close/>
                  <a:moveTo>
                    <a:pt x="1182" y="1554"/>
                  </a:moveTo>
                  <a:cubicBezTo>
                    <a:pt x="1175" y="1581"/>
                    <a:pt x="1175" y="1581"/>
                    <a:pt x="1175" y="1581"/>
                  </a:cubicBezTo>
                  <a:cubicBezTo>
                    <a:pt x="1209" y="1549"/>
                    <a:pt x="1209" y="1549"/>
                    <a:pt x="1209" y="1549"/>
                  </a:cubicBezTo>
                  <a:lnTo>
                    <a:pt x="1182" y="1554"/>
                  </a:lnTo>
                  <a:close/>
                  <a:moveTo>
                    <a:pt x="1357" y="1597"/>
                  </a:moveTo>
                  <a:cubicBezTo>
                    <a:pt x="1345" y="1572"/>
                    <a:pt x="1345" y="1572"/>
                    <a:pt x="1345" y="1572"/>
                  </a:cubicBezTo>
                  <a:cubicBezTo>
                    <a:pt x="1345" y="1572"/>
                    <a:pt x="1333" y="1579"/>
                    <a:pt x="1332" y="1587"/>
                  </a:cubicBezTo>
                  <a:cubicBezTo>
                    <a:pt x="1332" y="1594"/>
                    <a:pt x="1334" y="1597"/>
                    <a:pt x="1343" y="1600"/>
                  </a:cubicBezTo>
                  <a:cubicBezTo>
                    <a:pt x="1352" y="1603"/>
                    <a:pt x="1357" y="1597"/>
                    <a:pt x="1357" y="1597"/>
                  </a:cubicBezTo>
                  <a:close/>
                </a:path>
              </a:pathLst>
            </a:custGeom>
            <a:solidFill>
              <a:schemeClr val="bg1">
                <a:lumMod val="85000"/>
              </a:schemeClr>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grpSp>
    </p:spTree>
    <p:custDataLst>
      <p:tags r:id="rId1"/>
    </p:custDataLst>
    <p:extLst>
      <p:ext uri="{BB962C8B-B14F-4D97-AF65-F5344CB8AC3E}">
        <p14:creationId xmlns:p14="http://schemas.microsoft.com/office/powerpoint/2010/main" val="2971582684"/>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9" name="World map">
            <a:extLst>
              <a:ext uri="{FF2B5EF4-FFF2-40B4-BE49-F238E27FC236}">
                <a16:creationId xmlns:a16="http://schemas.microsoft.com/office/drawing/2014/main" id="{24B744B2-B2F6-4287-85E2-FC8FC21926EE}"/>
              </a:ext>
            </a:extLst>
          </p:cNvPr>
          <p:cNvGrpSpPr>
            <a:grpSpLocks/>
          </p:cNvGrpSpPr>
          <p:nvPr/>
        </p:nvGrpSpPr>
        <p:grpSpPr>
          <a:xfrm>
            <a:off x="810931" y="1387800"/>
            <a:ext cx="10570138" cy="5054401"/>
            <a:chOff x="806775" y="1387475"/>
            <a:chExt cx="10570131" cy="5151438"/>
          </a:xfrm>
          <a:gradFill>
            <a:gsLst>
              <a:gs pos="0">
                <a:schemeClr val="accent6"/>
              </a:gs>
              <a:gs pos="74000">
                <a:schemeClr val="accent5"/>
              </a:gs>
              <a:gs pos="83000">
                <a:schemeClr val="accent5"/>
              </a:gs>
              <a:gs pos="100000">
                <a:schemeClr val="accent5"/>
              </a:gs>
            </a:gsLst>
            <a:lin ang="16200000" scaled="0"/>
          </a:gradFill>
        </p:grpSpPr>
        <p:sp>
          <p:nvSpPr>
            <p:cNvPr id="204" name="Paracel Islands">
              <a:extLst>
                <a:ext uri="{FF2B5EF4-FFF2-40B4-BE49-F238E27FC236}">
                  <a16:creationId xmlns:a16="http://schemas.microsoft.com/office/drawing/2014/main" id="{A37C0298-907E-42A6-B922-EA92FC519E4A}"/>
                </a:ext>
              </a:extLst>
            </p:cNvPr>
            <p:cNvSpPr>
              <a:spLocks noEditPoints="1"/>
            </p:cNvSpPr>
            <p:nvPr/>
          </p:nvSpPr>
          <p:spPr bwMode="gray">
            <a:xfrm>
              <a:off x="9420174" y="3730515"/>
              <a:ext cx="53106" cy="38780"/>
            </a:xfrm>
            <a:custGeom>
              <a:avLst/>
              <a:gdLst>
                <a:gd name="T0" fmla="*/ 16 w 76"/>
                <a:gd name="T1" fmla="*/ 34 h 52"/>
                <a:gd name="T2" fmla="*/ 11 w 76"/>
                <a:gd name="T3" fmla="*/ 52 h 52"/>
                <a:gd name="T4" fmla="*/ 16 w 76"/>
                <a:gd name="T5" fmla="*/ 34 h 52"/>
                <a:gd name="T6" fmla="*/ 35 w 76"/>
                <a:gd name="T7" fmla="*/ 8 h 52"/>
                <a:gd name="T8" fmla="*/ 47 w 76"/>
                <a:gd name="T9" fmla="*/ 26 h 52"/>
                <a:gd name="T10" fmla="*/ 58 w 76"/>
                <a:gd name="T11" fmla="*/ 21 h 52"/>
                <a:gd name="T12" fmla="*/ 35 w 76"/>
                <a:gd name="T13" fmla="*/ 8 h 52"/>
                <a:gd name="T14" fmla="*/ 71 w 76"/>
                <a:gd name="T15" fmla="*/ 32 h 52"/>
                <a:gd name="T16" fmla="*/ 58 w 76"/>
                <a:gd name="T17" fmla="*/ 42 h 52"/>
                <a:gd name="T18" fmla="*/ 71 w 76"/>
                <a:gd name="T19"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52">
                  <a:moveTo>
                    <a:pt x="16" y="34"/>
                  </a:moveTo>
                  <a:cubicBezTo>
                    <a:pt x="0" y="34"/>
                    <a:pt x="11" y="52"/>
                    <a:pt x="11" y="52"/>
                  </a:cubicBezTo>
                  <a:cubicBezTo>
                    <a:pt x="23" y="52"/>
                    <a:pt x="32" y="34"/>
                    <a:pt x="16" y="34"/>
                  </a:cubicBezTo>
                  <a:close/>
                  <a:moveTo>
                    <a:pt x="35" y="8"/>
                  </a:moveTo>
                  <a:cubicBezTo>
                    <a:pt x="28" y="16"/>
                    <a:pt x="47" y="26"/>
                    <a:pt x="47" y="26"/>
                  </a:cubicBezTo>
                  <a:cubicBezTo>
                    <a:pt x="58" y="21"/>
                    <a:pt x="58" y="21"/>
                    <a:pt x="58" y="21"/>
                  </a:cubicBezTo>
                  <a:cubicBezTo>
                    <a:pt x="58" y="21"/>
                    <a:pt x="41" y="0"/>
                    <a:pt x="35" y="8"/>
                  </a:cubicBezTo>
                  <a:close/>
                  <a:moveTo>
                    <a:pt x="71" y="32"/>
                  </a:moveTo>
                  <a:cubicBezTo>
                    <a:pt x="66" y="26"/>
                    <a:pt x="51" y="38"/>
                    <a:pt x="58" y="42"/>
                  </a:cubicBezTo>
                  <a:cubicBezTo>
                    <a:pt x="68" y="48"/>
                    <a:pt x="76" y="37"/>
                    <a:pt x="71" y="32"/>
                  </a:cubicBezTo>
                  <a:close/>
                </a:path>
              </a:pathLst>
            </a:custGeom>
            <a:solidFill>
              <a:srgbClr val="DEDEDE"/>
            </a:solidFill>
            <a:ln w="0" cap="flat">
              <a:solidFill>
                <a:srgbClr val="FFFFFF"/>
              </a:solidFill>
              <a:prstDash val="solid"/>
              <a:miter lim="800000"/>
              <a:headEnd/>
              <a:tailEnd/>
            </a:ln>
          </p:spPr>
          <p:txBody>
            <a:bodyPr vert="horz" wrap="square" lIns="91401" tIns="45707" rIns="91401" bIns="45707" numCol="1" anchor="t" anchorCtr="0" compatLnSpc="1">
              <a:prstTxWarp prst="textNoShape">
                <a:avLst/>
              </a:prstTxWarp>
            </a:bodyPr>
            <a:lstStyle/>
            <a:p>
              <a:endParaRPr lang="en-US" dirty="0"/>
            </a:p>
          </p:txBody>
        </p:sp>
        <p:grpSp>
          <p:nvGrpSpPr>
            <p:cNvPr id="205" name="South America">
              <a:extLst>
                <a:ext uri="{FF2B5EF4-FFF2-40B4-BE49-F238E27FC236}">
                  <a16:creationId xmlns:a16="http://schemas.microsoft.com/office/drawing/2014/main" id="{A9F75E17-2EEC-40FD-AC35-E6443918455B}"/>
                </a:ext>
              </a:extLst>
            </p:cNvPr>
            <p:cNvGrpSpPr>
              <a:grpSpLocks/>
            </p:cNvGrpSpPr>
            <p:nvPr/>
          </p:nvGrpSpPr>
          <p:grpSpPr bwMode="gray">
            <a:xfrm>
              <a:off x="2886072" y="3916260"/>
              <a:ext cx="1595224" cy="2622653"/>
              <a:chOff x="3453658" y="3702732"/>
              <a:chExt cx="1240055" cy="2038995"/>
            </a:xfrm>
            <a:grpFill/>
          </p:grpSpPr>
          <p:sp>
            <p:nvSpPr>
              <p:cNvPr id="375" name="Venezuela">
                <a:extLst>
                  <a:ext uri="{FF2B5EF4-FFF2-40B4-BE49-F238E27FC236}">
                    <a16:creationId xmlns:a16="http://schemas.microsoft.com/office/drawing/2014/main" id="{7867F4F0-5EF4-4745-9A7C-81E6666A91ED}"/>
                  </a:ext>
                </a:extLst>
              </p:cNvPr>
              <p:cNvSpPr>
                <a:spLocks noEditPoints="1"/>
              </p:cNvSpPr>
              <p:nvPr/>
            </p:nvSpPr>
            <p:spPr bwMode="gray">
              <a:xfrm>
                <a:off x="3671181" y="3715427"/>
                <a:ext cx="358838" cy="349088"/>
              </a:xfrm>
              <a:custGeom>
                <a:avLst/>
                <a:gdLst>
                  <a:gd name="T0" fmla="*/ 175 w 642"/>
                  <a:gd name="T1" fmla="*/ 3 h 625"/>
                  <a:gd name="T2" fmla="*/ 165 w 642"/>
                  <a:gd name="T3" fmla="*/ 34 h 625"/>
                  <a:gd name="T4" fmla="*/ 630 w 642"/>
                  <a:gd name="T5" fmla="*/ 190 h 625"/>
                  <a:gd name="T6" fmla="*/ 595 w 642"/>
                  <a:gd name="T7" fmla="*/ 194 h 625"/>
                  <a:gd name="T8" fmla="*/ 553 w 642"/>
                  <a:gd name="T9" fmla="*/ 194 h 625"/>
                  <a:gd name="T10" fmla="*/ 586 w 642"/>
                  <a:gd name="T11" fmla="*/ 167 h 625"/>
                  <a:gd name="T12" fmla="*/ 572 w 642"/>
                  <a:gd name="T13" fmla="*/ 143 h 625"/>
                  <a:gd name="T14" fmla="*/ 556 w 642"/>
                  <a:gd name="T15" fmla="*/ 143 h 625"/>
                  <a:gd name="T16" fmla="*/ 536 w 642"/>
                  <a:gd name="T17" fmla="*/ 123 h 625"/>
                  <a:gd name="T18" fmla="*/ 522 w 642"/>
                  <a:gd name="T19" fmla="*/ 129 h 625"/>
                  <a:gd name="T20" fmla="*/ 498 w 642"/>
                  <a:gd name="T21" fmla="*/ 117 h 625"/>
                  <a:gd name="T22" fmla="*/ 501 w 642"/>
                  <a:gd name="T23" fmla="*/ 93 h 625"/>
                  <a:gd name="T24" fmla="*/ 457 w 642"/>
                  <a:gd name="T25" fmla="*/ 84 h 625"/>
                  <a:gd name="T26" fmla="*/ 435 w 642"/>
                  <a:gd name="T27" fmla="*/ 99 h 625"/>
                  <a:gd name="T28" fmla="*/ 346 w 642"/>
                  <a:gd name="T29" fmla="*/ 88 h 625"/>
                  <a:gd name="T30" fmla="*/ 242 w 642"/>
                  <a:gd name="T31" fmla="*/ 68 h 625"/>
                  <a:gd name="T32" fmla="*/ 147 w 642"/>
                  <a:gd name="T33" fmla="*/ 56 h 625"/>
                  <a:gd name="T34" fmla="*/ 113 w 642"/>
                  <a:gd name="T35" fmla="*/ 136 h 625"/>
                  <a:gd name="T36" fmla="*/ 89 w 642"/>
                  <a:gd name="T37" fmla="*/ 154 h 625"/>
                  <a:gd name="T38" fmla="*/ 82 w 642"/>
                  <a:gd name="T39" fmla="*/ 102 h 625"/>
                  <a:gd name="T40" fmla="*/ 77 w 642"/>
                  <a:gd name="T41" fmla="*/ 38 h 625"/>
                  <a:gd name="T42" fmla="*/ 38 w 642"/>
                  <a:gd name="T43" fmla="*/ 77 h 625"/>
                  <a:gd name="T44" fmla="*/ 24 w 642"/>
                  <a:gd name="T45" fmla="*/ 115 h 625"/>
                  <a:gd name="T46" fmla="*/ 5 w 642"/>
                  <a:gd name="T47" fmla="*/ 162 h 625"/>
                  <a:gd name="T48" fmla="*/ 35 w 642"/>
                  <a:gd name="T49" fmla="*/ 180 h 625"/>
                  <a:gd name="T50" fmla="*/ 50 w 642"/>
                  <a:gd name="T51" fmla="*/ 216 h 625"/>
                  <a:gd name="T52" fmla="*/ 41 w 642"/>
                  <a:gd name="T53" fmla="*/ 259 h 625"/>
                  <a:gd name="T54" fmla="*/ 59 w 642"/>
                  <a:gd name="T55" fmla="*/ 280 h 625"/>
                  <a:gd name="T56" fmla="*/ 111 w 642"/>
                  <a:gd name="T57" fmla="*/ 284 h 625"/>
                  <a:gd name="T58" fmla="*/ 136 w 642"/>
                  <a:gd name="T59" fmla="*/ 284 h 625"/>
                  <a:gd name="T60" fmla="*/ 181 w 642"/>
                  <a:gd name="T61" fmla="*/ 330 h 625"/>
                  <a:gd name="T62" fmla="*/ 203 w 642"/>
                  <a:gd name="T63" fmla="*/ 322 h 625"/>
                  <a:gd name="T64" fmla="*/ 232 w 642"/>
                  <a:gd name="T65" fmla="*/ 324 h 625"/>
                  <a:gd name="T66" fmla="*/ 276 w 642"/>
                  <a:gd name="T67" fmla="*/ 323 h 625"/>
                  <a:gd name="T68" fmla="*/ 263 w 642"/>
                  <a:gd name="T69" fmla="*/ 362 h 625"/>
                  <a:gd name="T70" fmla="*/ 254 w 642"/>
                  <a:gd name="T71" fmla="*/ 404 h 625"/>
                  <a:gd name="T72" fmla="*/ 261 w 642"/>
                  <a:gd name="T73" fmla="*/ 440 h 625"/>
                  <a:gd name="T74" fmla="*/ 278 w 642"/>
                  <a:gd name="T75" fmla="*/ 476 h 625"/>
                  <a:gd name="T76" fmla="*/ 259 w 642"/>
                  <a:gd name="T77" fmla="*/ 507 h 625"/>
                  <a:gd name="T78" fmla="*/ 284 w 642"/>
                  <a:gd name="T79" fmla="*/ 549 h 625"/>
                  <a:gd name="T80" fmla="*/ 299 w 642"/>
                  <a:gd name="T81" fmla="*/ 594 h 625"/>
                  <a:gd name="T82" fmla="*/ 326 w 642"/>
                  <a:gd name="T83" fmla="*/ 619 h 625"/>
                  <a:gd name="T84" fmla="*/ 362 w 642"/>
                  <a:gd name="T85" fmla="*/ 624 h 625"/>
                  <a:gd name="T86" fmla="*/ 400 w 642"/>
                  <a:gd name="T87" fmla="*/ 593 h 625"/>
                  <a:gd name="T88" fmla="*/ 420 w 642"/>
                  <a:gd name="T89" fmla="*/ 579 h 625"/>
                  <a:gd name="T90" fmla="*/ 457 w 642"/>
                  <a:gd name="T91" fmla="*/ 547 h 625"/>
                  <a:gd name="T92" fmla="*/ 432 w 642"/>
                  <a:gd name="T93" fmla="*/ 524 h 625"/>
                  <a:gd name="T94" fmla="*/ 419 w 642"/>
                  <a:gd name="T95" fmla="*/ 490 h 625"/>
                  <a:gd name="T96" fmla="*/ 400 w 642"/>
                  <a:gd name="T97" fmla="*/ 425 h 625"/>
                  <a:gd name="T98" fmla="*/ 429 w 642"/>
                  <a:gd name="T99" fmla="*/ 433 h 625"/>
                  <a:gd name="T100" fmla="*/ 450 w 642"/>
                  <a:gd name="T101" fmla="*/ 444 h 625"/>
                  <a:gd name="T102" fmla="*/ 469 w 642"/>
                  <a:gd name="T103" fmla="*/ 446 h 625"/>
                  <a:gd name="T104" fmla="*/ 507 w 642"/>
                  <a:gd name="T105" fmla="*/ 432 h 625"/>
                  <a:gd name="T106" fmla="*/ 551 w 642"/>
                  <a:gd name="T107" fmla="*/ 424 h 625"/>
                  <a:gd name="T108" fmla="*/ 583 w 642"/>
                  <a:gd name="T109" fmla="*/ 414 h 625"/>
                  <a:gd name="T110" fmla="*/ 596 w 642"/>
                  <a:gd name="T111" fmla="*/ 399 h 625"/>
                  <a:gd name="T112" fmla="*/ 563 w 642"/>
                  <a:gd name="T113" fmla="*/ 340 h 625"/>
                  <a:gd name="T114" fmla="*/ 570 w 642"/>
                  <a:gd name="T115" fmla="*/ 299 h 625"/>
                  <a:gd name="T116" fmla="*/ 616 w 642"/>
                  <a:gd name="T117" fmla="*/ 273 h 625"/>
                  <a:gd name="T118" fmla="*/ 601 w 642"/>
                  <a:gd name="T119" fmla="*/ 250 h 625"/>
                  <a:gd name="T120" fmla="*/ 635 w 642"/>
                  <a:gd name="T121" fmla="*/ 218 h 625"/>
                  <a:gd name="T122" fmla="*/ 630 w 642"/>
                  <a:gd name="T123" fmla="*/ 19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2" h="625">
                    <a:moveTo>
                      <a:pt x="182" y="33"/>
                    </a:moveTo>
                    <a:cubicBezTo>
                      <a:pt x="182" y="33"/>
                      <a:pt x="187" y="6"/>
                      <a:pt x="175" y="3"/>
                    </a:cubicBezTo>
                    <a:cubicBezTo>
                      <a:pt x="164" y="0"/>
                      <a:pt x="158" y="7"/>
                      <a:pt x="158" y="13"/>
                    </a:cubicBezTo>
                    <a:cubicBezTo>
                      <a:pt x="158" y="18"/>
                      <a:pt x="165" y="34"/>
                      <a:pt x="165" y="34"/>
                    </a:cubicBezTo>
                    <a:lnTo>
                      <a:pt x="182" y="33"/>
                    </a:lnTo>
                    <a:close/>
                    <a:moveTo>
                      <a:pt x="630" y="190"/>
                    </a:moveTo>
                    <a:cubicBezTo>
                      <a:pt x="626" y="184"/>
                      <a:pt x="611" y="201"/>
                      <a:pt x="611" y="201"/>
                    </a:cubicBezTo>
                    <a:cubicBezTo>
                      <a:pt x="611" y="201"/>
                      <a:pt x="601" y="197"/>
                      <a:pt x="595" y="194"/>
                    </a:cubicBezTo>
                    <a:cubicBezTo>
                      <a:pt x="589" y="191"/>
                      <a:pt x="575" y="208"/>
                      <a:pt x="575" y="208"/>
                    </a:cubicBezTo>
                    <a:cubicBezTo>
                      <a:pt x="553" y="194"/>
                      <a:pt x="553" y="194"/>
                      <a:pt x="553" y="194"/>
                    </a:cubicBezTo>
                    <a:cubicBezTo>
                      <a:pt x="553" y="194"/>
                      <a:pt x="579" y="194"/>
                      <a:pt x="583" y="187"/>
                    </a:cubicBezTo>
                    <a:cubicBezTo>
                      <a:pt x="587" y="180"/>
                      <a:pt x="586" y="167"/>
                      <a:pt x="586" y="167"/>
                    </a:cubicBezTo>
                    <a:cubicBezTo>
                      <a:pt x="586" y="167"/>
                      <a:pt x="596" y="166"/>
                      <a:pt x="598" y="153"/>
                    </a:cubicBezTo>
                    <a:cubicBezTo>
                      <a:pt x="600" y="140"/>
                      <a:pt x="572" y="143"/>
                      <a:pt x="572" y="143"/>
                    </a:cubicBezTo>
                    <a:cubicBezTo>
                      <a:pt x="572" y="143"/>
                      <a:pt x="568" y="129"/>
                      <a:pt x="561" y="128"/>
                    </a:cubicBezTo>
                    <a:cubicBezTo>
                      <a:pt x="554" y="127"/>
                      <a:pt x="556" y="143"/>
                      <a:pt x="556" y="143"/>
                    </a:cubicBezTo>
                    <a:cubicBezTo>
                      <a:pt x="556" y="143"/>
                      <a:pt x="550" y="134"/>
                      <a:pt x="550" y="128"/>
                    </a:cubicBezTo>
                    <a:cubicBezTo>
                      <a:pt x="550" y="122"/>
                      <a:pt x="536" y="123"/>
                      <a:pt x="536" y="123"/>
                    </a:cubicBezTo>
                    <a:cubicBezTo>
                      <a:pt x="532" y="143"/>
                      <a:pt x="532" y="143"/>
                      <a:pt x="532" y="143"/>
                    </a:cubicBezTo>
                    <a:cubicBezTo>
                      <a:pt x="532" y="143"/>
                      <a:pt x="524" y="135"/>
                      <a:pt x="522" y="129"/>
                    </a:cubicBezTo>
                    <a:cubicBezTo>
                      <a:pt x="520" y="123"/>
                      <a:pt x="519" y="109"/>
                      <a:pt x="519" y="109"/>
                    </a:cubicBezTo>
                    <a:cubicBezTo>
                      <a:pt x="498" y="117"/>
                      <a:pt x="498" y="117"/>
                      <a:pt x="498" y="117"/>
                    </a:cubicBezTo>
                    <a:cubicBezTo>
                      <a:pt x="498" y="117"/>
                      <a:pt x="514" y="108"/>
                      <a:pt x="514" y="103"/>
                    </a:cubicBezTo>
                    <a:cubicBezTo>
                      <a:pt x="514" y="98"/>
                      <a:pt x="501" y="98"/>
                      <a:pt x="501" y="93"/>
                    </a:cubicBezTo>
                    <a:cubicBezTo>
                      <a:pt x="501" y="88"/>
                      <a:pt x="543" y="88"/>
                      <a:pt x="547" y="82"/>
                    </a:cubicBezTo>
                    <a:cubicBezTo>
                      <a:pt x="551" y="76"/>
                      <a:pt x="457" y="84"/>
                      <a:pt x="457" y="84"/>
                    </a:cubicBezTo>
                    <a:cubicBezTo>
                      <a:pt x="466" y="94"/>
                      <a:pt x="466" y="94"/>
                      <a:pt x="466" y="94"/>
                    </a:cubicBezTo>
                    <a:cubicBezTo>
                      <a:pt x="466" y="94"/>
                      <a:pt x="444" y="96"/>
                      <a:pt x="435" y="99"/>
                    </a:cubicBezTo>
                    <a:cubicBezTo>
                      <a:pt x="426" y="102"/>
                      <a:pt x="402" y="119"/>
                      <a:pt x="402" y="119"/>
                    </a:cubicBezTo>
                    <a:cubicBezTo>
                      <a:pt x="378" y="120"/>
                      <a:pt x="346" y="88"/>
                      <a:pt x="346" y="88"/>
                    </a:cubicBezTo>
                    <a:cubicBezTo>
                      <a:pt x="346" y="88"/>
                      <a:pt x="265" y="93"/>
                      <a:pt x="255" y="92"/>
                    </a:cubicBezTo>
                    <a:cubicBezTo>
                      <a:pt x="245" y="91"/>
                      <a:pt x="242" y="82"/>
                      <a:pt x="242" y="68"/>
                    </a:cubicBezTo>
                    <a:cubicBezTo>
                      <a:pt x="242" y="54"/>
                      <a:pt x="236" y="44"/>
                      <a:pt x="210" y="39"/>
                    </a:cubicBezTo>
                    <a:cubicBezTo>
                      <a:pt x="184" y="34"/>
                      <a:pt x="147" y="56"/>
                      <a:pt x="147" y="56"/>
                    </a:cubicBezTo>
                    <a:cubicBezTo>
                      <a:pt x="147" y="56"/>
                      <a:pt x="120" y="62"/>
                      <a:pt x="104" y="76"/>
                    </a:cubicBezTo>
                    <a:cubicBezTo>
                      <a:pt x="88" y="90"/>
                      <a:pt x="111" y="116"/>
                      <a:pt x="113" y="136"/>
                    </a:cubicBezTo>
                    <a:cubicBezTo>
                      <a:pt x="115" y="156"/>
                      <a:pt x="88" y="172"/>
                      <a:pt x="88" y="172"/>
                    </a:cubicBezTo>
                    <a:cubicBezTo>
                      <a:pt x="89" y="154"/>
                      <a:pt x="89" y="154"/>
                      <a:pt x="89" y="154"/>
                    </a:cubicBezTo>
                    <a:cubicBezTo>
                      <a:pt x="89" y="154"/>
                      <a:pt x="71" y="149"/>
                      <a:pt x="65" y="139"/>
                    </a:cubicBezTo>
                    <a:cubicBezTo>
                      <a:pt x="59" y="129"/>
                      <a:pt x="75" y="111"/>
                      <a:pt x="82" y="102"/>
                    </a:cubicBezTo>
                    <a:cubicBezTo>
                      <a:pt x="89" y="93"/>
                      <a:pt x="88" y="77"/>
                      <a:pt x="88" y="65"/>
                    </a:cubicBezTo>
                    <a:cubicBezTo>
                      <a:pt x="88" y="53"/>
                      <a:pt x="77" y="38"/>
                      <a:pt x="77" y="38"/>
                    </a:cubicBezTo>
                    <a:cubicBezTo>
                      <a:pt x="77" y="38"/>
                      <a:pt x="76" y="53"/>
                      <a:pt x="65" y="56"/>
                    </a:cubicBezTo>
                    <a:cubicBezTo>
                      <a:pt x="54" y="60"/>
                      <a:pt x="45" y="64"/>
                      <a:pt x="38" y="77"/>
                    </a:cubicBezTo>
                    <a:cubicBezTo>
                      <a:pt x="30" y="90"/>
                      <a:pt x="30" y="110"/>
                      <a:pt x="30" y="110"/>
                    </a:cubicBezTo>
                    <a:cubicBezTo>
                      <a:pt x="24" y="115"/>
                      <a:pt x="24" y="115"/>
                      <a:pt x="24" y="115"/>
                    </a:cubicBezTo>
                    <a:cubicBezTo>
                      <a:pt x="24" y="133"/>
                      <a:pt x="24" y="133"/>
                      <a:pt x="24" y="133"/>
                    </a:cubicBezTo>
                    <a:cubicBezTo>
                      <a:pt x="24" y="133"/>
                      <a:pt x="0" y="154"/>
                      <a:pt x="5" y="162"/>
                    </a:cubicBezTo>
                    <a:cubicBezTo>
                      <a:pt x="10" y="171"/>
                      <a:pt x="14" y="157"/>
                      <a:pt x="21" y="157"/>
                    </a:cubicBezTo>
                    <a:cubicBezTo>
                      <a:pt x="28" y="157"/>
                      <a:pt x="35" y="171"/>
                      <a:pt x="35" y="180"/>
                    </a:cubicBezTo>
                    <a:cubicBezTo>
                      <a:pt x="35" y="189"/>
                      <a:pt x="36" y="195"/>
                      <a:pt x="36" y="195"/>
                    </a:cubicBezTo>
                    <a:cubicBezTo>
                      <a:pt x="36" y="195"/>
                      <a:pt x="52" y="204"/>
                      <a:pt x="50" y="216"/>
                    </a:cubicBezTo>
                    <a:cubicBezTo>
                      <a:pt x="48" y="229"/>
                      <a:pt x="42" y="232"/>
                      <a:pt x="42" y="232"/>
                    </a:cubicBezTo>
                    <a:cubicBezTo>
                      <a:pt x="41" y="259"/>
                      <a:pt x="41" y="259"/>
                      <a:pt x="41" y="259"/>
                    </a:cubicBezTo>
                    <a:cubicBezTo>
                      <a:pt x="51" y="259"/>
                      <a:pt x="51" y="259"/>
                      <a:pt x="51" y="259"/>
                    </a:cubicBezTo>
                    <a:cubicBezTo>
                      <a:pt x="51" y="259"/>
                      <a:pt x="50" y="277"/>
                      <a:pt x="59" y="280"/>
                    </a:cubicBezTo>
                    <a:cubicBezTo>
                      <a:pt x="68" y="283"/>
                      <a:pt x="79" y="278"/>
                      <a:pt x="83" y="278"/>
                    </a:cubicBezTo>
                    <a:cubicBezTo>
                      <a:pt x="88" y="278"/>
                      <a:pt x="106" y="285"/>
                      <a:pt x="111" y="284"/>
                    </a:cubicBezTo>
                    <a:cubicBezTo>
                      <a:pt x="116" y="283"/>
                      <a:pt x="117" y="277"/>
                      <a:pt x="122" y="277"/>
                    </a:cubicBezTo>
                    <a:cubicBezTo>
                      <a:pt x="127" y="277"/>
                      <a:pt x="136" y="284"/>
                      <a:pt x="136" y="284"/>
                    </a:cubicBezTo>
                    <a:cubicBezTo>
                      <a:pt x="154" y="285"/>
                      <a:pt x="154" y="285"/>
                      <a:pt x="154" y="285"/>
                    </a:cubicBezTo>
                    <a:cubicBezTo>
                      <a:pt x="154" y="285"/>
                      <a:pt x="173" y="327"/>
                      <a:pt x="181" y="330"/>
                    </a:cubicBezTo>
                    <a:cubicBezTo>
                      <a:pt x="189" y="332"/>
                      <a:pt x="197" y="329"/>
                      <a:pt x="197" y="329"/>
                    </a:cubicBezTo>
                    <a:cubicBezTo>
                      <a:pt x="197" y="329"/>
                      <a:pt x="195" y="322"/>
                      <a:pt x="203" y="322"/>
                    </a:cubicBezTo>
                    <a:cubicBezTo>
                      <a:pt x="211" y="322"/>
                      <a:pt x="213" y="329"/>
                      <a:pt x="221" y="330"/>
                    </a:cubicBezTo>
                    <a:cubicBezTo>
                      <a:pt x="229" y="331"/>
                      <a:pt x="232" y="324"/>
                      <a:pt x="232" y="324"/>
                    </a:cubicBezTo>
                    <a:cubicBezTo>
                      <a:pt x="251" y="326"/>
                      <a:pt x="251" y="326"/>
                      <a:pt x="251" y="326"/>
                    </a:cubicBezTo>
                    <a:cubicBezTo>
                      <a:pt x="251" y="326"/>
                      <a:pt x="270" y="311"/>
                      <a:pt x="276" y="323"/>
                    </a:cubicBezTo>
                    <a:cubicBezTo>
                      <a:pt x="282" y="336"/>
                      <a:pt x="265" y="344"/>
                      <a:pt x="265" y="344"/>
                    </a:cubicBezTo>
                    <a:cubicBezTo>
                      <a:pt x="265" y="344"/>
                      <a:pt x="266" y="359"/>
                      <a:pt x="263" y="362"/>
                    </a:cubicBezTo>
                    <a:cubicBezTo>
                      <a:pt x="260" y="365"/>
                      <a:pt x="250" y="370"/>
                      <a:pt x="251" y="375"/>
                    </a:cubicBezTo>
                    <a:cubicBezTo>
                      <a:pt x="252" y="380"/>
                      <a:pt x="254" y="398"/>
                      <a:pt x="254" y="404"/>
                    </a:cubicBezTo>
                    <a:cubicBezTo>
                      <a:pt x="254" y="410"/>
                      <a:pt x="252" y="433"/>
                      <a:pt x="252" y="433"/>
                    </a:cubicBezTo>
                    <a:cubicBezTo>
                      <a:pt x="252" y="433"/>
                      <a:pt x="261" y="437"/>
                      <a:pt x="261" y="440"/>
                    </a:cubicBezTo>
                    <a:cubicBezTo>
                      <a:pt x="261" y="443"/>
                      <a:pt x="262" y="452"/>
                      <a:pt x="262" y="452"/>
                    </a:cubicBezTo>
                    <a:cubicBezTo>
                      <a:pt x="262" y="452"/>
                      <a:pt x="278" y="466"/>
                      <a:pt x="278" y="476"/>
                    </a:cubicBezTo>
                    <a:cubicBezTo>
                      <a:pt x="278" y="486"/>
                      <a:pt x="249" y="504"/>
                      <a:pt x="249" y="504"/>
                    </a:cubicBezTo>
                    <a:cubicBezTo>
                      <a:pt x="259" y="507"/>
                      <a:pt x="259" y="507"/>
                      <a:pt x="259" y="507"/>
                    </a:cubicBezTo>
                    <a:cubicBezTo>
                      <a:pt x="259" y="507"/>
                      <a:pt x="281" y="521"/>
                      <a:pt x="281" y="525"/>
                    </a:cubicBezTo>
                    <a:cubicBezTo>
                      <a:pt x="281" y="529"/>
                      <a:pt x="284" y="549"/>
                      <a:pt x="284" y="549"/>
                    </a:cubicBezTo>
                    <a:cubicBezTo>
                      <a:pt x="284" y="549"/>
                      <a:pt x="295" y="575"/>
                      <a:pt x="294" y="580"/>
                    </a:cubicBezTo>
                    <a:cubicBezTo>
                      <a:pt x="293" y="585"/>
                      <a:pt x="299" y="594"/>
                      <a:pt x="299" y="594"/>
                    </a:cubicBezTo>
                    <a:cubicBezTo>
                      <a:pt x="299" y="594"/>
                      <a:pt x="306" y="607"/>
                      <a:pt x="310" y="612"/>
                    </a:cubicBezTo>
                    <a:cubicBezTo>
                      <a:pt x="314" y="617"/>
                      <a:pt x="326" y="619"/>
                      <a:pt x="326" y="619"/>
                    </a:cubicBezTo>
                    <a:cubicBezTo>
                      <a:pt x="336" y="625"/>
                      <a:pt x="347" y="603"/>
                      <a:pt x="356" y="605"/>
                    </a:cubicBezTo>
                    <a:cubicBezTo>
                      <a:pt x="365" y="607"/>
                      <a:pt x="354" y="624"/>
                      <a:pt x="362" y="624"/>
                    </a:cubicBezTo>
                    <a:cubicBezTo>
                      <a:pt x="370" y="624"/>
                      <a:pt x="376" y="599"/>
                      <a:pt x="382" y="595"/>
                    </a:cubicBezTo>
                    <a:cubicBezTo>
                      <a:pt x="388" y="591"/>
                      <a:pt x="400" y="593"/>
                      <a:pt x="400" y="593"/>
                    </a:cubicBezTo>
                    <a:cubicBezTo>
                      <a:pt x="402" y="587"/>
                      <a:pt x="402" y="587"/>
                      <a:pt x="402" y="587"/>
                    </a:cubicBezTo>
                    <a:cubicBezTo>
                      <a:pt x="402" y="587"/>
                      <a:pt x="407" y="583"/>
                      <a:pt x="420" y="579"/>
                    </a:cubicBezTo>
                    <a:cubicBezTo>
                      <a:pt x="433" y="575"/>
                      <a:pt x="432" y="550"/>
                      <a:pt x="432" y="550"/>
                    </a:cubicBezTo>
                    <a:cubicBezTo>
                      <a:pt x="432" y="550"/>
                      <a:pt x="445" y="553"/>
                      <a:pt x="457" y="547"/>
                    </a:cubicBezTo>
                    <a:cubicBezTo>
                      <a:pt x="469" y="541"/>
                      <a:pt x="462" y="527"/>
                      <a:pt x="462" y="527"/>
                    </a:cubicBezTo>
                    <a:cubicBezTo>
                      <a:pt x="432" y="524"/>
                      <a:pt x="432" y="524"/>
                      <a:pt x="432" y="524"/>
                    </a:cubicBezTo>
                    <a:cubicBezTo>
                      <a:pt x="432" y="524"/>
                      <a:pt x="432" y="515"/>
                      <a:pt x="432" y="508"/>
                    </a:cubicBezTo>
                    <a:cubicBezTo>
                      <a:pt x="432" y="501"/>
                      <a:pt x="419" y="490"/>
                      <a:pt x="419" y="490"/>
                    </a:cubicBezTo>
                    <a:cubicBezTo>
                      <a:pt x="419" y="490"/>
                      <a:pt x="434" y="466"/>
                      <a:pt x="412" y="455"/>
                    </a:cubicBezTo>
                    <a:cubicBezTo>
                      <a:pt x="390" y="444"/>
                      <a:pt x="400" y="425"/>
                      <a:pt x="400" y="425"/>
                    </a:cubicBezTo>
                    <a:cubicBezTo>
                      <a:pt x="400" y="425"/>
                      <a:pt x="403" y="431"/>
                      <a:pt x="406" y="434"/>
                    </a:cubicBezTo>
                    <a:cubicBezTo>
                      <a:pt x="409" y="437"/>
                      <a:pt x="418" y="429"/>
                      <a:pt x="429" y="433"/>
                    </a:cubicBezTo>
                    <a:cubicBezTo>
                      <a:pt x="440" y="437"/>
                      <a:pt x="434" y="446"/>
                      <a:pt x="436" y="449"/>
                    </a:cubicBezTo>
                    <a:cubicBezTo>
                      <a:pt x="438" y="452"/>
                      <a:pt x="450" y="444"/>
                      <a:pt x="450" y="444"/>
                    </a:cubicBezTo>
                    <a:cubicBezTo>
                      <a:pt x="460" y="450"/>
                      <a:pt x="460" y="450"/>
                      <a:pt x="460" y="450"/>
                    </a:cubicBezTo>
                    <a:cubicBezTo>
                      <a:pt x="460" y="450"/>
                      <a:pt x="465" y="442"/>
                      <a:pt x="469" y="446"/>
                    </a:cubicBezTo>
                    <a:cubicBezTo>
                      <a:pt x="473" y="450"/>
                      <a:pt x="484" y="469"/>
                      <a:pt x="493" y="469"/>
                    </a:cubicBezTo>
                    <a:cubicBezTo>
                      <a:pt x="502" y="469"/>
                      <a:pt x="499" y="435"/>
                      <a:pt x="507" y="432"/>
                    </a:cubicBezTo>
                    <a:cubicBezTo>
                      <a:pt x="515" y="429"/>
                      <a:pt x="521" y="437"/>
                      <a:pt x="528" y="437"/>
                    </a:cubicBezTo>
                    <a:cubicBezTo>
                      <a:pt x="535" y="437"/>
                      <a:pt x="549" y="430"/>
                      <a:pt x="551" y="424"/>
                    </a:cubicBezTo>
                    <a:cubicBezTo>
                      <a:pt x="553" y="418"/>
                      <a:pt x="565" y="413"/>
                      <a:pt x="565" y="413"/>
                    </a:cubicBezTo>
                    <a:cubicBezTo>
                      <a:pt x="583" y="414"/>
                      <a:pt x="583" y="414"/>
                      <a:pt x="583" y="414"/>
                    </a:cubicBezTo>
                    <a:cubicBezTo>
                      <a:pt x="581" y="404"/>
                      <a:pt x="581" y="404"/>
                      <a:pt x="581" y="404"/>
                    </a:cubicBezTo>
                    <a:cubicBezTo>
                      <a:pt x="581" y="404"/>
                      <a:pt x="592" y="406"/>
                      <a:pt x="596" y="399"/>
                    </a:cubicBezTo>
                    <a:cubicBezTo>
                      <a:pt x="600" y="392"/>
                      <a:pt x="594" y="378"/>
                      <a:pt x="594" y="378"/>
                    </a:cubicBezTo>
                    <a:cubicBezTo>
                      <a:pt x="594" y="378"/>
                      <a:pt x="567" y="351"/>
                      <a:pt x="563" y="340"/>
                    </a:cubicBezTo>
                    <a:cubicBezTo>
                      <a:pt x="559" y="329"/>
                      <a:pt x="572" y="330"/>
                      <a:pt x="581" y="322"/>
                    </a:cubicBezTo>
                    <a:cubicBezTo>
                      <a:pt x="590" y="315"/>
                      <a:pt x="570" y="304"/>
                      <a:pt x="570" y="299"/>
                    </a:cubicBezTo>
                    <a:cubicBezTo>
                      <a:pt x="570" y="294"/>
                      <a:pt x="595" y="295"/>
                      <a:pt x="606" y="291"/>
                    </a:cubicBezTo>
                    <a:cubicBezTo>
                      <a:pt x="617" y="287"/>
                      <a:pt x="616" y="277"/>
                      <a:pt x="616" y="273"/>
                    </a:cubicBezTo>
                    <a:cubicBezTo>
                      <a:pt x="616" y="270"/>
                      <a:pt x="609" y="270"/>
                      <a:pt x="605" y="270"/>
                    </a:cubicBezTo>
                    <a:cubicBezTo>
                      <a:pt x="601" y="270"/>
                      <a:pt x="603" y="259"/>
                      <a:pt x="601" y="250"/>
                    </a:cubicBezTo>
                    <a:cubicBezTo>
                      <a:pt x="599" y="241"/>
                      <a:pt x="615" y="236"/>
                      <a:pt x="621" y="234"/>
                    </a:cubicBezTo>
                    <a:cubicBezTo>
                      <a:pt x="628" y="232"/>
                      <a:pt x="635" y="218"/>
                      <a:pt x="635" y="218"/>
                    </a:cubicBezTo>
                    <a:cubicBezTo>
                      <a:pt x="642" y="206"/>
                      <a:pt x="642" y="206"/>
                      <a:pt x="642" y="206"/>
                    </a:cubicBezTo>
                    <a:cubicBezTo>
                      <a:pt x="642" y="206"/>
                      <a:pt x="634" y="196"/>
                      <a:pt x="630" y="190"/>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76" name="Uruguay">
                <a:extLst>
                  <a:ext uri="{FF2B5EF4-FFF2-40B4-BE49-F238E27FC236}">
                    <a16:creationId xmlns:a16="http://schemas.microsoft.com/office/drawing/2014/main" id="{06C9B174-2960-4D87-BD58-EEF940788848}"/>
                  </a:ext>
                </a:extLst>
              </p:cNvPr>
              <p:cNvSpPr>
                <a:spLocks/>
              </p:cNvSpPr>
              <p:nvPr/>
            </p:nvSpPr>
            <p:spPr bwMode="gray">
              <a:xfrm>
                <a:off x="4149103" y="4988014"/>
                <a:ext cx="136549" cy="144396"/>
              </a:xfrm>
              <a:custGeom>
                <a:avLst/>
                <a:gdLst>
                  <a:gd name="T0" fmla="*/ 92 w 246"/>
                  <a:gd name="T1" fmla="*/ 249 h 258"/>
                  <a:gd name="T2" fmla="*/ 152 w 246"/>
                  <a:gd name="T3" fmla="*/ 253 h 258"/>
                  <a:gd name="T4" fmla="*/ 220 w 246"/>
                  <a:gd name="T5" fmla="*/ 244 h 258"/>
                  <a:gd name="T6" fmla="*/ 243 w 246"/>
                  <a:gd name="T7" fmla="*/ 196 h 258"/>
                  <a:gd name="T8" fmla="*/ 233 w 246"/>
                  <a:gd name="T9" fmla="*/ 197 h 258"/>
                  <a:gd name="T10" fmla="*/ 234 w 246"/>
                  <a:gd name="T11" fmla="*/ 176 h 258"/>
                  <a:gd name="T12" fmla="*/ 227 w 246"/>
                  <a:gd name="T13" fmla="*/ 169 h 258"/>
                  <a:gd name="T14" fmla="*/ 241 w 246"/>
                  <a:gd name="T15" fmla="*/ 140 h 258"/>
                  <a:gd name="T16" fmla="*/ 219 w 246"/>
                  <a:gd name="T17" fmla="*/ 127 h 258"/>
                  <a:gd name="T18" fmla="*/ 201 w 246"/>
                  <a:gd name="T19" fmla="*/ 98 h 258"/>
                  <a:gd name="T20" fmla="*/ 182 w 246"/>
                  <a:gd name="T21" fmla="*/ 95 h 258"/>
                  <a:gd name="T22" fmla="*/ 164 w 246"/>
                  <a:gd name="T23" fmla="*/ 76 h 258"/>
                  <a:gd name="T24" fmla="*/ 152 w 246"/>
                  <a:gd name="T25" fmla="*/ 67 h 258"/>
                  <a:gd name="T26" fmla="*/ 140 w 246"/>
                  <a:gd name="T27" fmla="*/ 65 h 258"/>
                  <a:gd name="T28" fmla="*/ 116 w 246"/>
                  <a:gd name="T29" fmla="*/ 43 h 258"/>
                  <a:gd name="T30" fmla="*/ 101 w 246"/>
                  <a:gd name="T31" fmla="*/ 54 h 258"/>
                  <a:gd name="T32" fmla="*/ 85 w 246"/>
                  <a:gd name="T33" fmla="*/ 31 h 258"/>
                  <a:gd name="T34" fmla="*/ 48 w 246"/>
                  <a:gd name="T35" fmla="*/ 2 h 258"/>
                  <a:gd name="T36" fmla="*/ 30 w 246"/>
                  <a:gd name="T37" fmla="*/ 10 h 258"/>
                  <a:gd name="T38" fmla="*/ 14 w 246"/>
                  <a:gd name="T39" fmla="*/ 9 h 258"/>
                  <a:gd name="T40" fmla="*/ 0 w 246"/>
                  <a:gd name="T41" fmla="*/ 24 h 258"/>
                  <a:gd name="T42" fmla="*/ 21 w 246"/>
                  <a:gd name="T43" fmla="*/ 41 h 258"/>
                  <a:gd name="T44" fmla="*/ 3 w 246"/>
                  <a:gd name="T45" fmla="*/ 48 h 258"/>
                  <a:gd name="T46" fmla="*/ 3 w 246"/>
                  <a:gd name="T47" fmla="*/ 75 h 258"/>
                  <a:gd name="T48" fmla="*/ 20 w 246"/>
                  <a:gd name="T49" fmla="*/ 85 h 258"/>
                  <a:gd name="T50" fmla="*/ 2 w 246"/>
                  <a:gd name="T51" fmla="*/ 93 h 258"/>
                  <a:gd name="T52" fmla="*/ 16 w 246"/>
                  <a:gd name="T53" fmla="*/ 114 h 258"/>
                  <a:gd name="T54" fmla="*/ 9 w 246"/>
                  <a:gd name="T55" fmla="*/ 124 h 258"/>
                  <a:gd name="T56" fmla="*/ 28 w 246"/>
                  <a:gd name="T57" fmla="*/ 152 h 258"/>
                  <a:gd name="T58" fmla="*/ 4 w 246"/>
                  <a:gd name="T59" fmla="*/ 158 h 258"/>
                  <a:gd name="T60" fmla="*/ 4 w 246"/>
                  <a:gd name="T61" fmla="*/ 190 h 258"/>
                  <a:gd name="T62" fmla="*/ 24 w 246"/>
                  <a:gd name="T63" fmla="*/ 215 h 258"/>
                  <a:gd name="T64" fmla="*/ 51 w 246"/>
                  <a:gd name="T65" fmla="*/ 234 h 258"/>
                  <a:gd name="T66" fmla="*/ 58 w 246"/>
                  <a:gd name="T67" fmla="*/ 238 h 258"/>
                  <a:gd name="T68" fmla="*/ 85 w 246"/>
                  <a:gd name="T69" fmla="*/ 238 h 258"/>
                  <a:gd name="T70" fmla="*/ 92 w 246"/>
                  <a:gd name="T71" fmla="*/ 24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6" h="258">
                    <a:moveTo>
                      <a:pt x="92" y="249"/>
                    </a:moveTo>
                    <a:cubicBezTo>
                      <a:pt x="92" y="249"/>
                      <a:pt x="119" y="248"/>
                      <a:pt x="152" y="253"/>
                    </a:cubicBezTo>
                    <a:cubicBezTo>
                      <a:pt x="185" y="258"/>
                      <a:pt x="204" y="257"/>
                      <a:pt x="220" y="244"/>
                    </a:cubicBezTo>
                    <a:cubicBezTo>
                      <a:pt x="234" y="233"/>
                      <a:pt x="241" y="203"/>
                      <a:pt x="243" y="196"/>
                    </a:cubicBezTo>
                    <a:cubicBezTo>
                      <a:pt x="233" y="197"/>
                      <a:pt x="233" y="197"/>
                      <a:pt x="233" y="197"/>
                    </a:cubicBezTo>
                    <a:cubicBezTo>
                      <a:pt x="234" y="176"/>
                      <a:pt x="234" y="176"/>
                      <a:pt x="234" y="176"/>
                    </a:cubicBezTo>
                    <a:cubicBezTo>
                      <a:pt x="234" y="176"/>
                      <a:pt x="228" y="176"/>
                      <a:pt x="227" y="169"/>
                    </a:cubicBezTo>
                    <a:cubicBezTo>
                      <a:pt x="226" y="162"/>
                      <a:pt x="236" y="149"/>
                      <a:pt x="241" y="140"/>
                    </a:cubicBezTo>
                    <a:cubicBezTo>
                      <a:pt x="246" y="131"/>
                      <a:pt x="227" y="132"/>
                      <a:pt x="219" y="127"/>
                    </a:cubicBezTo>
                    <a:cubicBezTo>
                      <a:pt x="211" y="122"/>
                      <a:pt x="201" y="98"/>
                      <a:pt x="201" y="98"/>
                    </a:cubicBezTo>
                    <a:cubicBezTo>
                      <a:pt x="201" y="98"/>
                      <a:pt x="194" y="99"/>
                      <a:pt x="182" y="95"/>
                    </a:cubicBezTo>
                    <a:cubicBezTo>
                      <a:pt x="170" y="91"/>
                      <a:pt x="168" y="78"/>
                      <a:pt x="164" y="76"/>
                    </a:cubicBezTo>
                    <a:cubicBezTo>
                      <a:pt x="160" y="74"/>
                      <a:pt x="152" y="67"/>
                      <a:pt x="152" y="67"/>
                    </a:cubicBezTo>
                    <a:cubicBezTo>
                      <a:pt x="152" y="67"/>
                      <a:pt x="145" y="68"/>
                      <a:pt x="140" y="65"/>
                    </a:cubicBezTo>
                    <a:cubicBezTo>
                      <a:pt x="135" y="62"/>
                      <a:pt x="126" y="46"/>
                      <a:pt x="116" y="43"/>
                    </a:cubicBezTo>
                    <a:cubicBezTo>
                      <a:pt x="106" y="40"/>
                      <a:pt x="107" y="54"/>
                      <a:pt x="101" y="54"/>
                    </a:cubicBezTo>
                    <a:cubicBezTo>
                      <a:pt x="95" y="54"/>
                      <a:pt x="85" y="31"/>
                      <a:pt x="85" y="31"/>
                    </a:cubicBezTo>
                    <a:cubicBezTo>
                      <a:pt x="85" y="31"/>
                      <a:pt x="60" y="4"/>
                      <a:pt x="48" y="2"/>
                    </a:cubicBezTo>
                    <a:cubicBezTo>
                      <a:pt x="36" y="0"/>
                      <a:pt x="30" y="10"/>
                      <a:pt x="30" y="10"/>
                    </a:cubicBezTo>
                    <a:cubicBezTo>
                      <a:pt x="14" y="9"/>
                      <a:pt x="14" y="9"/>
                      <a:pt x="14" y="9"/>
                    </a:cubicBezTo>
                    <a:cubicBezTo>
                      <a:pt x="14" y="9"/>
                      <a:pt x="0" y="20"/>
                      <a:pt x="0" y="24"/>
                    </a:cubicBezTo>
                    <a:cubicBezTo>
                      <a:pt x="0" y="28"/>
                      <a:pt x="21" y="41"/>
                      <a:pt x="21" y="41"/>
                    </a:cubicBezTo>
                    <a:cubicBezTo>
                      <a:pt x="3" y="48"/>
                      <a:pt x="3" y="48"/>
                      <a:pt x="3" y="48"/>
                    </a:cubicBezTo>
                    <a:cubicBezTo>
                      <a:pt x="3" y="75"/>
                      <a:pt x="3" y="75"/>
                      <a:pt x="3" y="75"/>
                    </a:cubicBezTo>
                    <a:cubicBezTo>
                      <a:pt x="20" y="85"/>
                      <a:pt x="20" y="85"/>
                      <a:pt x="20" y="85"/>
                    </a:cubicBezTo>
                    <a:cubicBezTo>
                      <a:pt x="20" y="85"/>
                      <a:pt x="1" y="84"/>
                      <a:pt x="2" y="93"/>
                    </a:cubicBezTo>
                    <a:cubicBezTo>
                      <a:pt x="3" y="102"/>
                      <a:pt x="16" y="114"/>
                      <a:pt x="16" y="114"/>
                    </a:cubicBezTo>
                    <a:cubicBezTo>
                      <a:pt x="9" y="124"/>
                      <a:pt x="9" y="124"/>
                      <a:pt x="9" y="124"/>
                    </a:cubicBezTo>
                    <a:cubicBezTo>
                      <a:pt x="9" y="124"/>
                      <a:pt x="29" y="147"/>
                      <a:pt x="28" y="152"/>
                    </a:cubicBezTo>
                    <a:cubicBezTo>
                      <a:pt x="27" y="157"/>
                      <a:pt x="4" y="158"/>
                      <a:pt x="4" y="158"/>
                    </a:cubicBezTo>
                    <a:cubicBezTo>
                      <a:pt x="4" y="190"/>
                      <a:pt x="4" y="190"/>
                      <a:pt x="4" y="190"/>
                    </a:cubicBezTo>
                    <a:cubicBezTo>
                      <a:pt x="24" y="215"/>
                      <a:pt x="24" y="215"/>
                      <a:pt x="24" y="215"/>
                    </a:cubicBezTo>
                    <a:cubicBezTo>
                      <a:pt x="32" y="209"/>
                      <a:pt x="46" y="227"/>
                      <a:pt x="51" y="234"/>
                    </a:cubicBezTo>
                    <a:cubicBezTo>
                      <a:pt x="58" y="238"/>
                      <a:pt x="58" y="238"/>
                      <a:pt x="58" y="238"/>
                    </a:cubicBezTo>
                    <a:cubicBezTo>
                      <a:pt x="85" y="238"/>
                      <a:pt x="85" y="238"/>
                      <a:pt x="85" y="238"/>
                    </a:cubicBezTo>
                    <a:lnTo>
                      <a:pt x="92" y="249"/>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77" name="Suriname">
                <a:extLst>
                  <a:ext uri="{FF2B5EF4-FFF2-40B4-BE49-F238E27FC236}">
                    <a16:creationId xmlns:a16="http://schemas.microsoft.com/office/drawing/2014/main" id="{22FCAF92-E25C-4DD2-8D69-D5F99C4A88A4}"/>
                  </a:ext>
                </a:extLst>
              </p:cNvPr>
              <p:cNvSpPr>
                <a:spLocks/>
              </p:cNvSpPr>
              <p:nvPr/>
            </p:nvSpPr>
            <p:spPr bwMode="gray">
              <a:xfrm>
                <a:off x="4071302" y="3902665"/>
                <a:ext cx="111145" cy="126941"/>
              </a:xfrm>
              <a:custGeom>
                <a:avLst/>
                <a:gdLst>
                  <a:gd name="T0" fmla="*/ 43 w 199"/>
                  <a:gd name="T1" fmla="*/ 52 h 228"/>
                  <a:gd name="T2" fmla="*/ 10 w 199"/>
                  <a:gd name="T3" fmla="*/ 61 h 228"/>
                  <a:gd name="T4" fmla="*/ 11 w 199"/>
                  <a:gd name="T5" fmla="*/ 89 h 228"/>
                  <a:gd name="T6" fmla="*/ 1 w 199"/>
                  <a:gd name="T7" fmla="*/ 107 h 228"/>
                  <a:gd name="T8" fmla="*/ 12 w 199"/>
                  <a:gd name="T9" fmla="*/ 122 h 228"/>
                  <a:gd name="T10" fmla="*/ 26 w 199"/>
                  <a:gd name="T11" fmla="*/ 144 h 228"/>
                  <a:gd name="T12" fmla="*/ 40 w 199"/>
                  <a:gd name="T13" fmla="*/ 137 h 228"/>
                  <a:gd name="T14" fmla="*/ 40 w 199"/>
                  <a:gd name="T15" fmla="*/ 173 h 228"/>
                  <a:gd name="T16" fmla="*/ 65 w 199"/>
                  <a:gd name="T17" fmla="*/ 212 h 228"/>
                  <a:gd name="T18" fmla="*/ 103 w 199"/>
                  <a:gd name="T19" fmla="*/ 224 h 228"/>
                  <a:gd name="T20" fmla="*/ 95 w 199"/>
                  <a:gd name="T21" fmla="*/ 204 h 228"/>
                  <a:gd name="T22" fmla="*/ 102 w 199"/>
                  <a:gd name="T23" fmla="*/ 187 h 228"/>
                  <a:gd name="T24" fmla="*/ 107 w 199"/>
                  <a:gd name="T25" fmla="*/ 195 h 228"/>
                  <a:gd name="T26" fmla="*/ 125 w 199"/>
                  <a:gd name="T27" fmla="*/ 195 h 228"/>
                  <a:gd name="T28" fmla="*/ 142 w 199"/>
                  <a:gd name="T29" fmla="*/ 183 h 228"/>
                  <a:gd name="T30" fmla="*/ 154 w 199"/>
                  <a:gd name="T31" fmla="*/ 193 h 228"/>
                  <a:gd name="T32" fmla="*/ 167 w 199"/>
                  <a:gd name="T33" fmla="*/ 199 h 228"/>
                  <a:gd name="T34" fmla="*/ 174 w 199"/>
                  <a:gd name="T35" fmla="*/ 182 h 228"/>
                  <a:gd name="T36" fmla="*/ 186 w 199"/>
                  <a:gd name="T37" fmla="*/ 175 h 228"/>
                  <a:gd name="T38" fmla="*/ 184 w 199"/>
                  <a:gd name="T39" fmla="*/ 147 h 228"/>
                  <a:gd name="T40" fmla="*/ 195 w 199"/>
                  <a:gd name="T41" fmla="*/ 132 h 228"/>
                  <a:gd name="T42" fmla="*/ 174 w 199"/>
                  <a:gd name="T43" fmla="*/ 105 h 228"/>
                  <a:gd name="T44" fmla="*/ 173 w 199"/>
                  <a:gd name="T45" fmla="*/ 55 h 228"/>
                  <a:gd name="T46" fmla="*/ 195 w 199"/>
                  <a:gd name="T47" fmla="*/ 32 h 228"/>
                  <a:gd name="T48" fmla="*/ 199 w 199"/>
                  <a:gd name="T49" fmla="*/ 11 h 228"/>
                  <a:gd name="T50" fmla="*/ 199 w 199"/>
                  <a:gd name="T51" fmla="*/ 11 h 228"/>
                  <a:gd name="T52" fmla="*/ 197 w 199"/>
                  <a:gd name="T53" fmla="*/ 9 h 228"/>
                  <a:gd name="T54" fmla="*/ 143 w 199"/>
                  <a:gd name="T55" fmla="*/ 0 h 228"/>
                  <a:gd name="T56" fmla="*/ 139 w 199"/>
                  <a:gd name="T57" fmla="*/ 9 h 228"/>
                  <a:gd name="T58" fmla="*/ 109 w 199"/>
                  <a:gd name="T59" fmla="*/ 4 h 228"/>
                  <a:gd name="T60" fmla="*/ 108 w 199"/>
                  <a:gd name="T61" fmla="*/ 15 h 228"/>
                  <a:gd name="T62" fmla="*/ 69 w 199"/>
                  <a:gd name="T63" fmla="*/ 1 h 228"/>
                  <a:gd name="T64" fmla="*/ 50 w 199"/>
                  <a:gd name="T65" fmla="*/ 7 h 228"/>
                  <a:gd name="T66" fmla="*/ 39 w 199"/>
                  <a:gd name="T67" fmla="*/ 29 h 228"/>
                  <a:gd name="T68" fmla="*/ 43 w 199"/>
                  <a:gd name="T69" fmla="*/ 5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9" h="228">
                    <a:moveTo>
                      <a:pt x="43" y="52"/>
                    </a:moveTo>
                    <a:cubicBezTo>
                      <a:pt x="31" y="55"/>
                      <a:pt x="13" y="52"/>
                      <a:pt x="10" y="61"/>
                    </a:cubicBezTo>
                    <a:cubicBezTo>
                      <a:pt x="7" y="70"/>
                      <a:pt x="11" y="89"/>
                      <a:pt x="11" y="89"/>
                    </a:cubicBezTo>
                    <a:cubicBezTo>
                      <a:pt x="11" y="89"/>
                      <a:pt x="0" y="96"/>
                      <a:pt x="1" y="107"/>
                    </a:cubicBezTo>
                    <a:cubicBezTo>
                      <a:pt x="2" y="117"/>
                      <a:pt x="12" y="115"/>
                      <a:pt x="12" y="122"/>
                    </a:cubicBezTo>
                    <a:cubicBezTo>
                      <a:pt x="12" y="129"/>
                      <a:pt x="22" y="143"/>
                      <a:pt x="26" y="144"/>
                    </a:cubicBezTo>
                    <a:cubicBezTo>
                      <a:pt x="30" y="145"/>
                      <a:pt x="39" y="130"/>
                      <a:pt x="40" y="137"/>
                    </a:cubicBezTo>
                    <a:cubicBezTo>
                      <a:pt x="41" y="144"/>
                      <a:pt x="31" y="165"/>
                      <a:pt x="40" y="173"/>
                    </a:cubicBezTo>
                    <a:cubicBezTo>
                      <a:pt x="49" y="181"/>
                      <a:pt x="65" y="212"/>
                      <a:pt x="65" y="212"/>
                    </a:cubicBezTo>
                    <a:cubicBezTo>
                      <a:pt x="65" y="212"/>
                      <a:pt x="94" y="228"/>
                      <a:pt x="103" y="224"/>
                    </a:cubicBezTo>
                    <a:cubicBezTo>
                      <a:pt x="112" y="220"/>
                      <a:pt x="98" y="210"/>
                      <a:pt x="95" y="204"/>
                    </a:cubicBezTo>
                    <a:cubicBezTo>
                      <a:pt x="92" y="198"/>
                      <a:pt x="96" y="188"/>
                      <a:pt x="102" y="187"/>
                    </a:cubicBezTo>
                    <a:cubicBezTo>
                      <a:pt x="108" y="186"/>
                      <a:pt x="107" y="195"/>
                      <a:pt x="107" y="195"/>
                    </a:cubicBezTo>
                    <a:cubicBezTo>
                      <a:pt x="125" y="195"/>
                      <a:pt x="125" y="195"/>
                      <a:pt x="125" y="195"/>
                    </a:cubicBezTo>
                    <a:cubicBezTo>
                      <a:pt x="125" y="195"/>
                      <a:pt x="134" y="184"/>
                      <a:pt x="142" y="183"/>
                    </a:cubicBezTo>
                    <a:cubicBezTo>
                      <a:pt x="150" y="182"/>
                      <a:pt x="154" y="193"/>
                      <a:pt x="154" y="193"/>
                    </a:cubicBezTo>
                    <a:cubicBezTo>
                      <a:pt x="167" y="199"/>
                      <a:pt x="167" y="199"/>
                      <a:pt x="167" y="199"/>
                    </a:cubicBezTo>
                    <a:cubicBezTo>
                      <a:pt x="167" y="199"/>
                      <a:pt x="173" y="185"/>
                      <a:pt x="174" y="182"/>
                    </a:cubicBezTo>
                    <a:cubicBezTo>
                      <a:pt x="175" y="179"/>
                      <a:pt x="186" y="175"/>
                      <a:pt x="186" y="175"/>
                    </a:cubicBezTo>
                    <a:cubicBezTo>
                      <a:pt x="184" y="147"/>
                      <a:pt x="184" y="147"/>
                      <a:pt x="184" y="147"/>
                    </a:cubicBezTo>
                    <a:cubicBezTo>
                      <a:pt x="184" y="147"/>
                      <a:pt x="196" y="142"/>
                      <a:pt x="195" y="132"/>
                    </a:cubicBezTo>
                    <a:cubicBezTo>
                      <a:pt x="194" y="122"/>
                      <a:pt x="175" y="117"/>
                      <a:pt x="174" y="105"/>
                    </a:cubicBezTo>
                    <a:cubicBezTo>
                      <a:pt x="173" y="92"/>
                      <a:pt x="163" y="71"/>
                      <a:pt x="173" y="55"/>
                    </a:cubicBezTo>
                    <a:cubicBezTo>
                      <a:pt x="184" y="38"/>
                      <a:pt x="195" y="39"/>
                      <a:pt x="195" y="32"/>
                    </a:cubicBezTo>
                    <a:cubicBezTo>
                      <a:pt x="195" y="27"/>
                      <a:pt x="195" y="18"/>
                      <a:pt x="199" y="11"/>
                    </a:cubicBezTo>
                    <a:cubicBezTo>
                      <a:pt x="199" y="11"/>
                      <a:pt x="199" y="11"/>
                      <a:pt x="199" y="11"/>
                    </a:cubicBezTo>
                    <a:cubicBezTo>
                      <a:pt x="198" y="10"/>
                      <a:pt x="197" y="10"/>
                      <a:pt x="197" y="9"/>
                    </a:cubicBezTo>
                    <a:cubicBezTo>
                      <a:pt x="190" y="0"/>
                      <a:pt x="143" y="0"/>
                      <a:pt x="143" y="0"/>
                    </a:cubicBezTo>
                    <a:cubicBezTo>
                      <a:pt x="139" y="9"/>
                      <a:pt x="139" y="9"/>
                      <a:pt x="139" y="9"/>
                    </a:cubicBezTo>
                    <a:cubicBezTo>
                      <a:pt x="109" y="4"/>
                      <a:pt x="109" y="4"/>
                      <a:pt x="109" y="4"/>
                    </a:cubicBezTo>
                    <a:cubicBezTo>
                      <a:pt x="108" y="15"/>
                      <a:pt x="108" y="15"/>
                      <a:pt x="108" y="15"/>
                    </a:cubicBezTo>
                    <a:cubicBezTo>
                      <a:pt x="69" y="1"/>
                      <a:pt x="69" y="1"/>
                      <a:pt x="69" y="1"/>
                    </a:cubicBezTo>
                    <a:cubicBezTo>
                      <a:pt x="50" y="7"/>
                      <a:pt x="50" y="7"/>
                      <a:pt x="50" y="7"/>
                    </a:cubicBezTo>
                    <a:cubicBezTo>
                      <a:pt x="50" y="7"/>
                      <a:pt x="39" y="21"/>
                      <a:pt x="39" y="29"/>
                    </a:cubicBezTo>
                    <a:cubicBezTo>
                      <a:pt x="39" y="37"/>
                      <a:pt x="55" y="49"/>
                      <a:pt x="43" y="52"/>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78" name="Peru">
                <a:extLst>
                  <a:ext uri="{FF2B5EF4-FFF2-40B4-BE49-F238E27FC236}">
                    <a16:creationId xmlns:a16="http://schemas.microsoft.com/office/drawing/2014/main" id="{6D5EBBDA-633B-40CB-A7C9-4E5D0FB3A93F}"/>
                  </a:ext>
                </a:extLst>
              </p:cNvPr>
              <p:cNvSpPr>
                <a:spLocks/>
              </p:cNvSpPr>
              <p:nvPr/>
            </p:nvSpPr>
            <p:spPr bwMode="gray">
              <a:xfrm>
                <a:off x="3453658" y="4080380"/>
                <a:ext cx="352487" cy="556956"/>
              </a:xfrm>
              <a:custGeom>
                <a:avLst/>
                <a:gdLst>
                  <a:gd name="T0" fmla="*/ 604 w 630"/>
                  <a:gd name="T1" fmla="*/ 869 h 993"/>
                  <a:gd name="T2" fmla="*/ 575 w 630"/>
                  <a:gd name="T3" fmla="*/ 854 h 993"/>
                  <a:gd name="T4" fmla="*/ 581 w 630"/>
                  <a:gd name="T5" fmla="*/ 821 h 993"/>
                  <a:gd name="T6" fmla="*/ 607 w 630"/>
                  <a:gd name="T7" fmla="*/ 835 h 993"/>
                  <a:gd name="T8" fmla="*/ 603 w 630"/>
                  <a:gd name="T9" fmla="*/ 799 h 993"/>
                  <a:gd name="T10" fmla="*/ 605 w 630"/>
                  <a:gd name="T11" fmla="*/ 744 h 993"/>
                  <a:gd name="T12" fmla="*/ 609 w 630"/>
                  <a:gd name="T13" fmla="*/ 694 h 993"/>
                  <a:gd name="T14" fmla="*/ 597 w 630"/>
                  <a:gd name="T15" fmla="*/ 632 h 993"/>
                  <a:gd name="T16" fmla="*/ 556 w 630"/>
                  <a:gd name="T17" fmla="*/ 590 h 993"/>
                  <a:gd name="T18" fmla="*/ 533 w 630"/>
                  <a:gd name="T19" fmla="*/ 591 h 993"/>
                  <a:gd name="T20" fmla="*/ 523 w 630"/>
                  <a:gd name="T21" fmla="*/ 562 h 993"/>
                  <a:gd name="T22" fmla="*/ 525 w 630"/>
                  <a:gd name="T23" fmla="*/ 507 h 993"/>
                  <a:gd name="T24" fmla="*/ 449 w 630"/>
                  <a:gd name="T25" fmla="*/ 541 h 993"/>
                  <a:gd name="T26" fmla="*/ 399 w 630"/>
                  <a:gd name="T27" fmla="*/ 509 h 993"/>
                  <a:gd name="T28" fmla="*/ 391 w 630"/>
                  <a:gd name="T29" fmla="*/ 465 h 993"/>
                  <a:gd name="T30" fmla="*/ 371 w 630"/>
                  <a:gd name="T31" fmla="*/ 420 h 993"/>
                  <a:gd name="T32" fmla="*/ 371 w 630"/>
                  <a:gd name="T33" fmla="*/ 396 h 993"/>
                  <a:gd name="T34" fmla="*/ 368 w 630"/>
                  <a:gd name="T35" fmla="*/ 370 h 993"/>
                  <a:gd name="T36" fmla="*/ 389 w 630"/>
                  <a:gd name="T37" fmla="*/ 331 h 993"/>
                  <a:gd name="T38" fmla="*/ 403 w 630"/>
                  <a:gd name="T39" fmla="*/ 277 h 993"/>
                  <a:gd name="T40" fmla="*/ 422 w 630"/>
                  <a:gd name="T41" fmla="*/ 265 h 993"/>
                  <a:gd name="T42" fmla="*/ 471 w 630"/>
                  <a:gd name="T43" fmla="*/ 244 h 993"/>
                  <a:gd name="T44" fmla="*/ 492 w 630"/>
                  <a:gd name="T45" fmla="*/ 240 h 993"/>
                  <a:gd name="T46" fmla="*/ 527 w 630"/>
                  <a:gd name="T47" fmla="*/ 236 h 993"/>
                  <a:gd name="T48" fmla="*/ 543 w 630"/>
                  <a:gd name="T49" fmla="*/ 227 h 993"/>
                  <a:gd name="T50" fmla="*/ 526 w 630"/>
                  <a:gd name="T51" fmla="*/ 207 h 993"/>
                  <a:gd name="T52" fmla="*/ 520 w 630"/>
                  <a:gd name="T53" fmla="*/ 171 h 993"/>
                  <a:gd name="T54" fmla="*/ 505 w 630"/>
                  <a:gd name="T55" fmla="*/ 135 h 993"/>
                  <a:gd name="T56" fmla="*/ 472 w 630"/>
                  <a:gd name="T57" fmla="*/ 130 h 993"/>
                  <a:gd name="T58" fmla="*/ 434 w 630"/>
                  <a:gd name="T59" fmla="*/ 138 h 993"/>
                  <a:gd name="T60" fmla="*/ 388 w 630"/>
                  <a:gd name="T61" fmla="*/ 106 h 993"/>
                  <a:gd name="T62" fmla="*/ 364 w 630"/>
                  <a:gd name="T63" fmla="*/ 73 h 993"/>
                  <a:gd name="T64" fmla="*/ 343 w 630"/>
                  <a:gd name="T65" fmla="*/ 57 h 993"/>
                  <a:gd name="T66" fmla="*/ 327 w 630"/>
                  <a:gd name="T67" fmla="*/ 33 h 993"/>
                  <a:gd name="T68" fmla="*/ 264 w 630"/>
                  <a:gd name="T69" fmla="*/ 0 h 993"/>
                  <a:gd name="T70" fmla="*/ 278 w 630"/>
                  <a:gd name="T71" fmla="*/ 1 h 993"/>
                  <a:gd name="T72" fmla="*/ 284 w 630"/>
                  <a:gd name="T73" fmla="*/ 31 h 993"/>
                  <a:gd name="T74" fmla="*/ 277 w 630"/>
                  <a:gd name="T75" fmla="*/ 58 h 993"/>
                  <a:gd name="T76" fmla="*/ 218 w 630"/>
                  <a:gd name="T77" fmla="*/ 143 h 993"/>
                  <a:gd name="T78" fmla="*/ 147 w 630"/>
                  <a:gd name="T79" fmla="*/ 186 h 993"/>
                  <a:gd name="T80" fmla="*/ 142 w 630"/>
                  <a:gd name="T81" fmla="*/ 201 h 993"/>
                  <a:gd name="T82" fmla="*/ 128 w 630"/>
                  <a:gd name="T83" fmla="*/ 252 h 993"/>
                  <a:gd name="T84" fmla="*/ 103 w 630"/>
                  <a:gd name="T85" fmla="*/ 270 h 993"/>
                  <a:gd name="T86" fmla="*/ 69 w 630"/>
                  <a:gd name="T87" fmla="*/ 243 h 993"/>
                  <a:gd name="T88" fmla="*/ 40 w 630"/>
                  <a:gd name="T89" fmla="*/ 246 h 993"/>
                  <a:gd name="T90" fmla="*/ 37 w 630"/>
                  <a:gd name="T91" fmla="*/ 224 h 993"/>
                  <a:gd name="T92" fmla="*/ 43 w 630"/>
                  <a:gd name="T93" fmla="*/ 188 h 993"/>
                  <a:gd name="T94" fmla="*/ 0 w 630"/>
                  <a:gd name="T95" fmla="*/ 254 h 993"/>
                  <a:gd name="T96" fmla="*/ 9 w 630"/>
                  <a:gd name="T97" fmla="*/ 282 h 993"/>
                  <a:gd name="T98" fmla="*/ 8 w 630"/>
                  <a:gd name="T99" fmla="*/ 331 h 993"/>
                  <a:gd name="T100" fmla="*/ 85 w 630"/>
                  <a:gd name="T101" fmla="*/ 394 h 993"/>
                  <a:gd name="T102" fmla="*/ 126 w 630"/>
                  <a:gd name="T103" fmla="*/ 462 h 993"/>
                  <a:gd name="T104" fmla="*/ 169 w 630"/>
                  <a:gd name="T105" fmla="*/ 547 h 993"/>
                  <a:gd name="T106" fmla="*/ 214 w 630"/>
                  <a:gd name="T107" fmla="*/ 622 h 993"/>
                  <a:gd name="T108" fmla="*/ 267 w 630"/>
                  <a:gd name="T109" fmla="*/ 715 h 993"/>
                  <a:gd name="T110" fmla="*/ 304 w 630"/>
                  <a:gd name="T111" fmla="*/ 803 h 993"/>
                  <a:gd name="T112" fmla="*/ 400 w 630"/>
                  <a:gd name="T113" fmla="*/ 869 h 993"/>
                  <a:gd name="T114" fmla="*/ 516 w 630"/>
                  <a:gd name="T115" fmla="*/ 939 h 993"/>
                  <a:gd name="T116" fmla="*/ 540 w 630"/>
                  <a:gd name="T117" fmla="*/ 968 h 993"/>
                  <a:gd name="T118" fmla="*/ 574 w 630"/>
                  <a:gd name="T119" fmla="*/ 993 h 993"/>
                  <a:gd name="T120" fmla="*/ 596 w 630"/>
                  <a:gd name="T121" fmla="*/ 954 h 993"/>
                  <a:gd name="T122" fmla="*/ 601 w 630"/>
                  <a:gd name="T123" fmla="*/ 929 h 993"/>
                  <a:gd name="T124" fmla="*/ 630 w 630"/>
                  <a:gd name="T125" fmla="*/ 889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0" h="993">
                    <a:moveTo>
                      <a:pt x="622" y="880"/>
                    </a:moveTo>
                    <a:cubicBezTo>
                      <a:pt x="622" y="880"/>
                      <a:pt x="612" y="873"/>
                      <a:pt x="604" y="869"/>
                    </a:cubicBezTo>
                    <a:cubicBezTo>
                      <a:pt x="596" y="865"/>
                      <a:pt x="593" y="857"/>
                      <a:pt x="593" y="857"/>
                    </a:cubicBezTo>
                    <a:cubicBezTo>
                      <a:pt x="593" y="857"/>
                      <a:pt x="579" y="859"/>
                      <a:pt x="575" y="854"/>
                    </a:cubicBezTo>
                    <a:cubicBezTo>
                      <a:pt x="580" y="840"/>
                      <a:pt x="580" y="840"/>
                      <a:pt x="580" y="840"/>
                    </a:cubicBezTo>
                    <a:cubicBezTo>
                      <a:pt x="580" y="840"/>
                      <a:pt x="576" y="825"/>
                      <a:pt x="581" y="821"/>
                    </a:cubicBezTo>
                    <a:cubicBezTo>
                      <a:pt x="584" y="818"/>
                      <a:pt x="598" y="830"/>
                      <a:pt x="607" y="838"/>
                    </a:cubicBezTo>
                    <a:cubicBezTo>
                      <a:pt x="607" y="836"/>
                      <a:pt x="607" y="835"/>
                      <a:pt x="607" y="835"/>
                    </a:cubicBezTo>
                    <a:cubicBezTo>
                      <a:pt x="612" y="824"/>
                      <a:pt x="612" y="824"/>
                      <a:pt x="612" y="824"/>
                    </a:cubicBezTo>
                    <a:cubicBezTo>
                      <a:pt x="612" y="824"/>
                      <a:pt x="604" y="813"/>
                      <a:pt x="603" y="799"/>
                    </a:cubicBezTo>
                    <a:cubicBezTo>
                      <a:pt x="601" y="784"/>
                      <a:pt x="616" y="776"/>
                      <a:pt x="620" y="766"/>
                    </a:cubicBezTo>
                    <a:cubicBezTo>
                      <a:pt x="624" y="757"/>
                      <a:pt x="605" y="744"/>
                      <a:pt x="605" y="744"/>
                    </a:cubicBezTo>
                    <a:cubicBezTo>
                      <a:pt x="618" y="724"/>
                      <a:pt x="618" y="724"/>
                      <a:pt x="618" y="724"/>
                    </a:cubicBezTo>
                    <a:cubicBezTo>
                      <a:pt x="609" y="694"/>
                      <a:pt x="609" y="694"/>
                      <a:pt x="609" y="694"/>
                    </a:cubicBezTo>
                    <a:cubicBezTo>
                      <a:pt x="609" y="694"/>
                      <a:pt x="619" y="683"/>
                      <a:pt x="620" y="677"/>
                    </a:cubicBezTo>
                    <a:cubicBezTo>
                      <a:pt x="622" y="670"/>
                      <a:pt x="612" y="645"/>
                      <a:pt x="597" y="632"/>
                    </a:cubicBezTo>
                    <a:cubicBezTo>
                      <a:pt x="586" y="621"/>
                      <a:pt x="579" y="600"/>
                      <a:pt x="577" y="591"/>
                    </a:cubicBezTo>
                    <a:cubicBezTo>
                      <a:pt x="568" y="590"/>
                      <a:pt x="560" y="590"/>
                      <a:pt x="556" y="590"/>
                    </a:cubicBezTo>
                    <a:cubicBezTo>
                      <a:pt x="545" y="590"/>
                      <a:pt x="549" y="599"/>
                      <a:pt x="541" y="599"/>
                    </a:cubicBezTo>
                    <a:cubicBezTo>
                      <a:pt x="533" y="599"/>
                      <a:pt x="533" y="591"/>
                      <a:pt x="533" y="591"/>
                    </a:cubicBezTo>
                    <a:cubicBezTo>
                      <a:pt x="526" y="592"/>
                      <a:pt x="526" y="592"/>
                      <a:pt x="526" y="592"/>
                    </a:cubicBezTo>
                    <a:cubicBezTo>
                      <a:pt x="526" y="592"/>
                      <a:pt x="525" y="572"/>
                      <a:pt x="523" y="562"/>
                    </a:cubicBezTo>
                    <a:cubicBezTo>
                      <a:pt x="521" y="552"/>
                      <a:pt x="526" y="538"/>
                      <a:pt x="528" y="534"/>
                    </a:cubicBezTo>
                    <a:cubicBezTo>
                      <a:pt x="530" y="530"/>
                      <a:pt x="525" y="507"/>
                      <a:pt x="525" y="507"/>
                    </a:cubicBezTo>
                    <a:cubicBezTo>
                      <a:pt x="491" y="537"/>
                      <a:pt x="491" y="537"/>
                      <a:pt x="491" y="537"/>
                    </a:cubicBezTo>
                    <a:cubicBezTo>
                      <a:pt x="449" y="541"/>
                      <a:pt x="449" y="541"/>
                      <a:pt x="449" y="541"/>
                    </a:cubicBezTo>
                    <a:cubicBezTo>
                      <a:pt x="449" y="541"/>
                      <a:pt x="441" y="522"/>
                      <a:pt x="438" y="515"/>
                    </a:cubicBezTo>
                    <a:cubicBezTo>
                      <a:pt x="435" y="508"/>
                      <a:pt x="399" y="509"/>
                      <a:pt x="399" y="509"/>
                    </a:cubicBezTo>
                    <a:cubicBezTo>
                      <a:pt x="399" y="509"/>
                      <a:pt x="414" y="496"/>
                      <a:pt x="416" y="491"/>
                    </a:cubicBezTo>
                    <a:cubicBezTo>
                      <a:pt x="418" y="486"/>
                      <a:pt x="396" y="471"/>
                      <a:pt x="391" y="465"/>
                    </a:cubicBezTo>
                    <a:cubicBezTo>
                      <a:pt x="386" y="459"/>
                      <a:pt x="373" y="438"/>
                      <a:pt x="373" y="438"/>
                    </a:cubicBezTo>
                    <a:cubicBezTo>
                      <a:pt x="371" y="420"/>
                      <a:pt x="371" y="420"/>
                      <a:pt x="371" y="420"/>
                    </a:cubicBezTo>
                    <a:cubicBezTo>
                      <a:pt x="371" y="420"/>
                      <a:pt x="356" y="414"/>
                      <a:pt x="356" y="409"/>
                    </a:cubicBezTo>
                    <a:cubicBezTo>
                      <a:pt x="356" y="404"/>
                      <a:pt x="371" y="396"/>
                      <a:pt x="371" y="396"/>
                    </a:cubicBezTo>
                    <a:cubicBezTo>
                      <a:pt x="365" y="392"/>
                      <a:pt x="365" y="392"/>
                      <a:pt x="365" y="392"/>
                    </a:cubicBezTo>
                    <a:cubicBezTo>
                      <a:pt x="365" y="392"/>
                      <a:pt x="360" y="378"/>
                      <a:pt x="368" y="370"/>
                    </a:cubicBezTo>
                    <a:cubicBezTo>
                      <a:pt x="376" y="362"/>
                      <a:pt x="389" y="345"/>
                      <a:pt x="395" y="354"/>
                    </a:cubicBezTo>
                    <a:cubicBezTo>
                      <a:pt x="401" y="363"/>
                      <a:pt x="391" y="338"/>
                      <a:pt x="389" y="331"/>
                    </a:cubicBezTo>
                    <a:cubicBezTo>
                      <a:pt x="387" y="324"/>
                      <a:pt x="402" y="315"/>
                      <a:pt x="402" y="315"/>
                    </a:cubicBezTo>
                    <a:cubicBezTo>
                      <a:pt x="403" y="277"/>
                      <a:pt x="403" y="277"/>
                      <a:pt x="403" y="277"/>
                    </a:cubicBezTo>
                    <a:cubicBezTo>
                      <a:pt x="419" y="277"/>
                      <a:pt x="419" y="277"/>
                      <a:pt x="419" y="277"/>
                    </a:cubicBezTo>
                    <a:cubicBezTo>
                      <a:pt x="419" y="277"/>
                      <a:pt x="420" y="269"/>
                      <a:pt x="422" y="265"/>
                    </a:cubicBezTo>
                    <a:cubicBezTo>
                      <a:pt x="424" y="261"/>
                      <a:pt x="450" y="244"/>
                      <a:pt x="450" y="244"/>
                    </a:cubicBezTo>
                    <a:cubicBezTo>
                      <a:pt x="471" y="244"/>
                      <a:pt x="471" y="244"/>
                      <a:pt x="471" y="244"/>
                    </a:cubicBezTo>
                    <a:cubicBezTo>
                      <a:pt x="473" y="237"/>
                      <a:pt x="473" y="237"/>
                      <a:pt x="473" y="237"/>
                    </a:cubicBezTo>
                    <a:cubicBezTo>
                      <a:pt x="492" y="240"/>
                      <a:pt x="492" y="240"/>
                      <a:pt x="492" y="240"/>
                    </a:cubicBezTo>
                    <a:cubicBezTo>
                      <a:pt x="492" y="240"/>
                      <a:pt x="503" y="225"/>
                      <a:pt x="513" y="224"/>
                    </a:cubicBezTo>
                    <a:cubicBezTo>
                      <a:pt x="523" y="223"/>
                      <a:pt x="527" y="236"/>
                      <a:pt x="527" y="236"/>
                    </a:cubicBezTo>
                    <a:cubicBezTo>
                      <a:pt x="527" y="236"/>
                      <a:pt x="534" y="239"/>
                      <a:pt x="539" y="236"/>
                    </a:cubicBezTo>
                    <a:cubicBezTo>
                      <a:pt x="541" y="235"/>
                      <a:pt x="542" y="231"/>
                      <a:pt x="543" y="227"/>
                    </a:cubicBezTo>
                    <a:cubicBezTo>
                      <a:pt x="532" y="223"/>
                      <a:pt x="532" y="223"/>
                      <a:pt x="532" y="223"/>
                    </a:cubicBezTo>
                    <a:cubicBezTo>
                      <a:pt x="526" y="207"/>
                      <a:pt x="526" y="207"/>
                      <a:pt x="526" y="207"/>
                    </a:cubicBezTo>
                    <a:cubicBezTo>
                      <a:pt x="526" y="207"/>
                      <a:pt x="512" y="212"/>
                      <a:pt x="509" y="206"/>
                    </a:cubicBezTo>
                    <a:cubicBezTo>
                      <a:pt x="506" y="201"/>
                      <a:pt x="515" y="171"/>
                      <a:pt x="520" y="171"/>
                    </a:cubicBezTo>
                    <a:cubicBezTo>
                      <a:pt x="525" y="171"/>
                      <a:pt x="533" y="163"/>
                      <a:pt x="533" y="148"/>
                    </a:cubicBezTo>
                    <a:cubicBezTo>
                      <a:pt x="533" y="134"/>
                      <a:pt x="505" y="135"/>
                      <a:pt x="505" y="135"/>
                    </a:cubicBezTo>
                    <a:cubicBezTo>
                      <a:pt x="505" y="135"/>
                      <a:pt x="497" y="123"/>
                      <a:pt x="493" y="122"/>
                    </a:cubicBezTo>
                    <a:cubicBezTo>
                      <a:pt x="489" y="121"/>
                      <a:pt x="481" y="130"/>
                      <a:pt x="472" y="130"/>
                    </a:cubicBezTo>
                    <a:cubicBezTo>
                      <a:pt x="464" y="130"/>
                      <a:pt x="463" y="123"/>
                      <a:pt x="449" y="120"/>
                    </a:cubicBezTo>
                    <a:cubicBezTo>
                      <a:pt x="435" y="117"/>
                      <a:pt x="434" y="138"/>
                      <a:pt x="434" y="138"/>
                    </a:cubicBezTo>
                    <a:cubicBezTo>
                      <a:pt x="434" y="138"/>
                      <a:pt x="412" y="138"/>
                      <a:pt x="393" y="133"/>
                    </a:cubicBezTo>
                    <a:cubicBezTo>
                      <a:pt x="374" y="128"/>
                      <a:pt x="389" y="113"/>
                      <a:pt x="388" y="106"/>
                    </a:cubicBezTo>
                    <a:cubicBezTo>
                      <a:pt x="387" y="98"/>
                      <a:pt x="369" y="97"/>
                      <a:pt x="369" y="97"/>
                    </a:cubicBezTo>
                    <a:cubicBezTo>
                      <a:pt x="369" y="97"/>
                      <a:pt x="367" y="79"/>
                      <a:pt x="364" y="73"/>
                    </a:cubicBezTo>
                    <a:cubicBezTo>
                      <a:pt x="362" y="67"/>
                      <a:pt x="354" y="70"/>
                      <a:pt x="354" y="70"/>
                    </a:cubicBezTo>
                    <a:cubicBezTo>
                      <a:pt x="343" y="57"/>
                      <a:pt x="343" y="57"/>
                      <a:pt x="343" y="57"/>
                    </a:cubicBezTo>
                    <a:cubicBezTo>
                      <a:pt x="335" y="57"/>
                      <a:pt x="335" y="57"/>
                      <a:pt x="335" y="57"/>
                    </a:cubicBezTo>
                    <a:cubicBezTo>
                      <a:pt x="327" y="33"/>
                      <a:pt x="327" y="33"/>
                      <a:pt x="327" y="33"/>
                    </a:cubicBezTo>
                    <a:cubicBezTo>
                      <a:pt x="327" y="33"/>
                      <a:pt x="297" y="9"/>
                      <a:pt x="290" y="5"/>
                    </a:cubicBezTo>
                    <a:cubicBezTo>
                      <a:pt x="284" y="1"/>
                      <a:pt x="274" y="1"/>
                      <a:pt x="264" y="0"/>
                    </a:cubicBezTo>
                    <a:cubicBezTo>
                      <a:pt x="264" y="0"/>
                      <a:pt x="264" y="0"/>
                      <a:pt x="264" y="0"/>
                    </a:cubicBezTo>
                    <a:cubicBezTo>
                      <a:pt x="269" y="0"/>
                      <a:pt x="273" y="1"/>
                      <a:pt x="278" y="1"/>
                    </a:cubicBezTo>
                    <a:cubicBezTo>
                      <a:pt x="279" y="19"/>
                      <a:pt x="268" y="19"/>
                      <a:pt x="268" y="19"/>
                    </a:cubicBezTo>
                    <a:cubicBezTo>
                      <a:pt x="284" y="31"/>
                      <a:pt x="284" y="31"/>
                      <a:pt x="284" y="31"/>
                    </a:cubicBezTo>
                    <a:cubicBezTo>
                      <a:pt x="287" y="53"/>
                      <a:pt x="287" y="53"/>
                      <a:pt x="287" y="53"/>
                    </a:cubicBezTo>
                    <a:cubicBezTo>
                      <a:pt x="277" y="58"/>
                      <a:pt x="277" y="58"/>
                      <a:pt x="277" y="58"/>
                    </a:cubicBezTo>
                    <a:cubicBezTo>
                      <a:pt x="269" y="87"/>
                      <a:pt x="269" y="87"/>
                      <a:pt x="269" y="87"/>
                    </a:cubicBezTo>
                    <a:cubicBezTo>
                      <a:pt x="269" y="87"/>
                      <a:pt x="241" y="128"/>
                      <a:pt x="218" y="143"/>
                    </a:cubicBezTo>
                    <a:cubicBezTo>
                      <a:pt x="195" y="157"/>
                      <a:pt x="174" y="157"/>
                      <a:pt x="161" y="168"/>
                    </a:cubicBezTo>
                    <a:cubicBezTo>
                      <a:pt x="147" y="179"/>
                      <a:pt x="147" y="186"/>
                      <a:pt x="147" y="186"/>
                    </a:cubicBezTo>
                    <a:cubicBezTo>
                      <a:pt x="139" y="189"/>
                      <a:pt x="139" y="189"/>
                      <a:pt x="139" y="189"/>
                    </a:cubicBezTo>
                    <a:cubicBezTo>
                      <a:pt x="142" y="201"/>
                      <a:pt x="142" y="201"/>
                      <a:pt x="142" y="201"/>
                    </a:cubicBezTo>
                    <a:cubicBezTo>
                      <a:pt x="142" y="201"/>
                      <a:pt x="134" y="206"/>
                      <a:pt x="132" y="216"/>
                    </a:cubicBezTo>
                    <a:cubicBezTo>
                      <a:pt x="131" y="225"/>
                      <a:pt x="128" y="252"/>
                      <a:pt x="128" y="252"/>
                    </a:cubicBezTo>
                    <a:cubicBezTo>
                      <a:pt x="128" y="252"/>
                      <a:pt x="119" y="254"/>
                      <a:pt x="115" y="256"/>
                    </a:cubicBezTo>
                    <a:cubicBezTo>
                      <a:pt x="111" y="259"/>
                      <a:pt x="116" y="270"/>
                      <a:pt x="103" y="270"/>
                    </a:cubicBezTo>
                    <a:cubicBezTo>
                      <a:pt x="89" y="270"/>
                      <a:pt x="93" y="246"/>
                      <a:pt x="88" y="241"/>
                    </a:cubicBezTo>
                    <a:cubicBezTo>
                      <a:pt x="82" y="237"/>
                      <a:pt x="69" y="243"/>
                      <a:pt x="69" y="243"/>
                    </a:cubicBezTo>
                    <a:cubicBezTo>
                      <a:pt x="60" y="232"/>
                      <a:pt x="60" y="232"/>
                      <a:pt x="60" y="232"/>
                    </a:cubicBezTo>
                    <a:cubicBezTo>
                      <a:pt x="60" y="232"/>
                      <a:pt x="50" y="250"/>
                      <a:pt x="40" y="246"/>
                    </a:cubicBezTo>
                    <a:cubicBezTo>
                      <a:pt x="31" y="241"/>
                      <a:pt x="47" y="232"/>
                      <a:pt x="47" y="232"/>
                    </a:cubicBezTo>
                    <a:cubicBezTo>
                      <a:pt x="37" y="224"/>
                      <a:pt x="37" y="224"/>
                      <a:pt x="37" y="224"/>
                    </a:cubicBezTo>
                    <a:cubicBezTo>
                      <a:pt x="37" y="224"/>
                      <a:pt x="50" y="212"/>
                      <a:pt x="58" y="203"/>
                    </a:cubicBezTo>
                    <a:cubicBezTo>
                      <a:pt x="67" y="194"/>
                      <a:pt x="43" y="188"/>
                      <a:pt x="43" y="188"/>
                    </a:cubicBezTo>
                    <a:cubicBezTo>
                      <a:pt x="43" y="188"/>
                      <a:pt x="17" y="216"/>
                      <a:pt x="9" y="223"/>
                    </a:cubicBezTo>
                    <a:cubicBezTo>
                      <a:pt x="1" y="230"/>
                      <a:pt x="0" y="241"/>
                      <a:pt x="0" y="254"/>
                    </a:cubicBezTo>
                    <a:cubicBezTo>
                      <a:pt x="0" y="267"/>
                      <a:pt x="12" y="264"/>
                      <a:pt x="12" y="264"/>
                    </a:cubicBezTo>
                    <a:cubicBezTo>
                      <a:pt x="9" y="282"/>
                      <a:pt x="9" y="282"/>
                      <a:pt x="9" y="282"/>
                    </a:cubicBezTo>
                    <a:cubicBezTo>
                      <a:pt x="9" y="282"/>
                      <a:pt x="26" y="292"/>
                      <a:pt x="27" y="304"/>
                    </a:cubicBezTo>
                    <a:cubicBezTo>
                      <a:pt x="28" y="316"/>
                      <a:pt x="8" y="317"/>
                      <a:pt x="8" y="331"/>
                    </a:cubicBezTo>
                    <a:cubicBezTo>
                      <a:pt x="8" y="345"/>
                      <a:pt x="42" y="347"/>
                      <a:pt x="51" y="352"/>
                    </a:cubicBezTo>
                    <a:cubicBezTo>
                      <a:pt x="59" y="357"/>
                      <a:pt x="82" y="389"/>
                      <a:pt x="85" y="394"/>
                    </a:cubicBezTo>
                    <a:cubicBezTo>
                      <a:pt x="87" y="398"/>
                      <a:pt x="99" y="418"/>
                      <a:pt x="99" y="424"/>
                    </a:cubicBezTo>
                    <a:cubicBezTo>
                      <a:pt x="99" y="430"/>
                      <a:pt x="123" y="456"/>
                      <a:pt x="126" y="462"/>
                    </a:cubicBezTo>
                    <a:cubicBezTo>
                      <a:pt x="130" y="468"/>
                      <a:pt x="164" y="522"/>
                      <a:pt x="164" y="522"/>
                    </a:cubicBezTo>
                    <a:cubicBezTo>
                      <a:pt x="169" y="547"/>
                      <a:pt x="169" y="547"/>
                      <a:pt x="169" y="547"/>
                    </a:cubicBezTo>
                    <a:cubicBezTo>
                      <a:pt x="169" y="547"/>
                      <a:pt x="197" y="602"/>
                      <a:pt x="197" y="609"/>
                    </a:cubicBezTo>
                    <a:cubicBezTo>
                      <a:pt x="197" y="616"/>
                      <a:pt x="205" y="616"/>
                      <a:pt x="214" y="622"/>
                    </a:cubicBezTo>
                    <a:cubicBezTo>
                      <a:pt x="222" y="628"/>
                      <a:pt x="218" y="635"/>
                      <a:pt x="220" y="647"/>
                    </a:cubicBezTo>
                    <a:cubicBezTo>
                      <a:pt x="221" y="658"/>
                      <a:pt x="255" y="699"/>
                      <a:pt x="267" y="715"/>
                    </a:cubicBezTo>
                    <a:cubicBezTo>
                      <a:pt x="279" y="732"/>
                      <a:pt x="270" y="754"/>
                      <a:pt x="270" y="762"/>
                    </a:cubicBezTo>
                    <a:cubicBezTo>
                      <a:pt x="270" y="771"/>
                      <a:pt x="293" y="796"/>
                      <a:pt x="304" y="803"/>
                    </a:cubicBezTo>
                    <a:cubicBezTo>
                      <a:pt x="314" y="810"/>
                      <a:pt x="324" y="826"/>
                      <a:pt x="332" y="835"/>
                    </a:cubicBezTo>
                    <a:cubicBezTo>
                      <a:pt x="340" y="843"/>
                      <a:pt x="386" y="861"/>
                      <a:pt x="400" y="869"/>
                    </a:cubicBezTo>
                    <a:cubicBezTo>
                      <a:pt x="415" y="877"/>
                      <a:pt x="442" y="883"/>
                      <a:pt x="463" y="901"/>
                    </a:cubicBezTo>
                    <a:cubicBezTo>
                      <a:pt x="484" y="919"/>
                      <a:pt x="516" y="939"/>
                      <a:pt x="516" y="939"/>
                    </a:cubicBezTo>
                    <a:cubicBezTo>
                      <a:pt x="522" y="954"/>
                      <a:pt x="522" y="954"/>
                      <a:pt x="522" y="954"/>
                    </a:cubicBezTo>
                    <a:cubicBezTo>
                      <a:pt x="522" y="954"/>
                      <a:pt x="533" y="962"/>
                      <a:pt x="540" y="968"/>
                    </a:cubicBezTo>
                    <a:cubicBezTo>
                      <a:pt x="547" y="974"/>
                      <a:pt x="574" y="992"/>
                      <a:pt x="574" y="992"/>
                    </a:cubicBezTo>
                    <a:cubicBezTo>
                      <a:pt x="574" y="993"/>
                      <a:pt x="574" y="993"/>
                      <a:pt x="574" y="993"/>
                    </a:cubicBezTo>
                    <a:cubicBezTo>
                      <a:pt x="580" y="989"/>
                      <a:pt x="589" y="983"/>
                      <a:pt x="596" y="977"/>
                    </a:cubicBezTo>
                    <a:cubicBezTo>
                      <a:pt x="608" y="968"/>
                      <a:pt x="596" y="954"/>
                      <a:pt x="596" y="954"/>
                    </a:cubicBezTo>
                    <a:cubicBezTo>
                      <a:pt x="608" y="946"/>
                      <a:pt x="608" y="946"/>
                      <a:pt x="608" y="946"/>
                    </a:cubicBezTo>
                    <a:cubicBezTo>
                      <a:pt x="601" y="929"/>
                      <a:pt x="601" y="929"/>
                      <a:pt x="601" y="929"/>
                    </a:cubicBezTo>
                    <a:cubicBezTo>
                      <a:pt x="601" y="929"/>
                      <a:pt x="611" y="919"/>
                      <a:pt x="620" y="912"/>
                    </a:cubicBezTo>
                    <a:cubicBezTo>
                      <a:pt x="626" y="908"/>
                      <a:pt x="629" y="897"/>
                      <a:pt x="630" y="889"/>
                    </a:cubicBezTo>
                    <a:lnTo>
                      <a:pt x="622" y="880"/>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79" name="Paraguay">
                <a:extLst>
                  <a:ext uri="{FF2B5EF4-FFF2-40B4-BE49-F238E27FC236}">
                    <a16:creationId xmlns:a16="http://schemas.microsoft.com/office/drawing/2014/main" id="{95C5A674-5DF2-40B6-8AD1-C531060C5CAB}"/>
                  </a:ext>
                </a:extLst>
              </p:cNvPr>
              <p:cNvSpPr>
                <a:spLocks/>
              </p:cNvSpPr>
              <p:nvPr/>
            </p:nvSpPr>
            <p:spPr bwMode="gray">
              <a:xfrm>
                <a:off x="3988738" y="4661140"/>
                <a:ext cx="227052" cy="253882"/>
              </a:xfrm>
              <a:custGeom>
                <a:avLst/>
                <a:gdLst>
                  <a:gd name="T0" fmla="*/ 326 w 407"/>
                  <a:gd name="T1" fmla="*/ 441 h 452"/>
                  <a:gd name="T2" fmla="*/ 333 w 407"/>
                  <a:gd name="T3" fmla="*/ 452 h 452"/>
                  <a:gd name="T4" fmla="*/ 342 w 407"/>
                  <a:gd name="T5" fmla="*/ 435 h 452"/>
                  <a:gd name="T6" fmla="*/ 356 w 407"/>
                  <a:gd name="T7" fmla="*/ 439 h 452"/>
                  <a:gd name="T8" fmla="*/ 369 w 407"/>
                  <a:gd name="T9" fmla="*/ 415 h 452"/>
                  <a:gd name="T10" fmla="*/ 399 w 407"/>
                  <a:gd name="T11" fmla="*/ 390 h 452"/>
                  <a:gd name="T12" fmla="*/ 399 w 407"/>
                  <a:gd name="T13" fmla="*/ 344 h 452"/>
                  <a:gd name="T14" fmla="*/ 396 w 407"/>
                  <a:gd name="T15" fmla="*/ 331 h 452"/>
                  <a:gd name="T16" fmla="*/ 399 w 407"/>
                  <a:gd name="T17" fmla="*/ 311 h 452"/>
                  <a:gd name="T18" fmla="*/ 405 w 407"/>
                  <a:gd name="T19" fmla="*/ 276 h 452"/>
                  <a:gd name="T20" fmla="*/ 388 w 407"/>
                  <a:gd name="T21" fmla="*/ 244 h 452"/>
                  <a:gd name="T22" fmla="*/ 358 w 407"/>
                  <a:gd name="T23" fmla="*/ 254 h 452"/>
                  <a:gd name="T24" fmla="*/ 338 w 407"/>
                  <a:gd name="T25" fmla="*/ 211 h 452"/>
                  <a:gd name="T26" fmla="*/ 333 w 407"/>
                  <a:gd name="T27" fmla="*/ 166 h 452"/>
                  <a:gd name="T28" fmla="*/ 296 w 407"/>
                  <a:gd name="T29" fmla="*/ 161 h 452"/>
                  <a:gd name="T30" fmla="*/ 221 w 407"/>
                  <a:gd name="T31" fmla="*/ 148 h 452"/>
                  <a:gd name="T32" fmla="*/ 220 w 407"/>
                  <a:gd name="T33" fmla="*/ 94 h 452"/>
                  <a:gd name="T34" fmla="*/ 211 w 407"/>
                  <a:gd name="T35" fmla="*/ 86 h 452"/>
                  <a:gd name="T36" fmla="*/ 211 w 407"/>
                  <a:gd name="T37" fmla="*/ 66 h 452"/>
                  <a:gd name="T38" fmla="*/ 200 w 407"/>
                  <a:gd name="T39" fmla="*/ 51 h 452"/>
                  <a:gd name="T40" fmla="*/ 187 w 407"/>
                  <a:gd name="T41" fmla="*/ 28 h 452"/>
                  <a:gd name="T42" fmla="*/ 152 w 407"/>
                  <a:gd name="T43" fmla="*/ 0 h 452"/>
                  <a:gd name="T44" fmla="*/ 99 w 407"/>
                  <a:gd name="T45" fmla="*/ 9 h 452"/>
                  <a:gd name="T46" fmla="*/ 30 w 407"/>
                  <a:gd name="T47" fmla="*/ 21 h 452"/>
                  <a:gd name="T48" fmla="*/ 26 w 407"/>
                  <a:gd name="T49" fmla="*/ 40 h 452"/>
                  <a:gd name="T50" fmla="*/ 7 w 407"/>
                  <a:gd name="T51" fmla="*/ 56 h 452"/>
                  <a:gd name="T52" fmla="*/ 16 w 407"/>
                  <a:gd name="T53" fmla="*/ 89 h 452"/>
                  <a:gd name="T54" fmla="*/ 10 w 407"/>
                  <a:gd name="T55" fmla="*/ 163 h 452"/>
                  <a:gd name="T56" fmla="*/ 23 w 407"/>
                  <a:gd name="T57" fmla="*/ 175 h 452"/>
                  <a:gd name="T58" fmla="*/ 48 w 407"/>
                  <a:gd name="T59" fmla="*/ 209 h 452"/>
                  <a:gd name="T60" fmla="*/ 84 w 407"/>
                  <a:gd name="T61" fmla="*/ 231 h 452"/>
                  <a:gd name="T62" fmla="*/ 88 w 407"/>
                  <a:gd name="T63" fmla="*/ 245 h 452"/>
                  <a:gd name="T64" fmla="*/ 133 w 407"/>
                  <a:gd name="T65" fmla="*/ 261 h 452"/>
                  <a:gd name="T66" fmla="*/ 164 w 407"/>
                  <a:gd name="T67" fmla="*/ 277 h 452"/>
                  <a:gd name="T68" fmla="*/ 220 w 407"/>
                  <a:gd name="T69" fmla="*/ 306 h 452"/>
                  <a:gd name="T70" fmla="*/ 258 w 407"/>
                  <a:gd name="T71" fmla="*/ 322 h 452"/>
                  <a:gd name="T72" fmla="*/ 246 w 407"/>
                  <a:gd name="T73" fmla="*/ 347 h 452"/>
                  <a:gd name="T74" fmla="*/ 255 w 407"/>
                  <a:gd name="T75" fmla="*/ 362 h 452"/>
                  <a:gd name="T76" fmla="*/ 239 w 407"/>
                  <a:gd name="T77" fmla="*/ 369 h 452"/>
                  <a:gd name="T78" fmla="*/ 239 w 407"/>
                  <a:gd name="T79" fmla="*/ 391 h 452"/>
                  <a:gd name="T80" fmla="*/ 224 w 407"/>
                  <a:gd name="T81" fmla="*/ 425 h 452"/>
                  <a:gd name="T82" fmla="*/ 254 w 407"/>
                  <a:gd name="T83" fmla="*/ 425 h 452"/>
                  <a:gd name="T84" fmla="*/ 287 w 407"/>
                  <a:gd name="T85" fmla="*/ 439 h 452"/>
                  <a:gd name="T86" fmla="*/ 326 w 407"/>
                  <a:gd name="T87" fmla="*/ 441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7" h="452">
                    <a:moveTo>
                      <a:pt x="326" y="441"/>
                    </a:moveTo>
                    <a:cubicBezTo>
                      <a:pt x="333" y="452"/>
                      <a:pt x="333" y="452"/>
                      <a:pt x="333" y="452"/>
                    </a:cubicBezTo>
                    <a:cubicBezTo>
                      <a:pt x="333" y="452"/>
                      <a:pt x="333" y="433"/>
                      <a:pt x="342" y="435"/>
                    </a:cubicBezTo>
                    <a:cubicBezTo>
                      <a:pt x="351" y="437"/>
                      <a:pt x="352" y="446"/>
                      <a:pt x="356" y="439"/>
                    </a:cubicBezTo>
                    <a:cubicBezTo>
                      <a:pt x="360" y="432"/>
                      <a:pt x="362" y="415"/>
                      <a:pt x="369" y="415"/>
                    </a:cubicBezTo>
                    <a:cubicBezTo>
                      <a:pt x="376" y="415"/>
                      <a:pt x="397" y="401"/>
                      <a:pt x="399" y="390"/>
                    </a:cubicBezTo>
                    <a:cubicBezTo>
                      <a:pt x="401" y="379"/>
                      <a:pt x="399" y="344"/>
                      <a:pt x="399" y="344"/>
                    </a:cubicBezTo>
                    <a:cubicBezTo>
                      <a:pt x="396" y="331"/>
                      <a:pt x="396" y="331"/>
                      <a:pt x="396" y="331"/>
                    </a:cubicBezTo>
                    <a:cubicBezTo>
                      <a:pt x="396" y="331"/>
                      <a:pt x="397" y="316"/>
                      <a:pt x="399" y="311"/>
                    </a:cubicBezTo>
                    <a:cubicBezTo>
                      <a:pt x="401" y="306"/>
                      <a:pt x="403" y="296"/>
                      <a:pt x="405" y="276"/>
                    </a:cubicBezTo>
                    <a:cubicBezTo>
                      <a:pt x="407" y="256"/>
                      <a:pt x="403" y="248"/>
                      <a:pt x="388" y="244"/>
                    </a:cubicBezTo>
                    <a:cubicBezTo>
                      <a:pt x="373" y="240"/>
                      <a:pt x="369" y="256"/>
                      <a:pt x="358" y="254"/>
                    </a:cubicBezTo>
                    <a:cubicBezTo>
                      <a:pt x="347" y="252"/>
                      <a:pt x="343" y="231"/>
                      <a:pt x="338" y="211"/>
                    </a:cubicBezTo>
                    <a:cubicBezTo>
                      <a:pt x="333" y="191"/>
                      <a:pt x="337" y="174"/>
                      <a:pt x="333" y="166"/>
                    </a:cubicBezTo>
                    <a:cubicBezTo>
                      <a:pt x="329" y="158"/>
                      <a:pt x="311" y="158"/>
                      <a:pt x="296" y="161"/>
                    </a:cubicBezTo>
                    <a:cubicBezTo>
                      <a:pt x="281" y="164"/>
                      <a:pt x="237" y="157"/>
                      <a:pt x="221" y="148"/>
                    </a:cubicBezTo>
                    <a:cubicBezTo>
                      <a:pt x="205" y="139"/>
                      <a:pt x="220" y="103"/>
                      <a:pt x="220" y="94"/>
                    </a:cubicBezTo>
                    <a:cubicBezTo>
                      <a:pt x="220" y="85"/>
                      <a:pt x="215" y="90"/>
                      <a:pt x="211" y="86"/>
                    </a:cubicBezTo>
                    <a:cubicBezTo>
                      <a:pt x="207" y="82"/>
                      <a:pt x="213" y="73"/>
                      <a:pt x="211" y="66"/>
                    </a:cubicBezTo>
                    <a:cubicBezTo>
                      <a:pt x="209" y="59"/>
                      <a:pt x="200" y="57"/>
                      <a:pt x="200" y="51"/>
                    </a:cubicBezTo>
                    <a:cubicBezTo>
                      <a:pt x="187" y="28"/>
                      <a:pt x="187" y="28"/>
                      <a:pt x="187" y="28"/>
                    </a:cubicBezTo>
                    <a:cubicBezTo>
                      <a:pt x="152" y="0"/>
                      <a:pt x="152" y="0"/>
                      <a:pt x="152" y="0"/>
                    </a:cubicBezTo>
                    <a:cubicBezTo>
                      <a:pt x="99" y="9"/>
                      <a:pt x="99" y="9"/>
                      <a:pt x="99" y="9"/>
                    </a:cubicBezTo>
                    <a:cubicBezTo>
                      <a:pt x="30" y="21"/>
                      <a:pt x="30" y="21"/>
                      <a:pt x="30" y="21"/>
                    </a:cubicBezTo>
                    <a:cubicBezTo>
                      <a:pt x="26" y="40"/>
                      <a:pt x="26" y="40"/>
                      <a:pt x="26" y="40"/>
                    </a:cubicBezTo>
                    <a:cubicBezTo>
                      <a:pt x="26" y="40"/>
                      <a:pt x="14" y="52"/>
                      <a:pt x="7" y="56"/>
                    </a:cubicBezTo>
                    <a:cubicBezTo>
                      <a:pt x="0" y="60"/>
                      <a:pt x="15" y="82"/>
                      <a:pt x="16" y="89"/>
                    </a:cubicBezTo>
                    <a:cubicBezTo>
                      <a:pt x="18" y="95"/>
                      <a:pt x="10" y="163"/>
                      <a:pt x="10" y="163"/>
                    </a:cubicBezTo>
                    <a:cubicBezTo>
                      <a:pt x="23" y="175"/>
                      <a:pt x="23" y="175"/>
                      <a:pt x="23" y="175"/>
                    </a:cubicBezTo>
                    <a:cubicBezTo>
                      <a:pt x="23" y="175"/>
                      <a:pt x="39" y="204"/>
                      <a:pt x="48" y="209"/>
                    </a:cubicBezTo>
                    <a:cubicBezTo>
                      <a:pt x="57" y="214"/>
                      <a:pt x="84" y="231"/>
                      <a:pt x="84" y="231"/>
                    </a:cubicBezTo>
                    <a:cubicBezTo>
                      <a:pt x="88" y="245"/>
                      <a:pt x="88" y="245"/>
                      <a:pt x="88" y="245"/>
                    </a:cubicBezTo>
                    <a:cubicBezTo>
                      <a:pt x="88" y="245"/>
                      <a:pt x="123" y="265"/>
                      <a:pt x="133" y="261"/>
                    </a:cubicBezTo>
                    <a:cubicBezTo>
                      <a:pt x="143" y="257"/>
                      <a:pt x="164" y="277"/>
                      <a:pt x="164" y="277"/>
                    </a:cubicBezTo>
                    <a:cubicBezTo>
                      <a:pt x="164" y="277"/>
                      <a:pt x="214" y="305"/>
                      <a:pt x="220" y="306"/>
                    </a:cubicBezTo>
                    <a:cubicBezTo>
                      <a:pt x="226" y="307"/>
                      <a:pt x="260" y="314"/>
                      <a:pt x="258" y="322"/>
                    </a:cubicBezTo>
                    <a:cubicBezTo>
                      <a:pt x="256" y="330"/>
                      <a:pt x="246" y="347"/>
                      <a:pt x="246" y="347"/>
                    </a:cubicBezTo>
                    <a:cubicBezTo>
                      <a:pt x="246" y="347"/>
                      <a:pt x="259" y="355"/>
                      <a:pt x="255" y="362"/>
                    </a:cubicBezTo>
                    <a:cubicBezTo>
                      <a:pt x="251" y="369"/>
                      <a:pt x="239" y="369"/>
                      <a:pt x="239" y="369"/>
                    </a:cubicBezTo>
                    <a:cubicBezTo>
                      <a:pt x="239" y="391"/>
                      <a:pt x="239" y="391"/>
                      <a:pt x="239" y="391"/>
                    </a:cubicBezTo>
                    <a:cubicBezTo>
                      <a:pt x="239" y="391"/>
                      <a:pt x="219" y="418"/>
                      <a:pt x="224" y="425"/>
                    </a:cubicBezTo>
                    <a:cubicBezTo>
                      <a:pt x="229" y="432"/>
                      <a:pt x="245" y="422"/>
                      <a:pt x="254" y="425"/>
                    </a:cubicBezTo>
                    <a:cubicBezTo>
                      <a:pt x="263" y="428"/>
                      <a:pt x="270" y="435"/>
                      <a:pt x="287" y="439"/>
                    </a:cubicBezTo>
                    <a:cubicBezTo>
                      <a:pt x="304" y="443"/>
                      <a:pt x="326" y="441"/>
                      <a:pt x="326" y="44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80" name="Guyana">
                <a:extLst>
                  <a:ext uri="{FF2B5EF4-FFF2-40B4-BE49-F238E27FC236}">
                    <a16:creationId xmlns:a16="http://schemas.microsoft.com/office/drawing/2014/main" id="{7D1B551E-BAD6-4D39-ADAF-A62463E08E52}"/>
                  </a:ext>
                </a:extLst>
              </p:cNvPr>
              <p:cNvSpPr>
                <a:spLocks/>
              </p:cNvSpPr>
              <p:nvPr/>
            </p:nvSpPr>
            <p:spPr bwMode="gray">
              <a:xfrm>
                <a:off x="3983974" y="3829674"/>
                <a:ext cx="125434" cy="217388"/>
              </a:xfrm>
              <a:custGeom>
                <a:avLst/>
                <a:gdLst>
                  <a:gd name="T0" fmla="*/ 62 w 225"/>
                  <a:gd name="T1" fmla="*/ 28 h 388"/>
                  <a:gd name="T2" fmla="*/ 42 w 225"/>
                  <a:gd name="T3" fmla="*/ 44 h 388"/>
                  <a:gd name="T4" fmla="*/ 46 w 225"/>
                  <a:gd name="T5" fmla="*/ 64 h 388"/>
                  <a:gd name="T6" fmla="*/ 57 w 225"/>
                  <a:gd name="T7" fmla="*/ 67 h 388"/>
                  <a:gd name="T8" fmla="*/ 47 w 225"/>
                  <a:gd name="T9" fmla="*/ 85 h 388"/>
                  <a:gd name="T10" fmla="*/ 11 w 225"/>
                  <a:gd name="T11" fmla="*/ 93 h 388"/>
                  <a:gd name="T12" fmla="*/ 22 w 225"/>
                  <a:gd name="T13" fmla="*/ 116 h 388"/>
                  <a:gd name="T14" fmla="*/ 4 w 225"/>
                  <a:gd name="T15" fmla="*/ 134 h 388"/>
                  <a:gd name="T16" fmla="*/ 35 w 225"/>
                  <a:gd name="T17" fmla="*/ 172 h 388"/>
                  <a:gd name="T18" fmla="*/ 51 w 225"/>
                  <a:gd name="T19" fmla="*/ 174 h 388"/>
                  <a:gd name="T20" fmla="*/ 56 w 225"/>
                  <a:gd name="T21" fmla="*/ 167 h 388"/>
                  <a:gd name="T22" fmla="*/ 68 w 225"/>
                  <a:gd name="T23" fmla="*/ 182 h 388"/>
                  <a:gd name="T24" fmla="*/ 59 w 225"/>
                  <a:gd name="T25" fmla="*/ 208 h 388"/>
                  <a:gd name="T26" fmla="*/ 81 w 225"/>
                  <a:gd name="T27" fmla="*/ 211 h 388"/>
                  <a:gd name="T28" fmla="*/ 80 w 225"/>
                  <a:gd name="T29" fmla="*/ 230 h 388"/>
                  <a:gd name="T30" fmla="*/ 88 w 225"/>
                  <a:gd name="T31" fmla="*/ 240 h 388"/>
                  <a:gd name="T32" fmla="*/ 74 w 225"/>
                  <a:gd name="T33" fmla="*/ 258 h 388"/>
                  <a:gd name="T34" fmla="*/ 69 w 225"/>
                  <a:gd name="T35" fmla="*/ 286 h 388"/>
                  <a:gd name="T36" fmla="*/ 61 w 225"/>
                  <a:gd name="T37" fmla="*/ 312 h 388"/>
                  <a:gd name="T38" fmla="*/ 78 w 225"/>
                  <a:gd name="T39" fmla="*/ 333 h 388"/>
                  <a:gd name="T40" fmla="*/ 78 w 225"/>
                  <a:gd name="T41" fmla="*/ 353 h 388"/>
                  <a:gd name="T42" fmla="*/ 99 w 225"/>
                  <a:gd name="T43" fmla="*/ 377 h 388"/>
                  <a:gd name="T44" fmla="*/ 108 w 225"/>
                  <a:gd name="T45" fmla="*/ 377 h 388"/>
                  <a:gd name="T46" fmla="*/ 112 w 225"/>
                  <a:gd name="T47" fmla="*/ 388 h 388"/>
                  <a:gd name="T48" fmla="*/ 132 w 225"/>
                  <a:gd name="T49" fmla="*/ 387 h 388"/>
                  <a:gd name="T50" fmla="*/ 143 w 225"/>
                  <a:gd name="T51" fmla="*/ 369 h 388"/>
                  <a:gd name="T52" fmla="*/ 161 w 225"/>
                  <a:gd name="T53" fmla="*/ 368 h 388"/>
                  <a:gd name="T54" fmla="*/ 162 w 225"/>
                  <a:gd name="T55" fmla="*/ 360 h 388"/>
                  <a:gd name="T56" fmla="*/ 183 w 225"/>
                  <a:gd name="T57" fmla="*/ 359 h 388"/>
                  <a:gd name="T58" fmla="*/ 197 w 225"/>
                  <a:gd name="T59" fmla="*/ 342 h 388"/>
                  <a:gd name="T60" fmla="*/ 217 w 225"/>
                  <a:gd name="T61" fmla="*/ 350 h 388"/>
                  <a:gd name="T62" fmla="*/ 221 w 225"/>
                  <a:gd name="T63" fmla="*/ 341 h 388"/>
                  <a:gd name="T64" fmla="*/ 196 w 225"/>
                  <a:gd name="T65" fmla="*/ 302 h 388"/>
                  <a:gd name="T66" fmla="*/ 196 w 225"/>
                  <a:gd name="T67" fmla="*/ 266 h 388"/>
                  <a:gd name="T68" fmla="*/ 182 w 225"/>
                  <a:gd name="T69" fmla="*/ 273 h 388"/>
                  <a:gd name="T70" fmla="*/ 168 w 225"/>
                  <a:gd name="T71" fmla="*/ 251 h 388"/>
                  <a:gd name="T72" fmla="*/ 157 w 225"/>
                  <a:gd name="T73" fmla="*/ 236 h 388"/>
                  <a:gd name="T74" fmla="*/ 167 w 225"/>
                  <a:gd name="T75" fmla="*/ 218 h 388"/>
                  <a:gd name="T76" fmla="*/ 166 w 225"/>
                  <a:gd name="T77" fmla="*/ 190 h 388"/>
                  <a:gd name="T78" fmla="*/ 199 w 225"/>
                  <a:gd name="T79" fmla="*/ 181 h 388"/>
                  <a:gd name="T80" fmla="*/ 195 w 225"/>
                  <a:gd name="T81" fmla="*/ 158 h 388"/>
                  <a:gd name="T82" fmla="*/ 206 w 225"/>
                  <a:gd name="T83" fmla="*/ 136 h 388"/>
                  <a:gd name="T84" fmla="*/ 203 w 225"/>
                  <a:gd name="T85" fmla="*/ 117 h 388"/>
                  <a:gd name="T86" fmla="*/ 185 w 225"/>
                  <a:gd name="T87" fmla="*/ 117 h 388"/>
                  <a:gd name="T88" fmla="*/ 183 w 225"/>
                  <a:gd name="T89" fmla="*/ 102 h 388"/>
                  <a:gd name="T90" fmla="*/ 153 w 225"/>
                  <a:gd name="T91" fmla="*/ 85 h 388"/>
                  <a:gd name="T92" fmla="*/ 133 w 225"/>
                  <a:gd name="T93" fmla="*/ 109 h 388"/>
                  <a:gd name="T94" fmla="*/ 144 w 225"/>
                  <a:gd name="T95" fmla="*/ 61 h 388"/>
                  <a:gd name="T96" fmla="*/ 126 w 225"/>
                  <a:gd name="T97" fmla="*/ 22 h 388"/>
                  <a:gd name="T98" fmla="*/ 83 w 225"/>
                  <a:gd name="T99" fmla="*/ 0 h 388"/>
                  <a:gd name="T100" fmla="*/ 76 w 225"/>
                  <a:gd name="T101" fmla="*/ 12 h 388"/>
                  <a:gd name="T102" fmla="*/ 62 w 225"/>
                  <a:gd name="T103" fmla="*/ 2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5" h="388">
                    <a:moveTo>
                      <a:pt x="62" y="28"/>
                    </a:moveTo>
                    <a:cubicBezTo>
                      <a:pt x="56" y="30"/>
                      <a:pt x="40" y="35"/>
                      <a:pt x="42" y="44"/>
                    </a:cubicBezTo>
                    <a:cubicBezTo>
                      <a:pt x="44" y="53"/>
                      <a:pt x="42" y="64"/>
                      <a:pt x="46" y="64"/>
                    </a:cubicBezTo>
                    <a:cubicBezTo>
                      <a:pt x="50" y="64"/>
                      <a:pt x="57" y="64"/>
                      <a:pt x="57" y="67"/>
                    </a:cubicBezTo>
                    <a:cubicBezTo>
                      <a:pt x="57" y="71"/>
                      <a:pt x="58" y="81"/>
                      <a:pt x="47" y="85"/>
                    </a:cubicBezTo>
                    <a:cubicBezTo>
                      <a:pt x="36" y="89"/>
                      <a:pt x="11" y="88"/>
                      <a:pt x="11" y="93"/>
                    </a:cubicBezTo>
                    <a:cubicBezTo>
                      <a:pt x="11" y="98"/>
                      <a:pt x="31" y="109"/>
                      <a:pt x="22" y="116"/>
                    </a:cubicBezTo>
                    <a:cubicBezTo>
                      <a:pt x="13" y="124"/>
                      <a:pt x="0" y="123"/>
                      <a:pt x="4" y="134"/>
                    </a:cubicBezTo>
                    <a:cubicBezTo>
                      <a:pt x="8" y="145"/>
                      <a:pt x="35" y="172"/>
                      <a:pt x="35" y="172"/>
                    </a:cubicBezTo>
                    <a:cubicBezTo>
                      <a:pt x="51" y="174"/>
                      <a:pt x="51" y="174"/>
                      <a:pt x="51" y="174"/>
                    </a:cubicBezTo>
                    <a:cubicBezTo>
                      <a:pt x="56" y="167"/>
                      <a:pt x="56" y="167"/>
                      <a:pt x="56" y="167"/>
                    </a:cubicBezTo>
                    <a:cubicBezTo>
                      <a:pt x="56" y="167"/>
                      <a:pt x="65" y="168"/>
                      <a:pt x="68" y="182"/>
                    </a:cubicBezTo>
                    <a:cubicBezTo>
                      <a:pt x="71" y="196"/>
                      <a:pt x="59" y="208"/>
                      <a:pt x="59" y="208"/>
                    </a:cubicBezTo>
                    <a:cubicBezTo>
                      <a:pt x="59" y="217"/>
                      <a:pt x="81" y="211"/>
                      <a:pt x="81" y="211"/>
                    </a:cubicBezTo>
                    <a:cubicBezTo>
                      <a:pt x="80" y="230"/>
                      <a:pt x="80" y="230"/>
                      <a:pt x="80" y="230"/>
                    </a:cubicBezTo>
                    <a:cubicBezTo>
                      <a:pt x="80" y="230"/>
                      <a:pt x="89" y="234"/>
                      <a:pt x="88" y="240"/>
                    </a:cubicBezTo>
                    <a:cubicBezTo>
                      <a:pt x="87" y="246"/>
                      <a:pt x="74" y="258"/>
                      <a:pt x="74" y="258"/>
                    </a:cubicBezTo>
                    <a:cubicBezTo>
                      <a:pt x="69" y="286"/>
                      <a:pt x="69" y="286"/>
                      <a:pt x="69" y="286"/>
                    </a:cubicBezTo>
                    <a:cubicBezTo>
                      <a:pt x="69" y="286"/>
                      <a:pt x="61" y="302"/>
                      <a:pt x="61" y="312"/>
                    </a:cubicBezTo>
                    <a:cubicBezTo>
                      <a:pt x="61" y="322"/>
                      <a:pt x="78" y="325"/>
                      <a:pt x="78" y="333"/>
                    </a:cubicBezTo>
                    <a:cubicBezTo>
                      <a:pt x="78" y="341"/>
                      <a:pt x="78" y="353"/>
                      <a:pt x="78" y="353"/>
                    </a:cubicBezTo>
                    <a:cubicBezTo>
                      <a:pt x="99" y="377"/>
                      <a:pt x="99" y="377"/>
                      <a:pt x="99" y="377"/>
                    </a:cubicBezTo>
                    <a:cubicBezTo>
                      <a:pt x="108" y="377"/>
                      <a:pt x="108" y="377"/>
                      <a:pt x="108" y="377"/>
                    </a:cubicBezTo>
                    <a:cubicBezTo>
                      <a:pt x="112" y="388"/>
                      <a:pt x="112" y="388"/>
                      <a:pt x="112" y="388"/>
                    </a:cubicBezTo>
                    <a:cubicBezTo>
                      <a:pt x="112" y="388"/>
                      <a:pt x="122" y="388"/>
                      <a:pt x="132" y="387"/>
                    </a:cubicBezTo>
                    <a:cubicBezTo>
                      <a:pt x="142" y="386"/>
                      <a:pt x="137" y="373"/>
                      <a:pt x="143" y="369"/>
                    </a:cubicBezTo>
                    <a:cubicBezTo>
                      <a:pt x="149" y="365"/>
                      <a:pt x="161" y="368"/>
                      <a:pt x="161" y="368"/>
                    </a:cubicBezTo>
                    <a:cubicBezTo>
                      <a:pt x="162" y="360"/>
                      <a:pt x="162" y="360"/>
                      <a:pt x="162" y="360"/>
                    </a:cubicBezTo>
                    <a:cubicBezTo>
                      <a:pt x="183" y="359"/>
                      <a:pt x="183" y="359"/>
                      <a:pt x="183" y="359"/>
                    </a:cubicBezTo>
                    <a:cubicBezTo>
                      <a:pt x="183" y="359"/>
                      <a:pt x="187" y="343"/>
                      <a:pt x="197" y="342"/>
                    </a:cubicBezTo>
                    <a:cubicBezTo>
                      <a:pt x="207" y="341"/>
                      <a:pt x="209" y="352"/>
                      <a:pt x="217" y="350"/>
                    </a:cubicBezTo>
                    <a:cubicBezTo>
                      <a:pt x="225" y="348"/>
                      <a:pt x="221" y="341"/>
                      <a:pt x="221" y="341"/>
                    </a:cubicBezTo>
                    <a:cubicBezTo>
                      <a:pt x="221" y="341"/>
                      <a:pt x="205" y="310"/>
                      <a:pt x="196" y="302"/>
                    </a:cubicBezTo>
                    <a:cubicBezTo>
                      <a:pt x="187" y="294"/>
                      <a:pt x="197" y="273"/>
                      <a:pt x="196" y="266"/>
                    </a:cubicBezTo>
                    <a:cubicBezTo>
                      <a:pt x="195" y="259"/>
                      <a:pt x="186" y="274"/>
                      <a:pt x="182" y="273"/>
                    </a:cubicBezTo>
                    <a:cubicBezTo>
                      <a:pt x="178" y="272"/>
                      <a:pt x="168" y="258"/>
                      <a:pt x="168" y="251"/>
                    </a:cubicBezTo>
                    <a:cubicBezTo>
                      <a:pt x="168" y="244"/>
                      <a:pt x="158" y="246"/>
                      <a:pt x="157" y="236"/>
                    </a:cubicBezTo>
                    <a:cubicBezTo>
                      <a:pt x="156" y="225"/>
                      <a:pt x="167" y="218"/>
                      <a:pt x="167" y="218"/>
                    </a:cubicBezTo>
                    <a:cubicBezTo>
                      <a:pt x="167" y="218"/>
                      <a:pt x="163" y="199"/>
                      <a:pt x="166" y="190"/>
                    </a:cubicBezTo>
                    <a:cubicBezTo>
                      <a:pt x="169" y="181"/>
                      <a:pt x="187" y="184"/>
                      <a:pt x="199" y="181"/>
                    </a:cubicBezTo>
                    <a:cubicBezTo>
                      <a:pt x="211" y="178"/>
                      <a:pt x="195" y="166"/>
                      <a:pt x="195" y="158"/>
                    </a:cubicBezTo>
                    <a:cubicBezTo>
                      <a:pt x="195" y="150"/>
                      <a:pt x="206" y="136"/>
                      <a:pt x="206" y="136"/>
                    </a:cubicBezTo>
                    <a:cubicBezTo>
                      <a:pt x="206" y="136"/>
                      <a:pt x="206" y="125"/>
                      <a:pt x="203" y="117"/>
                    </a:cubicBezTo>
                    <a:cubicBezTo>
                      <a:pt x="200" y="109"/>
                      <a:pt x="185" y="117"/>
                      <a:pt x="185" y="117"/>
                    </a:cubicBezTo>
                    <a:cubicBezTo>
                      <a:pt x="183" y="102"/>
                      <a:pt x="183" y="102"/>
                      <a:pt x="183" y="102"/>
                    </a:cubicBezTo>
                    <a:cubicBezTo>
                      <a:pt x="183" y="102"/>
                      <a:pt x="166" y="87"/>
                      <a:pt x="153" y="85"/>
                    </a:cubicBezTo>
                    <a:cubicBezTo>
                      <a:pt x="140" y="83"/>
                      <a:pt x="133" y="109"/>
                      <a:pt x="133" y="109"/>
                    </a:cubicBezTo>
                    <a:cubicBezTo>
                      <a:pt x="133" y="109"/>
                      <a:pt x="142" y="69"/>
                      <a:pt x="144" y="61"/>
                    </a:cubicBezTo>
                    <a:cubicBezTo>
                      <a:pt x="146" y="53"/>
                      <a:pt x="132" y="30"/>
                      <a:pt x="126" y="22"/>
                    </a:cubicBezTo>
                    <a:cubicBezTo>
                      <a:pt x="120" y="14"/>
                      <a:pt x="83" y="0"/>
                      <a:pt x="83" y="0"/>
                    </a:cubicBezTo>
                    <a:cubicBezTo>
                      <a:pt x="76" y="12"/>
                      <a:pt x="76" y="12"/>
                      <a:pt x="76" y="12"/>
                    </a:cubicBezTo>
                    <a:cubicBezTo>
                      <a:pt x="76" y="12"/>
                      <a:pt x="69" y="26"/>
                      <a:pt x="62" y="28"/>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81" name="French Guiana">
                <a:extLst>
                  <a:ext uri="{FF2B5EF4-FFF2-40B4-BE49-F238E27FC236}">
                    <a16:creationId xmlns:a16="http://schemas.microsoft.com/office/drawing/2014/main" id="{6B8F6223-094F-4A90-A4AA-58F54B441D6E}"/>
                  </a:ext>
                </a:extLst>
              </p:cNvPr>
              <p:cNvSpPr>
                <a:spLocks/>
              </p:cNvSpPr>
              <p:nvPr/>
            </p:nvSpPr>
            <p:spPr bwMode="gray">
              <a:xfrm>
                <a:off x="4164291" y="3909128"/>
                <a:ext cx="76195" cy="110951"/>
              </a:xfrm>
              <a:custGeom>
                <a:avLst/>
                <a:gdLst>
                  <a:gd name="T0" fmla="*/ 18 w 24"/>
                  <a:gd name="T1" fmla="*/ 8 h 35"/>
                  <a:gd name="T2" fmla="*/ 16 w 24"/>
                  <a:gd name="T3" fmla="*/ 3 h 35"/>
                  <a:gd name="T4" fmla="*/ 12 w 24"/>
                  <a:gd name="T5" fmla="*/ 3 h 35"/>
                  <a:gd name="T6" fmla="*/ 6 w 24"/>
                  <a:gd name="T7" fmla="*/ 0 h 35"/>
                  <a:gd name="T8" fmla="*/ 5 w 24"/>
                  <a:gd name="T9" fmla="*/ 4 h 35"/>
                  <a:gd name="T10" fmla="*/ 1 w 24"/>
                  <a:gd name="T11" fmla="*/ 8 h 35"/>
                  <a:gd name="T12" fmla="*/ 2 w 24"/>
                  <a:gd name="T13" fmla="*/ 16 h 35"/>
                  <a:gd name="T14" fmla="*/ 5 w 24"/>
                  <a:gd name="T15" fmla="*/ 21 h 35"/>
                  <a:gd name="T16" fmla="*/ 3 w 24"/>
                  <a:gd name="T17" fmla="*/ 24 h 35"/>
                  <a:gd name="T18" fmla="*/ 4 w 24"/>
                  <a:gd name="T19" fmla="*/ 29 h 35"/>
                  <a:gd name="T20" fmla="*/ 2 w 24"/>
                  <a:gd name="T21" fmla="*/ 30 h 35"/>
                  <a:gd name="T22" fmla="*/ 0 w 24"/>
                  <a:gd name="T23" fmla="*/ 33 h 35"/>
                  <a:gd name="T24" fmla="*/ 3 w 24"/>
                  <a:gd name="T25" fmla="*/ 35 h 35"/>
                  <a:gd name="T26" fmla="*/ 6 w 24"/>
                  <a:gd name="T27" fmla="*/ 33 h 35"/>
                  <a:gd name="T28" fmla="*/ 8 w 24"/>
                  <a:gd name="T29" fmla="*/ 33 h 35"/>
                  <a:gd name="T30" fmla="*/ 10 w 24"/>
                  <a:gd name="T31" fmla="*/ 34 h 35"/>
                  <a:gd name="T32" fmla="*/ 11 w 24"/>
                  <a:gd name="T33" fmla="*/ 33 h 35"/>
                  <a:gd name="T34" fmla="*/ 11 w 24"/>
                  <a:gd name="T35" fmla="*/ 34 h 35"/>
                  <a:gd name="T36" fmla="*/ 15 w 24"/>
                  <a:gd name="T37" fmla="*/ 33 h 35"/>
                  <a:gd name="T38" fmla="*/ 19 w 24"/>
                  <a:gd name="T39" fmla="*/ 26 h 35"/>
                  <a:gd name="T40" fmla="*/ 22 w 24"/>
                  <a:gd name="T41" fmla="*/ 20 h 35"/>
                  <a:gd name="T42" fmla="*/ 24 w 24"/>
                  <a:gd name="T43" fmla="*/ 16 h 35"/>
                  <a:gd name="T44" fmla="*/ 22 w 24"/>
                  <a:gd name="T45" fmla="*/ 10 h 35"/>
                  <a:gd name="T46" fmla="*/ 18 w 24"/>
                  <a:gd name="T47"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35">
                    <a:moveTo>
                      <a:pt x="18" y="8"/>
                    </a:moveTo>
                    <a:cubicBezTo>
                      <a:pt x="16" y="3"/>
                      <a:pt x="16" y="3"/>
                      <a:pt x="16" y="3"/>
                    </a:cubicBezTo>
                    <a:cubicBezTo>
                      <a:pt x="12" y="3"/>
                      <a:pt x="12" y="3"/>
                      <a:pt x="12" y="3"/>
                    </a:cubicBezTo>
                    <a:cubicBezTo>
                      <a:pt x="12" y="3"/>
                      <a:pt x="7" y="1"/>
                      <a:pt x="6" y="0"/>
                    </a:cubicBezTo>
                    <a:cubicBezTo>
                      <a:pt x="5" y="1"/>
                      <a:pt x="5" y="3"/>
                      <a:pt x="5" y="4"/>
                    </a:cubicBezTo>
                    <a:cubicBezTo>
                      <a:pt x="5" y="5"/>
                      <a:pt x="3" y="5"/>
                      <a:pt x="1" y="8"/>
                    </a:cubicBezTo>
                    <a:cubicBezTo>
                      <a:pt x="0" y="10"/>
                      <a:pt x="1" y="14"/>
                      <a:pt x="2" y="16"/>
                    </a:cubicBezTo>
                    <a:cubicBezTo>
                      <a:pt x="2" y="19"/>
                      <a:pt x="5" y="19"/>
                      <a:pt x="5" y="21"/>
                    </a:cubicBezTo>
                    <a:cubicBezTo>
                      <a:pt x="6" y="23"/>
                      <a:pt x="3" y="24"/>
                      <a:pt x="3" y="24"/>
                    </a:cubicBezTo>
                    <a:cubicBezTo>
                      <a:pt x="4" y="29"/>
                      <a:pt x="4" y="29"/>
                      <a:pt x="4" y="29"/>
                    </a:cubicBezTo>
                    <a:cubicBezTo>
                      <a:pt x="4" y="29"/>
                      <a:pt x="2" y="29"/>
                      <a:pt x="2" y="30"/>
                    </a:cubicBezTo>
                    <a:cubicBezTo>
                      <a:pt x="1" y="31"/>
                      <a:pt x="0" y="33"/>
                      <a:pt x="0" y="33"/>
                    </a:cubicBezTo>
                    <a:cubicBezTo>
                      <a:pt x="0" y="33"/>
                      <a:pt x="1" y="35"/>
                      <a:pt x="3" y="35"/>
                    </a:cubicBezTo>
                    <a:cubicBezTo>
                      <a:pt x="6" y="35"/>
                      <a:pt x="5" y="34"/>
                      <a:pt x="6" y="33"/>
                    </a:cubicBezTo>
                    <a:cubicBezTo>
                      <a:pt x="7" y="32"/>
                      <a:pt x="8" y="33"/>
                      <a:pt x="8" y="33"/>
                    </a:cubicBezTo>
                    <a:cubicBezTo>
                      <a:pt x="10" y="34"/>
                      <a:pt x="10" y="34"/>
                      <a:pt x="10" y="34"/>
                    </a:cubicBezTo>
                    <a:cubicBezTo>
                      <a:pt x="11" y="33"/>
                      <a:pt x="11" y="33"/>
                      <a:pt x="11" y="33"/>
                    </a:cubicBezTo>
                    <a:cubicBezTo>
                      <a:pt x="11" y="33"/>
                      <a:pt x="11" y="34"/>
                      <a:pt x="11" y="34"/>
                    </a:cubicBezTo>
                    <a:cubicBezTo>
                      <a:pt x="12" y="34"/>
                      <a:pt x="15" y="33"/>
                      <a:pt x="15" y="33"/>
                    </a:cubicBezTo>
                    <a:cubicBezTo>
                      <a:pt x="18" y="31"/>
                      <a:pt x="18" y="28"/>
                      <a:pt x="19" y="26"/>
                    </a:cubicBezTo>
                    <a:cubicBezTo>
                      <a:pt x="19" y="24"/>
                      <a:pt x="21" y="21"/>
                      <a:pt x="22" y="20"/>
                    </a:cubicBezTo>
                    <a:cubicBezTo>
                      <a:pt x="23" y="19"/>
                      <a:pt x="24" y="16"/>
                      <a:pt x="24" y="16"/>
                    </a:cubicBezTo>
                    <a:cubicBezTo>
                      <a:pt x="24" y="15"/>
                      <a:pt x="22" y="10"/>
                      <a:pt x="22" y="10"/>
                    </a:cubicBezTo>
                    <a:cubicBezTo>
                      <a:pt x="18" y="8"/>
                      <a:pt x="18" y="8"/>
                      <a:pt x="18" y="8"/>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82" name="Ecuador">
                <a:extLst>
                  <a:ext uri="{FF2B5EF4-FFF2-40B4-BE49-F238E27FC236}">
                    <a16:creationId xmlns:a16="http://schemas.microsoft.com/office/drawing/2014/main" id="{4C3997BE-AE23-4161-B12E-1B6EFDF65692}"/>
                  </a:ext>
                </a:extLst>
              </p:cNvPr>
              <p:cNvSpPr>
                <a:spLocks noEditPoints="1"/>
              </p:cNvSpPr>
              <p:nvPr/>
            </p:nvSpPr>
            <p:spPr bwMode="gray">
              <a:xfrm>
                <a:off x="3458420" y="4034367"/>
                <a:ext cx="155602" cy="198346"/>
              </a:xfrm>
              <a:custGeom>
                <a:avLst/>
                <a:gdLst>
                  <a:gd name="T0" fmla="*/ 42 w 280"/>
                  <a:gd name="T1" fmla="*/ 249 h 353"/>
                  <a:gd name="T2" fmla="*/ 49 w 280"/>
                  <a:gd name="T3" fmla="*/ 229 h 353"/>
                  <a:gd name="T4" fmla="*/ 42 w 280"/>
                  <a:gd name="T5" fmla="*/ 249 h 353"/>
                  <a:gd name="T6" fmla="*/ 277 w 280"/>
                  <a:gd name="T7" fmla="*/ 114 h 353"/>
                  <a:gd name="T8" fmla="*/ 261 w 280"/>
                  <a:gd name="T9" fmla="*/ 102 h 353"/>
                  <a:gd name="T10" fmla="*/ 271 w 280"/>
                  <a:gd name="T11" fmla="*/ 84 h 353"/>
                  <a:gd name="T12" fmla="*/ 252 w 280"/>
                  <a:gd name="T13" fmla="*/ 83 h 353"/>
                  <a:gd name="T14" fmla="*/ 230 w 280"/>
                  <a:gd name="T15" fmla="*/ 61 h 353"/>
                  <a:gd name="T16" fmla="*/ 218 w 280"/>
                  <a:gd name="T17" fmla="*/ 73 h 353"/>
                  <a:gd name="T18" fmla="*/ 195 w 280"/>
                  <a:gd name="T19" fmla="*/ 65 h 353"/>
                  <a:gd name="T20" fmla="*/ 175 w 280"/>
                  <a:gd name="T21" fmla="*/ 64 h 353"/>
                  <a:gd name="T22" fmla="*/ 163 w 280"/>
                  <a:gd name="T23" fmla="*/ 43 h 353"/>
                  <a:gd name="T24" fmla="*/ 140 w 280"/>
                  <a:gd name="T25" fmla="*/ 40 h 353"/>
                  <a:gd name="T26" fmla="*/ 121 w 280"/>
                  <a:gd name="T27" fmla="*/ 22 h 353"/>
                  <a:gd name="T28" fmla="*/ 98 w 280"/>
                  <a:gd name="T29" fmla="*/ 0 h 353"/>
                  <a:gd name="T30" fmla="*/ 101 w 280"/>
                  <a:gd name="T31" fmla="*/ 23 h 353"/>
                  <a:gd name="T32" fmla="*/ 68 w 280"/>
                  <a:gd name="T33" fmla="*/ 37 h 353"/>
                  <a:gd name="T34" fmla="*/ 66 w 280"/>
                  <a:gd name="T35" fmla="*/ 27 h 353"/>
                  <a:gd name="T36" fmla="*/ 44 w 280"/>
                  <a:gd name="T37" fmla="*/ 46 h 353"/>
                  <a:gd name="T38" fmla="*/ 49 w 280"/>
                  <a:gd name="T39" fmla="*/ 77 h 353"/>
                  <a:gd name="T40" fmla="*/ 31 w 280"/>
                  <a:gd name="T41" fmla="*/ 97 h 353"/>
                  <a:gd name="T42" fmla="*/ 39 w 280"/>
                  <a:gd name="T43" fmla="*/ 119 h 353"/>
                  <a:gd name="T44" fmla="*/ 27 w 280"/>
                  <a:gd name="T45" fmla="*/ 119 h 353"/>
                  <a:gd name="T46" fmla="*/ 26 w 280"/>
                  <a:gd name="T47" fmla="*/ 130 h 353"/>
                  <a:gd name="T48" fmla="*/ 3 w 280"/>
                  <a:gd name="T49" fmla="*/ 144 h 353"/>
                  <a:gd name="T50" fmla="*/ 19 w 280"/>
                  <a:gd name="T51" fmla="*/ 154 h 353"/>
                  <a:gd name="T52" fmla="*/ 8 w 280"/>
                  <a:gd name="T53" fmla="*/ 173 h 353"/>
                  <a:gd name="T54" fmla="*/ 18 w 280"/>
                  <a:gd name="T55" fmla="*/ 187 h 353"/>
                  <a:gd name="T56" fmla="*/ 3 w 280"/>
                  <a:gd name="T57" fmla="*/ 201 h 353"/>
                  <a:gd name="T58" fmla="*/ 12 w 280"/>
                  <a:gd name="T59" fmla="*/ 207 h 353"/>
                  <a:gd name="T60" fmla="*/ 22 w 280"/>
                  <a:gd name="T61" fmla="*/ 228 h 353"/>
                  <a:gd name="T62" fmla="*/ 48 w 280"/>
                  <a:gd name="T63" fmla="*/ 214 h 353"/>
                  <a:gd name="T64" fmla="*/ 65 w 280"/>
                  <a:gd name="T65" fmla="*/ 219 h 353"/>
                  <a:gd name="T66" fmla="*/ 61 w 280"/>
                  <a:gd name="T67" fmla="*/ 258 h 353"/>
                  <a:gd name="T68" fmla="*/ 36 w 280"/>
                  <a:gd name="T69" fmla="*/ 271 h 353"/>
                  <a:gd name="T70" fmla="*/ 51 w 280"/>
                  <a:gd name="T71" fmla="*/ 286 h 353"/>
                  <a:gd name="T72" fmla="*/ 30 w 280"/>
                  <a:gd name="T73" fmla="*/ 307 h 353"/>
                  <a:gd name="T74" fmla="*/ 40 w 280"/>
                  <a:gd name="T75" fmla="*/ 315 h 353"/>
                  <a:gd name="T76" fmla="*/ 33 w 280"/>
                  <a:gd name="T77" fmla="*/ 329 h 353"/>
                  <a:gd name="T78" fmla="*/ 53 w 280"/>
                  <a:gd name="T79" fmla="*/ 315 h 353"/>
                  <a:gd name="T80" fmla="*/ 62 w 280"/>
                  <a:gd name="T81" fmla="*/ 326 h 353"/>
                  <a:gd name="T82" fmla="*/ 81 w 280"/>
                  <a:gd name="T83" fmla="*/ 324 h 353"/>
                  <a:gd name="T84" fmla="*/ 96 w 280"/>
                  <a:gd name="T85" fmla="*/ 353 h 353"/>
                  <a:gd name="T86" fmla="*/ 108 w 280"/>
                  <a:gd name="T87" fmla="*/ 339 h 353"/>
                  <a:gd name="T88" fmla="*/ 121 w 280"/>
                  <a:gd name="T89" fmla="*/ 335 h 353"/>
                  <a:gd name="T90" fmla="*/ 125 w 280"/>
                  <a:gd name="T91" fmla="*/ 299 h 353"/>
                  <a:gd name="T92" fmla="*/ 135 w 280"/>
                  <a:gd name="T93" fmla="*/ 284 h 353"/>
                  <a:gd name="T94" fmla="*/ 132 w 280"/>
                  <a:gd name="T95" fmla="*/ 272 h 353"/>
                  <a:gd name="T96" fmla="*/ 140 w 280"/>
                  <a:gd name="T97" fmla="*/ 269 h 353"/>
                  <a:gd name="T98" fmla="*/ 154 w 280"/>
                  <a:gd name="T99" fmla="*/ 251 h 353"/>
                  <a:gd name="T100" fmla="*/ 211 w 280"/>
                  <a:gd name="T101" fmla="*/ 226 h 353"/>
                  <a:gd name="T102" fmla="*/ 262 w 280"/>
                  <a:gd name="T103" fmla="*/ 170 h 353"/>
                  <a:gd name="T104" fmla="*/ 270 w 280"/>
                  <a:gd name="T105" fmla="*/ 141 h 353"/>
                  <a:gd name="T106" fmla="*/ 280 w 280"/>
                  <a:gd name="T107" fmla="*/ 136 h 353"/>
                  <a:gd name="T108" fmla="*/ 277 w 280"/>
                  <a:gd name="T109" fmla="*/ 1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0" h="353">
                    <a:moveTo>
                      <a:pt x="42" y="249"/>
                    </a:moveTo>
                    <a:cubicBezTo>
                      <a:pt x="57" y="245"/>
                      <a:pt x="59" y="225"/>
                      <a:pt x="49" y="229"/>
                    </a:cubicBezTo>
                    <a:cubicBezTo>
                      <a:pt x="40" y="233"/>
                      <a:pt x="34" y="250"/>
                      <a:pt x="42" y="249"/>
                    </a:cubicBezTo>
                    <a:close/>
                    <a:moveTo>
                      <a:pt x="277" y="114"/>
                    </a:moveTo>
                    <a:cubicBezTo>
                      <a:pt x="261" y="102"/>
                      <a:pt x="261" y="102"/>
                      <a:pt x="261" y="102"/>
                    </a:cubicBezTo>
                    <a:cubicBezTo>
                      <a:pt x="261" y="102"/>
                      <a:pt x="272" y="102"/>
                      <a:pt x="271" y="84"/>
                    </a:cubicBezTo>
                    <a:cubicBezTo>
                      <a:pt x="265" y="83"/>
                      <a:pt x="258" y="83"/>
                      <a:pt x="252" y="83"/>
                    </a:cubicBezTo>
                    <a:cubicBezTo>
                      <a:pt x="239" y="82"/>
                      <a:pt x="247" y="64"/>
                      <a:pt x="230" y="61"/>
                    </a:cubicBezTo>
                    <a:cubicBezTo>
                      <a:pt x="213" y="58"/>
                      <a:pt x="225" y="71"/>
                      <a:pt x="218" y="73"/>
                    </a:cubicBezTo>
                    <a:cubicBezTo>
                      <a:pt x="211" y="75"/>
                      <a:pt x="195" y="65"/>
                      <a:pt x="195" y="65"/>
                    </a:cubicBezTo>
                    <a:cubicBezTo>
                      <a:pt x="195" y="65"/>
                      <a:pt x="184" y="70"/>
                      <a:pt x="175" y="64"/>
                    </a:cubicBezTo>
                    <a:cubicBezTo>
                      <a:pt x="166" y="58"/>
                      <a:pt x="173" y="51"/>
                      <a:pt x="163" y="43"/>
                    </a:cubicBezTo>
                    <a:cubicBezTo>
                      <a:pt x="153" y="35"/>
                      <a:pt x="140" y="40"/>
                      <a:pt x="140" y="40"/>
                    </a:cubicBezTo>
                    <a:cubicBezTo>
                      <a:pt x="140" y="40"/>
                      <a:pt x="132" y="28"/>
                      <a:pt x="121" y="22"/>
                    </a:cubicBezTo>
                    <a:cubicBezTo>
                      <a:pt x="113" y="19"/>
                      <a:pt x="103" y="6"/>
                      <a:pt x="98" y="0"/>
                    </a:cubicBezTo>
                    <a:cubicBezTo>
                      <a:pt x="99" y="10"/>
                      <a:pt x="105" y="14"/>
                      <a:pt x="101" y="23"/>
                    </a:cubicBezTo>
                    <a:cubicBezTo>
                      <a:pt x="98" y="32"/>
                      <a:pt x="68" y="37"/>
                      <a:pt x="68" y="37"/>
                    </a:cubicBezTo>
                    <a:cubicBezTo>
                      <a:pt x="66" y="27"/>
                      <a:pt x="66" y="27"/>
                      <a:pt x="66" y="27"/>
                    </a:cubicBezTo>
                    <a:cubicBezTo>
                      <a:pt x="66" y="27"/>
                      <a:pt x="46" y="38"/>
                      <a:pt x="44" y="46"/>
                    </a:cubicBezTo>
                    <a:cubicBezTo>
                      <a:pt x="41" y="54"/>
                      <a:pt x="51" y="64"/>
                      <a:pt x="49" y="77"/>
                    </a:cubicBezTo>
                    <a:cubicBezTo>
                      <a:pt x="48" y="90"/>
                      <a:pt x="35" y="89"/>
                      <a:pt x="31" y="97"/>
                    </a:cubicBezTo>
                    <a:cubicBezTo>
                      <a:pt x="26" y="105"/>
                      <a:pt x="39" y="119"/>
                      <a:pt x="39" y="119"/>
                    </a:cubicBezTo>
                    <a:cubicBezTo>
                      <a:pt x="27" y="119"/>
                      <a:pt x="27" y="119"/>
                      <a:pt x="27" y="119"/>
                    </a:cubicBezTo>
                    <a:cubicBezTo>
                      <a:pt x="26" y="130"/>
                      <a:pt x="26" y="130"/>
                      <a:pt x="26" y="130"/>
                    </a:cubicBezTo>
                    <a:cubicBezTo>
                      <a:pt x="3" y="144"/>
                      <a:pt x="3" y="144"/>
                      <a:pt x="3" y="144"/>
                    </a:cubicBezTo>
                    <a:cubicBezTo>
                      <a:pt x="19" y="154"/>
                      <a:pt x="19" y="154"/>
                      <a:pt x="19" y="154"/>
                    </a:cubicBezTo>
                    <a:cubicBezTo>
                      <a:pt x="8" y="173"/>
                      <a:pt x="8" y="173"/>
                      <a:pt x="8" y="173"/>
                    </a:cubicBezTo>
                    <a:cubicBezTo>
                      <a:pt x="8" y="173"/>
                      <a:pt x="19" y="176"/>
                      <a:pt x="18" y="187"/>
                    </a:cubicBezTo>
                    <a:cubicBezTo>
                      <a:pt x="16" y="198"/>
                      <a:pt x="3" y="201"/>
                      <a:pt x="3" y="201"/>
                    </a:cubicBezTo>
                    <a:cubicBezTo>
                      <a:pt x="12" y="207"/>
                      <a:pt x="12" y="207"/>
                      <a:pt x="12" y="207"/>
                    </a:cubicBezTo>
                    <a:cubicBezTo>
                      <a:pt x="12" y="207"/>
                      <a:pt x="0" y="221"/>
                      <a:pt x="22" y="228"/>
                    </a:cubicBezTo>
                    <a:cubicBezTo>
                      <a:pt x="45" y="235"/>
                      <a:pt x="48" y="214"/>
                      <a:pt x="48" y="214"/>
                    </a:cubicBezTo>
                    <a:cubicBezTo>
                      <a:pt x="65" y="219"/>
                      <a:pt x="65" y="219"/>
                      <a:pt x="65" y="219"/>
                    </a:cubicBezTo>
                    <a:cubicBezTo>
                      <a:pt x="73" y="227"/>
                      <a:pt x="64" y="246"/>
                      <a:pt x="61" y="258"/>
                    </a:cubicBezTo>
                    <a:cubicBezTo>
                      <a:pt x="59" y="270"/>
                      <a:pt x="36" y="271"/>
                      <a:pt x="36" y="271"/>
                    </a:cubicBezTo>
                    <a:cubicBezTo>
                      <a:pt x="36" y="271"/>
                      <a:pt x="60" y="277"/>
                      <a:pt x="51" y="286"/>
                    </a:cubicBezTo>
                    <a:cubicBezTo>
                      <a:pt x="43" y="295"/>
                      <a:pt x="30" y="307"/>
                      <a:pt x="30" y="307"/>
                    </a:cubicBezTo>
                    <a:cubicBezTo>
                      <a:pt x="40" y="315"/>
                      <a:pt x="40" y="315"/>
                      <a:pt x="40" y="315"/>
                    </a:cubicBezTo>
                    <a:cubicBezTo>
                      <a:pt x="40" y="315"/>
                      <a:pt x="24" y="324"/>
                      <a:pt x="33" y="329"/>
                    </a:cubicBezTo>
                    <a:cubicBezTo>
                      <a:pt x="43" y="333"/>
                      <a:pt x="53" y="315"/>
                      <a:pt x="53" y="315"/>
                    </a:cubicBezTo>
                    <a:cubicBezTo>
                      <a:pt x="62" y="326"/>
                      <a:pt x="62" y="326"/>
                      <a:pt x="62" y="326"/>
                    </a:cubicBezTo>
                    <a:cubicBezTo>
                      <a:pt x="62" y="326"/>
                      <a:pt x="75" y="320"/>
                      <a:pt x="81" y="324"/>
                    </a:cubicBezTo>
                    <a:cubicBezTo>
                      <a:pt x="86" y="329"/>
                      <a:pt x="82" y="353"/>
                      <a:pt x="96" y="353"/>
                    </a:cubicBezTo>
                    <a:cubicBezTo>
                      <a:pt x="109" y="353"/>
                      <a:pt x="104" y="342"/>
                      <a:pt x="108" y="339"/>
                    </a:cubicBezTo>
                    <a:cubicBezTo>
                      <a:pt x="112" y="337"/>
                      <a:pt x="121" y="335"/>
                      <a:pt x="121" y="335"/>
                    </a:cubicBezTo>
                    <a:cubicBezTo>
                      <a:pt x="121" y="335"/>
                      <a:pt x="124" y="308"/>
                      <a:pt x="125" y="299"/>
                    </a:cubicBezTo>
                    <a:cubicBezTo>
                      <a:pt x="127" y="289"/>
                      <a:pt x="135" y="284"/>
                      <a:pt x="135" y="284"/>
                    </a:cubicBezTo>
                    <a:cubicBezTo>
                      <a:pt x="132" y="272"/>
                      <a:pt x="132" y="272"/>
                      <a:pt x="132" y="272"/>
                    </a:cubicBezTo>
                    <a:cubicBezTo>
                      <a:pt x="140" y="269"/>
                      <a:pt x="140" y="269"/>
                      <a:pt x="140" y="269"/>
                    </a:cubicBezTo>
                    <a:cubicBezTo>
                      <a:pt x="140" y="269"/>
                      <a:pt x="140" y="262"/>
                      <a:pt x="154" y="251"/>
                    </a:cubicBezTo>
                    <a:cubicBezTo>
                      <a:pt x="167" y="240"/>
                      <a:pt x="188" y="240"/>
                      <a:pt x="211" y="226"/>
                    </a:cubicBezTo>
                    <a:cubicBezTo>
                      <a:pt x="234" y="211"/>
                      <a:pt x="262" y="170"/>
                      <a:pt x="262" y="170"/>
                    </a:cubicBezTo>
                    <a:cubicBezTo>
                      <a:pt x="270" y="141"/>
                      <a:pt x="270" y="141"/>
                      <a:pt x="270" y="141"/>
                    </a:cubicBezTo>
                    <a:cubicBezTo>
                      <a:pt x="280" y="136"/>
                      <a:pt x="280" y="136"/>
                      <a:pt x="280" y="136"/>
                    </a:cubicBezTo>
                    <a:lnTo>
                      <a:pt x="277" y="114"/>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83" name="Colombia">
                <a:extLst>
                  <a:ext uri="{FF2B5EF4-FFF2-40B4-BE49-F238E27FC236}">
                    <a16:creationId xmlns:a16="http://schemas.microsoft.com/office/drawing/2014/main" id="{BF102662-91BB-48E9-9736-370F5212ADC7}"/>
                  </a:ext>
                </a:extLst>
              </p:cNvPr>
              <p:cNvSpPr>
                <a:spLocks/>
              </p:cNvSpPr>
              <p:nvPr/>
            </p:nvSpPr>
            <p:spPr bwMode="gray">
              <a:xfrm>
                <a:off x="3512403" y="3702732"/>
                <a:ext cx="325495" cy="506180"/>
              </a:xfrm>
              <a:custGeom>
                <a:avLst/>
                <a:gdLst>
                  <a:gd name="T0" fmla="*/ 65 w 581"/>
                  <a:gd name="T1" fmla="*/ 635 h 902"/>
                  <a:gd name="T2" fmla="*/ 120 w 581"/>
                  <a:gd name="T3" fmla="*/ 665 h 902"/>
                  <a:gd name="T4" fmla="*/ 185 w 581"/>
                  <a:gd name="T5" fmla="*/ 680 h 902"/>
                  <a:gd name="T6" fmla="*/ 238 w 581"/>
                  <a:gd name="T7" fmla="*/ 732 h 902"/>
                  <a:gd name="T8" fmla="*/ 264 w 581"/>
                  <a:gd name="T9" fmla="*/ 772 h 902"/>
                  <a:gd name="T10" fmla="*/ 329 w 581"/>
                  <a:gd name="T11" fmla="*/ 813 h 902"/>
                  <a:gd name="T12" fmla="*/ 388 w 581"/>
                  <a:gd name="T13" fmla="*/ 797 h 902"/>
                  <a:gd name="T14" fmla="*/ 415 w 581"/>
                  <a:gd name="T15" fmla="*/ 846 h 902"/>
                  <a:gd name="T16" fmla="*/ 427 w 581"/>
                  <a:gd name="T17" fmla="*/ 898 h 902"/>
                  <a:gd name="T18" fmla="*/ 444 w 581"/>
                  <a:gd name="T19" fmla="*/ 831 h 902"/>
                  <a:gd name="T20" fmla="*/ 464 w 581"/>
                  <a:gd name="T21" fmla="*/ 749 h 902"/>
                  <a:gd name="T22" fmla="*/ 425 w 581"/>
                  <a:gd name="T23" fmla="*/ 688 h 902"/>
                  <a:gd name="T24" fmla="*/ 471 w 581"/>
                  <a:gd name="T25" fmla="*/ 643 h 902"/>
                  <a:gd name="T26" fmla="*/ 442 w 581"/>
                  <a:gd name="T27" fmla="*/ 616 h 902"/>
                  <a:gd name="T28" fmla="*/ 510 w 581"/>
                  <a:gd name="T29" fmla="*/ 586 h 902"/>
                  <a:gd name="T30" fmla="*/ 555 w 581"/>
                  <a:gd name="T31" fmla="*/ 563 h 902"/>
                  <a:gd name="T32" fmla="*/ 564 w 581"/>
                  <a:gd name="T33" fmla="*/ 614 h 902"/>
                  <a:gd name="T34" fmla="*/ 566 w 581"/>
                  <a:gd name="T35" fmla="*/ 569 h 902"/>
                  <a:gd name="T36" fmla="*/ 531 w 581"/>
                  <a:gd name="T37" fmla="*/ 524 h 902"/>
                  <a:gd name="T38" fmla="*/ 543 w 581"/>
                  <a:gd name="T39" fmla="*/ 460 h 902"/>
                  <a:gd name="T40" fmla="*/ 533 w 581"/>
                  <a:gd name="T41" fmla="*/ 395 h 902"/>
                  <a:gd name="T42" fmla="*/ 558 w 581"/>
                  <a:gd name="T43" fmla="*/ 343 h 902"/>
                  <a:gd name="T44" fmla="*/ 503 w 581"/>
                  <a:gd name="T45" fmla="*/ 350 h 902"/>
                  <a:gd name="T46" fmla="*/ 463 w 581"/>
                  <a:gd name="T47" fmla="*/ 350 h 902"/>
                  <a:gd name="T48" fmla="*/ 404 w 581"/>
                  <a:gd name="T49" fmla="*/ 297 h 902"/>
                  <a:gd name="T50" fmla="*/ 341 w 581"/>
                  <a:gd name="T51" fmla="*/ 300 h 902"/>
                  <a:gd name="T52" fmla="*/ 324 w 581"/>
                  <a:gd name="T53" fmla="*/ 252 h 902"/>
                  <a:gd name="T54" fmla="*/ 317 w 581"/>
                  <a:gd name="T55" fmla="*/ 200 h 902"/>
                  <a:gd name="T56" fmla="*/ 306 w 581"/>
                  <a:gd name="T57" fmla="*/ 153 h 902"/>
                  <a:gd name="T58" fmla="*/ 320 w 581"/>
                  <a:gd name="T59" fmla="*/ 97 h 902"/>
                  <a:gd name="T60" fmla="*/ 381 w 581"/>
                  <a:gd name="T61" fmla="*/ 47 h 902"/>
                  <a:gd name="T62" fmla="*/ 342 w 581"/>
                  <a:gd name="T63" fmla="*/ 45 h 902"/>
                  <a:gd name="T64" fmla="*/ 271 w 581"/>
                  <a:gd name="T65" fmla="*/ 74 h 902"/>
                  <a:gd name="T66" fmla="*/ 239 w 581"/>
                  <a:gd name="T67" fmla="*/ 101 h 902"/>
                  <a:gd name="T68" fmla="*/ 207 w 581"/>
                  <a:gd name="T69" fmla="*/ 94 h 902"/>
                  <a:gd name="T70" fmla="*/ 177 w 581"/>
                  <a:gd name="T71" fmla="*/ 155 h 902"/>
                  <a:gd name="T72" fmla="*/ 147 w 581"/>
                  <a:gd name="T73" fmla="*/ 198 h 902"/>
                  <a:gd name="T74" fmla="*/ 123 w 581"/>
                  <a:gd name="T75" fmla="*/ 229 h 902"/>
                  <a:gd name="T76" fmla="*/ 93 w 581"/>
                  <a:gd name="T77" fmla="*/ 215 h 902"/>
                  <a:gd name="T78" fmla="*/ 92 w 581"/>
                  <a:gd name="T79" fmla="*/ 267 h 902"/>
                  <a:gd name="T80" fmla="*/ 74 w 581"/>
                  <a:gd name="T81" fmla="*/ 301 h 902"/>
                  <a:gd name="T82" fmla="*/ 77 w 581"/>
                  <a:gd name="T83" fmla="*/ 338 h 902"/>
                  <a:gd name="T84" fmla="*/ 77 w 581"/>
                  <a:gd name="T85" fmla="*/ 378 h 902"/>
                  <a:gd name="T86" fmla="*/ 74 w 581"/>
                  <a:gd name="T87" fmla="*/ 454 h 902"/>
                  <a:gd name="T88" fmla="*/ 74 w 581"/>
                  <a:gd name="T89" fmla="*/ 522 h 902"/>
                  <a:gd name="T90" fmla="*/ 26 w 581"/>
                  <a:gd name="T91" fmla="*/ 580 h 902"/>
                  <a:gd name="T92" fmla="*/ 23 w 581"/>
                  <a:gd name="T93" fmla="*/ 614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1" h="902">
                    <a:moveTo>
                      <a:pt x="23" y="614"/>
                    </a:moveTo>
                    <a:cubicBezTo>
                      <a:pt x="34" y="620"/>
                      <a:pt x="42" y="632"/>
                      <a:pt x="42" y="632"/>
                    </a:cubicBezTo>
                    <a:cubicBezTo>
                      <a:pt x="42" y="632"/>
                      <a:pt x="55" y="627"/>
                      <a:pt x="65" y="635"/>
                    </a:cubicBezTo>
                    <a:cubicBezTo>
                      <a:pt x="75" y="643"/>
                      <a:pt x="68" y="650"/>
                      <a:pt x="77" y="656"/>
                    </a:cubicBezTo>
                    <a:cubicBezTo>
                      <a:pt x="86" y="662"/>
                      <a:pt x="97" y="657"/>
                      <a:pt x="97" y="657"/>
                    </a:cubicBezTo>
                    <a:cubicBezTo>
                      <a:pt x="97" y="657"/>
                      <a:pt x="113" y="667"/>
                      <a:pt x="120" y="665"/>
                    </a:cubicBezTo>
                    <a:cubicBezTo>
                      <a:pt x="127" y="663"/>
                      <a:pt x="115" y="650"/>
                      <a:pt x="132" y="653"/>
                    </a:cubicBezTo>
                    <a:cubicBezTo>
                      <a:pt x="149" y="656"/>
                      <a:pt x="141" y="674"/>
                      <a:pt x="154" y="675"/>
                    </a:cubicBezTo>
                    <a:cubicBezTo>
                      <a:pt x="166" y="676"/>
                      <a:pt x="178" y="676"/>
                      <a:pt x="185" y="680"/>
                    </a:cubicBezTo>
                    <a:cubicBezTo>
                      <a:pt x="192" y="684"/>
                      <a:pt x="222" y="708"/>
                      <a:pt x="222" y="708"/>
                    </a:cubicBezTo>
                    <a:cubicBezTo>
                      <a:pt x="230" y="732"/>
                      <a:pt x="230" y="732"/>
                      <a:pt x="230" y="732"/>
                    </a:cubicBezTo>
                    <a:cubicBezTo>
                      <a:pt x="238" y="732"/>
                      <a:pt x="238" y="732"/>
                      <a:pt x="238" y="732"/>
                    </a:cubicBezTo>
                    <a:cubicBezTo>
                      <a:pt x="249" y="745"/>
                      <a:pt x="249" y="745"/>
                      <a:pt x="249" y="745"/>
                    </a:cubicBezTo>
                    <a:cubicBezTo>
                      <a:pt x="249" y="745"/>
                      <a:pt x="257" y="742"/>
                      <a:pt x="259" y="748"/>
                    </a:cubicBezTo>
                    <a:cubicBezTo>
                      <a:pt x="262" y="754"/>
                      <a:pt x="264" y="772"/>
                      <a:pt x="264" y="772"/>
                    </a:cubicBezTo>
                    <a:cubicBezTo>
                      <a:pt x="264" y="772"/>
                      <a:pt x="282" y="773"/>
                      <a:pt x="283" y="781"/>
                    </a:cubicBezTo>
                    <a:cubicBezTo>
                      <a:pt x="284" y="788"/>
                      <a:pt x="269" y="803"/>
                      <a:pt x="288" y="808"/>
                    </a:cubicBezTo>
                    <a:cubicBezTo>
                      <a:pt x="307" y="813"/>
                      <a:pt x="329" y="813"/>
                      <a:pt x="329" y="813"/>
                    </a:cubicBezTo>
                    <a:cubicBezTo>
                      <a:pt x="329" y="813"/>
                      <a:pt x="330" y="792"/>
                      <a:pt x="344" y="795"/>
                    </a:cubicBezTo>
                    <a:cubicBezTo>
                      <a:pt x="358" y="798"/>
                      <a:pt x="359" y="805"/>
                      <a:pt x="367" y="805"/>
                    </a:cubicBezTo>
                    <a:cubicBezTo>
                      <a:pt x="376" y="805"/>
                      <a:pt x="384" y="796"/>
                      <a:pt x="388" y="797"/>
                    </a:cubicBezTo>
                    <a:cubicBezTo>
                      <a:pt x="392" y="798"/>
                      <a:pt x="400" y="810"/>
                      <a:pt x="400" y="810"/>
                    </a:cubicBezTo>
                    <a:cubicBezTo>
                      <a:pt x="400" y="810"/>
                      <a:pt x="428" y="809"/>
                      <a:pt x="428" y="823"/>
                    </a:cubicBezTo>
                    <a:cubicBezTo>
                      <a:pt x="428" y="838"/>
                      <a:pt x="420" y="846"/>
                      <a:pt x="415" y="846"/>
                    </a:cubicBezTo>
                    <a:cubicBezTo>
                      <a:pt x="410" y="846"/>
                      <a:pt x="401" y="876"/>
                      <a:pt x="404" y="881"/>
                    </a:cubicBezTo>
                    <a:cubicBezTo>
                      <a:pt x="407" y="887"/>
                      <a:pt x="421" y="882"/>
                      <a:pt x="421" y="882"/>
                    </a:cubicBezTo>
                    <a:cubicBezTo>
                      <a:pt x="427" y="898"/>
                      <a:pt x="427" y="898"/>
                      <a:pt x="427" y="898"/>
                    </a:cubicBezTo>
                    <a:cubicBezTo>
                      <a:pt x="438" y="902"/>
                      <a:pt x="438" y="902"/>
                      <a:pt x="438" y="902"/>
                    </a:cubicBezTo>
                    <a:cubicBezTo>
                      <a:pt x="441" y="893"/>
                      <a:pt x="442" y="881"/>
                      <a:pt x="442" y="881"/>
                    </a:cubicBezTo>
                    <a:cubicBezTo>
                      <a:pt x="444" y="831"/>
                      <a:pt x="444" y="831"/>
                      <a:pt x="444" y="831"/>
                    </a:cubicBezTo>
                    <a:cubicBezTo>
                      <a:pt x="455" y="801"/>
                      <a:pt x="455" y="801"/>
                      <a:pt x="455" y="801"/>
                    </a:cubicBezTo>
                    <a:cubicBezTo>
                      <a:pt x="453" y="767"/>
                      <a:pt x="453" y="767"/>
                      <a:pt x="453" y="767"/>
                    </a:cubicBezTo>
                    <a:cubicBezTo>
                      <a:pt x="453" y="767"/>
                      <a:pt x="463" y="756"/>
                      <a:pt x="464" y="749"/>
                    </a:cubicBezTo>
                    <a:cubicBezTo>
                      <a:pt x="465" y="742"/>
                      <a:pt x="451" y="727"/>
                      <a:pt x="451" y="727"/>
                    </a:cubicBezTo>
                    <a:cubicBezTo>
                      <a:pt x="451" y="727"/>
                      <a:pt x="450" y="715"/>
                      <a:pt x="448" y="706"/>
                    </a:cubicBezTo>
                    <a:cubicBezTo>
                      <a:pt x="446" y="697"/>
                      <a:pt x="425" y="688"/>
                      <a:pt x="425" y="688"/>
                    </a:cubicBezTo>
                    <a:cubicBezTo>
                      <a:pt x="427" y="646"/>
                      <a:pt x="427" y="646"/>
                      <a:pt x="427" y="646"/>
                    </a:cubicBezTo>
                    <a:cubicBezTo>
                      <a:pt x="449" y="641"/>
                      <a:pt x="449" y="641"/>
                      <a:pt x="449" y="641"/>
                    </a:cubicBezTo>
                    <a:cubicBezTo>
                      <a:pt x="449" y="641"/>
                      <a:pt x="458" y="645"/>
                      <a:pt x="471" y="643"/>
                    </a:cubicBezTo>
                    <a:cubicBezTo>
                      <a:pt x="484" y="641"/>
                      <a:pt x="465" y="621"/>
                      <a:pt x="465" y="621"/>
                    </a:cubicBezTo>
                    <a:cubicBezTo>
                      <a:pt x="458" y="623"/>
                      <a:pt x="458" y="623"/>
                      <a:pt x="458" y="623"/>
                    </a:cubicBezTo>
                    <a:cubicBezTo>
                      <a:pt x="442" y="616"/>
                      <a:pt x="442" y="616"/>
                      <a:pt x="442" y="616"/>
                    </a:cubicBezTo>
                    <a:cubicBezTo>
                      <a:pt x="442" y="616"/>
                      <a:pt x="434" y="587"/>
                      <a:pt x="443" y="582"/>
                    </a:cubicBezTo>
                    <a:cubicBezTo>
                      <a:pt x="452" y="577"/>
                      <a:pt x="466" y="590"/>
                      <a:pt x="466" y="590"/>
                    </a:cubicBezTo>
                    <a:cubicBezTo>
                      <a:pt x="510" y="586"/>
                      <a:pt x="510" y="586"/>
                      <a:pt x="510" y="586"/>
                    </a:cubicBezTo>
                    <a:cubicBezTo>
                      <a:pt x="510" y="586"/>
                      <a:pt x="510" y="569"/>
                      <a:pt x="516" y="569"/>
                    </a:cubicBezTo>
                    <a:cubicBezTo>
                      <a:pt x="522" y="569"/>
                      <a:pt x="527" y="585"/>
                      <a:pt x="533" y="584"/>
                    </a:cubicBezTo>
                    <a:cubicBezTo>
                      <a:pt x="539" y="583"/>
                      <a:pt x="548" y="560"/>
                      <a:pt x="555" y="563"/>
                    </a:cubicBezTo>
                    <a:cubicBezTo>
                      <a:pt x="562" y="566"/>
                      <a:pt x="557" y="573"/>
                      <a:pt x="557" y="573"/>
                    </a:cubicBezTo>
                    <a:cubicBezTo>
                      <a:pt x="557" y="573"/>
                      <a:pt x="560" y="574"/>
                      <a:pt x="562" y="580"/>
                    </a:cubicBezTo>
                    <a:cubicBezTo>
                      <a:pt x="564" y="586"/>
                      <a:pt x="564" y="614"/>
                      <a:pt x="564" y="614"/>
                    </a:cubicBezTo>
                    <a:cubicBezTo>
                      <a:pt x="581" y="614"/>
                      <a:pt x="581" y="614"/>
                      <a:pt x="581" y="614"/>
                    </a:cubicBezTo>
                    <a:cubicBezTo>
                      <a:pt x="581" y="614"/>
                      <a:pt x="575" y="605"/>
                      <a:pt x="576" y="600"/>
                    </a:cubicBezTo>
                    <a:cubicBezTo>
                      <a:pt x="577" y="595"/>
                      <a:pt x="566" y="569"/>
                      <a:pt x="566" y="569"/>
                    </a:cubicBezTo>
                    <a:cubicBezTo>
                      <a:pt x="566" y="569"/>
                      <a:pt x="563" y="549"/>
                      <a:pt x="563" y="545"/>
                    </a:cubicBezTo>
                    <a:cubicBezTo>
                      <a:pt x="563" y="541"/>
                      <a:pt x="541" y="527"/>
                      <a:pt x="541" y="527"/>
                    </a:cubicBezTo>
                    <a:cubicBezTo>
                      <a:pt x="531" y="524"/>
                      <a:pt x="531" y="524"/>
                      <a:pt x="531" y="524"/>
                    </a:cubicBezTo>
                    <a:cubicBezTo>
                      <a:pt x="531" y="524"/>
                      <a:pt x="560" y="506"/>
                      <a:pt x="560" y="496"/>
                    </a:cubicBezTo>
                    <a:cubicBezTo>
                      <a:pt x="560" y="486"/>
                      <a:pt x="544" y="472"/>
                      <a:pt x="544" y="472"/>
                    </a:cubicBezTo>
                    <a:cubicBezTo>
                      <a:pt x="544" y="472"/>
                      <a:pt x="543" y="463"/>
                      <a:pt x="543" y="460"/>
                    </a:cubicBezTo>
                    <a:cubicBezTo>
                      <a:pt x="543" y="457"/>
                      <a:pt x="534" y="453"/>
                      <a:pt x="534" y="453"/>
                    </a:cubicBezTo>
                    <a:cubicBezTo>
                      <a:pt x="534" y="453"/>
                      <a:pt x="536" y="430"/>
                      <a:pt x="536" y="424"/>
                    </a:cubicBezTo>
                    <a:cubicBezTo>
                      <a:pt x="536" y="418"/>
                      <a:pt x="534" y="400"/>
                      <a:pt x="533" y="395"/>
                    </a:cubicBezTo>
                    <a:cubicBezTo>
                      <a:pt x="532" y="390"/>
                      <a:pt x="542" y="385"/>
                      <a:pt x="545" y="382"/>
                    </a:cubicBezTo>
                    <a:cubicBezTo>
                      <a:pt x="548" y="379"/>
                      <a:pt x="547" y="364"/>
                      <a:pt x="547" y="364"/>
                    </a:cubicBezTo>
                    <a:cubicBezTo>
                      <a:pt x="547" y="364"/>
                      <a:pt x="564" y="356"/>
                      <a:pt x="558" y="343"/>
                    </a:cubicBezTo>
                    <a:cubicBezTo>
                      <a:pt x="552" y="331"/>
                      <a:pt x="533" y="346"/>
                      <a:pt x="533" y="346"/>
                    </a:cubicBezTo>
                    <a:cubicBezTo>
                      <a:pt x="514" y="344"/>
                      <a:pt x="514" y="344"/>
                      <a:pt x="514" y="344"/>
                    </a:cubicBezTo>
                    <a:cubicBezTo>
                      <a:pt x="514" y="344"/>
                      <a:pt x="511" y="351"/>
                      <a:pt x="503" y="350"/>
                    </a:cubicBezTo>
                    <a:cubicBezTo>
                      <a:pt x="495" y="349"/>
                      <a:pt x="493" y="342"/>
                      <a:pt x="485" y="342"/>
                    </a:cubicBezTo>
                    <a:cubicBezTo>
                      <a:pt x="477" y="342"/>
                      <a:pt x="479" y="349"/>
                      <a:pt x="479" y="349"/>
                    </a:cubicBezTo>
                    <a:cubicBezTo>
                      <a:pt x="479" y="349"/>
                      <a:pt x="471" y="352"/>
                      <a:pt x="463" y="350"/>
                    </a:cubicBezTo>
                    <a:cubicBezTo>
                      <a:pt x="455" y="347"/>
                      <a:pt x="436" y="305"/>
                      <a:pt x="436" y="305"/>
                    </a:cubicBezTo>
                    <a:cubicBezTo>
                      <a:pt x="418" y="304"/>
                      <a:pt x="418" y="304"/>
                      <a:pt x="418" y="304"/>
                    </a:cubicBezTo>
                    <a:cubicBezTo>
                      <a:pt x="418" y="304"/>
                      <a:pt x="409" y="297"/>
                      <a:pt x="404" y="297"/>
                    </a:cubicBezTo>
                    <a:cubicBezTo>
                      <a:pt x="399" y="297"/>
                      <a:pt x="398" y="303"/>
                      <a:pt x="393" y="304"/>
                    </a:cubicBezTo>
                    <a:cubicBezTo>
                      <a:pt x="388" y="305"/>
                      <a:pt x="370" y="298"/>
                      <a:pt x="365" y="298"/>
                    </a:cubicBezTo>
                    <a:cubicBezTo>
                      <a:pt x="361" y="298"/>
                      <a:pt x="350" y="303"/>
                      <a:pt x="341" y="300"/>
                    </a:cubicBezTo>
                    <a:cubicBezTo>
                      <a:pt x="332" y="297"/>
                      <a:pt x="333" y="279"/>
                      <a:pt x="333" y="279"/>
                    </a:cubicBezTo>
                    <a:cubicBezTo>
                      <a:pt x="323" y="279"/>
                      <a:pt x="323" y="279"/>
                      <a:pt x="323" y="279"/>
                    </a:cubicBezTo>
                    <a:cubicBezTo>
                      <a:pt x="324" y="252"/>
                      <a:pt x="324" y="252"/>
                      <a:pt x="324" y="252"/>
                    </a:cubicBezTo>
                    <a:cubicBezTo>
                      <a:pt x="324" y="252"/>
                      <a:pt x="330" y="249"/>
                      <a:pt x="332" y="236"/>
                    </a:cubicBezTo>
                    <a:cubicBezTo>
                      <a:pt x="334" y="224"/>
                      <a:pt x="318" y="215"/>
                      <a:pt x="318" y="215"/>
                    </a:cubicBezTo>
                    <a:cubicBezTo>
                      <a:pt x="318" y="215"/>
                      <a:pt x="317" y="209"/>
                      <a:pt x="317" y="200"/>
                    </a:cubicBezTo>
                    <a:cubicBezTo>
                      <a:pt x="317" y="191"/>
                      <a:pt x="310" y="177"/>
                      <a:pt x="303" y="177"/>
                    </a:cubicBezTo>
                    <a:cubicBezTo>
                      <a:pt x="296" y="177"/>
                      <a:pt x="292" y="191"/>
                      <a:pt x="287" y="182"/>
                    </a:cubicBezTo>
                    <a:cubicBezTo>
                      <a:pt x="282" y="174"/>
                      <a:pt x="306" y="153"/>
                      <a:pt x="306" y="153"/>
                    </a:cubicBezTo>
                    <a:cubicBezTo>
                      <a:pt x="306" y="135"/>
                      <a:pt x="306" y="135"/>
                      <a:pt x="306" y="135"/>
                    </a:cubicBezTo>
                    <a:cubicBezTo>
                      <a:pt x="312" y="130"/>
                      <a:pt x="312" y="130"/>
                      <a:pt x="312" y="130"/>
                    </a:cubicBezTo>
                    <a:cubicBezTo>
                      <a:pt x="312" y="130"/>
                      <a:pt x="312" y="110"/>
                      <a:pt x="320" y="97"/>
                    </a:cubicBezTo>
                    <a:cubicBezTo>
                      <a:pt x="327" y="84"/>
                      <a:pt x="336" y="80"/>
                      <a:pt x="347" y="76"/>
                    </a:cubicBezTo>
                    <a:cubicBezTo>
                      <a:pt x="358" y="73"/>
                      <a:pt x="359" y="58"/>
                      <a:pt x="359" y="58"/>
                    </a:cubicBezTo>
                    <a:cubicBezTo>
                      <a:pt x="359" y="58"/>
                      <a:pt x="376" y="48"/>
                      <a:pt x="381" y="47"/>
                    </a:cubicBezTo>
                    <a:cubicBezTo>
                      <a:pt x="386" y="46"/>
                      <a:pt x="401" y="42"/>
                      <a:pt x="402" y="21"/>
                    </a:cubicBezTo>
                    <a:cubicBezTo>
                      <a:pt x="403" y="0"/>
                      <a:pt x="361" y="16"/>
                      <a:pt x="355" y="17"/>
                    </a:cubicBezTo>
                    <a:cubicBezTo>
                      <a:pt x="349" y="18"/>
                      <a:pt x="349" y="38"/>
                      <a:pt x="342" y="45"/>
                    </a:cubicBezTo>
                    <a:cubicBezTo>
                      <a:pt x="335" y="52"/>
                      <a:pt x="324" y="45"/>
                      <a:pt x="317" y="46"/>
                    </a:cubicBezTo>
                    <a:cubicBezTo>
                      <a:pt x="310" y="47"/>
                      <a:pt x="296" y="70"/>
                      <a:pt x="296" y="70"/>
                    </a:cubicBezTo>
                    <a:cubicBezTo>
                      <a:pt x="271" y="74"/>
                      <a:pt x="271" y="74"/>
                      <a:pt x="271" y="74"/>
                    </a:cubicBezTo>
                    <a:cubicBezTo>
                      <a:pt x="271" y="74"/>
                      <a:pt x="265" y="65"/>
                      <a:pt x="258" y="69"/>
                    </a:cubicBezTo>
                    <a:cubicBezTo>
                      <a:pt x="251" y="74"/>
                      <a:pt x="251" y="86"/>
                      <a:pt x="251" y="86"/>
                    </a:cubicBezTo>
                    <a:cubicBezTo>
                      <a:pt x="251" y="86"/>
                      <a:pt x="246" y="100"/>
                      <a:pt x="239" y="101"/>
                    </a:cubicBezTo>
                    <a:cubicBezTo>
                      <a:pt x="232" y="103"/>
                      <a:pt x="240" y="92"/>
                      <a:pt x="240" y="92"/>
                    </a:cubicBezTo>
                    <a:cubicBezTo>
                      <a:pt x="240" y="92"/>
                      <a:pt x="234" y="87"/>
                      <a:pt x="230" y="87"/>
                    </a:cubicBezTo>
                    <a:cubicBezTo>
                      <a:pt x="227" y="87"/>
                      <a:pt x="212" y="91"/>
                      <a:pt x="207" y="94"/>
                    </a:cubicBezTo>
                    <a:cubicBezTo>
                      <a:pt x="202" y="98"/>
                      <a:pt x="187" y="112"/>
                      <a:pt x="183" y="119"/>
                    </a:cubicBezTo>
                    <a:cubicBezTo>
                      <a:pt x="180" y="126"/>
                      <a:pt x="188" y="135"/>
                      <a:pt x="188" y="135"/>
                    </a:cubicBezTo>
                    <a:cubicBezTo>
                      <a:pt x="177" y="155"/>
                      <a:pt x="177" y="155"/>
                      <a:pt x="177" y="155"/>
                    </a:cubicBezTo>
                    <a:cubicBezTo>
                      <a:pt x="184" y="171"/>
                      <a:pt x="184" y="171"/>
                      <a:pt x="184" y="171"/>
                    </a:cubicBezTo>
                    <a:cubicBezTo>
                      <a:pt x="184" y="171"/>
                      <a:pt x="168" y="172"/>
                      <a:pt x="162" y="175"/>
                    </a:cubicBezTo>
                    <a:cubicBezTo>
                      <a:pt x="156" y="177"/>
                      <a:pt x="150" y="191"/>
                      <a:pt x="147" y="198"/>
                    </a:cubicBezTo>
                    <a:cubicBezTo>
                      <a:pt x="143" y="205"/>
                      <a:pt x="129" y="207"/>
                      <a:pt x="129" y="207"/>
                    </a:cubicBezTo>
                    <a:cubicBezTo>
                      <a:pt x="115" y="213"/>
                      <a:pt x="115" y="213"/>
                      <a:pt x="115" y="213"/>
                    </a:cubicBezTo>
                    <a:cubicBezTo>
                      <a:pt x="123" y="229"/>
                      <a:pt x="123" y="229"/>
                      <a:pt x="123" y="229"/>
                    </a:cubicBezTo>
                    <a:cubicBezTo>
                      <a:pt x="123" y="229"/>
                      <a:pt x="126" y="252"/>
                      <a:pt x="118" y="254"/>
                    </a:cubicBezTo>
                    <a:cubicBezTo>
                      <a:pt x="110" y="256"/>
                      <a:pt x="116" y="246"/>
                      <a:pt x="115" y="236"/>
                    </a:cubicBezTo>
                    <a:cubicBezTo>
                      <a:pt x="113" y="227"/>
                      <a:pt x="93" y="215"/>
                      <a:pt x="93" y="215"/>
                    </a:cubicBezTo>
                    <a:cubicBezTo>
                      <a:pt x="93" y="215"/>
                      <a:pt x="89" y="221"/>
                      <a:pt x="89" y="228"/>
                    </a:cubicBezTo>
                    <a:cubicBezTo>
                      <a:pt x="89" y="235"/>
                      <a:pt x="102" y="242"/>
                      <a:pt x="102" y="242"/>
                    </a:cubicBezTo>
                    <a:cubicBezTo>
                      <a:pt x="102" y="242"/>
                      <a:pt x="102" y="259"/>
                      <a:pt x="92" y="267"/>
                    </a:cubicBezTo>
                    <a:cubicBezTo>
                      <a:pt x="83" y="275"/>
                      <a:pt x="76" y="265"/>
                      <a:pt x="76" y="265"/>
                    </a:cubicBezTo>
                    <a:cubicBezTo>
                      <a:pt x="66" y="286"/>
                      <a:pt x="66" y="286"/>
                      <a:pt x="66" y="286"/>
                    </a:cubicBezTo>
                    <a:cubicBezTo>
                      <a:pt x="74" y="301"/>
                      <a:pt x="74" y="301"/>
                      <a:pt x="74" y="301"/>
                    </a:cubicBezTo>
                    <a:cubicBezTo>
                      <a:pt x="74" y="308"/>
                      <a:pt x="74" y="308"/>
                      <a:pt x="74" y="308"/>
                    </a:cubicBezTo>
                    <a:cubicBezTo>
                      <a:pt x="74" y="308"/>
                      <a:pt x="81" y="313"/>
                      <a:pt x="87" y="325"/>
                    </a:cubicBezTo>
                    <a:cubicBezTo>
                      <a:pt x="93" y="337"/>
                      <a:pt x="77" y="338"/>
                      <a:pt x="77" y="338"/>
                    </a:cubicBezTo>
                    <a:cubicBezTo>
                      <a:pt x="87" y="353"/>
                      <a:pt x="87" y="353"/>
                      <a:pt x="87" y="353"/>
                    </a:cubicBezTo>
                    <a:cubicBezTo>
                      <a:pt x="92" y="375"/>
                      <a:pt x="92" y="375"/>
                      <a:pt x="92" y="375"/>
                    </a:cubicBezTo>
                    <a:cubicBezTo>
                      <a:pt x="77" y="378"/>
                      <a:pt x="77" y="378"/>
                      <a:pt x="77" y="378"/>
                    </a:cubicBezTo>
                    <a:cubicBezTo>
                      <a:pt x="87" y="391"/>
                      <a:pt x="87" y="391"/>
                      <a:pt x="87" y="391"/>
                    </a:cubicBezTo>
                    <a:cubicBezTo>
                      <a:pt x="87" y="431"/>
                      <a:pt x="87" y="431"/>
                      <a:pt x="87" y="431"/>
                    </a:cubicBezTo>
                    <a:cubicBezTo>
                      <a:pt x="87" y="431"/>
                      <a:pt x="74" y="441"/>
                      <a:pt x="74" y="454"/>
                    </a:cubicBezTo>
                    <a:cubicBezTo>
                      <a:pt x="74" y="467"/>
                      <a:pt x="91" y="467"/>
                      <a:pt x="92" y="482"/>
                    </a:cubicBezTo>
                    <a:cubicBezTo>
                      <a:pt x="93" y="497"/>
                      <a:pt x="65" y="514"/>
                      <a:pt x="65" y="514"/>
                    </a:cubicBezTo>
                    <a:cubicBezTo>
                      <a:pt x="74" y="522"/>
                      <a:pt x="74" y="522"/>
                      <a:pt x="74" y="522"/>
                    </a:cubicBezTo>
                    <a:cubicBezTo>
                      <a:pt x="55" y="539"/>
                      <a:pt x="55" y="539"/>
                      <a:pt x="55" y="539"/>
                    </a:cubicBezTo>
                    <a:cubicBezTo>
                      <a:pt x="55" y="539"/>
                      <a:pt x="34" y="539"/>
                      <a:pt x="26" y="548"/>
                    </a:cubicBezTo>
                    <a:cubicBezTo>
                      <a:pt x="18" y="558"/>
                      <a:pt x="26" y="580"/>
                      <a:pt x="26" y="580"/>
                    </a:cubicBezTo>
                    <a:cubicBezTo>
                      <a:pt x="26" y="580"/>
                      <a:pt x="1" y="572"/>
                      <a:pt x="0" y="586"/>
                    </a:cubicBezTo>
                    <a:cubicBezTo>
                      <a:pt x="0" y="588"/>
                      <a:pt x="0" y="590"/>
                      <a:pt x="0" y="592"/>
                    </a:cubicBezTo>
                    <a:cubicBezTo>
                      <a:pt x="5" y="598"/>
                      <a:pt x="15" y="611"/>
                      <a:pt x="23" y="614"/>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84" name="Chile">
                <a:extLst>
                  <a:ext uri="{FF2B5EF4-FFF2-40B4-BE49-F238E27FC236}">
                    <a16:creationId xmlns:a16="http://schemas.microsoft.com/office/drawing/2014/main" id="{D44C23A8-194A-4F4C-89E6-8262872F36C5}"/>
                  </a:ext>
                </a:extLst>
              </p:cNvPr>
              <p:cNvSpPr>
                <a:spLocks noEditPoints="1"/>
              </p:cNvSpPr>
              <p:nvPr/>
            </p:nvSpPr>
            <p:spPr bwMode="gray">
              <a:xfrm>
                <a:off x="3774388" y="4610363"/>
                <a:ext cx="431876" cy="1131364"/>
              </a:xfrm>
              <a:custGeom>
                <a:avLst/>
                <a:gdLst>
                  <a:gd name="T0" fmla="*/ 550 w 771"/>
                  <a:gd name="T1" fmla="*/ 1864 h 2022"/>
                  <a:gd name="T2" fmla="*/ 572 w 771"/>
                  <a:gd name="T3" fmla="*/ 1906 h 2022"/>
                  <a:gd name="T4" fmla="*/ 567 w 771"/>
                  <a:gd name="T5" fmla="*/ 1954 h 2022"/>
                  <a:gd name="T6" fmla="*/ 690 w 771"/>
                  <a:gd name="T7" fmla="*/ 1981 h 2022"/>
                  <a:gd name="T8" fmla="*/ 658 w 771"/>
                  <a:gd name="T9" fmla="*/ 1993 h 2022"/>
                  <a:gd name="T10" fmla="*/ 617 w 771"/>
                  <a:gd name="T11" fmla="*/ 1988 h 2022"/>
                  <a:gd name="T12" fmla="*/ 663 w 771"/>
                  <a:gd name="T13" fmla="*/ 2010 h 2022"/>
                  <a:gd name="T14" fmla="*/ 500 w 771"/>
                  <a:gd name="T15" fmla="*/ 1974 h 2022"/>
                  <a:gd name="T16" fmla="*/ 526 w 771"/>
                  <a:gd name="T17" fmla="*/ 1935 h 2022"/>
                  <a:gd name="T18" fmla="*/ 471 w 771"/>
                  <a:gd name="T19" fmla="*/ 1945 h 2022"/>
                  <a:gd name="T20" fmla="*/ 397 w 771"/>
                  <a:gd name="T21" fmla="*/ 1867 h 2022"/>
                  <a:gd name="T22" fmla="*/ 345 w 771"/>
                  <a:gd name="T23" fmla="*/ 1873 h 2022"/>
                  <a:gd name="T24" fmla="*/ 355 w 771"/>
                  <a:gd name="T25" fmla="*/ 1822 h 2022"/>
                  <a:gd name="T26" fmla="*/ 326 w 771"/>
                  <a:gd name="T27" fmla="*/ 1841 h 2022"/>
                  <a:gd name="T28" fmla="*/ 342 w 771"/>
                  <a:gd name="T29" fmla="*/ 1820 h 2022"/>
                  <a:gd name="T30" fmla="*/ 287 w 771"/>
                  <a:gd name="T31" fmla="*/ 1789 h 2022"/>
                  <a:gd name="T32" fmla="*/ 267 w 771"/>
                  <a:gd name="T33" fmla="*/ 1739 h 2022"/>
                  <a:gd name="T34" fmla="*/ 257 w 771"/>
                  <a:gd name="T35" fmla="*/ 1697 h 2022"/>
                  <a:gd name="T36" fmla="*/ 208 w 771"/>
                  <a:gd name="T37" fmla="*/ 1688 h 2022"/>
                  <a:gd name="T38" fmla="*/ 144 w 771"/>
                  <a:gd name="T39" fmla="*/ 1339 h 2022"/>
                  <a:gd name="T40" fmla="*/ 163 w 771"/>
                  <a:gd name="T41" fmla="*/ 1391 h 2022"/>
                  <a:gd name="T42" fmla="*/ 186 w 771"/>
                  <a:gd name="T43" fmla="*/ 1483 h 2022"/>
                  <a:gd name="T44" fmla="*/ 212 w 771"/>
                  <a:gd name="T45" fmla="*/ 1463 h 2022"/>
                  <a:gd name="T46" fmla="*/ 143 w 771"/>
                  <a:gd name="T47" fmla="*/ 1440 h 2022"/>
                  <a:gd name="T48" fmla="*/ 498 w 771"/>
                  <a:gd name="T49" fmla="*/ 1874 h 2022"/>
                  <a:gd name="T50" fmla="*/ 449 w 771"/>
                  <a:gd name="T51" fmla="*/ 1842 h 2022"/>
                  <a:gd name="T52" fmla="*/ 338 w 771"/>
                  <a:gd name="T53" fmla="*/ 1747 h 2022"/>
                  <a:gd name="T54" fmla="*/ 317 w 771"/>
                  <a:gd name="T55" fmla="*/ 1650 h 2022"/>
                  <a:gd name="T56" fmla="*/ 304 w 771"/>
                  <a:gd name="T57" fmla="*/ 1533 h 2022"/>
                  <a:gd name="T58" fmla="*/ 272 w 771"/>
                  <a:gd name="T59" fmla="*/ 1443 h 2022"/>
                  <a:gd name="T60" fmla="*/ 215 w 771"/>
                  <a:gd name="T61" fmla="*/ 1320 h 2022"/>
                  <a:gd name="T62" fmla="*/ 187 w 771"/>
                  <a:gd name="T63" fmla="*/ 1196 h 2022"/>
                  <a:gd name="T64" fmla="*/ 165 w 771"/>
                  <a:gd name="T65" fmla="*/ 1085 h 2022"/>
                  <a:gd name="T66" fmla="*/ 166 w 771"/>
                  <a:gd name="T67" fmla="*/ 954 h 2022"/>
                  <a:gd name="T68" fmla="*/ 142 w 771"/>
                  <a:gd name="T69" fmla="*/ 815 h 2022"/>
                  <a:gd name="T70" fmla="*/ 109 w 771"/>
                  <a:gd name="T71" fmla="*/ 685 h 2022"/>
                  <a:gd name="T72" fmla="*/ 162 w 771"/>
                  <a:gd name="T73" fmla="*/ 498 h 2022"/>
                  <a:gd name="T74" fmla="*/ 184 w 771"/>
                  <a:gd name="T75" fmla="*/ 293 h 2022"/>
                  <a:gd name="T76" fmla="*/ 97 w 771"/>
                  <a:gd name="T77" fmla="*/ 161 h 2022"/>
                  <a:gd name="T78" fmla="*/ 45 w 771"/>
                  <a:gd name="T79" fmla="*/ 22 h 2022"/>
                  <a:gd name="T80" fmla="*/ 24 w 771"/>
                  <a:gd name="T81" fmla="*/ 182 h 2022"/>
                  <a:gd name="T82" fmla="*/ 47 w 771"/>
                  <a:gd name="T83" fmla="*/ 417 h 2022"/>
                  <a:gd name="T84" fmla="*/ 34 w 771"/>
                  <a:gd name="T85" fmla="*/ 559 h 2022"/>
                  <a:gd name="T86" fmla="*/ 47 w 771"/>
                  <a:gd name="T87" fmla="*/ 720 h 2022"/>
                  <a:gd name="T88" fmla="*/ 82 w 771"/>
                  <a:gd name="T89" fmla="*/ 947 h 2022"/>
                  <a:gd name="T90" fmla="*/ 72 w 771"/>
                  <a:gd name="T91" fmla="*/ 1102 h 2022"/>
                  <a:gd name="T92" fmla="*/ 129 w 771"/>
                  <a:gd name="T93" fmla="*/ 1299 h 2022"/>
                  <a:gd name="T94" fmla="*/ 193 w 771"/>
                  <a:gd name="T95" fmla="*/ 1313 h 2022"/>
                  <a:gd name="T96" fmla="*/ 212 w 771"/>
                  <a:gd name="T97" fmla="*/ 1403 h 2022"/>
                  <a:gd name="T98" fmla="*/ 252 w 771"/>
                  <a:gd name="T99" fmla="*/ 1497 h 2022"/>
                  <a:gd name="T100" fmla="*/ 214 w 771"/>
                  <a:gd name="T101" fmla="*/ 1535 h 2022"/>
                  <a:gd name="T102" fmla="*/ 176 w 771"/>
                  <a:gd name="T103" fmla="*/ 1528 h 2022"/>
                  <a:gd name="T104" fmla="*/ 214 w 771"/>
                  <a:gd name="T105" fmla="*/ 1567 h 2022"/>
                  <a:gd name="T106" fmla="*/ 257 w 771"/>
                  <a:gd name="T107" fmla="*/ 1604 h 2022"/>
                  <a:gd name="T108" fmla="*/ 265 w 771"/>
                  <a:gd name="T109" fmla="*/ 1686 h 2022"/>
                  <a:gd name="T110" fmla="*/ 298 w 771"/>
                  <a:gd name="T111" fmla="*/ 1731 h 2022"/>
                  <a:gd name="T112" fmla="*/ 331 w 771"/>
                  <a:gd name="T113" fmla="*/ 1762 h 2022"/>
                  <a:gd name="T114" fmla="*/ 407 w 771"/>
                  <a:gd name="T115" fmla="*/ 1821 h 2022"/>
                  <a:gd name="T116" fmla="*/ 434 w 771"/>
                  <a:gd name="T117" fmla="*/ 1876 h 2022"/>
                  <a:gd name="T118" fmla="*/ 459 w 771"/>
                  <a:gd name="T119" fmla="*/ 1893 h 2022"/>
                  <a:gd name="T120" fmla="*/ 428 w 771"/>
                  <a:gd name="T121" fmla="*/ 1927 h 2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71" h="2022">
                    <a:moveTo>
                      <a:pt x="677" y="1942"/>
                    </a:moveTo>
                    <a:cubicBezTo>
                      <a:pt x="625" y="1916"/>
                      <a:pt x="625" y="1903"/>
                      <a:pt x="625" y="1903"/>
                    </a:cubicBezTo>
                    <a:cubicBezTo>
                      <a:pt x="602" y="1903"/>
                      <a:pt x="602" y="1903"/>
                      <a:pt x="602" y="1903"/>
                    </a:cubicBezTo>
                    <a:cubicBezTo>
                      <a:pt x="606" y="1892"/>
                      <a:pt x="606" y="1892"/>
                      <a:pt x="606" y="1892"/>
                    </a:cubicBezTo>
                    <a:cubicBezTo>
                      <a:pt x="580" y="1866"/>
                      <a:pt x="580" y="1866"/>
                      <a:pt x="580" y="1866"/>
                    </a:cubicBezTo>
                    <a:cubicBezTo>
                      <a:pt x="559" y="1872"/>
                      <a:pt x="559" y="1872"/>
                      <a:pt x="559" y="1872"/>
                    </a:cubicBezTo>
                    <a:cubicBezTo>
                      <a:pt x="550" y="1864"/>
                      <a:pt x="550" y="1864"/>
                      <a:pt x="550" y="1864"/>
                    </a:cubicBezTo>
                    <a:cubicBezTo>
                      <a:pt x="543" y="1876"/>
                      <a:pt x="543" y="1876"/>
                      <a:pt x="543" y="1876"/>
                    </a:cubicBezTo>
                    <a:cubicBezTo>
                      <a:pt x="530" y="1879"/>
                      <a:pt x="530" y="1879"/>
                      <a:pt x="530" y="1879"/>
                    </a:cubicBezTo>
                    <a:cubicBezTo>
                      <a:pt x="531" y="1890"/>
                      <a:pt x="531" y="1890"/>
                      <a:pt x="531" y="1890"/>
                    </a:cubicBezTo>
                    <a:cubicBezTo>
                      <a:pt x="520" y="1892"/>
                      <a:pt x="520" y="1892"/>
                      <a:pt x="520" y="1892"/>
                    </a:cubicBezTo>
                    <a:cubicBezTo>
                      <a:pt x="521" y="1910"/>
                      <a:pt x="521" y="1910"/>
                      <a:pt x="521" y="1910"/>
                    </a:cubicBezTo>
                    <a:cubicBezTo>
                      <a:pt x="534" y="1923"/>
                      <a:pt x="557" y="1900"/>
                      <a:pt x="557" y="1900"/>
                    </a:cubicBezTo>
                    <a:cubicBezTo>
                      <a:pt x="572" y="1906"/>
                      <a:pt x="572" y="1906"/>
                      <a:pt x="572" y="1906"/>
                    </a:cubicBezTo>
                    <a:cubicBezTo>
                      <a:pt x="572" y="1919"/>
                      <a:pt x="572" y="1919"/>
                      <a:pt x="572" y="1919"/>
                    </a:cubicBezTo>
                    <a:cubicBezTo>
                      <a:pt x="572" y="1919"/>
                      <a:pt x="541" y="1934"/>
                      <a:pt x="552" y="1938"/>
                    </a:cubicBezTo>
                    <a:cubicBezTo>
                      <a:pt x="562" y="1942"/>
                      <a:pt x="615" y="1960"/>
                      <a:pt x="615" y="1960"/>
                    </a:cubicBezTo>
                    <a:cubicBezTo>
                      <a:pt x="605" y="1974"/>
                      <a:pt x="605" y="1974"/>
                      <a:pt x="605" y="1974"/>
                    </a:cubicBezTo>
                    <a:cubicBezTo>
                      <a:pt x="605" y="1974"/>
                      <a:pt x="602" y="1961"/>
                      <a:pt x="592" y="1961"/>
                    </a:cubicBezTo>
                    <a:cubicBezTo>
                      <a:pt x="582" y="1961"/>
                      <a:pt x="579" y="1968"/>
                      <a:pt x="579" y="1968"/>
                    </a:cubicBezTo>
                    <a:cubicBezTo>
                      <a:pt x="567" y="1954"/>
                      <a:pt x="567" y="1954"/>
                      <a:pt x="567" y="1954"/>
                    </a:cubicBezTo>
                    <a:cubicBezTo>
                      <a:pt x="556" y="1958"/>
                      <a:pt x="556" y="1958"/>
                      <a:pt x="556" y="1958"/>
                    </a:cubicBezTo>
                    <a:cubicBezTo>
                      <a:pt x="565" y="1965"/>
                      <a:pt x="565" y="1965"/>
                      <a:pt x="565" y="1965"/>
                    </a:cubicBezTo>
                    <a:cubicBezTo>
                      <a:pt x="544" y="1962"/>
                      <a:pt x="544" y="1962"/>
                      <a:pt x="544" y="1962"/>
                    </a:cubicBezTo>
                    <a:cubicBezTo>
                      <a:pt x="544" y="1962"/>
                      <a:pt x="550" y="1978"/>
                      <a:pt x="566" y="1978"/>
                    </a:cubicBezTo>
                    <a:cubicBezTo>
                      <a:pt x="582" y="1978"/>
                      <a:pt x="595" y="1978"/>
                      <a:pt x="595" y="1978"/>
                    </a:cubicBezTo>
                    <a:cubicBezTo>
                      <a:pt x="595" y="1978"/>
                      <a:pt x="611" y="1984"/>
                      <a:pt x="621" y="1983"/>
                    </a:cubicBezTo>
                    <a:cubicBezTo>
                      <a:pt x="631" y="1981"/>
                      <a:pt x="676" y="1981"/>
                      <a:pt x="690" y="1981"/>
                    </a:cubicBezTo>
                    <a:cubicBezTo>
                      <a:pt x="705" y="1981"/>
                      <a:pt x="725" y="1994"/>
                      <a:pt x="725" y="1994"/>
                    </a:cubicBezTo>
                    <a:cubicBezTo>
                      <a:pt x="746" y="1983"/>
                      <a:pt x="746" y="1983"/>
                      <a:pt x="746" y="1983"/>
                    </a:cubicBezTo>
                    <a:cubicBezTo>
                      <a:pt x="758" y="1987"/>
                      <a:pt x="758" y="1987"/>
                      <a:pt x="758" y="1987"/>
                    </a:cubicBezTo>
                    <a:cubicBezTo>
                      <a:pt x="770" y="1986"/>
                      <a:pt x="770" y="1986"/>
                      <a:pt x="770" y="1986"/>
                    </a:cubicBezTo>
                    <a:cubicBezTo>
                      <a:pt x="771" y="1970"/>
                      <a:pt x="771" y="1970"/>
                      <a:pt x="771" y="1970"/>
                    </a:cubicBezTo>
                    <a:cubicBezTo>
                      <a:pt x="771" y="1970"/>
                      <a:pt x="729" y="1968"/>
                      <a:pt x="677" y="1942"/>
                    </a:cubicBezTo>
                    <a:close/>
                    <a:moveTo>
                      <a:pt x="658" y="1993"/>
                    </a:moveTo>
                    <a:cubicBezTo>
                      <a:pt x="676" y="2003"/>
                      <a:pt x="676" y="2003"/>
                      <a:pt x="676" y="2003"/>
                    </a:cubicBezTo>
                    <a:cubicBezTo>
                      <a:pt x="712" y="2006"/>
                      <a:pt x="712" y="2006"/>
                      <a:pt x="712" y="2006"/>
                    </a:cubicBezTo>
                    <a:cubicBezTo>
                      <a:pt x="693" y="1988"/>
                      <a:pt x="693" y="1988"/>
                      <a:pt x="693" y="1988"/>
                    </a:cubicBezTo>
                    <a:lnTo>
                      <a:pt x="658" y="1993"/>
                    </a:lnTo>
                    <a:close/>
                    <a:moveTo>
                      <a:pt x="638" y="1997"/>
                    </a:moveTo>
                    <a:cubicBezTo>
                      <a:pt x="644" y="1991"/>
                      <a:pt x="644" y="1991"/>
                      <a:pt x="644" y="1991"/>
                    </a:cubicBezTo>
                    <a:cubicBezTo>
                      <a:pt x="617" y="1988"/>
                      <a:pt x="617" y="1988"/>
                      <a:pt x="617" y="1988"/>
                    </a:cubicBezTo>
                    <a:cubicBezTo>
                      <a:pt x="593" y="1988"/>
                      <a:pt x="593" y="1988"/>
                      <a:pt x="593" y="1988"/>
                    </a:cubicBezTo>
                    <a:cubicBezTo>
                      <a:pt x="602" y="2012"/>
                      <a:pt x="602" y="2012"/>
                      <a:pt x="602" y="2012"/>
                    </a:cubicBezTo>
                    <a:cubicBezTo>
                      <a:pt x="625" y="2014"/>
                      <a:pt x="625" y="2014"/>
                      <a:pt x="625" y="2014"/>
                    </a:cubicBezTo>
                    <a:cubicBezTo>
                      <a:pt x="619" y="2004"/>
                      <a:pt x="619" y="2004"/>
                      <a:pt x="619" y="2004"/>
                    </a:cubicBezTo>
                    <a:cubicBezTo>
                      <a:pt x="625" y="2000"/>
                      <a:pt x="625" y="2000"/>
                      <a:pt x="625" y="2000"/>
                    </a:cubicBezTo>
                    <a:cubicBezTo>
                      <a:pt x="632" y="2010"/>
                      <a:pt x="632" y="2010"/>
                      <a:pt x="632" y="2010"/>
                    </a:cubicBezTo>
                    <a:cubicBezTo>
                      <a:pt x="663" y="2010"/>
                      <a:pt x="663" y="2010"/>
                      <a:pt x="663" y="2010"/>
                    </a:cubicBezTo>
                    <a:cubicBezTo>
                      <a:pt x="673" y="2022"/>
                      <a:pt x="673" y="2022"/>
                      <a:pt x="673" y="2022"/>
                    </a:cubicBezTo>
                    <a:cubicBezTo>
                      <a:pt x="686" y="2022"/>
                      <a:pt x="686" y="2022"/>
                      <a:pt x="686" y="2022"/>
                    </a:cubicBezTo>
                    <a:cubicBezTo>
                      <a:pt x="666" y="2001"/>
                      <a:pt x="666" y="2001"/>
                      <a:pt x="666" y="2001"/>
                    </a:cubicBezTo>
                    <a:lnTo>
                      <a:pt x="638" y="1997"/>
                    </a:lnTo>
                    <a:close/>
                    <a:moveTo>
                      <a:pt x="537" y="1967"/>
                    </a:moveTo>
                    <a:cubicBezTo>
                      <a:pt x="495" y="1962"/>
                      <a:pt x="495" y="1962"/>
                      <a:pt x="495" y="1962"/>
                    </a:cubicBezTo>
                    <a:cubicBezTo>
                      <a:pt x="500" y="1974"/>
                      <a:pt x="500" y="1974"/>
                      <a:pt x="500" y="1974"/>
                    </a:cubicBezTo>
                    <a:cubicBezTo>
                      <a:pt x="527" y="1973"/>
                      <a:pt x="527" y="1973"/>
                      <a:pt x="527" y="1973"/>
                    </a:cubicBezTo>
                    <a:cubicBezTo>
                      <a:pt x="537" y="1987"/>
                      <a:pt x="537" y="1987"/>
                      <a:pt x="537" y="1987"/>
                    </a:cubicBezTo>
                    <a:cubicBezTo>
                      <a:pt x="575" y="2003"/>
                      <a:pt x="575" y="2003"/>
                      <a:pt x="575" y="2003"/>
                    </a:cubicBezTo>
                    <a:cubicBezTo>
                      <a:pt x="552" y="1983"/>
                      <a:pt x="552" y="1983"/>
                      <a:pt x="552" y="1983"/>
                    </a:cubicBezTo>
                    <a:lnTo>
                      <a:pt x="537" y="1967"/>
                    </a:lnTo>
                    <a:close/>
                    <a:moveTo>
                      <a:pt x="534" y="1924"/>
                    </a:moveTo>
                    <a:cubicBezTo>
                      <a:pt x="526" y="1935"/>
                      <a:pt x="526" y="1935"/>
                      <a:pt x="526" y="1935"/>
                    </a:cubicBezTo>
                    <a:cubicBezTo>
                      <a:pt x="530" y="1955"/>
                      <a:pt x="530" y="1955"/>
                      <a:pt x="530" y="1955"/>
                    </a:cubicBezTo>
                    <a:cubicBezTo>
                      <a:pt x="546" y="1949"/>
                      <a:pt x="546" y="1949"/>
                      <a:pt x="546" y="1949"/>
                    </a:cubicBezTo>
                    <a:lnTo>
                      <a:pt x="534" y="1924"/>
                    </a:lnTo>
                    <a:close/>
                    <a:moveTo>
                      <a:pt x="515" y="1954"/>
                    </a:moveTo>
                    <a:cubicBezTo>
                      <a:pt x="513" y="1942"/>
                      <a:pt x="513" y="1942"/>
                      <a:pt x="513" y="1942"/>
                    </a:cubicBezTo>
                    <a:cubicBezTo>
                      <a:pt x="479" y="1934"/>
                      <a:pt x="479" y="1934"/>
                      <a:pt x="479" y="1934"/>
                    </a:cubicBezTo>
                    <a:cubicBezTo>
                      <a:pt x="471" y="1945"/>
                      <a:pt x="471" y="1945"/>
                      <a:pt x="471" y="1945"/>
                    </a:cubicBezTo>
                    <a:cubicBezTo>
                      <a:pt x="472" y="1958"/>
                      <a:pt x="472" y="1958"/>
                      <a:pt x="472" y="1958"/>
                    </a:cubicBezTo>
                    <a:cubicBezTo>
                      <a:pt x="495" y="1949"/>
                      <a:pt x="495" y="1949"/>
                      <a:pt x="495" y="1949"/>
                    </a:cubicBezTo>
                    <a:lnTo>
                      <a:pt x="515" y="1954"/>
                    </a:lnTo>
                    <a:close/>
                    <a:moveTo>
                      <a:pt x="407" y="1848"/>
                    </a:moveTo>
                    <a:cubicBezTo>
                      <a:pt x="407" y="1848"/>
                      <a:pt x="381" y="1835"/>
                      <a:pt x="378" y="1847"/>
                    </a:cubicBezTo>
                    <a:cubicBezTo>
                      <a:pt x="375" y="1859"/>
                      <a:pt x="371" y="1874"/>
                      <a:pt x="375" y="1874"/>
                    </a:cubicBezTo>
                    <a:cubicBezTo>
                      <a:pt x="380" y="1874"/>
                      <a:pt x="397" y="1867"/>
                      <a:pt x="397" y="1867"/>
                    </a:cubicBezTo>
                    <a:cubicBezTo>
                      <a:pt x="399" y="1883"/>
                      <a:pt x="399" y="1883"/>
                      <a:pt x="399" y="1883"/>
                    </a:cubicBezTo>
                    <a:cubicBezTo>
                      <a:pt x="420" y="1873"/>
                      <a:pt x="420" y="1873"/>
                      <a:pt x="420" y="1873"/>
                    </a:cubicBezTo>
                    <a:cubicBezTo>
                      <a:pt x="409" y="1863"/>
                      <a:pt x="409" y="1863"/>
                      <a:pt x="409" y="1863"/>
                    </a:cubicBezTo>
                    <a:cubicBezTo>
                      <a:pt x="413" y="1851"/>
                      <a:pt x="413" y="1851"/>
                      <a:pt x="413" y="1851"/>
                    </a:cubicBezTo>
                    <a:lnTo>
                      <a:pt x="407" y="1848"/>
                    </a:lnTo>
                    <a:close/>
                    <a:moveTo>
                      <a:pt x="368" y="1886"/>
                    </a:moveTo>
                    <a:cubicBezTo>
                      <a:pt x="345" y="1873"/>
                      <a:pt x="345" y="1873"/>
                      <a:pt x="345" y="1873"/>
                    </a:cubicBezTo>
                    <a:cubicBezTo>
                      <a:pt x="362" y="1892"/>
                      <a:pt x="362" y="1892"/>
                      <a:pt x="362" y="1892"/>
                    </a:cubicBezTo>
                    <a:cubicBezTo>
                      <a:pt x="393" y="1896"/>
                      <a:pt x="393" y="1896"/>
                      <a:pt x="393" y="1896"/>
                    </a:cubicBezTo>
                    <a:cubicBezTo>
                      <a:pt x="404" y="1903"/>
                      <a:pt x="404" y="1903"/>
                      <a:pt x="404" y="1903"/>
                    </a:cubicBezTo>
                    <a:cubicBezTo>
                      <a:pt x="393" y="1889"/>
                      <a:pt x="393" y="1889"/>
                      <a:pt x="393" y="1889"/>
                    </a:cubicBezTo>
                    <a:lnTo>
                      <a:pt x="368" y="1886"/>
                    </a:lnTo>
                    <a:close/>
                    <a:moveTo>
                      <a:pt x="368" y="1835"/>
                    </a:moveTo>
                    <a:cubicBezTo>
                      <a:pt x="355" y="1822"/>
                      <a:pt x="355" y="1822"/>
                      <a:pt x="355" y="1822"/>
                    </a:cubicBezTo>
                    <a:cubicBezTo>
                      <a:pt x="351" y="1844"/>
                      <a:pt x="351" y="1844"/>
                      <a:pt x="351" y="1844"/>
                    </a:cubicBezTo>
                    <a:cubicBezTo>
                      <a:pt x="336" y="1848"/>
                      <a:pt x="336" y="1848"/>
                      <a:pt x="336" y="1848"/>
                    </a:cubicBezTo>
                    <a:cubicBezTo>
                      <a:pt x="365" y="1860"/>
                      <a:pt x="365" y="1860"/>
                      <a:pt x="365" y="1860"/>
                    </a:cubicBezTo>
                    <a:lnTo>
                      <a:pt x="368" y="1835"/>
                    </a:lnTo>
                    <a:close/>
                    <a:moveTo>
                      <a:pt x="296" y="1827"/>
                    </a:moveTo>
                    <a:cubicBezTo>
                      <a:pt x="319" y="1848"/>
                      <a:pt x="319" y="1848"/>
                      <a:pt x="319" y="1848"/>
                    </a:cubicBezTo>
                    <a:cubicBezTo>
                      <a:pt x="326" y="1841"/>
                      <a:pt x="326" y="1841"/>
                      <a:pt x="326" y="1841"/>
                    </a:cubicBezTo>
                    <a:cubicBezTo>
                      <a:pt x="306" y="1818"/>
                      <a:pt x="306" y="1818"/>
                      <a:pt x="306" y="1818"/>
                    </a:cubicBezTo>
                    <a:lnTo>
                      <a:pt x="296" y="1827"/>
                    </a:lnTo>
                    <a:close/>
                    <a:moveTo>
                      <a:pt x="342" y="1820"/>
                    </a:moveTo>
                    <a:cubicBezTo>
                      <a:pt x="335" y="1814"/>
                      <a:pt x="335" y="1814"/>
                      <a:pt x="335" y="1814"/>
                    </a:cubicBezTo>
                    <a:cubicBezTo>
                      <a:pt x="329" y="1824"/>
                      <a:pt x="329" y="1824"/>
                      <a:pt x="329" y="1824"/>
                    </a:cubicBezTo>
                    <a:cubicBezTo>
                      <a:pt x="336" y="1833"/>
                      <a:pt x="336" y="1833"/>
                      <a:pt x="336" y="1833"/>
                    </a:cubicBezTo>
                    <a:lnTo>
                      <a:pt x="342" y="1820"/>
                    </a:lnTo>
                    <a:close/>
                    <a:moveTo>
                      <a:pt x="303" y="1805"/>
                    </a:moveTo>
                    <a:cubicBezTo>
                      <a:pt x="306" y="1788"/>
                      <a:pt x="306" y="1788"/>
                      <a:pt x="306" y="1788"/>
                    </a:cubicBezTo>
                    <a:cubicBezTo>
                      <a:pt x="303" y="1763"/>
                      <a:pt x="303" y="1763"/>
                      <a:pt x="303" y="1763"/>
                    </a:cubicBezTo>
                    <a:cubicBezTo>
                      <a:pt x="292" y="1759"/>
                      <a:pt x="292" y="1759"/>
                      <a:pt x="292" y="1759"/>
                    </a:cubicBezTo>
                    <a:cubicBezTo>
                      <a:pt x="292" y="1770"/>
                      <a:pt x="292" y="1770"/>
                      <a:pt x="292" y="1770"/>
                    </a:cubicBezTo>
                    <a:cubicBezTo>
                      <a:pt x="270" y="1766"/>
                      <a:pt x="270" y="1766"/>
                      <a:pt x="270" y="1766"/>
                    </a:cubicBezTo>
                    <a:cubicBezTo>
                      <a:pt x="287" y="1789"/>
                      <a:pt x="287" y="1789"/>
                      <a:pt x="287" y="1789"/>
                    </a:cubicBezTo>
                    <a:cubicBezTo>
                      <a:pt x="283" y="1818"/>
                      <a:pt x="283" y="1818"/>
                      <a:pt x="283" y="1818"/>
                    </a:cubicBezTo>
                    <a:lnTo>
                      <a:pt x="303" y="1805"/>
                    </a:lnTo>
                    <a:close/>
                    <a:moveTo>
                      <a:pt x="243" y="1752"/>
                    </a:moveTo>
                    <a:cubicBezTo>
                      <a:pt x="254" y="1753"/>
                      <a:pt x="254" y="1753"/>
                      <a:pt x="254" y="1753"/>
                    </a:cubicBezTo>
                    <a:cubicBezTo>
                      <a:pt x="261" y="1775"/>
                      <a:pt x="261" y="1775"/>
                      <a:pt x="261" y="1775"/>
                    </a:cubicBezTo>
                    <a:cubicBezTo>
                      <a:pt x="266" y="1755"/>
                      <a:pt x="266" y="1755"/>
                      <a:pt x="266" y="1755"/>
                    </a:cubicBezTo>
                    <a:cubicBezTo>
                      <a:pt x="267" y="1739"/>
                      <a:pt x="267" y="1739"/>
                      <a:pt x="267" y="1739"/>
                    </a:cubicBezTo>
                    <a:cubicBezTo>
                      <a:pt x="250" y="1734"/>
                      <a:pt x="250" y="1734"/>
                      <a:pt x="250" y="1734"/>
                    </a:cubicBezTo>
                    <a:lnTo>
                      <a:pt x="243" y="1752"/>
                    </a:lnTo>
                    <a:close/>
                    <a:moveTo>
                      <a:pt x="248" y="1727"/>
                    </a:moveTo>
                    <a:cubicBezTo>
                      <a:pt x="253" y="1726"/>
                      <a:pt x="256" y="1717"/>
                      <a:pt x="256" y="1717"/>
                    </a:cubicBezTo>
                    <a:cubicBezTo>
                      <a:pt x="276" y="1734"/>
                      <a:pt x="276" y="1734"/>
                      <a:pt x="276" y="1734"/>
                    </a:cubicBezTo>
                    <a:cubicBezTo>
                      <a:pt x="277" y="1718"/>
                      <a:pt x="277" y="1718"/>
                      <a:pt x="277" y="1718"/>
                    </a:cubicBezTo>
                    <a:cubicBezTo>
                      <a:pt x="257" y="1697"/>
                      <a:pt x="257" y="1697"/>
                      <a:pt x="257" y="1697"/>
                    </a:cubicBezTo>
                    <a:cubicBezTo>
                      <a:pt x="257" y="1697"/>
                      <a:pt x="241" y="1674"/>
                      <a:pt x="241" y="1662"/>
                    </a:cubicBezTo>
                    <a:cubicBezTo>
                      <a:pt x="241" y="1651"/>
                      <a:pt x="230" y="1639"/>
                      <a:pt x="219" y="1633"/>
                    </a:cubicBezTo>
                    <a:cubicBezTo>
                      <a:pt x="209" y="1628"/>
                      <a:pt x="209" y="1639"/>
                      <a:pt x="209" y="1639"/>
                    </a:cubicBezTo>
                    <a:cubicBezTo>
                      <a:pt x="195" y="1635"/>
                      <a:pt x="195" y="1635"/>
                      <a:pt x="195" y="1635"/>
                    </a:cubicBezTo>
                    <a:cubicBezTo>
                      <a:pt x="195" y="1635"/>
                      <a:pt x="180" y="1662"/>
                      <a:pt x="191" y="1662"/>
                    </a:cubicBezTo>
                    <a:cubicBezTo>
                      <a:pt x="201" y="1662"/>
                      <a:pt x="221" y="1662"/>
                      <a:pt x="221" y="1662"/>
                    </a:cubicBezTo>
                    <a:cubicBezTo>
                      <a:pt x="208" y="1688"/>
                      <a:pt x="208" y="1688"/>
                      <a:pt x="208" y="1688"/>
                    </a:cubicBezTo>
                    <a:cubicBezTo>
                      <a:pt x="217" y="1688"/>
                      <a:pt x="217" y="1688"/>
                      <a:pt x="217" y="1688"/>
                    </a:cubicBezTo>
                    <a:cubicBezTo>
                      <a:pt x="231" y="1675"/>
                      <a:pt x="231" y="1675"/>
                      <a:pt x="231" y="1675"/>
                    </a:cubicBezTo>
                    <a:cubicBezTo>
                      <a:pt x="230" y="1691"/>
                      <a:pt x="230" y="1691"/>
                      <a:pt x="230" y="1691"/>
                    </a:cubicBezTo>
                    <a:cubicBezTo>
                      <a:pt x="230" y="1691"/>
                      <a:pt x="244" y="1729"/>
                      <a:pt x="248" y="1727"/>
                    </a:cubicBezTo>
                    <a:close/>
                    <a:moveTo>
                      <a:pt x="163" y="1391"/>
                    </a:moveTo>
                    <a:cubicBezTo>
                      <a:pt x="165" y="1359"/>
                      <a:pt x="165" y="1359"/>
                      <a:pt x="165" y="1359"/>
                    </a:cubicBezTo>
                    <a:cubicBezTo>
                      <a:pt x="144" y="1339"/>
                      <a:pt x="144" y="1339"/>
                      <a:pt x="144" y="1339"/>
                    </a:cubicBezTo>
                    <a:cubicBezTo>
                      <a:pt x="154" y="1329"/>
                      <a:pt x="154" y="1329"/>
                      <a:pt x="154" y="1329"/>
                    </a:cubicBezTo>
                    <a:cubicBezTo>
                      <a:pt x="140" y="1313"/>
                      <a:pt x="140" y="1313"/>
                      <a:pt x="140" y="1313"/>
                    </a:cubicBezTo>
                    <a:cubicBezTo>
                      <a:pt x="117" y="1304"/>
                      <a:pt x="117" y="1304"/>
                      <a:pt x="117" y="1304"/>
                    </a:cubicBezTo>
                    <a:cubicBezTo>
                      <a:pt x="117" y="1304"/>
                      <a:pt x="114" y="1340"/>
                      <a:pt x="123" y="1343"/>
                    </a:cubicBezTo>
                    <a:cubicBezTo>
                      <a:pt x="131" y="1346"/>
                      <a:pt x="137" y="1366"/>
                      <a:pt x="137" y="1366"/>
                    </a:cubicBezTo>
                    <a:cubicBezTo>
                      <a:pt x="133" y="1379"/>
                      <a:pt x="133" y="1379"/>
                      <a:pt x="133" y="1379"/>
                    </a:cubicBezTo>
                    <a:lnTo>
                      <a:pt x="163" y="1391"/>
                    </a:lnTo>
                    <a:close/>
                    <a:moveTo>
                      <a:pt x="163" y="1453"/>
                    </a:moveTo>
                    <a:cubicBezTo>
                      <a:pt x="170" y="1461"/>
                      <a:pt x="170" y="1461"/>
                      <a:pt x="170" y="1461"/>
                    </a:cubicBezTo>
                    <a:cubicBezTo>
                      <a:pt x="188" y="1461"/>
                      <a:pt x="188" y="1461"/>
                      <a:pt x="188" y="1461"/>
                    </a:cubicBezTo>
                    <a:cubicBezTo>
                      <a:pt x="195" y="1448"/>
                      <a:pt x="195" y="1448"/>
                      <a:pt x="195" y="1448"/>
                    </a:cubicBezTo>
                    <a:cubicBezTo>
                      <a:pt x="176" y="1453"/>
                      <a:pt x="176" y="1453"/>
                      <a:pt x="176" y="1453"/>
                    </a:cubicBezTo>
                    <a:lnTo>
                      <a:pt x="163" y="1453"/>
                    </a:lnTo>
                    <a:close/>
                    <a:moveTo>
                      <a:pt x="186" y="1483"/>
                    </a:moveTo>
                    <a:cubicBezTo>
                      <a:pt x="188" y="1495"/>
                      <a:pt x="188" y="1495"/>
                      <a:pt x="188" y="1495"/>
                    </a:cubicBezTo>
                    <a:cubicBezTo>
                      <a:pt x="204" y="1505"/>
                      <a:pt x="204" y="1505"/>
                      <a:pt x="204" y="1505"/>
                    </a:cubicBezTo>
                    <a:cubicBezTo>
                      <a:pt x="204" y="1489"/>
                      <a:pt x="204" y="1489"/>
                      <a:pt x="204" y="1489"/>
                    </a:cubicBezTo>
                    <a:cubicBezTo>
                      <a:pt x="195" y="1473"/>
                      <a:pt x="195" y="1473"/>
                      <a:pt x="195" y="1473"/>
                    </a:cubicBezTo>
                    <a:cubicBezTo>
                      <a:pt x="173" y="1474"/>
                      <a:pt x="173" y="1474"/>
                      <a:pt x="173" y="1474"/>
                    </a:cubicBezTo>
                    <a:lnTo>
                      <a:pt x="186" y="1483"/>
                    </a:lnTo>
                    <a:close/>
                    <a:moveTo>
                      <a:pt x="212" y="1463"/>
                    </a:moveTo>
                    <a:cubicBezTo>
                      <a:pt x="212" y="1463"/>
                      <a:pt x="244" y="1444"/>
                      <a:pt x="222" y="1440"/>
                    </a:cubicBezTo>
                    <a:cubicBezTo>
                      <a:pt x="201" y="1435"/>
                      <a:pt x="199" y="1463"/>
                      <a:pt x="212" y="1463"/>
                    </a:cubicBezTo>
                    <a:close/>
                    <a:moveTo>
                      <a:pt x="166" y="1409"/>
                    </a:moveTo>
                    <a:cubicBezTo>
                      <a:pt x="152" y="1420"/>
                      <a:pt x="159" y="1430"/>
                      <a:pt x="169" y="1427"/>
                    </a:cubicBezTo>
                    <a:cubicBezTo>
                      <a:pt x="181" y="1423"/>
                      <a:pt x="180" y="1399"/>
                      <a:pt x="166" y="1409"/>
                    </a:cubicBezTo>
                    <a:close/>
                    <a:moveTo>
                      <a:pt x="156" y="1437"/>
                    </a:moveTo>
                    <a:cubicBezTo>
                      <a:pt x="143" y="1440"/>
                      <a:pt x="143" y="1440"/>
                      <a:pt x="143" y="1440"/>
                    </a:cubicBezTo>
                    <a:cubicBezTo>
                      <a:pt x="150" y="1453"/>
                      <a:pt x="150" y="1453"/>
                      <a:pt x="150" y="1453"/>
                    </a:cubicBezTo>
                    <a:lnTo>
                      <a:pt x="156" y="1437"/>
                    </a:lnTo>
                    <a:close/>
                    <a:moveTo>
                      <a:pt x="476" y="1919"/>
                    </a:moveTo>
                    <a:cubicBezTo>
                      <a:pt x="485" y="1915"/>
                      <a:pt x="484" y="1925"/>
                      <a:pt x="484" y="1925"/>
                    </a:cubicBezTo>
                    <a:cubicBezTo>
                      <a:pt x="484" y="1925"/>
                      <a:pt x="499" y="1928"/>
                      <a:pt x="514" y="1925"/>
                    </a:cubicBezTo>
                    <a:cubicBezTo>
                      <a:pt x="528" y="1921"/>
                      <a:pt x="498" y="1899"/>
                      <a:pt x="498" y="1899"/>
                    </a:cubicBezTo>
                    <a:cubicBezTo>
                      <a:pt x="498" y="1874"/>
                      <a:pt x="498" y="1874"/>
                      <a:pt x="498" y="1874"/>
                    </a:cubicBezTo>
                    <a:cubicBezTo>
                      <a:pt x="523" y="1872"/>
                      <a:pt x="523" y="1872"/>
                      <a:pt x="523" y="1872"/>
                    </a:cubicBezTo>
                    <a:cubicBezTo>
                      <a:pt x="521" y="1860"/>
                      <a:pt x="521" y="1860"/>
                      <a:pt x="521" y="1860"/>
                    </a:cubicBezTo>
                    <a:cubicBezTo>
                      <a:pt x="537" y="1862"/>
                      <a:pt x="537" y="1862"/>
                      <a:pt x="537" y="1862"/>
                    </a:cubicBezTo>
                    <a:cubicBezTo>
                      <a:pt x="542" y="1850"/>
                      <a:pt x="542" y="1850"/>
                      <a:pt x="542" y="1850"/>
                    </a:cubicBezTo>
                    <a:cubicBezTo>
                      <a:pt x="527" y="1838"/>
                      <a:pt x="527" y="1838"/>
                      <a:pt x="527" y="1838"/>
                    </a:cubicBezTo>
                    <a:cubicBezTo>
                      <a:pt x="527" y="1838"/>
                      <a:pt x="507" y="1839"/>
                      <a:pt x="491" y="1837"/>
                    </a:cubicBezTo>
                    <a:cubicBezTo>
                      <a:pt x="475" y="1835"/>
                      <a:pt x="449" y="1842"/>
                      <a:pt x="449" y="1842"/>
                    </a:cubicBezTo>
                    <a:cubicBezTo>
                      <a:pt x="437" y="1830"/>
                      <a:pt x="437" y="1830"/>
                      <a:pt x="437" y="1830"/>
                    </a:cubicBezTo>
                    <a:cubicBezTo>
                      <a:pt x="413" y="1819"/>
                      <a:pt x="413" y="1819"/>
                      <a:pt x="413" y="1819"/>
                    </a:cubicBezTo>
                    <a:cubicBezTo>
                      <a:pt x="406" y="1808"/>
                      <a:pt x="406" y="1808"/>
                      <a:pt x="406" y="1808"/>
                    </a:cubicBezTo>
                    <a:cubicBezTo>
                      <a:pt x="392" y="1792"/>
                      <a:pt x="392" y="1792"/>
                      <a:pt x="392" y="1792"/>
                    </a:cubicBezTo>
                    <a:cubicBezTo>
                      <a:pt x="392" y="1792"/>
                      <a:pt x="398" y="1780"/>
                      <a:pt x="383" y="1767"/>
                    </a:cubicBezTo>
                    <a:cubicBezTo>
                      <a:pt x="368" y="1754"/>
                      <a:pt x="362" y="1772"/>
                      <a:pt x="352" y="1772"/>
                    </a:cubicBezTo>
                    <a:cubicBezTo>
                      <a:pt x="342" y="1772"/>
                      <a:pt x="338" y="1747"/>
                      <a:pt x="338" y="1747"/>
                    </a:cubicBezTo>
                    <a:cubicBezTo>
                      <a:pt x="318" y="1743"/>
                      <a:pt x="318" y="1743"/>
                      <a:pt x="318" y="1743"/>
                    </a:cubicBezTo>
                    <a:cubicBezTo>
                      <a:pt x="318" y="1743"/>
                      <a:pt x="320" y="1723"/>
                      <a:pt x="315" y="1718"/>
                    </a:cubicBezTo>
                    <a:cubicBezTo>
                      <a:pt x="310" y="1713"/>
                      <a:pt x="308" y="1697"/>
                      <a:pt x="308" y="1697"/>
                    </a:cubicBezTo>
                    <a:cubicBezTo>
                      <a:pt x="315" y="1693"/>
                      <a:pt x="315" y="1693"/>
                      <a:pt x="315" y="1693"/>
                    </a:cubicBezTo>
                    <a:cubicBezTo>
                      <a:pt x="316" y="1680"/>
                      <a:pt x="316" y="1680"/>
                      <a:pt x="316" y="1680"/>
                    </a:cubicBezTo>
                    <a:cubicBezTo>
                      <a:pt x="316" y="1680"/>
                      <a:pt x="331" y="1675"/>
                      <a:pt x="334" y="1670"/>
                    </a:cubicBezTo>
                    <a:cubicBezTo>
                      <a:pt x="337" y="1665"/>
                      <a:pt x="317" y="1650"/>
                      <a:pt x="317" y="1650"/>
                    </a:cubicBezTo>
                    <a:cubicBezTo>
                      <a:pt x="317" y="1650"/>
                      <a:pt x="333" y="1641"/>
                      <a:pt x="332" y="1638"/>
                    </a:cubicBezTo>
                    <a:cubicBezTo>
                      <a:pt x="331" y="1635"/>
                      <a:pt x="312" y="1624"/>
                      <a:pt x="312" y="1624"/>
                    </a:cubicBezTo>
                    <a:cubicBezTo>
                      <a:pt x="315" y="1594"/>
                      <a:pt x="315" y="1594"/>
                      <a:pt x="315" y="1594"/>
                    </a:cubicBezTo>
                    <a:cubicBezTo>
                      <a:pt x="326" y="1590"/>
                      <a:pt x="326" y="1590"/>
                      <a:pt x="326" y="1590"/>
                    </a:cubicBezTo>
                    <a:cubicBezTo>
                      <a:pt x="316" y="1573"/>
                      <a:pt x="316" y="1573"/>
                      <a:pt x="316" y="1573"/>
                    </a:cubicBezTo>
                    <a:cubicBezTo>
                      <a:pt x="319" y="1551"/>
                      <a:pt x="319" y="1551"/>
                      <a:pt x="319" y="1551"/>
                    </a:cubicBezTo>
                    <a:cubicBezTo>
                      <a:pt x="304" y="1533"/>
                      <a:pt x="304" y="1533"/>
                      <a:pt x="304" y="1533"/>
                    </a:cubicBezTo>
                    <a:cubicBezTo>
                      <a:pt x="307" y="1518"/>
                      <a:pt x="307" y="1518"/>
                      <a:pt x="307" y="1518"/>
                    </a:cubicBezTo>
                    <a:cubicBezTo>
                      <a:pt x="291" y="1506"/>
                      <a:pt x="291" y="1506"/>
                      <a:pt x="291" y="1506"/>
                    </a:cubicBezTo>
                    <a:cubicBezTo>
                      <a:pt x="291" y="1506"/>
                      <a:pt x="304" y="1495"/>
                      <a:pt x="307" y="1487"/>
                    </a:cubicBezTo>
                    <a:cubicBezTo>
                      <a:pt x="310" y="1479"/>
                      <a:pt x="287" y="1470"/>
                      <a:pt x="287" y="1470"/>
                    </a:cubicBezTo>
                    <a:cubicBezTo>
                      <a:pt x="287" y="1470"/>
                      <a:pt x="264" y="1463"/>
                      <a:pt x="263" y="1460"/>
                    </a:cubicBezTo>
                    <a:cubicBezTo>
                      <a:pt x="262" y="1457"/>
                      <a:pt x="294" y="1460"/>
                      <a:pt x="296" y="1449"/>
                    </a:cubicBezTo>
                    <a:cubicBezTo>
                      <a:pt x="298" y="1438"/>
                      <a:pt x="279" y="1443"/>
                      <a:pt x="272" y="1443"/>
                    </a:cubicBezTo>
                    <a:cubicBezTo>
                      <a:pt x="265" y="1443"/>
                      <a:pt x="260" y="1433"/>
                      <a:pt x="260" y="1433"/>
                    </a:cubicBezTo>
                    <a:cubicBezTo>
                      <a:pt x="260" y="1433"/>
                      <a:pt x="259" y="1416"/>
                      <a:pt x="258" y="1405"/>
                    </a:cubicBezTo>
                    <a:cubicBezTo>
                      <a:pt x="257" y="1394"/>
                      <a:pt x="241" y="1393"/>
                      <a:pt x="241" y="1393"/>
                    </a:cubicBezTo>
                    <a:cubicBezTo>
                      <a:pt x="245" y="1375"/>
                      <a:pt x="245" y="1375"/>
                      <a:pt x="245" y="1375"/>
                    </a:cubicBezTo>
                    <a:cubicBezTo>
                      <a:pt x="235" y="1370"/>
                      <a:pt x="235" y="1370"/>
                      <a:pt x="235" y="1370"/>
                    </a:cubicBezTo>
                    <a:cubicBezTo>
                      <a:pt x="235" y="1370"/>
                      <a:pt x="226" y="1366"/>
                      <a:pt x="223" y="1358"/>
                    </a:cubicBezTo>
                    <a:cubicBezTo>
                      <a:pt x="220" y="1350"/>
                      <a:pt x="215" y="1320"/>
                      <a:pt x="215" y="1320"/>
                    </a:cubicBezTo>
                    <a:cubicBezTo>
                      <a:pt x="215" y="1320"/>
                      <a:pt x="226" y="1311"/>
                      <a:pt x="231" y="1312"/>
                    </a:cubicBezTo>
                    <a:cubicBezTo>
                      <a:pt x="236" y="1313"/>
                      <a:pt x="207" y="1292"/>
                      <a:pt x="204" y="1286"/>
                    </a:cubicBezTo>
                    <a:cubicBezTo>
                      <a:pt x="201" y="1280"/>
                      <a:pt x="201" y="1261"/>
                      <a:pt x="201" y="1261"/>
                    </a:cubicBezTo>
                    <a:cubicBezTo>
                      <a:pt x="201" y="1261"/>
                      <a:pt x="194" y="1250"/>
                      <a:pt x="193" y="1244"/>
                    </a:cubicBezTo>
                    <a:cubicBezTo>
                      <a:pt x="192" y="1238"/>
                      <a:pt x="197" y="1220"/>
                      <a:pt x="197" y="1220"/>
                    </a:cubicBezTo>
                    <a:cubicBezTo>
                      <a:pt x="183" y="1212"/>
                      <a:pt x="183" y="1212"/>
                      <a:pt x="183" y="1212"/>
                    </a:cubicBezTo>
                    <a:cubicBezTo>
                      <a:pt x="183" y="1212"/>
                      <a:pt x="188" y="1204"/>
                      <a:pt x="187" y="1196"/>
                    </a:cubicBezTo>
                    <a:cubicBezTo>
                      <a:pt x="186" y="1188"/>
                      <a:pt x="176" y="1183"/>
                      <a:pt x="176" y="1183"/>
                    </a:cubicBezTo>
                    <a:cubicBezTo>
                      <a:pt x="189" y="1174"/>
                      <a:pt x="189" y="1174"/>
                      <a:pt x="189" y="1174"/>
                    </a:cubicBezTo>
                    <a:cubicBezTo>
                      <a:pt x="181" y="1146"/>
                      <a:pt x="181" y="1146"/>
                      <a:pt x="181" y="1146"/>
                    </a:cubicBezTo>
                    <a:cubicBezTo>
                      <a:pt x="181" y="1146"/>
                      <a:pt x="195" y="1141"/>
                      <a:pt x="200" y="1132"/>
                    </a:cubicBezTo>
                    <a:cubicBezTo>
                      <a:pt x="205" y="1123"/>
                      <a:pt x="186" y="1114"/>
                      <a:pt x="186" y="1114"/>
                    </a:cubicBezTo>
                    <a:cubicBezTo>
                      <a:pt x="185" y="1102"/>
                      <a:pt x="185" y="1102"/>
                      <a:pt x="185" y="1102"/>
                    </a:cubicBezTo>
                    <a:cubicBezTo>
                      <a:pt x="165" y="1085"/>
                      <a:pt x="165" y="1085"/>
                      <a:pt x="165" y="1085"/>
                    </a:cubicBezTo>
                    <a:cubicBezTo>
                      <a:pt x="165" y="1085"/>
                      <a:pt x="165" y="1064"/>
                      <a:pt x="165" y="1057"/>
                    </a:cubicBezTo>
                    <a:cubicBezTo>
                      <a:pt x="165" y="1050"/>
                      <a:pt x="153" y="1017"/>
                      <a:pt x="153" y="1017"/>
                    </a:cubicBezTo>
                    <a:cubicBezTo>
                      <a:pt x="170" y="1016"/>
                      <a:pt x="170" y="1016"/>
                      <a:pt x="170" y="1016"/>
                    </a:cubicBezTo>
                    <a:cubicBezTo>
                      <a:pt x="172" y="1004"/>
                      <a:pt x="172" y="1004"/>
                      <a:pt x="172" y="1004"/>
                    </a:cubicBezTo>
                    <a:cubicBezTo>
                      <a:pt x="172" y="1004"/>
                      <a:pt x="176" y="993"/>
                      <a:pt x="175" y="983"/>
                    </a:cubicBezTo>
                    <a:cubicBezTo>
                      <a:pt x="174" y="973"/>
                      <a:pt x="157" y="955"/>
                      <a:pt x="157" y="955"/>
                    </a:cubicBezTo>
                    <a:cubicBezTo>
                      <a:pt x="166" y="954"/>
                      <a:pt x="166" y="954"/>
                      <a:pt x="166" y="954"/>
                    </a:cubicBezTo>
                    <a:cubicBezTo>
                      <a:pt x="166" y="954"/>
                      <a:pt x="167" y="915"/>
                      <a:pt x="167" y="911"/>
                    </a:cubicBezTo>
                    <a:cubicBezTo>
                      <a:pt x="167" y="907"/>
                      <a:pt x="176" y="900"/>
                      <a:pt x="179" y="894"/>
                    </a:cubicBezTo>
                    <a:cubicBezTo>
                      <a:pt x="182" y="888"/>
                      <a:pt x="167" y="869"/>
                      <a:pt x="167" y="869"/>
                    </a:cubicBezTo>
                    <a:cubicBezTo>
                      <a:pt x="165" y="844"/>
                      <a:pt x="165" y="844"/>
                      <a:pt x="165" y="844"/>
                    </a:cubicBezTo>
                    <a:cubicBezTo>
                      <a:pt x="165" y="844"/>
                      <a:pt x="161" y="846"/>
                      <a:pt x="149" y="843"/>
                    </a:cubicBezTo>
                    <a:cubicBezTo>
                      <a:pt x="137" y="840"/>
                      <a:pt x="145" y="821"/>
                      <a:pt x="145" y="821"/>
                    </a:cubicBezTo>
                    <a:cubicBezTo>
                      <a:pt x="142" y="815"/>
                      <a:pt x="142" y="815"/>
                      <a:pt x="142" y="815"/>
                    </a:cubicBezTo>
                    <a:cubicBezTo>
                      <a:pt x="134" y="794"/>
                      <a:pt x="134" y="794"/>
                      <a:pt x="134" y="794"/>
                    </a:cubicBezTo>
                    <a:cubicBezTo>
                      <a:pt x="121" y="784"/>
                      <a:pt x="121" y="784"/>
                      <a:pt x="121" y="784"/>
                    </a:cubicBezTo>
                    <a:cubicBezTo>
                      <a:pt x="121" y="784"/>
                      <a:pt x="123" y="775"/>
                      <a:pt x="125" y="771"/>
                    </a:cubicBezTo>
                    <a:cubicBezTo>
                      <a:pt x="127" y="767"/>
                      <a:pt x="104" y="752"/>
                      <a:pt x="104" y="752"/>
                    </a:cubicBezTo>
                    <a:cubicBezTo>
                      <a:pt x="104" y="752"/>
                      <a:pt x="102" y="735"/>
                      <a:pt x="102" y="730"/>
                    </a:cubicBezTo>
                    <a:cubicBezTo>
                      <a:pt x="102" y="725"/>
                      <a:pt x="112" y="724"/>
                      <a:pt x="112" y="724"/>
                    </a:cubicBezTo>
                    <a:cubicBezTo>
                      <a:pt x="109" y="685"/>
                      <a:pt x="109" y="685"/>
                      <a:pt x="109" y="685"/>
                    </a:cubicBezTo>
                    <a:cubicBezTo>
                      <a:pt x="109" y="685"/>
                      <a:pt x="118" y="690"/>
                      <a:pt x="123" y="685"/>
                    </a:cubicBezTo>
                    <a:cubicBezTo>
                      <a:pt x="128" y="680"/>
                      <a:pt x="105" y="635"/>
                      <a:pt x="104" y="631"/>
                    </a:cubicBezTo>
                    <a:cubicBezTo>
                      <a:pt x="103" y="627"/>
                      <a:pt x="112" y="619"/>
                      <a:pt x="114" y="615"/>
                    </a:cubicBezTo>
                    <a:cubicBezTo>
                      <a:pt x="116" y="611"/>
                      <a:pt x="111" y="586"/>
                      <a:pt x="111" y="576"/>
                    </a:cubicBezTo>
                    <a:cubicBezTo>
                      <a:pt x="111" y="566"/>
                      <a:pt x="129" y="558"/>
                      <a:pt x="130" y="553"/>
                    </a:cubicBezTo>
                    <a:cubicBezTo>
                      <a:pt x="131" y="548"/>
                      <a:pt x="137" y="510"/>
                      <a:pt x="137" y="510"/>
                    </a:cubicBezTo>
                    <a:cubicBezTo>
                      <a:pt x="137" y="510"/>
                      <a:pt x="159" y="509"/>
                      <a:pt x="162" y="498"/>
                    </a:cubicBezTo>
                    <a:cubicBezTo>
                      <a:pt x="165" y="487"/>
                      <a:pt x="134" y="476"/>
                      <a:pt x="134" y="476"/>
                    </a:cubicBezTo>
                    <a:cubicBezTo>
                      <a:pt x="134" y="476"/>
                      <a:pt x="151" y="464"/>
                      <a:pt x="152" y="454"/>
                    </a:cubicBezTo>
                    <a:cubicBezTo>
                      <a:pt x="153" y="444"/>
                      <a:pt x="134" y="436"/>
                      <a:pt x="129" y="429"/>
                    </a:cubicBezTo>
                    <a:cubicBezTo>
                      <a:pt x="124" y="422"/>
                      <a:pt x="134" y="413"/>
                      <a:pt x="143" y="404"/>
                    </a:cubicBezTo>
                    <a:cubicBezTo>
                      <a:pt x="152" y="395"/>
                      <a:pt x="125" y="401"/>
                      <a:pt x="124" y="387"/>
                    </a:cubicBezTo>
                    <a:cubicBezTo>
                      <a:pt x="123" y="373"/>
                      <a:pt x="178" y="349"/>
                      <a:pt x="178" y="349"/>
                    </a:cubicBezTo>
                    <a:cubicBezTo>
                      <a:pt x="184" y="293"/>
                      <a:pt x="184" y="293"/>
                      <a:pt x="184" y="293"/>
                    </a:cubicBezTo>
                    <a:cubicBezTo>
                      <a:pt x="177" y="282"/>
                      <a:pt x="177" y="282"/>
                      <a:pt x="177" y="282"/>
                    </a:cubicBezTo>
                    <a:cubicBezTo>
                      <a:pt x="170" y="284"/>
                      <a:pt x="161" y="285"/>
                      <a:pt x="153" y="284"/>
                    </a:cubicBezTo>
                    <a:cubicBezTo>
                      <a:pt x="141" y="283"/>
                      <a:pt x="142" y="257"/>
                      <a:pt x="142" y="257"/>
                    </a:cubicBezTo>
                    <a:cubicBezTo>
                      <a:pt x="129" y="241"/>
                      <a:pt x="129" y="241"/>
                      <a:pt x="129" y="241"/>
                    </a:cubicBezTo>
                    <a:cubicBezTo>
                      <a:pt x="129" y="241"/>
                      <a:pt x="131" y="211"/>
                      <a:pt x="129" y="200"/>
                    </a:cubicBezTo>
                    <a:cubicBezTo>
                      <a:pt x="126" y="189"/>
                      <a:pt x="97" y="178"/>
                      <a:pt x="97" y="178"/>
                    </a:cubicBezTo>
                    <a:cubicBezTo>
                      <a:pt x="97" y="161"/>
                      <a:pt x="97" y="161"/>
                      <a:pt x="97" y="161"/>
                    </a:cubicBezTo>
                    <a:cubicBezTo>
                      <a:pt x="97" y="161"/>
                      <a:pt x="92" y="158"/>
                      <a:pt x="88" y="148"/>
                    </a:cubicBezTo>
                    <a:cubicBezTo>
                      <a:pt x="84" y="139"/>
                      <a:pt x="99" y="127"/>
                      <a:pt x="99" y="127"/>
                    </a:cubicBezTo>
                    <a:cubicBezTo>
                      <a:pt x="88" y="116"/>
                      <a:pt x="88" y="116"/>
                      <a:pt x="88" y="116"/>
                    </a:cubicBezTo>
                    <a:cubicBezTo>
                      <a:pt x="88" y="116"/>
                      <a:pt x="96" y="110"/>
                      <a:pt x="100" y="98"/>
                    </a:cubicBezTo>
                    <a:cubicBezTo>
                      <a:pt x="104" y="86"/>
                      <a:pt x="68" y="74"/>
                      <a:pt x="68" y="74"/>
                    </a:cubicBezTo>
                    <a:cubicBezTo>
                      <a:pt x="59" y="22"/>
                      <a:pt x="59" y="22"/>
                      <a:pt x="59" y="22"/>
                    </a:cubicBezTo>
                    <a:cubicBezTo>
                      <a:pt x="45" y="22"/>
                      <a:pt x="45" y="22"/>
                      <a:pt x="45" y="22"/>
                    </a:cubicBezTo>
                    <a:cubicBezTo>
                      <a:pt x="34" y="0"/>
                      <a:pt x="34" y="0"/>
                      <a:pt x="34" y="0"/>
                    </a:cubicBezTo>
                    <a:cubicBezTo>
                      <a:pt x="23" y="7"/>
                      <a:pt x="23" y="7"/>
                      <a:pt x="23" y="7"/>
                    </a:cubicBezTo>
                    <a:cubicBezTo>
                      <a:pt x="23" y="7"/>
                      <a:pt x="35" y="21"/>
                      <a:pt x="23" y="30"/>
                    </a:cubicBezTo>
                    <a:cubicBezTo>
                      <a:pt x="16" y="36"/>
                      <a:pt x="7" y="42"/>
                      <a:pt x="1" y="46"/>
                    </a:cubicBezTo>
                    <a:cubicBezTo>
                      <a:pt x="0" y="72"/>
                      <a:pt x="0" y="72"/>
                      <a:pt x="0" y="72"/>
                    </a:cubicBezTo>
                    <a:cubicBezTo>
                      <a:pt x="0" y="72"/>
                      <a:pt x="13" y="99"/>
                      <a:pt x="19" y="119"/>
                    </a:cubicBezTo>
                    <a:cubicBezTo>
                      <a:pt x="25" y="139"/>
                      <a:pt x="24" y="169"/>
                      <a:pt x="24" y="182"/>
                    </a:cubicBezTo>
                    <a:cubicBezTo>
                      <a:pt x="24" y="195"/>
                      <a:pt x="32" y="206"/>
                      <a:pt x="33" y="229"/>
                    </a:cubicBezTo>
                    <a:cubicBezTo>
                      <a:pt x="34" y="253"/>
                      <a:pt x="34" y="290"/>
                      <a:pt x="34" y="290"/>
                    </a:cubicBezTo>
                    <a:cubicBezTo>
                      <a:pt x="20" y="298"/>
                      <a:pt x="20" y="298"/>
                      <a:pt x="20" y="298"/>
                    </a:cubicBezTo>
                    <a:cubicBezTo>
                      <a:pt x="23" y="318"/>
                      <a:pt x="23" y="318"/>
                      <a:pt x="23" y="318"/>
                    </a:cubicBezTo>
                    <a:cubicBezTo>
                      <a:pt x="38" y="327"/>
                      <a:pt x="38" y="327"/>
                      <a:pt x="38" y="327"/>
                    </a:cubicBezTo>
                    <a:cubicBezTo>
                      <a:pt x="32" y="389"/>
                      <a:pt x="32" y="389"/>
                      <a:pt x="32" y="389"/>
                    </a:cubicBezTo>
                    <a:cubicBezTo>
                      <a:pt x="47" y="417"/>
                      <a:pt x="47" y="417"/>
                      <a:pt x="47" y="417"/>
                    </a:cubicBezTo>
                    <a:cubicBezTo>
                      <a:pt x="36" y="430"/>
                      <a:pt x="36" y="430"/>
                      <a:pt x="36" y="430"/>
                    </a:cubicBezTo>
                    <a:cubicBezTo>
                      <a:pt x="42" y="472"/>
                      <a:pt x="42" y="472"/>
                      <a:pt x="42" y="472"/>
                    </a:cubicBezTo>
                    <a:cubicBezTo>
                      <a:pt x="42" y="472"/>
                      <a:pt x="49" y="475"/>
                      <a:pt x="51" y="492"/>
                    </a:cubicBezTo>
                    <a:cubicBezTo>
                      <a:pt x="53" y="508"/>
                      <a:pt x="42" y="509"/>
                      <a:pt x="42" y="509"/>
                    </a:cubicBezTo>
                    <a:cubicBezTo>
                      <a:pt x="40" y="531"/>
                      <a:pt x="40" y="531"/>
                      <a:pt x="40" y="531"/>
                    </a:cubicBezTo>
                    <a:cubicBezTo>
                      <a:pt x="47" y="540"/>
                      <a:pt x="47" y="540"/>
                      <a:pt x="47" y="540"/>
                    </a:cubicBezTo>
                    <a:cubicBezTo>
                      <a:pt x="47" y="540"/>
                      <a:pt x="40" y="545"/>
                      <a:pt x="34" y="559"/>
                    </a:cubicBezTo>
                    <a:cubicBezTo>
                      <a:pt x="28" y="573"/>
                      <a:pt x="40" y="571"/>
                      <a:pt x="40" y="571"/>
                    </a:cubicBezTo>
                    <a:cubicBezTo>
                      <a:pt x="40" y="571"/>
                      <a:pt x="44" y="580"/>
                      <a:pt x="44" y="591"/>
                    </a:cubicBezTo>
                    <a:cubicBezTo>
                      <a:pt x="44" y="602"/>
                      <a:pt x="33" y="599"/>
                      <a:pt x="33" y="619"/>
                    </a:cubicBezTo>
                    <a:cubicBezTo>
                      <a:pt x="33" y="640"/>
                      <a:pt x="49" y="638"/>
                      <a:pt x="52" y="648"/>
                    </a:cubicBezTo>
                    <a:cubicBezTo>
                      <a:pt x="56" y="657"/>
                      <a:pt x="52" y="681"/>
                      <a:pt x="52" y="681"/>
                    </a:cubicBezTo>
                    <a:cubicBezTo>
                      <a:pt x="52" y="681"/>
                      <a:pt x="45" y="679"/>
                      <a:pt x="40" y="681"/>
                    </a:cubicBezTo>
                    <a:cubicBezTo>
                      <a:pt x="36" y="683"/>
                      <a:pt x="40" y="700"/>
                      <a:pt x="47" y="720"/>
                    </a:cubicBezTo>
                    <a:cubicBezTo>
                      <a:pt x="55" y="740"/>
                      <a:pt x="66" y="770"/>
                      <a:pt x="66" y="770"/>
                    </a:cubicBezTo>
                    <a:cubicBezTo>
                      <a:pt x="66" y="770"/>
                      <a:pt x="69" y="784"/>
                      <a:pt x="76" y="790"/>
                    </a:cubicBezTo>
                    <a:cubicBezTo>
                      <a:pt x="83" y="796"/>
                      <a:pt x="79" y="826"/>
                      <a:pt x="79" y="826"/>
                    </a:cubicBezTo>
                    <a:cubicBezTo>
                      <a:pt x="76" y="845"/>
                      <a:pt x="76" y="845"/>
                      <a:pt x="76" y="845"/>
                    </a:cubicBezTo>
                    <a:cubicBezTo>
                      <a:pt x="92" y="862"/>
                      <a:pt x="92" y="862"/>
                      <a:pt x="92" y="862"/>
                    </a:cubicBezTo>
                    <a:cubicBezTo>
                      <a:pt x="92" y="862"/>
                      <a:pt x="82" y="889"/>
                      <a:pt x="82" y="903"/>
                    </a:cubicBezTo>
                    <a:cubicBezTo>
                      <a:pt x="82" y="917"/>
                      <a:pt x="82" y="947"/>
                      <a:pt x="82" y="947"/>
                    </a:cubicBezTo>
                    <a:cubicBezTo>
                      <a:pt x="66" y="972"/>
                      <a:pt x="66" y="972"/>
                      <a:pt x="66" y="972"/>
                    </a:cubicBezTo>
                    <a:cubicBezTo>
                      <a:pt x="76" y="979"/>
                      <a:pt x="76" y="979"/>
                      <a:pt x="76" y="979"/>
                    </a:cubicBezTo>
                    <a:cubicBezTo>
                      <a:pt x="76" y="979"/>
                      <a:pt x="72" y="995"/>
                      <a:pt x="72" y="1004"/>
                    </a:cubicBezTo>
                    <a:cubicBezTo>
                      <a:pt x="72" y="1012"/>
                      <a:pt x="66" y="1056"/>
                      <a:pt x="66" y="1056"/>
                    </a:cubicBezTo>
                    <a:cubicBezTo>
                      <a:pt x="56" y="1058"/>
                      <a:pt x="56" y="1058"/>
                      <a:pt x="56" y="1058"/>
                    </a:cubicBezTo>
                    <a:cubicBezTo>
                      <a:pt x="56" y="1072"/>
                      <a:pt x="56" y="1072"/>
                      <a:pt x="56" y="1072"/>
                    </a:cubicBezTo>
                    <a:cubicBezTo>
                      <a:pt x="72" y="1102"/>
                      <a:pt x="72" y="1102"/>
                      <a:pt x="72" y="1102"/>
                    </a:cubicBezTo>
                    <a:cubicBezTo>
                      <a:pt x="72" y="1102"/>
                      <a:pt x="72" y="1121"/>
                      <a:pt x="72" y="1131"/>
                    </a:cubicBezTo>
                    <a:cubicBezTo>
                      <a:pt x="72" y="1142"/>
                      <a:pt x="95" y="1149"/>
                      <a:pt x="101" y="1165"/>
                    </a:cubicBezTo>
                    <a:cubicBezTo>
                      <a:pt x="107" y="1180"/>
                      <a:pt x="98" y="1218"/>
                      <a:pt x="98" y="1218"/>
                    </a:cubicBezTo>
                    <a:cubicBezTo>
                      <a:pt x="107" y="1225"/>
                      <a:pt x="107" y="1225"/>
                      <a:pt x="107" y="1225"/>
                    </a:cubicBezTo>
                    <a:cubicBezTo>
                      <a:pt x="107" y="1225"/>
                      <a:pt x="107" y="1254"/>
                      <a:pt x="107" y="1266"/>
                    </a:cubicBezTo>
                    <a:cubicBezTo>
                      <a:pt x="107" y="1278"/>
                      <a:pt x="134" y="1286"/>
                      <a:pt x="134" y="1286"/>
                    </a:cubicBezTo>
                    <a:cubicBezTo>
                      <a:pt x="129" y="1299"/>
                      <a:pt x="129" y="1299"/>
                      <a:pt x="129" y="1299"/>
                    </a:cubicBezTo>
                    <a:cubicBezTo>
                      <a:pt x="156" y="1299"/>
                      <a:pt x="156" y="1299"/>
                      <a:pt x="156" y="1299"/>
                    </a:cubicBezTo>
                    <a:cubicBezTo>
                      <a:pt x="156" y="1279"/>
                      <a:pt x="156" y="1279"/>
                      <a:pt x="156" y="1279"/>
                    </a:cubicBezTo>
                    <a:cubicBezTo>
                      <a:pt x="156" y="1279"/>
                      <a:pt x="169" y="1289"/>
                      <a:pt x="177" y="1290"/>
                    </a:cubicBezTo>
                    <a:cubicBezTo>
                      <a:pt x="186" y="1291"/>
                      <a:pt x="186" y="1277"/>
                      <a:pt x="186" y="1277"/>
                    </a:cubicBezTo>
                    <a:cubicBezTo>
                      <a:pt x="192" y="1290"/>
                      <a:pt x="192" y="1290"/>
                      <a:pt x="192" y="1290"/>
                    </a:cubicBezTo>
                    <a:cubicBezTo>
                      <a:pt x="192" y="1290"/>
                      <a:pt x="175" y="1300"/>
                      <a:pt x="173" y="1311"/>
                    </a:cubicBezTo>
                    <a:cubicBezTo>
                      <a:pt x="170" y="1322"/>
                      <a:pt x="186" y="1310"/>
                      <a:pt x="193" y="1313"/>
                    </a:cubicBezTo>
                    <a:cubicBezTo>
                      <a:pt x="200" y="1317"/>
                      <a:pt x="198" y="1330"/>
                      <a:pt x="198" y="1330"/>
                    </a:cubicBezTo>
                    <a:cubicBezTo>
                      <a:pt x="179" y="1328"/>
                      <a:pt x="179" y="1328"/>
                      <a:pt x="179" y="1328"/>
                    </a:cubicBezTo>
                    <a:cubicBezTo>
                      <a:pt x="190" y="1341"/>
                      <a:pt x="190" y="1341"/>
                      <a:pt x="190" y="1341"/>
                    </a:cubicBezTo>
                    <a:cubicBezTo>
                      <a:pt x="183" y="1349"/>
                      <a:pt x="183" y="1349"/>
                      <a:pt x="183" y="1349"/>
                    </a:cubicBezTo>
                    <a:cubicBezTo>
                      <a:pt x="195" y="1367"/>
                      <a:pt x="195" y="1367"/>
                      <a:pt x="195" y="1367"/>
                    </a:cubicBezTo>
                    <a:cubicBezTo>
                      <a:pt x="195" y="1367"/>
                      <a:pt x="188" y="1375"/>
                      <a:pt x="181" y="1384"/>
                    </a:cubicBezTo>
                    <a:cubicBezTo>
                      <a:pt x="174" y="1394"/>
                      <a:pt x="212" y="1403"/>
                      <a:pt x="212" y="1403"/>
                    </a:cubicBezTo>
                    <a:cubicBezTo>
                      <a:pt x="212" y="1403"/>
                      <a:pt x="205" y="1409"/>
                      <a:pt x="200" y="1413"/>
                    </a:cubicBezTo>
                    <a:cubicBezTo>
                      <a:pt x="195" y="1416"/>
                      <a:pt x="202" y="1427"/>
                      <a:pt x="212" y="1432"/>
                    </a:cubicBezTo>
                    <a:cubicBezTo>
                      <a:pt x="221" y="1436"/>
                      <a:pt x="234" y="1433"/>
                      <a:pt x="234" y="1433"/>
                    </a:cubicBezTo>
                    <a:cubicBezTo>
                      <a:pt x="239" y="1457"/>
                      <a:pt x="239" y="1457"/>
                      <a:pt x="239" y="1457"/>
                    </a:cubicBezTo>
                    <a:cubicBezTo>
                      <a:pt x="239" y="1457"/>
                      <a:pt x="219" y="1470"/>
                      <a:pt x="214" y="1477"/>
                    </a:cubicBezTo>
                    <a:cubicBezTo>
                      <a:pt x="209" y="1484"/>
                      <a:pt x="228" y="1485"/>
                      <a:pt x="228" y="1485"/>
                    </a:cubicBezTo>
                    <a:cubicBezTo>
                      <a:pt x="228" y="1485"/>
                      <a:pt x="252" y="1490"/>
                      <a:pt x="252" y="1497"/>
                    </a:cubicBezTo>
                    <a:cubicBezTo>
                      <a:pt x="252" y="1504"/>
                      <a:pt x="237" y="1498"/>
                      <a:pt x="227" y="1493"/>
                    </a:cubicBezTo>
                    <a:cubicBezTo>
                      <a:pt x="218" y="1488"/>
                      <a:pt x="216" y="1503"/>
                      <a:pt x="216" y="1503"/>
                    </a:cubicBezTo>
                    <a:cubicBezTo>
                      <a:pt x="235" y="1507"/>
                      <a:pt x="235" y="1507"/>
                      <a:pt x="235" y="1507"/>
                    </a:cubicBezTo>
                    <a:cubicBezTo>
                      <a:pt x="221" y="1514"/>
                      <a:pt x="221" y="1514"/>
                      <a:pt x="221" y="1514"/>
                    </a:cubicBezTo>
                    <a:cubicBezTo>
                      <a:pt x="222" y="1531"/>
                      <a:pt x="222" y="1531"/>
                      <a:pt x="222" y="1531"/>
                    </a:cubicBezTo>
                    <a:cubicBezTo>
                      <a:pt x="222" y="1531"/>
                      <a:pt x="238" y="1523"/>
                      <a:pt x="231" y="1544"/>
                    </a:cubicBezTo>
                    <a:cubicBezTo>
                      <a:pt x="224" y="1565"/>
                      <a:pt x="214" y="1535"/>
                      <a:pt x="214" y="1535"/>
                    </a:cubicBezTo>
                    <a:cubicBezTo>
                      <a:pt x="190" y="1536"/>
                      <a:pt x="190" y="1536"/>
                      <a:pt x="190" y="1536"/>
                    </a:cubicBezTo>
                    <a:cubicBezTo>
                      <a:pt x="206" y="1529"/>
                      <a:pt x="206" y="1529"/>
                      <a:pt x="206" y="1529"/>
                    </a:cubicBezTo>
                    <a:cubicBezTo>
                      <a:pt x="206" y="1529"/>
                      <a:pt x="189" y="1511"/>
                      <a:pt x="186" y="1512"/>
                    </a:cubicBezTo>
                    <a:cubicBezTo>
                      <a:pt x="182" y="1513"/>
                      <a:pt x="185" y="1522"/>
                      <a:pt x="185" y="1522"/>
                    </a:cubicBezTo>
                    <a:cubicBezTo>
                      <a:pt x="179" y="1516"/>
                      <a:pt x="179" y="1516"/>
                      <a:pt x="179" y="1516"/>
                    </a:cubicBezTo>
                    <a:cubicBezTo>
                      <a:pt x="154" y="1523"/>
                      <a:pt x="154" y="1523"/>
                      <a:pt x="154" y="1523"/>
                    </a:cubicBezTo>
                    <a:cubicBezTo>
                      <a:pt x="176" y="1528"/>
                      <a:pt x="176" y="1528"/>
                      <a:pt x="176" y="1528"/>
                    </a:cubicBezTo>
                    <a:cubicBezTo>
                      <a:pt x="176" y="1528"/>
                      <a:pt x="172" y="1531"/>
                      <a:pt x="168" y="1537"/>
                    </a:cubicBezTo>
                    <a:cubicBezTo>
                      <a:pt x="164" y="1543"/>
                      <a:pt x="148" y="1549"/>
                      <a:pt x="147" y="1558"/>
                    </a:cubicBezTo>
                    <a:cubicBezTo>
                      <a:pt x="146" y="1568"/>
                      <a:pt x="166" y="1572"/>
                      <a:pt x="169" y="1570"/>
                    </a:cubicBezTo>
                    <a:cubicBezTo>
                      <a:pt x="173" y="1568"/>
                      <a:pt x="161" y="1559"/>
                      <a:pt x="161" y="1559"/>
                    </a:cubicBezTo>
                    <a:cubicBezTo>
                      <a:pt x="176" y="1556"/>
                      <a:pt x="176" y="1556"/>
                      <a:pt x="176" y="1556"/>
                    </a:cubicBezTo>
                    <a:cubicBezTo>
                      <a:pt x="176" y="1556"/>
                      <a:pt x="183" y="1561"/>
                      <a:pt x="187" y="1565"/>
                    </a:cubicBezTo>
                    <a:cubicBezTo>
                      <a:pt x="190" y="1570"/>
                      <a:pt x="214" y="1567"/>
                      <a:pt x="214" y="1567"/>
                    </a:cubicBezTo>
                    <a:cubicBezTo>
                      <a:pt x="214" y="1567"/>
                      <a:pt x="229" y="1574"/>
                      <a:pt x="235" y="1582"/>
                    </a:cubicBezTo>
                    <a:cubicBezTo>
                      <a:pt x="241" y="1590"/>
                      <a:pt x="222" y="1598"/>
                      <a:pt x="222" y="1598"/>
                    </a:cubicBezTo>
                    <a:cubicBezTo>
                      <a:pt x="228" y="1608"/>
                      <a:pt x="228" y="1608"/>
                      <a:pt x="228" y="1608"/>
                    </a:cubicBezTo>
                    <a:cubicBezTo>
                      <a:pt x="240" y="1604"/>
                      <a:pt x="240" y="1604"/>
                      <a:pt x="240" y="1604"/>
                    </a:cubicBezTo>
                    <a:cubicBezTo>
                      <a:pt x="240" y="1615"/>
                      <a:pt x="240" y="1615"/>
                      <a:pt x="240" y="1615"/>
                    </a:cubicBezTo>
                    <a:cubicBezTo>
                      <a:pt x="252" y="1620"/>
                      <a:pt x="252" y="1620"/>
                      <a:pt x="252" y="1620"/>
                    </a:cubicBezTo>
                    <a:cubicBezTo>
                      <a:pt x="257" y="1604"/>
                      <a:pt x="257" y="1604"/>
                      <a:pt x="257" y="1604"/>
                    </a:cubicBezTo>
                    <a:cubicBezTo>
                      <a:pt x="266" y="1620"/>
                      <a:pt x="266" y="1620"/>
                      <a:pt x="266" y="1620"/>
                    </a:cubicBezTo>
                    <a:cubicBezTo>
                      <a:pt x="266" y="1620"/>
                      <a:pt x="285" y="1620"/>
                      <a:pt x="283" y="1634"/>
                    </a:cubicBezTo>
                    <a:cubicBezTo>
                      <a:pt x="280" y="1648"/>
                      <a:pt x="258" y="1632"/>
                      <a:pt x="250" y="1630"/>
                    </a:cubicBezTo>
                    <a:cubicBezTo>
                      <a:pt x="241" y="1629"/>
                      <a:pt x="248" y="1643"/>
                      <a:pt x="248" y="1643"/>
                    </a:cubicBezTo>
                    <a:cubicBezTo>
                      <a:pt x="248" y="1643"/>
                      <a:pt x="269" y="1650"/>
                      <a:pt x="270" y="1665"/>
                    </a:cubicBezTo>
                    <a:cubicBezTo>
                      <a:pt x="271" y="1679"/>
                      <a:pt x="256" y="1674"/>
                      <a:pt x="256" y="1674"/>
                    </a:cubicBezTo>
                    <a:cubicBezTo>
                      <a:pt x="265" y="1686"/>
                      <a:pt x="265" y="1686"/>
                      <a:pt x="265" y="1686"/>
                    </a:cubicBezTo>
                    <a:cubicBezTo>
                      <a:pt x="274" y="1710"/>
                      <a:pt x="274" y="1710"/>
                      <a:pt x="274" y="1710"/>
                    </a:cubicBezTo>
                    <a:cubicBezTo>
                      <a:pt x="283" y="1681"/>
                      <a:pt x="283" y="1681"/>
                      <a:pt x="283" y="1681"/>
                    </a:cubicBezTo>
                    <a:cubicBezTo>
                      <a:pt x="283" y="1701"/>
                      <a:pt x="283" y="1701"/>
                      <a:pt x="283" y="1701"/>
                    </a:cubicBezTo>
                    <a:cubicBezTo>
                      <a:pt x="296" y="1717"/>
                      <a:pt x="296" y="1717"/>
                      <a:pt x="296" y="1717"/>
                    </a:cubicBezTo>
                    <a:cubicBezTo>
                      <a:pt x="280" y="1717"/>
                      <a:pt x="280" y="1717"/>
                      <a:pt x="280" y="1717"/>
                    </a:cubicBezTo>
                    <a:cubicBezTo>
                      <a:pt x="283" y="1730"/>
                      <a:pt x="283" y="1730"/>
                      <a:pt x="283" y="1730"/>
                    </a:cubicBezTo>
                    <a:cubicBezTo>
                      <a:pt x="298" y="1731"/>
                      <a:pt x="298" y="1731"/>
                      <a:pt x="298" y="1731"/>
                    </a:cubicBezTo>
                    <a:cubicBezTo>
                      <a:pt x="289" y="1739"/>
                      <a:pt x="289" y="1739"/>
                      <a:pt x="289" y="1739"/>
                    </a:cubicBezTo>
                    <a:cubicBezTo>
                      <a:pt x="309" y="1745"/>
                      <a:pt x="309" y="1745"/>
                      <a:pt x="309" y="1745"/>
                    </a:cubicBezTo>
                    <a:cubicBezTo>
                      <a:pt x="296" y="1753"/>
                      <a:pt x="296" y="1753"/>
                      <a:pt x="296" y="1753"/>
                    </a:cubicBezTo>
                    <a:cubicBezTo>
                      <a:pt x="315" y="1760"/>
                      <a:pt x="315" y="1760"/>
                      <a:pt x="315" y="1760"/>
                    </a:cubicBezTo>
                    <a:cubicBezTo>
                      <a:pt x="310" y="1770"/>
                      <a:pt x="310" y="1770"/>
                      <a:pt x="310" y="1770"/>
                    </a:cubicBezTo>
                    <a:cubicBezTo>
                      <a:pt x="322" y="1773"/>
                      <a:pt x="322" y="1773"/>
                      <a:pt x="322" y="1773"/>
                    </a:cubicBezTo>
                    <a:cubicBezTo>
                      <a:pt x="322" y="1773"/>
                      <a:pt x="324" y="1750"/>
                      <a:pt x="331" y="1762"/>
                    </a:cubicBezTo>
                    <a:cubicBezTo>
                      <a:pt x="338" y="1773"/>
                      <a:pt x="329" y="1779"/>
                      <a:pt x="323" y="1783"/>
                    </a:cubicBezTo>
                    <a:cubicBezTo>
                      <a:pt x="317" y="1786"/>
                      <a:pt x="323" y="1794"/>
                      <a:pt x="323" y="1794"/>
                    </a:cubicBezTo>
                    <a:cubicBezTo>
                      <a:pt x="343" y="1795"/>
                      <a:pt x="343" y="1795"/>
                      <a:pt x="343" y="1795"/>
                    </a:cubicBezTo>
                    <a:cubicBezTo>
                      <a:pt x="343" y="1795"/>
                      <a:pt x="344" y="1805"/>
                      <a:pt x="350" y="1810"/>
                    </a:cubicBezTo>
                    <a:cubicBezTo>
                      <a:pt x="356" y="1815"/>
                      <a:pt x="373" y="1824"/>
                      <a:pt x="373" y="1824"/>
                    </a:cubicBezTo>
                    <a:cubicBezTo>
                      <a:pt x="370" y="1802"/>
                      <a:pt x="370" y="1802"/>
                      <a:pt x="370" y="1802"/>
                    </a:cubicBezTo>
                    <a:cubicBezTo>
                      <a:pt x="370" y="1802"/>
                      <a:pt x="391" y="1810"/>
                      <a:pt x="407" y="1821"/>
                    </a:cubicBezTo>
                    <a:cubicBezTo>
                      <a:pt x="422" y="1831"/>
                      <a:pt x="409" y="1841"/>
                      <a:pt x="409" y="1841"/>
                    </a:cubicBezTo>
                    <a:cubicBezTo>
                      <a:pt x="420" y="1848"/>
                      <a:pt x="420" y="1848"/>
                      <a:pt x="420" y="1848"/>
                    </a:cubicBezTo>
                    <a:cubicBezTo>
                      <a:pt x="419" y="1861"/>
                      <a:pt x="419" y="1861"/>
                      <a:pt x="419" y="1861"/>
                    </a:cubicBezTo>
                    <a:cubicBezTo>
                      <a:pt x="458" y="1861"/>
                      <a:pt x="458" y="1861"/>
                      <a:pt x="458" y="1861"/>
                    </a:cubicBezTo>
                    <a:cubicBezTo>
                      <a:pt x="462" y="1868"/>
                      <a:pt x="462" y="1868"/>
                      <a:pt x="462" y="1868"/>
                    </a:cubicBezTo>
                    <a:cubicBezTo>
                      <a:pt x="442" y="1868"/>
                      <a:pt x="442" y="1868"/>
                      <a:pt x="442" y="1868"/>
                    </a:cubicBezTo>
                    <a:cubicBezTo>
                      <a:pt x="434" y="1876"/>
                      <a:pt x="434" y="1876"/>
                      <a:pt x="434" y="1876"/>
                    </a:cubicBezTo>
                    <a:cubicBezTo>
                      <a:pt x="421" y="1877"/>
                      <a:pt x="421" y="1877"/>
                      <a:pt x="421" y="1877"/>
                    </a:cubicBezTo>
                    <a:cubicBezTo>
                      <a:pt x="410" y="1889"/>
                      <a:pt x="410" y="1889"/>
                      <a:pt x="410" y="1889"/>
                    </a:cubicBezTo>
                    <a:cubicBezTo>
                      <a:pt x="430" y="1892"/>
                      <a:pt x="430" y="1892"/>
                      <a:pt x="430" y="1892"/>
                    </a:cubicBezTo>
                    <a:cubicBezTo>
                      <a:pt x="426" y="1902"/>
                      <a:pt x="426" y="1902"/>
                      <a:pt x="426" y="1902"/>
                    </a:cubicBezTo>
                    <a:cubicBezTo>
                      <a:pt x="442" y="1900"/>
                      <a:pt x="442" y="1900"/>
                      <a:pt x="442" y="1900"/>
                    </a:cubicBezTo>
                    <a:cubicBezTo>
                      <a:pt x="444" y="1887"/>
                      <a:pt x="444" y="1887"/>
                      <a:pt x="444" y="1887"/>
                    </a:cubicBezTo>
                    <a:cubicBezTo>
                      <a:pt x="459" y="1893"/>
                      <a:pt x="459" y="1893"/>
                      <a:pt x="459" y="1893"/>
                    </a:cubicBezTo>
                    <a:cubicBezTo>
                      <a:pt x="459" y="1893"/>
                      <a:pt x="477" y="1868"/>
                      <a:pt x="486" y="1875"/>
                    </a:cubicBezTo>
                    <a:cubicBezTo>
                      <a:pt x="496" y="1882"/>
                      <a:pt x="467" y="1907"/>
                      <a:pt x="467" y="1907"/>
                    </a:cubicBezTo>
                    <a:cubicBezTo>
                      <a:pt x="467" y="1907"/>
                      <a:pt x="464" y="1900"/>
                      <a:pt x="455" y="1901"/>
                    </a:cubicBezTo>
                    <a:cubicBezTo>
                      <a:pt x="447" y="1902"/>
                      <a:pt x="452" y="1913"/>
                      <a:pt x="452" y="1913"/>
                    </a:cubicBezTo>
                    <a:cubicBezTo>
                      <a:pt x="440" y="1913"/>
                      <a:pt x="440" y="1913"/>
                      <a:pt x="440" y="1913"/>
                    </a:cubicBezTo>
                    <a:cubicBezTo>
                      <a:pt x="431" y="1910"/>
                      <a:pt x="419" y="1921"/>
                      <a:pt x="419" y="1921"/>
                    </a:cubicBezTo>
                    <a:cubicBezTo>
                      <a:pt x="428" y="1927"/>
                      <a:pt x="428" y="1927"/>
                      <a:pt x="428" y="1927"/>
                    </a:cubicBezTo>
                    <a:cubicBezTo>
                      <a:pt x="430" y="1945"/>
                      <a:pt x="430" y="1945"/>
                      <a:pt x="430" y="1945"/>
                    </a:cubicBezTo>
                    <a:cubicBezTo>
                      <a:pt x="450" y="1935"/>
                      <a:pt x="450" y="1935"/>
                      <a:pt x="450" y="1935"/>
                    </a:cubicBezTo>
                    <a:cubicBezTo>
                      <a:pt x="450" y="1935"/>
                      <a:pt x="455" y="1946"/>
                      <a:pt x="461" y="1945"/>
                    </a:cubicBezTo>
                    <a:cubicBezTo>
                      <a:pt x="466" y="1944"/>
                      <a:pt x="467" y="1924"/>
                      <a:pt x="476" y="1919"/>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85" name="Brazil">
                <a:extLst>
                  <a:ext uri="{FF2B5EF4-FFF2-40B4-BE49-F238E27FC236}">
                    <a16:creationId xmlns:a16="http://schemas.microsoft.com/office/drawing/2014/main" id="{6234816C-1568-45BD-9837-3B04743D04F3}"/>
                  </a:ext>
                </a:extLst>
              </p:cNvPr>
              <p:cNvSpPr>
                <a:spLocks noEditPoints="1"/>
              </p:cNvSpPr>
              <p:nvPr/>
            </p:nvSpPr>
            <p:spPr bwMode="gray">
              <a:xfrm>
                <a:off x="3653717" y="3923292"/>
                <a:ext cx="1039996" cy="1174208"/>
              </a:xfrm>
              <a:custGeom>
                <a:avLst/>
                <a:gdLst>
                  <a:gd name="T0" fmla="*/ 1096 w 1858"/>
                  <a:gd name="T1" fmla="*/ 350 h 2099"/>
                  <a:gd name="T2" fmla="*/ 1201 w 1858"/>
                  <a:gd name="T3" fmla="*/ 299 h 2099"/>
                  <a:gd name="T4" fmla="*/ 1144 w 1858"/>
                  <a:gd name="T5" fmla="*/ 291 h 2099"/>
                  <a:gd name="T6" fmla="*/ 1124 w 1858"/>
                  <a:gd name="T7" fmla="*/ 270 h 2099"/>
                  <a:gd name="T8" fmla="*/ 1087 w 1858"/>
                  <a:gd name="T9" fmla="*/ 283 h 2099"/>
                  <a:gd name="T10" fmla="*/ 1837 w 1858"/>
                  <a:gd name="T11" fmla="*/ 583 h 2099"/>
                  <a:gd name="T12" fmla="*/ 1713 w 1858"/>
                  <a:gd name="T13" fmla="*/ 532 h 2099"/>
                  <a:gd name="T14" fmla="*/ 1445 w 1858"/>
                  <a:gd name="T15" fmla="*/ 412 h 2099"/>
                  <a:gd name="T16" fmla="*/ 1377 w 1858"/>
                  <a:gd name="T17" fmla="*/ 411 h 2099"/>
                  <a:gd name="T18" fmla="*/ 1258 w 1858"/>
                  <a:gd name="T19" fmla="*/ 316 h 2099"/>
                  <a:gd name="T20" fmla="*/ 1154 w 1858"/>
                  <a:gd name="T21" fmla="*/ 423 h 2099"/>
                  <a:gd name="T22" fmla="*/ 1062 w 1858"/>
                  <a:gd name="T23" fmla="*/ 356 h 2099"/>
                  <a:gd name="T24" fmla="*/ 1095 w 1858"/>
                  <a:gd name="T25" fmla="*/ 270 h 2099"/>
                  <a:gd name="T26" fmla="*/ 1063 w 1858"/>
                  <a:gd name="T27" fmla="*/ 52 h 2099"/>
                  <a:gd name="T28" fmla="*/ 971 w 1858"/>
                  <a:gd name="T29" fmla="*/ 160 h 2099"/>
                  <a:gd name="T30" fmla="*/ 888 w 1858"/>
                  <a:gd name="T31" fmla="*/ 145 h 2099"/>
                  <a:gd name="T32" fmla="*/ 807 w 1858"/>
                  <a:gd name="T33" fmla="*/ 183 h 2099"/>
                  <a:gd name="T34" fmla="*/ 702 w 1858"/>
                  <a:gd name="T35" fmla="*/ 221 h 2099"/>
                  <a:gd name="T36" fmla="*/ 664 w 1858"/>
                  <a:gd name="T37" fmla="*/ 91 h 2099"/>
                  <a:gd name="T38" fmla="*/ 641 w 1858"/>
                  <a:gd name="T39" fmla="*/ 7 h 2099"/>
                  <a:gd name="T40" fmla="*/ 559 w 1858"/>
                  <a:gd name="T41" fmla="*/ 64 h 2099"/>
                  <a:gd name="T42" fmla="*/ 460 w 1858"/>
                  <a:gd name="T43" fmla="*/ 60 h 2099"/>
                  <a:gd name="T44" fmla="*/ 493 w 1858"/>
                  <a:gd name="T45" fmla="*/ 154 h 2099"/>
                  <a:gd name="T46" fmla="*/ 393 w 1858"/>
                  <a:gd name="T47" fmla="*/ 251 h 2099"/>
                  <a:gd name="T48" fmla="*/ 306 w 1858"/>
                  <a:gd name="T49" fmla="*/ 180 h 2099"/>
                  <a:gd name="T50" fmla="*/ 191 w 1858"/>
                  <a:gd name="T51" fmla="*/ 223 h 2099"/>
                  <a:gd name="T52" fmla="*/ 197 w 1858"/>
                  <a:gd name="T53" fmla="*/ 313 h 2099"/>
                  <a:gd name="T54" fmla="*/ 183 w 1858"/>
                  <a:gd name="T55" fmla="*/ 518 h 2099"/>
                  <a:gd name="T56" fmla="*/ 66 w 1858"/>
                  <a:gd name="T57" fmla="*/ 547 h 2099"/>
                  <a:gd name="T58" fmla="*/ 9 w 1858"/>
                  <a:gd name="T59" fmla="*/ 674 h 2099"/>
                  <a:gd name="T60" fmla="*/ 43 w 1858"/>
                  <a:gd name="T61" fmla="*/ 791 h 2099"/>
                  <a:gd name="T62" fmla="*/ 170 w 1858"/>
                  <a:gd name="T63" fmla="*/ 874 h 2099"/>
                  <a:gd name="T64" fmla="*/ 288 w 1858"/>
                  <a:gd name="T65" fmla="*/ 859 h 2099"/>
                  <a:gd name="T66" fmla="*/ 405 w 1858"/>
                  <a:gd name="T67" fmla="*/ 814 h 2099"/>
                  <a:gd name="T68" fmla="*/ 442 w 1858"/>
                  <a:gd name="T69" fmla="*/ 932 h 2099"/>
                  <a:gd name="T70" fmla="*/ 552 w 1858"/>
                  <a:gd name="T71" fmla="*/ 986 h 2099"/>
                  <a:gd name="T72" fmla="*/ 675 w 1858"/>
                  <a:gd name="T73" fmla="*/ 1092 h 2099"/>
                  <a:gd name="T74" fmla="*/ 816 w 1858"/>
                  <a:gd name="T75" fmla="*/ 1262 h 2099"/>
                  <a:gd name="T76" fmla="*/ 810 w 1858"/>
                  <a:gd name="T77" fmla="*/ 1406 h 2099"/>
                  <a:gd name="T78" fmla="*/ 987 w 1858"/>
                  <a:gd name="T79" fmla="*/ 1564 h 2099"/>
                  <a:gd name="T80" fmla="*/ 1043 w 1858"/>
                  <a:gd name="T81" fmla="*/ 1690 h 2099"/>
                  <a:gd name="T82" fmla="*/ 969 w 1858"/>
                  <a:gd name="T83" fmla="*/ 1810 h 2099"/>
                  <a:gd name="T84" fmla="*/ 915 w 1858"/>
                  <a:gd name="T85" fmla="*/ 1912 h 2099"/>
                  <a:gd name="T86" fmla="*/ 1049 w 1858"/>
                  <a:gd name="T87" fmla="*/ 1978 h 2099"/>
                  <a:gd name="T88" fmla="*/ 1118 w 1858"/>
                  <a:gd name="T89" fmla="*/ 2099 h 2099"/>
                  <a:gd name="T90" fmla="*/ 1165 w 1858"/>
                  <a:gd name="T91" fmla="*/ 1984 h 2099"/>
                  <a:gd name="T92" fmla="*/ 1208 w 1858"/>
                  <a:gd name="T93" fmla="*/ 1956 h 2099"/>
                  <a:gd name="T94" fmla="*/ 1200 w 1858"/>
                  <a:gd name="T95" fmla="*/ 1987 h 2099"/>
                  <a:gd name="T96" fmla="*/ 1294 w 1858"/>
                  <a:gd name="T97" fmla="*/ 1764 h 2099"/>
                  <a:gd name="T98" fmla="*/ 1279 w 1858"/>
                  <a:gd name="T99" fmla="*/ 1678 h 2099"/>
                  <a:gd name="T100" fmla="*/ 1311 w 1858"/>
                  <a:gd name="T101" fmla="*/ 1617 h 2099"/>
                  <a:gd name="T102" fmla="*/ 1412 w 1858"/>
                  <a:gd name="T103" fmla="*/ 1561 h 2099"/>
                  <a:gd name="T104" fmla="*/ 1459 w 1858"/>
                  <a:gd name="T105" fmla="*/ 1519 h 2099"/>
                  <a:gd name="T106" fmla="*/ 1571 w 1858"/>
                  <a:gd name="T107" fmla="*/ 1506 h 2099"/>
                  <a:gd name="T108" fmla="*/ 1629 w 1858"/>
                  <a:gd name="T109" fmla="*/ 1372 h 2099"/>
                  <a:gd name="T110" fmla="*/ 1671 w 1858"/>
                  <a:gd name="T111" fmla="*/ 1213 h 2099"/>
                  <a:gd name="T112" fmla="*/ 1674 w 1858"/>
                  <a:gd name="T113" fmla="*/ 972 h 2099"/>
                  <a:gd name="T114" fmla="*/ 1782 w 1858"/>
                  <a:gd name="T115" fmla="*/ 855 h 2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58" h="2099">
                    <a:moveTo>
                      <a:pt x="1146" y="299"/>
                    </a:moveTo>
                    <a:cubicBezTo>
                      <a:pt x="1140" y="298"/>
                      <a:pt x="1112" y="291"/>
                      <a:pt x="1102" y="293"/>
                    </a:cubicBezTo>
                    <a:cubicBezTo>
                      <a:pt x="1092" y="295"/>
                      <a:pt x="1103" y="318"/>
                      <a:pt x="1103" y="318"/>
                    </a:cubicBezTo>
                    <a:cubicBezTo>
                      <a:pt x="1092" y="320"/>
                      <a:pt x="1092" y="320"/>
                      <a:pt x="1092" y="320"/>
                    </a:cubicBezTo>
                    <a:cubicBezTo>
                      <a:pt x="1092" y="336"/>
                      <a:pt x="1092" y="336"/>
                      <a:pt x="1092" y="336"/>
                    </a:cubicBezTo>
                    <a:cubicBezTo>
                      <a:pt x="1106" y="342"/>
                      <a:pt x="1106" y="342"/>
                      <a:pt x="1106" y="342"/>
                    </a:cubicBezTo>
                    <a:cubicBezTo>
                      <a:pt x="1096" y="350"/>
                      <a:pt x="1096" y="350"/>
                      <a:pt x="1096" y="350"/>
                    </a:cubicBezTo>
                    <a:cubicBezTo>
                      <a:pt x="1096" y="350"/>
                      <a:pt x="1099" y="366"/>
                      <a:pt x="1105" y="376"/>
                    </a:cubicBezTo>
                    <a:cubicBezTo>
                      <a:pt x="1112" y="386"/>
                      <a:pt x="1132" y="380"/>
                      <a:pt x="1139" y="380"/>
                    </a:cubicBezTo>
                    <a:cubicBezTo>
                      <a:pt x="1145" y="380"/>
                      <a:pt x="1144" y="372"/>
                      <a:pt x="1144" y="372"/>
                    </a:cubicBezTo>
                    <a:cubicBezTo>
                      <a:pt x="1144" y="372"/>
                      <a:pt x="1157" y="368"/>
                      <a:pt x="1168" y="368"/>
                    </a:cubicBezTo>
                    <a:cubicBezTo>
                      <a:pt x="1179" y="368"/>
                      <a:pt x="1186" y="355"/>
                      <a:pt x="1186" y="355"/>
                    </a:cubicBezTo>
                    <a:cubicBezTo>
                      <a:pt x="1195" y="326"/>
                      <a:pt x="1195" y="326"/>
                      <a:pt x="1195" y="326"/>
                    </a:cubicBezTo>
                    <a:cubicBezTo>
                      <a:pt x="1195" y="326"/>
                      <a:pt x="1202" y="312"/>
                      <a:pt x="1201" y="299"/>
                    </a:cubicBezTo>
                    <a:cubicBezTo>
                      <a:pt x="1200" y="286"/>
                      <a:pt x="1180" y="291"/>
                      <a:pt x="1169" y="291"/>
                    </a:cubicBezTo>
                    <a:cubicBezTo>
                      <a:pt x="1169" y="291"/>
                      <a:pt x="1153" y="300"/>
                      <a:pt x="1146" y="299"/>
                    </a:cubicBezTo>
                    <a:close/>
                    <a:moveTo>
                      <a:pt x="1144" y="291"/>
                    </a:moveTo>
                    <a:cubicBezTo>
                      <a:pt x="1159" y="286"/>
                      <a:pt x="1159" y="286"/>
                      <a:pt x="1159" y="286"/>
                    </a:cubicBezTo>
                    <a:cubicBezTo>
                      <a:pt x="1147" y="275"/>
                      <a:pt x="1147" y="275"/>
                      <a:pt x="1147" y="275"/>
                    </a:cubicBezTo>
                    <a:cubicBezTo>
                      <a:pt x="1132" y="292"/>
                      <a:pt x="1132" y="292"/>
                      <a:pt x="1132" y="292"/>
                    </a:cubicBezTo>
                    <a:lnTo>
                      <a:pt x="1144" y="291"/>
                    </a:lnTo>
                    <a:close/>
                    <a:moveTo>
                      <a:pt x="1124" y="270"/>
                    </a:moveTo>
                    <a:cubicBezTo>
                      <a:pt x="1110" y="271"/>
                      <a:pt x="1110" y="271"/>
                      <a:pt x="1110" y="271"/>
                    </a:cubicBezTo>
                    <a:cubicBezTo>
                      <a:pt x="1109" y="282"/>
                      <a:pt x="1109" y="282"/>
                      <a:pt x="1109" y="282"/>
                    </a:cubicBezTo>
                    <a:cubicBezTo>
                      <a:pt x="1131" y="283"/>
                      <a:pt x="1131" y="283"/>
                      <a:pt x="1131" y="283"/>
                    </a:cubicBezTo>
                    <a:cubicBezTo>
                      <a:pt x="1143" y="266"/>
                      <a:pt x="1143" y="266"/>
                      <a:pt x="1143" y="266"/>
                    </a:cubicBezTo>
                    <a:cubicBezTo>
                      <a:pt x="1134" y="255"/>
                      <a:pt x="1134" y="255"/>
                      <a:pt x="1134" y="255"/>
                    </a:cubicBezTo>
                    <a:lnTo>
                      <a:pt x="1124" y="270"/>
                    </a:lnTo>
                    <a:close/>
                    <a:moveTo>
                      <a:pt x="1050" y="326"/>
                    </a:moveTo>
                    <a:cubicBezTo>
                      <a:pt x="1047" y="340"/>
                      <a:pt x="1047" y="340"/>
                      <a:pt x="1047" y="340"/>
                    </a:cubicBezTo>
                    <a:cubicBezTo>
                      <a:pt x="1037" y="363"/>
                      <a:pt x="1037" y="363"/>
                      <a:pt x="1037" y="363"/>
                    </a:cubicBezTo>
                    <a:cubicBezTo>
                      <a:pt x="1057" y="351"/>
                      <a:pt x="1057" y="351"/>
                      <a:pt x="1057" y="351"/>
                    </a:cubicBezTo>
                    <a:cubicBezTo>
                      <a:pt x="1057" y="351"/>
                      <a:pt x="1079" y="321"/>
                      <a:pt x="1071" y="316"/>
                    </a:cubicBezTo>
                    <a:cubicBezTo>
                      <a:pt x="1062" y="310"/>
                      <a:pt x="1050" y="326"/>
                      <a:pt x="1050" y="326"/>
                    </a:cubicBezTo>
                    <a:close/>
                    <a:moveTo>
                      <a:pt x="1087" y="283"/>
                    </a:moveTo>
                    <a:cubicBezTo>
                      <a:pt x="1074" y="299"/>
                      <a:pt x="1074" y="299"/>
                      <a:pt x="1074" y="299"/>
                    </a:cubicBezTo>
                    <a:cubicBezTo>
                      <a:pt x="1085" y="304"/>
                      <a:pt x="1085" y="304"/>
                      <a:pt x="1085" y="304"/>
                    </a:cubicBezTo>
                    <a:cubicBezTo>
                      <a:pt x="1096" y="287"/>
                      <a:pt x="1096" y="287"/>
                      <a:pt x="1096" y="287"/>
                    </a:cubicBezTo>
                    <a:lnTo>
                      <a:pt x="1087" y="283"/>
                    </a:lnTo>
                    <a:close/>
                    <a:moveTo>
                      <a:pt x="1855" y="667"/>
                    </a:moveTo>
                    <a:cubicBezTo>
                      <a:pt x="1855" y="650"/>
                      <a:pt x="1839" y="626"/>
                      <a:pt x="1838" y="615"/>
                    </a:cubicBezTo>
                    <a:cubicBezTo>
                      <a:pt x="1837" y="604"/>
                      <a:pt x="1837" y="592"/>
                      <a:pt x="1837" y="583"/>
                    </a:cubicBezTo>
                    <a:cubicBezTo>
                      <a:pt x="1837" y="574"/>
                      <a:pt x="1819" y="558"/>
                      <a:pt x="1819" y="558"/>
                    </a:cubicBezTo>
                    <a:cubicBezTo>
                      <a:pt x="1798" y="554"/>
                      <a:pt x="1798" y="554"/>
                      <a:pt x="1798" y="554"/>
                    </a:cubicBezTo>
                    <a:cubicBezTo>
                      <a:pt x="1764" y="559"/>
                      <a:pt x="1764" y="559"/>
                      <a:pt x="1764" y="559"/>
                    </a:cubicBezTo>
                    <a:cubicBezTo>
                      <a:pt x="1753" y="549"/>
                      <a:pt x="1753" y="549"/>
                      <a:pt x="1753" y="549"/>
                    </a:cubicBezTo>
                    <a:cubicBezTo>
                      <a:pt x="1740" y="548"/>
                      <a:pt x="1740" y="548"/>
                      <a:pt x="1740" y="548"/>
                    </a:cubicBezTo>
                    <a:cubicBezTo>
                      <a:pt x="1728" y="533"/>
                      <a:pt x="1728" y="533"/>
                      <a:pt x="1728" y="533"/>
                    </a:cubicBezTo>
                    <a:cubicBezTo>
                      <a:pt x="1713" y="532"/>
                      <a:pt x="1713" y="532"/>
                      <a:pt x="1713" y="532"/>
                    </a:cubicBezTo>
                    <a:cubicBezTo>
                      <a:pt x="1713" y="532"/>
                      <a:pt x="1695" y="512"/>
                      <a:pt x="1678" y="491"/>
                    </a:cubicBezTo>
                    <a:cubicBezTo>
                      <a:pt x="1661" y="470"/>
                      <a:pt x="1612" y="439"/>
                      <a:pt x="1596" y="438"/>
                    </a:cubicBezTo>
                    <a:cubicBezTo>
                      <a:pt x="1580" y="437"/>
                      <a:pt x="1547" y="439"/>
                      <a:pt x="1547" y="439"/>
                    </a:cubicBezTo>
                    <a:cubicBezTo>
                      <a:pt x="1547" y="449"/>
                      <a:pt x="1547" y="449"/>
                      <a:pt x="1547" y="449"/>
                    </a:cubicBezTo>
                    <a:cubicBezTo>
                      <a:pt x="1547" y="449"/>
                      <a:pt x="1532" y="439"/>
                      <a:pt x="1525" y="436"/>
                    </a:cubicBezTo>
                    <a:cubicBezTo>
                      <a:pt x="1518" y="433"/>
                      <a:pt x="1492" y="432"/>
                      <a:pt x="1492" y="432"/>
                    </a:cubicBezTo>
                    <a:cubicBezTo>
                      <a:pt x="1492" y="432"/>
                      <a:pt x="1464" y="415"/>
                      <a:pt x="1445" y="412"/>
                    </a:cubicBezTo>
                    <a:cubicBezTo>
                      <a:pt x="1426" y="409"/>
                      <a:pt x="1406" y="442"/>
                      <a:pt x="1406" y="442"/>
                    </a:cubicBezTo>
                    <a:cubicBezTo>
                      <a:pt x="1395" y="429"/>
                      <a:pt x="1395" y="429"/>
                      <a:pt x="1395" y="429"/>
                    </a:cubicBezTo>
                    <a:cubicBezTo>
                      <a:pt x="1395" y="451"/>
                      <a:pt x="1395" y="451"/>
                      <a:pt x="1395" y="451"/>
                    </a:cubicBezTo>
                    <a:cubicBezTo>
                      <a:pt x="1375" y="466"/>
                      <a:pt x="1375" y="466"/>
                      <a:pt x="1375" y="466"/>
                    </a:cubicBezTo>
                    <a:cubicBezTo>
                      <a:pt x="1386" y="422"/>
                      <a:pt x="1386" y="422"/>
                      <a:pt x="1386" y="422"/>
                    </a:cubicBezTo>
                    <a:cubicBezTo>
                      <a:pt x="1386" y="422"/>
                      <a:pt x="1404" y="412"/>
                      <a:pt x="1397" y="402"/>
                    </a:cubicBezTo>
                    <a:cubicBezTo>
                      <a:pt x="1390" y="392"/>
                      <a:pt x="1377" y="411"/>
                      <a:pt x="1377" y="411"/>
                    </a:cubicBezTo>
                    <a:cubicBezTo>
                      <a:pt x="1386" y="389"/>
                      <a:pt x="1386" y="389"/>
                      <a:pt x="1386" y="389"/>
                    </a:cubicBezTo>
                    <a:cubicBezTo>
                      <a:pt x="1386" y="389"/>
                      <a:pt x="1377" y="388"/>
                      <a:pt x="1378" y="381"/>
                    </a:cubicBezTo>
                    <a:cubicBezTo>
                      <a:pt x="1379" y="374"/>
                      <a:pt x="1358" y="365"/>
                      <a:pt x="1358" y="365"/>
                    </a:cubicBezTo>
                    <a:cubicBezTo>
                      <a:pt x="1350" y="377"/>
                      <a:pt x="1350" y="377"/>
                      <a:pt x="1350" y="377"/>
                    </a:cubicBezTo>
                    <a:cubicBezTo>
                      <a:pt x="1350" y="377"/>
                      <a:pt x="1337" y="360"/>
                      <a:pt x="1327" y="350"/>
                    </a:cubicBezTo>
                    <a:cubicBezTo>
                      <a:pt x="1317" y="340"/>
                      <a:pt x="1290" y="342"/>
                      <a:pt x="1286" y="338"/>
                    </a:cubicBezTo>
                    <a:cubicBezTo>
                      <a:pt x="1282" y="334"/>
                      <a:pt x="1258" y="316"/>
                      <a:pt x="1258" y="316"/>
                    </a:cubicBezTo>
                    <a:cubicBezTo>
                      <a:pt x="1252" y="324"/>
                      <a:pt x="1252" y="324"/>
                      <a:pt x="1252" y="324"/>
                    </a:cubicBezTo>
                    <a:cubicBezTo>
                      <a:pt x="1252" y="324"/>
                      <a:pt x="1231" y="323"/>
                      <a:pt x="1221" y="322"/>
                    </a:cubicBezTo>
                    <a:cubicBezTo>
                      <a:pt x="1211" y="321"/>
                      <a:pt x="1203" y="356"/>
                      <a:pt x="1203" y="356"/>
                    </a:cubicBezTo>
                    <a:cubicBezTo>
                      <a:pt x="1210" y="368"/>
                      <a:pt x="1210" y="368"/>
                      <a:pt x="1210" y="368"/>
                    </a:cubicBezTo>
                    <a:cubicBezTo>
                      <a:pt x="1210" y="368"/>
                      <a:pt x="1196" y="369"/>
                      <a:pt x="1188" y="369"/>
                    </a:cubicBezTo>
                    <a:cubicBezTo>
                      <a:pt x="1180" y="369"/>
                      <a:pt x="1168" y="391"/>
                      <a:pt x="1168" y="391"/>
                    </a:cubicBezTo>
                    <a:cubicBezTo>
                      <a:pt x="1168" y="391"/>
                      <a:pt x="1161" y="424"/>
                      <a:pt x="1154" y="423"/>
                    </a:cubicBezTo>
                    <a:cubicBezTo>
                      <a:pt x="1147" y="422"/>
                      <a:pt x="1163" y="397"/>
                      <a:pt x="1160" y="386"/>
                    </a:cubicBezTo>
                    <a:cubicBezTo>
                      <a:pt x="1157" y="375"/>
                      <a:pt x="1137" y="396"/>
                      <a:pt x="1137" y="396"/>
                    </a:cubicBezTo>
                    <a:cubicBezTo>
                      <a:pt x="1130" y="390"/>
                      <a:pt x="1130" y="390"/>
                      <a:pt x="1130" y="390"/>
                    </a:cubicBezTo>
                    <a:cubicBezTo>
                      <a:pt x="1130" y="390"/>
                      <a:pt x="1109" y="395"/>
                      <a:pt x="1098" y="388"/>
                    </a:cubicBezTo>
                    <a:cubicBezTo>
                      <a:pt x="1087" y="381"/>
                      <a:pt x="1089" y="371"/>
                      <a:pt x="1089" y="358"/>
                    </a:cubicBezTo>
                    <a:cubicBezTo>
                      <a:pt x="1089" y="345"/>
                      <a:pt x="1084" y="337"/>
                      <a:pt x="1084" y="337"/>
                    </a:cubicBezTo>
                    <a:cubicBezTo>
                      <a:pt x="1077" y="330"/>
                      <a:pt x="1062" y="356"/>
                      <a:pt x="1062" y="356"/>
                    </a:cubicBezTo>
                    <a:cubicBezTo>
                      <a:pt x="1062" y="356"/>
                      <a:pt x="1041" y="371"/>
                      <a:pt x="1029" y="373"/>
                    </a:cubicBezTo>
                    <a:cubicBezTo>
                      <a:pt x="1017" y="375"/>
                      <a:pt x="1003" y="368"/>
                      <a:pt x="1003" y="368"/>
                    </a:cubicBezTo>
                    <a:cubicBezTo>
                      <a:pt x="1029" y="360"/>
                      <a:pt x="1029" y="360"/>
                      <a:pt x="1029" y="360"/>
                    </a:cubicBezTo>
                    <a:cubicBezTo>
                      <a:pt x="1029" y="360"/>
                      <a:pt x="1039" y="348"/>
                      <a:pt x="1042" y="343"/>
                    </a:cubicBezTo>
                    <a:cubicBezTo>
                      <a:pt x="1045" y="338"/>
                      <a:pt x="1044" y="326"/>
                      <a:pt x="1044" y="326"/>
                    </a:cubicBezTo>
                    <a:cubicBezTo>
                      <a:pt x="1044" y="326"/>
                      <a:pt x="1053" y="320"/>
                      <a:pt x="1057" y="308"/>
                    </a:cubicBezTo>
                    <a:cubicBezTo>
                      <a:pt x="1061" y="296"/>
                      <a:pt x="1085" y="277"/>
                      <a:pt x="1095" y="270"/>
                    </a:cubicBezTo>
                    <a:cubicBezTo>
                      <a:pt x="1105" y="263"/>
                      <a:pt x="1107" y="254"/>
                      <a:pt x="1111" y="245"/>
                    </a:cubicBezTo>
                    <a:cubicBezTo>
                      <a:pt x="1115" y="236"/>
                      <a:pt x="1136" y="223"/>
                      <a:pt x="1136" y="223"/>
                    </a:cubicBezTo>
                    <a:cubicBezTo>
                      <a:pt x="1123" y="221"/>
                      <a:pt x="1123" y="221"/>
                      <a:pt x="1123" y="221"/>
                    </a:cubicBezTo>
                    <a:cubicBezTo>
                      <a:pt x="1123" y="221"/>
                      <a:pt x="1135" y="215"/>
                      <a:pt x="1135" y="199"/>
                    </a:cubicBezTo>
                    <a:cubicBezTo>
                      <a:pt x="1135" y="183"/>
                      <a:pt x="1108" y="192"/>
                      <a:pt x="1098" y="181"/>
                    </a:cubicBezTo>
                    <a:cubicBezTo>
                      <a:pt x="1088" y="170"/>
                      <a:pt x="1088" y="147"/>
                      <a:pt x="1084" y="110"/>
                    </a:cubicBezTo>
                    <a:cubicBezTo>
                      <a:pt x="1080" y="73"/>
                      <a:pt x="1072" y="55"/>
                      <a:pt x="1063" y="52"/>
                    </a:cubicBezTo>
                    <a:cubicBezTo>
                      <a:pt x="1054" y="49"/>
                      <a:pt x="1060" y="68"/>
                      <a:pt x="1060" y="72"/>
                    </a:cubicBezTo>
                    <a:cubicBezTo>
                      <a:pt x="1060" y="76"/>
                      <a:pt x="1050" y="71"/>
                      <a:pt x="1048" y="66"/>
                    </a:cubicBezTo>
                    <a:cubicBezTo>
                      <a:pt x="1048" y="66"/>
                      <a:pt x="1043" y="83"/>
                      <a:pt x="1036" y="89"/>
                    </a:cubicBezTo>
                    <a:cubicBezTo>
                      <a:pt x="1029" y="95"/>
                      <a:pt x="1020" y="110"/>
                      <a:pt x="1017" y="120"/>
                    </a:cubicBezTo>
                    <a:cubicBezTo>
                      <a:pt x="1014" y="130"/>
                      <a:pt x="1013" y="149"/>
                      <a:pt x="996" y="163"/>
                    </a:cubicBezTo>
                    <a:cubicBezTo>
                      <a:pt x="996" y="163"/>
                      <a:pt x="981" y="169"/>
                      <a:pt x="975" y="169"/>
                    </a:cubicBezTo>
                    <a:cubicBezTo>
                      <a:pt x="975" y="168"/>
                      <a:pt x="971" y="160"/>
                      <a:pt x="971" y="160"/>
                    </a:cubicBezTo>
                    <a:cubicBezTo>
                      <a:pt x="967" y="165"/>
                      <a:pt x="967" y="165"/>
                      <a:pt x="967" y="165"/>
                    </a:cubicBezTo>
                    <a:cubicBezTo>
                      <a:pt x="957" y="163"/>
                      <a:pt x="957" y="163"/>
                      <a:pt x="957" y="163"/>
                    </a:cubicBezTo>
                    <a:cubicBezTo>
                      <a:pt x="957" y="163"/>
                      <a:pt x="953" y="155"/>
                      <a:pt x="947" y="161"/>
                    </a:cubicBezTo>
                    <a:cubicBezTo>
                      <a:pt x="941" y="167"/>
                      <a:pt x="943" y="173"/>
                      <a:pt x="929" y="172"/>
                    </a:cubicBezTo>
                    <a:cubicBezTo>
                      <a:pt x="915" y="171"/>
                      <a:pt x="913" y="161"/>
                      <a:pt x="913" y="161"/>
                    </a:cubicBezTo>
                    <a:cubicBezTo>
                      <a:pt x="900" y="155"/>
                      <a:pt x="900" y="155"/>
                      <a:pt x="900" y="155"/>
                    </a:cubicBezTo>
                    <a:cubicBezTo>
                      <a:pt x="900" y="155"/>
                      <a:pt x="896" y="144"/>
                      <a:pt x="888" y="145"/>
                    </a:cubicBezTo>
                    <a:cubicBezTo>
                      <a:pt x="880" y="146"/>
                      <a:pt x="871" y="157"/>
                      <a:pt x="871" y="157"/>
                    </a:cubicBezTo>
                    <a:cubicBezTo>
                      <a:pt x="853" y="157"/>
                      <a:pt x="853" y="157"/>
                      <a:pt x="853" y="157"/>
                    </a:cubicBezTo>
                    <a:cubicBezTo>
                      <a:pt x="853" y="157"/>
                      <a:pt x="854" y="148"/>
                      <a:pt x="848" y="149"/>
                    </a:cubicBezTo>
                    <a:cubicBezTo>
                      <a:pt x="842" y="150"/>
                      <a:pt x="838" y="160"/>
                      <a:pt x="841" y="166"/>
                    </a:cubicBezTo>
                    <a:cubicBezTo>
                      <a:pt x="844" y="172"/>
                      <a:pt x="858" y="182"/>
                      <a:pt x="849" y="186"/>
                    </a:cubicBezTo>
                    <a:cubicBezTo>
                      <a:pt x="840" y="190"/>
                      <a:pt x="811" y="174"/>
                      <a:pt x="811" y="174"/>
                    </a:cubicBezTo>
                    <a:cubicBezTo>
                      <a:pt x="811" y="174"/>
                      <a:pt x="815" y="181"/>
                      <a:pt x="807" y="183"/>
                    </a:cubicBezTo>
                    <a:cubicBezTo>
                      <a:pt x="799" y="185"/>
                      <a:pt x="797" y="174"/>
                      <a:pt x="787" y="175"/>
                    </a:cubicBezTo>
                    <a:cubicBezTo>
                      <a:pt x="777" y="176"/>
                      <a:pt x="773" y="192"/>
                      <a:pt x="773" y="192"/>
                    </a:cubicBezTo>
                    <a:cubicBezTo>
                      <a:pt x="752" y="193"/>
                      <a:pt x="752" y="193"/>
                      <a:pt x="752" y="193"/>
                    </a:cubicBezTo>
                    <a:cubicBezTo>
                      <a:pt x="751" y="201"/>
                      <a:pt x="751" y="201"/>
                      <a:pt x="751" y="201"/>
                    </a:cubicBezTo>
                    <a:cubicBezTo>
                      <a:pt x="751" y="201"/>
                      <a:pt x="739" y="198"/>
                      <a:pt x="733" y="202"/>
                    </a:cubicBezTo>
                    <a:cubicBezTo>
                      <a:pt x="727" y="206"/>
                      <a:pt x="732" y="219"/>
                      <a:pt x="722" y="220"/>
                    </a:cubicBezTo>
                    <a:cubicBezTo>
                      <a:pt x="712" y="221"/>
                      <a:pt x="702" y="221"/>
                      <a:pt x="702" y="221"/>
                    </a:cubicBezTo>
                    <a:cubicBezTo>
                      <a:pt x="698" y="210"/>
                      <a:pt x="698" y="210"/>
                      <a:pt x="698" y="210"/>
                    </a:cubicBezTo>
                    <a:cubicBezTo>
                      <a:pt x="689" y="210"/>
                      <a:pt x="689" y="210"/>
                      <a:pt x="689" y="210"/>
                    </a:cubicBezTo>
                    <a:cubicBezTo>
                      <a:pt x="668" y="186"/>
                      <a:pt x="668" y="186"/>
                      <a:pt x="668" y="186"/>
                    </a:cubicBezTo>
                    <a:cubicBezTo>
                      <a:pt x="668" y="186"/>
                      <a:pt x="668" y="174"/>
                      <a:pt x="668" y="166"/>
                    </a:cubicBezTo>
                    <a:cubicBezTo>
                      <a:pt x="668" y="158"/>
                      <a:pt x="651" y="155"/>
                      <a:pt x="651" y="145"/>
                    </a:cubicBezTo>
                    <a:cubicBezTo>
                      <a:pt x="651" y="135"/>
                      <a:pt x="659" y="119"/>
                      <a:pt x="659" y="119"/>
                    </a:cubicBezTo>
                    <a:cubicBezTo>
                      <a:pt x="664" y="91"/>
                      <a:pt x="664" y="91"/>
                      <a:pt x="664" y="91"/>
                    </a:cubicBezTo>
                    <a:cubicBezTo>
                      <a:pt x="664" y="91"/>
                      <a:pt x="677" y="79"/>
                      <a:pt x="678" y="73"/>
                    </a:cubicBezTo>
                    <a:cubicBezTo>
                      <a:pt x="679" y="67"/>
                      <a:pt x="670" y="63"/>
                      <a:pt x="670" y="63"/>
                    </a:cubicBezTo>
                    <a:cubicBezTo>
                      <a:pt x="671" y="44"/>
                      <a:pt x="671" y="44"/>
                      <a:pt x="671" y="44"/>
                    </a:cubicBezTo>
                    <a:cubicBezTo>
                      <a:pt x="671" y="44"/>
                      <a:pt x="649" y="50"/>
                      <a:pt x="649" y="41"/>
                    </a:cubicBezTo>
                    <a:cubicBezTo>
                      <a:pt x="649" y="41"/>
                      <a:pt x="661" y="29"/>
                      <a:pt x="658" y="15"/>
                    </a:cubicBezTo>
                    <a:cubicBezTo>
                      <a:pt x="655" y="1"/>
                      <a:pt x="646" y="0"/>
                      <a:pt x="646" y="0"/>
                    </a:cubicBezTo>
                    <a:cubicBezTo>
                      <a:pt x="641" y="7"/>
                      <a:pt x="641" y="7"/>
                      <a:pt x="641" y="7"/>
                    </a:cubicBezTo>
                    <a:cubicBezTo>
                      <a:pt x="625" y="5"/>
                      <a:pt x="625" y="5"/>
                      <a:pt x="625" y="5"/>
                    </a:cubicBezTo>
                    <a:cubicBezTo>
                      <a:pt x="625" y="5"/>
                      <a:pt x="631" y="19"/>
                      <a:pt x="627" y="26"/>
                    </a:cubicBezTo>
                    <a:cubicBezTo>
                      <a:pt x="623" y="33"/>
                      <a:pt x="612" y="31"/>
                      <a:pt x="612" y="31"/>
                    </a:cubicBezTo>
                    <a:cubicBezTo>
                      <a:pt x="614" y="41"/>
                      <a:pt x="614" y="41"/>
                      <a:pt x="614" y="41"/>
                    </a:cubicBezTo>
                    <a:cubicBezTo>
                      <a:pt x="596" y="40"/>
                      <a:pt x="596" y="40"/>
                      <a:pt x="596" y="40"/>
                    </a:cubicBezTo>
                    <a:cubicBezTo>
                      <a:pt x="596" y="40"/>
                      <a:pt x="584" y="45"/>
                      <a:pt x="582" y="51"/>
                    </a:cubicBezTo>
                    <a:cubicBezTo>
                      <a:pt x="580" y="57"/>
                      <a:pt x="566" y="64"/>
                      <a:pt x="559" y="64"/>
                    </a:cubicBezTo>
                    <a:cubicBezTo>
                      <a:pt x="552" y="64"/>
                      <a:pt x="546" y="56"/>
                      <a:pt x="538" y="59"/>
                    </a:cubicBezTo>
                    <a:cubicBezTo>
                      <a:pt x="530" y="62"/>
                      <a:pt x="533" y="96"/>
                      <a:pt x="524" y="96"/>
                    </a:cubicBezTo>
                    <a:cubicBezTo>
                      <a:pt x="515" y="96"/>
                      <a:pt x="504" y="77"/>
                      <a:pt x="500" y="73"/>
                    </a:cubicBezTo>
                    <a:cubicBezTo>
                      <a:pt x="496" y="69"/>
                      <a:pt x="491" y="77"/>
                      <a:pt x="491" y="77"/>
                    </a:cubicBezTo>
                    <a:cubicBezTo>
                      <a:pt x="481" y="71"/>
                      <a:pt x="481" y="71"/>
                      <a:pt x="481" y="71"/>
                    </a:cubicBezTo>
                    <a:cubicBezTo>
                      <a:pt x="481" y="71"/>
                      <a:pt x="469" y="79"/>
                      <a:pt x="467" y="76"/>
                    </a:cubicBezTo>
                    <a:cubicBezTo>
                      <a:pt x="465" y="73"/>
                      <a:pt x="471" y="64"/>
                      <a:pt x="460" y="60"/>
                    </a:cubicBezTo>
                    <a:cubicBezTo>
                      <a:pt x="449" y="56"/>
                      <a:pt x="440" y="64"/>
                      <a:pt x="437" y="61"/>
                    </a:cubicBezTo>
                    <a:cubicBezTo>
                      <a:pt x="434" y="58"/>
                      <a:pt x="431" y="52"/>
                      <a:pt x="431" y="52"/>
                    </a:cubicBezTo>
                    <a:cubicBezTo>
                      <a:pt x="431" y="52"/>
                      <a:pt x="421" y="71"/>
                      <a:pt x="443" y="82"/>
                    </a:cubicBezTo>
                    <a:cubicBezTo>
                      <a:pt x="465" y="93"/>
                      <a:pt x="450" y="117"/>
                      <a:pt x="450" y="117"/>
                    </a:cubicBezTo>
                    <a:cubicBezTo>
                      <a:pt x="450" y="117"/>
                      <a:pt x="463" y="128"/>
                      <a:pt x="463" y="135"/>
                    </a:cubicBezTo>
                    <a:cubicBezTo>
                      <a:pt x="463" y="142"/>
                      <a:pt x="463" y="151"/>
                      <a:pt x="463" y="151"/>
                    </a:cubicBezTo>
                    <a:cubicBezTo>
                      <a:pt x="493" y="154"/>
                      <a:pt x="493" y="154"/>
                      <a:pt x="493" y="154"/>
                    </a:cubicBezTo>
                    <a:cubicBezTo>
                      <a:pt x="493" y="154"/>
                      <a:pt x="500" y="168"/>
                      <a:pt x="488" y="174"/>
                    </a:cubicBezTo>
                    <a:cubicBezTo>
                      <a:pt x="476" y="180"/>
                      <a:pt x="463" y="177"/>
                      <a:pt x="463" y="177"/>
                    </a:cubicBezTo>
                    <a:cubicBezTo>
                      <a:pt x="463" y="177"/>
                      <a:pt x="464" y="202"/>
                      <a:pt x="451" y="206"/>
                    </a:cubicBezTo>
                    <a:cubicBezTo>
                      <a:pt x="438" y="210"/>
                      <a:pt x="433" y="214"/>
                      <a:pt x="433" y="214"/>
                    </a:cubicBezTo>
                    <a:cubicBezTo>
                      <a:pt x="431" y="220"/>
                      <a:pt x="431" y="220"/>
                      <a:pt x="431" y="220"/>
                    </a:cubicBezTo>
                    <a:cubicBezTo>
                      <a:pt x="431" y="220"/>
                      <a:pt x="419" y="218"/>
                      <a:pt x="413" y="222"/>
                    </a:cubicBezTo>
                    <a:cubicBezTo>
                      <a:pt x="407" y="226"/>
                      <a:pt x="401" y="251"/>
                      <a:pt x="393" y="251"/>
                    </a:cubicBezTo>
                    <a:cubicBezTo>
                      <a:pt x="385" y="251"/>
                      <a:pt x="396" y="234"/>
                      <a:pt x="387" y="232"/>
                    </a:cubicBezTo>
                    <a:cubicBezTo>
                      <a:pt x="378" y="230"/>
                      <a:pt x="367" y="252"/>
                      <a:pt x="357" y="246"/>
                    </a:cubicBezTo>
                    <a:cubicBezTo>
                      <a:pt x="357" y="246"/>
                      <a:pt x="345" y="244"/>
                      <a:pt x="341" y="239"/>
                    </a:cubicBezTo>
                    <a:cubicBezTo>
                      <a:pt x="337" y="234"/>
                      <a:pt x="330" y="221"/>
                      <a:pt x="330" y="221"/>
                    </a:cubicBezTo>
                    <a:cubicBezTo>
                      <a:pt x="313" y="221"/>
                      <a:pt x="313" y="221"/>
                      <a:pt x="313" y="221"/>
                    </a:cubicBezTo>
                    <a:cubicBezTo>
                      <a:pt x="313" y="221"/>
                      <a:pt x="313" y="193"/>
                      <a:pt x="311" y="187"/>
                    </a:cubicBezTo>
                    <a:cubicBezTo>
                      <a:pt x="309" y="181"/>
                      <a:pt x="306" y="180"/>
                      <a:pt x="306" y="180"/>
                    </a:cubicBezTo>
                    <a:cubicBezTo>
                      <a:pt x="306" y="180"/>
                      <a:pt x="311" y="173"/>
                      <a:pt x="304" y="170"/>
                    </a:cubicBezTo>
                    <a:cubicBezTo>
                      <a:pt x="297" y="167"/>
                      <a:pt x="288" y="190"/>
                      <a:pt x="282" y="191"/>
                    </a:cubicBezTo>
                    <a:cubicBezTo>
                      <a:pt x="276" y="192"/>
                      <a:pt x="271" y="176"/>
                      <a:pt x="265" y="176"/>
                    </a:cubicBezTo>
                    <a:cubicBezTo>
                      <a:pt x="259" y="176"/>
                      <a:pt x="259" y="193"/>
                      <a:pt x="259" y="193"/>
                    </a:cubicBezTo>
                    <a:cubicBezTo>
                      <a:pt x="215" y="197"/>
                      <a:pt x="215" y="197"/>
                      <a:pt x="215" y="197"/>
                    </a:cubicBezTo>
                    <a:cubicBezTo>
                      <a:pt x="215" y="197"/>
                      <a:pt x="201" y="184"/>
                      <a:pt x="192" y="189"/>
                    </a:cubicBezTo>
                    <a:cubicBezTo>
                      <a:pt x="183" y="194"/>
                      <a:pt x="191" y="223"/>
                      <a:pt x="191" y="223"/>
                    </a:cubicBezTo>
                    <a:cubicBezTo>
                      <a:pt x="207" y="230"/>
                      <a:pt x="207" y="230"/>
                      <a:pt x="207" y="230"/>
                    </a:cubicBezTo>
                    <a:cubicBezTo>
                      <a:pt x="214" y="228"/>
                      <a:pt x="214" y="228"/>
                      <a:pt x="214" y="228"/>
                    </a:cubicBezTo>
                    <a:cubicBezTo>
                      <a:pt x="214" y="228"/>
                      <a:pt x="233" y="248"/>
                      <a:pt x="220" y="250"/>
                    </a:cubicBezTo>
                    <a:cubicBezTo>
                      <a:pt x="207" y="252"/>
                      <a:pt x="198" y="248"/>
                      <a:pt x="198" y="248"/>
                    </a:cubicBezTo>
                    <a:cubicBezTo>
                      <a:pt x="176" y="253"/>
                      <a:pt x="176" y="253"/>
                      <a:pt x="176" y="253"/>
                    </a:cubicBezTo>
                    <a:cubicBezTo>
                      <a:pt x="174" y="295"/>
                      <a:pt x="174" y="295"/>
                      <a:pt x="174" y="295"/>
                    </a:cubicBezTo>
                    <a:cubicBezTo>
                      <a:pt x="174" y="295"/>
                      <a:pt x="195" y="304"/>
                      <a:pt x="197" y="313"/>
                    </a:cubicBezTo>
                    <a:cubicBezTo>
                      <a:pt x="199" y="322"/>
                      <a:pt x="200" y="334"/>
                      <a:pt x="200" y="334"/>
                    </a:cubicBezTo>
                    <a:cubicBezTo>
                      <a:pt x="200" y="334"/>
                      <a:pt x="214" y="349"/>
                      <a:pt x="213" y="356"/>
                    </a:cubicBezTo>
                    <a:cubicBezTo>
                      <a:pt x="212" y="363"/>
                      <a:pt x="202" y="374"/>
                      <a:pt x="202" y="374"/>
                    </a:cubicBezTo>
                    <a:cubicBezTo>
                      <a:pt x="204" y="408"/>
                      <a:pt x="204" y="408"/>
                      <a:pt x="204" y="408"/>
                    </a:cubicBezTo>
                    <a:cubicBezTo>
                      <a:pt x="193" y="438"/>
                      <a:pt x="193" y="438"/>
                      <a:pt x="193" y="438"/>
                    </a:cubicBezTo>
                    <a:cubicBezTo>
                      <a:pt x="191" y="488"/>
                      <a:pt x="191" y="488"/>
                      <a:pt x="191" y="488"/>
                    </a:cubicBezTo>
                    <a:cubicBezTo>
                      <a:pt x="191" y="488"/>
                      <a:pt x="188" y="515"/>
                      <a:pt x="183" y="518"/>
                    </a:cubicBezTo>
                    <a:cubicBezTo>
                      <a:pt x="178" y="521"/>
                      <a:pt x="171" y="518"/>
                      <a:pt x="171" y="518"/>
                    </a:cubicBezTo>
                    <a:cubicBezTo>
                      <a:pt x="171" y="518"/>
                      <a:pt x="167" y="505"/>
                      <a:pt x="157" y="506"/>
                    </a:cubicBezTo>
                    <a:cubicBezTo>
                      <a:pt x="147" y="507"/>
                      <a:pt x="136" y="522"/>
                      <a:pt x="136" y="522"/>
                    </a:cubicBezTo>
                    <a:cubicBezTo>
                      <a:pt x="117" y="519"/>
                      <a:pt x="117" y="519"/>
                      <a:pt x="117" y="519"/>
                    </a:cubicBezTo>
                    <a:cubicBezTo>
                      <a:pt x="115" y="526"/>
                      <a:pt x="115" y="526"/>
                      <a:pt x="115" y="526"/>
                    </a:cubicBezTo>
                    <a:cubicBezTo>
                      <a:pt x="94" y="526"/>
                      <a:pt x="94" y="526"/>
                      <a:pt x="94" y="526"/>
                    </a:cubicBezTo>
                    <a:cubicBezTo>
                      <a:pt x="94" y="526"/>
                      <a:pt x="68" y="543"/>
                      <a:pt x="66" y="547"/>
                    </a:cubicBezTo>
                    <a:cubicBezTo>
                      <a:pt x="64" y="551"/>
                      <a:pt x="63" y="559"/>
                      <a:pt x="63" y="559"/>
                    </a:cubicBezTo>
                    <a:cubicBezTo>
                      <a:pt x="47" y="559"/>
                      <a:pt x="47" y="559"/>
                      <a:pt x="47" y="559"/>
                    </a:cubicBezTo>
                    <a:cubicBezTo>
                      <a:pt x="46" y="597"/>
                      <a:pt x="46" y="597"/>
                      <a:pt x="46" y="597"/>
                    </a:cubicBezTo>
                    <a:cubicBezTo>
                      <a:pt x="46" y="597"/>
                      <a:pt x="31" y="606"/>
                      <a:pt x="33" y="613"/>
                    </a:cubicBezTo>
                    <a:cubicBezTo>
                      <a:pt x="35" y="620"/>
                      <a:pt x="45" y="645"/>
                      <a:pt x="39" y="636"/>
                    </a:cubicBezTo>
                    <a:cubicBezTo>
                      <a:pt x="33" y="627"/>
                      <a:pt x="20" y="644"/>
                      <a:pt x="12" y="652"/>
                    </a:cubicBezTo>
                    <a:cubicBezTo>
                      <a:pt x="4" y="660"/>
                      <a:pt x="9" y="674"/>
                      <a:pt x="9" y="674"/>
                    </a:cubicBezTo>
                    <a:cubicBezTo>
                      <a:pt x="15" y="678"/>
                      <a:pt x="15" y="678"/>
                      <a:pt x="15" y="678"/>
                    </a:cubicBezTo>
                    <a:cubicBezTo>
                      <a:pt x="15" y="678"/>
                      <a:pt x="0" y="686"/>
                      <a:pt x="0" y="691"/>
                    </a:cubicBezTo>
                    <a:cubicBezTo>
                      <a:pt x="0" y="696"/>
                      <a:pt x="15" y="702"/>
                      <a:pt x="15" y="702"/>
                    </a:cubicBezTo>
                    <a:cubicBezTo>
                      <a:pt x="17" y="720"/>
                      <a:pt x="17" y="720"/>
                      <a:pt x="17" y="720"/>
                    </a:cubicBezTo>
                    <a:cubicBezTo>
                      <a:pt x="17" y="720"/>
                      <a:pt x="30" y="741"/>
                      <a:pt x="35" y="747"/>
                    </a:cubicBezTo>
                    <a:cubicBezTo>
                      <a:pt x="40" y="753"/>
                      <a:pt x="62" y="768"/>
                      <a:pt x="60" y="773"/>
                    </a:cubicBezTo>
                    <a:cubicBezTo>
                      <a:pt x="58" y="778"/>
                      <a:pt x="43" y="791"/>
                      <a:pt x="43" y="791"/>
                    </a:cubicBezTo>
                    <a:cubicBezTo>
                      <a:pt x="43" y="791"/>
                      <a:pt x="79" y="790"/>
                      <a:pt x="82" y="797"/>
                    </a:cubicBezTo>
                    <a:cubicBezTo>
                      <a:pt x="85" y="804"/>
                      <a:pt x="93" y="823"/>
                      <a:pt x="93" y="823"/>
                    </a:cubicBezTo>
                    <a:cubicBezTo>
                      <a:pt x="135" y="819"/>
                      <a:pt x="135" y="819"/>
                      <a:pt x="135" y="819"/>
                    </a:cubicBezTo>
                    <a:cubicBezTo>
                      <a:pt x="169" y="789"/>
                      <a:pt x="169" y="789"/>
                      <a:pt x="169" y="789"/>
                    </a:cubicBezTo>
                    <a:cubicBezTo>
                      <a:pt x="169" y="789"/>
                      <a:pt x="174" y="812"/>
                      <a:pt x="172" y="816"/>
                    </a:cubicBezTo>
                    <a:cubicBezTo>
                      <a:pt x="170" y="820"/>
                      <a:pt x="165" y="834"/>
                      <a:pt x="167" y="844"/>
                    </a:cubicBezTo>
                    <a:cubicBezTo>
                      <a:pt x="169" y="854"/>
                      <a:pt x="170" y="874"/>
                      <a:pt x="170" y="874"/>
                    </a:cubicBezTo>
                    <a:cubicBezTo>
                      <a:pt x="177" y="873"/>
                      <a:pt x="177" y="873"/>
                      <a:pt x="177" y="873"/>
                    </a:cubicBezTo>
                    <a:cubicBezTo>
                      <a:pt x="177" y="873"/>
                      <a:pt x="177" y="881"/>
                      <a:pt x="185" y="881"/>
                    </a:cubicBezTo>
                    <a:cubicBezTo>
                      <a:pt x="193" y="881"/>
                      <a:pt x="189" y="872"/>
                      <a:pt x="200" y="872"/>
                    </a:cubicBezTo>
                    <a:cubicBezTo>
                      <a:pt x="211" y="872"/>
                      <a:pt x="246" y="875"/>
                      <a:pt x="246" y="875"/>
                    </a:cubicBezTo>
                    <a:cubicBezTo>
                      <a:pt x="246" y="875"/>
                      <a:pt x="249" y="886"/>
                      <a:pt x="262" y="883"/>
                    </a:cubicBezTo>
                    <a:cubicBezTo>
                      <a:pt x="275" y="880"/>
                      <a:pt x="283" y="871"/>
                      <a:pt x="283" y="871"/>
                    </a:cubicBezTo>
                    <a:cubicBezTo>
                      <a:pt x="288" y="859"/>
                      <a:pt x="288" y="859"/>
                      <a:pt x="288" y="859"/>
                    </a:cubicBezTo>
                    <a:cubicBezTo>
                      <a:pt x="312" y="858"/>
                      <a:pt x="312" y="858"/>
                      <a:pt x="312" y="858"/>
                    </a:cubicBezTo>
                    <a:cubicBezTo>
                      <a:pt x="316" y="840"/>
                      <a:pt x="316" y="840"/>
                      <a:pt x="316" y="840"/>
                    </a:cubicBezTo>
                    <a:cubicBezTo>
                      <a:pt x="340" y="841"/>
                      <a:pt x="340" y="841"/>
                      <a:pt x="340" y="841"/>
                    </a:cubicBezTo>
                    <a:cubicBezTo>
                      <a:pt x="340" y="841"/>
                      <a:pt x="350" y="815"/>
                      <a:pt x="363" y="815"/>
                    </a:cubicBezTo>
                    <a:cubicBezTo>
                      <a:pt x="376" y="815"/>
                      <a:pt x="386" y="816"/>
                      <a:pt x="386" y="816"/>
                    </a:cubicBezTo>
                    <a:cubicBezTo>
                      <a:pt x="395" y="808"/>
                      <a:pt x="395" y="808"/>
                      <a:pt x="395" y="808"/>
                    </a:cubicBezTo>
                    <a:cubicBezTo>
                      <a:pt x="395" y="808"/>
                      <a:pt x="404" y="818"/>
                      <a:pt x="405" y="814"/>
                    </a:cubicBezTo>
                    <a:cubicBezTo>
                      <a:pt x="406" y="810"/>
                      <a:pt x="419" y="802"/>
                      <a:pt x="423" y="806"/>
                    </a:cubicBezTo>
                    <a:cubicBezTo>
                      <a:pt x="427" y="810"/>
                      <a:pt x="419" y="837"/>
                      <a:pt x="419" y="837"/>
                    </a:cubicBezTo>
                    <a:cubicBezTo>
                      <a:pt x="419" y="837"/>
                      <a:pt x="411" y="850"/>
                      <a:pt x="412" y="854"/>
                    </a:cubicBezTo>
                    <a:cubicBezTo>
                      <a:pt x="413" y="858"/>
                      <a:pt x="422" y="866"/>
                      <a:pt x="422" y="875"/>
                    </a:cubicBezTo>
                    <a:cubicBezTo>
                      <a:pt x="422" y="884"/>
                      <a:pt x="415" y="890"/>
                      <a:pt x="422" y="899"/>
                    </a:cubicBezTo>
                    <a:cubicBezTo>
                      <a:pt x="429" y="908"/>
                      <a:pt x="436" y="912"/>
                      <a:pt x="436" y="912"/>
                    </a:cubicBezTo>
                    <a:cubicBezTo>
                      <a:pt x="442" y="932"/>
                      <a:pt x="442" y="932"/>
                      <a:pt x="442" y="932"/>
                    </a:cubicBezTo>
                    <a:cubicBezTo>
                      <a:pt x="442" y="932"/>
                      <a:pt x="458" y="930"/>
                      <a:pt x="461" y="935"/>
                    </a:cubicBezTo>
                    <a:cubicBezTo>
                      <a:pt x="464" y="940"/>
                      <a:pt x="460" y="951"/>
                      <a:pt x="470" y="955"/>
                    </a:cubicBezTo>
                    <a:cubicBezTo>
                      <a:pt x="480" y="959"/>
                      <a:pt x="484" y="959"/>
                      <a:pt x="488" y="960"/>
                    </a:cubicBezTo>
                    <a:cubicBezTo>
                      <a:pt x="492" y="961"/>
                      <a:pt x="502" y="954"/>
                      <a:pt x="502" y="954"/>
                    </a:cubicBezTo>
                    <a:cubicBezTo>
                      <a:pt x="502" y="954"/>
                      <a:pt x="508" y="968"/>
                      <a:pt x="516" y="968"/>
                    </a:cubicBezTo>
                    <a:cubicBezTo>
                      <a:pt x="524" y="968"/>
                      <a:pt x="531" y="961"/>
                      <a:pt x="532" y="965"/>
                    </a:cubicBezTo>
                    <a:cubicBezTo>
                      <a:pt x="533" y="969"/>
                      <a:pt x="541" y="981"/>
                      <a:pt x="552" y="986"/>
                    </a:cubicBezTo>
                    <a:cubicBezTo>
                      <a:pt x="563" y="991"/>
                      <a:pt x="579" y="992"/>
                      <a:pt x="579" y="992"/>
                    </a:cubicBezTo>
                    <a:cubicBezTo>
                      <a:pt x="579" y="992"/>
                      <a:pt x="588" y="1012"/>
                      <a:pt x="598" y="1013"/>
                    </a:cubicBezTo>
                    <a:cubicBezTo>
                      <a:pt x="608" y="1014"/>
                      <a:pt x="619" y="1009"/>
                      <a:pt x="630" y="1011"/>
                    </a:cubicBezTo>
                    <a:cubicBezTo>
                      <a:pt x="641" y="1013"/>
                      <a:pt x="661" y="1022"/>
                      <a:pt x="662" y="1032"/>
                    </a:cubicBezTo>
                    <a:cubicBezTo>
                      <a:pt x="663" y="1042"/>
                      <a:pt x="658" y="1045"/>
                      <a:pt x="662" y="1052"/>
                    </a:cubicBezTo>
                    <a:cubicBezTo>
                      <a:pt x="666" y="1059"/>
                      <a:pt x="673" y="1071"/>
                      <a:pt x="673" y="1071"/>
                    </a:cubicBezTo>
                    <a:cubicBezTo>
                      <a:pt x="675" y="1092"/>
                      <a:pt x="675" y="1092"/>
                      <a:pt x="675" y="1092"/>
                    </a:cubicBezTo>
                    <a:cubicBezTo>
                      <a:pt x="675" y="1092"/>
                      <a:pt x="660" y="1090"/>
                      <a:pt x="662" y="1096"/>
                    </a:cubicBezTo>
                    <a:cubicBezTo>
                      <a:pt x="664" y="1102"/>
                      <a:pt x="680" y="1116"/>
                      <a:pt x="680" y="1116"/>
                    </a:cubicBezTo>
                    <a:cubicBezTo>
                      <a:pt x="680" y="1116"/>
                      <a:pt x="670" y="1147"/>
                      <a:pt x="683" y="1156"/>
                    </a:cubicBezTo>
                    <a:cubicBezTo>
                      <a:pt x="696" y="1165"/>
                      <a:pt x="773" y="1163"/>
                      <a:pt x="773" y="1163"/>
                    </a:cubicBezTo>
                    <a:cubicBezTo>
                      <a:pt x="773" y="1163"/>
                      <a:pt x="762" y="1197"/>
                      <a:pt x="769" y="1206"/>
                    </a:cubicBezTo>
                    <a:cubicBezTo>
                      <a:pt x="776" y="1215"/>
                      <a:pt x="785" y="1216"/>
                      <a:pt x="796" y="1223"/>
                    </a:cubicBezTo>
                    <a:cubicBezTo>
                      <a:pt x="807" y="1230"/>
                      <a:pt x="816" y="1248"/>
                      <a:pt x="816" y="1262"/>
                    </a:cubicBezTo>
                    <a:cubicBezTo>
                      <a:pt x="816" y="1276"/>
                      <a:pt x="811" y="1302"/>
                      <a:pt x="811" y="1302"/>
                    </a:cubicBezTo>
                    <a:cubicBezTo>
                      <a:pt x="815" y="1310"/>
                      <a:pt x="815" y="1310"/>
                      <a:pt x="815" y="1310"/>
                    </a:cubicBezTo>
                    <a:cubicBezTo>
                      <a:pt x="815" y="1310"/>
                      <a:pt x="798" y="1337"/>
                      <a:pt x="800" y="1342"/>
                    </a:cubicBezTo>
                    <a:cubicBezTo>
                      <a:pt x="802" y="1347"/>
                      <a:pt x="814" y="1357"/>
                      <a:pt x="814" y="1357"/>
                    </a:cubicBezTo>
                    <a:cubicBezTo>
                      <a:pt x="814" y="1357"/>
                      <a:pt x="799" y="1365"/>
                      <a:pt x="799" y="1371"/>
                    </a:cubicBezTo>
                    <a:cubicBezTo>
                      <a:pt x="799" y="1377"/>
                      <a:pt x="808" y="1379"/>
                      <a:pt x="810" y="1386"/>
                    </a:cubicBezTo>
                    <a:cubicBezTo>
                      <a:pt x="812" y="1393"/>
                      <a:pt x="806" y="1402"/>
                      <a:pt x="810" y="1406"/>
                    </a:cubicBezTo>
                    <a:cubicBezTo>
                      <a:pt x="814" y="1410"/>
                      <a:pt x="819" y="1405"/>
                      <a:pt x="819" y="1414"/>
                    </a:cubicBezTo>
                    <a:cubicBezTo>
                      <a:pt x="819" y="1423"/>
                      <a:pt x="804" y="1459"/>
                      <a:pt x="820" y="1468"/>
                    </a:cubicBezTo>
                    <a:cubicBezTo>
                      <a:pt x="836" y="1477"/>
                      <a:pt x="880" y="1484"/>
                      <a:pt x="895" y="1481"/>
                    </a:cubicBezTo>
                    <a:cubicBezTo>
                      <a:pt x="910" y="1478"/>
                      <a:pt x="928" y="1478"/>
                      <a:pt x="932" y="1486"/>
                    </a:cubicBezTo>
                    <a:cubicBezTo>
                      <a:pt x="936" y="1494"/>
                      <a:pt x="932" y="1511"/>
                      <a:pt x="937" y="1531"/>
                    </a:cubicBezTo>
                    <a:cubicBezTo>
                      <a:pt x="942" y="1551"/>
                      <a:pt x="946" y="1572"/>
                      <a:pt x="957" y="1574"/>
                    </a:cubicBezTo>
                    <a:cubicBezTo>
                      <a:pt x="968" y="1576"/>
                      <a:pt x="972" y="1560"/>
                      <a:pt x="987" y="1564"/>
                    </a:cubicBezTo>
                    <a:cubicBezTo>
                      <a:pt x="1002" y="1568"/>
                      <a:pt x="1006" y="1576"/>
                      <a:pt x="1004" y="1596"/>
                    </a:cubicBezTo>
                    <a:cubicBezTo>
                      <a:pt x="1002" y="1616"/>
                      <a:pt x="1000" y="1626"/>
                      <a:pt x="998" y="1631"/>
                    </a:cubicBezTo>
                    <a:cubicBezTo>
                      <a:pt x="996" y="1636"/>
                      <a:pt x="995" y="1651"/>
                      <a:pt x="995" y="1651"/>
                    </a:cubicBezTo>
                    <a:cubicBezTo>
                      <a:pt x="998" y="1664"/>
                      <a:pt x="998" y="1664"/>
                      <a:pt x="998" y="1664"/>
                    </a:cubicBezTo>
                    <a:cubicBezTo>
                      <a:pt x="998" y="1664"/>
                      <a:pt x="1014" y="1653"/>
                      <a:pt x="1021" y="1657"/>
                    </a:cubicBezTo>
                    <a:cubicBezTo>
                      <a:pt x="1028" y="1661"/>
                      <a:pt x="1032" y="1682"/>
                      <a:pt x="1032" y="1682"/>
                    </a:cubicBezTo>
                    <a:cubicBezTo>
                      <a:pt x="1032" y="1682"/>
                      <a:pt x="1043" y="1681"/>
                      <a:pt x="1043" y="1690"/>
                    </a:cubicBezTo>
                    <a:cubicBezTo>
                      <a:pt x="1043" y="1699"/>
                      <a:pt x="1051" y="1737"/>
                      <a:pt x="1045" y="1743"/>
                    </a:cubicBezTo>
                    <a:cubicBezTo>
                      <a:pt x="1039" y="1749"/>
                      <a:pt x="1022" y="1751"/>
                      <a:pt x="1011" y="1756"/>
                    </a:cubicBezTo>
                    <a:cubicBezTo>
                      <a:pt x="1000" y="1761"/>
                      <a:pt x="1000" y="1779"/>
                      <a:pt x="1000" y="1779"/>
                    </a:cubicBezTo>
                    <a:cubicBezTo>
                      <a:pt x="979" y="1781"/>
                      <a:pt x="979" y="1781"/>
                      <a:pt x="979" y="1781"/>
                    </a:cubicBezTo>
                    <a:cubicBezTo>
                      <a:pt x="978" y="1792"/>
                      <a:pt x="978" y="1792"/>
                      <a:pt x="978" y="1792"/>
                    </a:cubicBezTo>
                    <a:cubicBezTo>
                      <a:pt x="972" y="1794"/>
                      <a:pt x="972" y="1794"/>
                      <a:pt x="972" y="1794"/>
                    </a:cubicBezTo>
                    <a:cubicBezTo>
                      <a:pt x="969" y="1810"/>
                      <a:pt x="969" y="1810"/>
                      <a:pt x="969" y="1810"/>
                    </a:cubicBezTo>
                    <a:cubicBezTo>
                      <a:pt x="953" y="1814"/>
                      <a:pt x="953" y="1814"/>
                      <a:pt x="953" y="1814"/>
                    </a:cubicBezTo>
                    <a:cubicBezTo>
                      <a:pt x="953" y="1814"/>
                      <a:pt x="950" y="1837"/>
                      <a:pt x="945" y="1842"/>
                    </a:cubicBezTo>
                    <a:cubicBezTo>
                      <a:pt x="940" y="1847"/>
                      <a:pt x="931" y="1852"/>
                      <a:pt x="931" y="1855"/>
                    </a:cubicBezTo>
                    <a:cubicBezTo>
                      <a:pt x="931" y="1858"/>
                      <a:pt x="928" y="1873"/>
                      <a:pt x="923" y="1878"/>
                    </a:cubicBezTo>
                    <a:cubicBezTo>
                      <a:pt x="918" y="1883"/>
                      <a:pt x="903" y="1882"/>
                      <a:pt x="903" y="1888"/>
                    </a:cubicBezTo>
                    <a:cubicBezTo>
                      <a:pt x="903" y="1894"/>
                      <a:pt x="899" y="1911"/>
                      <a:pt x="899" y="1911"/>
                    </a:cubicBezTo>
                    <a:cubicBezTo>
                      <a:pt x="915" y="1912"/>
                      <a:pt x="915" y="1912"/>
                      <a:pt x="915" y="1912"/>
                    </a:cubicBezTo>
                    <a:cubicBezTo>
                      <a:pt x="915" y="1912"/>
                      <a:pt x="921" y="1902"/>
                      <a:pt x="933" y="1904"/>
                    </a:cubicBezTo>
                    <a:cubicBezTo>
                      <a:pt x="945" y="1906"/>
                      <a:pt x="970" y="1933"/>
                      <a:pt x="970" y="1933"/>
                    </a:cubicBezTo>
                    <a:cubicBezTo>
                      <a:pt x="970" y="1933"/>
                      <a:pt x="980" y="1956"/>
                      <a:pt x="986" y="1956"/>
                    </a:cubicBezTo>
                    <a:cubicBezTo>
                      <a:pt x="992" y="1956"/>
                      <a:pt x="991" y="1942"/>
                      <a:pt x="1001" y="1945"/>
                    </a:cubicBezTo>
                    <a:cubicBezTo>
                      <a:pt x="1011" y="1948"/>
                      <a:pt x="1020" y="1964"/>
                      <a:pt x="1025" y="1967"/>
                    </a:cubicBezTo>
                    <a:cubicBezTo>
                      <a:pt x="1030" y="1970"/>
                      <a:pt x="1037" y="1969"/>
                      <a:pt x="1037" y="1969"/>
                    </a:cubicBezTo>
                    <a:cubicBezTo>
                      <a:pt x="1037" y="1969"/>
                      <a:pt x="1045" y="1976"/>
                      <a:pt x="1049" y="1978"/>
                    </a:cubicBezTo>
                    <a:cubicBezTo>
                      <a:pt x="1053" y="1980"/>
                      <a:pt x="1055" y="1993"/>
                      <a:pt x="1067" y="1997"/>
                    </a:cubicBezTo>
                    <a:cubicBezTo>
                      <a:pt x="1079" y="2001"/>
                      <a:pt x="1086" y="2000"/>
                      <a:pt x="1086" y="2000"/>
                    </a:cubicBezTo>
                    <a:cubicBezTo>
                      <a:pt x="1086" y="2000"/>
                      <a:pt x="1096" y="2024"/>
                      <a:pt x="1104" y="2029"/>
                    </a:cubicBezTo>
                    <a:cubicBezTo>
                      <a:pt x="1112" y="2034"/>
                      <a:pt x="1131" y="2033"/>
                      <a:pt x="1126" y="2042"/>
                    </a:cubicBezTo>
                    <a:cubicBezTo>
                      <a:pt x="1121" y="2051"/>
                      <a:pt x="1111" y="2064"/>
                      <a:pt x="1112" y="2071"/>
                    </a:cubicBezTo>
                    <a:cubicBezTo>
                      <a:pt x="1113" y="2078"/>
                      <a:pt x="1119" y="2078"/>
                      <a:pt x="1119" y="2078"/>
                    </a:cubicBezTo>
                    <a:cubicBezTo>
                      <a:pt x="1118" y="2099"/>
                      <a:pt x="1118" y="2099"/>
                      <a:pt x="1118" y="2099"/>
                    </a:cubicBezTo>
                    <a:cubicBezTo>
                      <a:pt x="1128" y="2098"/>
                      <a:pt x="1128" y="2098"/>
                      <a:pt x="1128" y="2098"/>
                    </a:cubicBezTo>
                    <a:cubicBezTo>
                      <a:pt x="1128" y="2096"/>
                      <a:pt x="1128" y="2096"/>
                      <a:pt x="1128" y="2096"/>
                    </a:cubicBezTo>
                    <a:cubicBezTo>
                      <a:pt x="1128" y="2096"/>
                      <a:pt x="1151" y="2070"/>
                      <a:pt x="1156" y="2061"/>
                    </a:cubicBezTo>
                    <a:cubicBezTo>
                      <a:pt x="1161" y="2052"/>
                      <a:pt x="1153" y="2031"/>
                      <a:pt x="1153" y="2031"/>
                    </a:cubicBezTo>
                    <a:cubicBezTo>
                      <a:pt x="1165" y="2013"/>
                      <a:pt x="1165" y="2013"/>
                      <a:pt x="1165" y="2013"/>
                    </a:cubicBezTo>
                    <a:cubicBezTo>
                      <a:pt x="1165" y="2013"/>
                      <a:pt x="1155" y="2005"/>
                      <a:pt x="1155" y="1995"/>
                    </a:cubicBezTo>
                    <a:cubicBezTo>
                      <a:pt x="1155" y="1985"/>
                      <a:pt x="1165" y="1984"/>
                      <a:pt x="1165" y="1984"/>
                    </a:cubicBezTo>
                    <a:cubicBezTo>
                      <a:pt x="1167" y="1968"/>
                      <a:pt x="1167" y="1968"/>
                      <a:pt x="1167" y="1968"/>
                    </a:cubicBezTo>
                    <a:cubicBezTo>
                      <a:pt x="1167" y="1968"/>
                      <a:pt x="1179" y="1966"/>
                      <a:pt x="1183" y="1962"/>
                    </a:cubicBezTo>
                    <a:cubicBezTo>
                      <a:pt x="1187" y="1958"/>
                      <a:pt x="1186" y="1944"/>
                      <a:pt x="1186" y="1936"/>
                    </a:cubicBezTo>
                    <a:cubicBezTo>
                      <a:pt x="1186" y="1928"/>
                      <a:pt x="1204" y="1911"/>
                      <a:pt x="1213" y="1909"/>
                    </a:cubicBezTo>
                    <a:cubicBezTo>
                      <a:pt x="1222" y="1907"/>
                      <a:pt x="1219" y="1931"/>
                      <a:pt x="1219" y="1931"/>
                    </a:cubicBezTo>
                    <a:cubicBezTo>
                      <a:pt x="1219" y="1931"/>
                      <a:pt x="1213" y="1941"/>
                      <a:pt x="1210" y="1943"/>
                    </a:cubicBezTo>
                    <a:cubicBezTo>
                      <a:pt x="1207" y="1945"/>
                      <a:pt x="1208" y="1956"/>
                      <a:pt x="1208" y="1956"/>
                    </a:cubicBezTo>
                    <a:cubicBezTo>
                      <a:pt x="1201" y="1960"/>
                      <a:pt x="1201" y="1960"/>
                      <a:pt x="1201" y="1960"/>
                    </a:cubicBezTo>
                    <a:cubicBezTo>
                      <a:pt x="1201" y="1969"/>
                      <a:pt x="1201" y="1969"/>
                      <a:pt x="1201" y="1969"/>
                    </a:cubicBezTo>
                    <a:cubicBezTo>
                      <a:pt x="1184" y="1987"/>
                      <a:pt x="1184" y="1987"/>
                      <a:pt x="1184" y="1987"/>
                    </a:cubicBezTo>
                    <a:cubicBezTo>
                      <a:pt x="1163" y="2002"/>
                      <a:pt x="1163" y="2002"/>
                      <a:pt x="1163" y="2002"/>
                    </a:cubicBezTo>
                    <a:cubicBezTo>
                      <a:pt x="1163" y="2002"/>
                      <a:pt x="1170" y="2008"/>
                      <a:pt x="1177" y="2006"/>
                    </a:cubicBezTo>
                    <a:cubicBezTo>
                      <a:pt x="1182" y="2005"/>
                      <a:pt x="1182" y="1993"/>
                      <a:pt x="1187" y="1990"/>
                    </a:cubicBezTo>
                    <a:cubicBezTo>
                      <a:pt x="1191" y="1986"/>
                      <a:pt x="1198" y="1989"/>
                      <a:pt x="1200" y="1987"/>
                    </a:cubicBezTo>
                    <a:cubicBezTo>
                      <a:pt x="1206" y="1978"/>
                      <a:pt x="1228" y="1944"/>
                      <a:pt x="1233" y="1920"/>
                    </a:cubicBezTo>
                    <a:cubicBezTo>
                      <a:pt x="1238" y="1896"/>
                      <a:pt x="1248" y="1874"/>
                      <a:pt x="1252" y="1860"/>
                    </a:cubicBezTo>
                    <a:cubicBezTo>
                      <a:pt x="1256" y="1846"/>
                      <a:pt x="1284" y="1829"/>
                      <a:pt x="1286" y="1825"/>
                    </a:cubicBezTo>
                    <a:cubicBezTo>
                      <a:pt x="1288" y="1821"/>
                      <a:pt x="1281" y="1811"/>
                      <a:pt x="1281" y="1811"/>
                    </a:cubicBezTo>
                    <a:cubicBezTo>
                      <a:pt x="1294" y="1802"/>
                      <a:pt x="1294" y="1802"/>
                      <a:pt x="1294" y="1802"/>
                    </a:cubicBezTo>
                    <a:cubicBezTo>
                      <a:pt x="1290" y="1778"/>
                      <a:pt x="1290" y="1778"/>
                      <a:pt x="1290" y="1778"/>
                    </a:cubicBezTo>
                    <a:cubicBezTo>
                      <a:pt x="1294" y="1764"/>
                      <a:pt x="1294" y="1764"/>
                      <a:pt x="1294" y="1764"/>
                    </a:cubicBezTo>
                    <a:cubicBezTo>
                      <a:pt x="1285" y="1759"/>
                      <a:pt x="1285" y="1759"/>
                      <a:pt x="1285" y="1759"/>
                    </a:cubicBezTo>
                    <a:cubicBezTo>
                      <a:pt x="1285" y="1759"/>
                      <a:pt x="1292" y="1750"/>
                      <a:pt x="1292" y="1742"/>
                    </a:cubicBezTo>
                    <a:cubicBezTo>
                      <a:pt x="1292" y="1734"/>
                      <a:pt x="1277" y="1728"/>
                      <a:pt x="1277" y="1728"/>
                    </a:cubicBezTo>
                    <a:cubicBezTo>
                      <a:pt x="1276" y="1705"/>
                      <a:pt x="1276" y="1705"/>
                      <a:pt x="1276" y="1705"/>
                    </a:cubicBezTo>
                    <a:cubicBezTo>
                      <a:pt x="1266" y="1694"/>
                      <a:pt x="1266" y="1694"/>
                      <a:pt x="1266" y="1694"/>
                    </a:cubicBezTo>
                    <a:cubicBezTo>
                      <a:pt x="1280" y="1695"/>
                      <a:pt x="1280" y="1695"/>
                      <a:pt x="1280" y="1695"/>
                    </a:cubicBezTo>
                    <a:cubicBezTo>
                      <a:pt x="1279" y="1678"/>
                      <a:pt x="1279" y="1678"/>
                      <a:pt x="1279" y="1678"/>
                    </a:cubicBezTo>
                    <a:cubicBezTo>
                      <a:pt x="1270" y="1673"/>
                      <a:pt x="1270" y="1673"/>
                      <a:pt x="1270" y="1673"/>
                    </a:cubicBezTo>
                    <a:cubicBezTo>
                      <a:pt x="1270" y="1673"/>
                      <a:pt x="1282" y="1670"/>
                      <a:pt x="1282" y="1665"/>
                    </a:cubicBezTo>
                    <a:cubicBezTo>
                      <a:pt x="1282" y="1660"/>
                      <a:pt x="1266" y="1650"/>
                      <a:pt x="1266" y="1650"/>
                    </a:cubicBezTo>
                    <a:cubicBezTo>
                      <a:pt x="1282" y="1639"/>
                      <a:pt x="1282" y="1639"/>
                      <a:pt x="1282" y="1639"/>
                    </a:cubicBezTo>
                    <a:cubicBezTo>
                      <a:pt x="1282" y="1639"/>
                      <a:pt x="1295" y="1653"/>
                      <a:pt x="1301" y="1652"/>
                    </a:cubicBezTo>
                    <a:cubicBezTo>
                      <a:pt x="1307" y="1651"/>
                      <a:pt x="1303" y="1639"/>
                      <a:pt x="1303" y="1639"/>
                    </a:cubicBezTo>
                    <a:cubicBezTo>
                      <a:pt x="1303" y="1639"/>
                      <a:pt x="1303" y="1627"/>
                      <a:pt x="1311" y="1617"/>
                    </a:cubicBezTo>
                    <a:cubicBezTo>
                      <a:pt x="1319" y="1607"/>
                      <a:pt x="1331" y="1610"/>
                      <a:pt x="1337" y="1605"/>
                    </a:cubicBezTo>
                    <a:cubicBezTo>
                      <a:pt x="1343" y="1600"/>
                      <a:pt x="1340" y="1596"/>
                      <a:pt x="1343" y="1589"/>
                    </a:cubicBezTo>
                    <a:cubicBezTo>
                      <a:pt x="1346" y="1582"/>
                      <a:pt x="1364" y="1579"/>
                      <a:pt x="1364" y="1579"/>
                    </a:cubicBezTo>
                    <a:cubicBezTo>
                      <a:pt x="1366" y="1571"/>
                      <a:pt x="1366" y="1571"/>
                      <a:pt x="1366" y="1571"/>
                    </a:cubicBezTo>
                    <a:cubicBezTo>
                      <a:pt x="1366" y="1571"/>
                      <a:pt x="1372" y="1574"/>
                      <a:pt x="1377" y="1573"/>
                    </a:cubicBezTo>
                    <a:cubicBezTo>
                      <a:pt x="1382" y="1572"/>
                      <a:pt x="1381" y="1560"/>
                      <a:pt x="1387" y="1559"/>
                    </a:cubicBezTo>
                    <a:cubicBezTo>
                      <a:pt x="1393" y="1558"/>
                      <a:pt x="1412" y="1561"/>
                      <a:pt x="1412" y="1561"/>
                    </a:cubicBezTo>
                    <a:cubicBezTo>
                      <a:pt x="1416" y="1571"/>
                      <a:pt x="1416" y="1571"/>
                      <a:pt x="1416" y="1571"/>
                    </a:cubicBezTo>
                    <a:cubicBezTo>
                      <a:pt x="1427" y="1569"/>
                      <a:pt x="1427" y="1569"/>
                      <a:pt x="1427" y="1569"/>
                    </a:cubicBezTo>
                    <a:cubicBezTo>
                      <a:pt x="1414" y="1554"/>
                      <a:pt x="1414" y="1554"/>
                      <a:pt x="1414" y="1554"/>
                    </a:cubicBezTo>
                    <a:cubicBezTo>
                      <a:pt x="1414" y="1554"/>
                      <a:pt x="1423" y="1550"/>
                      <a:pt x="1427" y="1545"/>
                    </a:cubicBezTo>
                    <a:cubicBezTo>
                      <a:pt x="1431" y="1540"/>
                      <a:pt x="1453" y="1539"/>
                      <a:pt x="1453" y="1539"/>
                    </a:cubicBezTo>
                    <a:cubicBezTo>
                      <a:pt x="1442" y="1529"/>
                      <a:pt x="1442" y="1529"/>
                      <a:pt x="1442" y="1529"/>
                    </a:cubicBezTo>
                    <a:cubicBezTo>
                      <a:pt x="1442" y="1529"/>
                      <a:pt x="1454" y="1519"/>
                      <a:pt x="1459" y="1519"/>
                    </a:cubicBezTo>
                    <a:cubicBezTo>
                      <a:pt x="1464" y="1519"/>
                      <a:pt x="1460" y="1535"/>
                      <a:pt x="1463" y="1535"/>
                    </a:cubicBezTo>
                    <a:cubicBezTo>
                      <a:pt x="1466" y="1535"/>
                      <a:pt x="1472" y="1518"/>
                      <a:pt x="1472" y="1518"/>
                    </a:cubicBezTo>
                    <a:cubicBezTo>
                      <a:pt x="1497" y="1523"/>
                      <a:pt x="1497" y="1523"/>
                      <a:pt x="1497" y="1523"/>
                    </a:cubicBezTo>
                    <a:cubicBezTo>
                      <a:pt x="1497" y="1523"/>
                      <a:pt x="1502" y="1503"/>
                      <a:pt x="1513" y="1502"/>
                    </a:cubicBezTo>
                    <a:cubicBezTo>
                      <a:pt x="1524" y="1501"/>
                      <a:pt x="1521" y="1523"/>
                      <a:pt x="1521" y="1523"/>
                    </a:cubicBezTo>
                    <a:cubicBezTo>
                      <a:pt x="1566" y="1518"/>
                      <a:pt x="1566" y="1518"/>
                      <a:pt x="1566" y="1518"/>
                    </a:cubicBezTo>
                    <a:cubicBezTo>
                      <a:pt x="1571" y="1506"/>
                      <a:pt x="1571" y="1506"/>
                      <a:pt x="1571" y="1506"/>
                    </a:cubicBezTo>
                    <a:cubicBezTo>
                      <a:pt x="1565" y="1499"/>
                      <a:pt x="1565" y="1499"/>
                      <a:pt x="1565" y="1499"/>
                    </a:cubicBezTo>
                    <a:cubicBezTo>
                      <a:pt x="1565" y="1499"/>
                      <a:pt x="1571" y="1491"/>
                      <a:pt x="1577" y="1482"/>
                    </a:cubicBezTo>
                    <a:cubicBezTo>
                      <a:pt x="1583" y="1473"/>
                      <a:pt x="1613" y="1468"/>
                      <a:pt x="1613" y="1468"/>
                    </a:cubicBezTo>
                    <a:cubicBezTo>
                      <a:pt x="1613" y="1468"/>
                      <a:pt x="1610" y="1455"/>
                      <a:pt x="1610" y="1452"/>
                    </a:cubicBezTo>
                    <a:cubicBezTo>
                      <a:pt x="1610" y="1449"/>
                      <a:pt x="1611" y="1408"/>
                      <a:pt x="1611" y="1408"/>
                    </a:cubicBezTo>
                    <a:cubicBezTo>
                      <a:pt x="1629" y="1388"/>
                      <a:pt x="1629" y="1388"/>
                      <a:pt x="1629" y="1388"/>
                    </a:cubicBezTo>
                    <a:cubicBezTo>
                      <a:pt x="1629" y="1372"/>
                      <a:pt x="1629" y="1372"/>
                      <a:pt x="1629" y="1372"/>
                    </a:cubicBezTo>
                    <a:cubicBezTo>
                      <a:pt x="1642" y="1369"/>
                      <a:pt x="1642" y="1369"/>
                      <a:pt x="1642" y="1369"/>
                    </a:cubicBezTo>
                    <a:cubicBezTo>
                      <a:pt x="1642" y="1347"/>
                      <a:pt x="1642" y="1347"/>
                      <a:pt x="1642" y="1347"/>
                    </a:cubicBezTo>
                    <a:cubicBezTo>
                      <a:pt x="1642" y="1347"/>
                      <a:pt x="1651" y="1342"/>
                      <a:pt x="1655" y="1342"/>
                    </a:cubicBezTo>
                    <a:cubicBezTo>
                      <a:pt x="1659" y="1342"/>
                      <a:pt x="1659" y="1317"/>
                      <a:pt x="1659" y="1317"/>
                    </a:cubicBezTo>
                    <a:cubicBezTo>
                      <a:pt x="1659" y="1317"/>
                      <a:pt x="1653" y="1288"/>
                      <a:pt x="1651" y="1273"/>
                    </a:cubicBezTo>
                    <a:cubicBezTo>
                      <a:pt x="1649" y="1258"/>
                      <a:pt x="1667" y="1246"/>
                      <a:pt x="1674" y="1240"/>
                    </a:cubicBezTo>
                    <a:cubicBezTo>
                      <a:pt x="1681" y="1234"/>
                      <a:pt x="1671" y="1213"/>
                      <a:pt x="1671" y="1213"/>
                    </a:cubicBezTo>
                    <a:cubicBezTo>
                      <a:pt x="1675" y="1175"/>
                      <a:pt x="1675" y="1175"/>
                      <a:pt x="1675" y="1175"/>
                    </a:cubicBezTo>
                    <a:cubicBezTo>
                      <a:pt x="1675" y="1175"/>
                      <a:pt x="1683" y="1145"/>
                      <a:pt x="1682" y="1134"/>
                    </a:cubicBezTo>
                    <a:cubicBezTo>
                      <a:pt x="1681" y="1123"/>
                      <a:pt x="1669" y="1065"/>
                      <a:pt x="1669" y="1065"/>
                    </a:cubicBezTo>
                    <a:cubicBezTo>
                      <a:pt x="1674" y="1041"/>
                      <a:pt x="1674" y="1041"/>
                      <a:pt x="1674" y="1041"/>
                    </a:cubicBezTo>
                    <a:cubicBezTo>
                      <a:pt x="1674" y="1041"/>
                      <a:pt x="1665" y="1010"/>
                      <a:pt x="1668" y="1002"/>
                    </a:cubicBezTo>
                    <a:cubicBezTo>
                      <a:pt x="1671" y="994"/>
                      <a:pt x="1682" y="984"/>
                      <a:pt x="1682" y="984"/>
                    </a:cubicBezTo>
                    <a:cubicBezTo>
                      <a:pt x="1674" y="972"/>
                      <a:pt x="1674" y="972"/>
                      <a:pt x="1674" y="972"/>
                    </a:cubicBezTo>
                    <a:cubicBezTo>
                      <a:pt x="1674" y="972"/>
                      <a:pt x="1681" y="962"/>
                      <a:pt x="1685" y="962"/>
                    </a:cubicBezTo>
                    <a:cubicBezTo>
                      <a:pt x="1689" y="962"/>
                      <a:pt x="1698" y="981"/>
                      <a:pt x="1698" y="981"/>
                    </a:cubicBezTo>
                    <a:cubicBezTo>
                      <a:pt x="1698" y="981"/>
                      <a:pt x="1720" y="961"/>
                      <a:pt x="1727" y="951"/>
                    </a:cubicBezTo>
                    <a:cubicBezTo>
                      <a:pt x="1734" y="941"/>
                      <a:pt x="1739" y="897"/>
                      <a:pt x="1739" y="897"/>
                    </a:cubicBezTo>
                    <a:cubicBezTo>
                      <a:pt x="1739" y="897"/>
                      <a:pt x="1745" y="893"/>
                      <a:pt x="1751" y="889"/>
                    </a:cubicBezTo>
                    <a:cubicBezTo>
                      <a:pt x="1757" y="885"/>
                      <a:pt x="1762" y="863"/>
                      <a:pt x="1762" y="863"/>
                    </a:cubicBezTo>
                    <a:cubicBezTo>
                      <a:pt x="1762" y="863"/>
                      <a:pt x="1775" y="856"/>
                      <a:pt x="1782" y="855"/>
                    </a:cubicBezTo>
                    <a:cubicBezTo>
                      <a:pt x="1789" y="854"/>
                      <a:pt x="1789" y="834"/>
                      <a:pt x="1789" y="834"/>
                    </a:cubicBezTo>
                    <a:cubicBezTo>
                      <a:pt x="1789" y="834"/>
                      <a:pt x="1803" y="829"/>
                      <a:pt x="1816" y="811"/>
                    </a:cubicBezTo>
                    <a:cubicBezTo>
                      <a:pt x="1829" y="793"/>
                      <a:pt x="1844" y="746"/>
                      <a:pt x="1844" y="746"/>
                    </a:cubicBezTo>
                    <a:cubicBezTo>
                      <a:pt x="1844" y="746"/>
                      <a:pt x="1856" y="733"/>
                      <a:pt x="1857" y="727"/>
                    </a:cubicBezTo>
                    <a:cubicBezTo>
                      <a:pt x="1858" y="721"/>
                      <a:pt x="1852" y="705"/>
                      <a:pt x="1852" y="705"/>
                    </a:cubicBezTo>
                    <a:cubicBezTo>
                      <a:pt x="1852" y="705"/>
                      <a:pt x="1855" y="684"/>
                      <a:pt x="1855" y="667"/>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86" name="Bolivia">
                <a:extLst>
                  <a:ext uri="{FF2B5EF4-FFF2-40B4-BE49-F238E27FC236}">
                    <a16:creationId xmlns:a16="http://schemas.microsoft.com/office/drawing/2014/main" id="{05570DEE-1D60-43DB-B2DB-C91CC58A8161}"/>
                  </a:ext>
                </a:extLst>
              </p:cNvPr>
              <p:cNvSpPr>
                <a:spLocks noEditPoints="1"/>
              </p:cNvSpPr>
              <p:nvPr/>
            </p:nvSpPr>
            <p:spPr bwMode="gray">
              <a:xfrm>
                <a:off x="3771211" y="4372343"/>
                <a:ext cx="338197" cy="398278"/>
              </a:xfrm>
              <a:custGeom>
                <a:avLst/>
                <a:gdLst>
                  <a:gd name="T0" fmla="*/ 1 w 604"/>
                  <a:gd name="T1" fmla="*/ 70 h 712"/>
                  <a:gd name="T2" fmla="*/ 599 w 604"/>
                  <a:gd name="T3" fmla="*/ 500 h 712"/>
                  <a:gd name="T4" fmla="*/ 584 w 604"/>
                  <a:gd name="T5" fmla="*/ 421 h 712"/>
                  <a:gd name="T6" fmla="*/ 561 w 604"/>
                  <a:gd name="T7" fmla="*/ 361 h 712"/>
                  <a:gd name="T8" fmla="*/ 468 w 604"/>
                  <a:gd name="T9" fmla="*/ 314 h 712"/>
                  <a:gd name="T10" fmla="*/ 463 w 604"/>
                  <a:gd name="T11" fmla="*/ 290 h 712"/>
                  <a:gd name="T12" fmla="*/ 450 w 604"/>
                  <a:gd name="T13" fmla="*/ 250 h 712"/>
                  <a:gd name="T14" fmla="*/ 418 w 604"/>
                  <a:gd name="T15" fmla="*/ 209 h 712"/>
                  <a:gd name="T16" fmla="*/ 367 w 604"/>
                  <a:gd name="T17" fmla="*/ 190 h 712"/>
                  <a:gd name="T18" fmla="*/ 320 w 604"/>
                  <a:gd name="T19" fmla="*/ 163 h 712"/>
                  <a:gd name="T20" fmla="*/ 290 w 604"/>
                  <a:gd name="T21" fmla="*/ 152 h 712"/>
                  <a:gd name="T22" fmla="*/ 258 w 604"/>
                  <a:gd name="T23" fmla="*/ 153 h 712"/>
                  <a:gd name="T24" fmla="*/ 230 w 604"/>
                  <a:gd name="T25" fmla="*/ 130 h 712"/>
                  <a:gd name="T26" fmla="*/ 210 w 604"/>
                  <a:gd name="T27" fmla="*/ 97 h 712"/>
                  <a:gd name="T28" fmla="*/ 200 w 604"/>
                  <a:gd name="T29" fmla="*/ 52 h 712"/>
                  <a:gd name="T30" fmla="*/ 211 w 604"/>
                  <a:gd name="T31" fmla="*/ 4 h 712"/>
                  <a:gd name="T32" fmla="*/ 183 w 604"/>
                  <a:gd name="T33" fmla="*/ 6 h 712"/>
                  <a:gd name="T34" fmla="*/ 151 w 604"/>
                  <a:gd name="T35" fmla="*/ 13 h 712"/>
                  <a:gd name="T36" fmla="*/ 104 w 604"/>
                  <a:gd name="T37" fmla="*/ 38 h 712"/>
                  <a:gd name="T38" fmla="*/ 76 w 604"/>
                  <a:gd name="T39" fmla="*/ 57 h 712"/>
                  <a:gd name="T40" fmla="*/ 50 w 604"/>
                  <a:gd name="T41" fmla="*/ 81 h 712"/>
                  <a:gd name="T42" fmla="*/ 9 w 604"/>
                  <a:gd name="T43" fmla="*/ 71 h 712"/>
                  <a:gd name="T44" fmla="*/ 52 w 604"/>
                  <a:gd name="T45" fmla="*/ 157 h 712"/>
                  <a:gd name="T46" fmla="*/ 50 w 604"/>
                  <a:gd name="T47" fmla="*/ 204 h 712"/>
                  <a:gd name="T48" fmla="*/ 52 w 604"/>
                  <a:gd name="T49" fmla="*/ 246 h 712"/>
                  <a:gd name="T50" fmla="*/ 44 w 604"/>
                  <a:gd name="T51" fmla="*/ 304 h 712"/>
                  <a:gd name="T52" fmla="*/ 39 w 604"/>
                  <a:gd name="T53" fmla="*/ 318 h 712"/>
                  <a:gd name="T54" fmla="*/ 62 w 604"/>
                  <a:gd name="T55" fmla="*/ 339 h 712"/>
                  <a:gd name="T56" fmla="*/ 76 w 604"/>
                  <a:gd name="T57" fmla="*/ 359 h 712"/>
                  <a:gd name="T58" fmla="*/ 62 w 604"/>
                  <a:gd name="T59" fmla="*/ 369 h 712"/>
                  <a:gd name="T60" fmla="*/ 33 w 604"/>
                  <a:gd name="T61" fmla="*/ 409 h 712"/>
                  <a:gd name="T62" fmla="*/ 39 w 604"/>
                  <a:gd name="T63" fmla="*/ 427 h 712"/>
                  <a:gd name="T64" fmla="*/ 64 w 604"/>
                  <a:gd name="T65" fmla="*/ 449 h 712"/>
                  <a:gd name="T66" fmla="*/ 105 w 604"/>
                  <a:gd name="T67" fmla="*/ 525 h 712"/>
                  <a:gd name="T68" fmla="*/ 104 w 604"/>
                  <a:gd name="T69" fmla="*/ 554 h 712"/>
                  <a:gd name="T70" fmla="*/ 102 w 604"/>
                  <a:gd name="T71" fmla="*/ 588 h 712"/>
                  <a:gd name="T72" fmla="*/ 134 w 604"/>
                  <a:gd name="T73" fmla="*/ 627 h 712"/>
                  <a:gd name="T74" fmla="*/ 147 w 604"/>
                  <a:gd name="T75" fmla="*/ 684 h 712"/>
                  <a:gd name="T76" fmla="*/ 188 w 604"/>
                  <a:gd name="T77" fmla="*/ 708 h 712"/>
                  <a:gd name="T78" fmla="*/ 199 w 604"/>
                  <a:gd name="T79" fmla="*/ 691 h 712"/>
                  <a:gd name="T80" fmla="*/ 214 w 604"/>
                  <a:gd name="T81" fmla="*/ 674 h 712"/>
                  <a:gd name="T82" fmla="*/ 241 w 604"/>
                  <a:gd name="T83" fmla="*/ 670 h 712"/>
                  <a:gd name="T84" fmla="*/ 318 w 604"/>
                  <a:gd name="T85" fmla="*/ 707 h 712"/>
                  <a:gd name="T86" fmla="*/ 374 w 604"/>
                  <a:gd name="T87" fmla="*/ 664 h 712"/>
                  <a:gd name="T88" fmla="*/ 403 w 604"/>
                  <a:gd name="T89" fmla="*/ 607 h 712"/>
                  <a:gd name="T90" fmla="*/ 413 w 604"/>
                  <a:gd name="T91" fmla="*/ 558 h 712"/>
                  <a:gd name="T92" fmla="*/ 486 w 604"/>
                  <a:gd name="T93" fmla="*/ 527 h 712"/>
                  <a:gd name="T94" fmla="*/ 574 w 604"/>
                  <a:gd name="T95" fmla="*/ 546 h 712"/>
                  <a:gd name="T96" fmla="*/ 602 w 604"/>
                  <a:gd name="T97" fmla="*/ 555 h 712"/>
                  <a:gd name="T98" fmla="*/ 603 w 604"/>
                  <a:gd name="T99" fmla="*/ 50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4" h="712">
                    <a:moveTo>
                      <a:pt x="0" y="70"/>
                    </a:moveTo>
                    <a:cubicBezTo>
                      <a:pt x="1" y="70"/>
                      <a:pt x="1" y="70"/>
                      <a:pt x="1" y="70"/>
                    </a:cubicBezTo>
                    <a:cubicBezTo>
                      <a:pt x="1" y="70"/>
                      <a:pt x="1" y="70"/>
                      <a:pt x="0" y="70"/>
                    </a:cubicBezTo>
                    <a:close/>
                    <a:moveTo>
                      <a:pt x="599" y="500"/>
                    </a:moveTo>
                    <a:cubicBezTo>
                      <a:pt x="599" y="500"/>
                      <a:pt x="604" y="474"/>
                      <a:pt x="604" y="460"/>
                    </a:cubicBezTo>
                    <a:cubicBezTo>
                      <a:pt x="604" y="446"/>
                      <a:pt x="595" y="428"/>
                      <a:pt x="584" y="421"/>
                    </a:cubicBezTo>
                    <a:cubicBezTo>
                      <a:pt x="573" y="414"/>
                      <a:pt x="564" y="413"/>
                      <a:pt x="557" y="404"/>
                    </a:cubicBezTo>
                    <a:cubicBezTo>
                      <a:pt x="550" y="395"/>
                      <a:pt x="561" y="361"/>
                      <a:pt x="561" y="361"/>
                    </a:cubicBezTo>
                    <a:cubicBezTo>
                      <a:pt x="561" y="361"/>
                      <a:pt x="484" y="363"/>
                      <a:pt x="471" y="354"/>
                    </a:cubicBezTo>
                    <a:cubicBezTo>
                      <a:pt x="458" y="345"/>
                      <a:pt x="468" y="314"/>
                      <a:pt x="468" y="314"/>
                    </a:cubicBezTo>
                    <a:cubicBezTo>
                      <a:pt x="468" y="314"/>
                      <a:pt x="452" y="300"/>
                      <a:pt x="450" y="294"/>
                    </a:cubicBezTo>
                    <a:cubicBezTo>
                      <a:pt x="448" y="288"/>
                      <a:pt x="463" y="290"/>
                      <a:pt x="463" y="290"/>
                    </a:cubicBezTo>
                    <a:cubicBezTo>
                      <a:pt x="461" y="269"/>
                      <a:pt x="461" y="269"/>
                      <a:pt x="461" y="269"/>
                    </a:cubicBezTo>
                    <a:cubicBezTo>
                      <a:pt x="461" y="269"/>
                      <a:pt x="454" y="257"/>
                      <a:pt x="450" y="250"/>
                    </a:cubicBezTo>
                    <a:cubicBezTo>
                      <a:pt x="446" y="243"/>
                      <a:pt x="451" y="240"/>
                      <a:pt x="450" y="230"/>
                    </a:cubicBezTo>
                    <a:cubicBezTo>
                      <a:pt x="449" y="220"/>
                      <a:pt x="429" y="211"/>
                      <a:pt x="418" y="209"/>
                    </a:cubicBezTo>
                    <a:cubicBezTo>
                      <a:pt x="407" y="207"/>
                      <a:pt x="396" y="212"/>
                      <a:pt x="386" y="211"/>
                    </a:cubicBezTo>
                    <a:cubicBezTo>
                      <a:pt x="376" y="210"/>
                      <a:pt x="367" y="190"/>
                      <a:pt x="367" y="190"/>
                    </a:cubicBezTo>
                    <a:cubicBezTo>
                      <a:pt x="367" y="190"/>
                      <a:pt x="351" y="189"/>
                      <a:pt x="340" y="184"/>
                    </a:cubicBezTo>
                    <a:cubicBezTo>
                      <a:pt x="329" y="179"/>
                      <a:pt x="321" y="167"/>
                      <a:pt x="320" y="163"/>
                    </a:cubicBezTo>
                    <a:cubicBezTo>
                      <a:pt x="319" y="159"/>
                      <a:pt x="312" y="166"/>
                      <a:pt x="304" y="166"/>
                    </a:cubicBezTo>
                    <a:cubicBezTo>
                      <a:pt x="296" y="166"/>
                      <a:pt x="290" y="152"/>
                      <a:pt x="290" y="152"/>
                    </a:cubicBezTo>
                    <a:cubicBezTo>
                      <a:pt x="290" y="152"/>
                      <a:pt x="280" y="159"/>
                      <a:pt x="276" y="158"/>
                    </a:cubicBezTo>
                    <a:cubicBezTo>
                      <a:pt x="272" y="157"/>
                      <a:pt x="268" y="157"/>
                      <a:pt x="258" y="153"/>
                    </a:cubicBezTo>
                    <a:cubicBezTo>
                      <a:pt x="248" y="149"/>
                      <a:pt x="252" y="138"/>
                      <a:pt x="249" y="133"/>
                    </a:cubicBezTo>
                    <a:cubicBezTo>
                      <a:pt x="246" y="128"/>
                      <a:pt x="230" y="130"/>
                      <a:pt x="230" y="130"/>
                    </a:cubicBezTo>
                    <a:cubicBezTo>
                      <a:pt x="224" y="110"/>
                      <a:pt x="224" y="110"/>
                      <a:pt x="224" y="110"/>
                    </a:cubicBezTo>
                    <a:cubicBezTo>
                      <a:pt x="224" y="110"/>
                      <a:pt x="217" y="106"/>
                      <a:pt x="210" y="97"/>
                    </a:cubicBezTo>
                    <a:cubicBezTo>
                      <a:pt x="203" y="88"/>
                      <a:pt x="210" y="82"/>
                      <a:pt x="210" y="73"/>
                    </a:cubicBezTo>
                    <a:cubicBezTo>
                      <a:pt x="210" y="64"/>
                      <a:pt x="201" y="56"/>
                      <a:pt x="200" y="52"/>
                    </a:cubicBezTo>
                    <a:cubicBezTo>
                      <a:pt x="199" y="48"/>
                      <a:pt x="207" y="35"/>
                      <a:pt x="207" y="35"/>
                    </a:cubicBezTo>
                    <a:cubicBezTo>
                      <a:pt x="207" y="35"/>
                      <a:pt x="215" y="8"/>
                      <a:pt x="211" y="4"/>
                    </a:cubicBezTo>
                    <a:cubicBezTo>
                      <a:pt x="207" y="0"/>
                      <a:pt x="194" y="8"/>
                      <a:pt x="193" y="12"/>
                    </a:cubicBezTo>
                    <a:cubicBezTo>
                      <a:pt x="192" y="16"/>
                      <a:pt x="183" y="6"/>
                      <a:pt x="183" y="6"/>
                    </a:cubicBezTo>
                    <a:cubicBezTo>
                      <a:pt x="174" y="14"/>
                      <a:pt x="174" y="14"/>
                      <a:pt x="174" y="14"/>
                    </a:cubicBezTo>
                    <a:cubicBezTo>
                      <a:pt x="174" y="14"/>
                      <a:pt x="164" y="13"/>
                      <a:pt x="151" y="13"/>
                    </a:cubicBezTo>
                    <a:cubicBezTo>
                      <a:pt x="138" y="13"/>
                      <a:pt x="128" y="39"/>
                      <a:pt x="128" y="39"/>
                    </a:cubicBezTo>
                    <a:cubicBezTo>
                      <a:pt x="104" y="38"/>
                      <a:pt x="104" y="38"/>
                      <a:pt x="104" y="38"/>
                    </a:cubicBezTo>
                    <a:cubicBezTo>
                      <a:pt x="100" y="56"/>
                      <a:pt x="100" y="56"/>
                      <a:pt x="100" y="56"/>
                    </a:cubicBezTo>
                    <a:cubicBezTo>
                      <a:pt x="76" y="57"/>
                      <a:pt x="76" y="57"/>
                      <a:pt x="76" y="57"/>
                    </a:cubicBezTo>
                    <a:cubicBezTo>
                      <a:pt x="71" y="69"/>
                      <a:pt x="71" y="69"/>
                      <a:pt x="71" y="69"/>
                    </a:cubicBezTo>
                    <a:cubicBezTo>
                      <a:pt x="71" y="69"/>
                      <a:pt x="63" y="78"/>
                      <a:pt x="50" y="81"/>
                    </a:cubicBezTo>
                    <a:cubicBezTo>
                      <a:pt x="37" y="84"/>
                      <a:pt x="34" y="73"/>
                      <a:pt x="34" y="73"/>
                    </a:cubicBezTo>
                    <a:cubicBezTo>
                      <a:pt x="34" y="73"/>
                      <a:pt x="21" y="72"/>
                      <a:pt x="9" y="71"/>
                    </a:cubicBezTo>
                    <a:cubicBezTo>
                      <a:pt x="11" y="80"/>
                      <a:pt x="18" y="101"/>
                      <a:pt x="29" y="112"/>
                    </a:cubicBezTo>
                    <a:cubicBezTo>
                      <a:pt x="44" y="125"/>
                      <a:pt x="54" y="150"/>
                      <a:pt x="52" y="157"/>
                    </a:cubicBezTo>
                    <a:cubicBezTo>
                      <a:pt x="51" y="163"/>
                      <a:pt x="41" y="174"/>
                      <a:pt x="41" y="174"/>
                    </a:cubicBezTo>
                    <a:cubicBezTo>
                      <a:pt x="50" y="204"/>
                      <a:pt x="50" y="204"/>
                      <a:pt x="50" y="204"/>
                    </a:cubicBezTo>
                    <a:cubicBezTo>
                      <a:pt x="37" y="224"/>
                      <a:pt x="37" y="224"/>
                      <a:pt x="37" y="224"/>
                    </a:cubicBezTo>
                    <a:cubicBezTo>
                      <a:pt x="37" y="224"/>
                      <a:pt x="56" y="237"/>
                      <a:pt x="52" y="246"/>
                    </a:cubicBezTo>
                    <a:cubicBezTo>
                      <a:pt x="48" y="256"/>
                      <a:pt x="33" y="264"/>
                      <a:pt x="35" y="279"/>
                    </a:cubicBezTo>
                    <a:cubicBezTo>
                      <a:pt x="36" y="293"/>
                      <a:pt x="44" y="304"/>
                      <a:pt x="44" y="304"/>
                    </a:cubicBezTo>
                    <a:cubicBezTo>
                      <a:pt x="39" y="315"/>
                      <a:pt x="39" y="315"/>
                      <a:pt x="39" y="315"/>
                    </a:cubicBezTo>
                    <a:cubicBezTo>
                      <a:pt x="39" y="315"/>
                      <a:pt x="39" y="316"/>
                      <a:pt x="39" y="318"/>
                    </a:cubicBezTo>
                    <a:cubicBezTo>
                      <a:pt x="44" y="322"/>
                      <a:pt x="47" y="326"/>
                      <a:pt x="47" y="326"/>
                    </a:cubicBezTo>
                    <a:cubicBezTo>
                      <a:pt x="62" y="339"/>
                      <a:pt x="62" y="339"/>
                      <a:pt x="62" y="339"/>
                    </a:cubicBezTo>
                    <a:cubicBezTo>
                      <a:pt x="63" y="351"/>
                      <a:pt x="63" y="351"/>
                      <a:pt x="63" y="351"/>
                    </a:cubicBezTo>
                    <a:cubicBezTo>
                      <a:pt x="76" y="359"/>
                      <a:pt x="76" y="359"/>
                      <a:pt x="76" y="359"/>
                    </a:cubicBezTo>
                    <a:cubicBezTo>
                      <a:pt x="68" y="376"/>
                      <a:pt x="68" y="376"/>
                      <a:pt x="68" y="376"/>
                    </a:cubicBezTo>
                    <a:cubicBezTo>
                      <a:pt x="62" y="369"/>
                      <a:pt x="62" y="369"/>
                      <a:pt x="62" y="369"/>
                    </a:cubicBezTo>
                    <a:cubicBezTo>
                      <a:pt x="61" y="377"/>
                      <a:pt x="58" y="388"/>
                      <a:pt x="52" y="392"/>
                    </a:cubicBezTo>
                    <a:cubicBezTo>
                      <a:pt x="43" y="399"/>
                      <a:pt x="33" y="409"/>
                      <a:pt x="33" y="409"/>
                    </a:cubicBezTo>
                    <a:cubicBezTo>
                      <a:pt x="40" y="426"/>
                      <a:pt x="40" y="426"/>
                      <a:pt x="40" y="426"/>
                    </a:cubicBezTo>
                    <a:cubicBezTo>
                      <a:pt x="39" y="427"/>
                      <a:pt x="39" y="427"/>
                      <a:pt x="39" y="427"/>
                    </a:cubicBezTo>
                    <a:cubicBezTo>
                      <a:pt x="50" y="449"/>
                      <a:pt x="50" y="449"/>
                      <a:pt x="50" y="449"/>
                    </a:cubicBezTo>
                    <a:cubicBezTo>
                      <a:pt x="64" y="449"/>
                      <a:pt x="64" y="449"/>
                      <a:pt x="64" y="449"/>
                    </a:cubicBezTo>
                    <a:cubicBezTo>
                      <a:pt x="73" y="501"/>
                      <a:pt x="73" y="501"/>
                      <a:pt x="73" y="501"/>
                    </a:cubicBezTo>
                    <a:cubicBezTo>
                      <a:pt x="73" y="501"/>
                      <a:pt x="109" y="513"/>
                      <a:pt x="105" y="525"/>
                    </a:cubicBezTo>
                    <a:cubicBezTo>
                      <a:pt x="101" y="537"/>
                      <a:pt x="93" y="543"/>
                      <a:pt x="93" y="543"/>
                    </a:cubicBezTo>
                    <a:cubicBezTo>
                      <a:pt x="104" y="554"/>
                      <a:pt x="104" y="554"/>
                      <a:pt x="104" y="554"/>
                    </a:cubicBezTo>
                    <a:cubicBezTo>
                      <a:pt x="104" y="554"/>
                      <a:pt x="89" y="566"/>
                      <a:pt x="93" y="575"/>
                    </a:cubicBezTo>
                    <a:cubicBezTo>
                      <a:pt x="97" y="585"/>
                      <a:pt x="102" y="588"/>
                      <a:pt x="102" y="588"/>
                    </a:cubicBezTo>
                    <a:cubicBezTo>
                      <a:pt x="102" y="605"/>
                      <a:pt x="102" y="605"/>
                      <a:pt x="102" y="605"/>
                    </a:cubicBezTo>
                    <a:cubicBezTo>
                      <a:pt x="102" y="605"/>
                      <a:pt x="131" y="616"/>
                      <a:pt x="134" y="627"/>
                    </a:cubicBezTo>
                    <a:cubicBezTo>
                      <a:pt x="136" y="638"/>
                      <a:pt x="134" y="668"/>
                      <a:pt x="134" y="668"/>
                    </a:cubicBezTo>
                    <a:cubicBezTo>
                      <a:pt x="147" y="684"/>
                      <a:pt x="147" y="684"/>
                      <a:pt x="147" y="684"/>
                    </a:cubicBezTo>
                    <a:cubicBezTo>
                      <a:pt x="147" y="684"/>
                      <a:pt x="146" y="710"/>
                      <a:pt x="158" y="711"/>
                    </a:cubicBezTo>
                    <a:cubicBezTo>
                      <a:pt x="170" y="712"/>
                      <a:pt x="188" y="708"/>
                      <a:pt x="188" y="708"/>
                    </a:cubicBezTo>
                    <a:cubicBezTo>
                      <a:pt x="188" y="689"/>
                      <a:pt x="188" y="689"/>
                      <a:pt x="188" y="689"/>
                    </a:cubicBezTo>
                    <a:cubicBezTo>
                      <a:pt x="199" y="691"/>
                      <a:pt x="199" y="691"/>
                      <a:pt x="199" y="691"/>
                    </a:cubicBezTo>
                    <a:cubicBezTo>
                      <a:pt x="199" y="677"/>
                      <a:pt x="199" y="677"/>
                      <a:pt x="199" y="677"/>
                    </a:cubicBezTo>
                    <a:cubicBezTo>
                      <a:pt x="214" y="674"/>
                      <a:pt x="214" y="674"/>
                      <a:pt x="214" y="674"/>
                    </a:cubicBezTo>
                    <a:cubicBezTo>
                      <a:pt x="222" y="657"/>
                      <a:pt x="222" y="657"/>
                      <a:pt x="222" y="657"/>
                    </a:cubicBezTo>
                    <a:cubicBezTo>
                      <a:pt x="222" y="657"/>
                      <a:pt x="227" y="666"/>
                      <a:pt x="241" y="670"/>
                    </a:cubicBezTo>
                    <a:cubicBezTo>
                      <a:pt x="254" y="674"/>
                      <a:pt x="296" y="673"/>
                      <a:pt x="296" y="673"/>
                    </a:cubicBezTo>
                    <a:cubicBezTo>
                      <a:pt x="318" y="707"/>
                      <a:pt x="318" y="707"/>
                      <a:pt x="318" y="707"/>
                    </a:cubicBezTo>
                    <a:cubicBezTo>
                      <a:pt x="323" y="670"/>
                      <a:pt x="323" y="670"/>
                      <a:pt x="323" y="670"/>
                    </a:cubicBezTo>
                    <a:cubicBezTo>
                      <a:pt x="374" y="664"/>
                      <a:pt x="374" y="664"/>
                      <a:pt x="374" y="664"/>
                    </a:cubicBezTo>
                    <a:cubicBezTo>
                      <a:pt x="397" y="681"/>
                      <a:pt x="397" y="681"/>
                      <a:pt x="397" y="681"/>
                    </a:cubicBezTo>
                    <a:cubicBezTo>
                      <a:pt x="397" y="681"/>
                      <a:pt x="405" y="613"/>
                      <a:pt x="403" y="607"/>
                    </a:cubicBezTo>
                    <a:cubicBezTo>
                      <a:pt x="402" y="600"/>
                      <a:pt x="387" y="578"/>
                      <a:pt x="394" y="574"/>
                    </a:cubicBezTo>
                    <a:cubicBezTo>
                      <a:pt x="401" y="570"/>
                      <a:pt x="413" y="558"/>
                      <a:pt x="413" y="558"/>
                    </a:cubicBezTo>
                    <a:cubicBezTo>
                      <a:pt x="417" y="539"/>
                      <a:pt x="417" y="539"/>
                      <a:pt x="417" y="539"/>
                    </a:cubicBezTo>
                    <a:cubicBezTo>
                      <a:pt x="486" y="527"/>
                      <a:pt x="486" y="527"/>
                      <a:pt x="486" y="527"/>
                    </a:cubicBezTo>
                    <a:cubicBezTo>
                      <a:pt x="539" y="518"/>
                      <a:pt x="539" y="518"/>
                      <a:pt x="539" y="518"/>
                    </a:cubicBezTo>
                    <a:cubicBezTo>
                      <a:pt x="574" y="546"/>
                      <a:pt x="574" y="546"/>
                      <a:pt x="574" y="546"/>
                    </a:cubicBezTo>
                    <a:cubicBezTo>
                      <a:pt x="587" y="569"/>
                      <a:pt x="587" y="569"/>
                      <a:pt x="587" y="569"/>
                    </a:cubicBezTo>
                    <a:cubicBezTo>
                      <a:pt x="587" y="563"/>
                      <a:pt x="602" y="555"/>
                      <a:pt x="602" y="555"/>
                    </a:cubicBezTo>
                    <a:cubicBezTo>
                      <a:pt x="602" y="555"/>
                      <a:pt x="590" y="545"/>
                      <a:pt x="588" y="540"/>
                    </a:cubicBezTo>
                    <a:cubicBezTo>
                      <a:pt x="586" y="535"/>
                      <a:pt x="603" y="508"/>
                      <a:pt x="603" y="508"/>
                    </a:cubicBezTo>
                    <a:lnTo>
                      <a:pt x="599" y="500"/>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87" name="Argentina">
                <a:extLst>
                  <a:ext uri="{FF2B5EF4-FFF2-40B4-BE49-F238E27FC236}">
                    <a16:creationId xmlns:a16="http://schemas.microsoft.com/office/drawing/2014/main" id="{C92743CA-7785-4065-9EFB-EF3E7A091661}"/>
                  </a:ext>
                </a:extLst>
              </p:cNvPr>
              <p:cNvSpPr>
                <a:spLocks noEditPoints="1"/>
              </p:cNvSpPr>
              <p:nvPr/>
            </p:nvSpPr>
            <p:spPr bwMode="gray">
              <a:xfrm>
                <a:off x="3831547" y="4740478"/>
                <a:ext cx="409647" cy="910805"/>
              </a:xfrm>
              <a:custGeom>
                <a:avLst/>
                <a:gdLst>
                  <a:gd name="T0" fmla="*/ 659 w 732"/>
                  <a:gd name="T1" fmla="*/ 333 h 1628"/>
                  <a:gd name="T2" fmla="*/ 726 w 732"/>
                  <a:gd name="T3" fmla="*/ 284 h 1628"/>
                  <a:gd name="T4" fmla="*/ 679 w 732"/>
                  <a:gd name="T5" fmla="*/ 205 h 1628"/>
                  <a:gd name="T6" fmla="*/ 622 w 732"/>
                  <a:gd name="T7" fmla="*/ 296 h 1628"/>
                  <a:gd name="T8" fmla="*/ 534 w 732"/>
                  <a:gd name="T9" fmla="*/ 286 h 1628"/>
                  <a:gd name="T10" fmla="*/ 535 w 732"/>
                  <a:gd name="T11" fmla="*/ 223 h 1628"/>
                  <a:gd name="T12" fmla="*/ 444 w 732"/>
                  <a:gd name="T13" fmla="*/ 138 h 1628"/>
                  <a:gd name="T14" fmla="*/ 328 w 732"/>
                  <a:gd name="T15" fmla="*/ 70 h 1628"/>
                  <a:gd name="T16" fmla="*/ 216 w 732"/>
                  <a:gd name="T17" fmla="*/ 13 h 1628"/>
                  <a:gd name="T18" fmla="*/ 115 w 732"/>
                  <a:gd name="T19" fmla="*/ 0 h 1628"/>
                  <a:gd name="T20" fmla="*/ 81 w 732"/>
                  <a:gd name="T21" fmla="*/ 32 h 1628"/>
                  <a:gd name="T22" fmla="*/ 82 w 732"/>
                  <a:gd name="T23" fmla="*/ 63 h 1628"/>
                  <a:gd name="T24" fmla="*/ 27 w 732"/>
                  <a:gd name="T25" fmla="*/ 199 h 1628"/>
                  <a:gd name="T26" fmla="*/ 35 w 732"/>
                  <a:gd name="T27" fmla="*/ 280 h 1628"/>
                  <a:gd name="T28" fmla="*/ 2 w 732"/>
                  <a:gd name="T29" fmla="*/ 401 h 1628"/>
                  <a:gd name="T30" fmla="*/ 0 w 732"/>
                  <a:gd name="T31" fmla="*/ 500 h 1628"/>
                  <a:gd name="T32" fmla="*/ 32 w 732"/>
                  <a:gd name="T33" fmla="*/ 564 h 1628"/>
                  <a:gd name="T34" fmla="*/ 63 w 732"/>
                  <a:gd name="T35" fmla="*/ 614 h 1628"/>
                  <a:gd name="T36" fmla="*/ 64 w 732"/>
                  <a:gd name="T37" fmla="*/ 724 h 1628"/>
                  <a:gd name="T38" fmla="*/ 68 w 732"/>
                  <a:gd name="T39" fmla="*/ 786 h 1628"/>
                  <a:gd name="T40" fmla="*/ 83 w 732"/>
                  <a:gd name="T41" fmla="*/ 872 h 1628"/>
                  <a:gd name="T42" fmla="*/ 87 w 732"/>
                  <a:gd name="T43" fmla="*/ 944 h 1628"/>
                  <a:gd name="T44" fmla="*/ 95 w 732"/>
                  <a:gd name="T45" fmla="*/ 990 h 1628"/>
                  <a:gd name="T46" fmla="*/ 129 w 732"/>
                  <a:gd name="T47" fmla="*/ 1082 h 1628"/>
                  <a:gd name="T48" fmla="*/ 143 w 732"/>
                  <a:gd name="T49" fmla="*/ 1145 h 1628"/>
                  <a:gd name="T50" fmla="*/ 170 w 732"/>
                  <a:gd name="T51" fmla="*/ 1213 h 1628"/>
                  <a:gd name="T52" fmla="*/ 205 w 732"/>
                  <a:gd name="T53" fmla="*/ 1257 h 1628"/>
                  <a:gd name="T54" fmla="*/ 217 w 732"/>
                  <a:gd name="T55" fmla="*/ 1321 h 1628"/>
                  <a:gd name="T56" fmla="*/ 210 w 732"/>
                  <a:gd name="T57" fmla="*/ 1394 h 1628"/>
                  <a:gd name="T58" fmla="*/ 214 w 732"/>
                  <a:gd name="T59" fmla="*/ 1450 h 1628"/>
                  <a:gd name="T60" fmla="*/ 216 w 732"/>
                  <a:gd name="T61" fmla="*/ 1513 h 1628"/>
                  <a:gd name="T62" fmla="*/ 290 w 732"/>
                  <a:gd name="T63" fmla="*/ 1562 h 1628"/>
                  <a:gd name="T64" fmla="*/ 347 w 732"/>
                  <a:gd name="T65" fmla="*/ 1612 h 1628"/>
                  <a:gd name="T66" fmla="*/ 437 w 732"/>
                  <a:gd name="T67" fmla="*/ 1628 h 1628"/>
                  <a:gd name="T68" fmla="*/ 438 w 732"/>
                  <a:gd name="T69" fmla="*/ 1589 h 1628"/>
                  <a:gd name="T70" fmla="*/ 409 w 732"/>
                  <a:gd name="T71" fmla="*/ 1534 h 1628"/>
                  <a:gd name="T72" fmla="*/ 412 w 732"/>
                  <a:gd name="T73" fmla="*/ 1501 h 1628"/>
                  <a:gd name="T74" fmla="*/ 441 w 732"/>
                  <a:gd name="T75" fmla="*/ 1451 h 1628"/>
                  <a:gd name="T76" fmla="*/ 476 w 732"/>
                  <a:gd name="T77" fmla="*/ 1359 h 1628"/>
                  <a:gd name="T78" fmla="*/ 379 w 732"/>
                  <a:gd name="T79" fmla="*/ 1301 h 1628"/>
                  <a:gd name="T80" fmla="*/ 407 w 732"/>
                  <a:gd name="T81" fmla="*/ 1240 h 1628"/>
                  <a:gd name="T82" fmla="*/ 443 w 732"/>
                  <a:gd name="T83" fmla="*/ 1217 h 1628"/>
                  <a:gd name="T84" fmla="*/ 456 w 732"/>
                  <a:gd name="T85" fmla="*/ 1130 h 1628"/>
                  <a:gd name="T86" fmla="*/ 486 w 732"/>
                  <a:gd name="T87" fmla="*/ 1113 h 1628"/>
                  <a:gd name="T88" fmla="*/ 404 w 732"/>
                  <a:gd name="T89" fmla="*/ 1089 h 1628"/>
                  <a:gd name="T90" fmla="*/ 465 w 732"/>
                  <a:gd name="T91" fmla="*/ 1039 h 1628"/>
                  <a:gd name="T92" fmla="*/ 501 w 732"/>
                  <a:gd name="T93" fmla="*/ 948 h 1628"/>
                  <a:gd name="T94" fmla="*/ 494 w 732"/>
                  <a:gd name="T95" fmla="*/ 934 h 1628"/>
                  <a:gd name="T96" fmla="*/ 554 w 732"/>
                  <a:gd name="T97" fmla="*/ 920 h 1628"/>
                  <a:gd name="T98" fmla="*/ 688 w 732"/>
                  <a:gd name="T99" fmla="*/ 847 h 1628"/>
                  <a:gd name="T100" fmla="*/ 667 w 732"/>
                  <a:gd name="T101" fmla="*/ 766 h 1628"/>
                  <a:gd name="T102" fmla="*/ 601 w 732"/>
                  <a:gd name="T103" fmla="*/ 696 h 1628"/>
                  <a:gd name="T104" fmla="*/ 570 w 732"/>
                  <a:gd name="T105" fmla="*/ 601 h 1628"/>
                  <a:gd name="T106" fmla="*/ 568 w 732"/>
                  <a:gd name="T107" fmla="*/ 536 h 1628"/>
                  <a:gd name="T108" fmla="*/ 587 w 732"/>
                  <a:gd name="T109" fmla="*/ 484 h 1628"/>
                  <a:gd name="T110" fmla="*/ 604 w 732"/>
                  <a:gd name="T111" fmla="*/ 419 h 1628"/>
                  <a:gd name="T112" fmla="*/ 619 w 732"/>
                  <a:gd name="T113" fmla="*/ 681 h 1628"/>
                  <a:gd name="T114" fmla="*/ 619 w 732"/>
                  <a:gd name="T115" fmla="*/ 681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2" h="1628">
                    <a:moveTo>
                      <a:pt x="634" y="355"/>
                    </a:moveTo>
                    <a:cubicBezTo>
                      <a:pt x="650" y="351"/>
                      <a:pt x="650" y="351"/>
                      <a:pt x="650" y="351"/>
                    </a:cubicBezTo>
                    <a:cubicBezTo>
                      <a:pt x="653" y="335"/>
                      <a:pt x="653" y="335"/>
                      <a:pt x="653" y="335"/>
                    </a:cubicBezTo>
                    <a:cubicBezTo>
                      <a:pt x="659" y="333"/>
                      <a:pt x="659" y="333"/>
                      <a:pt x="659" y="333"/>
                    </a:cubicBezTo>
                    <a:cubicBezTo>
                      <a:pt x="660" y="322"/>
                      <a:pt x="660" y="322"/>
                      <a:pt x="660" y="322"/>
                    </a:cubicBezTo>
                    <a:cubicBezTo>
                      <a:pt x="681" y="320"/>
                      <a:pt x="681" y="320"/>
                      <a:pt x="681" y="320"/>
                    </a:cubicBezTo>
                    <a:cubicBezTo>
                      <a:pt x="681" y="320"/>
                      <a:pt x="681" y="302"/>
                      <a:pt x="692" y="297"/>
                    </a:cubicBezTo>
                    <a:cubicBezTo>
                      <a:pt x="703" y="292"/>
                      <a:pt x="720" y="290"/>
                      <a:pt x="726" y="284"/>
                    </a:cubicBezTo>
                    <a:cubicBezTo>
                      <a:pt x="732" y="278"/>
                      <a:pt x="724" y="240"/>
                      <a:pt x="724" y="231"/>
                    </a:cubicBezTo>
                    <a:cubicBezTo>
                      <a:pt x="724" y="222"/>
                      <a:pt x="713" y="223"/>
                      <a:pt x="713" y="223"/>
                    </a:cubicBezTo>
                    <a:cubicBezTo>
                      <a:pt x="713" y="223"/>
                      <a:pt x="709" y="202"/>
                      <a:pt x="702" y="198"/>
                    </a:cubicBezTo>
                    <a:cubicBezTo>
                      <a:pt x="695" y="194"/>
                      <a:pt x="679" y="205"/>
                      <a:pt x="679" y="205"/>
                    </a:cubicBezTo>
                    <a:cubicBezTo>
                      <a:pt x="679" y="205"/>
                      <a:pt x="681" y="240"/>
                      <a:pt x="679" y="251"/>
                    </a:cubicBezTo>
                    <a:cubicBezTo>
                      <a:pt x="677" y="262"/>
                      <a:pt x="656" y="276"/>
                      <a:pt x="649" y="276"/>
                    </a:cubicBezTo>
                    <a:cubicBezTo>
                      <a:pt x="642" y="276"/>
                      <a:pt x="640" y="293"/>
                      <a:pt x="636" y="300"/>
                    </a:cubicBezTo>
                    <a:cubicBezTo>
                      <a:pt x="632" y="307"/>
                      <a:pt x="631" y="298"/>
                      <a:pt x="622" y="296"/>
                    </a:cubicBezTo>
                    <a:cubicBezTo>
                      <a:pt x="613" y="294"/>
                      <a:pt x="613" y="313"/>
                      <a:pt x="613" y="313"/>
                    </a:cubicBezTo>
                    <a:cubicBezTo>
                      <a:pt x="606" y="302"/>
                      <a:pt x="606" y="302"/>
                      <a:pt x="606" y="302"/>
                    </a:cubicBezTo>
                    <a:cubicBezTo>
                      <a:pt x="606" y="302"/>
                      <a:pt x="584" y="304"/>
                      <a:pt x="567" y="300"/>
                    </a:cubicBezTo>
                    <a:cubicBezTo>
                      <a:pt x="550" y="296"/>
                      <a:pt x="543" y="289"/>
                      <a:pt x="534" y="286"/>
                    </a:cubicBezTo>
                    <a:cubicBezTo>
                      <a:pt x="525" y="283"/>
                      <a:pt x="509" y="293"/>
                      <a:pt x="504" y="286"/>
                    </a:cubicBezTo>
                    <a:cubicBezTo>
                      <a:pt x="499" y="279"/>
                      <a:pt x="519" y="252"/>
                      <a:pt x="519" y="252"/>
                    </a:cubicBezTo>
                    <a:cubicBezTo>
                      <a:pt x="519" y="230"/>
                      <a:pt x="519" y="230"/>
                      <a:pt x="519" y="230"/>
                    </a:cubicBezTo>
                    <a:cubicBezTo>
                      <a:pt x="519" y="230"/>
                      <a:pt x="531" y="230"/>
                      <a:pt x="535" y="223"/>
                    </a:cubicBezTo>
                    <a:cubicBezTo>
                      <a:pt x="539" y="216"/>
                      <a:pt x="526" y="208"/>
                      <a:pt x="526" y="208"/>
                    </a:cubicBezTo>
                    <a:cubicBezTo>
                      <a:pt x="526" y="208"/>
                      <a:pt x="536" y="191"/>
                      <a:pt x="538" y="183"/>
                    </a:cubicBezTo>
                    <a:cubicBezTo>
                      <a:pt x="540" y="175"/>
                      <a:pt x="506" y="168"/>
                      <a:pt x="500" y="167"/>
                    </a:cubicBezTo>
                    <a:cubicBezTo>
                      <a:pt x="494" y="166"/>
                      <a:pt x="444" y="138"/>
                      <a:pt x="444" y="138"/>
                    </a:cubicBezTo>
                    <a:cubicBezTo>
                      <a:pt x="444" y="138"/>
                      <a:pt x="423" y="118"/>
                      <a:pt x="413" y="122"/>
                    </a:cubicBezTo>
                    <a:cubicBezTo>
                      <a:pt x="403" y="126"/>
                      <a:pt x="368" y="106"/>
                      <a:pt x="368" y="106"/>
                    </a:cubicBezTo>
                    <a:cubicBezTo>
                      <a:pt x="364" y="92"/>
                      <a:pt x="364" y="92"/>
                      <a:pt x="364" y="92"/>
                    </a:cubicBezTo>
                    <a:cubicBezTo>
                      <a:pt x="364" y="92"/>
                      <a:pt x="337" y="75"/>
                      <a:pt x="328" y="70"/>
                    </a:cubicBezTo>
                    <a:cubicBezTo>
                      <a:pt x="319" y="65"/>
                      <a:pt x="303" y="36"/>
                      <a:pt x="303" y="36"/>
                    </a:cubicBezTo>
                    <a:cubicBezTo>
                      <a:pt x="290" y="24"/>
                      <a:pt x="290" y="24"/>
                      <a:pt x="290" y="24"/>
                    </a:cubicBezTo>
                    <a:cubicBezTo>
                      <a:pt x="267" y="7"/>
                      <a:pt x="267" y="7"/>
                      <a:pt x="267" y="7"/>
                    </a:cubicBezTo>
                    <a:cubicBezTo>
                      <a:pt x="216" y="13"/>
                      <a:pt x="216" y="13"/>
                      <a:pt x="216" y="13"/>
                    </a:cubicBezTo>
                    <a:cubicBezTo>
                      <a:pt x="211" y="50"/>
                      <a:pt x="211" y="50"/>
                      <a:pt x="211" y="50"/>
                    </a:cubicBezTo>
                    <a:cubicBezTo>
                      <a:pt x="189" y="16"/>
                      <a:pt x="189" y="16"/>
                      <a:pt x="189" y="16"/>
                    </a:cubicBezTo>
                    <a:cubicBezTo>
                      <a:pt x="189" y="16"/>
                      <a:pt x="147" y="17"/>
                      <a:pt x="134" y="13"/>
                    </a:cubicBezTo>
                    <a:cubicBezTo>
                      <a:pt x="120" y="9"/>
                      <a:pt x="115" y="0"/>
                      <a:pt x="115" y="0"/>
                    </a:cubicBezTo>
                    <a:cubicBezTo>
                      <a:pt x="107" y="17"/>
                      <a:pt x="107" y="17"/>
                      <a:pt x="107" y="17"/>
                    </a:cubicBezTo>
                    <a:cubicBezTo>
                      <a:pt x="92" y="20"/>
                      <a:pt x="92" y="20"/>
                      <a:pt x="92" y="20"/>
                    </a:cubicBezTo>
                    <a:cubicBezTo>
                      <a:pt x="92" y="34"/>
                      <a:pt x="92" y="34"/>
                      <a:pt x="92" y="34"/>
                    </a:cubicBezTo>
                    <a:cubicBezTo>
                      <a:pt x="81" y="32"/>
                      <a:pt x="81" y="32"/>
                      <a:pt x="81" y="32"/>
                    </a:cubicBezTo>
                    <a:cubicBezTo>
                      <a:pt x="81" y="51"/>
                      <a:pt x="81" y="51"/>
                      <a:pt x="81" y="51"/>
                    </a:cubicBezTo>
                    <a:cubicBezTo>
                      <a:pt x="81" y="51"/>
                      <a:pt x="78" y="52"/>
                      <a:pt x="74" y="52"/>
                    </a:cubicBezTo>
                    <a:cubicBezTo>
                      <a:pt x="74" y="52"/>
                      <a:pt x="75" y="52"/>
                      <a:pt x="75" y="52"/>
                    </a:cubicBezTo>
                    <a:cubicBezTo>
                      <a:pt x="82" y="63"/>
                      <a:pt x="82" y="63"/>
                      <a:pt x="82" y="63"/>
                    </a:cubicBezTo>
                    <a:cubicBezTo>
                      <a:pt x="76" y="119"/>
                      <a:pt x="76" y="119"/>
                      <a:pt x="76" y="119"/>
                    </a:cubicBezTo>
                    <a:cubicBezTo>
                      <a:pt x="76" y="119"/>
                      <a:pt x="21" y="143"/>
                      <a:pt x="22" y="157"/>
                    </a:cubicBezTo>
                    <a:cubicBezTo>
                      <a:pt x="23" y="171"/>
                      <a:pt x="50" y="165"/>
                      <a:pt x="41" y="174"/>
                    </a:cubicBezTo>
                    <a:cubicBezTo>
                      <a:pt x="32" y="183"/>
                      <a:pt x="22" y="192"/>
                      <a:pt x="27" y="199"/>
                    </a:cubicBezTo>
                    <a:cubicBezTo>
                      <a:pt x="32" y="206"/>
                      <a:pt x="51" y="214"/>
                      <a:pt x="50" y="224"/>
                    </a:cubicBezTo>
                    <a:cubicBezTo>
                      <a:pt x="49" y="234"/>
                      <a:pt x="32" y="246"/>
                      <a:pt x="32" y="246"/>
                    </a:cubicBezTo>
                    <a:cubicBezTo>
                      <a:pt x="32" y="246"/>
                      <a:pt x="63" y="257"/>
                      <a:pt x="60" y="268"/>
                    </a:cubicBezTo>
                    <a:cubicBezTo>
                      <a:pt x="57" y="279"/>
                      <a:pt x="35" y="280"/>
                      <a:pt x="35" y="280"/>
                    </a:cubicBezTo>
                    <a:cubicBezTo>
                      <a:pt x="35" y="280"/>
                      <a:pt x="29" y="318"/>
                      <a:pt x="28" y="323"/>
                    </a:cubicBezTo>
                    <a:cubicBezTo>
                      <a:pt x="27" y="328"/>
                      <a:pt x="9" y="336"/>
                      <a:pt x="9" y="346"/>
                    </a:cubicBezTo>
                    <a:cubicBezTo>
                      <a:pt x="9" y="356"/>
                      <a:pt x="14" y="381"/>
                      <a:pt x="12" y="385"/>
                    </a:cubicBezTo>
                    <a:cubicBezTo>
                      <a:pt x="10" y="389"/>
                      <a:pt x="1" y="397"/>
                      <a:pt x="2" y="401"/>
                    </a:cubicBezTo>
                    <a:cubicBezTo>
                      <a:pt x="3" y="405"/>
                      <a:pt x="26" y="450"/>
                      <a:pt x="21" y="455"/>
                    </a:cubicBezTo>
                    <a:cubicBezTo>
                      <a:pt x="16" y="460"/>
                      <a:pt x="7" y="455"/>
                      <a:pt x="7" y="455"/>
                    </a:cubicBezTo>
                    <a:cubicBezTo>
                      <a:pt x="10" y="494"/>
                      <a:pt x="10" y="494"/>
                      <a:pt x="10" y="494"/>
                    </a:cubicBezTo>
                    <a:cubicBezTo>
                      <a:pt x="10" y="494"/>
                      <a:pt x="0" y="495"/>
                      <a:pt x="0" y="500"/>
                    </a:cubicBezTo>
                    <a:cubicBezTo>
                      <a:pt x="0" y="505"/>
                      <a:pt x="2" y="522"/>
                      <a:pt x="2" y="522"/>
                    </a:cubicBezTo>
                    <a:cubicBezTo>
                      <a:pt x="2" y="522"/>
                      <a:pt x="25" y="537"/>
                      <a:pt x="23" y="541"/>
                    </a:cubicBezTo>
                    <a:cubicBezTo>
                      <a:pt x="21" y="545"/>
                      <a:pt x="19" y="554"/>
                      <a:pt x="19" y="554"/>
                    </a:cubicBezTo>
                    <a:cubicBezTo>
                      <a:pt x="32" y="564"/>
                      <a:pt x="32" y="564"/>
                      <a:pt x="32" y="564"/>
                    </a:cubicBezTo>
                    <a:cubicBezTo>
                      <a:pt x="40" y="585"/>
                      <a:pt x="40" y="585"/>
                      <a:pt x="40" y="585"/>
                    </a:cubicBezTo>
                    <a:cubicBezTo>
                      <a:pt x="43" y="591"/>
                      <a:pt x="43" y="591"/>
                      <a:pt x="43" y="591"/>
                    </a:cubicBezTo>
                    <a:cubicBezTo>
                      <a:pt x="43" y="591"/>
                      <a:pt x="35" y="610"/>
                      <a:pt x="47" y="613"/>
                    </a:cubicBezTo>
                    <a:cubicBezTo>
                      <a:pt x="59" y="616"/>
                      <a:pt x="63" y="614"/>
                      <a:pt x="63" y="614"/>
                    </a:cubicBezTo>
                    <a:cubicBezTo>
                      <a:pt x="65" y="639"/>
                      <a:pt x="65" y="639"/>
                      <a:pt x="65" y="639"/>
                    </a:cubicBezTo>
                    <a:cubicBezTo>
                      <a:pt x="65" y="639"/>
                      <a:pt x="80" y="658"/>
                      <a:pt x="77" y="664"/>
                    </a:cubicBezTo>
                    <a:cubicBezTo>
                      <a:pt x="74" y="670"/>
                      <a:pt x="65" y="677"/>
                      <a:pt x="65" y="681"/>
                    </a:cubicBezTo>
                    <a:cubicBezTo>
                      <a:pt x="65" y="685"/>
                      <a:pt x="64" y="724"/>
                      <a:pt x="64" y="724"/>
                    </a:cubicBezTo>
                    <a:cubicBezTo>
                      <a:pt x="55" y="725"/>
                      <a:pt x="55" y="725"/>
                      <a:pt x="55" y="725"/>
                    </a:cubicBezTo>
                    <a:cubicBezTo>
                      <a:pt x="55" y="725"/>
                      <a:pt x="72" y="743"/>
                      <a:pt x="73" y="753"/>
                    </a:cubicBezTo>
                    <a:cubicBezTo>
                      <a:pt x="74" y="763"/>
                      <a:pt x="70" y="774"/>
                      <a:pt x="70" y="774"/>
                    </a:cubicBezTo>
                    <a:cubicBezTo>
                      <a:pt x="68" y="786"/>
                      <a:pt x="68" y="786"/>
                      <a:pt x="68" y="786"/>
                    </a:cubicBezTo>
                    <a:cubicBezTo>
                      <a:pt x="51" y="787"/>
                      <a:pt x="51" y="787"/>
                      <a:pt x="51" y="787"/>
                    </a:cubicBezTo>
                    <a:cubicBezTo>
                      <a:pt x="51" y="787"/>
                      <a:pt x="63" y="820"/>
                      <a:pt x="63" y="827"/>
                    </a:cubicBezTo>
                    <a:cubicBezTo>
                      <a:pt x="63" y="834"/>
                      <a:pt x="63" y="855"/>
                      <a:pt x="63" y="855"/>
                    </a:cubicBezTo>
                    <a:cubicBezTo>
                      <a:pt x="83" y="872"/>
                      <a:pt x="83" y="872"/>
                      <a:pt x="83" y="872"/>
                    </a:cubicBezTo>
                    <a:cubicBezTo>
                      <a:pt x="84" y="884"/>
                      <a:pt x="84" y="884"/>
                      <a:pt x="84" y="884"/>
                    </a:cubicBezTo>
                    <a:cubicBezTo>
                      <a:pt x="84" y="884"/>
                      <a:pt x="103" y="893"/>
                      <a:pt x="98" y="902"/>
                    </a:cubicBezTo>
                    <a:cubicBezTo>
                      <a:pt x="93" y="911"/>
                      <a:pt x="79" y="916"/>
                      <a:pt x="79" y="916"/>
                    </a:cubicBezTo>
                    <a:cubicBezTo>
                      <a:pt x="87" y="944"/>
                      <a:pt x="87" y="944"/>
                      <a:pt x="87" y="944"/>
                    </a:cubicBezTo>
                    <a:cubicBezTo>
                      <a:pt x="74" y="953"/>
                      <a:pt x="74" y="953"/>
                      <a:pt x="74" y="953"/>
                    </a:cubicBezTo>
                    <a:cubicBezTo>
                      <a:pt x="74" y="953"/>
                      <a:pt x="84" y="958"/>
                      <a:pt x="85" y="966"/>
                    </a:cubicBezTo>
                    <a:cubicBezTo>
                      <a:pt x="86" y="974"/>
                      <a:pt x="81" y="982"/>
                      <a:pt x="81" y="982"/>
                    </a:cubicBezTo>
                    <a:cubicBezTo>
                      <a:pt x="95" y="990"/>
                      <a:pt x="95" y="990"/>
                      <a:pt x="95" y="990"/>
                    </a:cubicBezTo>
                    <a:cubicBezTo>
                      <a:pt x="95" y="990"/>
                      <a:pt x="90" y="1008"/>
                      <a:pt x="91" y="1014"/>
                    </a:cubicBezTo>
                    <a:cubicBezTo>
                      <a:pt x="92" y="1020"/>
                      <a:pt x="99" y="1031"/>
                      <a:pt x="99" y="1031"/>
                    </a:cubicBezTo>
                    <a:cubicBezTo>
                      <a:pt x="99" y="1031"/>
                      <a:pt x="99" y="1050"/>
                      <a:pt x="102" y="1056"/>
                    </a:cubicBezTo>
                    <a:cubicBezTo>
                      <a:pt x="105" y="1062"/>
                      <a:pt x="134" y="1083"/>
                      <a:pt x="129" y="1082"/>
                    </a:cubicBezTo>
                    <a:cubicBezTo>
                      <a:pt x="124" y="1081"/>
                      <a:pt x="113" y="1090"/>
                      <a:pt x="113" y="1090"/>
                    </a:cubicBezTo>
                    <a:cubicBezTo>
                      <a:pt x="113" y="1090"/>
                      <a:pt x="118" y="1120"/>
                      <a:pt x="121" y="1128"/>
                    </a:cubicBezTo>
                    <a:cubicBezTo>
                      <a:pt x="124" y="1136"/>
                      <a:pt x="133" y="1140"/>
                      <a:pt x="133" y="1140"/>
                    </a:cubicBezTo>
                    <a:cubicBezTo>
                      <a:pt x="143" y="1145"/>
                      <a:pt x="143" y="1145"/>
                      <a:pt x="143" y="1145"/>
                    </a:cubicBezTo>
                    <a:cubicBezTo>
                      <a:pt x="139" y="1163"/>
                      <a:pt x="139" y="1163"/>
                      <a:pt x="139" y="1163"/>
                    </a:cubicBezTo>
                    <a:cubicBezTo>
                      <a:pt x="139" y="1163"/>
                      <a:pt x="155" y="1164"/>
                      <a:pt x="156" y="1175"/>
                    </a:cubicBezTo>
                    <a:cubicBezTo>
                      <a:pt x="157" y="1186"/>
                      <a:pt x="158" y="1203"/>
                      <a:pt x="158" y="1203"/>
                    </a:cubicBezTo>
                    <a:cubicBezTo>
                      <a:pt x="158" y="1203"/>
                      <a:pt x="163" y="1213"/>
                      <a:pt x="170" y="1213"/>
                    </a:cubicBezTo>
                    <a:cubicBezTo>
                      <a:pt x="177" y="1213"/>
                      <a:pt x="196" y="1208"/>
                      <a:pt x="194" y="1219"/>
                    </a:cubicBezTo>
                    <a:cubicBezTo>
                      <a:pt x="192" y="1230"/>
                      <a:pt x="160" y="1227"/>
                      <a:pt x="161" y="1230"/>
                    </a:cubicBezTo>
                    <a:cubicBezTo>
                      <a:pt x="162" y="1233"/>
                      <a:pt x="185" y="1240"/>
                      <a:pt x="185" y="1240"/>
                    </a:cubicBezTo>
                    <a:cubicBezTo>
                      <a:pt x="185" y="1240"/>
                      <a:pt x="208" y="1249"/>
                      <a:pt x="205" y="1257"/>
                    </a:cubicBezTo>
                    <a:cubicBezTo>
                      <a:pt x="202" y="1265"/>
                      <a:pt x="189" y="1276"/>
                      <a:pt x="189" y="1276"/>
                    </a:cubicBezTo>
                    <a:cubicBezTo>
                      <a:pt x="205" y="1288"/>
                      <a:pt x="205" y="1288"/>
                      <a:pt x="205" y="1288"/>
                    </a:cubicBezTo>
                    <a:cubicBezTo>
                      <a:pt x="202" y="1303"/>
                      <a:pt x="202" y="1303"/>
                      <a:pt x="202" y="1303"/>
                    </a:cubicBezTo>
                    <a:cubicBezTo>
                      <a:pt x="217" y="1321"/>
                      <a:pt x="217" y="1321"/>
                      <a:pt x="217" y="1321"/>
                    </a:cubicBezTo>
                    <a:cubicBezTo>
                      <a:pt x="214" y="1343"/>
                      <a:pt x="214" y="1343"/>
                      <a:pt x="214" y="1343"/>
                    </a:cubicBezTo>
                    <a:cubicBezTo>
                      <a:pt x="224" y="1360"/>
                      <a:pt x="224" y="1360"/>
                      <a:pt x="224" y="1360"/>
                    </a:cubicBezTo>
                    <a:cubicBezTo>
                      <a:pt x="213" y="1364"/>
                      <a:pt x="213" y="1364"/>
                      <a:pt x="213" y="1364"/>
                    </a:cubicBezTo>
                    <a:cubicBezTo>
                      <a:pt x="210" y="1394"/>
                      <a:pt x="210" y="1394"/>
                      <a:pt x="210" y="1394"/>
                    </a:cubicBezTo>
                    <a:cubicBezTo>
                      <a:pt x="210" y="1394"/>
                      <a:pt x="229" y="1405"/>
                      <a:pt x="230" y="1408"/>
                    </a:cubicBezTo>
                    <a:cubicBezTo>
                      <a:pt x="231" y="1411"/>
                      <a:pt x="215" y="1420"/>
                      <a:pt x="215" y="1420"/>
                    </a:cubicBezTo>
                    <a:cubicBezTo>
                      <a:pt x="215" y="1420"/>
                      <a:pt x="235" y="1435"/>
                      <a:pt x="232" y="1440"/>
                    </a:cubicBezTo>
                    <a:cubicBezTo>
                      <a:pt x="229" y="1445"/>
                      <a:pt x="214" y="1450"/>
                      <a:pt x="214" y="1450"/>
                    </a:cubicBezTo>
                    <a:cubicBezTo>
                      <a:pt x="213" y="1463"/>
                      <a:pt x="213" y="1463"/>
                      <a:pt x="213" y="1463"/>
                    </a:cubicBezTo>
                    <a:cubicBezTo>
                      <a:pt x="206" y="1467"/>
                      <a:pt x="206" y="1467"/>
                      <a:pt x="206" y="1467"/>
                    </a:cubicBezTo>
                    <a:cubicBezTo>
                      <a:pt x="206" y="1467"/>
                      <a:pt x="208" y="1483"/>
                      <a:pt x="213" y="1488"/>
                    </a:cubicBezTo>
                    <a:cubicBezTo>
                      <a:pt x="218" y="1493"/>
                      <a:pt x="216" y="1513"/>
                      <a:pt x="216" y="1513"/>
                    </a:cubicBezTo>
                    <a:cubicBezTo>
                      <a:pt x="236" y="1517"/>
                      <a:pt x="236" y="1517"/>
                      <a:pt x="236" y="1517"/>
                    </a:cubicBezTo>
                    <a:cubicBezTo>
                      <a:pt x="236" y="1517"/>
                      <a:pt x="240" y="1542"/>
                      <a:pt x="250" y="1542"/>
                    </a:cubicBezTo>
                    <a:cubicBezTo>
                      <a:pt x="260" y="1542"/>
                      <a:pt x="266" y="1524"/>
                      <a:pt x="281" y="1537"/>
                    </a:cubicBezTo>
                    <a:cubicBezTo>
                      <a:pt x="296" y="1550"/>
                      <a:pt x="290" y="1562"/>
                      <a:pt x="290" y="1562"/>
                    </a:cubicBezTo>
                    <a:cubicBezTo>
                      <a:pt x="304" y="1578"/>
                      <a:pt x="304" y="1578"/>
                      <a:pt x="304" y="1578"/>
                    </a:cubicBezTo>
                    <a:cubicBezTo>
                      <a:pt x="311" y="1589"/>
                      <a:pt x="311" y="1589"/>
                      <a:pt x="311" y="1589"/>
                    </a:cubicBezTo>
                    <a:cubicBezTo>
                      <a:pt x="335" y="1600"/>
                      <a:pt x="335" y="1600"/>
                      <a:pt x="335" y="1600"/>
                    </a:cubicBezTo>
                    <a:cubicBezTo>
                      <a:pt x="347" y="1612"/>
                      <a:pt x="347" y="1612"/>
                      <a:pt x="347" y="1612"/>
                    </a:cubicBezTo>
                    <a:cubicBezTo>
                      <a:pt x="347" y="1612"/>
                      <a:pt x="373" y="1605"/>
                      <a:pt x="389" y="1607"/>
                    </a:cubicBezTo>
                    <a:cubicBezTo>
                      <a:pt x="405" y="1609"/>
                      <a:pt x="425" y="1608"/>
                      <a:pt x="425" y="1608"/>
                    </a:cubicBezTo>
                    <a:cubicBezTo>
                      <a:pt x="440" y="1620"/>
                      <a:pt x="440" y="1620"/>
                      <a:pt x="440" y="1620"/>
                    </a:cubicBezTo>
                    <a:cubicBezTo>
                      <a:pt x="437" y="1628"/>
                      <a:pt x="437" y="1628"/>
                      <a:pt x="437" y="1628"/>
                    </a:cubicBezTo>
                    <a:cubicBezTo>
                      <a:pt x="442" y="1616"/>
                      <a:pt x="442" y="1616"/>
                      <a:pt x="442" y="1616"/>
                    </a:cubicBezTo>
                    <a:cubicBezTo>
                      <a:pt x="449" y="1606"/>
                      <a:pt x="478" y="1625"/>
                      <a:pt x="478" y="1625"/>
                    </a:cubicBezTo>
                    <a:cubicBezTo>
                      <a:pt x="451" y="1588"/>
                      <a:pt x="451" y="1588"/>
                      <a:pt x="451" y="1588"/>
                    </a:cubicBezTo>
                    <a:cubicBezTo>
                      <a:pt x="438" y="1589"/>
                      <a:pt x="438" y="1589"/>
                      <a:pt x="438" y="1589"/>
                    </a:cubicBezTo>
                    <a:cubicBezTo>
                      <a:pt x="441" y="1579"/>
                      <a:pt x="441" y="1579"/>
                      <a:pt x="441" y="1579"/>
                    </a:cubicBezTo>
                    <a:cubicBezTo>
                      <a:pt x="417" y="1562"/>
                      <a:pt x="417" y="1562"/>
                      <a:pt x="417" y="1562"/>
                    </a:cubicBezTo>
                    <a:cubicBezTo>
                      <a:pt x="418" y="1538"/>
                      <a:pt x="418" y="1538"/>
                      <a:pt x="418" y="1538"/>
                    </a:cubicBezTo>
                    <a:cubicBezTo>
                      <a:pt x="409" y="1534"/>
                      <a:pt x="409" y="1534"/>
                      <a:pt x="409" y="1534"/>
                    </a:cubicBezTo>
                    <a:cubicBezTo>
                      <a:pt x="414" y="1522"/>
                      <a:pt x="414" y="1522"/>
                      <a:pt x="414" y="1522"/>
                    </a:cubicBezTo>
                    <a:cubicBezTo>
                      <a:pt x="414" y="1522"/>
                      <a:pt x="423" y="1522"/>
                      <a:pt x="426" y="1514"/>
                    </a:cubicBezTo>
                    <a:cubicBezTo>
                      <a:pt x="430" y="1506"/>
                      <a:pt x="400" y="1506"/>
                      <a:pt x="400" y="1506"/>
                    </a:cubicBezTo>
                    <a:cubicBezTo>
                      <a:pt x="412" y="1501"/>
                      <a:pt x="412" y="1501"/>
                      <a:pt x="412" y="1501"/>
                    </a:cubicBezTo>
                    <a:cubicBezTo>
                      <a:pt x="408" y="1488"/>
                      <a:pt x="408" y="1488"/>
                      <a:pt x="408" y="1488"/>
                    </a:cubicBezTo>
                    <a:cubicBezTo>
                      <a:pt x="424" y="1505"/>
                      <a:pt x="424" y="1505"/>
                      <a:pt x="424" y="1505"/>
                    </a:cubicBezTo>
                    <a:cubicBezTo>
                      <a:pt x="424" y="1505"/>
                      <a:pt x="438" y="1515"/>
                      <a:pt x="448" y="1503"/>
                    </a:cubicBezTo>
                    <a:cubicBezTo>
                      <a:pt x="458" y="1491"/>
                      <a:pt x="440" y="1465"/>
                      <a:pt x="441" y="1451"/>
                    </a:cubicBezTo>
                    <a:cubicBezTo>
                      <a:pt x="442" y="1438"/>
                      <a:pt x="485" y="1409"/>
                      <a:pt x="488" y="1400"/>
                    </a:cubicBezTo>
                    <a:cubicBezTo>
                      <a:pt x="492" y="1391"/>
                      <a:pt x="467" y="1391"/>
                      <a:pt x="467" y="1391"/>
                    </a:cubicBezTo>
                    <a:cubicBezTo>
                      <a:pt x="483" y="1389"/>
                      <a:pt x="483" y="1389"/>
                      <a:pt x="483" y="1389"/>
                    </a:cubicBezTo>
                    <a:cubicBezTo>
                      <a:pt x="483" y="1389"/>
                      <a:pt x="484" y="1369"/>
                      <a:pt x="476" y="1359"/>
                    </a:cubicBezTo>
                    <a:cubicBezTo>
                      <a:pt x="468" y="1349"/>
                      <a:pt x="456" y="1354"/>
                      <a:pt x="456" y="1354"/>
                    </a:cubicBezTo>
                    <a:cubicBezTo>
                      <a:pt x="444" y="1345"/>
                      <a:pt x="444" y="1345"/>
                      <a:pt x="444" y="1345"/>
                    </a:cubicBezTo>
                    <a:cubicBezTo>
                      <a:pt x="431" y="1345"/>
                      <a:pt x="431" y="1345"/>
                      <a:pt x="431" y="1345"/>
                    </a:cubicBezTo>
                    <a:cubicBezTo>
                      <a:pt x="431" y="1345"/>
                      <a:pt x="391" y="1328"/>
                      <a:pt x="379" y="1301"/>
                    </a:cubicBezTo>
                    <a:cubicBezTo>
                      <a:pt x="366" y="1274"/>
                      <a:pt x="386" y="1269"/>
                      <a:pt x="386" y="1269"/>
                    </a:cubicBezTo>
                    <a:cubicBezTo>
                      <a:pt x="392" y="1252"/>
                      <a:pt x="392" y="1252"/>
                      <a:pt x="392" y="1252"/>
                    </a:cubicBezTo>
                    <a:cubicBezTo>
                      <a:pt x="401" y="1252"/>
                      <a:pt x="401" y="1252"/>
                      <a:pt x="401" y="1252"/>
                    </a:cubicBezTo>
                    <a:cubicBezTo>
                      <a:pt x="407" y="1240"/>
                      <a:pt x="407" y="1240"/>
                      <a:pt x="407" y="1240"/>
                    </a:cubicBezTo>
                    <a:cubicBezTo>
                      <a:pt x="443" y="1239"/>
                      <a:pt x="443" y="1239"/>
                      <a:pt x="443" y="1239"/>
                    </a:cubicBezTo>
                    <a:cubicBezTo>
                      <a:pt x="435" y="1232"/>
                      <a:pt x="435" y="1232"/>
                      <a:pt x="435" y="1232"/>
                    </a:cubicBezTo>
                    <a:cubicBezTo>
                      <a:pt x="434" y="1218"/>
                      <a:pt x="434" y="1218"/>
                      <a:pt x="434" y="1218"/>
                    </a:cubicBezTo>
                    <a:cubicBezTo>
                      <a:pt x="443" y="1217"/>
                      <a:pt x="443" y="1217"/>
                      <a:pt x="443" y="1217"/>
                    </a:cubicBezTo>
                    <a:cubicBezTo>
                      <a:pt x="443" y="1217"/>
                      <a:pt x="448" y="1198"/>
                      <a:pt x="440" y="1191"/>
                    </a:cubicBezTo>
                    <a:cubicBezTo>
                      <a:pt x="432" y="1184"/>
                      <a:pt x="423" y="1168"/>
                      <a:pt x="430" y="1152"/>
                    </a:cubicBezTo>
                    <a:cubicBezTo>
                      <a:pt x="436" y="1137"/>
                      <a:pt x="456" y="1137"/>
                      <a:pt x="456" y="1137"/>
                    </a:cubicBezTo>
                    <a:cubicBezTo>
                      <a:pt x="456" y="1130"/>
                      <a:pt x="456" y="1130"/>
                      <a:pt x="456" y="1130"/>
                    </a:cubicBezTo>
                    <a:cubicBezTo>
                      <a:pt x="456" y="1130"/>
                      <a:pt x="439" y="1130"/>
                      <a:pt x="431" y="1125"/>
                    </a:cubicBezTo>
                    <a:cubicBezTo>
                      <a:pt x="423" y="1121"/>
                      <a:pt x="432" y="1112"/>
                      <a:pt x="440" y="1111"/>
                    </a:cubicBezTo>
                    <a:cubicBezTo>
                      <a:pt x="448" y="1110"/>
                      <a:pt x="462" y="1127"/>
                      <a:pt x="469" y="1127"/>
                    </a:cubicBezTo>
                    <a:cubicBezTo>
                      <a:pt x="476" y="1127"/>
                      <a:pt x="485" y="1123"/>
                      <a:pt x="486" y="1113"/>
                    </a:cubicBezTo>
                    <a:cubicBezTo>
                      <a:pt x="487" y="1103"/>
                      <a:pt x="474" y="1080"/>
                      <a:pt x="461" y="1085"/>
                    </a:cubicBezTo>
                    <a:cubicBezTo>
                      <a:pt x="449" y="1089"/>
                      <a:pt x="468" y="1099"/>
                      <a:pt x="456" y="1105"/>
                    </a:cubicBezTo>
                    <a:cubicBezTo>
                      <a:pt x="443" y="1111"/>
                      <a:pt x="431" y="1094"/>
                      <a:pt x="431" y="1094"/>
                    </a:cubicBezTo>
                    <a:cubicBezTo>
                      <a:pt x="431" y="1094"/>
                      <a:pt x="407" y="1096"/>
                      <a:pt x="404" y="1089"/>
                    </a:cubicBezTo>
                    <a:cubicBezTo>
                      <a:pt x="400" y="1083"/>
                      <a:pt x="404" y="1055"/>
                      <a:pt x="404" y="1052"/>
                    </a:cubicBezTo>
                    <a:cubicBezTo>
                      <a:pt x="404" y="1049"/>
                      <a:pt x="387" y="1032"/>
                      <a:pt x="391" y="1017"/>
                    </a:cubicBezTo>
                    <a:cubicBezTo>
                      <a:pt x="396" y="1003"/>
                      <a:pt x="409" y="1019"/>
                      <a:pt x="424" y="1023"/>
                    </a:cubicBezTo>
                    <a:cubicBezTo>
                      <a:pt x="439" y="1026"/>
                      <a:pt x="456" y="1039"/>
                      <a:pt x="465" y="1039"/>
                    </a:cubicBezTo>
                    <a:cubicBezTo>
                      <a:pt x="474" y="1039"/>
                      <a:pt x="507" y="1021"/>
                      <a:pt x="515" y="1015"/>
                    </a:cubicBezTo>
                    <a:cubicBezTo>
                      <a:pt x="523" y="1009"/>
                      <a:pt x="490" y="991"/>
                      <a:pt x="490" y="991"/>
                    </a:cubicBezTo>
                    <a:cubicBezTo>
                      <a:pt x="489" y="975"/>
                      <a:pt x="489" y="975"/>
                      <a:pt x="489" y="975"/>
                    </a:cubicBezTo>
                    <a:cubicBezTo>
                      <a:pt x="489" y="975"/>
                      <a:pt x="498" y="959"/>
                      <a:pt x="501" y="948"/>
                    </a:cubicBezTo>
                    <a:cubicBezTo>
                      <a:pt x="503" y="938"/>
                      <a:pt x="480" y="938"/>
                      <a:pt x="480" y="938"/>
                    </a:cubicBezTo>
                    <a:cubicBezTo>
                      <a:pt x="478" y="924"/>
                      <a:pt x="478" y="924"/>
                      <a:pt x="478" y="924"/>
                    </a:cubicBezTo>
                    <a:cubicBezTo>
                      <a:pt x="478" y="924"/>
                      <a:pt x="470" y="915"/>
                      <a:pt x="477" y="907"/>
                    </a:cubicBezTo>
                    <a:cubicBezTo>
                      <a:pt x="484" y="899"/>
                      <a:pt x="494" y="934"/>
                      <a:pt x="494" y="934"/>
                    </a:cubicBezTo>
                    <a:cubicBezTo>
                      <a:pt x="502" y="933"/>
                      <a:pt x="502" y="933"/>
                      <a:pt x="502" y="933"/>
                    </a:cubicBezTo>
                    <a:cubicBezTo>
                      <a:pt x="497" y="919"/>
                      <a:pt x="497" y="919"/>
                      <a:pt x="497" y="919"/>
                    </a:cubicBezTo>
                    <a:cubicBezTo>
                      <a:pt x="551" y="926"/>
                      <a:pt x="551" y="926"/>
                      <a:pt x="551" y="926"/>
                    </a:cubicBezTo>
                    <a:cubicBezTo>
                      <a:pt x="554" y="920"/>
                      <a:pt x="554" y="920"/>
                      <a:pt x="554" y="920"/>
                    </a:cubicBezTo>
                    <a:cubicBezTo>
                      <a:pt x="554" y="920"/>
                      <a:pt x="567" y="912"/>
                      <a:pt x="595" y="909"/>
                    </a:cubicBezTo>
                    <a:cubicBezTo>
                      <a:pt x="624" y="906"/>
                      <a:pt x="676" y="881"/>
                      <a:pt x="676" y="881"/>
                    </a:cubicBezTo>
                    <a:cubicBezTo>
                      <a:pt x="673" y="855"/>
                      <a:pt x="673" y="855"/>
                      <a:pt x="673" y="855"/>
                    </a:cubicBezTo>
                    <a:cubicBezTo>
                      <a:pt x="688" y="847"/>
                      <a:pt x="688" y="847"/>
                      <a:pt x="688" y="847"/>
                    </a:cubicBezTo>
                    <a:cubicBezTo>
                      <a:pt x="696" y="814"/>
                      <a:pt x="696" y="814"/>
                      <a:pt x="696" y="814"/>
                    </a:cubicBezTo>
                    <a:cubicBezTo>
                      <a:pt x="689" y="797"/>
                      <a:pt x="689" y="797"/>
                      <a:pt x="689" y="797"/>
                    </a:cubicBezTo>
                    <a:cubicBezTo>
                      <a:pt x="689" y="779"/>
                      <a:pt x="689" y="779"/>
                      <a:pt x="689" y="779"/>
                    </a:cubicBezTo>
                    <a:cubicBezTo>
                      <a:pt x="689" y="779"/>
                      <a:pt x="678" y="770"/>
                      <a:pt x="667" y="766"/>
                    </a:cubicBezTo>
                    <a:cubicBezTo>
                      <a:pt x="661" y="764"/>
                      <a:pt x="654" y="769"/>
                      <a:pt x="649" y="765"/>
                    </a:cubicBezTo>
                    <a:cubicBezTo>
                      <a:pt x="641" y="759"/>
                      <a:pt x="655" y="753"/>
                      <a:pt x="658" y="748"/>
                    </a:cubicBezTo>
                    <a:cubicBezTo>
                      <a:pt x="662" y="741"/>
                      <a:pt x="657" y="735"/>
                      <a:pt x="657" y="727"/>
                    </a:cubicBezTo>
                    <a:cubicBezTo>
                      <a:pt x="657" y="712"/>
                      <a:pt x="624" y="707"/>
                      <a:pt x="601" y="696"/>
                    </a:cubicBezTo>
                    <a:cubicBezTo>
                      <a:pt x="578" y="685"/>
                      <a:pt x="578" y="674"/>
                      <a:pt x="588" y="660"/>
                    </a:cubicBezTo>
                    <a:cubicBezTo>
                      <a:pt x="589" y="659"/>
                      <a:pt x="589" y="658"/>
                      <a:pt x="590" y="658"/>
                    </a:cubicBezTo>
                    <a:cubicBezTo>
                      <a:pt x="570" y="633"/>
                      <a:pt x="570" y="633"/>
                      <a:pt x="570" y="633"/>
                    </a:cubicBezTo>
                    <a:cubicBezTo>
                      <a:pt x="570" y="601"/>
                      <a:pt x="570" y="601"/>
                      <a:pt x="570" y="601"/>
                    </a:cubicBezTo>
                    <a:cubicBezTo>
                      <a:pt x="570" y="601"/>
                      <a:pt x="593" y="600"/>
                      <a:pt x="594" y="595"/>
                    </a:cubicBezTo>
                    <a:cubicBezTo>
                      <a:pt x="595" y="590"/>
                      <a:pt x="575" y="567"/>
                      <a:pt x="575" y="567"/>
                    </a:cubicBezTo>
                    <a:cubicBezTo>
                      <a:pt x="582" y="557"/>
                      <a:pt x="582" y="557"/>
                      <a:pt x="582" y="557"/>
                    </a:cubicBezTo>
                    <a:cubicBezTo>
                      <a:pt x="582" y="557"/>
                      <a:pt x="569" y="545"/>
                      <a:pt x="568" y="536"/>
                    </a:cubicBezTo>
                    <a:cubicBezTo>
                      <a:pt x="567" y="527"/>
                      <a:pt x="586" y="528"/>
                      <a:pt x="586" y="528"/>
                    </a:cubicBezTo>
                    <a:cubicBezTo>
                      <a:pt x="569" y="518"/>
                      <a:pt x="569" y="518"/>
                      <a:pt x="569" y="518"/>
                    </a:cubicBezTo>
                    <a:cubicBezTo>
                      <a:pt x="569" y="491"/>
                      <a:pt x="569" y="491"/>
                      <a:pt x="569" y="491"/>
                    </a:cubicBezTo>
                    <a:cubicBezTo>
                      <a:pt x="587" y="484"/>
                      <a:pt x="587" y="484"/>
                      <a:pt x="587" y="484"/>
                    </a:cubicBezTo>
                    <a:cubicBezTo>
                      <a:pt x="587" y="484"/>
                      <a:pt x="566" y="471"/>
                      <a:pt x="566" y="467"/>
                    </a:cubicBezTo>
                    <a:cubicBezTo>
                      <a:pt x="566" y="463"/>
                      <a:pt x="580" y="452"/>
                      <a:pt x="580" y="452"/>
                    </a:cubicBezTo>
                    <a:cubicBezTo>
                      <a:pt x="580" y="452"/>
                      <a:pt x="584" y="435"/>
                      <a:pt x="584" y="429"/>
                    </a:cubicBezTo>
                    <a:cubicBezTo>
                      <a:pt x="584" y="423"/>
                      <a:pt x="599" y="424"/>
                      <a:pt x="604" y="419"/>
                    </a:cubicBezTo>
                    <a:cubicBezTo>
                      <a:pt x="609" y="414"/>
                      <a:pt x="612" y="399"/>
                      <a:pt x="612" y="396"/>
                    </a:cubicBezTo>
                    <a:cubicBezTo>
                      <a:pt x="612" y="393"/>
                      <a:pt x="621" y="388"/>
                      <a:pt x="626" y="383"/>
                    </a:cubicBezTo>
                    <a:cubicBezTo>
                      <a:pt x="631" y="378"/>
                      <a:pt x="634" y="355"/>
                      <a:pt x="634" y="355"/>
                    </a:cubicBezTo>
                    <a:close/>
                    <a:moveTo>
                      <a:pt x="619" y="681"/>
                    </a:moveTo>
                    <a:cubicBezTo>
                      <a:pt x="624" y="681"/>
                      <a:pt x="624" y="681"/>
                      <a:pt x="624" y="681"/>
                    </a:cubicBezTo>
                    <a:cubicBezTo>
                      <a:pt x="617" y="677"/>
                      <a:pt x="617" y="677"/>
                      <a:pt x="617" y="677"/>
                    </a:cubicBezTo>
                    <a:cubicBezTo>
                      <a:pt x="617" y="677"/>
                      <a:pt x="617" y="677"/>
                      <a:pt x="617" y="677"/>
                    </a:cubicBezTo>
                    <a:cubicBezTo>
                      <a:pt x="618" y="679"/>
                      <a:pt x="619" y="681"/>
                      <a:pt x="619" y="68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grpSp>
        <p:grpSp>
          <p:nvGrpSpPr>
            <p:cNvPr id="206" name="North America">
              <a:extLst>
                <a:ext uri="{FF2B5EF4-FFF2-40B4-BE49-F238E27FC236}">
                  <a16:creationId xmlns:a16="http://schemas.microsoft.com/office/drawing/2014/main" id="{906FCDA7-A075-4ADE-B983-A9D1ED807E15}"/>
                </a:ext>
              </a:extLst>
            </p:cNvPr>
            <p:cNvGrpSpPr>
              <a:grpSpLocks/>
            </p:cNvGrpSpPr>
            <p:nvPr/>
          </p:nvGrpSpPr>
          <p:grpSpPr bwMode="gray">
            <a:xfrm>
              <a:off x="806775" y="1397676"/>
              <a:ext cx="3746021" cy="2734911"/>
              <a:chOff x="1837292" y="1744659"/>
              <a:chExt cx="2911978" cy="2126267"/>
            </a:xfrm>
            <a:grpFill/>
          </p:grpSpPr>
          <p:sp>
            <p:nvSpPr>
              <p:cNvPr id="358" name="United States">
                <a:extLst>
                  <a:ext uri="{FF2B5EF4-FFF2-40B4-BE49-F238E27FC236}">
                    <a16:creationId xmlns:a16="http://schemas.microsoft.com/office/drawing/2014/main" id="{23BEF8AB-3A6C-4DCE-BE5C-07C83A33EA61}"/>
                  </a:ext>
                </a:extLst>
              </p:cNvPr>
              <p:cNvSpPr>
                <a:spLocks noEditPoints="1"/>
              </p:cNvSpPr>
              <p:nvPr/>
            </p:nvSpPr>
            <p:spPr bwMode="gray">
              <a:xfrm>
                <a:off x="2581957" y="2597547"/>
                <a:ext cx="1460754" cy="729912"/>
              </a:xfrm>
              <a:custGeom>
                <a:avLst/>
                <a:gdLst>
                  <a:gd name="T0" fmla="*/ 2480 w 2609"/>
                  <a:gd name="T1" fmla="*/ 201 h 1304"/>
                  <a:gd name="T2" fmla="*/ 2188 w 2609"/>
                  <a:gd name="T3" fmla="*/ 278 h 1304"/>
                  <a:gd name="T4" fmla="*/ 2132 w 2609"/>
                  <a:gd name="T5" fmla="*/ 324 h 1304"/>
                  <a:gd name="T6" fmla="*/ 2049 w 2609"/>
                  <a:gd name="T7" fmla="*/ 357 h 1304"/>
                  <a:gd name="T8" fmla="*/ 1824 w 2609"/>
                  <a:gd name="T9" fmla="*/ 413 h 1304"/>
                  <a:gd name="T10" fmla="*/ 1906 w 2609"/>
                  <a:gd name="T11" fmla="*/ 294 h 1304"/>
                  <a:gd name="T12" fmla="*/ 1888 w 2609"/>
                  <a:gd name="T13" fmla="*/ 211 h 1304"/>
                  <a:gd name="T14" fmla="*/ 1909 w 2609"/>
                  <a:gd name="T15" fmla="*/ 159 h 1304"/>
                  <a:gd name="T16" fmla="*/ 1821 w 2609"/>
                  <a:gd name="T17" fmla="*/ 151 h 1304"/>
                  <a:gd name="T18" fmla="*/ 1700 w 2609"/>
                  <a:gd name="T19" fmla="*/ 142 h 1304"/>
                  <a:gd name="T20" fmla="*/ 1667 w 2609"/>
                  <a:gd name="T21" fmla="*/ 101 h 1304"/>
                  <a:gd name="T22" fmla="*/ 1627 w 2609"/>
                  <a:gd name="T23" fmla="*/ 67 h 1304"/>
                  <a:gd name="T24" fmla="*/ 1510 w 2609"/>
                  <a:gd name="T25" fmla="*/ 35 h 1304"/>
                  <a:gd name="T26" fmla="*/ 292 w 2609"/>
                  <a:gd name="T27" fmla="*/ 130 h 1304"/>
                  <a:gd name="T28" fmla="*/ 255 w 2609"/>
                  <a:gd name="T29" fmla="*/ 78 h 1304"/>
                  <a:gd name="T30" fmla="*/ 250 w 2609"/>
                  <a:gd name="T31" fmla="*/ 177 h 1304"/>
                  <a:gd name="T32" fmla="*/ 66 w 2609"/>
                  <a:gd name="T33" fmla="*/ 387 h 1304"/>
                  <a:gd name="T34" fmla="*/ 29 w 2609"/>
                  <a:gd name="T35" fmla="*/ 605 h 1304"/>
                  <a:gd name="T36" fmla="*/ 20 w 2609"/>
                  <a:gd name="T37" fmla="*/ 688 h 1304"/>
                  <a:gd name="T38" fmla="*/ 108 w 2609"/>
                  <a:gd name="T39" fmla="*/ 822 h 1304"/>
                  <a:gd name="T40" fmla="*/ 380 w 2609"/>
                  <a:gd name="T41" fmla="*/ 973 h 1304"/>
                  <a:gd name="T42" fmla="*/ 625 w 2609"/>
                  <a:gd name="T43" fmla="*/ 975 h 1304"/>
                  <a:gd name="T44" fmla="*/ 756 w 2609"/>
                  <a:gd name="T45" fmla="*/ 1047 h 1304"/>
                  <a:gd name="T46" fmla="*/ 851 w 2609"/>
                  <a:gd name="T47" fmla="*/ 1169 h 1304"/>
                  <a:gd name="T48" fmla="*/ 914 w 2609"/>
                  <a:gd name="T49" fmla="*/ 1254 h 1304"/>
                  <a:gd name="T50" fmla="*/ 950 w 2609"/>
                  <a:gd name="T51" fmla="*/ 1180 h 1304"/>
                  <a:gd name="T52" fmla="*/ 999 w 2609"/>
                  <a:gd name="T53" fmla="*/ 1128 h 1304"/>
                  <a:gd name="T54" fmla="*/ 1143 w 2609"/>
                  <a:gd name="T55" fmla="*/ 1040 h 1304"/>
                  <a:gd name="T56" fmla="*/ 1288 w 2609"/>
                  <a:gd name="T57" fmla="*/ 1079 h 1304"/>
                  <a:gd name="T58" fmla="*/ 1354 w 2609"/>
                  <a:gd name="T59" fmla="*/ 1087 h 1304"/>
                  <a:gd name="T60" fmla="*/ 1365 w 2609"/>
                  <a:gd name="T61" fmla="*/ 1024 h 1304"/>
                  <a:gd name="T62" fmla="*/ 1487 w 2609"/>
                  <a:gd name="T63" fmla="*/ 1024 h 1304"/>
                  <a:gd name="T64" fmla="*/ 1616 w 2609"/>
                  <a:gd name="T65" fmla="*/ 1079 h 1304"/>
                  <a:gd name="T66" fmla="*/ 1634 w 2609"/>
                  <a:gd name="T67" fmla="*/ 1212 h 1304"/>
                  <a:gd name="T68" fmla="*/ 1681 w 2609"/>
                  <a:gd name="T69" fmla="*/ 1304 h 1304"/>
                  <a:gd name="T70" fmla="*/ 1730 w 2609"/>
                  <a:gd name="T71" fmla="*/ 1112 h 1304"/>
                  <a:gd name="T72" fmla="*/ 1780 w 2609"/>
                  <a:gd name="T73" fmla="*/ 919 h 1304"/>
                  <a:gd name="T74" fmla="*/ 1864 w 2609"/>
                  <a:gd name="T75" fmla="*/ 859 h 1304"/>
                  <a:gd name="T76" fmla="*/ 2013 w 2609"/>
                  <a:gd name="T77" fmla="*/ 773 h 1304"/>
                  <a:gd name="T78" fmla="*/ 2015 w 2609"/>
                  <a:gd name="T79" fmla="*/ 726 h 1304"/>
                  <a:gd name="T80" fmla="*/ 2016 w 2609"/>
                  <a:gd name="T81" fmla="*/ 647 h 1304"/>
                  <a:gd name="T82" fmla="*/ 2025 w 2609"/>
                  <a:gd name="T83" fmla="*/ 586 h 1304"/>
                  <a:gd name="T84" fmla="*/ 2077 w 2609"/>
                  <a:gd name="T85" fmla="*/ 596 h 1304"/>
                  <a:gd name="T86" fmla="*/ 2136 w 2609"/>
                  <a:gd name="T87" fmla="*/ 513 h 1304"/>
                  <a:gd name="T88" fmla="*/ 2240 w 2609"/>
                  <a:gd name="T89" fmla="*/ 475 h 1304"/>
                  <a:gd name="T90" fmla="*/ 2355 w 2609"/>
                  <a:gd name="T91" fmla="*/ 411 h 1304"/>
                  <a:gd name="T92" fmla="*/ 2409 w 2609"/>
                  <a:gd name="T93" fmla="*/ 388 h 1304"/>
                  <a:gd name="T94" fmla="*/ 2423 w 2609"/>
                  <a:gd name="T95" fmla="*/ 324 h 1304"/>
                  <a:gd name="T96" fmla="*/ 2556 w 2609"/>
                  <a:gd name="T97" fmla="*/ 260 h 1304"/>
                  <a:gd name="T98" fmla="*/ 2582 w 2609"/>
                  <a:gd name="T99" fmla="*/ 202 h 1304"/>
                  <a:gd name="T100" fmla="*/ 1784 w 2609"/>
                  <a:gd name="T101" fmla="*/ 255 h 1304"/>
                  <a:gd name="T102" fmla="*/ 1734 w 2609"/>
                  <a:gd name="T103" fmla="*/ 342 h 1304"/>
                  <a:gd name="T104" fmla="*/ 1687 w 2609"/>
                  <a:gd name="T105" fmla="*/ 307 h 1304"/>
                  <a:gd name="T106" fmla="*/ 1772 w 2609"/>
                  <a:gd name="T107" fmla="*/ 194 h 1304"/>
                  <a:gd name="T108" fmla="*/ 1862 w 2609"/>
                  <a:gd name="T109" fmla="*/ 199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09" h="1304">
                    <a:moveTo>
                      <a:pt x="2570" y="119"/>
                    </a:moveTo>
                    <a:cubicBezTo>
                      <a:pt x="2558" y="119"/>
                      <a:pt x="2567" y="110"/>
                      <a:pt x="2554" y="110"/>
                    </a:cubicBezTo>
                    <a:cubicBezTo>
                      <a:pt x="2541" y="110"/>
                      <a:pt x="2530" y="131"/>
                      <a:pt x="2530" y="131"/>
                    </a:cubicBezTo>
                    <a:cubicBezTo>
                      <a:pt x="2503" y="150"/>
                      <a:pt x="2503" y="150"/>
                      <a:pt x="2503" y="150"/>
                    </a:cubicBezTo>
                    <a:cubicBezTo>
                      <a:pt x="2503" y="164"/>
                      <a:pt x="2503" y="164"/>
                      <a:pt x="2503" y="164"/>
                    </a:cubicBezTo>
                    <a:cubicBezTo>
                      <a:pt x="2503" y="164"/>
                      <a:pt x="2495" y="172"/>
                      <a:pt x="2489" y="172"/>
                    </a:cubicBezTo>
                    <a:cubicBezTo>
                      <a:pt x="2483" y="172"/>
                      <a:pt x="2480" y="194"/>
                      <a:pt x="2480" y="201"/>
                    </a:cubicBezTo>
                    <a:cubicBezTo>
                      <a:pt x="2480" y="208"/>
                      <a:pt x="2473" y="201"/>
                      <a:pt x="2463" y="201"/>
                    </a:cubicBezTo>
                    <a:cubicBezTo>
                      <a:pt x="2454" y="201"/>
                      <a:pt x="2443" y="222"/>
                      <a:pt x="2443" y="222"/>
                    </a:cubicBezTo>
                    <a:cubicBezTo>
                      <a:pt x="2443" y="222"/>
                      <a:pt x="2435" y="223"/>
                      <a:pt x="2423" y="223"/>
                    </a:cubicBezTo>
                    <a:cubicBezTo>
                      <a:pt x="2411" y="223"/>
                      <a:pt x="2411" y="238"/>
                      <a:pt x="2411" y="238"/>
                    </a:cubicBezTo>
                    <a:cubicBezTo>
                      <a:pt x="2411" y="238"/>
                      <a:pt x="2280" y="238"/>
                      <a:pt x="2263" y="238"/>
                    </a:cubicBezTo>
                    <a:cubicBezTo>
                      <a:pt x="2246" y="238"/>
                      <a:pt x="2212" y="276"/>
                      <a:pt x="2204" y="276"/>
                    </a:cubicBezTo>
                    <a:cubicBezTo>
                      <a:pt x="2196" y="276"/>
                      <a:pt x="2194" y="278"/>
                      <a:pt x="2188" y="278"/>
                    </a:cubicBezTo>
                    <a:cubicBezTo>
                      <a:pt x="2187" y="278"/>
                      <a:pt x="2185" y="279"/>
                      <a:pt x="2183" y="280"/>
                    </a:cubicBezTo>
                    <a:cubicBezTo>
                      <a:pt x="2188" y="285"/>
                      <a:pt x="2189" y="291"/>
                      <a:pt x="2189" y="291"/>
                    </a:cubicBezTo>
                    <a:cubicBezTo>
                      <a:pt x="2189" y="291"/>
                      <a:pt x="2188" y="299"/>
                      <a:pt x="2181" y="305"/>
                    </a:cubicBezTo>
                    <a:cubicBezTo>
                      <a:pt x="2174" y="311"/>
                      <a:pt x="2174" y="321"/>
                      <a:pt x="2174" y="321"/>
                    </a:cubicBezTo>
                    <a:cubicBezTo>
                      <a:pt x="2162" y="320"/>
                      <a:pt x="2162" y="320"/>
                      <a:pt x="2162" y="320"/>
                    </a:cubicBezTo>
                    <a:cubicBezTo>
                      <a:pt x="2162" y="320"/>
                      <a:pt x="2162" y="324"/>
                      <a:pt x="2150" y="329"/>
                    </a:cubicBezTo>
                    <a:cubicBezTo>
                      <a:pt x="2138" y="334"/>
                      <a:pt x="2132" y="324"/>
                      <a:pt x="2132" y="324"/>
                    </a:cubicBezTo>
                    <a:cubicBezTo>
                      <a:pt x="2132" y="324"/>
                      <a:pt x="2127" y="332"/>
                      <a:pt x="2114" y="333"/>
                    </a:cubicBezTo>
                    <a:cubicBezTo>
                      <a:pt x="2101" y="334"/>
                      <a:pt x="2097" y="324"/>
                      <a:pt x="2088" y="323"/>
                    </a:cubicBezTo>
                    <a:cubicBezTo>
                      <a:pt x="2079" y="322"/>
                      <a:pt x="2072" y="330"/>
                      <a:pt x="2051" y="335"/>
                    </a:cubicBezTo>
                    <a:cubicBezTo>
                      <a:pt x="2050" y="335"/>
                      <a:pt x="2048" y="336"/>
                      <a:pt x="2047" y="336"/>
                    </a:cubicBezTo>
                    <a:cubicBezTo>
                      <a:pt x="2048" y="340"/>
                      <a:pt x="2048" y="344"/>
                      <a:pt x="2046" y="350"/>
                    </a:cubicBezTo>
                    <a:cubicBezTo>
                      <a:pt x="2045" y="352"/>
                      <a:pt x="2043" y="354"/>
                      <a:pt x="2040" y="357"/>
                    </a:cubicBezTo>
                    <a:cubicBezTo>
                      <a:pt x="2049" y="357"/>
                      <a:pt x="2049" y="357"/>
                      <a:pt x="2049" y="357"/>
                    </a:cubicBezTo>
                    <a:cubicBezTo>
                      <a:pt x="2049" y="357"/>
                      <a:pt x="1969" y="398"/>
                      <a:pt x="1961" y="401"/>
                    </a:cubicBezTo>
                    <a:cubicBezTo>
                      <a:pt x="1953" y="404"/>
                      <a:pt x="1945" y="407"/>
                      <a:pt x="1925" y="412"/>
                    </a:cubicBezTo>
                    <a:cubicBezTo>
                      <a:pt x="1905" y="417"/>
                      <a:pt x="1897" y="423"/>
                      <a:pt x="1890" y="426"/>
                    </a:cubicBezTo>
                    <a:cubicBezTo>
                      <a:pt x="1883" y="429"/>
                      <a:pt x="1871" y="427"/>
                      <a:pt x="1871" y="427"/>
                    </a:cubicBezTo>
                    <a:cubicBezTo>
                      <a:pt x="1871" y="427"/>
                      <a:pt x="1871" y="432"/>
                      <a:pt x="1859" y="433"/>
                    </a:cubicBezTo>
                    <a:cubicBezTo>
                      <a:pt x="1847" y="434"/>
                      <a:pt x="1846" y="423"/>
                      <a:pt x="1846" y="423"/>
                    </a:cubicBezTo>
                    <a:cubicBezTo>
                      <a:pt x="1846" y="423"/>
                      <a:pt x="1824" y="420"/>
                      <a:pt x="1824" y="413"/>
                    </a:cubicBezTo>
                    <a:cubicBezTo>
                      <a:pt x="1824" y="413"/>
                      <a:pt x="1837" y="407"/>
                      <a:pt x="1848" y="402"/>
                    </a:cubicBezTo>
                    <a:cubicBezTo>
                      <a:pt x="1847" y="401"/>
                      <a:pt x="1847" y="400"/>
                      <a:pt x="1846" y="400"/>
                    </a:cubicBezTo>
                    <a:cubicBezTo>
                      <a:pt x="1836" y="390"/>
                      <a:pt x="1881" y="368"/>
                      <a:pt x="1889" y="368"/>
                    </a:cubicBezTo>
                    <a:cubicBezTo>
                      <a:pt x="1897" y="368"/>
                      <a:pt x="1895" y="347"/>
                      <a:pt x="1895" y="347"/>
                    </a:cubicBezTo>
                    <a:cubicBezTo>
                      <a:pt x="1895" y="347"/>
                      <a:pt x="1898" y="343"/>
                      <a:pt x="1902" y="338"/>
                    </a:cubicBezTo>
                    <a:cubicBezTo>
                      <a:pt x="1902" y="337"/>
                      <a:pt x="1901" y="337"/>
                      <a:pt x="1901" y="337"/>
                    </a:cubicBezTo>
                    <a:cubicBezTo>
                      <a:pt x="1895" y="331"/>
                      <a:pt x="1908" y="302"/>
                      <a:pt x="1906" y="294"/>
                    </a:cubicBezTo>
                    <a:cubicBezTo>
                      <a:pt x="1904" y="286"/>
                      <a:pt x="1890" y="293"/>
                      <a:pt x="1884" y="298"/>
                    </a:cubicBezTo>
                    <a:cubicBezTo>
                      <a:pt x="1878" y="303"/>
                      <a:pt x="1850" y="321"/>
                      <a:pt x="1848" y="308"/>
                    </a:cubicBezTo>
                    <a:cubicBezTo>
                      <a:pt x="1847" y="302"/>
                      <a:pt x="1871" y="288"/>
                      <a:pt x="1874" y="283"/>
                    </a:cubicBezTo>
                    <a:cubicBezTo>
                      <a:pt x="1877" y="278"/>
                      <a:pt x="1888" y="275"/>
                      <a:pt x="1897" y="269"/>
                    </a:cubicBezTo>
                    <a:cubicBezTo>
                      <a:pt x="1906" y="263"/>
                      <a:pt x="1898" y="240"/>
                      <a:pt x="1898" y="240"/>
                    </a:cubicBezTo>
                    <a:cubicBezTo>
                      <a:pt x="1898" y="240"/>
                      <a:pt x="1901" y="245"/>
                      <a:pt x="1909" y="228"/>
                    </a:cubicBezTo>
                    <a:cubicBezTo>
                      <a:pt x="1917" y="211"/>
                      <a:pt x="1897" y="218"/>
                      <a:pt x="1888" y="211"/>
                    </a:cubicBezTo>
                    <a:cubicBezTo>
                      <a:pt x="1879" y="204"/>
                      <a:pt x="1879" y="198"/>
                      <a:pt x="1879" y="198"/>
                    </a:cubicBezTo>
                    <a:cubicBezTo>
                      <a:pt x="1879" y="198"/>
                      <a:pt x="1876" y="205"/>
                      <a:pt x="1871" y="200"/>
                    </a:cubicBezTo>
                    <a:cubicBezTo>
                      <a:pt x="1866" y="195"/>
                      <a:pt x="1872" y="185"/>
                      <a:pt x="1872" y="185"/>
                    </a:cubicBezTo>
                    <a:cubicBezTo>
                      <a:pt x="1896" y="189"/>
                      <a:pt x="1896" y="189"/>
                      <a:pt x="1896" y="189"/>
                    </a:cubicBezTo>
                    <a:cubicBezTo>
                      <a:pt x="1896" y="189"/>
                      <a:pt x="1900" y="186"/>
                      <a:pt x="1897" y="178"/>
                    </a:cubicBezTo>
                    <a:cubicBezTo>
                      <a:pt x="1896" y="174"/>
                      <a:pt x="1900" y="174"/>
                      <a:pt x="1905" y="174"/>
                    </a:cubicBezTo>
                    <a:cubicBezTo>
                      <a:pt x="1909" y="159"/>
                      <a:pt x="1909" y="159"/>
                      <a:pt x="1909" y="159"/>
                    </a:cubicBezTo>
                    <a:cubicBezTo>
                      <a:pt x="1896" y="159"/>
                      <a:pt x="1896" y="159"/>
                      <a:pt x="1896" y="159"/>
                    </a:cubicBezTo>
                    <a:cubicBezTo>
                      <a:pt x="1894" y="167"/>
                      <a:pt x="1894" y="167"/>
                      <a:pt x="1894" y="167"/>
                    </a:cubicBezTo>
                    <a:cubicBezTo>
                      <a:pt x="1878" y="161"/>
                      <a:pt x="1878" y="161"/>
                      <a:pt x="1878" y="161"/>
                    </a:cubicBezTo>
                    <a:cubicBezTo>
                      <a:pt x="1877" y="147"/>
                      <a:pt x="1877" y="147"/>
                      <a:pt x="1877" y="147"/>
                    </a:cubicBezTo>
                    <a:cubicBezTo>
                      <a:pt x="1868" y="149"/>
                      <a:pt x="1868" y="149"/>
                      <a:pt x="1868" y="149"/>
                    </a:cubicBezTo>
                    <a:cubicBezTo>
                      <a:pt x="1857" y="154"/>
                      <a:pt x="1857" y="154"/>
                      <a:pt x="1857" y="154"/>
                    </a:cubicBezTo>
                    <a:cubicBezTo>
                      <a:pt x="1821" y="151"/>
                      <a:pt x="1821" y="151"/>
                      <a:pt x="1821" y="151"/>
                    </a:cubicBezTo>
                    <a:cubicBezTo>
                      <a:pt x="1821" y="151"/>
                      <a:pt x="1808" y="162"/>
                      <a:pt x="1787" y="160"/>
                    </a:cubicBezTo>
                    <a:cubicBezTo>
                      <a:pt x="1766" y="158"/>
                      <a:pt x="1771" y="144"/>
                      <a:pt x="1767" y="139"/>
                    </a:cubicBezTo>
                    <a:cubicBezTo>
                      <a:pt x="1763" y="134"/>
                      <a:pt x="1743" y="145"/>
                      <a:pt x="1740" y="136"/>
                    </a:cubicBezTo>
                    <a:cubicBezTo>
                      <a:pt x="1777" y="115"/>
                      <a:pt x="1777" y="115"/>
                      <a:pt x="1777" y="115"/>
                    </a:cubicBezTo>
                    <a:cubicBezTo>
                      <a:pt x="1777" y="115"/>
                      <a:pt x="1772" y="110"/>
                      <a:pt x="1765" y="110"/>
                    </a:cubicBezTo>
                    <a:cubicBezTo>
                      <a:pt x="1758" y="110"/>
                      <a:pt x="1744" y="122"/>
                      <a:pt x="1740" y="123"/>
                    </a:cubicBezTo>
                    <a:cubicBezTo>
                      <a:pt x="1736" y="124"/>
                      <a:pt x="1714" y="137"/>
                      <a:pt x="1700" y="142"/>
                    </a:cubicBezTo>
                    <a:cubicBezTo>
                      <a:pt x="1686" y="147"/>
                      <a:pt x="1670" y="144"/>
                      <a:pt x="1670" y="144"/>
                    </a:cubicBezTo>
                    <a:cubicBezTo>
                      <a:pt x="1664" y="153"/>
                      <a:pt x="1664" y="153"/>
                      <a:pt x="1664" y="153"/>
                    </a:cubicBezTo>
                    <a:cubicBezTo>
                      <a:pt x="1664" y="153"/>
                      <a:pt x="1640" y="155"/>
                      <a:pt x="1631" y="154"/>
                    </a:cubicBezTo>
                    <a:cubicBezTo>
                      <a:pt x="1622" y="153"/>
                      <a:pt x="1646" y="136"/>
                      <a:pt x="1646" y="136"/>
                    </a:cubicBezTo>
                    <a:cubicBezTo>
                      <a:pt x="1646" y="136"/>
                      <a:pt x="1636" y="140"/>
                      <a:pt x="1617" y="141"/>
                    </a:cubicBezTo>
                    <a:cubicBezTo>
                      <a:pt x="1598" y="142"/>
                      <a:pt x="1596" y="154"/>
                      <a:pt x="1579" y="148"/>
                    </a:cubicBezTo>
                    <a:cubicBezTo>
                      <a:pt x="1562" y="142"/>
                      <a:pt x="1655" y="109"/>
                      <a:pt x="1667" y="101"/>
                    </a:cubicBezTo>
                    <a:cubicBezTo>
                      <a:pt x="1679" y="93"/>
                      <a:pt x="1694" y="90"/>
                      <a:pt x="1713" y="86"/>
                    </a:cubicBezTo>
                    <a:cubicBezTo>
                      <a:pt x="1718" y="85"/>
                      <a:pt x="1722" y="83"/>
                      <a:pt x="1726" y="80"/>
                    </a:cubicBezTo>
                    <a:cubicBezTo>
                      <a:pt x="1698" y="80"/>
                      <a:pt x="1701" y="74"/>
                      <a:pt x="1701" y="74"/>
                    </a:cubicBezTo>
                    <a:cubicBezTo>
                      <a:pt x="1671" y="75"/>
                      <a:pt x="1671" y="75"/>
                      <a:pt x="1671" y="75"/>
                    </a:cubicBezTo>
                    <a:cubicBezTo>
                      <a:pt x="1671" y="65"/>
                      <a:pt x="1671" y="65"/>
                      <a:pt x="1671" y="65"/>
                    </a:cubicBezTo>
                    <a:cubicBezTo>
                      <a:pt x="1671" y="65"/>
                      <a:pt x="1655" y="76"/>
                      <a:pt x="1649" y="82"/>
                    </a:cubicBezTo>
                    <a:cubicBezTo>
                      <a:pt x="1643" y="88"/>
                      <a:pt x="1630" y="64"/>
                      <a:pt x="1627" y="67"/>
                    </a:cubicBezTo>
                    <a:cubicBezTo>
                      <a:pt x="1624" y="70"/>
                      <a:pt x="1617" y="67"/>
                      <a:pt x="1611" y="67"/>
                    </a:cubicBezTo>
                    <a:cubicBezTo>
                      <a:pt x="1605" y="67"/>
                      <a:pt x="1602" y="47"/>
                      <a:pt x="1589" y="47"/>
                    </a:cubicBezTo>
                    <a:cubicBezTo>
                      <a:pt x="1576" y="47"/>
                      <a:pt x="1578" y="59"/>
                      <a:pt x="1570" y="59"/>
                    </a:cubicBezTo>
                    <a:cubicBezTo>
                      <a:pt x="1562" y="59"/>
                      <a:pt x="1555" y="49"/>
                      <a:pt x="1555" y="49"/>
                    </a:cubicBezTo>
                    <a:cubicBezTo>
                      <a:pt x="1555" y="49"/>
                      <a:pt x="1536" y="48"/>
                      <a:pt x="1528" y="40"/>
                    </a:cubicBezTo>
                    <a:cubicBezTo>
                      <a:pt x="1519" y="31"/>
                      <a:pt x="1544" y="21"/>
                      <a:pt x="1534" y="11"/>
                    </a:cubicBezTo>
                    <a:cubicBezTo>
                      <a:pt x="1524" y="0"/>
                      <a:pt x="1510" y="35"/>
                      <a:pt x="1510" y="35"/>
                    </a:cubicBezTo>
                    <a:cubicBezTo>
                      <a:pt x="368" y="35"/>
                      <a:pt x="368" y="35"/>
                      <a:pt x="368" y="35"/>
                    </a:cubicBezTo>
                    <a:cubicBezTo>
                      <a:pt x="367" y="42"/>
                      <a:pt x="365" y="48"/>
                      <a:pt x="364" y="50"/>
                    </a:cubicBezTo>
                    <a:cubicBezTo>
                      <a:pt x="360" y="56"/>
                      <a:pt x="359" y="80"/>
                      <a:pt x="359" y="80"/>
                    </a:cubicBezTo>
                    <a:cubicBezTo>
                      <a:pt x="337" y="92"/>
                      <a:pt x="337" y="92"/>
                      <a:pt x="337" y="92"/>
                    </a:cubicBezTo>
                    <a:cubicBezTo>
                      <a:pt x="335" y="104"/>
                      <a:pt x="335" y="104"/>
                      <a:pt x="335" y="104"/>
                    </a:cubicBezTo>
                    <a:cubicBezTo>
                      <a:pt x="324" y="119"/>
                      <a:pt x="324" y="119"/>
                      <a:pt x="324" y="119"/>
                    </a:cubicBezTo>
                    <a:cubicBezTo>
                      <a:pt x="292" y="130"/>
                      <a:pt x="292" y="130"/>
                      <a:pt x="292" y="130"/>
                    </a:cubicBezTo>
                    <a:cubicBezTo>
                      <a:pt x="315" y="117"/>
                      <a:pt x="315" y="117"/>
                      <a:pt x="315" y="117"/>
                    </a:cubicBezTo>
                    <a:cubicBezTo>
                      <a:pt x="300" y="115"/>
                      <a:pt x="300" y="115"/>
                      <a:pt x="300" y="115"/>
                    </a:cubicBezTo>
                    <a:cubicBezTo>
                      <a:pt x="300" y="115"/>
                      <a:pt x="314" y="95"/>
                      <a:pt x="318" y="92"/>
                    </a:cubicBezTo>
                    <a:cubicBezTo>
                      <a:pt x="322" y="89"/>
                      <a:pt x="342" y="75"/>
                      <a:pt x="332" y="75"/>
                    </a:cubicBezTo>
                    <a:cubicBezTo>
                      <a:pt x="322" y="75"/>
                      <a:pt x="313" y="77"/>
                      <a:pt x="303" y="76"/>
                    </a:cubicBezTo>
                    <a:cubicBezTo>
                      <a:pt x="293" y="75"/>
                      <a:pt x="284" y="57"/>
                      <a:pt x="275" y="61"/>
                    </a:cubicBezTo>
                    <a:cubicBezTo>
                      <a:pt x="266" y="65"/>
                      <a:pt x="257" y="57"/>
                      <a:pt x="255" y="78"/>
                    </a:cubicBezTo>
                    <a:cubicBezTo>
                      <a:pt x="253" y="99"/>
                      <a:pt x="255" y="111"/>
                      <a:pt x="252" y="113"/>
                    </a:cubicBezTo>
                    <a:cubicBezTo>
                      <a:pt x="249" y="115"/>
                      <a:pt x="239" y="130"/>
                      <a:pt x="239" y="130"/>
                    </a:cubicBezTo>
                    <a:cubicBezTo>
                      <a:pt x="257" y="134"/>
                      <a:pt x="257" y="134"/>
                      <a:pt x="257" y="134"/>
                    </a:cubicBezTo>
                    <a:cubicBezTo>
                      <a:pt x="238" y="137"/>
                      <a:pt x="238" y="137"/>
                      <a:pt x="238" y="137"/>
                    </a:cubicBezTo>
                    <a:cubicBezTo>
                      <a:pt x="241" y="148"/>
                      <a:pt x="241" y="148"/>
                      <a:pt x="241" y="148"/>
                    </a:cubicBezTo>
                    <a:cubicBezTo>
                      <a:pt x="230" y="165"/>
                      <a:pt x="230" y="165"/>
                      <a:pt x="230" y="165"/>
                    </a:cubicBezTo>
                    <a:cubicBezTo>
                      <a:pt x="230" y="165"/>
                      <a:pt x="251" y="173"/>
                      <a:pt x="250" y="177"/>
                    </a:cubicBezTo>
                    <a:cubicBezTo>
                      <a:pt x="249" y="181"/>
                      <a:pt x="218" y="175"/>
                      <a:pt x="218" y="175"/>
                    </a:cubicBezTo>
                    <a:cubicBezTo>
                      <a:pt x="218" y="175"/>
                      <a:pt x="179" y="235"/>
                      <a:pt x="169" y="247"/>
                    </a:cubicBezTo>
                    <a:cubicBezTo>
                      <a:pt x="159" y="259"/>
                      <a:pt x="112" y="315"/>
                      <a:pt x="112" y="315"/>
                    </a:cubicBezTo>
                    <a:cubicBezTo>
                      <a:pt x="114" y="330"/>
                      <a:pt x="114" y="330"/>
                      <a:pt x="114" y="330"/>
                    </a:cubicBezTo>
                    <a:cubicBezTo>
                      <a:pt x="114" y="330"/>
                      <a:pt x="101" y="332"/>
                      <a:pt x="90" y="344"/>
                    </a:cubicBezTo>
                    <a:cubicBezTo>
                      <a:pt x="79" y="356"/>
                      <a:pt x="79" y="374"/>
                      <a:pt x="79" y="374"/>
                    </a:cubicBezTo>
                    <a:cubicBezTo>
                      <a:pt x="66" y="387"/>
                      <a:pt x="66" y="387"/>
                      <a:pt x="66" y="387"/>
                    </a:cubicBezTo>
                    <a:cubicBezTo>
                      <a:pt x="63" y="421"/>
                      <a:pt x="63" y="421"/>
                      <a:pt x="63" y="421"/>
                    </a:cubicBezTo>
                    <a:cubicBezTo>
                      <a:pt x="63" y="421"/>
                      <a:pt x="39" y="453"/>
                      <a:pt x="33" y="459"/>
                    </a:cubicBezTo>
                    <a:cubicBezTo>
                      <a:pt x="27" y="465"/>
                      <a:pt x="6" y="477"/>
                      <a:pt x="8" y="488"/>
                    </a:cubicBezTo>
                    <a:cubicBezTo>
                      <a:pt x="10" y="499"/>
                      <a:pt x="26" y="506"/>
                      <a:pt x="23" y="516"/>
                    </a:cubicBezTo>
                    <a:cubicBezTo>
                      <a:pt x="20" y="526"/>
                      <a:pt x="0" y="550"/>
                      <a:pt x="0" y="562"/>
                    </a:cubicBezTo>
                    <a:cubicBezTo>
                      <a:pt x="0" y="574"/>
                      <a:pt x="13" y="615"/>
                      <a:pt x="13" y="615"/>
                    </a:cubicBezTo>
                    <a:cubicBezTo>
                      <a:pt x="29" y="605"/>
                      <a:pt x="29" y="605"/>
                      <a:pt x="29" y="605"/>
                    </a:cubicBezTo>
                    <a:cubicBezTo>
                      <a:pt x="74" y="609"/>
                      <a:pt x="74" y="609"/>
                      <a:pt x="74" y="609"/>
                    </a:cubicBezTo>
                    <a:cubicBezTo>
                      <a:pt x="74" y="609"/>
                      <a:pt x="36" y="609"/>
                      <a:pt x="33" y="615"/>
                    </a:cubicBezTo>
                    <a:cubicBezTo>
                      <a:pt x="30" y="621"/>
                      <a:pt x="31" y="635"/>
                      <a:pt x="31" y="635"/>
                    </a:cubicBezTo>
                    <a:cubicBezTo>
                      <a:pt x="31" y="635"/>
                      <a:pt x="20" y="620"/>
                      <a:pt x="16" y="626"/>
                    </a:cubicBezTo>
                    <a:cubicBezTo>
                      <a:pt x="12" y="632"/>
                      <a:pt x="2" y="651"/>
                      <a:pt x="7" y="659"/>
                    </a:cubicBezTo>
                    <a:cubicBezTo>
                      <a:pt x="12" y="667"/>
                      <a:pt x="25" y="667"/>
                      <a:pt x="25" y="667"/>
                    </a:cubicBezTo>
                    <a:cubicBezTo>
                      <a:pt x="25" y="667"/>
                      <a:pt x="23" y="688"/>
                      <a:pt x="20" y="688"/>
                    </a:cubicBezTo>
                    <a:cubicBezTo>
                      <a:pt x="17" y="688"/>
                      <a:pt x="7" y="700"/>
                      <a:pt x="7" y="709"/>
                    </a:cubicBezTo>
                    <a:cubicBezTo>
                      <a:pt x="7" y="718"/>
                      <a:pt x="20" y="733"/>
                      <a:pt x="20" y="733"/>
                    </a:cubicBezTo>
                    <a:cubicBezTo>
                      <a:pt x="20" y="733"/>
                      <a:pt x="40" y="763"/>
                      <a:pt x="39" y="770"/>
                    </a:cubicBezTo>
                    <a:cubicBezTo>
                      <a:pt x="38" y="777"/>
                      <a:pt x="16" y="799"/>
                      <a:pt x="28" y="803"/>
                    </a:cubicBezTo>
                    <a:cubicBezTo>
                      <a:pt x="40" y="807"/>
                      <a:pt x="65" y="807"/>
                      <a:pt x="65" y="807"/>
                    </a:cubicBezTo>
                    <a:cubicBezTo>
                      <a:pt x="65" y="807"/>
                      <a:pt x="67" y="828"/>
                      <a:pt x="79" y="828"/>
                    </a:cubicBezTo>
                    <a:cubicBezTo>
                      <a:pt x="91" y="828"/>
                      <a:pt x="108" y="822"/>
                      <a:pt x="108" y="822"/>
                    </a:cubicBezTo>
                    <a:cubicBezTo>
                      <a:pt x="111" y="841"/>
                      <a:pt x="111" y="841"/>
                      <a:pt x="111" y="841"/>
                    </a:cubicBezTo>
                    <a:cubicBezTo>
                      <a:pt x="111" y="841"/>
                      <a:pt x="143" y="852"/>
                      <a:pt x="143" y="867"/>
                    </a:cubicBezTo>
                    <a:cubicBezTo>
                      <a:pt x="143" y="875"/>
                      <a:pt x="140" y="889"/>
                      <a:pt x="138" y="901"/>
                    </a:cubicBezTo>
                    <a:cubicBezTo>
                      <a:pt x="141" y="903"/>
                      <a:pt x="141" y="903"/>
                      <a:pt x="141" y="903"/>
                    </a:cubicBezTo>
                    <a:cubicBezTo>
                      <a:pt x="240" y="899"/>
                      <a:pt x="240" y="899"/>
                      <a:pt x="240" y="899"/>
                    </a:cubicBezTo>
                    <a:cubicBezTo>
                      <a:pt x="230" y="909"/>
                      <a:pt x="240" y="909"/>
                      <a:pt x="240" y="909"/>
                    </a:cubicBezTo>
                    <a:cubicBezTo>
                      <a:pt x="380" y="973"/>
                      <a:pt x="380" y="973"/>
                      <a:pt x="380" y="973"/>
                    </a:cubicBezTo>
                    <a:cubicBezTo>
                      <a:pt x="512" y="971"/>
                      <a:pt x="512" y="971"/>
                      <a:pt x="512" y="971"/>
                    </a:cubicBezTo>
                    <a:cubicBezTo>
                      <a:pt x="512" y="971"/>
                      <a:pt x="512" y="971"/>
                      <a:pt x="516" y="968"/>
                    </a:cubicBezTo>
                    <a:cubicBezTo>
                      <a:pt x="519" y="964"/>
                      <a:pt x="517" y="960"/>
                      <a:pt x="517" y="954"/>
                    </a:cubicBezTo>
                    <a:cubicBezTo>
                      <a:pt x="517" y="948"/>
                      <a:pt x="524" y="944"/>
                      <a:pt x="524" y="944"/>
                    </a:cubicBezTo>
                    <a:cubicBezTo>
                      <a:pt x="597" y="944"/>
                      <a:pt x="597" y="944"/>
                      <a:pt x="597" y="944"/>
                    </a:cubicBezTo>
                    <a:cubicBezTo>
                      <a:pt x="612" y="959"/>
                      <a:pt x="607" y="967"/>
                      <a:pt x="607" y="967"/>
                    </a:cubicBezTo>
                    <a:cubicBezTo>
                      <a:pt x="625" y="975"/>
                      <a:pt x="625" y="975"/>
                      <a:pt x="625" y="975"/>
                    </a:cubicBezTo>
                    <a:cubicBezTo>
                      <a:pt x="631" y="996"/>
                      <a:pt x="631" y="996"/>
                      <a:pt x="631" y="996"/>
                    </a:cubicBezTo>
                    <a:cubicBezTo>
                      <a:pt x="631" y="996"/>
                      <a:pt x="642" y="997"/>
                      <a:pt x="653" y="1008"/>
                    </a:cubicBezTo>
                    <a:cubicBezTo>
                      <a:pt x="663" y="1018"/>
                      <a:pt x="653" y="1060"/>
                      <a:pt x="653" y="1060"/>
                    </a:cubicBezTo>
                    <a:cubicBezTo>
                      <a:pt x="653" y="1060"/>
                      <a:pt x="684" y="1094"/>
                      <a:pt x="703" y="1094"/>
                    </a:cubicBezTo>
                    <a:cubicBezTo>
                      <a:pt x="722" y="1094"/>
                      <a:pt x="735" y="1060"/>
                      <a:pt x="739" y="1056"/>
                    </a:cubicBezTo>
                    <a:cubicBezTo>
                      <a:pt x="743" y="1052"/>
                      <a:pt x="755" y="1053"/>
                      <a:pt x="755" y="1053"/>
                    </a:cubicBezTo>
                    <a:cubicBezTo>
                      <a:pt x="756" y="1047"/>
                      <a:pt x="756" y="1047"/>
                      <a:pt x="756" y="1047"/>
                    </a:cubicBezTo>
                    <a:cubicBezTo>
                      <a:pt x="766" y="1052"/>
                      <a:pt x="766" y="1052"/>
                      <a:pt x="766" y="1052"/>
                    </a:cubicBezTo>
                    <a:cubicBezTo>
                      <a:pt x="795" y="1053"/>
                      <a:pt x="795" y="1053"/>
                      <a:pt x="795" y="1053"/>
                    </a:cubicBezTo>
                    <a:cubicBezTo>
                      <a:pt x="795" y="1053"/>
                      <a:pt x="815" y="1084"/>
                      <a:pt x="823" y="1092"/>
                    </a:cubicBezTo>
                    <a:cubicBezTo>
                      <a:pt x="831" y="1100"/>
                      <a:pt x="823" y="1115"/>
                      <a:pt x="823" y="1124"/>
                    </a:cubicBezTo>
                    <a:cubicBezTo>
                      <a:pt x="823" y="1133"/>
                      <a:pt x="834" y="1140"/>
                      <a:pt x="834" y="1140"/>
                    </a:cubicBezTo>
                    <a:cubicBezTo>
                      <a:pt x="834" y="1140"/>
                      <a:pt x="835" y="1146"/>
                      <a:pt x="835" y="1153"/>
                    </a:cubicBezTo>
                    <a:cubicBezTo>
                      <a:pt x="835" y="1161"/>
                      <a:pt x="844" y="1162"/>
                      <a:pt x="851" y="1169"/>
                    </a:cubicBezTo>
                    <a:cubicBezTo>
                      <a:pt x="858" y="1176"/>
                      <a:pt x="848" y="1179"/>
                      <a:pt x="848" y="1179"/>
                    </a:cubicBezTo>
                    <a:cubicBezTo>
                      <a:pt x="848" y="1206"/>
                      <a:pt x="848" y="1206"/>
                      <a:pt x="848" y="1206"/>
                    </a:cubicBezTo>
                    <a:cubicBezTo>
                      <a:pt x="856" y="1212"/>
                      <a:pt x="856" y="1212"/>
                      <a:pt x="856" y="1212"/>
                    </a:cubicBezTo>
                    <a:cubicBezTo>
                      <a:pt x="856" y="1212"/>
                      <a:pt x="854" y="1220"/>
                      <a:pt x="854" y="1231"/>
                    </a:cubicBezTo>
                    <a:cubicBezTo>
                      <a:pt x="854" y="1242"/>
                      <a:pt x="884" y="1243"/>
                      <a:pt x="884" y="1243"/>
                    </a:cubicBezTo>
                    <a:cubicBezTo>
                      <a:pt x="890" y="1254"/>
                      <a:pt x="890" y="1254"/>
                      <a:pt x="890" y="1254"/>
                    </a:cubicBezTo>
                    <a:cubicBezTo>
                      <a:pt x="890" y="1254"/>
                      <a:pt x="909" y="1254"/>
                      <a:pt x="914" y="1254"/>
                    </a:cubicBezTo>
                    <a:cubicBezTo>
                      <a:pt x="919" y="1254"/>
                      <a:pt x="917" y="1264"/>
                      <a:pt x="928" y="1264"/>
                    </a:cubicBezTo>
                    <a:cubicBezTo>
                      <a:pt x="933" y="1264"/>
                      <a:pt x="937" y="1263"/>
                      <a:pt x="940" y="1262"/>
                    </a:cubicBezTo>
                    <a:cubicBezTo>
                      <a:pt x="930" y="1213"/>
                      <a:pt x="930" y="1213"/>
                      <a:pt x="930" y="1213"/>
                    </a:cubicBezTo>
                    <a:cubicBezTo>
                      <a:pt x="942" y="1202"/>
                      <a:pt x="942" y="1202"/>
                      <a:pt x="942" y="1202"/>
                    </a:cubicBezTo>
                    <a:cubicBezTo>
                      <a:pt x="929" y="1193"/>
                      <a:pt x="929" y="1193"/>
                      <a:pt x="929" y="1193"/>
                    </a:cubicBezTo>
                    <a:cubicBezTo>
                      <a:pt x="929" y="1180"/>
                      <a:pt x="929" y="1180"/>
                      <a:pt x="929" y="1180"/>
                    </a:cubicBezTo>
                    <a:cubicBezTo>
                      <a:pt x="929" y="1180"/>
                      <a:pt x="947" y="1192"/>
                      <a:pt x="950" y="1180"/>
                    </a:cubicBezTo>
                    <a:cubicBezTo>
                      <a:pt x="953" y="1168"/>
                      <a:pt x="950" y="1159"/>
                      <a:pt x="950" y="1159"/>
                    </a:cubicBezTo>
                    <a:cubicBezTo>
                      <a:pt x="966" y="1157"/>
                      <a:pt x="966" y="1157"/>
                      <a:pt x="966" y="1157"/>
                    </a:cubicBezTo>
                    <a:cubicBezTo>
                      <a:pt x="971" y="1139"/>
                      <a:pt x="971" y="1139"/>
                      <a:pt x="971" y="1139"/>
                    </a:cubicBezTo>
                    <a:cubicBezTo>
                      <a:pt x="981" y="1144"/>
                      <a:pt x="981" y="1144"/>
                      <a:pt x="981" y="1144"/>
                    </a:cubicBezTo>
                    <a:cubicBezTo>
                      <a:pt x="994" y="1137"/>
                      <a:pt x="994" y="1137"/>
                      <a:pt x="994" y="1137"/>
                    </a:cubicBezTo>
                    <a:cubicBezTo>
                      <a:pt x="989" y="1121"/>
                      <a:pt x="989" y="1121"/>
                      <a:pt x="989" y="1121"/>
                    </a:cubicBezTo>
                    <a:cubicBezTo>
                      <a:pt x="999" y="1128"/>
                      <a:pt x="999" y="1128"/>
                      <a:pt x="999" y="1128"/>
                    </a:cubicBezTo>
                    <a:cubicBezTo>
                      <a:pt x="999" y="1128"/>
                      <a:pt x="1003" y="1106"/>
                      <a:pt x="1009" y="1110"/>
                    </a:cubicBezTo>
                    <a:cubicBezTo>
                      <a:pt x="1015" y="1114"/>
                      <a:pt x="1016" y="1125"/>
                      <a:pt x="1022" y="1122"/>
                    </a:cubicBezTo>
                    <a:cubicBezTo>
                      <a:pt x="1028" y="1119"/>
                      <a:pt x="1056" y="1111"/>
                      <a:pt x="1064" y="1103"/>
                    </a:cubicBezTo>
                    <a:cubicBezTo>
                      <a:pt x="1072" y="1095"/>
                      <a:pt x="1086" y="1076"/>
                      <a:pt x="1086" y="1076"/>
                    </a:cubicBezTo>
                    <a:cubicBezTo>
                      <a:pt x="1086" y="1076"/>
                      <a:pt x="1078" y="1053"/>
                      <a:pt x="1088" y="1052"/>
                    </a:cubicBezTo>
                    <a:cubicBezTo>
                      <a:pt x="1098" y="1051"/>
                      <a:pt x="1109" y="1075"/>
                      <a:pt x="1121" y="1068"/>
                    </a:cubicBezTo>
                    <a:cubicBezTo>
                      <a:pt x="1133" y="1061"/>
                      <a:pt x="1137" y="1033"/>
                      <a:pt x="1143" y="1040"/>
                    </a:cubicBezTo>
                    <a:cubicBezTo>
                      <a:pt x="1149" y="1047"/>
                      <a:pt x="1152" y="1053"/>
                      <a:pt x="1157" y="1053"/>
                    </a:cubicBezTo>
                    <a:cubicBezTo>
                      <a:pt x="1162" y="1053"/>
                      <a:pt x="1173" y="1037"/>
                      <a:pt x="1173" y="1037"/>
                    </a:cubicBezTo>
                    <a:cubicBezTo>
                      <a:pt x="1173" y="1037"/>
                      <a:pt x="1192" y="1068"/>
                      <a:pt x="1206" y="1066"/>
                    </a:cubicBezTo>
                    <a:cubicBezTo>
                      <a:pt x="1220" y="1064"/>
                      <a:pt x="1222" y="1033"/>
                      <a:pt x="1238" y="1049"/>
                    </a:cubicBezTo>
                    <a:cubicBezTo>
                      <a:pt x="1254" y="1065"/>
                      <a:pt x="1246" y="1083"/>
                      <a:pt x="1256" y="1083"/>
                    </a:cubicBezTo>
                    <a:cubicBezTo>
                      <a:pt x="1266" y="1083"/>
                      <a:pt x="1282" y="1090"/>
                      <a:pt x="1282" y="1090"/>
                    </a:cubicBezTo>
                    <a:cubicBezTo>
                      <a:pt x="1282" y="1090"/>
                      <a:pt x="1281" y="1074"/>
                      <a:pt x="1288" y="1079"/>
                    </a:cubicBezTo>
                    <a:cubicBezTo>
                      <a:pt x="1295" y="1084"/>
                      <a:pt x="1303" y="1103"/>
                      <a:pt x="1308" y="1091"/>
                    </a:cubicBezTo>
                    <a:cubicBezTo>
                      <a:pt x="1313" y="1079"/>
                      <a:pt x="1306" y="1064"/>
                      <a:pt x="1306" y="1064"/>
                    </a:cubicBezTo>
                    <a:cubicBezTo>
                      <a:pt x="1320" y="1069"/>
                      <a:pt x="1320" y="1069"/>
                      <a:pt x="1320" y="1069"/>
                    </a:cubicBezTo>
                    <a:cubicBezTo>
                      <a:pt x="1325" y="1080"/>
                      <a:pt x="1325" y="1080"/>
                      <a:pt x="1325" y="1080"/>
                    </a:cubicBezTo>
                    <a:cubicBezTo>
                      <a:pt x="1335" y="1083"/>
                      <a:pt x="1335" y="1083"/>
                      <a:pt x="1335" y="1083"/>
                    </a:cubicBezTo>
                    <a:cubicBezTo>
                      <a:pt x="1335" y="1092"/>
                      <a:pt x="1335" y="1092"/>
                      <a:pt x="1335" y="1092"/>
                    </a:cubicBezTo>
                    <a:cubicBezTo>
                      <a:pt x="1335" y="1092"/>
                      <a:pt x="1359" y="1099"/>
                      <a:pt x="1354" y="1087"/>
                    </a:cubicBezTo>
                    <a:cubicBezTo>
                      <a:pt x="1349" y="1075"/>
                      <a:pt x="1335" y="1070"/>
                      <a:pt x="1335" y="1070"/>
                    </a:cubicBezTo>
                    <a:cubicBezTo>
                      <a:pt x="1329" y="1060"/>
                      <a:pt x="1329" y="1060"/>
                      <a:pt x="1329" y="1060"/>
                    </a:cubicBezTo>
                    <a:cubicBezTo>
                      <a:pt x="1329" y="1060"/>
                      <a:pt x="1349" y="1057"/>
                      <a:pt x="1347" y="1049"/>
                    </a:cubicBezTo>
                    <a:cubicBezTo>
                      <a:pt x="1345" y="1041"/>
                      <a:pt x="1343" y="1039"/>
                      <a:pt x="1334" y="1040"/>
                    </a:cubicBezTo>
                    <a:cubicBezTo>
                      <a:pt x="1325" y="1041"/>
                      <a:pt x="1298" y="1044"/>
                      <a:pt x="1307" y="1030"/>
                    </a:cubicBezTo>
                    <a:cubicBezTo>
                      <a:pt x="1316" y="1016"/>
                      <a:pt x="1325" y="1027"/>
                      <a:pt x="1336" y="1030"/>
                    </a:cubicBezTo>
                    <a:cubicBezTo>
                      <a:pt x="1347" y="1033"/>
                      <a:pt x="1355" y="1031"/>
                      <a:pt x="1365" y="1024"/>
                    </a:cubicBezTo>
                    <a:cubicBezTo>
                      <a:pt x="1375" y="1017"/>
                      <a:pt x="1386" y="1017"/>
                      <a:pt x="1386" y="1017"/>
                    </a:cubicBezTo>
                    <a:cubicBezTo>
                      <a:pt x="1387" y="1021"/>
                      <a:pt x="1387" y="1021"/>
                      <a:pt x="1387" y="1021"/>
                    </a:cubicBezTo>
                    <a:cubicBezTo>
                      <a:pt x="1387" y="1021"/>
                      <a:pt x="1417" y="1021"/>
                      <a:pt x="1417" y="1014"/>
                    </a:cubicBezTo>
                    <a:cubicBezTo>
                      <a:pt x="1417" y="1007"/>
                      <a:pt x="1423" y="992"/>
                      <a:pt x="1426" y="997"/>
                    </a:cubicBezTo>
                    <a:cubicBezTo>
                      <a:pt x="1429" y="1002"/>
                      <a:pt x="1429" y="1024"/>
                      <a:pt x="1429" y="1024"/>
                    </a:cubicBezTo>
                    <a:cubicBezTo>
                      <a:pt x="1429" y="1024"/>
                      <a:pt x="1462" y="1012"/>
                      <a:pt x="1471" y="1013"/>
                    </a:cubicBezTo>
                    <a:cubicBezTo>
                      <a:pt x="1480" y="1014"/>
                      <a:pt x="1487" y="1024"/>
                      <a:pt x="1487" y="1024"/>
                    </a:cubicBezTo>
                    <a:cubicBezTo>
                      <a:pt x="1487" y="1024"/>
                      <a:pt x="1484" y="1008"/>
                      <a:pt x="1494" y="1012"/>
                    </a:cubicBezTo>
                    <a:cubicBezTo>
                      <a:pt x="1504" y="1016"/>
                      <a:pt x="1504" y="1030"/>
                      <a:pt x="1504" y="1030"/>
                    </a:cubicBezTo>
                    <a:cubicBezTo>
                      <a:pt x="1524" y="1025"/>
                      <a:pt x="1524" y="1025"/>
                      <a:pt x="1524" y="1025"/>
                    </a:cubicBezTo>
                    <a:cubicBezTo>
                      <a:pt x="1520" y="1033"/>
                      <a:pt x="1520" y="1033"/>
                      <a:pt x="1520" y="1033"/>
                    </a:cubicBezTo>
                    <a:cubicBezTo>
                      <a:pt x="1520" y="1033"/>
                      <a:pt x="1521" y="1065"/>
                      <a:pt x="1539" y="1061"/>
                    </a:cubicBezTo>
                    <a:cubicBezTo>
                      <a:pt x="1557" y="1057"/>
                      <a:pt x="1570" y="1031"/>
                      <a:pt x="1588" y="1035"/>
                    </a:cubicBezTo>
                    <a:cubicBezTo>
                      <a:pt x="1606" y="1039"/>
                      <a:pt x="1607" y="1073"/>
                      <a:pt x="1616" y="1079"/>
                    </a:cubicBezTo>
                    <a:cubicBezTo>
                      <a:pt x="1625" y="1085"/>
                      <a:pt x="1643" y="1085"/>
                      <a:pt x="1643" y="1085"/>
                    </a:cubicBezTo>
                    <a:cubicBezTo>
                      <a:pt x="1640" y="1111"/>
                      <a:pt x="1640" y="1111"/>
                      <a:pt x="1640" y="1111"/>
                    </a:cubicBezTo>
                    <a:cubicBezTo>
                      <a:pt x="1640" y="1111"/>
                      <a:pt x="1621" y="1139"/>
                      <a:pt x="1623" y="1147"/>
                    </a:cubicBezTo>
                    <a:cubicBezTo>
                      <a:pt x="1625" y="1155"/>
                      <a:pt x="1635" y="1156"/>
                      <a:pt x="1635" y="1156"/>
                    </a:cubicBezTo>
                    <a:cubicBezTo>
                      <a:pt x="1640" y="1166"/>
                      <a:pt x="1640" y="1166"/>
                      <a:pt x="1640" y="1166"/>
                    </a:cubicBezTo>
                    <a:cubicBezTo>
                      <a:pt x="1621" y="1179"/>
                      <a:pt x="1621" y="1179"/>
                      <a:pt x="1621" y="1179"/>
                    </a:cubicBezTo>
                    <a:cubicBezTo>
                      <a:pt x="1634" y="1212"/>
                      <a:pt x="1634" y="1212"/>
                      <a:pt x="1634" y="1212"/>
                    </a:cubicBezTo>
                    <a:cubicBezTo>
                      <a:pt x="1634" y="1212"/>
                      <a:pt x="1649" y="1193"/>
                      <a:pt x="1650" y="1199"/>
                    </a:cubicBezTo>
                    <a:cubicBezTo>
                      <a:pt x="1651" y="1205"/>
                      <a:pt x="1639" y="1230"/>
                      <a:pt x="1639" y="1230"/>
                    </a:cubicBezTo>
                    <a:cubicBezTo>
                      <a:pt x="1649" y="1227"/>
                      <a:pt x="1649" y="1227"/>
                      <a:pt x="1649" y="1227"/>
                    </a:cubicBezTo>
                    <a:cubicBezTo>
                      <a:pt x="1652" y="1259"/>
                      <a:pt x="1652" y="1259"/>
                      <a:pt x="1652" y="1259"/>
                    </a:cubicBezTo>
                    <a:cubicBezTo>
                      <a:pt x="1652" y="1259"/>
                      <a:pt x="1669" y="1259"/>
                      <a:pt x="1669" y="1265"/>
                    </a:cubicBezTo>
                    <a:cubicBezTo>
                      <a:pt x="1669" y="1271"/>
                      <a:pt x="1666" y="1287"/>
                      <a:pt x="1666" y="1287"/>
                    </a:cubicBezTo>
                    <a:cubicBezTo>
                      <a:pt x="1681" y="1304"/>
                      <a:pt x="1681" y="1304"/>
                      <a:pt x="1681" y="1304"/>
                    </a:cubicBezTo>
                    <a:cubicBezTo>
                      <a:pt x="1681" y="1304"/>
                      <a:pt x="1705" y="1298"/>
                      <a:pt x="1707" y="1291"/>
                    </a:cubicBezTo>
                    <a:cubicBezTo>
                      <a:pt x="1709" y="1284"/>
                      <a:pt x="1711" y="1271"/>
                      <a:pt x="1711" y="1271"/>
                    </a:cubicBezTo>
                    <a:cubicBezTo>
                      <a:pt x="1723" y="1271"/>
                      <a:pt x="1723" y="1271"/>
                      <a:pt x="1723" y="1271"/>
                    </a:cubicBezTo>
                    <a:cubicBezTo>
                      <a:pt x="1723" y="1271"/>
                      <a:pt x="1722" y="1250"/>
                      <a:pt x="1729" y="1240"/>
                    </a:cubicBezTo>
                    <a:cubicBezTo>
                      <a:pt x="1736" y="1230"/>
                      <a:pt x="1740" y="1213"/>
                      <a:pt x="1737" y="1203"/>
                    </a:cubicBezTo>
                    <a:cubicBezTo>
                      <a:pt x="1734" y="1193"/>
                      <a:pt x="1724" y="1160"/>
                      <a:pt x="1724" y="1151"/>
                    </a:cubicBezTo>
                    <a:cubicBezTo>
                      <a:pt x="1724" y="1142"/>
                      <a:pt x="1730" y="1128"/>
                      <a:pt x="1730" y="1112"/>
                    </a:cubicBezTo>
                    <a:cubicBezTo>
                      <a:pt x="1730" y="1096"/>
                      <a:pt x="1710" y="1070"/>
                      <a:pt x="1714" y="1056"/>
                    </a:cubicBezTo>
                    <a:cubicBezTo>
                      <a:pt x="1718" y="1042"/>
                      <a:pt x="1710" y="1002"/>
                      <a:pt x="1722" y="987"/>
                    </a:cubicBezTo>
                    <a:cubicBezTo>
                      <a:pt x="1734" y="972"/>
                      <a:pt x="1742" y="948"/>
                      <a:pt x="1742" y="948"/>
                    </a:cubicBezTo>
                    <a:cubicBezTo>
                      <a:pt x="1752" y="942"/>
                      <a:pt x="1752" y="942"/>
                      <a:pt x="1752" y="942"/>
                    </a:cubicBezTo>
                    <a:cubicBezTo>
                      <a:pt x="1765" y="929"/>
                      <a:pt x="1765" y="929"/>
                      <a:pt x="1765" y="929"/>
                    </a:cubicBezTo>
                    <a:cubicBezTo>
                      <a:pt x="1771" y="913"/>
                      <a:pt x="1771" y="913"/>
                      <a:pt x="1771" y="913"/>
                    </a:cubicBezTo>
                    <a:cubicBezTo>
                      <a:pt x="1780" y="919"/>
                      <a:pt x="1780" y="919"/>
                      <a:pt x="1780" y="919"/>
                    </a:cubicBezTo>
                    <a:cubicBezTo>
                      <a:pt x="1783" y="905"/>
                      <a:pt x="1783" y="905"/>
                      <a:pt x="1783" y="905"/>
                    </a:cubicBezTo>
                    <a:cubicBezTo>
                      <a:pt x="1783" y="905"/>
                      <a:pt x="1813" y="909"/>
                      <a:pt x="1818" y="903"/>
                    </a:cubicBezTo>
                    <a:cubicBezTo>
                      <a:pt x="1823" y="897"/>
                      <a:pt x="1819" y="886"/>
                      <a:pt x="1819" y="886"/>
                    </a:cubicBezTo>
                    <a:cubicBezTo>
                      <a:pt x="1832" y="887"/>
                      <a:pt x="1832" y="887"/>
                      <a:pt x="1832" y="887"/>
                    </a:cubicBezTo>
                    <a:cubicBezTo>
                      <a:pt x="1836" y="881"/>
                      <a:pt x="1836" y="881"/>
                      <a:pt x="1836" y="881"/>
                    </a:cubicBezTo>
                    <a:cubicBezTo>
                      <a:pt x="1847" y="880"/>
                      <a:pt x="1847" y="880"/>
                      <a:pt x="1847" y="880"/>
                    </a:cubicBezTo>
                    <a:cubicBezTo>
                      <a:pt x="1864" y="859"/>
                      <a:pt x="1864" y="859"/>
                      <a:pt x="1864" y="859"/>
                    </a:cubicBezTo>
                    <a:cubicBezTo>
                      <a:pt x="1864" y="859"/>
                      <a:pt x="1868" y="839"/>
                      <a:pt x="1887" y="834"/>
                    </a:cubicBezTo>
                    <a:cubicBezTo>
                      <a:pt x="1906" y="829"/>
                      <a:pt x="1917" y="840"/>
                      <a:pt x="1926" y="831"/>
                    </a:cubicBezTo>
                    <a:cubicBezTo>
                      <a:pt x="1935" y="822"/>
                      <a:pt x="1941" y="805"/>
                      <a:pt x="1941" y="805"/>
                    </a:cubicBezTo>
                    <a:cubicBezTo>
                      <a:pt x="1951" y="807"/>
                      <a:pt x="1951" y="807"/>
                      <a:pt x="1951" y="807"/>
                    </a:cubicBezTo>
                    <a:cubicBezTo>
                      <a:pt x="1956" y="792"/>
                      <a:pt x="1956" y="792"/>
                      <a:pt x="1956" y="792"/>
                    </a:cubicBezTo>
                    <a:cubicBezTo>
                      <a:pt x="2010" y="789"/>
                      <a:pt x="2010" y="789"/>
                      <a:pt x="2010" y="789"/>
                    </a:cubicBezTo>
                    <a:cubicBezTo>
                      <a:pt x="2013" y="773"/>
                      <a:pt x="2013" y="773"/>
                      <a:pt x="2013" y="773"/>
                    </a:cubicBezTo>
                    <a:cubicBezTo>
                      <a:pt x="1988" y="775"/>
                      <a:pt x="1988" y="775"/>
                      <a:pt x="1988" y="775"/>
                    </a:cubicBezTo>
                    <a:cubicBezTo>
                      <a:pt x="1988" y="775"/>
                      <a:pt x="2002" y="770"/>
                      <a:pt x="2001" y="763"/>
                    </a:cubicBezTo>
                    <a:cubicBezTo>
                      <a:pt x="2000" y="756"/>
                      <a:pt x="1990" y="749"/>
                      <a:pt x="1990" y="749"/>
                    </a:cubicBezTo>
                    <a:cubicBezTo>
                      <a:pt x="2013" y="745"/>
                      <a:pt x="2013" y="745"/>
                      <a:pt x="2013" y="745"/>
                    </a:cubicBezTo>
                    <a:cubicBezTo>
                      <a:pt x="2029" y="751"/>
                      <a:pt x="2029" y="751"/>
                      <a:pt x="2029" y="751"/>
                    </a:cubicBezTo>
                    <a:cubicBezTo>
                      <a:pt x="2052" y="727"/>
                      <a:pt x="2052" y="727"/>
                      <a:pt x="2052" y="727"/>
                    </a:cubicBezTo>
                    <a:cubicBezTo>
                      <a:pt x="2015" y="726"/>
                      <a:pt x="2015" y="726"/>
                      <a:pt x="2015" y="726"/>
                    </a:cubicBezTo>
                    <a:cubicBezTo>
                      <a:pt x="2013" y="709"/>
                      <a:pt x="2013" y="709"/>
                      <a:pt x="2013" y="709"/>
                    </a:cubicBezTo>
                    <a:cubicBezTo>
                      <a:pt x="2022" y="718"/>
                      <a:pt x="2022" y="718"/>
                      <a:pt x="2022" y="718"/>
                    </a:cubicBezTo>
                    <a:cubicBezTo>
                      <a:pt x="2052" y="707"/>
                      <a:pt x="2052" y="707"/>
                      <a:pt x="2052" y="707"/>
                    </a:cubicBezTo>
                    <a:cubicBezTo>
                      <a:pt x="2055" y="668"/>
                      <a:pt x="2055" y="668"/>
                      <a:pt x="2055" y="668"/>
                    </a:cubicBezTo>
                    <a:cubicBezTo>
                      <a:pt x="2036" y="676"/>
                      <a:pt x="2036" y="676"/>
                      <a:pt x="2036" y="676"/>
                    </a:cubicBezTo>
                    <a:cubicBezTo>
                      <a:pt x="2032" y="658"/>
                      <a:pt x="2032" y="658"/>
                      <a:pt x="2032" y="658"/>
                    </a:cubicBezTo>
                    <a:cubicBezTo>
                      <a:pt x="2016" y="647"/>
                      <a:pt x="2016" y="647"/>
                      <a:pt x="2016" y="647"/>
                    </a:cubicBezTo>
                    <a:cubicBezTo>
                      <a:pt x="2045" y="662"/>
                      <a:pt x="2045" y="662"/>
                      <a:pt x="2045" y="662"/>
                    </a:cubicBezTo>
                    <a:cubicBezTo>
                      <a:pt x="2052" y="656"/>
                      <a:pt x="2052" y="656"/>
                      <a:pt x="2052" y="656"/>
                    </a:cubicBezTo>
                    <a:cubicBezTo>
                      <a:pt x="2039" y="646"/>
                      <a:pt x="2039" y="646"/>
                      <a:pt x="2039" y="646"/>
                    </a:cubicBezTo>
                    <a:cubicBezTo>
                      <a:pt x="2057" y="646"/>
                      <a:pt x="2057" y="646"/>
                      <a:pt x="2057" y="646"/>
                    </a:cubicBezTo>
                    <a:cubicBezTo>
                      <a:pt x="2057" y="646"/>
                      <a:pt x="2035" y="617"/>
                      <a:pt x="2035" y="610"/>
                    </a:cubicBezTo>
                    <a:cubicBezTo>
                      <a:pt x="2035" y="603"/>
                      <a:pt x="2040" y="600"/>
                      <a:pt x="2040" y="600"/>
                    </a:cubicBezTo>
                    <a:cubicBezTo>
                      <a:pt x="2040" y="600"/>
                      <a:pt x="2023" y="589"/>
                      <a:pt x="2025" y="586"/>
                    </a:cubicBezTo>
                    <a:cubicBezTo>
                      <a:pt x="2027" y="583"/>
                      <a:pt x="2046" y="571"/>
                      <a:pt x="2046" y="571"/>
                    </a:cubicBezTo>
                    <a:cubicBezTo>
                      <a:pt x="2041" y="589"/>
                      <a:pt x="2041" y="589"/>
                      <a:pt x="2041" y="589"/>
                    </a:cubicBezTo>
                    <a:cubicBezTo>
                      <a:pt x="2062" y="606"/>
                      <a:pt x="2062" y="606"/>
                      <a:pt x="2062" y="606"/>
                    </a:cubicBezTo>
                    <a:cubicBezTo>
                      <a:pt x="2062" y="606"/>
                      <a:pt x="2070" y="582"/>
                      <a:pt x="2070" y="569"/>
                    </a:cubicBezTo>
                    <a:cubicBezTo>
                      <a:pt x="2070" y="556"/>
                      <a:pt x="2108" y="525"/>
                      <a:pt x="2107" y="533"/>
                    </a:cubicBezTo>
                    <a:cubicBezTo>
                      <a:pt x="2106" y="541"/>
                      <a:pt x="2083" y="574"/>
                      <a:pt x="2083" y="574"/>
                    </a:cubicBezTo>
                    <a:cubicBezTo>
                      <a:pt x="2077" y="596"/>
                      <a:pt x="2077" y="596"/>
                      <a:pt x="2077" y="596"/>
                    </a:cubicBezTo>
                    <a:cubicBezTo>
                      <a:pt x="2090" y="597"/>
                      <a:pt x="2090" y="597"/>
                      <a:pt x="2090" y="597"/>
                    </a:cubicBezTo>
                    <a:cubicBezTo>
                      <a:pt x="2090" y="597"/>
                      <a:pt x="2087" y="619"/>
                      <a:pt x="2082" y="623"/>
                    </a:cubicBezTo>
                    <a:cubicBezTo>
                      <a:pt x="2077" y="627"/>
                      <a:pt x="2059" y="661"/>
                      <a:pt x="2066" y="661"/>
                    </a:cubicBezTo>
                    <a:cubicBezTo>
                      <a:pt x="2073" y="661"/>
                      <a:pt x="2083" y="637"/>
                      <a:pt x="2089" y="632"/>
                    </a:cubicBezTo>
                    <a:cubicBezTo>
                      <a:pt x="2095" y="627"/>
                      <a:pt x="2125" y="611"/>
                      <a:pt x="2127" y="598"/>
                    </a:cubicBezTo>
                    <a:cubicBezTo>
                      <a:pt x="2129" y="585"/>
                      <a:pt x="2125" y="564"/>
                      <a:pt x="2125" y="553"/>
                    </a:cubicBezTo>
                    <a:cubicBezTo>
                      <a:pt x="2125" y="542"/>
                      <a:pt x="2129" y="516"/>
                      <a:pt x="2136" y="513"/>
                    </a:cubicBezTo>
                    <a:cubicBezTo>
                      <a:pt x="2143" y="510"/>
                      <a:pt x="2138" y="515"/>
                      <a:pt x="2135" y="528"/>
                    </a:cubicBezTo>
                    <a:cubicBezTo>
                      <a:pt x="2132" y="541"/>
                      <a:pt x="2144" y="545"/>
                      <a:pt x="2144" y="545"/>
                    </a:cubicBezTo>
                    <a:cubicBezTo>
                      <a:pt x="2144" y="545"/>
                      <a:pt x="2138" y="570"/>
                      <a:pt x="2141" y="570"/>
                    </a:cubicBezTo>
                    <a:cubicBezTo>
                      <a:pt x="2144" y="570"/>
                      <a:pt x="2175" y="531"/>
                      <a:pt x="2185" y="521"/>
                    </a:cubicBezTo>
                    <a:cubicBezTo>
                      <a:pt x="2195" y="511"/>
                      <a:pt x="2217" y="495"/>
                      <a:pt x="2214" y="491"/>
                    </a:cubicBezTo>
                    <a:cubicBezTo>
                      <a:pt x="2211" y="487"/>
                      <a:pt x="2202" y="490"/>
                      <a:pt x="2202" y="480"/>
                    </a:cubicBezTo>
                    <a:cubicBezTo>
                      <a:pt x="2202" y="470"/>
                      <a:pt x="2220" y="475"/>
                      <a:pt x="2240" y="475"/>
                    </a:cubicBezTo>
                    <a:cubicBezTo>
                      <a:pt x="2260" y="475"/>
                      <a:pt x="2306" y="453"/>
                      <a:pt x="2306" y="453"/>
                    </a:cubicBezTo>
                    <a:cubicBezTo>
                      <a:pt x="2293" y="447"/>
                      <a:pt x="2293" y="447"/>
                      <a:pt x="2293" y="447"/>
                    </a:cubicBezTo>
                    <a:cubicBezTo>
                      <a:pt x="2293" y="447"/>
                      <a:pt x="2269" y="458"/>
                      <a:pt x="2257" y="459"/>
                    </a:cubicBezTo>
                    <a:cubicBezTo>
                      <a:pt x="2245" y="460"/>
                      <a:pt x="2225" y="468"/>
                      <a:pt x="2228" y="455"/>
                    </a:cubicBezTo>
                    <a:cubicBezTo>
                      <a:pt x="2231" y="442"/>
                      <a:pt x="2266" y="439"/>
                      <a:pt x="2266" y="439"/>
                    </a:cubicBezTo>
                    <a:cubicBezTo>
                      <a:pt x="2326" y="438"/>
                      <a:pt x="2326" y="438"/>
                      <a:pt x="2326" y="438"/>
                    </a:cubicBezTo>
                    <a:cubicBezTo>
                      <a:pt x="2355" y="411"/>
                      <a:pt x="2355" y="411"/>
                      <a:pt x="2355" y="411"/>
                    </a:cubicBezTo>
                    <a:cubicBezTo>
                      <a:pt x="2361" y="421"/>
                      <a:pt x="2361" y="421"/>
                      <a:pt x="2361" y="421"/>
                    </a:cubicBezTo>
                    <a:cubicBezTo>
                      <a:pt x="2379" y="412"/>
                      <a:pt x="2379" y="412"/>
                      <a:pt x="2379" y="412"/>
                    </a:cubicBezTo>
                    <a:cubicBezTo>
                      <a:pt x="2377" y="435"/>
                      <a:pt x="2377" y="435"/>
                      <a:pt x="2377" y="435"/>
                    </a:cubicBezTo>
                    <a:cubicBezTo>
                      <a:pt x="2397" y="422"/>
                      <a:pt x="2397" y="422"/>
                      <a:pt x="2397" y="422"/>
                    </a:cubicBezTo>
                    <a:cubicBezTo>
                      <a:pt x="2413" y="418"/>
                      <a:pt x="2413" y="418"/>
                      <a:pt x="2413" y="418"/>
                    </a:cubicBezTo>
                    <a:cubicBezTo>
                      <a:pt x="2418" y="396"/>
                      <a:pt x="2418" y="396"/>
                      <a:pt x="2418" y="396"/>
                    </a:cubicBezTo>
                    <a:cubicBezTo>
                      <a:pt x="2409" y="388"/>
                      <a:pt x="2409" y="388"/>
                      <a:pt x="2409" y="388"/>
                    </a:cubicBezTo>
                    <a:cubicBezTo>
                      <a:pt x="2407" y="407"/>
                      <a:pt x="2407" y="407"/>
                      <a:pt x="2407" y="407"/>
                    </a:cubicBezTo>
                    <a:cubicBezTo>
                      <a:pt x="2391" y="410"/>
                      <a:pt x="2391" y="410"/>
                      <a:pt x="2391" y="410"/>
                    </a:cubicBezTo>
                    <a:cubicBezTo>
                      <a:pt x="2391" y="391"/>
                      <a:pt x="2391" y="391"/>
                      <a:pt x="2391" y="391"/>
                    </a:cubicBezTo>
                    <a:cubicBezTo>
                      <a:pt x="2378" y="377"/>
                      <a:pt x="2378" y="377"/>
                      <a:pt x="2378" y="377"/>
                    </a:cubicBezTo>
                    <a:cubicBezTo>
                      <a:pt x="2394" y="369"/>
                      <a:pt x="2394" y="369"/>
                      <a:pt x="2394" y="369"/>
                    </a:cubicBezTo>
                    <a:cubicBezTo>
                      <a:pt x="2398" y="346"/>
                      <a:pt x="2398" y="346"/>
                      <a:pt x="2398" y="346"/>
                    </a:cubicBezTo>
                    <a:cubicBezTo>
                      <a:pt x="2398" y="346"/>
                      <a:pt x="2413" y="329"/>
                      <a:pt x="2423" y="324"/>
                    </a:cubicBezTo>
                    <a:cubicBezTo>
                      <a:pt x="2433" y="319"/>
                      <a:pt x="2438" y="301"/>
                      <a:pt x="2438" y="301"/>
                    </a:cubicBezTo>
                    <a:cubicBezTo>
                      <a:pt x="2457" y="306"/>
                      <a:pt x="2457" y="306"/>
                      <a:pt x="2457" y="306"/>
                    </a:cubicBezTo>
                    <a:cubicBezTo>
                      <a:pt x="2467" y="291"/>
                      <a:pt x="2467" y="291"/>
                      <a:pt x="2467" y="291"/>
                    </a:cubicBezTo>
                    <a:cubicBezTo>
                      <a:pt x="2467" y="291"/>
                      <a:pt x="2470" y="302"/>
                      <a:pt x="2479" y="296"/>
                    </a:cubicBezTo>
                    <a:cubicBezTo>
                      <a:pt x="2488" y="290"/>
                      <a:pt x="2515" y="266"/>
                      <a:pt x="2515" y="266"/>
                    </a:cubicBezTo>
                    <a:cubicBezTo>
                      <a:pt x="2516" y="284"/>
                      <a:pt x="2516" y="284"/>
                      <a:pt x="2516" y="284"/>
                    </a:cubicBezTo>
                    <a:cubicBezTo>
                      <a:pt x="2516" y="284"/>
                      <a:pt x="2547" y="265"/>
                      <a:pt x="2556" y="260"/>
                    </a:cubicBezTo>
                    <a:cubicBezTo>
                      <a:pt x="2565" y="255"/>
                      <a:pt x="2597" y="254"/>
                      <a:pt x="2597" y="254"/>
                    </a:cubicBezTo>
                    <a:cubicBezTo>
                      <a:pt x="2597" y="232"/>
                      <a:pt x="2597" y="232"/>
                      <a:pt x="2597" y="232"/>
                    </a:cubicBezTo>
                    <a:cubicBezTo>
                      <a:pt x="2597" y="232"/>
                      <a:pt x="2598" y="232"/>
                      <a:pt x="2598" y="233"/>
                    </a:cubicBezTo>
                    <a:cubicBezTo>
                      <a:pt x="2597" y="229"/>
                      <a:pt x="2597" y="229"/>
                      <a:pt x="2597" y="229"/>
                    </a:cubicBezTo>
                    <a:cubicBezTo>
                      <a:pt x="2597" y="229"/>
                      <a:pt x="2589" y="232"/>
                      <a:pt x="2584" y="227"/>
                    </a:cubicBezTo>
                    <a:cubicBezTo>
                      <a:pt x="2579" y="222"/>
                      <a:pt x="2593" y="209"/>
                      <a:pt x="2593" y="209"/>
                    </a:cubicBezTo>
                    <a:cubicBezTo>
                      <a:pt x="2593" y="209"/>
                      <a:pt x="2585" y="205"/>
                      <a:pt x="2582" y="202"/>
                    </a:cubicBezTo>
                    <a:cubicBezTo>
                      <a:pt x="2579" y="199"/>
                      <a:pt x="2609" y="142"/>
                      <a:pt x="2609" y="125"/>
                    </a:cubicBezTo>
                    <a:cubicBezTo>
                      <a:pt x="2609" y="108"/>
                      <a:pt x="2582" y="119"/>
                      <a:pt x="2570" y="119"/>
                    </a:cubicBezTo>
                    <a:close/>
                    <a:moveTo>
                      <a:pt x="1811" y="252"/>
                    </a:moveTo>
                    <a:cubicBezTo>
                      <a:pt x="1797" y="252"/>
                      <a:pt x="1817" y="235"/>
                      <a:pt x="1810" y="232"/>
                    </a:cubicBezTo>
                    <a:cubicBezTo>
                      <a:pt x="1803" y="229"/>
                      <a:pt x="1793" y="242"/>
                      <a:pt x="1793" y="242"/>
                    </a:cubicBezTo>
                    <a:cubicBezTo>
                      <a:pt x="1788" y="244"/>
                      <a:pt x="1788" y="244"/>
                      <a:pt x="1788" y="244"/>
                    </a:cubicBezTo>
                    <a:cubicBezTo>
                      <a:pt x="1784" y="255"/>
                      <a:pt x="1784" y="255"/>
                      <a:pt x="1784" y="255"/>
                    </a:cubicBezTo>
                    <a:cubicBezTo>
                      <a:pt x="1773" y="251"/>
                      <a:pt x="1773" y="251"/>
                      <a:pt x="1773" y="251"/>
                    </a:cubicBezTo>
                    <a:cubicBezTo>
                      <a:pt x="1773" y="251"/>
                      <a:pt x="1773" y="262"/>
                      <a:pt x="1770" y="269"/>
                    </a:cubicBezTo>
                    <a:cubicBezTo>
                      <a:pt x="1767" y="276"/>
                      <a:pt x="1757" y="279"/>
                      <a:pt x="1752" y="284"/>
                    </a:cubicBezTo>
                    <a:cubicBezTo>
                      <a:pt x="1747" y="289"/>
                      <a:pt x="1753" y="297"/>
                      <a:pt x="1753" y="297"/>
                    </a:cubicBezTo>
                    <a:cubicBezTo>
                      <a:pt x="1753" y="297"/>
                      <a:pt x="1749" y="297"/>
                      <a:pt x="1736" y="311"/>
                    </a:cubicBezTo>
                    <a:cubicBezTo>
                      <a:pt x="1723" y="325"/>
                      <a:pt x="1741" y="325"/>
                      <a:pt x="1741" y="333"/>
                    </a:cubicBezTo>
                    <a:cubicBezTo>
                      <a:pt x="1741" y="341"/>
                      <a:pt x="1734" y="342"/>
                      <a:pt x="1734" y="342"/>
                    </a:cubicBezTo>
                    <a:cubicBezTo>
                      <a:pt x="1734" y="342"/>
                      <a:pt x="1742" y="346"/>
                      <a:pt x="1719" y="378"/>
                    </a:cubicBezTo>
                    <a:cubicBezTo>
                      <a:pt x="1696" y="410"/>
                      <a:pt x="1651" y="420"/>
                      <a:pt x="1651" y="420"/>
                    </a:cubicBezTo>
                    <a:cubicBezTo>
                      <a:pt x="1654" y="400"/>
                      <a:pt x="1654" y="400"/>
                      <a:pt x="1654" y="400"/>
                    </a:cubicBezTo>
                    <a:cubicBezTo>
                      <a:pt x="1654" y="400"/>
                      <a:pt x="1650" y="393"/>
                      <a:pt x="1648" y="389"/>
                    </a:cubicBezTo>
                    <a:cubicBezTo>
                      <a:pt x="1646" y="385"/>
                      <a:pt x="1663" y="365"/>
                      <a:pt x="1665" y="358"/>
                    </a:cubicBezTo>
                    <a:cubicBezTo>
                      <a:pt x="1667" y="351"/>
                      <a:pt x="1661" y="350"/>
                      <a:pt x="1663" y="338"/>
                    </a:cubicBezTo>
                    <a:cubicBezTo>
                      <a:pt x="1665" y="326"/>
                      <a:pt x="1687" y="307"/>
                      <a:pt x="1687" y="307"/>
                    </a:cubicBezTo>
                    <a:cubicBezTo>
                      <a:pt x="1687" y="298"/>
                      <a:pt x="1687" y="298"/>
                      <a:pt x="1687" y="298"/>
                    </a:cubicBezTo>
                    <a:cubicBezTo>
                      <a:pt x="1687" y="298"/>
                      <a:pt x="1708" y="283"/>
                      <a:pt x="1711" y="277"/>
                    </a:cubicBezTo>
                    <a:cubicBezTo>
                      <a:pt x="1714" y="271"/>
                      <a:pt x="1746" y="240"/>
                      <a:pt x="1746" y="240"/>
                    </a:cubicBezTo>
                    <a:cubicBezTo>
                      <a:pt x="1725" y="246"/>
                      <a:pt x="1725" y="246"/>
                      <a:pt x="1725" y="246"/>
                    </a:cubicBezTo>
                    <a:cubicBezTo>
                      <a:pt x="1725" y="246"/>
                      <a:pt x="1702" y="265"/>
                      <a:pt x="1698" y="260"/>
                    </a:cubicBezTo>
                    <a:cubicBezTo>
                      <a:pt x="1694" y="255"/>
                      <a:pt x="1734" y="231"/>
                      <a:pt x="1739" y="223"/>
                    </a:cubicBezTo>
                    <a:cubicBezTo>
                      <a:pt x="1744" y="215"/>
                      <a:pt x="1772" y="194"/>
                      <a:pt x="1772" y="194"/>
                    </a:cubicBezTo>
                    <a:cubicBezTo>
                      <a:pt x="1777" y="200"/>
                      <a:pt x="1777" y="200"/>
                      <a:pt x="1777" y="200"/>
                    </a:cubicBezTo>
                    <a:cubicBezTo>
                      <a:pt x="1787" y="194"/>
                      <a:pt x="1787" y="194"/>
                      <a:pt x="1787" y="194"/>
                    </a:cubicBezTo>
                    <a:cubicBezTo>
                      <a:pt x="1787" y="194"/>
                      <a:pt x="1782" y="203"/>
                      <a:pt x="1792" y="202"/>
                    </a:cubicBezTo>
                    <a:cubicBezTo>
                      <a:pt x="1802" y="201"/>
                      <a:pt x="1799" y="187"/>
                      <a:pt x="1799" y="187"/>
                    </a:cubicBezTo>
                    <a:cubicBezTo>
                      <a:pt x="1815" y="192"/>
                      <a:pt x="1815" y="192"/>
                      <a:pt x="1815" y="192"/>
                    </a:cubicBezTo>
                    <a:cubicBezTo>
                      <a:pt x="1815" y="192"/>
                      <a:pt x="1837" y="181"/>
                      <a:pt x="1847" y="184"/>
                    </a:cubicBezTo>
                    <a:cubicBezTo>
                      <a:pt x="1857" y="187"/>
                      <a:pt x="1862" y="199"/>
                      <a:pt x="1862" y="199"/>
                    </a:cubicBezTo>
                    <a:cubicBezTo>
                      <a:pt x="1845" y="205"/>
                      <a:pt x="1845" y="205"/>
                      <a:pt x="1845" y="205"/>
                    </a:cubicBezTo>
                    <a:cubicBezTo>
                      <a:pt x="1847" y="222"/>
                      <a:pt x="1847" y="222"/>
                      <a:pt x="1847" y="222"/>
                    </a:cubicBezTo>
                    <a:cubicBezTo>
                      <a:pt x="1847" y="222"/>
                      <a:pt x="1835" y="220"/>
                      <a:pt x="1828" y="220"/>
                    </a:cubicBezTo>
                    <a:cubicBezTo>
                      <a:pt x="1821" y="220"/>
                      <a:pt x="1824" y="237"/>
                      <a:pt x="1824" y="237"/>
                    </a:cubicBezTo>
                    <a:cubicBezTo>
                      <a:pt x="1824" y="237"/>
                      <a:pt x="1825" y="252"/>
                      <a:pt x="1811" y="252"/>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59" name="Saint Pierre and Miquelon">
                <a:extLst>
                  <a:ext uri="{FF2B5EF4-FFF2-40B4-BE49-F238E27FC236}">
                    <a16:creationId xmlns:a16="http://schemas.microsoft.com/office/drawing/2014/main" id="{912675B7-0BBB-413D-B061-D43868B5169C}"/>
                  </a:ext>
                </a:extLst>
              </p:cNvPr>
              <p:cNvSpPr>
                <a:spLocks/>
              </p:cNvSpPr>
              <p:nvPr/>
            </p:nvSpPr>
            <p:spPr bwMode="gray">
              <a:xfrm>
                <a:off x="4252297" y="2539629"/>
                <a:ext cx="163540" cy="145982"/>
              </a:xfrm>
              <a:custGeom>
                <a:avLst/>
                <a:gdLst>
                  <a:gd name="T0" fmla="*/ 180 w 291"/>
                  <a:gd name="T1" fmla="*/ 17 h 260"/>
                  <a:gd name="T2" fmla="*/ 226 w 291"/>
                  <a:gd name="T3" fmla="*/ 5 h 260"/>
                  <a:gd name="T4" fmla="*/ 229 w 291"/>
                  <a:gd name="T5" fmla="*/ 20 h 260"/>
                  <a:gd name="T6" fmla="*/ 215 w 291"/>
                  <a:gd name="T7" fmla="*/ 29 h 260"/>
                  <a:gd name="T8" fmla="*/ 198 w 291"/>
                  <a:gd name="T9" fmla="*/ 60 h 260"/>
                  <a:gd name="T10" fmla="*/ 171 w 291"/>
                  <a:gd name="T11" fmla="*/ 72 h 260"/>
                  <a:gd name="T12" fmla="*/ 147 w 291"/>
                  <a:gd name="T13" fmla="*/ 101 h 260"/>
                  <a:gd name="T14" fmla="*/ 145 w 291"/>
                  <a:gd name="T15" fmla="*/ 119 h 260"/>
                  <a:gd name="T16" fmla="*/ 162 w 291"/>
                  <a:gd name="T17" fmla="*/ 106 h 260"/>
                  <a:gd name="T18" fmla="*/ 180 w 291"/>
                  <a:gd name="T19" fmla="*/ 76 h 260"/>
                  <a:gd name="T20" fmla="*/ 194 w 291"/>
                  <a:gd name="T21" fmla="*/ 88 h 260"/>
                  <a:gd name="T22" fmla="*/ 210 w 291"/>
                  <a:gd name="T23" fmla="*/ 94 h 260"/>
                  <a:gd name="T24" fmla="*/ 202 w 291"/>
                  <a:gd name="T25" fmla="*/ 115 h 260"/>
                  <a:gd name="T26" fmla="*/ 222 w 291"/>
                  <a:gd name="T27" fmla="*/ 113 h 260"/>
                  <a:gd name="T28" fmla="*/ 228 w 291"/>
                  <a:gd name="T29" fmla="*/ 132 h 260"/>
                  <a:gd name="T30" fmla="*/ 262 w 291"/>
                  <a:gd name="T31" fmla="*/ 111 h 260"/>
                  <a:gd name="T32" fmla="*/ 275 w 291"/>
                  <a:gd name="T33" fmla="*/ 120 h 260"/>
                  <a:gd name="T34" fmla="*/ 256 w 291"/>
                  <a:gd name="T35" fmla="*/ 138 h 260"/>
                  <a:gd name="T36" fmla="*/ 280 w 291"/>
                  <a:gd name="T37" fmla="*/ 144 h 260"/>
                  <a:gd name="T38" fmla="*/ 242 w 291"/>
                  <a:gd name="T39" fmla="*/ 197 h 260"/>
                  <a:gd name="T40" fmla="*/ 266 w 291"/>
                  <a:gd name="T41" fmla="*/ 198 h 260"/>
                  <a:gd name="T42" fmla="*/ 244 w 291"/>
                  <a:gd name="T43" fmla="*/ 212 h 260"/>
                  <a:gd name="T44" fmla="*/ 264 w 291"/>
                  <a:gd name="T45" fmla="*/ 213 h 260"/>
                  <a:gd name="T46" fmla="*/ 286 w 291"/>
                  <a:gd name="T47" fmla="*/ 204 h 260"/>
                  <a:gd name="T48" fmla="*/ 291 w 291"/>
                  <a:gd name="T49" fmla="*/ 219 h 260"/>
                  <a:gd name="T50" fmla="*/ 244 w 291"/>
                  <a:gd name="T51" fmla="*/ 260 h 260"/>
                  <a:gd name="T52" fmla="*/ 216 w 291"/>
                  <a:gd name="T53" fmla="*/ 256 h 260"/>
                  <a:gd name="T54" fmla="*/ 232 w 291"/>
                  <a:gd name="T55" fmla="*/ 240 h 260"/>
                  <a:gd name="T56" fmla="*/ 210 w 291"/>
                  <a:gd name="T57" fmla="*/ 242 h 260"/>
                  <a:gd name="T58" fmla="*/ 205 w 291"/>
                  <a:gd name="T59" fmla="*/ 237 h 260"/>
                  <a:gd name="T60" fmla="*/ 158 w 291"/>
                  <a:gd name="T61" fmla="*/ 243 h 260"/>
                  <a:gd name="T62" fmla="*/ 133 w 291"/>
                  <a:gd name="T63" fmla="*/ 239 h 260"/>
                  <a:gd name="T64" fmla="*/ 131 w 291"/>
                  <a:gd name="T65" fmla="*/ 236 h 260"/>
                  <a:gd name="T66" fmla="*/ 159 w 291"/>
                  <a:gd name="T67" fmla="*/ 228 h 260"/>
                  <a:gd name="T68" fmla="*/ 152 w 291"/>
                  <a:gd name="T69" fmla="*/ 217 h 260"/>
                  <a:gd name="T70" fmla="*/ 64 w 291"/>
                  <a:gd name="T71" fmla="*/ 199 h 260"/>
                  <a:gd name="T72" fmla="*/ 12 w 291"/>
                  <a:gd name="T73" fmla="*/ 201 h 260"/>
                  <a:gd name="T74" fmla="*/ 34 w 291"/>
                  <a:gd name="T75" fmla="*/ 186 h 260"/>
                  <a:gd name="T76" fmla="*/ 8 w 291"/>
                  <a:gd name="T77" fmla="*/ 176 h 260"/>
                  <a:gd name="T78" fmla="*/ 50 w 291"/>
                  <a:gd name="T79" fmla="*/ 153 h 260"/>
                  <a:gd name="T80" fmla="*/ 106 w 291"/>
                  <a:gd name="T81" fmla="*/ 101 h 260"/>
                  <a:gd name="T82" fmla="*/ 143 w 291"/>
                  <a:gd name="T83" fmla="*/ 65 h 260"/>
                  <a:gd name="T84" fmla="*/ 180 w 291"/>
                  <a:gd name="T85" fmla="*/ 1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1" h="260">
                    <a:moveTo>
                      <a:pt x="180" y="17"/>
                    </a:moveTo>
                    <a:cubicBezTo>
                      <a:pt x="180" y="17"/>
                      <a:pt x="209" y="0"/>
                      <a:pt x="226" y="5"/>
                    </a:cubicBezTo>
                    <a:cubicBezTo>
                      <a:pt x="244" y="10"/>
                      <a:pt x="229" y="20"/>
                      <a:pt x="229" y="20"/>
                    </a:cubicBezTo>
                    <a:cubicBezTo>
                      <a:pt x="215" y="29"/>
                      <a:pt x="215" y="29"/>
                      <a:pt x="215" y="29"/>
                    </a:cubicBezTo>
                    <a:cubicBezTo>
                      <a:pt x="215" y="29"/>
                      <a:pt x="210" y="49"/>
                      <a:pt x="198" y="60"/>
                    </a:cubicBezTo>
                    <a:cubicBezTo>
                      <a:pt x="186" y="71"/>
                      <a:pt x="171" y="72"/>
                      <a:pt x="171" y="72"/>
                    </a:cubicBezTo>
                    <a:cubicBezTo>
                      <a:pt x="147" y="101"/>
                      <a:pt x="147" y="101"/>
                      <a:pt x="147" y="101"/>
                    </a:cubicBezTo>
                    <a:cubicBezTo>
                      <a:pt x="145" y="119"/>
                      <a:pt x="145" y="119"/>
                      <a:pt x="145" y="119"/>
                    </a:cubicBezTo>
                    <a:cubicBezTo>
                      <a:pt x="162" y="106"/>
                      <a:pt x="162" y="106"/>
                      <a:pt x="162" y="106"/>
                    </a:cubicBezTo>
                    <a:cubicBezTo>
                      <a:pt x="180" y="76"/>
                      <a:pt x="180" y="76"/>
                      <a:pt x="180" y="76"/>
                    </a:cubicBezTo>
                    <a:cubicBezTo>
                      <a:pt x="194" y="88"/>
                      <a:pt x="194" y="88"/>
                      <a:pt x="194" y="88"/>
                    </a:cubicBezTo>
                    <a:cubicBezTo>
                      <a:pt x="210" y="94"/>
                      <a:pt x="210" y="94"/>
                      <a:pt x="210" y="94"/>
                    </a:cubicBezTo>
                    <a:cubicBezTo>
                      <a:pt x="202" y="115"/>
                      <a:pt x="202" y="115"/>
                      <a:pt x="202" y="115"/>
                    </a:cubicBezTo>
                    <a:cubicBezTo>
                      <a:pt x="222" y="113"/>
                      <a:pt x="222" y="113"/>
                      <a:pt x="222" y="113"/>
                    </a:cubicBezTo>
                    <a:cubicBezTo>
                      <a:pt x="228" y="132"/>
                      <a:pt x="228" y="132"/>
                      <a:pt x="228" y="132"/>
                    </a:cubicBezTo>
                    <a:cubicBezTo>
                      <a:pt x="262" y="111"/>
                      <a:pt x="262" y="111"/>
                      <a:pt x="262" y="111"/>
                    </a:cubicBezTo>
                    <a:cubicBezTo>
                      <a:pt x="275" y="120"/>
                      <a:pt x="275" y="120"/>
                      <a:pt x="275" y="120"/>
                    </a:cubicBezTo>
                    <a:cubicBezTo>
                      <a:pt x="275" y="120"/>
                      <a:pt x="265" y="135"/>
                      <a:pt x="256" y="138"/>
                    </a:cubicBezTo>
                    <a:cubicBezTo>
                      <a:pt x="248" y="141"/>
                      <a:pt x="274" y="144"/>
                      <a:pt x="280" y="144"/>
                    </a:cubicBezTo>
                    <a:cubicBezTo>
                      <a:pt x="286" y="145"/>
                      <a:pt x="242" y="197"/>
                      <a:pt x="242" y="197"/>
                    </a:cubicBezTo>
                    <a:cubicBezTo>
                      <a:pt x="266" y="198"/>
                      <a:pt x="266" y="198"/>
                      <a:pt x="266" y="198"/>
                    </a:cubicBezTo>
                    <a:cubicBezTo>
                      <a:pt x="244" y="212"/>
                      <a:pt x="244" y="212"/>
                      <a:pt x="244" y="212"/>
                    </a:cubicBezTo>
                    <a:cubicBezTo>
                      <a:pt x="264" y="213"/>
                      <a:pt x="264" y="213"/>
                      <a:pt x="264" y="213"/>
                    </a:cubicBezTo>
                    <a:cubicBezTo>
                      <a:pt x="286" y="204"/>
                      <a:pt x="286" y="204"/>
                      <a:pt x="286" y="204"/>
                    </a:cubicBezTo>
                    <a:cubicBezTo>
                      <a:pt x="291" y="219"/>
                      <a:pt x="291" y="219"/>
                      <a:pt x="291" y="219"/>
                    </a:cubicBezTo>
                    <a:cubicBezTo>
                      <a:pt x="244" y="260"/>
                      <a:pt x="244" y="260"/>
                      <a:pt x="244" y="260"/>
                    </a:cubicBezTo>
                    <a:cubicBezTo>
                      <a:pt x="216" y="256"/>
                      <a:pt x="216" y="256"/>
                      <a:pt x="216" y="256"/>
                    </a:cubicBezTo>
                    <a:cubicBezTo>
                      <a:pt x="232" y="240"/>
                      <a:pt x="232" y="240"/>
                      <a:pt x="232" y="240"/>
                    </a:cubicBezTo>
                    <a:cubicBezTo>
                      <a:pt x="210" y="242"/>
                      <a:pt x="210" y="242"/>
                      <a:pt x="210" y="242"/>
                    </a:cubicBezTo>
                    <a:cubicBezTo>
                      <a:pt x="205" y="237"/>
                      <a:pt x="205" y="237"/>
                      <a:pt x="205" y="237"/>
                    </a:cubicBezTo>
                    <a:cubicBezTo>
                      <a:pt x="158" y="243"/>
                      <a:pt x="158" y="243"/>
                      <a:pt x="158" y="243"/>
                    </a:cubicBezTo>
                    <a:cubicBezTo>
                      <a:pt x="133" y="239"/>
                      <a:pt x="133" y="239"/>
                      <a:pt x="133" y="239"/>
                    </a:cubicBezTo>
                    <a:cubicBezTo>
                      <a:pt x="131" y="236"/>
                      <a:pt x="131" y="236"/>
                      <a:pt x="131" y="236"/>
                    </a:cubicBezTo>
                    <a:cubicBezTo>
                      <a:pt x="159" y="228"/>
                      <a:pt x="159" y="228"/>
                      <a:pt x="159" y="228"/>
                    </a:cubicBezTo>
                    <a:cubicBezTo>
                      <a:pt x="159" y="228"/>
                      <a:pt x="168" y="217"/>
                      <a:pt x="152" y="217"/>
                    </a:cubicBezTo>
                    <a:cubicBezTo>
                      <a:pt x="136" y="216"/>
                      <a:pt x="64" y="199"/>
                      <a:pt x="64" y="199"/>
                    </a:cubicBezTo>
                    <a:cubicBezTo>
                      <a:pt x="64" y="199"/>
                      <a:pt x="24" y="213"/>
                      <a:pt x="12" y="201"/>
                    </a:cubicBezTo>
                    <a:cubicBezTo>
                      <a:pt x="0" y="189"/>
                      <a:pt x="34" y="186"/>
                      <a:pt x="34" y="186"/>
                    </a:cubicBezTo>
                    <a:cubicBezTo>
                      <a:pt x="34" y="186"/>
                      <a:pt x="6" y="183"/>
                      <a:pt x="8" y="176"/>
                    </a:cubicBezTo>
                    <a:cubicBezTo>
                      <a:pt x="10" y="170"/>
                      <a:pt x="50" y="153"/>
                      <a:pt x="50" y="153"/>
                    </a:cubicBezTo>
                    <a:cubicBezTo>
                      <a:pt x="106" y="101"/>
                      <a:pt x="106" y="101"/>
                      <a:pt x="106" y="101"/>
                    </a:cubicBezTo>
                    <a:cubicBezTo>
                      <a:pt x="143" y="65"/>
                      <a:pt x="143" y="65"/>
                      <a:pt x="143" y="65"/>
                    </a:cubicBezTo>
                    <a:lnTo>
                      <a:pt x="180" y="17"/>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60" name="Puerto Rico">
                <a:extLst>
                  <a:ext uri="{FF2B5EF4-FFF2-40B4-BE49-F238E27FC236}">
                    <a16:creationId xmlns:a16="http://schemas.microsoft.com/office/drawing/2014/main" id="{36A7CAF1-6688-4FEF-B999-325F32E214BC}"/>
                  </a:ext>
                </a:extLst>
              </p:cNvPr>
              <p:cNvSpPr>
                <a:spLocks/>
              </p:cNvSpPr>
              <p:nvPr/>
            </p:nvSpPr>
            <p:spPr bwMode="gray">
              <a:xfrm>
                <a:off x="3858528" y="3528184"/>
                <a:ext cx="53984" cy="22215"/>
              </a:xfrm>
              <a:custGeom>
                <a:avLst/>
                <a:gdLst>
                  <a:gd name="T0" fmla="*/ 60 w 97"/>
                  <a:gd name="T1" fmla="*/ 9 h 40"/>
                  <a:gd name="T2" fmla="*/ 15 w 97"/>
                  <a:gd name="T3" fmla="*/ 0 h 40"/>
                  <a:gd name="T4" fmla="*/ 2 w 97"/>
                  <a:gd name="T5" fmla="*/ 32 h 40"/>
                  <a:gd name="T6" fmla="*/ 27 w 97"/>
                  <a:gd name="T7" fmla="*/ 40 h 40"/>
                  <a:gd name="T8" fmla="*/ 33 w 97"/>
                  <a:gd name="T9" fmla="*/ 34 h 40"/>
                  <a:gd name="T10" fmla="*/ 64 w 97"/>
                  <a:gd name="T11" fmla="*/ 34 h 40"/>
                  <a:gd name="T12" fmla="*/ 95 w 97"/>
                  <a:gd name="T13" fmla="*/ 10 h 40"/>
                  <a:gd name="T14" fmla="*/ 60 w 97"/>
                  <a:gd name="T15" fmla="*/ 9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40">
                    <a:moveTo>
                      <a:pt x="60" y="9"/>
                    </a:moveTo>
                    <a:cubicBezTo>
                      <a:pt x="52" y="9"/>
                      <a:pt x="29" y="0"/>
                      <a:pt x="15" y="0"/>
                    </a:cubicBezTo>
                    <a:cubicBezTo>
                      <a:pt x="0" y="0"/>
                      <a:pt x="2" y="32"/>
                      <a:pt x="2" y="32"/>
                    </a:cubicBezTo>
                    <a:cubicBezTo>
                      <a:pt x="27" y="40"/>
                      <a:pt x="27" y="40"/>
                      <a:pt x="27" y="40"/>
                    </a:cubicBezTo>
                    <a:cubicBezTo>
                      <a:pt x="33" y="34"/>
                      <a:pt x="33" y="34"/>
                      <a:pt x="33" y="34"/>
                    </a:cubicBezTo>
                    <a:cubicBezTo>
                      <a:pt x="33" y="34"/>
                      <a:pt x="48" y="36"/>
                      <a:pt x="64" y="34"/>
                    </a:cubicBezTo>
                    <a:cubicBezTo>
                      <a:pt x="81" y="32"/>
                      <a:pt x="97" y="17"/>
                      <a:pt x="95" y="10"/>
                    </a:cubicBezTo>
                    <a:cubicBezTo>
                      <a:pt x="93" y="2"/>
                      <a:pt x="68" y="10"/>
                      <a:pt x="60" y="9"/>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61" name="Panama">
                <a:extLst>
                  <a:ext uri="{FF2B5EF4-FFF2-40B4-BE49-F238E27FC236}">
                    <a16:creationId xmlns:a16="http://schemas.microsoft.com/office/drawing/2014/main" id="{DA5AF8D4-39F6-4A4D-ACAC-ED5903FE7648}"/>
                  </a:ext>
                </a:extLst>
              </p:cNvPr>
              <p:cNvSpPr>
                <a:spLocks/>
              </p:cNvSpPr>
              <p:nvPr/>
            </p:nvSpPr>
            <p:spPr bwMode="gray">
              <a:xfrm>
                <a:off x="3413951" y="3791588"/>
                <a:ext cx="155602" cy="79338"/>
              </a:xfrm>
              <a:custGeom>
                <a:avLst/>
                <a:gdLst>
                  <a:gd name="T0" fmla="*/ 209 w 279"/>
                  <a:gd name="T1" fmla="*/ 47 h 141"/>
                  <a:gd name="T2" fmla="*/ 224 w 279"/>
                  <a:gd name="T3" fmla="*/ 66 h 141"/>
                  <a:gd name="T4" fmla="*/ 232 w 279"/>
                  <a:gd name="T5" fmla="*/ 63 h 141"/>
                  <a:gd name="T6" fmla="*/ 254 w 279"/>
                  <a:gd name="T7" fmla="*/ 81 h 141"/>
                  <a:gd name="T8" fmla="*/ 232 w 279"/>
                  <a:gd name="T9" fmla="*/ 71 h 141"/>
                  <a:gd name="T10" fmla="*/ 229 w 279"/>
                  <a:gd name="T11" fmla="*/ 106 h 141"/>
                  <a:gd name="T12" fmla="*/ 243 w 279"/>
                  <a:gd name="T13" fmla="*/ 128 h 141"/>
                  <a:gd name="T14" fmla="*/ 243 w 279"/>
                  <a:gd name="T15" fmla="*/ 128 h 141"/>
                  <a:gd name="T16" fmla="*/ 253 w 279"/>
                  <a:gd name="T17" fmla="*/ 107 h 141"/>
                  <a:gd name="T18" fmla="*/ 269 w 279"/>
                  <a:gd name="T19" fmla="*/ 109 h 141"/>
                  <a:gd name="T20" fmla="*/ 279 w 279"/>
                  <a:gd name="T21" fmla="*/ 84 h 141"/>
                  <a:gd name="T22" fmla="*/ 266 w 279"/>
                  <a:gd name="T23" fmla="*/ 70 h 141"/>
                  <a:gd name="T24" fmla="*/ 270 w 279"/>
                  <a:gd name="T25" fmla="*/ 58 h 141"/>
                  <a:gd name="T26" fmla="*/ 255 w 279"/>
                  <a:gd name="T27" fmla="*/ 46 h 141"/>
                  <a:gd name="T28" fmla="*/ 236 w 279"/>
                  <a:gd name="T29" fmla="*/ 18 h 141"/>
                  <a:gd name="T30" fmla="*/ 196 w 279"/>
                  <a:gd name="T31" fmla="*/ 13 h 141"/>
                  <a:gd name="T32" fmla="*/ 195 w 279"/>
                  <a:gd name="T33" fmla="*/ 4 h 141"/>
                  <a:gd name="T34" fmla="*/ 163 w 279"/>
                  <a:gd name="T35" fmla="*/ 7 h 141"/>
                  <a:gd name="T36" fmla="*/ 144 w 279"/>
                  <a:gd name="T37" fmla="*/ 27 h 141"/>
                  <a:gd name="T38" fmla="*/ 126 w 279"/>
                  <a:gd name="T39" fmla="*/ 25 h 141"/>
                  <a:gd name="T40" fmla="*/ 94 w 279"/>
                  <a:gd name="T41" fmla="*/ 50 h 141"/>
                  <a:gd name="T42" fmla="*/ 75 w 279"/>
                  <a:gd name="T43" fmla="*/ 43 h 141"/>
                  <a:gd name="T44" fmla="*/ 65 w 279"/>
                  <a:gd name="T45" fmla="*/ 32 h 141"/>
                  <a:gd name="T46" fmla="*/ 59 w 279"/>
                  <a:gd name="T47" fmla="*/ 39 h 141"/>
                  <a:gd name="T48" fmla="*/ 40 w 279"/>
                  <a:gd name="T49" fmla="*/ 35 h 141"/>
                  <a:gd name="T50" fmla="*/ 35 w 279"/>
                  <a:gd name="T51" fmla="*/ 10 h 141"/>
                  <a:gd name="T52" fmla="*/ 27 w 279"/>
                  <a:gd name="T53" fmla="*/ 5 h 141"/>
                  <a:gd name="T54" fmla="*/ 10 w 279"/>
                  <a:gd name="T55" fmla="*/ 11 h 141"/>
                  <a:gd name="T56" fmla="*/ 10 w 279"/>
                  <a:gd name="T57" fmla="*/ 33 h 141"/>
                  <a:gd name="T58" fmla="*/ 24 w 279"/>
                  <a:gd name="T59" fmla="*/ 40 h 141"/>
                  <a:gd name="T60" fmla="*/ 11 w 279"/>
                  <a:gd name="T61" fmla="*/ 51 h 141"/>
                  <a:gd name="T62" fmla="*/ 10 w 279"/>
                  <a:gd name="T63" fmla="*/ 65 h 141"/>
                  <a:gd name="T64" fmla="*/ 6 w 279"/>
                  <a:gd name="T65" fmla="*/ 70 h 141"/>
                  <a:gd name="T66" fmla="*/ 11 w 279"/>
                  <a:gd name="T67" fmla="*/ 75 h 141"/>
                  <a:gd name="T68" fmla="*/ 39 w 279"/>
                  <a:gd name="T69" fmla="*/ 69 h 141"/>
                  <a:gd name="T70" fmla="*/ 44 w 279"/>
                  <a:gd name="T71" fmla="*/ 81 h 141"/>
                  <a:gd name="T72" fmla="*/ 64 w 279"/>
                  <a:gd name="T73" fmla="*/ 80 h 141"/>
                  <a:gd name="T74" fmla="*/ 67 w 279"/>
                  <a:gd name="T75" fmla="*/ 107 h 141"/>
                  <a:gd name="T76" fmla="*/ 86 w 279"/>
                  <a:gd name="T77" fmla="*/ 102 h 141"/>
                  <a:gd name="T78" fmla="*/ 86 w 279"/>
                  <a:gd name="T79" fmla="*/ 89 h 141"/>
                  <a:gd name="T80" fmla="*/ 97 w 279"/>
                  <a:gd name="T81" fmla="*/ 88 h 141"/>
                  <a:gd name="T82" fmla="*/ 115 w 279"/>
                  <a:gd name="T83" fmla="*/ 134 h 141"/>
                  <a:gd name="T84" fmla="*/ 143 w 279"/>
                  <a:gd name="T85" fmla="*/ 118 h 141"/>
                  <a:gd name="T86" fmla="*/ 116 w 279"/>
                  <a:gd name="T87" fmla="*/ 81 h 141"/>
                  <a:gd name="T88" fmla="*/ 147 w 279"/>
                  <a:gd name="T89" fmla="*/ 62 h 141"/>
                  <a:gd name="T90" fmla="*/ 177 w 279"/>
                  <a:gd name="T91" fmla="*/ 36 h 141"/>
                  <a:gd name="T92" fmla="*/ 209 w 279"/>
                  <a:gd name="T93" fmla="*/ 4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9" h="141">
                    <a:moveTo>
                      <a:pt x="209" y="47"/>
                    </a:moveTo>
                    <a:cubicBezTo>
                      <a:pt x="215" y="51"/>
                      <a:pt x="224" y="66"/>
                      <a:pt x="224" y="66"/>
                    </a:cubicBezTo>
                    <a:cubicBezTo>
                      <a:pt x="232" y="63"/>
                      <a:pt x="232" y="63"/>
                      <a:pt x="232" y="63"/>
                    </a:cubicBezTo>
                    <a:cubicBezTo>
                      <a:pt x="254" y="81"/>
                      <a:pt x="254" y="81"/>
                      <a:pt x="254" y="81"/>
                    </a:cubicBezTo>
                    <a:cubicBezTo>
                      <a:pt x="232" y="71"/>
                      <a:pt x="232" y="71"/>
                      <a:pt x="232" y="71"/>
                    </a:cubicBezTo>
                    <a:cubicBezTo>
                      <a:pt x="232" y="71"/>
                      <a:pt x="229" y="100"/>
                      <a:pt x="229" y="106"/>
                    </a:cubicBezTo>
                    <a:cubicBezTo>
                      <a:pt x="229" y="111"/>
                      <a:pt x="240" y="124"/>
                      <a:pt x="243" y="128"/>
                    </a:cubicBezTo>
                    <a:cubicBezTo>
                      <a:pt x="243" y="128"/>
                      <a:pt x="243" y="128"/>
                      <a:pt x="243" y="128"/>
                    </a:cubicBezTo>
                    <a:cubicBezTo>
                      <a:pt x="253" y="107"/>
                      <a:pt x="253" y="107"/>
                      <a:pt x="253" y="107"/>
                    </a:cubicBezTo>
                    <a:cubicBezTo>
                      <a:pt x="253" y="107"/>
                      <a:pt x="260" y="117"/>
                      <a:pt x="269" y="109"/>
                    </a:cubicBezTo>
                    <a:cubicBezTo>
                      <a:pt x="279" y="101"/>
                      <a:pt x="279" y="84"/>
                      <a:pt x="279" y="84"/>
                    </a:cubicBezTo>
                    <a:cubicBezTo>
                      <a:pt x="279" y="84"/>
                      <a:pt x="266" y="77"/>
                      <a:pt x="266" y="70"/>
                    </a:cubicBezTo>
                    <a:cubicBezTo>
                      <a:pt x="266" y="64"/>
                      <a:pt x="269" y="59"/>
                      <a:pt x="270" y="58"/>
                    </a:cubicBezTo>
                    <a:cubicBezTo>
                      <a:pt x="255" y="46"/>
                      <a:pt x="255" y="46"/>
                      <a:pt x="255" y="46"/>
                    </a:cubicBezTo>
                    <a:cubicBezTo>
                      <a:pt x="255" y="46"/>
                      <a:pt x="251" y="24"/>
                      <a:pt x="236" y="18"/>
                    </a:cubicBezTo>
                    <a:cubicBezTo>
                      <a:pt x="221" y="12"/>
                      <a:pt x="196" y="13"/>
                      <a:pt x="196" y="13"/>
                    </a:cubicBezTo>
                    <a:cubicBezTo>
                      <a:pt x="195" y="4"/>
                      <a:pt x="195" y="4"/>
                      <a:pt x="195" y="4"/>
                    </a:cubicBezTo>
                    <a:cubicBezTo>
                      <a:pt x="195" y="4"/>
                      <a:pt x="169" y="0"/>
                      <a:pt x="163" y="7"/>
                    </a:cubicBezTo>
                    <a:cubicBezTo>
                      <a:pt x="157" y="14"/>
                      <a:pt x="144" y="27"/>
                      <a:pt x="144" y="27"/>
                    </a:cubicBezTo>
                    <a:cubicBezTo>
                      <a:pt x="144" y="27"/>
                      <a:pt x="134" y="18"/>
                      <a:pt x="126" y="25"/>
                    </a:cubicBezTo>
                    <a:cubicBezTo>
                      <a:pt x="118" y="32"/>
                      <a:pt x="104" y="50"/>
                      <a:pt x="94" y="50"/>
                    </a:cubicBezTo>
                    <a:cubicBezTo>
                      <a:pt x="84" y="50"/>
                      <a:pt x="75" y="43"/>
                      <a:pt x="75" y="43"/>
                    </a:cubicBezTo>
                    <a:cubicBezTo>
                      <a:pt x="65" y="32"/>
                      <a:pt x="65" y="32"/>
                      <a:pt x="65" y="32"/>
                    </a:cubicBezTo>
                    <a:cubicBezTo>
                      <a:pt x="59" y="39"/>
                      <a:pt x="59" y="39"/>
                      <a:pt x="59" y="39"/>
                    </a:cubicBezTo>
                    <a:cubicBezTo>
                      <a:pt x="59" y="39"/>
                      <a:pt x="45" y="44"/>
                      <a:pt x="40" y="35"/>
                    </a:cubicBezTo>
                    <a:cubicBezTo>
                      <a:pt x="35" y="26"/>
                      <a:pt x="42" y="16"/>
                      <a:pt x="35" y="10"/>
                    </a:cubicBezTo>
                    <a:cubicBezTo>
                      <a:pt x="33" y="8"/>
                      <a:pt x="30" y="7"/>
                      <a:pt x="27" y="5"/>
                    </a:cubicBezTo>
                    <a:cubicBezTo>
                      <a:pt x="23" y="6"/>
                      <a:pt x="16" y="9"/>
                      <a:pt x="10" y="11"/>
                    </a:cubicBezTo>
                    <a:cubicBezTo>
                      <a:pt x="0" y="14"/>
                      <a:pt x="10" y="33"/>
                      <a:pt x="10" y="33"/>
                    </a:cubicBezTo>
                    <a:cubicBezTo>
                      <a:pt x="10" y="33"/>
                      <a:pt x="24" y="35"/>
                      <a:pt x="24" y="40"/>
                    </a:cubicBezTo>
                    <a:cubicBezTo>
                      <a:pt x="24" y="45"/>
                      <a:pt x="11" y="51"/>
                      <a:pt x="11" y="51"/>
                    </a:cubicBezTo>
                    <a:cubicBezTo>
                      <a:pt x="10" y="65"/>
                      <a:pt x="10" y="65"/>
                      <a:pt x="10" y="65"/>
                    </a:cubicBezTo>
                    <a:cubicBezTo>
                      <a:pt x="6" y="70"/>
                      <a:pt x="6" y="70"/>
                      <a:pt x="6" y="70"/>
                    </a:cubicBezTo>
                    <a:cubicBezTo>
                      <a:pt x="11" y="75"/>
                      <a:pt x="11" y="75"/>
                      <a:pt x="11" y="75"/>
                    </a:cubicBezTo>
                    <a:cubicBezTo>
                      <a:pt x="39" y="69"/>
                      <a:pt x="39" y="69"/>
                      <a:pt x="39" y="69"/>
                    </a:cubicBezTo>
                    <a:cubicBezTo>
                      <a:pt x="44" y="81"/>
                      <a:pt x="44" y="81"/>
                      <a:pt x="44" y="81"/>
                    </a:cubicBezTo>
                    <a:cubicBezTo>
                      <a:pt x="64" y="80"/>
                      <a:pt x="64" y="80"/>
                      <a:pt x="64" y="80"/>
                    </a:cubicBezTo>
                    <a:cubicBezTo>
                      <a:pt x="64" y="80"/>
                      <a:pt x="59" y="102"/>
                      <a:pt x="67" y="107"/>
                    </a:cubicBezTo>
                    <a:cubicBezTo>
                      <a:pt x="75" y="112"/>
                      <a:pt x="86" y="102"/>
                      <a:pt x="86" y="102"/>
                    </a:cubicBezTo>
                    <a:cubicBezTo>
                      <a:pt x="86" y="89"/>
                      <a:pt x="86" y="89"/>
                      <a:pt x="86" y="89"/>
                    </a:cubicBezTo>
                    <a:cubicBezTo>
                      <a:pt x="97" y="88"/>
                      <a:pt x="97" y="88"/>
                      <a:pt x="97" y="88"/>
                    </a:cubicBezTo>
                    <a:cubicBezTo>
                      <a:pt x="97" y="88"/>
                      <a:pt x="101" y="141"/>
                      <a:pt x="115" y="134"/>
                    </a:cubicBezTo>
                    <a:cubicBezTo>
                      <a:pt x="129" y="127"/>
                      <a:pt x="143" y="118"/>
                      <a:pt x="143" y="118"/>
                    </a:cubicBezTo>
                    <a:cubicBezTo>
                      <a:pt x="143" y="118"/>
                      <a:pt x="105" y="91"/>
                      <a:pt x="116" y="81"/>
                    </a:cubicBezTo>
                    <a:cubicBezTo>
                      <a:pt x="127" y="71"/>
                      <a:pt x="138" y="70"/>
                      <a:pt x="147" y="62"/>
                    </a:cubicBezTo>
                    <a:cubicBezTo>
                      <a:pt x="156" y="54"/>
                      <a:pt x="167" y="34"/>
                      <a:pt x="177" y="36"/>
                    </a:cubicBezTo>
                    <a:cubicBezTo>
                      <a:pt x="187" y="38"/>
                      <a:pt x="203" y="43"/>
                      <a:pt x="209" y="47"/>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62" name="Nicaragua">
                <a:extLst>
                  <a:ext uri="{FF2B5EF4-FFF2-40B4-BE49-F238E27FC236}">
                    <a16:creationId xmlns:a16="http://schemas.microsoft.com/office/drawing/2014/main" id="{541703C3-BC6A-406A-B66F-3FD1FD7E81BB}"/>
                  </a:ext>
                </a:extLst>
              </p:cNvPr>
              <p:cNvSpPr>
                <a:spLocks noEditPoints="1"/>
              </p:cNvSpPr>
              <p:nvPr/>
            </p:nvSpPr>
            <p:spPr bwMode="gray">
              <a:xfrm>
                <a:off x="3304396" y="3636083"/>
                <a:ext cx="122258" cy="123768"/>
              </a:xfrm>
              <a:custGeom>
                <a:avLst/>
                <a:gdLst>
                  <a:gd name="T0" fmla="*/ 128 w 220"/>
                  <a:gd name="T1" fmla="*/ 204 h 223"/>
                  <a:gd name="T2" fmla="*/ 128 w 220"/>
                  <a:gd name="T3" fmla="*/ 204 h 223"/>
                  <a:gd name="T4" fmla="*/ 128 w 220"/>
                  <a:gd name="T5" fmla="*/ 204 h 223"/>
                  <a:gd name="T6" fmla="*/ 128 w 220"/>
                  <a:gd name="T7" fmla="*/ 204 h 223"/>
                  <a:gd name="T8" fmla="*/ 218 w 220"/>
                  <a:gd name="T9" fmla="*/ 15 h 223"/>
                  <a:gd name="T10" fmla="*/ 211 w 220"/>
                  <a:gd name="T11" fmla="*/ 1 h 223"/>
                  <a:gd name="T12" fmla="*/ 192 w 220"/>
                  <a:gd name="T13" fmla="*/ 2 h 223"/>
                  <a:gd name="T14" fmla="*/ 181 w 220"/>
                  <a:gd name="T15" fmla="*/ 2 h 223"/>
                  <a:gd name="T16" fmla="*/ 168 w 220"/>
                  <a:gd name="T17" fmla="*/ 12 h 223"/>
                  <a:gd name="T18" fmla="*/ 143 w 220"/>
                  <a:gd name="T19" fmla="*/ 1 h 223"/>
                  <a:gd name="T20" fmla="*/ 133 w 220"/>
                  <a:gd name="T21" fmla="*/ 20 h 223"/>
                  <a:gd name="T22" fmla="*/ 120 w 220"/>
                  <a:gd name="T23" fmla="*/ 21 h 223"/>
                  <a:gd name="T24" fmla="*/ 119 w 220"/>
                  <a:gd name="T25" fmla="*/ 31 h 223"/>
                  <a:gd name="T26" fmla="*/ 92 w 220"/>
                  <a:gd name="T27" fmla="*/ 54 h 223"/>
                  <a:gd name="T28" fmla="*/ 78 w 220"/>
                  <a:gd name="T29" fmla="*/ 45 h 223"/>
                  <a:gd name="T30" fmla="*/ 65 w 220"/>
                  <a:gd name="T31" fmla="*/ 59 h 223"/>
                  <a:gd name="T32" fmla="*/ 45 w 220"/>
                  <a:gd name="T33" fmla="*/ 58 h 223"/>
                  <a:gd name="T34" fmla="*/ 44 w 220"/>
                  <a:gd name="T35" fmla="*/ 85 h 223"/>
                  <a:gd name="T36" fmla="*/ 35 w 220"/>
                  <a:gd name="T37" fmla="*/ 87 h 223"/>
                  <a:gd name="T38" fmla="*/ 33 w 220"/>
                  <a:gd name="T39" fmla="*/ 98 h 223"/>
                  <a:gd name="T40" fmla="*/ 19 w 220"/>
                  <a:gd name="T41" fmla="*/ 102 h 223"/>
                  <a:gd name="T42" fmla="*/ 0 w 220"/>
                  <a:gd name="T43" fmla="*/ 102 h 223"/>
                  <a:gd name="T44" fmla="*/ 32 w 220"/>
                  <a:gd name="T45" fmla="*/ 136 h 223"/>
                  <a:gd name="T46" fmla="*/ 50 w 220"/>
                  <a:gd name="T47" fmla="*/ 175 h 223"/>
                  <a:gd name="T48" fmla="*/ 80 w 220"/>
                  <a:gd name="T49" fmla="*/ 199 h 223"/>
                  <a:gd name="T50" fmla="*/ 92 w 220"/>
                  <a:gd name="T51" fmla="*/ 198 h 223"/>
                  <a:gd name="T52" fmla="*/ 92 w 220"/>
                  <a:gd name="T53" fmla="*/ 197 h 223"/>
                  <a:gd name="T54" fmla="*/ 81 w 220"/>
                  <a:gd name="T55" fmla="*/ 187 h 223"/>
                  <a:gd name="T56" fmla="*/ 95 w 220"/>
                  <a:gd name="T57" fmla="*/ 181 h 223"/>
                  <a:gd name="T58" fmla="*/ 90 w 220"/>
                  <a:gd name="T59" fmla="*/ 175 h 223"/>
                  <a:gd name="T60" fmla="*/ 79 w 220"/>
                  <a:gd name="T61" fmla="*/ 177 h 223"/>
                  <a:gd name="T62" fmla="*/ 79 w 220"/>
                  <a:gd name="T63" fmla="*/ 149 h 223"/>
                  <a:gd name="T64" fmla="*/ 123 w 220"/>
                  <a:gd name="T65" fmla="*/ 185 h 223"/>
                  <a:gd name="T66" fmla="*/ 128 w 220"/>
                  <a:gd name="T67" fmla="*/ 204 h 223"/>
                  <a:gd name="T68" fmla="*/ 132 w 220"/>
                  <a:gd name="T69" fmla="*/ 204 h 223"/>
                  <a:gd name="T70" fmla="*/ 150 w 220"/>
                  <a:gd name="T71" fmla="*/ 211 h 223"/>
                  <a:gd name="T72" fmla="*/ 162 w 220"/>
                  <a:gd name="T73" fmla="*/ 223 h 223"/>
                  <a:gd name="T74" fmla="*/ 183 w 220"/>
                  <a:gd name="T75" fmla="*/ 220 h 223"/>
                  <a:gd name="T76" fmla="*/ 170 w 220"/>
                  <a:gd name="T77" fmla="*/ 192 h 223"/>
                  <a:gd name="T78" fmla="*/ 182 w 220"/>
                  <a:gd name="T79" fmla="*/ 172 h 223"/>
                  <a:gd name="T80" fmla="*/ 177 w 220"/>
                  <a:gd name="T81" fmla="*/ 151 h 223"/>
                  <a:gd name="T82" fmla="*/ 181 w 220"/>
                  <a:gd name="T83" fmla="*/ 119 h 223"/>
                  <a:gd name="T84" fmla="*/ 191 w 220"/>
                  <a:gd name="T85" fmla="*/ 131 h 223"/>
                  <a:gd name="T86" fmla="*/ 194 w 220"/>
                  <a:gd name="T87" fmla="*/ 74 h 223"/>
                  <a:gd name="T88" fmla="*/ 209 w 220"/>
                  <a:gd name="T89" fmla="*/ 44 h 223"/>
                  <a:gd name="T90" fmla="*/ 218 w 220"/>
                  <a:gd name="T91" fmla="*/ 1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0" h="223">
                    <a:moveTo>
                      <a:pt x="128" y="204"/>
                    </a:moveTo>
                    <a:cubicBezTo>
                      <a:pt x="128" y="204"/>
                      <a:pt x="128" y="204"/>
                      <a:pt x="128" y="204"/>
                    </a:cubicBezTo>
                    <a:cubicBezTo>
                      <a:pt x="128" y="204"/>
                      <a:pt x="128" y="204"/>
                      <a:pt x="128" y="204"/>
                    </a:cubicBezTo>
                    <a:cubicBezTo>
                      <a:pt x="128" y="204"/>
                      <a:pt x="128" y="204"/>
                      <a:pt x="128" y="204"/>
                    </a:cubicBezTo>
                    <a:close/>
                    <a:moveTo>
                      <a:pt x="218" y="15"/>
                    </a:moveTo>
                    <a:cubicBezTo>
                      <a:pt x="216" y="10"/>
                      <a:pt x="210" y="5"/>
                      <a:pt x="211" y="1"/>
                    </a:cubicBezTo>
                    <a:cubicBezTo>
                      <a:pt x="192" y="2"/>
                      <a:pt x="192" y="2"/>
                      <a:pt x="192" y="2"/>
                    </a:cubicBezTo>
                    <a:cubicBezTo>
                      <a:pt x="192" y="2"/>
                      <a:pt x="185" y="2"/>
                      <a:pt x="181" y="2"/>
                    </a:cubicBezTo>
                    <a:cubicBezTo>
                      <a:pt x="177" y="2"/>
                      <a:pt x="178" y="11"/>
                      <a:pt x="168" y="12"/>
                    </a:cubicBezTo>
                    <a:cubicBezTo>
                      <a:pt x="158" y="13"/>
                      <a:pt x="152" y="2"/>
                      <a:pt x="143" y="1"/>
                    </a:cubicBezTo>
                    <a:cubicBezTo>
                      <a:pt x="134" y="0"/>
                      <a:pt x="133" y="20"/>
                      <a:pt x="133" y="20"/>
                    </a:cubicBezTo>
                    <a:cubicBezTo>
                      <a:pt x="120" y="21"/>
                      <a:pt x="120" y="21"/>
                      <a:pt x="120" y="21"/>
                    </a:cubicBezTo>
                    <a:cubicBezTo>
                      <a:pt x="119" y="31"/>
                      <a:pt x="119" y="31"/>
                      <a:pt x="119" y="31"/>
                    </a:cubicBezTo>
                    <a:cubicBezTo>
                      <a:pt x="119" y="31"/>
                      <a:pt x="107" y="54"/>
                      <a:pt x="92" y="54"/>
                    </a:cubicBezTo>
                    <a:cubicBezTo>
                      <a:pt x="77" y="54"/>
                      <a:pt x="86" y="46"/>
                      <a:pt x="78" y="45"/>
                    </a:cubicBezTo>
                    <a:cubicBezTo>
                      <a:pt x="70" y="44"/>
                      <a:pt x="65" y="59"/>
                      <a:pt x="65" y="59"/>
                    </a:cubicBezTo>
                    <a:cubicBezTo>
                      <a:pt x="65" y="59"/>
                      <a:pt x="60" y="58"/>
                      <a:pt x="45" y="58"/>
                    </a:cubicBezTo>
                    <a:cubicBezTo>
                      <a:pt x="30" y="58"/>
                      <a:pt x="44" y="85"/>
                      <a:pt x="44" y="85"/>
                    </a:cubicBezTo>
                    <a:cubicBezTo>
                      <a:pt x="35" y="87"/>
                      <a:pt x="35" y="87"/>
                      <a:pt x="35" y="87"/>
                    </a:cubicBezTo>
                    <a:cubicBezTo>
                      <a:pt x="35" y="87"/>
                      <a:pt x="39" y="96"/>
                      <a:pt x="33" y="98"/>
                    </a:cubicBezTo>
                    <a:cubicBezTo>
                      <a:pt x="27" y="100"/>
                      <a:pt x="19" y="102"/>
                      <a:pt x="19" y="102"/>
                    </a:cubicBezTo>
                    <a:cubicBezTo>
                      <a:pt x="0" y="102"/>
                      <a:pt x="0" y="102"/>
                      <a:pt x="0" y="102"/>
                    </a:cubicBezTo>
                    <a:cubicBezTo>
                      <a:pt x="32" y="136"/>
                      <a:pt x="32" y="136"/>
                      <a:pt x="32" y="136"/>
                    </a:cubicBezTo>
                    <a:cubicBezTo>
                      <a:pt x="32" y="136"/>
                      <a:pt x="40" y="167"/>
                      <a:pt x="50" y="175"/>
                    </a:cubicBezTo>
                    <a:cubicBezTo>
                      <a:pt x="59" y="182"/>
                      <a:pt x="77" y="196"/>
                      <a:pt x="80" y="199"/>
                    </a:cubicBezTo>
                    <a:cubicBezTo>
                      <a:pt x="83" y="198"/>
                      <a:pt x="89" y="197"/>
                      <a:pt x="92" y="198"/>
                    </a:cubicBezTo>
                    <a:cubicBezTo>
                      <a:pt x="92" y="197"/>
                      <a:pt x="92" y="197"/>
                      <a:pt x="92" y="197"/>
                    </a:cubicBezTo>
                    <a:cubicBezTo>
                      <a:pt x="89" y="195"/>
                      <a:pt x="78" y="191"/>
                      <a:pt x="81" y="187"/>
                    </a:cubicBezTo>
                    <a:cubicBezTo>
                      <a:pt x="84" y="183"/>
                      <a:pt x="99" y="188"/>
                      <a:pt x="95" y="181"/>
                    </a:cubicBezTo>
                    <a:cubicBezTo>
                      <a:pt x="91" y="175"/>
                      <a:pt x="90" y="175"/>
                      <a:pt x="90" y="175"/>
                    </a:cubicBezTo>
                    <a:cubicBezTo>
                      <a:pt x="90" y="175"/>
                      <a:pt x="79" y="179"/>
                      <a:pt x="79" y="177"/>
                    </a:cubicBezTo>
                    <a:cubicBezTo>
                      <a:pt x="78" y="175"/>
                      <a:pt x="72" y="147"/>
                      <a:pt x="79" y="149"/>
                    </a:cubicBezTo>
                    <a:cubicBezTo>
                      <a:pt x="86" y="151"/>
                      <a:pt x="119" y="177"/>
                      <a:pt x="123" y="185"/>
                    </a:cubicBezTo>
                    <a:cubicBezTo>
                      <a:pt x="126" y="189"/>
                      <a:pt x="127" y="197"/>
                      <a:pt x="128" y="204"/>
                    </a:cubicBezTo>
                    <a:cubicBezTo>
                      <a:pt x="129" y="204"/>
                      <a:pt x="131" y="204"/>
                      <a:pt x="132" y="204"/>
                    </a:cubicBezTo>
                    <a:cubicBezTo>
                      <a:pt x="145" y="205"/>
                      <a:pt x="150" y="211"/>
                      <a:pt x="150" y="211"/>
                    </a:cubicBezTo>
                    <a:cubicBezTo>
                      <a:pt x="150" y="211"/>
                      <a:pt x="150" y="223"/>
                      <a:pt x="162" y="223"/>
                    </a:cubicBezTo>
                    <a:cubicBezTo>
                      <a:pt x="168" y="223"/>
                      <a:pt x="176" y="222"/>
                      <a:pt x="183" y="220"/>
                    </a:cubicBezTo>
                    <a:cubicBezTo>
                      <a:pt x="180" y="218"/>
                      <a:pt x="170" y="205"/>
                      <a:pt x="170" y="192"/>
                    </a:cubicBezTo>
                    <a:cubicBezTo>
                      <a:pt x="170" y="177"/>
                      <a:pt x="182" y="181"/>
                      <a:pt x="182" y="172"/>
                    </a:cubicBezTo>
                    <a:cubicBezTo>
                      <a:pt x="182" y="163"/>
                      <a:pt x="177" y="151"/>
                      <a:pt x="177" y="151"/>
                    </a:cubicBezTo>
                    <a:cubicBezTo>
                      <a:pt x="181" y="119"/>
                      <a:pt x="181" y="119"/>
                      <a:pt x="181" y="119"/>
                    </a:cubicBezTo>
                    <a:cubicBezTo>
                      <a:pt x="191" y="131"/>
                      <a:pt x="191" y="131"/>
                      <a:pt x="191" y="131"/>
                    </a:cubicBezTo>
                    <a:cubicBezTo>
                      <a:pt x="194" y="74"/>
                      <a:pt x="194" y="74"/>
                      <a:pt x="194" y="74"/>
                    </a:cubicBezTo>
                    <a:cubicBezTo>
                      <a:pt x="194" y="74"/>
                      <a:pt x="200" y="53"/>
                      <a:pt x="209" y="44"/>
                    </a:cubicBezTo>
                    <a:cubicBezTo>
                      <a:pt x="218" y="35"/>
                      <a:pt x="220" y="20"/>
                      <a:pt x="218" y="15"/>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63" name="Mexico">
                <a:extLst>
                  <a:ext uri="{FF2B5EF4-FFF2-40B4-BE49-F238E27FC236}">
                    <a16:creationId xmlns:a16="http://schemas.microsoft.com/office/drawing/2014/main" id="{E4A8DEE3-DCA7-4B52-8C10-99954575F689}"/>
                  </a:ext>
                </a:extLst>
              </p:cNvPr>
              <p:cNvSpPr>
                <a:spLocks/>
              </p:cNvSpPr>
              <p:nvPr/>
            </p:nvSpPr>
            <p:spPr bwMode="gray">
              <a:xfrm>
                <a:off x="2664522" y="3101344"/>
                <a:ext cx="697033" cy="545847"/>
              </a:xfrm>
              <a:custGeom>
                <a:avLst/>
                <a:gdLst>
                  <a:gd name="T0" fmla="*/ 968 w 1247"/>
                  <a:gd name="T1" fmla="*/ 891 h 976"/>
                  <a:gd name="T2" fmla="*/ 1036 w 1247"/>
                  <a:gd name="T3" fmla="*/ 874 h 976"/>
                  <a:gd name="T4" fmla="*/ 1008 w 1247"/>
                  <a:gd name="T5" fmla="*/ 851 h 976"/>
                  <a:gd name="T6" fmla="*/ 1015 w 1247"/>
                  <a:gd name="T7" fmla="*/ 825 h 976"/>
                  <a:gd name="T8" fmla="*/ 1108 w 1247"/>
                  <a:gd name="T9" fmla="*/ 786 h 976"/>
                  <a:gd name="T10" fmla="*/ 1139 w 1247"/>
                  <a:gd name="T11" fmla="*/ 771 h 976"/>
                  <a:gd name="T12" fmla="*/ 1162 w 1247"/>
                  <a:gd name="T13" fmla="*/ 767 h 976"/>
                  <a:gd name="T14" fmla="*/ 1182 w 1247"/>
                  <a:gd name="T15" fmla="*/ 717 h 976"/>
                  <a:gd name="T16" fmla="*/ 1184 w 1247"/>
                  <a:gd name="T17" fmla="*/ 701 h 976"/>
                  <a:gd name="T18" fmla="*/ 1234 w 1247"/>
                  <a:gd name="T19" fmla="*/ 632 h 976"/>
                  <a:gd name="T20" fmla="*/ 1172 w 1247"/>
                  <a:gd name="T21" fmla="*/ 594 h 976"/>
                  <a:gd name="T22" fmla="*/ 1060 w 1247"/>
                  <a:gd name="T23" fmla="*/ 655 h 976"/>
                  <a:gd name="T24" fmla="*/ 1043 w 1247"/>
                  <a:gd name="T25" fmla="*/ 716 h 976"/>
                  <a:gd name="T26" fmla="*/ 974 w 1247"/>
                  <a:gd name="T27" fmla="*/ 749 h 976"/>
                  <a:gd name="T28" fmla="*/ 836 w 1247"/>
                  <a:gd name="T29" fmla="*/ 753 h 976"/>
                  <a:gd name="T30" fmla="*/ 777 w 1247"/>
                  <a:gd name="T31" fmla="*/ 708 h 976"/>
                  <a:gd name="T32" fmla="*/ 750 w 1247"/>
                  <a:gd name="T33" fmla="*/ 616 h 976"/>
                  <a:gd name="T34" fmla="*/ 752 w 1247"/>
                  <a:gd name="T35" fmla="*/ 507 h 976"/>
                  <a:gd name="T36" fmla="*/ 768 w 1247"/>
                  <a:gd name="T37" fmla="*/ 434 h 976"/>
                  <a:gd name="T38" fmla="*/ 806 w 1247"/>
                  <a:gd name="T39" fmla="*/ 364 h 976"/>
                  <a:gd name="T40" fmla="*/ 780 w 1247"/>
                  <a:gd name="T41" fmla="*/ 355 h 976"/>
                  <a:gd name="T42" fmla="*/ 720 w 1247"/>
                  <a:gd name="T43" fmla="*/ 332 h 976"/>
                  <a:gd name="T44" fmla="*/ 714 w 1247"/>
                  <a:gd name="T45" fmla="*/ 280 h 976"/>
                  <a:gd name="T46" fmla="*/ 700 w 1247"/>
                  <a:gd name="T47" fmla="*/ 241 h 976"/>
                  <a:gd name="T48" fmla="*/ 661 w 1247"/>
                  <a:gd name="T49" fmla="*/ 154 h 976"/>
                  <a:gd name="T50" fmla="*/ 621 w 1247"/>
                  <a:gd name="T51" fmla="*/ 154 h 976"/>
                  <a:gd name="T52" fmla="*/ 519 w 1247"/>
                  <a:gd name="T53" fmla="*/ 161 h 976"/>
                  <a:gd name="T54" fmla="*/ 491 w 1247"/>
                  <a:gd name="T55" fmla="*/ 76 h 976"/>
                  <a:gd name="T56" fmla="*/ 390 w 1247"/>
                  <a:gd name="T57" fmla="*/ 45 h 976"/>
                  <a:gd name="T58" fmla="*/ 378 w 1247"/>
                  <a:gd name="T59" fmla="*/ 72 h 976"/>
                  <a:gd name="T60" fmla="*/ 106 w 1247"/>
                  <a:gd name="T61" fmla="*/ 0 h 976"/>
                  <a:gd name="T62" fmla="*/ 0 w 1247"/>
                  <a:gd name="T63" fmla="*/ 25 h 976"/>
                  <a:gd name="T64" fmla="*/ 10 w 1247"/>
                  <a:gd name="T65" fmla="*/ 76 h 976"/>
                  <a:gd name="T66" fmla="*/ 5 w 1247"/>
                  <a:gd name="T67" fmla="*/ 117 h 976"/>
                  <a:gd name="T68" fmla="*/ 42 w 1247"/>
                  <a:gd name="T69" fmla="*/ 176 h 976"/>
                  <a:gd name="T70" fmla="*/ 58 w 1247"/>
                  <a:gd name="T71" fmla="*/ 267 h 976"/>
                  <a:gd name="T72" fmla="*/ 7 w 1247"/>
                  <a:gd name="T73" fmla="*/ 261 h 976"/>
                  <a:gd name="T74" fmla="*/ 43 w 1247"/>
                  <a:gd name="T75" fmla="*/ 296 h 976"/>
                  <a:gd name="T76" fmla="*/ 91 w 1247"/>
                  <a:gd name="T77" fmla="*/ 337 h 976"/>
                  <a:gd name="T78" fmla="*/ 142 w 1247"/>
                  <a:gd name="T79" fmla="*/ 459 h 976"/>
                  <a:gd name="T80" fmla="*/ 210 w 1247"/>
                  <a:gd name="T81" fmla="*/ 506 h 976"/>
                  <a:gd name="T82" fmla="*/ 172 w 1247"/>
                  <a:gd name="T83" fmla="*/ 452 h 976"/>
                  <a:gd name="T84" fmla="*/ 162 w 1247"/>
                  <a:gd name="T85" fmla="*/ 387 h 976"/>
                  <a:gd name="T86" fmla="*/ 131 w 1247"/>
                  <a:gd name="T87" fmla="*/ 319 h 976"/>
                  <a:gd name="T88" fmla="*/ 116 w 1247"/>
                  <a:gd name="T89" fmla="*/ 227 h 976"/>
                  <a:gd name="T90" fmla="*/ 66 w 1247"/>
                  <a:gd name="T91" fmla="*/ 128 h 976"/>
                  <a:gd name="T92" fmla="*/ 84 w 1247"/>
                  <a:gd name="T93" fmla="*/ 42 h 976"/>
                  <a:gd name="T94" fmla="*/ 138 w 1247"/>
                  <a:gd name="T95" fmla="*/ 73 h 976"/>
                  <a:gd name="T96" fmla="*/ 160 w 1247"/>
                  <a:gd name="T97" fmla="*/ 180 h 976"/>
                  <a:gd name="T98" fmla="*/ 208 w 1247"/>
                  <a:gd name="T99" fmla="*/ 284 h 976"/>
                  <a:gd name="T100" fmla="*/ 257 w 1247"/>
                  <a:gd name="T101" fmla="*/ 318 h 976"/>
                  <a:gd name="T102" fmla="*/ 255 w 1247"/>
                  <a:gd name="T103" fmla="*/ 375 h 976"/>
                  <a:gd name="T104" fmla="*/ 294 w 1247"/>
                  <a:gd name="T105" fmla="*/ 418 h 976"/>
                  <a:gd name="T106" fmla="*/ 313 w 1247"/>
                  <a:gd name="T107" fmla="*/ 456 h 976"/>
                  <a:gd name="T108" fmla="*/ 371 w 1247"/>
                  <a:gd name="T109" fmla="*/ 575 h 976"/>
                  <a:gd name="T110" fmla="*/ 375 w 1247"/>
                  <a:gd name="T111" fmla="*/ 645 h 976"/>
                  <a:gd name="T112" fmla="*/ 423 w 1247"/>
                  <a:gd name="T113" fmla="*/ 740 h 976"/>
                  <a:gd name="T114" fmla="*/ 556 w 1247"/>
                  <a:gd name="T115" fmla="*/ 838 h 976"/>
                  <a:gd name="T116" fmla="*/ 677 w 1247"/>
                  <a:gd name="T117" fmla="*/ 899 h 976"/>
                  <a:gd name="T118" fmla="*/ 840 w 1247"/>
                  <a:gd name="T119" fmla="*/ 878 h 976"/>
                  <a:gd name="T120" fmla="*/ 947 w 1247"/>
                  <a:gd name="T121" fmla="*/ 96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47" h="976">
                    <a:moveTo>
                      <a:pt x="947" y="960"/>
                    </a:moveTo>
                    <a:cubicBezTo>
                      <a:pt x="947" y="944"/>
                      <a:pt x="947" y="922"/>
                      <a:pt x="947" y="922"/>
                    </a:cubicBezTo>
                    <a:cubicBezTo>
                      <a:pt x="968" y="891"/>
                      <a:pt x="968" y="891"/>
                      <a:pt x="968" y="891"/>
                    </a:cubicBezTo>
                    <a:cubicBezTo>
                      <a:pt x="1027" y="892"/>
                      <a:pt x="1027" y="892"/>
                      <a:pt x="1027" y="892"/>
                    </a:cubicBezTo>
                    <a:cubicBezTo>
                      <a:pt x="1027" y="881"/>
                      <a:pt x="1027" y="881"/>
                      <a:pt x="1027" y="881"/>
                    </a:cubicBezTo>
                    <a:cubicBezTo>
                      <a:pt x="1027" y="881"/>
                      <a:pt x="1036" y="884"/>
                      <a:pt x="1036" y="874"/>
                    </a:cubicBezTo>
                    <a:cubicBezTo>
                      <a:pt x="1036" y="864"/>
                      <a:pt x="1024" y="868"/>
                      <a:pt x="1024" y="868"/>
                    </a:cubicBezTo>
                    <a:cubicBezTo>
                      <a:pt x="1020" y="852"/>
                      <a:pt x="1020" y="852"/>
                      <a:pt x="1020" y="852"/>
                    </a:cubicBezTo>
                    <a:cubicBezTo>
                      <a:pt x="1020" y="852"/>
                      <a:pt x="1018" y="853"/>
                      <a:pt x="1008" y="851"/>
                    </a:cubicBezTo>
                    <a:cubicBezTo>
                      <a:pt x="998" y="849"/>
                      <a:pt x="997" y="833"/>
                      <a:pt x="997" y="833"/>
                    </a:cubicBezTo>
                    <a:cubicBezTo>
                      <a:pt x="987" y="829"/>
                      <a:pt x="987" y="829"/>
                      <a:pt x="987" y="829"/>
                    </a:cubicBezTo>
                    <a:cubicBezTo>
                      <a:pt x="987" y="829"/>
                      <a:pt x="1013" y="831"/>
                      <a:pt x="1015" y="825"/>
                    </a:cubicBezTo>
                    <a:cubicBezTo>
                      <a:pt x="1017" y="819"/>
                      <a:pt x="1014" y="795"/>
                      <a:pt x="1014" y="795"/>
                    </a:cubicBezTo>
                    <a:cubicBezTo>
                      <a:pt x="1101" y="796"/>
                      <a:pt x="1101" y="796"/>
                      <a:pt x="1101" y="796"/>
                    </a:cubicBezTo>
                    <a:cubicBezTo>
                      <a:pt x="1101" y="796"/>
                      <a:pt x="1103" y="786"/>
                      <a:pt x="1108" y="786"/>
                    </a:cubicBezTo>
                    <a:cubicBezTo>
                      <a:pt x="1113" y="786"/>
                      <a:pt x="1107" y="794"/>
                      <a:pt x="1118" y="793"/>
                    </a:cubicBezTo>
                    <a:cubicBezTo>
                      <a:pt x="1129" y="792"/>
                      <a:pt x="1136" y="760"/>
                      <a:pt x="1136" y="760"/>
                    </a:cubicBezTo>
                    <a:cubicBezTo>
                      <a:pt x="1139" y="771"/>
                      <a:pt x="1139" y="771"/>
                      <a:pt x="1139" y="771"/>
                    </a:cubicBezTo>
                    <a:cubicBezTo>
                      <a:pt x="1150" y="761"/>
                      <a:pt x="1150" y="761"/>
                      <a:pt x="1150" y="761"/>
                    </a:cubicBezTo>
                    <a:cubicBezTo>
                      <a:pt x="1164" y="745"/>
                      <a:pt x="1164" y="745"/>
                      <a:pt x="1164" y="745"/>
                    </a:cubicBezTo>
                    <a:cubicBezTo>
                      <a:pt x="1164" y="745"/>
                      <a:pt x="1158" y="764"/>
                      <a:pt x="1162" y="767"/>
                    </a:cubicBezTo>
                    <a:cubicBezTo>
                      <a:pt x="1166" y="770"/>
                      <a:pt x="1173" y="770"/>
                      <a:pt x="1173" y="770"/>
                    </a:cubicBezTo>
                    <a:cubicBezTo>
                      <a:pt x="1188" y="725"/>
                      <a:pt x="1188" y="725"/>
                      <a:pt x="1188" y="725"/>
                    </a:cubicBezTo>
                    <a:cubicBezTo>
                      <a:pt x="1182" y="717"/>
                      <a:pt x="1182" y="717"/>
                      <a:pt x="1182" y="717"/>
                    </a:cubicBezTo>
                    <a:cubicBezTo>
                      <a:pt x="1195" y="713"/>
                      <a:pt x="1195" y="713"/>
                      <a:pt x="1195" y="713"/>
                    </a:cubicBezTo>
                    <a:cubicBezTo>
                      <a:pt x="1196" y="705"/>
                      <a:pt x="1196" y="705"/>
                      <a:pt x="1196" y="705"/>
                    </a:cubicBezTo>
                    <a:cubicBezTo>
                      <a:pt x="1184" y="701"/>
                      <a:pt x="1184" y="701"/>
                      <a:pt x="1184" y="701"/>
                    </a:cubicBezTo>
                    <a:cubicBezTo>
                      <a:pt x="1196" y="688"/>
                      <a:pt x="1196" y="688"/>
                      <a:pt x="1196" y="688"/>
                    </a:cubicBezTo>
                    <a:cubicBezTo>
                      <a:pt x="1200" y="672"/>
                      <a:pt x="1200" y="672"/>
                      <a:pt x="1200" y="672"/>
                    </a:cubicBezTo>
                    <a:cubicBezTo>
                      <a:pt x="1200" y="672"/>
                      <a:pt x="1230" y="641"/>
                      <a:pt x="1234" y="632"/>
                    </a:cubicBezTo>
                    <a:cubicBezTo>
                      <a:pt x="1238" y="623"/>
                      <a:pt x="1247" y="600"/>
                      <a:pt x="1236" y="597"/>
                    </a:cubicBezTo>
                    <a:cubicBezTo>
                      <a:pt x="1225" y="594"/>
                      <a:pt x="1203" y="601"/>
                      <a:pt x="1203" y="601"/>
                    </a:cubicBezTo>
                    <a:cubicBezTo>
                      <a:pt x="1203" y="601"/>
                      <a:pt x="1179" y="594"/>
                      <a:pt x="1172" y="594"/>
                    </a:cubicBezTo>
                    <a:cubicBezTo>
                      <a:pt x="1165" y="594"/>
                      <a:pt x="1137" y="602"/>
                      <a:pt x="1123" y="606"/>
                    </a:cubicBezTo>
                    <a:cubicBezTo>
                      <a:pt x="1109" y="610"/>
                      <a:pt x="1084" y="606"/>
                      <a:pt x="1078" y="612"/>
                    </a:cubicBezTo>
                    <a:cubicBezTo>
                      <a:pt x="1072" y="618"/>
                      <a:pt x="1061" y="639"/>
                      <a:pt x="1060" y="655"/>
                    </a:cubicBezTo>
                    <a:cubicBezTo>
                      <a:pt x="1059" y="671"/>
                      <a:pt x="1059" y="686"/>
                      <a:pt x="1059" y="686"/>
                    </a:cubicBezTo>
                    <a:cubicBezTo>
                      <a:pt x="1049" y="690"/>
                      <a:pt x="1049" y="690"/>
                      <a:pt x="1049" y="690"/>
                    </a:cubicBezTo>
                    <a:cubicBezTo>
                      <a:pt x="1049" y="690"/>
                      <a:pt x="1049" y="710"/>
                      <a:pt x="1043" y="716"/>
                    </a:cubicBezTo>
                    <a:cubicBezTo>
                      <a:pt x="1037" y="722"/>
                      <a:pt x="1016" y="728"/>
                      <a:pt x="1011" y="737"/>
                    </a:cubicBezTo>
                    <a:cubicBezTo>
                      <a:pt x="1006" y="746"/>
                      <a:pt x="1009" y="765"/>
                      <a:pt x="996" y="766"/>
                    </a:cubicBezTo>
                    <a:cubicBezTo>
                      <a:pt x="983" y="767"/>
                      <a:pt x="990" y="749"/>
                      <a:pt x="974" y="749"/>
                    </a:cubicBezTo>
                    <a:cubicBezTo>
                      <a:pt x="958" y="749"/>
                      <a:pt x="932" y="761"/>
                      <a:pt x="912" y="761"/>
                    </a:cubicBezTo>
                    <a:cubicBezTo>
                      <a:pt x="892" y="761"/>
                      <a:pt x="864" y="784"/>
                      <a:pt x="855" y="780"/>
                    </a:cubicBezTo>
                    <a:cubicBezTo>
                      <a:pt x="846" y="776"/>
                      <a:pt x="847" y="755"/>
                      <a:pt x="836" y="753"/>
                    </a:cubicBezTo>
                    <a:cubicBezTo>
                      <a:pt x="825" y="751"/>
                      <a:pt x="797" y="748"/>
                      <a:pt x="797" y="748"/>
                    </a:cubicBezTo>
                    <a:cubicBezTo>
                      <a:pt x="797" y="748"/>
                      <a:pt x="795" y="731"/>
                      <a:pt x="790" y="724"/>
                    </a:cubicBezTo>
                    <a:cubicBezTo>
                      <a:pt x="785" y="717"/>
                      <a:pt x="777" y="708"/>
                      <a:pt x="777" y="708"/>
                    </a:cubicBezTo>
                    <a:cubicBezTo>
                      <a:pt x="777" y="685"/>
                      <a:pt x="777" y="685"/>
                      <a:pt x="777" y="685"/>
                    </a:cubicBezTo>
                    <a:cubicBezTo>
                      <a:pt x="751" y="644"/>
                      <a:pt x="751" y="644"/>
                      <a:pt x="751" y="644"/>
                    </a:cubicBezTo>
                    <a:cubicBezTo>
                      <a:pt x="750" y="616"/>
                      <a:pt x="750" y="616"/>
                      <a:pt x="750" y="616"/>
                    </a:cubicBezTo>
                    <a:cubicBezTo>
                      <a:pt x="739" y="596"/>
                      <a:pt x="739" y="596"/>
                      <a:pt x="739" y="596"/>
                    </a:cubicBezTo>
                    <a:cubicBezTo>
                      <a:pt x="736" y="539"/>
                      <a:pt x="736" y="539"/>
                      <a:pt x="736" y="539"/>
                    </a:cubicBezTo>
                    <a:cubicBezTo>
                      <a:pt x="736" y="539"/>
                      <a:pt x="752" y="518"/>
                      <a:pt x="752" y="507"/>
                    </a:cubicBezTo>
                    <a:cubicBezTo>
                      <a:pt x="752" y="496"/>
                      <a:pt x="754" y="466"/>
                      <a:pt x="754" y="466"/>
                    </a:cubicBezTo>
                    <a:cubicBezTo>
                      <a:pt x="752" y="439"/>
                      <a:pt x="752" y="439"/>
                      <a:pt x="752" y="439"/>
                    </a:cubicBezTo>
                    <a:cubicBezTo>
                      <a:pt x="768" y="434"/>
                      <a:pt x="768" y="434"/>
                      <a:pt x="768" y="434"/>
                    </a:cubicBezTo>
                    <a:cubicBezTo>
                      <a:pt x="768" y="434"/>
                      <a:pt x="767" y="394"/>
                      <a:pt x="775" y="392"/>
                    </a:cubicBezTo>
                    <a:cubicBezTo>
                      <a:pt x="783" y="390"/>
                      <a:pt x="791" y="401"/>
                      <a:pt x="793" y="392"/>
                    </a:cubicBezTo>
                    <a:cubicBezTo>
                      <a:pt x="795" y="383"/>
                      <a:pt x="806" y="364"/>
                      <a:pt x="806" y="364"/>
                    </a:cubicBezTo>
                    <a:cubicBezTo>
                      <a:pt x="806" y="363"/>
                      <a:pt x="806" y="363"/>
                      <a:pt x="806" y="363"/>
                    </a:cubicBezTo>
                    <a:cubicBezTo>
                      <a:pt x="803" y="364"/>
                      <a:pt x="799" y="365"/>
                      <a:pt x="794" y="365"/>
                    </a:cubicBezTo>
                    <a:cubicBezTo>
                      <a:pt x="783" y="365"/>
                      <a:pt x="785" y="355"/>
                      <a:pt x="780" y="355"/>
                    </a:cubicBezTo>
                    <a:cubicBezTo>
                      <a:pt x="775" y="355"/>
                      <a:pt x="756" y="355"/>
                      <a:pt x="756" y="355"/>
                    </a:cubicBezTo>
                    <a:cubicBezTo>
                      <a:pt x="750" y="344"/>
                      <a:pt x="750" y="344"/>
                      <a:pt x="750" y="344"/>
                    </a:cubicBezTo>
                    <a:cubicBezTo>
                      <a:pt x="750" y="344"/>
                      <a:pt x="720" y="343"/>
                      <a:pt x="720" y="332"/>
                    </a:cubicBezTo>
                    <a:cubicBezTo>
                      <a:pt x="720" y="321"/>
                      <a:pt x="722" y="313"/>
                      <a:pt x="722" y="313"/>
                    </a:cubicBezTo>
                    <a:cubicBezTo>
                      <a:pt x="714" y="307"/>
                      <a:pt x="714" y="307"/>
                      <a:pt x="714" y="307"/>
                    </a:cubicBezTo>
                    <a:cubicBezTo>
                      <a:pt x="714" y="280"/>
                      <a:pt x="714" y="280"/>
                      <a:pt x="714" y="280"/>
                    </a:cubicBezTo>
                    <a:cubicBezTo>
                      <a:pt x="714" y="280"/>
                      <a:pt x="724" y="277"/>
                      <a:pt x="717" y="270"/>
                    </a:cubicBezTo>
                    <a:cubicBezTo>
                      <a:pt x="710" y="263"/>
                      <a:pt x="701" y="262"/>
                      <a:pt x="701" y="254"/>
                    </a:cubicBezTo>
                    <a:cubicBezTo>
                      <a:pt x="701" y="247"/>
                      <a:pt x="700" y="241"/>
                      <a:pt x="700" y="241"/>
                    </a:cubicBezTo>
                    <a:cubicBezTo>
                      <a:pt x="700" y="241"/>
                      <a:pt x="689" y="234"/>
                      <a:pt x="689" y="225"/>
                    </a:cubicBezTo>
                    <a:cubicBezTo>
                      <a:pt x="689" y="216"/>
                      <a:pt x="697" y="201"/>
                      <a:pt x="689" y="193"/>
                    </a:cubicBezTo>
                    <a:cubicBezTo>
                      <a:pt x="681" y="185"/>
                      <a:pt x="661" y="154"/>
                      <a:pt x="661" y="154"/>
                    </a:cubicBezTo>
                    <a:cubicBezTo>
                      <a:pt x="632" y="153"/>
                      <a:pt x="632" y="153"/>
                      <a:pt x="632" y="153"/>
                    </a:cubicBezTo>
                    <a:cubicBezTo>
                      <a:pt x="622" y="148"/>
                      <a:pt x="622" y="148"/>
                      <a:pt x="622" y="148"/>
                    </a:cubicBezTo>
                    <a:cubicBezTo>
                      <a:pt x="621" y="154"/>
                      <a:pt x="621" y="154"/>
                      <a:pt x="621" y="154"/>
                    </a:cubicBezTo>
                    <a:cubicBezTo>
                      <a:pt x="621" y="154"/>
                      <a:pt x="609" y="153"/>
                      <a:pt x="605" y="157"/>
                    </a:cubicBezTo>
                    <a:cubicBezTo>
                      <a:pt x="601" y="161"/>
                      <a:pt x="588" y="195"/>
                      <a:pt x="569" y="195"/>
                    </a:cubicBezTo>
                    <a:cubicBezTo>
                      <a:pt x="550" y="195"/>
                      <a:pt x="519" y="161"/>
                      <a:pt x="519" y="161"/>
                    </a:cubicBezTo>
                    <a:cubicBezTo>
                      <a:pt x="519" y="161"/>
                      <a:pt x="529" y="119"/>
                      <a:pt x="519" y="109"/>
                    </a:cubicBezTo>
                    <a:cubicBezTo>
                      <a:pt x="508" y="98"/>
                      <a:pt x="497" y="97"/>
                      <a:pt x="497" y="97"/>
                    </a:cubicBezTo>
                    <a:cubicBezTo>
                      <a:pt x="491" y="76"/>
                      <a:pt x="491" y="76"/>
                      <a:pt x="491" y="76"/>
                    </a:cubicBezTo>
                    <a:cubicBezTo>
                      <a:pt x="473" y="68"/>
                      <a:pt x="473" y="68"/>
                      <a:pt x="473" y="68"/>
                    </a:cubicBezTo>
                    <a:cubicBezTo>
                      <a:pt x="473" y="68"/>
                      <a:pt x="478" y="60"/>
                      <a:pt x="463" y="45"/>
                    </a:cubicBezTo>
                    <a:cubicBezTo>
                      <a:pt x="390" y="45"/>
                      <a:pt x="390" y="45"/>
                      <a:pt x="390" y="45"/>
                    </a:cubicBezTo>
                    <a:cubicBezTo>
                      <a:pt x="390" y="45"/>
                      <a:pt x="383" y="49"/>
                      <a:pt x="383" y="55"/>
                    </a:cubicBezTo>
                    <a:cubicBezTo>
                      <a:pt x="383" y="61"/>
                      <a:pt x="385" y="65"/>
                      <a:pt x="382" y="69"/>
                    </a:cubicBezTo>
                    <a:cubicBezTo>
                      <a:pt x="378" y="72"/>
                      <a:pt x="378" y="72"/>
                      <a:pt x="378" y="72"/>
                    </a:cubicBezTo>
                    <a:cubicBezTo>
                      <a:pt x="246" y="74"/>
                      <a:pt x="246" y="74"/>
                      <a:pt x="246" y="74"/>
                    </a:cubicBezTo>
                    <a:cubicBezTo>
                      <a:pt x="106" y="10"/>
                      <a:pt x="106" y="10"/>
                      <a:pt x="106" y="10"/>
                    </a:cubicBezTo>
                    <a:cubicBezTo>
                      <a:pt x="106" y="10"/>
                      <a:pt x="96" y="10"/>
                      <a:pt x="106" y="0"/>
                    </a:cubicBezTo>
                    <a:cubicBezTo>
                      <a:pt x="7" y="4"/>
                      <a:pt x="7" y="4"/>
                      <a:pt x="7" y="4"/>
                    </a:cubicBezTo>
                    <a:cubicBezTo>
                      <a:pt x="4" y="2"/>
                      <a:pt x="4" y="2"/>
                      <a:pt x="4" y="2"/>
                    </a:cubicBezTo>
                    <a:cubicBezTo>
                      <a:pt x="2" y="12"/>
                      <a:pt x="0" y="20"/>
                      <a:pt x="0" y="25"/>
                    </a:cubicBezTo>
                    <a:cubicBezTo>
                      <a:pt x="0" y="36"/>
                      <a:pt x="13" y="54"/>
                      <a:pt x="13" y="54"/>
                    </a:cubicBezTo>
                    <a:cubicBezTo>
                      <a:pt x="2" y="61"/>
                      <a:pt x="2" y="61"/>
                      <a:pt x="2" y="61"/>
                    </a:cubicBezTo>
                    <a:cubicBezTo>
                      <a:pt x="10" y="76"/>
                      <a:pt x="10" y="76"/>
                      <a:pt x="10" y="76"/>
                    </a:cubicBezTo>
                    <a:cubicBezTo>
                      <a:pt x="3" y="86"/>
                      <a:pt x="3" y="86"/>
                      <a:pt x="3" y="86"/>
                    </a:cubicBezTo>
                    <a:cubicBezTo>
                      <a:pt x="16" y="97"/>
                      <a:pt x="16" y="97"/>
                      <a:pt x="16" y="97"/>
                    </a:cubicBezTo>
                    <a:cubicBezTo>
                      <a:pt x="5" y="117"/>
                      <a:pt x="5" y="117"/>
                      <a:pt x="5" y="117"/>
                    </a:cubicBezTo>
                    <a:cubicBezTo>
                      <a:pt x="14" y="121"/>
                      <a:pt x="14" y="121"/>
                      <a:pt x="14" y="121"/>
                    </a:cubicBezTo>
                    <a:cubicBezTo>
                      <a:pt x="14" y="121"/>
                      <a:pt x="11" y="162"/>
                      <a:pt x="20" y="171"/>
                    </a:cubicBezTo>
                    <a:cubicBezTo>
                      <a:pt x="29" y="180"/>
                      <a:pt x="42" y="176"/>
                      <a:pt x="42" y="176"/>
                    </a:cubicBezTo>
                    <a:cubicBezTo>
                      <a:pt x="42" y="176"/>
                      <a:pt x="66" y="219"/>
                      <a:pt x="66" y="227"/>
                    </a:cubicBezTo>
                    <a:cubicBezTo>
                      <a:pt x="66" y="235"/>
                      <a:pt x="47" y="260"/>
                      <a:pt x="47" y="260"/>
                    </a:cubicBezTo>
                    <a:cubicBezTo>
                      <a:pt x="58" y="267"/>
                      <a:pt x="58" y="267"/>
                      <a:pt x="58" y="267"/>
                    </a:cubicBezTo>
                    <a:cubicBezTo>
                      <a:pt x="50" y="276"/>
                      <a:pt x="50" y="276"/>
                      <a:pt x="50" y="276"/>
                    </a:cubicBezTo>
                    <a:cubicBezTo>
                      <a:pt x="41" y="264"/>
                      <a:pt x="41" y="264"/>
                      <a:pt x="41" y="264"/>
                    </a:cubicBezTo>
                    <a:cubicBezTo>
                      <a:pt x="7" y="261"/>
                      <a:pt x="7" y="261"/>
                      <a:pt x="7" y="261"/>
                    </a:cubicBezTo>
                    <a:cubicBezTo>
                      <a:pt x="23" y="279"/>
                      <a:pt x="23" y="279"/>
                      <a:pt x="23" y="279"/>
                    </a:cubicBezTo>
                    <a:cubicBezTo>
                      <a:pt x="29" y="295"/>
                      <a:pt x="29" y="295"/>
                      <a:pt x="29" y="295"/>
                    </a:cubicBezTo>
                    <a:cubicBezTo>
                      <a:pt x="43" y="296"/>
                      <a:pt x="43" y="296"/>
                      <a:pt x="43" y="296"/>
                    </a:cubicBezTo>
                    <a:cubicBezTo>
                      <a:pt x="43" y="296"/>
                      <a:pt x="60" y="319"/>
                      <a:pt x="65" y="317"/>
                    </a:cubicBezTo>
                    <a:cubicBezTo>
                      <a:pt x="70" y="315"/>
                      <a:pt x="85" y="305"/>
                      <a:pt x="85" y="305"/>
                    </a:cubicBezTo>
                    <a:cubicBezTo>
                      <a:pt x="85" y="305"/>
                      <a:pt x="84" y="328"/>
                      <a:pt x="91" y="337"/>
                    </a:cubicBezTo>
                    <a:cubicBezTo>
                      <a:pt x="98" y="346"/>
                      <a:pt x="113" y="358"/>
                      <a:pt x="113" y="368"/>
                    </a:cubicBezTo>
                    <a:cubicBezTo>
                      <a:pt x="113" y="378"/>
                      <a:pt x="96" y="398"/>
                      <a:pt x="102" y="412"/>
                    </a:cubicBezTo>
                    <a:cubicBezTo>
                      <a:pt x="108" y="426"/>
                      <a:pt x="128" y="442"/>
                      <a:pt x="142" y="459"/>
                    </a:cubicBezTo>
                    <a:cubicBezTo>
                      <a:pt x="156" y="476"/>
                      <a:pt x="175" y="497"/>
                      <a:pt x="175" y="497"/>
                    </a:cubicBezTo>
                    <a:cubicBezTo>
                      <a:pt x="175" y="497"/>
                      <a:pt x="162" y="524"/>
                      <a:pt x="178" y="525"/>
                    </a:cubicBezTo>
                    <a:cubicBezTo>
                      <a:pt x="194" y="526"/>
                      <a:pt x="210" y="506"/>
                      <a:pt x="210" y="506"/>
                    </a:cubicBezTo>
                    <a:cubicBezTo>
                      <a:pt x="206" y="493"/>
                      <a:pt x="206" y="493"/>
                      <a:pt x="206" y="493"/>
                    </a:cubicBezTo>
                    <a:cubicBezTo>
                      <a:pt x="206" y="493"/>
                      <a:pt x="198" y="457"/>
                      <a:pt x="190" y="453"/>
                    </a:cubicBezTo>
                    <a:cubicBezTo>
                      <a:pt x="182" y="449"/>
                      <a:pt x="172" y="452"/>
                      <a:pt x="172" y="452"/>
                    </a:cubicBezTo>
                    <a:cubicBezTo>
                      <a:pt x="160" y="435"/>
                      <a:pt x="160" y="435"/>
                      <a:pt x="160" y="435"/>
                    </a:cubicBezTo>
                    <a:cubicBezTo>
                      <a:pt x="160" y="435"/>
                      <a:pt x="164" y="422"/>
                      <a:pt x="162" y="414"/>
                    </a:cubicBezTo>
                    <a:cubicBezTo>
                      <a:pt x="160" y="406"/>
                      <a:pt x="162" y="387"/>
                      <a:pt x="162" y="387"/>
                    </a:cubicBezTo>
                    <a:cubicBezTo>
                      <a:pt x="150" y="365"/>
                      <a:pt x="150" y="365"/>
                      <a:pt x="150" y="365"/>
                    </a:cubicBezTo>
                    <a:cubicBezTo>
                      <a:pt x="150" y="365"/>
                      <a:pt x="160" y="341"/>
                      <a:pt x="156" y="329"/>
                    </a:cubicBezTo>
                    <a:cubicBezTo>
                      <a:pt x="152" y="317"/>
                      <a:pt x="131" y="319"/>
                      <a:pt x="131" y="319"/>
                    </a:cubicBezTo>
                    <a:cubicBezTo>
                      <a:pt x="131" y="288"/>
                      <a:pt x="131" y="288"/>
                      <a:pt x="131" y="288"/>
                    </a:cubicBezTo>
                    <a:cubicBezTo>
                      <a:pt x="114" y="267"/>
                      <a:pt x="114" y="267"/>
                      <a:pt x="114" y="267"/>
                    </a:cubicBezTo>
                    <a:cubicBezTo>
                      <a:pt x="116" y="227"/>
                      <a:pt x="116" y="227"/>
                      <a:pt x="116" y="227"/>
                    </a:cubicBezTo>
                    <a:cubicBezTo>
                      <a:pt x="116" y="227"/>
                      <a:pt x="102" y="207"/>
                      <a:pt x="97" y="201"/>
                    </a:cubicBezTo>
                    <a:cubicBezTo>
                      <a:pt x="92" y="195"/>
                      <a:pt x="89" y="170"/>
                      <a:pt x="89" y="170"/>
                    </a:cubicBezTo>
                    <a:cubicBezTo>
                      <a:pt x="89" y="170"/>
                      <a:pt x="63" y="132"/>
                      <a:pt x="66" y="128"/>
                    </a:cubicBezTo>
                    <a:cubicBezTo>
                      <a:pt x="69" y="124"/>
                      <a:pt x="79" y="107"/>
                      <a:pt x="75" y="95"/>
                    </a:cubicBezTo>
                    <a:cubicBezTo>
                      <a:pt x="71" y="83"/>
                      <a:pt x="85" y="67"/>
                      <a:pt x="85" y="67"/>
                    </a:cubicBezTo>
                    <a:cubicBezTo>
                      <a:pt x="84" y="42"/>
                      <a:pt x="84" y="42"/>
                      <a:pt x="84" y="42"/>
                    </a:cubicBezTo>
                    <a:cubicBezTo>
                      <a:pt x="84" y="42"/>
                      <a:pt x="104" y="62"/>
                      <a:pt x="113" y="62"/>
                    </a:cubicBezTo>
                    <a:cubicBezTo>
                      <a:pt x="122" y="62"/>
                      <a:pt x="134" y="58"/>
                      <a:pt x="134" y="58"/>
                    </a:cubicBezTo>
                    <a:cubicBezTo>
                      <a:pt x="134" y="58"/>
                      <a:pt x="131" y="69"/>
                      <a:pt x="138" y="73"/>
                    </a:cubicBezTo>
                    <a:cubicBezTo>
                      <a:pt x="145" y="77"/>
                      <a:pt x="155" y="77"/>
                      <a:pt x="155" y="77"/>
                    </a:cubicBezTo>
                    <a:cubicBezTo>
                      <a:pt x="155" y="77"/>
                      <a:pt x="152" y="88"/>
                      <a:pt x="152" y="106"/>
                    </a:cubicBezTo>
                    <a:cubicBezTo>
                      <a:pt x="152" y="124"/>
                      <a:pt x="160" y="180"/>
                      <a:pt x="160" y="180"/>
                    </a:cubicBezTo>
                    <a:cubicBezTo>
                      <a:pt x="160" y="180"/>
                      <a:pt x="181" y="255"/>
                      <a:pt x="189" y="257"/>
                    </a:cubicBezTo>
                    <a:cubicBezTo>
                      <a:pt x="197" y="259"/>
                      <a:pt x="217" y="257"/>
                      <a:pt x="217" y="257"/>
                    </a:cubicBezTo>
                    <a:cubicBezTo>
                      <a:pt x="217" y="257"/>
                      <a:pt x="199" y="268"/>
                      <a:pt x="208" y="284"/>
                    </a:cubicBezTo>
                    <a:cubicBezTo>
                      <a:pt x="217" y="300"/>
                      <a:pt x="234" y="302"/>
                      <a:pt x="234" y="302"/>
                    </a:cubicBezTo>
                    <a:cubicBezTo>
                      <a:pt x="236" y="317"/>
                      <a:pt x="236" y="317"/>
                      <a:pt x="236" y="317"/>
                    </a:cubicBezTo>
                    <a:cubicBezTo>
                      <a:pt x="257" y="318"/>
                      <a:pt x="257" y="318"/>
                      <a:pt x="257" y="318"/>
                    </a:cubicBezTo>
                    <a:cubicBezTo>
                      <a:pt x="260" y="346"/>
                      <a:pt x="260" y="346"/>
                      <a:pt x="260" y="346"/>
                    </a:cubicBezTo>
                    <a:cubicBezTo>
                      <a:pt x="260" y="346"/>
                      <a:pt x="228" y="359"/>
                      <a:pt x="238" y="374"/>
                    </a:cubicBezTo>
                    <a:cubicBezTo>
                      <a:pt x="248" y="389"/>
                      <a:pt x="255" y="375"/>
                      <a:pt x="255" y="375"/>
                    </a:cubicBezTo>
                    <a:cubicBezTo>
                      <a:pt x="255" y="375"/>
                      <a:pt x="264" y="395"/>
                      <a:pt x="270" y="397"/>
                    </a:cubicBezTo>
                    <a:cubicBezTo>
                      <a:pt x="276" y="399"/>
                      <a:pt x="294" y="401"/>
                      <a:pt x="294" y="404"/>
                    </a:cubicBezTo>
                    <a:cubicBezTo>
                      <a:pt x="294" y="407"/>
                      <a:pt x="294" y="418"/>
                      <a:pt x="294" y="418"/>
                    </a:cubicBezTo>
                    <a:cubicBezTo>
                      <a:pt x="294" y="418"/>
                      <a:pt x="279" y="437"/>
                      <a:pt x="290" y="438"/>
                    </a:cubicBezTo>
                    <a:cubicBezTo>
                      <a:pt x="301" y="439"/>
                      <a:pt x="313" y="437"/>
                      <a:pt x="313" y="437"/>
                    </a:cubicBezTo>
                    <a:cubicBezTo>
                      <a:pt x="313" y="456"/>
                      <a:pt x="313" y="456"/>
                      <a:pt x="313" y="456"/>
                    </a:cubicBezTo>
                    <a:cubicBezTo>
                      <a:pt x="313" y="456"/>
                      <a:pt x="335" y="481"/>
                      <a:pt x="345" y="495"/>
                    </a:cubicBezTo>
                    <a:cubicBezTo>
                      <a:pt x="355" y="509"/>
                      <a:pt x="373" y="538"/>
                      <a:pt x="373" y="547"/>
                    </a:cubicBezTo>
                    <a:cubicBezTo>
                      <a:pt x="373" y="556"/>
                      <a:pt x="370" y="562"/>
                      <a:pt x="371" y="575"/>
                    </a:cubicBezTo>
                    <a:cubicBezTo>
                      <a:pt x="372" y="588"/>
                      <a:pt x="386" y="595"/>
                      <a:pt x="384" y="606"/>
                    </a:cubicBezTo>
                    <a:cubicBezTo>
                      <a:pt x="382" y="617"/>
                      <a:pt x="364" y="625"/>
                      <a:pt x="364" y="632"/>
                    </a:cubicBezTo>
                    <a:cubicBezTo>
                      <a:pt x="364" y="639"/>
                      <a:pt x="375" y="645"/>
                      <a:pt x="375" y="645"/>
                    </a:cubicBezTo>
                    <a:cubicBezTo>
                      <a:pt x="375" y="645"/>
                      <a:pt x="351" y="642"/>
                      <a:pt x="351" y="659"/>
                    </a:cubicBezTo>
                    <a:cubicBezTo>
                      <a:pt x="351" y="676"/>
                      <a:pt x="350" y="717"/>
                      <a:pt x="373" y="719"/>
                    </a:cubicBezTo>
                    <a:cubicBezTo>
                      <a:pt x="396" y="721"/>
                      <a:pt x="416" y="727"/>
                      <a:pt x="423" y="740"/>
                    </a:cubicBezTo>
                    <a:cubicBezTo>
                      <a:pt x="430" y="753"/>
                      <a:pt x="437" y="779"/>
                      <a:pt x="453" y="781"/>
                    </a:cubicBezTo>
                    <a:cubicBezTo>
                      <a:pt x="469" y="783"/>
                      <a:pt x="496" y="777"/>
                      <a:pt x="507" y="788"/>
                    </a:cubicBezTo>
                    <a:cubicBezTo>
                      <a:pt x="518" y="799"/>
                      <a:pt x="525" y="825"/>
                      <a:pt x="556" y="838"/>
                    </a:cubicBezTo>
                    <a:cubicBezTo>
                      <a:pt x="587" y="851"/>
                      <a:pt x="632" y="851"/>
                      <a:pt x="639" y="861"/>
                    </a:cubicBezTo>
                    <a:cubicBezTo>
                      <a:pt x="646" y="871"/>
                      <a:pt x="649" y="881"/>
                      <a:pt x="659" y="881"/>
                    </a:cubicBezTo>
                    <a:cubicBezTo>
                      <a:pt x="669" y="881"/>
                      <a:pt x="677" y="899"/>
                      <a:pt x="677" y="899"/>
                    </a:cubicBezTo>
                    <a:cubicBezTo>
                      <a:pt x="677" y="899"/>
                      <a:pt x="720" y="894"/>
                      <a:pt x="722" y="897"/>
                    </a:cubicBezTo>
                    <a:cubicBezTo>
                      <a:pt x="724" y="900"/>
                      <a:pt x="731" y="921"/>
                      <a:pt x="745" y="917"/>
                    </a:cubicBezTo>
                    <a:cubicBezTo>
                      <a:pt x="759" y="913"/>
                      <a:pt x="829" y="875"/>
                      <a:pt x="840" y="878"/>
                    </a:cubicBezTo>
                    <a:cubicBezTo>
                      <a:pt x="851" y="881"/>
                      <a:pt x="921" y="938"/>
                      <a:pt x="924" y="946"/>
                    </a:cubicBezTo>
                    <a:cubicBezTo>
                      <a:pt x="926" y="951"/>
                      <a:pt x="927" y="964"/>
                      <a:pt x="933" y="974"/>
                    </a:cubicBezTo>
                    <a:cubicBezTo>
                      <a:pt x="933" y="974"/>
                      <a:pt x="947" y="976"/>
                      <a:pt x="947" y="960"/>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64" name="Jamaica">
                <a:extLst>
                  <a:ext uri="{FF2B5EF4-FFF2-40B4-BE49-F238E27FC236}">
                    <a16:creationId xmlns:a16="http://schemas.microsoft.com/office/drawing/2014/main" id="{2CC377F1-83F9-4399-A99B-FF0BD3B3A2A8}"/>
                  </a:ext>
                </a:extLst>
              </p:cNvPr>
              <p:cNvSpPr>
                <a:spLocks/>
              </p:cNvSpPr>
              <p:nvPr/>
            </p:nvSpPr>
            <p:spPr bwMode="gray">
              <a:xfrm>
                <a:off x="3561614" y="3526597"/>
                <a:ext cx="60335" cy="23802"/>
              </a:xfrm>
              <a:custGeom>
                <a:avLst/>
                <a:gdLst>
                  <a:gd name="T0" fmla="*/ 72 w 108"/>
                  <a:gd name="T1" fmla="*/ 42 h 42"/>
                  <a:gd name="T2" fmla="*/ 79 w 108"/>
                  <a:gd name="T3" fmla="*/ 28 h 42"/>
                  <a:gd name="T4" fmla="*/ 108 w 108"/>
                  <a:gd name="T5" fmla="*/ 34 h 42"/>
                  <a:gd name="T6" fmla="*/ 85 w 108"/>
                  <a:gd name="T7" fmla="*/ 9 h 42"/>
                  <a:gd name="T8" fmla="*/ 48 w 108"/>
                  <a:gd name="T9" fmla="*/ 6 h 42"/>
                  <a:gd name="T10" fmla="*/ 19 w 108"/>
                  <a:gd name="T11" fmla="*/ 4 h 42"/>
                  <a:gd name="T12" fmla="*/ 0 w 108"/>
                  <a:gd name="T13" fmla="*/ 9 h 42"/>
                  <a:gd name="T14" fmla="*/ 17 w 108"/>
                  <a:gd name="T15" fmla="*/ 26 h 42"/>
                  <a:gd name="T16" fmla="*/ 43 w 108"/>
                  <a:gd name="T17" fmla="*/ 32 h 42"/>
                  <a:gd name="T18" fmla="*/ 54 w 108"/>
                  <a:gd name="T19" fmla="*/ 38 h 42"/>
                  <a:gd name="T20" fmla="*/ 72 w 108"/>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42">
                    <a:moveTo>
                      <a:pt x="72" y="42"/>
                    </a:moveTo>
                    <a:cubicBezTo>
                      <a:pt x="79" y="28"/>
                      <a:pt x="79" y="28"/>
                      <a:pt x="79" y="28"/>
                    </a:cubicBezTo>
                    <a:cubicBezTo>
                      <a:pt x="108" y="34"/>
                      <a:pt x="108" y="34"/>
                      <a:pt x="108" y="34"/>
                    </a:cubicBezTo>
                    <a:cubicBezTo>
                      <a:pt x="108" y="34"/>
                      <a:pt x="95" y="9"/>
                      <a:pt x="85" y="9"/>
                    </a:cubicBezTo>
                    <a:cubicBezTo>
                      <a:pt x="75" y="9"/>
                      <a:pt x="58" y="7"/>
                      <a:pt x="48" y="6"/>
                    </a:cubicBezTo>
                    <a:cubicBezTo>
                      <a:pt x="37" y="4"/>
                      <a:pt x="27" y="0"/>
                      <a:pt x="19" y="4"/>
                    </a:cubicBezTo>
                    <a:cubicBezTo>
                      <a:pt x="11" y="7"/>
                      <a:pt x="0" y="9"/>
                      <a:pt x="0" y="9"/>
                    </a:cubicBezTo>
                    <a:cubicBezTo>
                      <a:pt x="0" y="9"/>
                      <a:pt x="8" y="20"/>
                      <a:pt x="17" y="26"/>
                    </a:cubicBezTo>
                    <a:cubicBezTo>
                      <a:pt x="25" y="32"/>
                      <a:pt x="43" y="32"/>
                      <a:pt x="43" y="32"/>
                    </a:cubicBezTo>
                    <a:cubicBezTo>
                      <a:pt x="54" y="38"/>
                      <a:pt x="54" y="38"/>
                      <a:pt x="54" y="38"/>
                    </a:cubicBezTo>
                    <a:lnTo>
                      <a:pt x="72" y="42"/>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65" name="Honduras">
                <a:extLst>
                  <a:ext uri="{FF2B5EF4-FFF2-40B4-BE49-F238E27FC236}">
                    <a16:creationId xmlns:a16="http://schemas.microsoft.com/office/drawing/2014/main" id="{6BC27D55-DFEB-4651-A1AD-DDCF885B2987}"/>
                  </a:ext>
                </a:extLst>
              </p:cNvPr>
              <p:cNvSpPr>
                <a:spLocks/>
              </p:cNvSpPr>
              <p:nvPr/>
            </p:nvSpPr>
            <p:spPr bwMode="gray">
              <a:xfrm>
                <a:off x="3264701" y="3599588"/>
                <a:ext cx="165129" cy="93620"/>
              </a:xfrm>
              <a:custGeom>
                <a:avLst/>
                <a:gdLst>
                  <a:gd name="T0" fmla="*/ 103 w 296"/>
                  <a:gd name="T1" fmla="*/ 162 h 166"/>
                  <a:gd name="T2" fmla="*/ 105 w 296"/>
                  <a:gd name="T3" fmla="*/ 151 h 166"/>
                  <a:gd name="T4" fmla="*/ 114 w 296"/>
                  <a:gd name="T5" fmla="*/ 149 h 166"/>
                  <a:gd name="T6" fmla="*/ 115 w 296"/>
                  <a:gd name="T7" fmla="*/ 122 h 166"/>
                  <a:gd name="T8" fmla="*/ 135 w 296"/>
                  <a:gd name="T9" fmla="*/ 123 h 166"/>
                  <a:gd name="T10" fmla="*/ 148 w 296"/>
                  <a:gd name="T11" fmla="*/ 109 h 166"/>
                  <a:gd name="T12" fmla="*/ 162 w 296"/>
                  <a:gd name="T13" fmla="*/ 118 h 166"/>
                  <a:gd name="T14" fmla="*/ 189 w 296"/>
                  <a:gd name="T15" fmla="*/ 95 h 166"/>
                  <a:gd name="T16" fmla="*/ 190 w 296"/>
                  <a:gd name="T17" fmla="*/ 85 h 166"/>
                  <a:gd name="T18" fmla="*/ 203 w 296"/>
                  <a:gd name="T19" fmla="*/ 84 h 166"/>
                  <a:gd name="T20" fmla="*/ 213 w 296"/>
                  <a:gd name="T21" fmla="*/ 65 h 166"/>
                  <a:gd name="T22" fmla="*/ 238 w 296"/>
                  <a:gd name="T23" fmla="*/ 76 h 166"/>
                  <a:gd name="T24" fmla="*/ 251 w 296"/>
                  <a:gd name="T25" fmla="*/ 66 h 166"/>
                  <a:gd name="T26" fmla="*/ 262 w 296"/>
                  <a:gd name="T27" fmla="*/ 66 h 166"/>
                  <a:gd name="T28" fmla="*/ 281 w 296"/>
                  <a:gd name="T29" fmla="*/ 65 h 166"/>
                  <a:gd name="T30" fmla="*/ 294 w 296"/>
                  <a:gd name="T31" fmla="*/ 55 h 166"/>
                  <a:gd name="T32" fmla="*/ 283 w 296"/>
                  <a:gd name="T33" fmla="*/ 41 h 166"/>
                  <a:gd name="T34" fmla="*/ 268 w 296"/>
                  <a:gd name="T35" fmla="*/ 35 h 166"/>
                  <a:gd name="T36" fmla="*/ 248 w 296"/>
                  <a:gd name="T37" fmla="*/ 18 h 166"/>
                  <a:gd name="T38" fmla="*/ 230 w 296"/>
                  <a:gd name="T39" fmla="*/ 13 h 166"/>
                  <a:gd name="T40" fmla="*/ 214 w 296"/>
                  <a:gd name="T41" fmla="*/ 1 h 166"/>
                  <a:gd name="T42" fmla="*/ 192 w 296"/>
                  <a:gd name="T43" fmla="*/ 9 h 166"/>
                  <a:gd name="T44" fmla="*/ 171 w 296"/>
                  <a:gd name="T45" fmla="*/ 0 h 166"/>
                  <a:gd name="T46" fmla="*/ 148 w 296"/>
                  <a:gd name="T47" fmla="*/ 18 h 166"/>
                  <a:gd name="T48" fmla="*/ 125 w 296"/>
                  <a:gd name="T49" fmla="*/ 17 h 166"/>
                  <a:gd name="T50" fmla="*/ 109 w 296"/>
                  <a:gd name="T51" fmla="*/ 11 h 166"/>
                  <a:gd name="T52" fmla="*/ 89 w 296"/>
                  <a:gd name="T53" fmla="*/ 16 h 166"/>
                  <a:gd name="T54" fmla="*/ 81 w 296"/>
                  <a:gd name="T55" fmla="*/ 2 h 166"/>
                  <a:gd name="T56" fmla="*/ 59 w 296"/>
                  <a:gd name="T57" fmla="*/ 15 h 166"/>
                  <a:gd name="T58" fmla="*/ 39 w 296"/>
                  <a:gd name="T59" fmla="*/ 34 h 166"/>
                  <a:gd name="T60" fmla="*/ 11 w 296"/>
                  <a:gd name="T61" fmla="*/ 58 h 166"/>
                  <a:gd name="T62" fmla="*/ 9 w 296"/>
                  <a:gd name="T63" fmla="*/ 79 h 166"/>
                  <a:gd name="T64" fmla="*/ 0 w 296"/>
                  <a:gd name="T65" fmla="*/ 86 h 166"/>
                  <a:gd name="T66" fmla="*/ 13 w 296"/>
                  <a:gd name="T67" fmla="*/ 102 h 166"/>
                  <a:gd name="T68" fmla="*/ 28 w 296"/>
                  <a:gd name="T69" fmla="*/ 102 h 166"/>
                  <a:gd name="T70" fmla="*/ 36 w 296"/>
                  <a:gd name="T71" fmla="*/ 118 h 166"/>
                  <a:gd name="T72" fmla="*/ 52 w 296"/>
                  <a:gd name="T73" fmla="*/ 112 h 166"/>
                  <a:gd name="T74" fmla="*/ 67 w 296"/>
                  <a:gd name="T75" fmla="*/ 114 h 166"/>
                  <a:gd name="T76" fmla="*/ 68 w 296"/>
                  <a:gd name="T77" fmla="*/ 143 h 166"/>
                  <a:gd name="T78" fmla="*/ 85 w 296"/>
                  <a:gd name="T79" fmla="*/ 148 h 166"/>
                  <a:gd name="T80" fmla="*/ 89 w 296"/>
                  <a:gd name="T81" fmla="*/ 166 h 166"/>
                  <a:gd name="T82" fmla="*/ 103 w 296"/>
                  <a:gd name="T83" fmla="*/ 1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6" h="166">
                    <a:moveTo>
                      <a:pt x="103" y="162"/>
                    </a:moveTo>
                    <a:cubicBezTo>
                      <a:pt x="109" y="160"/>
                      <a:pt x="105" y="151"/>
                      <a:pt x="105" y="151"/>
                    </a:cubicBezTo>
                    <a:cubicBezTo>
                      <a:pt x="114" y="149"/>
                      <a:pt x="114" y="149"/>
                      <a:pt x="114" y="149"/>
                    </a:cubicBezTo>
                    <a:cubicBezTo>
                      <a:pt x="114" y="149"/>
                      <a:pt x="100" y="122"/>
                      <a:pt x="115" y="122"/>
                    </a:cubicBezTo>
                    <a:cubicBezTo>
                      <a:pt x="130" y="122"/>
                      <a:pt x="135" y="123"/>
                      <a:pt x="135" y="123"/>
                    </a:cubicBezTo>
                    <a:cubicBezTo>
                      <a:pt x="135" y="123"/>
                      <a:pt x="140" y="108"/>
                      <a:pt x="148" y="109"/>
                    </a:cubicBezTo>
                    <a:cubicBezTo>
                      <a:pt x="156" y="110"/>
                      <a:pt x="147" y="118"/>
                      <a:pt x="162" y="118"/>
                    </a:cubicBezTo>
                    <a:cubicBezTo>
                      <a:pt x="177" y="118"/>
                      <a:pt x="189" y="95"/>
                      <a:pt x="189" y="95"/>
                    </a:cubicBezTo>
                    <a:cubicBezTo>
                      <a:pt x="190" y="85"/>
                      <a:pt x="190" y="85"/>
                      <a:pt x="190" y="85"/>
                    </a:cubicBezTo>
                    <a:cubicBezTo>
                      <a:pt x="203" y="84"/>
                      <a:pt x="203" y="84"/>
                      <a:pt x="203" y="84"/>
                    </a:cubicBezTo>
                    <a:cubicBezTo>
                      <a:pt x="203" y="84"/>
                      <a:pt x="204" y="64"/>
                      <a:pt x="213" y="65"/>
                    </a:cubicBezTo>
                    <a:cubicBezTo>
                      <a:pt x="222" y="66"/>
                      <a:pt x="228" y="77"/>
                      <a:pt x="238" y="76"/>
                    </a:cubicBezTo>
                    <a:cubicBezTo>
                      <a:pt x="248" y="75"/>
                      <a:pt x="247" y="66"/>
                      <a:pt x="251" y="66"/>
                    </a:cubicBezTo>
                    <a:cubicBezTo>
                      <a:pt x="255" y="66"/>
                      <a:pt x="262" y="66"/>
                      <a:pt x="262" y="66"/>
                    </a:cubicBezTo>
                    <a:cubicBezTo>
                      <a:pt x="281" y="65"/>
                      <a:pt x="281" y="65"/>
                      <a:pt x="281" y="65"/>
                    </a:cubicBezTo>
                    <a:cubicBezTo>
                      <a:pt x="282" y="61"/>
                      <a:pt x="296" y="62"/>
                      <a:pt x="294" y="55"/>
                    </a:cubicBezTo>
                    <a:cubicBezTo>
                      <a:pt x="292" y="48"/>
                      <a:pt x="283" y="41"/>
                      <a:pt x="283" y="41"/>
                    </a:cubicBezTo>
                    <a:cubicBezTo>
                      <a:pt x="268" y="35"/>
                      <a:pt x="268" y="35"/>
                      <a:pt x="268" y="35"/>
                    </a:cubicBezTo>
                    <a:cubicBezTo>
                      <a:pt x="268" y="35"/>
                      <a:pt x="257" y="27"/>
                      <a:pt x="248" y="18"/>
                    </a:cubicBezTo>
                    <a:cubicBezTo>
                      <a:pt x="239" y="9"/>
                      <a:pt x="230" y="13"/>
                      <a:pt x="230" y="13"/>
                    </a:cubicBezTo>
                    <a:cubicBezTo>
                      <a:pt x="230" y="13"/>
                      <a:pt x="226" y="1"/>
                      <a:pt x="214" y="1"/>
                    </a:cubicBezTo>
                    <a:cubicBezTo>
                      <a:pt x="202" y="1"/>
                      <a:pt x="192" y="9"/>
                      <a:pt x="192" y="9"/>
                    </a:cubicBezTo>
                    <a:cubicBezTo>
                      <a:pt x="192" y="9"/>
                      <a:pt x="178" y="0"/>
                      <a:pt x="171" y="0"/>
                    </a:cubicBezTo>
                    <a:cubicBezTo>
                      <a:pt x="164" y="0"/>
                      <a:pt x="148" y="18"/>
                      <a:pt x="148" y="18"/>
                    </a:cubicBezTo>
                    <a:cubicBezTo>
                      <a:pt x="125" y="17"/>
                      <a:pt x="125" y="17"/>
                      <a:pt x="125" y="17"/>
                    </a:cubicBezTo>
                    <a:cubicBezTo>
                      <a:pt x="125" y="17"/>
                      <a:pt x="112" y="11"/>
                      <a:pt x="109" y="11"/>
                    </a:cubicBezTo>
                    <a:cubicBezTo>
                      <a:pt x="106" y="11"/>
                      <a:pt x="89" y="16"/>
                      <a:pt x="89" y="16"/>
                    </a:cubicBezTo>
                    <a:cubicBezTo>
                      <a:pt x="89" y="16"/>
                      <a:pt x="84" y="2"/>
                      <a:pt x="81" y="2"/>
                    </a:cubicBezTo>
                    <a:cubicBezTo>
                      <a:pt x="78" y="2"/>
                      <a:pt x="59" y="15"/>
                      <a:pt x="59" y="15"/>
                    </a:cubicBezTo>
                    <a:cubicBezTo>
                      <a:pt x="59" y="15"/>
                      <a:pt x="54" y="26"/>
                      <a:pt x="39" y="34"/>
                    </a:cubicBezTo>
                    <a:cubicBezTo>
                      <a:pt x="24" y="42"/>
                      <a:pt x="11" y="58"/>
                      <a:pt x="11" y="58"/>
                    </a:cubicBezTo>
                    <a:cubicBezTo>
                      <a:pt x="11" y="58"/>
                      <a:pt x="12" y="70"/>
                      <a:pt x="9" y="79"/>
                    </a:cubicBezTo>
                    <a:cubicBezTo>
                      <a:pt x="8" y="82"/>
                      <a:pt x="4" y="85"/>
                      <a:pt x="0" y="86"/>
                    </a:cubicBezTo>
                    <a:cubicBezTo>
                      <a:pt x="2" y="91"/>
                      <a:pt x="6" y="102"/>
                      <a:pt x="13" y="102"/>
                    </a:cubicBezTo>
                    <a:cubicBezTo>
                      <a:pt x="22" y="102"/>
                      <a:pt x="28" y="102"/>
                      <a:pt x="28" y="102"/>
                    </a:cubicBezTo>
                    <a:cubicBezTo>
                      <a:pt x="28" y="102"/>
                      <a:pt x="27" y="120"/>
                      <a:pt x="36" y="118"/>
                    </a:cubicBezTo>
                    <a:cubicBezTo>
                      <a:pt x="45" y="116"/>
                      <a:pt x="47" y="111"/>
                      <a:pt x="52" y="112"/>
                    </a:cubicBezTo>
                    <a:cubicBezTo>
                      <a:pt x="57" y="113"/>
                      <a:pt x="67" y="114"/>
                      <a:pt x="67" y="114"/>
                    </a:cubicBezTo>
                    <a:cubicBezTo>
                      <a:pt x="68" y="143"/>
                      <a:pt x="68" y="143"/>
                      <a:pt x="68" y="143"/>
                    </a:cubicBezTo>
                    <a:cubicBezTo>
                      <a:pt x="85" y="148"/>
                      <a:pt x="85" y="148"/>
                      <a:pt x="85" y="148"/>
                    </a:cubicBezTo>
                    <a:cubicBezTo>
                      <a:pt x="92" y="158"/>
                      <a:pt x="89" y="166"/>
                      <a:pt x="89" y="166"/>
                    </a:cubicBezTo>
                    <a:cubicBezTo>
                      <a:pt x="89" y="166"/>
                      <a:pt x="97" y="164"/>
                      <a:pt x="103" y="162"/>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66" name="Haiti">
                <a:extLst>
                  <a:ext uri="{FF2B5EF4-FFF2-40B4-BE49-F238E27FC236}">
                    <a16:creationId xmlns:a16="http://schemas.microsoft.com/office/drawing/2014/main" id="{7910F485-5EA5-40B5-9430-6E38D61BEBCB}"/>
                  </a:ext>
                </a:extLst>
              </p:cNvPr>
              <p:cNvSpPr>
                <a:spLocks/>
              </p:cNvSpPr>
              <p:nvPr/>
            </p:nvSpPr>
            <p:spPr bwMode="gray">
              <a:xfrm>
                <a:off x="3671170" y="3483756"/>
                <a:ext cx="74625" cy="60297"/>
              </a:xfrm>
              <a:custGeom>
                <a:avLst/>
                <a:gdLst>
                  <a:gd name="T0" fmla="*/ 114 w 132"/>
                  <a:gd name="T1" fmla="*/ 74 h 106"/>
                  <a:gd name="T2" fmla="*/ 125 w 132"/>
                  <a:gd name="T3" fmla="*/ 49 h 106"/>
                  <a:gd name="T4" fmla="*/ 132 w 132"/>
                  <a:gd name="T5" fmla="*/ 27 h 106"/>
                  <a:gd name="T6" fmla="*/ 126 w 132"/>
                  <a:gd name="T7" fmla="*/ 5 h 106"/>
                  <a:gd name="T8" fmla="*/ 120 w 132"/>
                  <a:gd name="T9" fmla="*/ 12 h 106"/>
                  <a:gd name="T10" fmla="*/ 70 w 132"/>
                  <a:gd name="T11" fmla="*/ 0 h 106"/>
                  <a:gd name="T12" fmla="*/ 43 w 132"/>
                  <a:gd name="T13" fmla="*/ 10 h 106"/>
                  <a:gd name="T14" fmla="*/ 68 w 132"/>
                  <a:gd name="T15" fmla="*/ 17 h 106"/>
                  <a:gd name="T16" fmla="*/ 87 w 132"/>
                  <a:gd name="T17" fmla="*/ 31 h 106"/>
                  <a:gd name="T18" fmla="*/ 74 w 132"/>
                  <a:gd name="T19" fmla="*/ 49 h 106"/>
                  <a:gd name="T20" fmla="*/ 72 w 132"/>
                  <a:gd name="T21" fmla="*/ 70 h 106"/>
                  <a:gd name="T22" fmla="*/ 31 w 132"/>
                  <a:gd name="T23" fmla="*/ 64 h 106"/>
                  <a:gd name="T24" fmla="*/ 0 w 132"/>
                  <a:gd name="T25" fmla="*/ 72 h 106"/>
                  <a:gd name="T26" fmla="*/ 26 w 132"/>
                  <a:gd name="T27" fmla="*/ 102 h 106"/>
                  <a:gd name="T28" fmla="*/ 43 w 132"/>
                  <a:gd name="T29" fmla="*/ 87 h 106"/>
                  <a:gd name="T30" fmla="*/ 74 w 132"/>
                  <a:gd name="T31" fmla="*/ 89 h 106"/>
                  <a:gd name="T32" fmla="*/ 111 w 132"/>
                  <a:gd name="T33" fmla="*/ 85 h 106"/>
                  <a:gd name="T34" fmla="*/ 121 w 132"/>
                  <a:gd name="T35" fmla="*/ 98 h 106"/>
                  <a:gd name="T36" fmla="*/ 114 w 132"/>
                  <a:gd name="T37" fmla="*/ 7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6">
                    <a:moveTo>
                      <a:pt x="114" y="74"/>
                    </a:moveTo>
                    <a:cubicBezTo>
                      <a:pt x="114" y="74"/>
                      <a:pt x="122" y="58"/>
                      <a:pt x="125" y="49"/>
                    </a:cubicBezTo>
                    <a:cubicBezTo>
                      <a:pt x="127" y="40"/>
                      <a:pt x="131" y="37"/>
                      <a:pt x="132" y="27"/>
                    </a:cubicBezTo>
                    <a:cubicBezTo>
                      <a:pt x="132" y="21"/>
                      <a:pt x="128" y="11"/>
                      <a:pt x="126" y="5"/>
                    </a:cubicBezTo>
                    <a:cubicBezTo>
                      <a:pt x="121" y="8"/>
                      <a:pt x="120" y="12"/>
                      <a:pt x="120" y="12"/>
                    </a:cubicBezTo>
                    <a:cubicBezTo>
                      <a:pt x="120" y="12"/>
                      <a:pt x="85" y="0"/>
                      <a:pt x="70" y="0"/>
                    </a:cubicBezTo>
                    <a:cubicBezTo>
                      <a:pt x="56" y="0"/>
                      <a:pt x="49" y="2"/>
                      <a:pt x="43" y="10"/>
                    </a:cubicBezTo>
                    <a:cubicBezTo>
                      <a:pt x="37" y="17"/>
                      <a:pt x="62" y="17"/>
                      <a:pt x="68" y="17"/>
                    </a:cubicBezTo>
                    <a:cubicBezTo>
                      <a:pt x="74" y="17"/>
                      <a:pt x="87" y="31"/>
                      <a:pt x="87" y="31"/>
                    </a:cubicBezTo>
                    <a:cubicBezTo>
                      <a:pt x="87" y="31"/>
                      <a:pt x="72" y="34"/>
                      <a:pt x="74" y="49"/>
                    </a:cubicBezTo>
                    <a:cubicBezTo>
                      <a:pt x="76" y="65"/>
                      <a:pt x="84" y="70"/>
                      <a:pt x="72" y="70"/>
                    </a:cubicBezTo>
                    <a:cubicBezTo>
                      <a:pt x="59" y="70"/>
                      <a:pt x="39" y="63"/>
                      <a:pt x="31" y="64"/>
                    </a:cubicBezTo>
                    <a:cubicBezTo>
                      <a:pt x="22" y="66"/>
                      <a:pt x="6" y="62"/>
                      <a:pt x="0" y="72"/>
                    </a:cubicBezTo>
                    <a:cubicBezTo>
                      <a:pt x="0" y="72"/>
                      <a:pt x="18" y="98"/>
                      <a:pt x="26" y="102"/>
                    </a:cubicBezTo>
                    <a:cubicBezTo>
                      <a:pt x="35" y="106"/>
                      <a:pt x="43" y="87"/>
                      <a:pt x="43" y="87"/>
                    </a:cubicBezTo>
                    <a:cubicBezTo>
                      <a:pt x="43" y="87"/>
                      <a:pt x="57" y="89"/>
                      <a:pt x="74" y="89"/>
                    </a:cubicBezTo>
                    <a:cubicBezTo>
                      <a:pt x="90" y="89"/>
                      <a:pt x="111" y="85"/>
                      <a:pt x="111" y="85"/>
                    </a:cubicBezTo>
                    <a:cubicBezTo>
                      <a:pt x="121" y="98"/>
                      <a:pt x="121" y="98"/>
                      <a:pt x="121" y="98"/>
                    </a:cubicBezTo>
                    <a:lnTo>
                      <a:pt x="114" y="74"/>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67" name="Guatemala">
                <a:extLst>
                  <a:ext uri="{FF2B5EF4-FFF2-40B4-BE49-F238E27FC236}">
                    <a16:creationId xmlns:a16="http://schemas.microsoft.com/office/drawing/2014/main" id="{17FB0519-0622-48A7-9D00-A0EE32EB6878}"/>
                  </a:ext>
                </a:extLst>
              </p:cNvPr>
              <p:cNvSpPr>
                <a:spLocks/>
              </p:cNvSpPr>
              <p:nvPr/>
            </p:nvSpPr>
            <p:spPr bwMode="gray">
              <a:xfrm>
                <a:off x="3186900" y="3545639"/>
                <a:ext cx="111144" cy="123768"/>
              </a:xfrm>
              <a:custGeom>
                <a:avLst/>
                <a:gdLst>
                  <a:gd name="T0" fmla="*/ 190 w 199"/>
                  <a:gd name="T1" fmla="*/ 103 h 222"/>
                  <a:gd name="T2" fmla="*/ 179 w 199"/>
                  <a:gd name="T3" fmla="*/ 110 h 222"/>
                  <a:gd name="T4" fmla="*/ 170 w 199"/>
                  <a:gd name="T5" fmla="*/ 105 h 222"/>
                  <a:gd name="T6" fmla="*/ 152 w 199"/>
                  <a:gd name="T7" fmla="*/ 105 h 222"/>
                  <a:gd name="T8" fmla="*/ 168 w 199"/>
                  <a:gd name="T9" fmla="*/ 1 h 222"/>
                  <a:gd name="T10" fmla="*/ 81 w 199"/>
                  <a:gd name="T11" fmla="*/ 0 h 222"/>
                  <a:gd name="T12" fmla="*/ 82 w 199"/>
                  <a:gd name="T13" fmla="*/ 30 h 222"/>
                  <a:gd name="T14" fmla="*/ 54 w 199"/>
                  <a:gd name="T15" fmla="*/ 34 h 222"/>
                  <a:gd name="T16" fmla="*/ 64 w 199"/>
                  <a:gd name="T17" fmla="*/ 38 h 222"/>
                  <a:gd name="T18" fmla="*/ 75 w 199"/>
                  <a:gd name="T19" fmla="*/ 56 h 222"/>
                  <a:gd name="T20" fmla="*/ 87 w 199"/>
                  <a:gd name="T21" fmla="*/ 57 h 222"/>
                  <a:gd name="T22" fmla="*/ 91 w 199"/>
                  <a:gd name="T23" fmla="*/ 73 h 222"/>
                  <a:gd name="T24" fmla="*/ 103 w 199"/>
                  <a:gd name="T25" fmla="*/ 79 h 222"/>
                  <a:gd name="T26" fmla="*/ 94 w 199"/>
                  <a:gd name="T27" fmla="*/ 86 h 222"/>
                  <a:gd name="T28" fmla="*/ 94 w 199"/>
                  <a:gd name="T29" fmla="*/ 97 h 222"/>
                  <a:gd name="T30" fmla="*/ 35 w 199"/>
                  <a:gd name="T31" fmla="*/ 96 h 222"/>
                  <a:gd name="T32" fmla="*/ 14 w 199"/>
                  <a:gd name="T33" fmla="*/ 127 h 222"/>
                  <a:gd name="T34" fmla="*/ 14 w 199"/>
                  <a:gd name="T35" fmla="*/ 165 h 222"/>
                  <a:gd name="T36" fmla="*/ 0 w 199"/>
                  <a:gd name="T37" fmla="*/ 179 h 222"/>
                  <a:gd name="T38" fmla="*/ 14 w 199"/>
                  <a:gd name="T39" fmla="*/ 192 h 222"/>
                  <a:gd name="T40" fmla="*/ 47 w 199"/>
                  <a:gd name="T41" fmla="*/ 213 h 222"/>
                  <a:gd name="T42" fmla="*/ 80 w 199"/>
                  <a:gd name="T43" fmla="*/ 213 h 222"/>
                  <a:gd name="T44" fmla="*/ 92 w 199"/>
                  <a:gd name="T45" fmla="*/ 222 h 222"/>
                  <a:gd name="T46" fmla="*/ 111 w 199"/>
                  <a:gd name="T47" fmla="*/ 207 h 222"/>
                  <a:gd name="T48" fmla="*/ 124 w 199"/>
                  <a:gd name="T49" fmla="*/ 195 h 222"/>
                  <a:gd name="T50" fmla="*/ 125 w 199"/>
                  <a:gd name="T51" fmla="*/ 187 h 222"/>
                  <a:gd name="T52" fmla="*/ 149 w 199"/>
                  <a:gd name="T53" fmla="*/ 176 h 222"/>
                  <a:gd name="T54" fmla="*/ 151 w 199"/>
                  <a:gd name="T55" fmla="*/ 155 h 222"/>
                  <a:gd name="T56" fmla="*/ 179 w 199"/>
                  <a:gd name="T57" fmla="*/ 131 h 222"/>
                  <a:gd name="T58" fmla="*/ 199 w 199"/>
                  <a:gd name="T59" fmla="*/ 112 h 222"/>
                  <a:gd name="T60" fmla="*/ 190 w 199"/>
                  <a:gd name="T61" fmla="*/ 10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9" h="222">
                    <a:moveTo>
                      <a:pt x="190" y="103"/>
                    </a:moveTo>
                    <a:cubicBezTo>
                      <a:pt x="179" y="110"/>
                      <a:pt x="179" y="110"/>
                      <a:pt x="179" y="110"/>
                    </a:cubicBezTo>
                    <a:cubicBezTo>
                      <a:pt x="170" y="105"/>
                      <a:pt x="170" y="105"/>
                      <a:pt x="170" y="105"/>
                    </a:cubicBezTo>
                    <a:cubicBezTo>
                      <a:pt x="152" y="105"/>
                      <a:pt x="152" y="105"/>
                      <a:pt x="152" y="105"/>
                    </a:cubicBezTo>
                    <a:cubicBezTo>
                      <a:pt x="168" y="1"/>
                      <a:pt x="168" y="1"/>
                      <a:pt x="168" y="1"/>
                    </a:cubicBezTo>
                    <a:cubicBezTo>
                      <a:pt x="81" y="0"/>
                      <a:pt x="81" y="0"/>
                      <a:pt x="81" y="0"/>
                    </a:cubicBezTo>
                    <a:cubicBezTo>
                      <a:pt x="81" y="0"/>
                      <a:pt x="84" y="24"/>
                      <a:pt x="82" y="30"/>
                    </a:cubicBezTo>
                    <a:cubicBezTo>
                      <a:pt x="80" y="36"/>
                      <a:pt x="54" y="34"/>
                      <a:pt x="54" y="34"/>
                    </a:cubicBezTo>
                    <a:cubicBezTo>
                      <a:pt x="64" y="38"/>
                      <a:pt x="64" y="38"/>
                      <a:pt x="64" y="38"/>
                    </a:cubicBezTo>
                    <a:cubicBezTo>
                      <a:pt x="64" y="38"/>
                      <a:pt x="65" y="54"/>
                      <a:pt x="75" y="56"/>
                    </a:cubicBezTo>
                    <a:cubicBezTo>
                      <a:pt x="85" y="58"/>
                      <a:pt x="87" y="57"/>
                      <a:pt x="87" y="57"/>
                    </a:cubicBezTo>
                    <a:cubicBezTo>
                      <a:pt x="91" y="73"/>
                      <a:pt x="91" y="73"/>
                      <a:pt x="91" y="73"/>
                    </a:cubicBezTo>
                    <a:cubicBezTo>
                      <a:pt x="91" y="73"/>
                      <a:pt x="103" y="69"/>
                      <a:pt x="103" y="79"/>
                    </a:cubicBezTo>
                    <a:cubicBezTo>
                      <a:pt x="103" y="89"/>
                      <a:pt x="94" y="86"/>
                      <a:pt x="94" y="86"/>
                    </a:cubicBezTo>
                    <a:cubicBezTo>
                      <a:pt x="94" y="97"/>
                      <a:pt x="94" y="97"/>
                      <a:pt x="94" y="97"/>
                    </a:cubicBezTo>
                    <a:cubicBezTo>
                      <a:pt x="35" y="96"/>
                      <a:pt x="35" y="96"/>
                      <a:pt x="35" y="96"/>
                    </a:cubicBezTo>
                    <a:cubicBezTo>
                      <a:pt x="14" y="127"/>
                      <a:pt x="14" y="127"/>
                      <a:pt x="14" y="127"/>
                    </a:cubicBezTo>
                    <a:cubicBezTo>
                      <a:pt x="14" y="127"/>
                      <a:pt x="14" y="149"/>
                      <a:pt x="14" y="165"/>
                    </a:cubicBezTo>
                    <a:cubicBezTo>
                      <a:pt x="14" y="181"/>
                      <a:pt x="0" y="179"/>
                      <a:pt x="0" y="179"/>
                    </a:cubicBezTo>
                    <a:cubicBezTo>
                      <a:pt x="3" y="185"/>
                      <a:pt x="7" y="189"/>
                      <a:pt x="14" y="192"/>
                    </a:cubicBezTo>
                    <a:cubicBezTo>
                      <a:pt x="33" y="199"/>
                      <a:pt x="36" y="209"/>
                      <a:pt x="47" y="213"/>
                    </a:cubicBezTo>
                    <a:cubicBezTo>
                      <a:pt x="58" y="217"/>
                      <a:pt x="80" y="213"/>
                      <a:pt x="80" y="213"/>
                    </a:cubicBezTo>
                    <a:cubicBezTo>
                      <a:pt x="80" y="213"/>
                      <a:pt x="86" y="217"/>
                      <a:pt x="92" y="222"/>
                    </a:cubicBezTo>
                    <a:cubicBezTo>
                      <a:pt x="97" y="217"/>
                      <a:pt x="105" y="208"/>
                      <a:pt x="111" y="207"/>
                    </a:cubicBezTo>
                    <a:cubicBezTo>
                      <a:pt x="119" y="205"/>
                      <a:pt x="124" y="195"/>
                      <a:pt x="124" y="195"/>
                    </a:cubicBezTo>
                    <a:cubicBezTo>
                      <a:pt x="125" y="187"/>
                      <a:pt x="125" y="187"/>
                      <a:pt x="125" y="187"/>
                    </a:cubicBezTo>
                    <a:cubicBezTo>
                      <a:pt x="125" y="187"/>
                      <a:pt x="146" y="185"/>
                      <a:pt x="149" y="176"/>
                    </a:cubicBezTo>
                    <a:cubicBezTo>
                      <a:pt x="152" y="167"/>
                      <a:pt x="151" y="155"/>
                      <a:pt x="151" y="155"/>
                    </a:cubicBezTo>
                    <a:cubicBezTo>
                      <a:pt x="151" y="155"/>
                      <a:pt x="164" y="139"/>
                      <a:pt x="179" y="131"/>
                    </a:cubicBezTo>
                    <a:cubicBezTo>
                      <a:pt x="194" y="123"/>
                      <a:pt x="199" y="112"/>
                      <a:pt x="199" y="112"/>
                    </a:cubicBezTo>
                    <a:lnTo>
                      <a:pt x="190" y="103"/>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68" name="El Salvador">
                <a:extLst>
                  <a:ext uri="{FF2B5EF4-FFF2-40B4-BE49-F238E27FC236}">
                    <a16:creationId xmlns:a16="http://schemas.microsoft.com/office/drawing/2014/main" id="{AC82C5EA-4AE1-4D7B-9D61-008F08429D31}"/>
                  </a:ext>
                </a:extLst>
              </p:cNvPr>
              <p:cNvSpPr>
                <a:spLocks/>
              </p:cNvSpPr>
              <p:nvPr/>
            </p:nvSpPr>
            <p:spPr bwMode="gray">
              <a:xfrm>
                <a:off x="3237709" y="3648778"/>
                <a:ext cx="65098" cy="41256"/>
              </a:xfrm>
              <a:custGeom>
                <a:avLst/>
                <a:gdLst>
                  <a:gd name="T0" fmla="*/ 116 w 117"/>
                  <a:gd name="T1" fmla="*/ 57 h 74"/>
                  <a:gd name="T2" fmla="*/ 115 w 117"/>
                  <a:gd name="T3" fmla="*/ 28 h 74"/>
                  <a:gd name="T4" fmla="*/ 100 w 117"/>
                  <a:gd name="T5" fmla="*/ 26 h 74"/>
                  <a:gd name="T6" fmla="*/ 84 w 117"/>
                  <a:gd name="T7" fmla="*/ 32 h 74"/>
                  <a:gd name="T8" fmla="*/ 76 w 117"/>
                  <a:gd name="T9" fmla="*/ 16 h 74"/>
                  <a:gd name="T10" fmla="*/ 61 w 117"/>
                  <a:gd name="T11" fmla="*/ 16 h 74"/>
                  <a:gd name="T12" fmla="*/ 48 w 117"/>
                  <a:gd name="T13" fmla="*/ 0 h 74"/>
                  <a:gd name="T14" fmla="*/ 33 w 117"/>
                  <a:gd name="T15" fmla="*/ 4 h 74"/>
                  <a:gd name="T16" fmla="*/ 32 w 117"/>
                  <a:gd name="T17" fmla="*/ 12 h 74"/>
                  <a:gd name="T18" fmla="*/ 19 w 117"/>
                  <a:gd name="T19" fmla="*/ 24 h 74"/>
                  <a:gd name="T20" fmla="*/ 0 w 117"/>
                  <a:gd name="T21" fmla="*/ 39 h 74"/>
                  <a:gd name="T22" fmla="*/ 20 w 117"/>
                  <a:gd name="T23" fmla="*/ 52 h 74"/>
                  <a:gd name="T24" fmla="*/ 48 w 117"/>
                  <a:gd name="T25" fmla="*/ 53 h 74"/>
                  <a:gd name="T26" fmla="*/ 64 w 117"/>
                  <a:gd name="T27" fmla="*/ 66 h 74"/>
                  <a:gd name="T28" fmla="*/ 86 w 117"/>
                  <a:gd name="T29" fmla="*/ 64 h 74"/>
                  <a:gd name="T30" fmla="*/ 98 w 117"/>
                  <a:gd name="T31" fmla="*/ 74 h 74"/>
                  <a:gd name="T32" fmla="*/ 110 w 117"/>
                  <a:gd name="T33" fmla="*/ 55 h 74"/>
                  <a:gd name="T34" fmla="*/ 117 w 117"/>
                  <a:gd name="T35" fmla="*/ 57 h 74"/>
                  <a:gd name="T36" fmla="*/ 116 w 117"/>
                  <a:gd name="T37" fmla="*/ 5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 h="74">
                    <a:moveTo>
                      <a:pt x="116" y="57"/>
                    </a:moveTo>
                    <a:cubicBezTo>
                      <a:pt x="115" y="28"/>
                      <a:pt x="115" y="28"/>
                      <a:pt x="115" y="28"/>
                    </a:cubicBezTo>
                    <a:cubicBezTo>
                      <a:pt x="115" y="28"/>
                      <a:pt x="105" y="27"/>
                      <a:pt x="100" y="26"/>
                    </a:cubicBezTo>
                    <a:cubicBezTo>
                      <a:pt x="95" y="25"/>
                      <a:pt x="93" y="30"/>
                      <a:pt x="84" y="32"/>
                    </a:cubicBezTo>
                    <a:cubicBezTo>
                      <a:pt x="75" y="34"/>
                      <a:pt x="76" y="16"/>
                      <a:pt x="76" y="16"/>
                    </a:cubicBezTo>
                    <a:cubicBezTo>
                      <a:pt x="76" y="16"/>
                      <a:pt x="70" y="16"/>
                      <a:pt x="61" y="16"/>
                    </a:cubicBezTo>
                    <a:cubicBezTo>
                      <a:pt x="54" y="16"/>
                      <a:pt x="50" y="5"/>
                      <a:pt x="48" y="0"/>
                    </a:cubicBezTo>
                    <a:cubicBezTo>
                      <a:pt x="41" y="3"/>
                      <a:pt x="33" y="4"/>
                      <a:pt x="33" y="4"/>
                    </a:cubicBezTo>
                    <a:cubicBezTo>
                      <a:pt x="32" y="12"/>
                      <a:pt x="32" y="12"/>
                      <a:pt x="32" y="12"/>
                    </a:cubicBezTo>
                    <a:cubicBezTo>
                      <a:pt x="32" y="12"/>
                      <a:pt x="27" y="22"/>
                      <a:pt x="19" y="24"/>
                    </a:cubicBezTo>
                    <a:cubicBezTo>
                      <a:pt x="13" y="25"/>
                      <a:pt x="5" y="34"/>
                      <a:pt x="0" y="39"/>
                    </a:cubicBezTo>
                    <a:cubicBezTo>
                      <a:pt x="7" y="44"/>
                      <a:pt x="16" y="50"/>
                      <a:pt x="20" y="52"/>
                    </a:cubicBezTo>
                    <a:cubicBezTo>
                      <a:pt x="28" y="55"/>
                      <a:pt x="48" y="53"/>
                      <a:pt x="48" y="53"/>
                    </a:cubicBezTo>
                    <a:cubicBezTo>
                      <a:pt x="64" y="66"/>
                      <a:pt x="64" y="66"/>
                      <a:pt x="64" y="66"/>
                    </a:cubicBezTo>
                    <a:cubicBezTo>
                      <a:pt x="86" y="64"/>
                      <a:pt x="86" y="64"/>
                      <a:pt x="86" y="64"/>
                    </a:cubicBezTo>
                    <a:cubicBezTo>
                      <a:pt x="98" y="74"/>
                      <a:pt x="98" y="74"/>
                      <a:pt x="98" y="74"/>
                    </a:cubicBezTo>
                    <a:cubicBezTo>
                      <a:pt x="110" y="55"/>
                      <a:pt x="110" y="55"/>
                      <a:pt x="110" y="55"/>
                    </a:cubicBezTo>
                    <a:cubicBezTo>
                      <a:pt x="117" y="57"/>
                      <a:pt x="117" y="57"/>
                      <a:pt x="117" y="57"/>
                    </a:cubicBezTo>
                    <a:lnTo>
                      <a:pt x="116" y="57"/>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69" name="Dominican Republic">
                <a:extLst>
                  <a:ext uri="{FF2B5EF4-FFF2-40B4-BE49-F238E27FC236}">
                    <a16:creationId xmlns:a16="http://schemas.microsoft.com/office/drawing/2014/main" id="{E038B367-A38B-4967-9564-E9768E17AA16}"/>
                  </a:ext>
                </a:extLst>
              </p:cNvPr>
              <p:cNvSpPr>
                <a:spLocks/>
              </p:cNvSpPr>
              <p:nvPr/>
            </p:nvSpPr>
            <p:spPr bwMode="gray">
              <a:xfrm>
                <a:off x="3733094" y="3485342"/>
                <a:ext cx="96854" cy="61884"/>
              </a:xfrm>
              <a:custGeom>
                <a:avLst/>
                <a:gdLst>
                  <a:gd name="T0" fmla="*/ 165 w 172"/>
                  <a:gd name="T1" fmla="*/ 68 h 111"/>
                  <a:gd name="T2" fmla="*/ 128 w 172"/>
                  <a:gd name="T3" fmla="*/ 43 h 111"/>
                  <a:gd name="T4" fmla="*/ 97 w 172"/>
                  <a:gd name="T5" fmla="*/ 32 h 111"/>
                  <a:gd name="T6" fmla="*/ 75 w 172"/>
                  <a:gd name="T7" fmla="*/ 5 h 111"/>
                  <a:gd name="T8" fmla="*/ 29 w 172"/>
                  <a:gd name="T9" fmla="*/ 0 h 111"/>
                  <a:gd name="T10" fmla="*/ 15 w 172"/>
                  <a:gd name="T11" fmla="*/ 4 h 111"/>
                  <a:gd name="T12" fmla="*/ 21 w 172"/>
                  <a:gd name="T13" fmla="*/ 26 h 111"/>
                  <a:gd name="T14" fmla="*/ 14 w 172"/>
                  <a:gd name="T15" fmla="*/ 48 h 111"/>
                  <a:gd name="T16" fmla="*/ 3 w 172"/>
                  <a:gd name="T17" fmla="*/ 73 h 111"/>
                  <a:gd name="T18" fmla="*/ 10 w 172"/>
                  <a:gd name="T19" fmla="*/ 97 h 111"/>
                  <a:gd name="T20" fmla="*/ 0 w 172"/>
                  <a:gd name="T21" fmla="*/ 84 h 111"/>
                  <a:gd name="T22" fmla="*/ 23 w 172"/>
                  <a:gd name="T23" fmla="*/ 111 h 111"/>
                  <a:gd name="T24" fmla="*/ 56 w 172"/>
                  <a:gd name="T25" fmla="*/ 87 h 111"/>
                  <a:gd name="T26" fmla="*/ 118 w 172"/>
                  <a:gd name="T27" fmla="*/ 89 h 111"/>
                  <a:gd name="T28" fmla="*/ 161 w 172"/>
                  <a:gd name="T29" fmla="*/ 89 h 111"/>
                  <a:gd name="T30" fmla="*/ 165 w 172"/>
                  <a:gd name="T31" fmla="*/ 6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111">
                    <a:moveTo>
                      <a:pt x="165" y="68"/>
                    </a:moveTo>
                    <a:cubicBezTo>
                      <a:pt x="165" y="68"/>
                      <a:pt x="143" y="49"/>
                      <a:pt x="128" y="43"/>
                    </a:cubicBezTo>
                    <a:cubicBezTo>
                      <a:pt x="114" y="38"/>
                      <a:pt x="108" y="36"/>
                      <a:pt x="97" y="32"/>
                    </a:cubicBezTo>
                    <a:cubicBezTo>
                      <a:pt x="87" y="28"/>
                      <a:pt x="81" y="9"/>
                      <a:pt x="75" y="5"/>
                    </a:cubicBezTo>
                    <a:cubicBezTo>
                      <a:pt x="69" y="2"/>
                      <a:pt x="46" y="0"/>
                      <a:pt x="29" y="0"/>
                    </a:cubicBezTo>
                    <a:cubicBezTo>
                      <a:pt x="22" y="0"/>
                      <a:pt x="18" y="2"/>
                      <a:pt x="15" y="4"/>
                    </a:cubicBezTo>
                    <a:cubicBezTo>
                      <a:pt x="17" y="10"/>
                      <a:pt x="21" y="20"/>
                      <a:pt x="21" y="26"/>
                    </a:cubicBezTo>
                    <a:cubicBezTo>
                      <a:pt x="20" y="36"/>
                      <a:pt x="16" y="39"/>
                      <a:pt x="14" y="48"/>
                    </a:cubicBezTo>
                    <a:cubicBezTo>
                      <a:pt x="11" y="57"/>
                      <a:pt x="3" y="73"/>
                      <a:pt x="3" y="73"/>
                    </a:cubicBezTo>
                    <a:cubicBezTo>
                      <a:pt x="10" y="97"/>
                      <a:pt x="10" y="97"/>
                      <a:pt x="10" y="97"/>
                    </a:cubicBezTo>
                    <a:cubicBezTo>
                      <a:pt x="0" y="84"/>
                      <a:pt x="0" y="84"/>
                      <a:pt x="0" y="84"/>
                    </a:cubicBezTo>
                    <a:cubicBezTo>
                      <a:pt x="23" y="111"/>
                      <a:pt x="23" y="111"/>
                      <a:pt x="23" y="111"/>
                    </a:cubicBezTo>
                    <a:cubicBezTo>
                      <a:pt x="56" y="87"/>
                      <a:pt x="56" y="87"/>
                      <a:pt x="56" y="87"/>
                    </a:cubicBezTo>
                    <a:cubicBezTo>
                      <a:pt x="56" y="87"/>
                      <a:pt x="85" y="87"/>
                      <a:pt x="118" y="89"/>
                    </a:cubicBezTo>
                    <a:cubicBezTo>
                      <a:pt x="131" y="90"/>
                      <a:pt x="153" y="93"/>
                      <a:pt x="161" y="89"/>
                    </a:cubicBezTo>
                    <a:cubicBezTo>
                      <a:pt x="172" y="83"/>
                      <a:pt x="165" y="68"/>
                      <a:pt x="165" y="68"/>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70" name="Cuba">
                <a:extLst>
                  <a:ext uri="{FF2B5EF4-FFF2-40B4-BE49-F238E27FC236}">
                    <a16:creationId xmlns:a16="http://schemas.microsoft.com/office/drawing/2014/main" id="{9F23977A-C241-4BA0-BAB2-B47DA2AE139E}"/>
                  </a:ext>
                </a:extLst>
              </p:cNvPr>
              <p:cNvSpPr>
                <a:spLocks noEditPoints="1"/>
              </p:cNvSpPr>
              <p:nvPr/>
            </p:nvSpPr>
            <p:spPr bwMode="gray">
              <a:xfrm>
                <a:off x="3409189" y="3383788"/>
                <a:ext cx="276273" cy="103140"/>
              </a:xfrm>
              <a:custGeom>
                <a:avLst/>
                <a:gdLst>
                  <a:gd name="T0" fmla="*/ 475 w 493"/>
                  <a:gd name="T1" fmla="*/ 151 h 185"/>
                  <a:gd name="T2" fmla="*/ 445 w 493"/>
                  <a:gd name="T3" fmla="*/ 148 h 185"/>
                  <a:gd name="T4" fmla="*/ 434 w 493"/>
                  <a:gd name="T5" fmla="*/ 129 h 185"/>
                  <a:gd name="T6" fmla="*/ 399 w 493"/>
                  <a:gd name="T7" fmla="*/ 128 h 185"/>
                  <a:gd name="T8" fmla="*/ 416 w 493"/>
                  <a:gd name="T9" fmla="*/ 114 h 185"/>
                  <a:gd name="T10" fmla="*/ 378 w 493"/>
                  <a:gd name="T11" fmla="*/ 106 h 185"/>
                  <a:gd name="T12" fmla="*/ 349 w 493"/>
                  <a:gd name="T13" fmla="*/ 96 h 185"/>
                  <a:gd name="T14" fmla="*/ 351 w 493"/>
                  <a:gd name="T15" fmla="*/ 79 h 185"/>
                  <a:gd name="T16" fmla="*/ 338 w 493"/>
                  <a:gd name="T17" fmla="*/ 77 h 185"/>
                  <a:gd name="T18" fmla="*/ 290 w 493"/>
                  <a:gd name="T19" fmla="*/ 45 h 185"/>
                  <a:gd name="T20" fmla="*/ 300 w 493"/>
                  <a:gd name="T21" fmla="*/ 64 h 185"/>
                  <a:gd name="T22" fmla="*/ 255 w 493"/>
                  <a:gd name="T23" fmla="*/ 42 h 185"/>
                  <a:gd name="T24" fmla="*/ 220 w 493"/>
                  <a:gd name="T25" fmla="*/ 12 h 185"/>
                  <a:gd name="T26" fmla="*/ 180 w 493"/>
                  <a:gd name="T27" fmla="*/ 12 h 185"/>
                  <a:gd name="T28" fmla="*/ 118 w 493"/>
                  <a:gd name="T29" fmla="*/ 0 h 185"/>
                  <a:gd name="T30" fmla="*/ 48 w 493"/>
                  <a:gd name="T31" fmla="*/ 26 h 185"/>
                  <a:gd name="T32" fmla="*/ 0 w 493"/>
                  <a:gd name="T33" fmla="*/ 51 h 185"/>
                  <a:gd name="T34" fmla="*/ 51 w 493"/>
                  <a:gd name="T35" fmla="*/ 49 h 185"/>
                  <a:gd name="T36" fmla="*/ 51 w 493"/>
                  <a:gd name="T37" fmla="*/ 39 h 185"/>
                  <a:gd name="T38" fmla="*/ 102 w 493"/>
                  <a:gd name="T39" fmla="*/ 36 h 185"/>
                  <a:gd name="T40" fmla="*/ 115 w 493"/>
                  <a:gd name="T41" fmla="*/ 29 h 185"/>
                  <a:gd name="T42" fmla="*/ 150 w 493"/>
                  <a:gd name="T43" fmla="*/ 34 h 185"/>
                  <a:gd name="T44" fmla="*/ 126 w 493"/>
                  <a:gd name="T45" fmla="*/ 46 h 185"/>
                  <a:gd name="T46" fmla="*/ 137 w 493"/>
                  <a:gd name="T47" fmla="*/ 54 h 185"/>
                  <a:gd name="T48" fmla="*/ 172 w 493"/>
                  <a:gd name="T49" fmla="*/ 66 h 185"/>
                  <a:gd name="T50" fmla="*/ 188 w 493"/>
                  <a:gd name="T51" fmla="*/ 61 h 185"/>
                  <a:gd name="T52" fmla="*/ 220 w 493"/>
                  <a:gd name="T53" fmla="*/ 81 h 185"/>
                  <a:gd name="T54" fmla="*/ 268 w 493"/>
                  <a:gd name="T55" fmla="*/ 79 h 185"/>
                  <a:gd name="T56" fmla="*/ 263 w 493"/>
                  <a:gd name="T57" fmla="*/ 96 h 185"/>
                  <a:gd name="T58" fmla="*/ 303 w 493"/>
                  <a:gd name="T59" fmla="*/ 113 h 185"/>
                  <a:gd name="T60" fmla="*/ 319 w 493"/>
                  <a:gd name="T61" fmla="*/ 136 h 185"/>
                  <a:gd name="T62" fmla="*/ 335 w 493"/>
                  <a:gd name="T63" fmla="*/ 150 h 185"/>
                  <a:gd name="T64" fmla="*/ 316 w 493"/>
                  <a:gd name="T65" fmla="*/ 172 h 185"/>
                  <a:gd name="T66" fmla="*/ 356 w 493"/>
                  <a:gd name="T67" fmla="*/ 163 h 185"/>
                  <a:gd name="T68" fmla="*/ 367 w 493"/>
                  <a:gd name="T69" fmla="*/ 168 h 185"/>
                  <a:gd name="T70" fmla="*/ 375 w 493"/>
                  <a:gd name="T71" fmla="*/ 180 h 185"/>
                  <a:gd name="T72" fmla="*/ 426 w 493"/>
                  <a:gd name="T73" fmla="*/ 178 h 185"/>
                  <a:gd name="T74" fmla="*/ 493 w 493"/>
                  <a:gd name="T75" fmla="*/ 163 h 185"/>
                  <a:gd name="T76" fmla="*/ 475 w 493"/>
                  <a:gd name="T77" fmla="*/ 151 h 185"/>
                  <a:gd name="T78" fmla="*/ 78 w 493"/>
                  <a:gd name="T79" fmla="*/ 84 h 185"/>
                  <a:gd name="T80" fmla="*/ 104 w 493"/>
                  <a:gd name="T81" fmla="*/ 84 h 185"/>
                  <a:gd name="T82" fmla="*/ 78 w 493"/>
                  <a:gd name="T83" fmla="*/ 8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3" h="185">
                    <a:moveTo>
                      <a:pt x="475" y="151"/>
                    </a:moveTo>
                    <a:cubicBezTo>
                      <a:pt x="456" y="148"/>
                      <a:pt x="445" y="148"/>
                      <a:pt x="445" y="148"/>
                    </a:cubicBezTo>
                    <a:cubicBezTo>
                      <a:pt x="445" y="148"/>
                      <a:pt x="453" y="131"/>
                      <a:pt x="434" y="129"/>
                    </a:cubicBezTo>
                    <a:cubicBezTo>
                      <a:pt x="416" y="126"/>
                      <a:pt x="399" y="128"/>
                      <a:pt x="399" y="128"/>
                    </a:cubicBezTo>
                    <a:cubicBezTo>
                      <a:pt x="416" y="114"/>
                      <a:pt x="416" y="114"/>
                      <a:pt x="416" y="114"/>
                    </a:cubicBezTo>
                    <a:cubicBezTo>
                      <a:pt x="416" y="114"/>
                      <a:pt x="386" y="106"/>
                      <a:pt x="378" y="106"/>
                    </a:cubicBezTo>
                    <a:cubicBezTo>
                      <a:pt x="370" y="106"/>
                      <a:pt x="349" y="96"/>
                      <a:pt x="349" y="96"/>
                    </a:cubicBezTo>
                    <a:cubicBezTo>
                      <a:pt x="349" y="96"/>
                      <a:pt x="359" y="79"/>
                      <a:pt x="351" y="79"/>
                    </a:cubicBezTo>
                    <a:cubicBezTo>
                      <a:pt x="343" y="79"/>
                      <a:pt x="338" y="77"/>
                      <a:pt x="338" y="77"/>
                    </a:cubicBezTo>
                    <a:cubicBezTo>
                      <a:pt x="338" y="77"/>
                      <a:pt x="298" y="37"/>
                      <a:pt x="290" y="45"/>
                    </a:cubicBezTo>
                    <a:cubicBezTo>
                      <a:pt x="282" y="52"/>
                      <a:pt x="300" y="64"/>
                      <a:pt x="300" y="64"/>
                    </a:cubicBezTo>
                    <a:cubicBezTo>
                      <a:pt x="255" y="42"/>
                      <a:pt x="255" y="42"/>
                      <a:pt x="255" y="42"/>
                    </a:cubicBezTo>
                    <a:cubicBezTo>
                      <a:pt x="255" y="42"/>
                      <a:pt x="231" y="17"/>
                      <a:pt x="220" y="12"/>
                    </a:cubicBezTo>
                    <a:cubicBezTo>
                      <a:pt x="209" y="7"/>
                      <a:pt x="180" y="12"/>
                      <a:pt x="180" y="12"/>
                    </a:cubicBezTo>
                    <a:cubicBezTo>
                      <a:pt x="180" y="12"/>
                      <a:pt x="156" y="0"/>
                      <a:pt x="118" y="0"/>
                    </a:cubicBezTo>
                    <a:cubicBezTo>
                      <a:pt x="81" y="0"/>
                      <a:pt x="64" y="12"/>
                      <a:pt x="48" y="26"/>
                    </a:cubicBezTo>
                    <a:cubicBezTo>
                      <a:pt x="32" y="41"/>
                      <a:pt x="0" y="51"/>
                      <a:pt x="0" y="51"/>
                    </a:cubicBezTo>
                    <a:cubicBezTo>
                      <a:pt x="51" y="49"/>
                      <a:pt x="51" y="49"/>
                      <a:pt x="51" y="49"/>
                    </a:cubicBezTo>
                    <a:cubicBezTo>
                      <a:pt x="51" y="39"/>
                      <a:pt x="51" y="39"/>
                      <a:pt x="51" y="39"/>
                    </a:cubicBezTo>
                    <a:cubicBezTo>
                      <a:pt x="102" y="36"/>
                      <a:pt x="102" y="36"/>
                      <a:pt x="102" y="36"/>
                    </a:cubicBezTo>
                    <a:cubicBezTo>
                      <a:pt x="115" y="29"/>
                      <a:pt x="115" y="29"/>
                      <a:pt x="115" y="29"/>
                    </a:cubicBezTo>
                    <a:cubicBezTo>
                      <a:pt x="115" y="29"/>
                      <a:pt x="142" y="27"/>
                      <a:pt x="150" y="34"/>
                    </a:cubicBezTo>
                    <a:cubicBezTo>
                      <a:pt x="158" y="42"/>
                      <a:pt x="126" y="46"/>
                      <a:pt x="126" y="46"/>
                    </a:cubicBezTo>
                    <a:cubicBezTo>
                      <a:pt x="137" y="54"/>
                      <a:pt x="137" y="54"/>
                      <a:pt x="137" y="54"/>
                    </a:cubicBezTo>
                    <a:cubicBezTo>
                      <a:pt x="137" y="54"/>
                      <a:pt x="155" y="61"/>
                      <a:pt x="172" y="66"/>
                    </a:cubicBezTo>
                    <a:cubicBezTo>
                      <a:pt x="188" y="71"/>
                      <a:pt x="188" y="61"/>
                      <a:pt x="188" y="61"/>
                    </a:cubicBezTo>
                    <a:cubicBezTo>
                      <a:pt x="188" y="61"/>
                      <a:pt x="204" y="74"/>
                      <a:pt x="220" y="81"/>
                    </a:cubicBezTo>
                    <a:cubicBezTo>
                      <a:pt x="236" y="89"/>
                      <a:pt x="268" y="79"/>
                      <a:pt x="268" y="79"/>
                    </a:cubicBezTo>
                    <a:cubicBezTo>
                      <a:pt x="263" y="96"/>
                      <a:pt x="263" y="96"/>
                      <a:pt x="263" y="96"/>
                    </a:cubicBezTo>
                    <a:cubicBezTo>
                      <a:pt x="303" y="113"/>
                      <a:pt x="303" y="113"/>
                      <a:pt x="303" y="113"/>
                    </a:cubicBezTo>
                    <a:cubicBezTo>
                      <a:pt x="319" y="136"/>
                      <a:pt x="319" y="136"/>
                      <a:pt x="319" y="136"/>
                    </a:cubicBezTo>
                    <a:cubicBezTo>
                      <a:pt x="319" y="136"/>
                      <a:pt x="335" y="143"/>
                      <a:pt x="335" y="150"/>
                    </a:cubicBezTo>
                    <a:cubicBezTo>
                      <a:pt x="335" y="158"/>
                      <a:pt x="308" y="165"/>
                      <a:pt x="316" y="172"/>
                    </a:cubicBezTo>
                    <a:cubicBezTo>
                      <a:pt x="324" y="180"/>
                      <a:pt x="348" y="163"/>
                      <a:pt x="356" y="163"/>
                    </a:cubicBezTo>
                    <a:cubicBezTo>
                      <a:pt x="364" y="163"/>
                      <a:pt x="381" y="165"/>
                      <a:pt x="367" y="168"/>
                    </a:cubicBezTo>
                    <a:cubicBezTo>
                      <a:pt x="354" y="170"/>
                      <a:pt x="375" y="180"/>
                      <a:pt x="375" y="180"/>
                    </a:cubicBezTo>
                    <a:cubicBezTo>
                      <a:pt x="375" y="180"/>
                      <a:pt x="397" y="185"/>
                      <a:pt x="426" y="178"/>
                    </a:cubicBezTo>
                    <a:cubicBezTo>
                      <a:pt x="456" y="170"/>
                      <a:pt x="493" y="163"/>
                      <a:pt x="493" y="163"/>
                    </a:cubicBezTo>
                    <a:cubicBezTo>
                      <a:pt x="493" y="163"/>
                      <a:pt x="493" y="153"/>
                      <a:pt x="475" y="151"/>
                    </a:cubicBezTo>
                    <a:close/>
                    <a:moveTo>
                      <a:pt x="78" y="84"/>
                    </a:moveTo>
                    <a:cubicBezTo>
                      <a:pt x="75" y="97"/>
                      <a:pt x="102" y="99"/>
                      <a:pt x="104" y="84"/>
                    </a:cubicBezTo>
                    <a:cubicBezTo>
                      <a:pt x="107" y="70"/>
                      <a:pt x="78" y="84"/>
                      <a:pt x="78" y="84"/>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71" name="Costa Rica">
                <a:extLst>
                  <a:ext uri="{FF2B5EF4-FFF2-40B4-BE49-F238E27FC236}">
                    <a16:creationId xmlns:a16="http://schemas.microsoft.com/office/drawing/2014/main" id="{4DFFF462-B36C-4DC2-88AD-234AD6A49ED7}"/>
                  </a:ext>
                </a:extLst>
              </p:cNvPr>
              <p:cNvSpPr>
                <a:spLocks/>
              </p:cNvSpPr>
              <p:nvPr/>
            </p:nvSpPr>
            <p:spPr bwMode="gray">
              <a:xfrm>
                <a:off x="3337739" y="3745570"/>
                <a:ext cx="90503" cy="85685"/>
              </a:xfrm>
              <a:custGeom>
                <a:avLst/>
                <a:gdLst>
                  <a:gd name="T0" fmla="*/ 146 w 162"/>
                  <a:gd name="T1" fmla="*/ 133 h 152"/>
                  <a:gd name="T2" fmla="*/ 159 w 162"/>
                  <a:gd name="T3" fmla="*/ 122 h 152"/>
                  <a:gd name="T4" fmla="*/ 145 w 162"/>
                  <a:gd name="T5" fmla="*/ 115 h 152"/>
                  <a:gd name="T6" fmla="*/ 145 w 162"/>
                  <a:gd name="T7" fmla="*/ 93 h 152"/>
                  <a:gd name="T8" fmla="*/ 162 w 162"/>
                  <a:gd name="T9" fmla="*/ 87 h 152"/>
                  <a:gd name="T10" fmla="*/ 140 w 162"/>
                  <a:gd name="T11" fmla="*/ 66 h 152"/>
                  <a:gd name="T12" fmla="*/ 124 w 162"/>
                  <a:gd name="T13" fmla="*/ 39 h 152"/>
                  <a:gd name="T14" fmla="*/ 122 w 162"/>
                  <a:gd name="T15" fmla="*/ 24 h 152"/>
                  <a:gd name="T16" fmla="*/ 122 w 162"/>
                  <a:gd name="T17" fmla="*/ 23 h 152"/>
                  <a:gd name="T18" fmla="*/ 122 w 162"/>
                  <a:gd name="T19" fmla="*/ 23 h 152"/>
                  <a:gd name="T20" fmla="*/ 101 w 162"/>
                  <a:gd name="T21" fmla="*/ 26 h 152"/>
                  <a:gd name="T22" fmla="*/ 89 w 162"/>
                  <a:gd name="T23" fmla="*/ 14 h 152"/>
                  <a:gd name="T24" fmla="*/ 71 w 162"/>
                  <a:gd name="T25" fmla="*/ 7 h 152"/>
                  <a:gd name="T26" fmla="*/ 59 w 162"/>
                  <a:gd name="T27" fmla="*/ 12 h 152"/>
                  <a:gd name="T28" fmla="*/ 33 w 162"/>
                  <a:gd name="T29" fmla="*/ 1 h 152"/>
                  <a:gd name="T30" fmla="*/ 19 w 162"/>
                  <a:gd name="T31" fmla="*/ 2 h 152"/>
                  <a:gd name="T32" fmla="*/ 19 w 162"/>
                  <a:gd name="T33" fmla="*/ 2 h 152"/>
                  <a:gd name="T34" fmla="*/ 10 w 162"/>
                  <a:gd name="T35" fmla="*/ 19 h 152"/>
                  <a:gd name="T36" fmla="*/ 20 w 162"/>
                  <a:gd name="T37" fmla="*/ 32 h 152"/>
                  <a:gd name="T38" fmla="*/ 9 w 162"/>
                  <a:gd name="T39" fmla="*/ 60 h 152"/>
                  <a:gd name="T40" fmla="*/ 33 w 162"/>
                  <a:gd name="T41" fmla="*/ 72 h 152"/>
                  <a:gd name="T42" fmla="*/ 53 w 162"/>
                  <a:gd name="T43" fmla="*/ 85 h 152"/>
                  <a:gd name="T44" fmla="*/ 51 w 162"/>
                  <a:gd name="T45" fmla="*/ 67 h 152"/>
                  <a:gd name="T46" fmla="*/ 33 w 162"/>
                  <a:gd name="T47" fmla="*/ 49 h 152"/>
                  <a:gd name="T48" fmla="*/ 67 w 162"/>
                  <a:gd name="T49" fmla="*/ 70 h 152"/>
                  <a:gd name="T50" fmla="*/ 68 w 162"/>
                  <a:gd name="T51" fmla="*/ 89 h 152"/>
                  <a:gd name="T52" fmla="*/ 95 w 162"/>
                  <a:gd name="T53" fmla="*/ 94 h 152"/>
                  <a:gd name="T54" fmla="*/ 108 w 162"/>
                  <a:gd name="T55" fmla="*/ 121 h 152"/>
                  <a:gd name="T56" fmla="*/ 108 w 162"/>
                  <a:gd name="T57" fmla="*/ 138 h 152"/>
                  <a:gd name="T58" fmla="*/ 131 w 162"/>
                  <a:gd name="T59" fmla="*/ 150 h 152"/>
                  <a:gd name="T60" fmla="*/ 122 w 162"/>
                  <a:gd name="T61" fmla="*/ 133 h 152"/>
                  <a:gd name="T62" fmla="*/ 141 w 162"/>
                  <a:gd name="T63" fmla="*/ 152 h 152"/>
                  <a:gd name="T64" fmla="*/ 145 w 162"/>
                  <a:gd name="T65" fmla="*/ 147 h 152"/>
                  <a:gd name="T66" fmla="*/ 146 w 162"/>
                  <a:gd name="T67" fmla="*/ 13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2" h="152">
                    <a:moveTo>
                      <a:pt x="146" y="133"/>
                    </a:moveTo>
                    <a:cubicBezTo>
                      <a:pt x="146" y="133"/>
                      <a:pt x="159" y="127"/>
                      <a:pt x="159" y="122"/>
                    </a:cubicBezTo>
                    <a:cubicBezTo>
                      <a:pt x="159" y="117"/>
                      <a:pt x="145" y="115"/>
                      <a:pt x="145" y="115"/>
                    </a:cubicBezTo>
                    <a:cubicBezTo>
                      <a:pt x="145" y="115"/>
                      <a:pt x="135" y="96"/>
                      <a:pt x="145" y="93"/>
                    </a:cubicBezTo>
                    <a:cubicBezTo>
                      <a:pt x="151" y="91"/>
                      <a:pt x="158" y="88"/>
                      <a:pt x="162" y="87"/>
                    </a:cubicBezTo>
                    <a:cubicBezTo>
                      <a:pt x="154" y="82"/>
                      <a:pt x="143" y="75"/>
                      <a:pt x="140" y="66"/>
                    </a:cubicBezTo>
                    <a:cubicBezTo>
                      <a:pt x="136" y="53"/>
                      <a:pt x="124" y="39"/>
                      <a:pt x="124" y="39"/>
                    </a:cubicBezTo>
                    <a:cubicBezTo>
                      <a:pt x="122" y="24"/>
                      <a:pt x="122" y="24"/>
                      <a:pt x="122" y="24"/>
                    </a:cubicBezTo>
                    <a:cubicBezTo>
                      <a:pt x="122" y="24"/>
                      <a:pt x="122" y="24"/>
                      <a:pt x="122" y="23"/>
                    </a:cubicBezTo>
                    <a:cubicBezTo>
                      <a:pt x="122" y="23"/>
                      <a:pt x="122" y="23"/>
                      <a:pt x="122" y="23"/>
                    </a:cubicBezTo>
                    <a:cubicBezTo>
                      <a:pt x="115" y="25"/>
                      <a:pt x="107" y="26"/>
                      <a:pt x="101" y="26"/>
                    </a:cubicBezTo>
                    <a:cubicBezTo>
                      <a:pt x="89" y="26"/>
                      <a:pt x="89" y="14"/>
                      <a:pt x="89" y="14"/>
                    </a:cubicBezTo>
                    <a:cubicBezTo>
                      <a:pt x="89" y="14"/>
                      <a:pt x="84" y="8"/>
                      <a:pt x="71" y="7"/>
                    </a:cubicBezTo>
                    <a:cubicBezTo>
                      <a:pt x="58" y="6"/>
                      <a:pt x="59" y="12"/>
                      <a:pt x="59" y="12"/>
                    </a:cubicBezTo>
                    <a:cubicBezTo>
                      <a:pt x="59" y="12"/>
                      <a:pt x="39" y="3"/>
                      <a:pt x="33" y="1"/>
                    </a:cubicBezTo>
                    <a:cubicBezTo>
                      <a:pt x="29" y="0"/>
                      <a:pt x="23" y="1"/>
                      <a:pt x="19" y="2"/>
                    </a:cubicBezTo>
                    <a:cubicBezTo>
                      <a:pt x="19" y="2"/>
                      <a:pt x="19" y="2"/>
                      <a:pt x="19" y="2"/>
                    </a:cubicBezTo>
                    <a:cubicBezTo>
                      <a:pt x="10" y="19"/>
                      <a:pt x="10" y="19"/>
                      <a:pt x="10" y="19"/>
                    </a:cubicBezTo>
                    <a:cubicBezTo>
                      <a:pt x="10" y="19"/>
                      <a:pt x="26" y="28"/>
                      <a:pt x="20" y="32"/>
                    </a:cubicBezTo>
                    <a:cubicBezTo>
                      <a:pt x="14" y="36"/>
                      <a:pt x="0" y="46"/>
                      <a:pt x="9" y="60"/>
                    </a:cubicBezTo>
                    <a:cubicBezTo>
                      <a:pt x="18" y="74"/>
                      <a:pt x="33" y="72"/>
                      <a:pt x="33" y="72"/>
                    </a:cubicBezTo>
                    <a:cubicBezTo>
                      <a:pt x="33" y="72"/>
                      <a:pt x="50" y="92"/>
                      <a:pt x="53" y="85"/>
                    </a:cubicBezTo>
                    <a:cubicBezTo>
                      <a:pt x="56" y="78"/>
                      <a:pt x="51" y="67"/>
                      <a:pt x="51" y="67"/>
                    </a:cubicBezTo>
                    <a:cubicBezTo>
                      <a:pt x="51" y="67"/>
                      <a:pt x="24" y="49"/>
                      <a:pt x="33" y="49"/>
                    </a:cubicBezTo>
                    <a:cubicBezTo>
                      <a:pt x="42" y="49"/>
                      <a:pt x="67" y="70"/>
                      <a:pt x="67" y="70"/>
                    </a:cubicBezTo>
                    <a:cubicBezTo>
                      <a:pt x="67" y="70"/>
                      <a:pt x="64" y="89"/>
                      <a:pt x="68" y="89"/>
                    </a:cubicBezTo>
                    <a:cubicBezTo>
                      <a:pt x="72" y="89"/>
                      <a:pt x="95" y="94"/>
                      <a:pt x="95" y="94"/>
                    </a:cubicBezTo>
                    <a:cubicBezTo>
                      <a:pt x="108" y="121"/>
                      <a:pt x="108" y="121"/>
                      <a:pt x="108" y="121"/>
                    </a:cubicBezTo>
                    <a:cubicBezTo>
                      <a:pt x="108" y="121"/>
                      <a:pt x="99" y="129"/>
                      <a:pt x="108" y="138"/>
                    </a:cubicBezTo>
                    <a:cubicBezTo>
                      <a:pt x="117" y="147"/>
                      <a:pt x="131" y="150"/>
                      <a:pt x="131" y="150"/>
                    </a:cubicBezTo>
                    <a:cubicBezTo>
                      <a:pt x="122" y="133"/>
                      <a:pt x="122" y="133"/>
                      <a:pt x="122" y="133"/>
                    </a:cubicBezTo>
                    <a:cubicBezTo>
                      <a:pt x="141" y="152"/>
                      <a:pt x="141" y="152"/>
                      <a:pt x="141" y="152"/>
                    </a:cubicBezTo>
                    <a:cubicBezTo>
                      <a:pt x="145" y="147"/>
                      <a:pt x="145" y="147"/>
                      <a:pt x="145" y="147"/>
                    </a:cubicBezTo>
                    <a:lnTo>
                      <a:pt x="146" y="133"/>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72" name="Canada">
                <a:extLst>
                  <a:ext uri="{FF2B5EF4-FFF2-40B4-BE49-F238E27FC236}">
                    <a16:creationId xmlns:a16="http://schemas.microsoft.com/office/drawing/2014/main" id="{78F0180F-68C1-40A2-BA8F-755E961FF454}"/>
                  </a:ext>
                </a:extLst>
              </p:cNvPr>
              <p:cNvSpPr>
                <a:spLocks noEditPoints="1"/>
              </p:cNvSpPr>
              <p:nvPr/>
            </p:nvSpPr>
            <p:spPr bwMode="gray">
              <a:xfrm>
                <a:off x="2667696" y="1744659"/>
                <a:ext cx="2081574" cy="1077413"/>
              </a:xfrm>
              <a:custGeom>
                <a:avLst/>
                <a:gdLst>
                  <a:gd name="T0" fmla="*/ 1824 w 3718"/>
                  <a:gd name="T1" fmla="*/ 304 h 1928"/>
                  <a:gd name="T2" fmla="*/ 1868 w 3718"/>
                  <a:gd name="T3" fmla="*/ 216 h 1928"/>
                  <a:gd name="T4" fmla="*/ 141 w 3718"/>
                  <a:gd name="T5" fmla="*/ 1354 h 1928"/>
                  <a:gd name="T6" fmla="*/ 138 w 3718"/>
                  <a:gd name="T7" fmla="*/ 1561 h 1928"/>
                  <a:gd name="T8" fmla="*/ 1554 w 3718"/>
                  <a:gd name="T9" fmla="*/ 213 h 1928"/>
                  <a:gd name="T10" fmla="*/ 34 w 3718"/>
                  <a:gd name="T11" fmla="*/ 1340 h 1928"/>
                  <a:gd name="T12" fmla="*/ 1227 w 3718"/>
                  <a:gd name="T13" fmla="*/ 437 h 1928"/>
                  <a:gd name="T14" fmla="*/ 2245 w 3718"/>
                  <a:gd name="T15" fmla="*/ 414 h 1928"/>
                  <a:gd name="T16" fmla="*/ 2627 w 3718"/>
                  <a:gd name="T17" fmla="*/ 171 h 1928"/>
                  <a:gd name="T18" fmla="*/ 2592 w 3718"/>
                  <a:gd name="T19" fmla="*/ 114 h 1928"/>
                  <a:gd name="T20" fmla="*/ 2731 w 3718"/>
                  <a:gd name="T21" fmla="*/ 327 h 1928"/>
                  <a:gd name="T22" fmla="*/ 2578 w 3718"/>
                  <a:gd name="T23" fmla="*/ 240 h 1928"/>
                  <a:gd name="T24" fmla="*/ 2488 w 3718"/>
                  <a:gd name="T25" fmla="*/ 156 h 1928"/>
                  <a:gd name="T26" fmla="*/ 1744 w 3718"/>
                  <a:gd name="T27" fmla="*/ 405 h 1928"/>
                  <a:gd name="T28" fmla="*/ 1851 w 3718"/>
                  <a:gd name="T29" fmla="*/ 586 h 1928"/>
                  <a:gd name="T30" fmla="*/ 2278 w 3718"/>
                  <a:gd name="T31" fmla="*/ 144 h 1928"/>
                  <a:gd name="T32" fmla="*/ 3024 w 3718"/>
                  <a:gd name="T33" fmla="*/ 564 h 1928"/>
                  <a:gd name="T34" fmla="*/ 2988 w 3718"/>
                  <a:gd name="T35" fmla="*/ 474 h 1928"/>
                  <a:gd name="T36" fmla="*/ 2753 w 3718"/>
                  <a:gd name="T37" fmla="*/ 381 h 1928"/>
                  <a:gd name="T38" fmla="*/ 2565 w 3718"/>
                  <a:gd name="T39" fmla="*/ 358 h 1928"/>
                  <a:gd name="T40" fmla="*/ 2816 w 3718"/>
                  <a:gd name="T41" fmla="*/ 590 h 1928"/>
                  <a:gd name="T42" fmla="*/ 2732 w 3718"/>
                  <a:gd name="T43" fmla="*/ 829 h 1928"/>
                  <a:gd name="T44" fmla="*/ 2995 w 3718"/>
                  <a:gd name="T45" fmla="*/ 792 h 1928"/>
                  <a:gd name="T46" fmla="*/ 3152 w 3718"/>
                  <a:gd name="T47" fmla="*/ 694 h 1928"/>
                  <a:gd name="T48" fmla="*/ 2821 w 3718"/>
                  <a:gd name="T49" fmla="*/ 613 h 1928"/>
                  <a:gd name="T50" fmla="*/ 3034 w 3718"/>
                  <a:gd name="T51" fmla="*/ 25 h 1928"/>
                  <a:gd name="T52" fmla="*/ 3027 w 3718"/>
                  <a:gd name="T53" fmla="*/ 92 h 1928"/>
                  <a:gd name="T54" fmla="*/ 2737 w 3718"/>
                  <a:gd name="T55" fmla="*/ 191 h 1928"/>
                  <a:gd name="T56" fmla="*/ 2975 w 3718"/>
                  <a:gd name="T57" fmla="*/ 248 h 1928"/>
                  <a:gd name="T58" fmla="*/ 3379 w 3718"/>
                  <a:gd name="T59" fmla="*/ 91 h 1928"/>
                  <a:gd name="T60" fmla="*/ 2747 w 3718"/>
                  <a:gd name="T61" fmla="*/ 549 h 1928"/>
                  <a:gd name="T62" fmla="*/ 2686 w 3718"/>
                  <a:gd name="T63" fmla="*/ 1536 h 1928"/>
                  <a:gd name="T64" fmla="*/ 2958 w 3718"/>
                  <a:gd name="T65" fmla="*/ 1304 h 1928"/>
                  <a:gd name="T66" fmla="*/ 2899 w 3718"/>
                  <a:gd name="T67" fmla="*/ 1093 h 1928"/>
                  <a:gd name="T68" fmla="*/ 2744 w 3718"/>
                  <a:gd name="T69" fmla="*/ 1079 h 1928"/>
                  <a:gd name="T70" fmla="*/ 2677 w 3718"/>
                  <a:gd name="T71" fmla="*/ 900 h 1928"/>
                  <a:gd name="T72" fmla="*/ 2180 w 3718"/>
                  <a:gd name="T73" fmla="*/ 1298 h 1928"/>
                  <a:gd name="T74" fmla="*/ 1908 w 3718"/>
                  <a:gd name="T75" fmla="*/ 1200 h 1928"/>
                  <a:gd name="T76" fmla="*/ 1986 w 3718"/>
                  <a:gd name="T77" fmla="*/ 814 h 1928"/>
                  <a:gd name="T78" fmla="*/ 2401 w 3718"/>
                  <a:gd name="T79" fmla="*/ 658 h 1928"/>
                  <a:gd name="T80" fmla="*/ 2262 w 3718"/>
                  <a:gd name="T81" fmla="*/ 563 h 1928"/>
                  <a:gd name="T82" fmla="*/ 2163 w 3718"/>
                  <a:gd name="T83" fmla="*/ 561 h 1928"/>
                  <a:gd name="T84" fmla="*/ 1863 w 3718"/>
                  <a:gd name="T85" fmla="*/ 625 h 1928"/>
                  <a:gd name="T86" fmla="*/ 1155 w 3718"/>
                  <a:gd name="T87" fmla="*/ 554 h 1928"/>
                  <a:gd name="T88" fmla="*/ 983 w 3718"/>
                  <a:gd name="T89" fmla="*/ 514 h 1928"/>
                  <a:gd name="T90" fmla="*/ 52 w 3718"/>
                  <a:gd name="T91" fmla="*/ 964 h 1928"/>
                  <a:gd name="T92" fmla="*/ 225 w 3718"/>
                  <a:gd name="T93" fmla="*/ 1187 h 1928"/>
                  <a:gd name="T94" fmla="*/ 184 w 3718"/>
                  <a:gd name="T95" fmla="*/ 1387 h 1928"/>
                  <a:gd name="T96" fmla="*/ 1394 w 3718"/>
                  <a:gd name="T97" fmla="*/ 1537 h 1928"/>
                  <a:gd name="T98" fmla="*/ 1727 w 3718"/>
                  <a:gd name="T99" fmla="*/ 1604 h 1928"/>
                  <a:gd name="T100" fmla="*/ 1868 w 3718"/>
                  <a:gd name="T101" fmla="*/ 1783 h 1928"/>
                  <a:gd name="T102" fmla="*/ 1928 w 3718"/>
                  <a:gd name="T103" fmla="*/ 1826 h 1928"/>
                  <a:gd name="T104" fmla="*/ 2453 w 3718"/>
                  <a:gd name="T105" fmla="*/ 1735 h 1928"/>
                  <a:gd name="T106" fmla="*/ 2655 w 3718"/>
                  <a:gd name="T107" fmla="*/ 1772 h 1928"/>
                  <a:gd name="T108" fmla="*/ 2574 w 3718"/>
                  <a:gd name="T109" fmla="*/ 1597 h 1928"/>
                  <a:gd name="T110" fmla="*/ 2967 w 3718"/>
                  <a:gd name="T111" fmla="*/ 1436 h 1928"/>
                  <a:gd name="T112" fmla="*/ 1119 w 3718"/>
                  <a:gd name="T113" fmla="*/ 664 h 1928"/>
                  <a:gd name="T114" fmla="*/ 990 w 3718"/>
                  <a:gd name="T115" fmla="*/ 760 h 1928"/>
                  <a:gd name="T116" fmla="*/ 985 w 3718"/>
                  <a:gd name="T117" fmla="*/ 939 h 1928"/>
                  <a:gd name="T118" fmla="*/ 1403 w 3718"/>
                  <a:gd name="T119" fmla="*/ 1433 h 1928"/>
                  <a:gd name="T120" fmla="*/ 2456 w 3718"/>
                  <a:gd name="T121" fmla="*/ 825 h 1928"/>
                  <a:gd name="T122" fmla="*/ 2386 w 3718"/>
                  <a:gd name="T123" fmla="*/ 823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18" h="1928">
                    <a:moveTo>
                      <a:pt x="2074" y="170"/>
                    </a:moveTo>
                    <a:cubicBezTo>
                      <a:pt x="2084" y="169"/>
                      <a:pt x="2113" y="177"/>
                      <a:pt x="2115" y="169"/>
                    </a:cubicBezTo>
                    <a:cubicBezTo>
                      <a:pt x="2117" y="160"/>
                      <a:pt x="2107" y="154"/>
                      <a:pt x="2091" y="154"/>
                    </a:cubicBezTo>
                    <a:cubicBezTo>
                      <a:pt x="2074" y="154"/>
                      <a:pt x="2009" y="165"/>
                      <a:pt x="2009" y="165"/>
                    </a:cubicBezTo>
                    <a:cubicBezTo>
                      <a:pt x="2009" y="165"/>
                      <a:pt x="2065" y="171"/>
                      <a:pt x="2074" y="170"/>
                    </a:cubicBezTo>
                    <a:close/>
                    <a:moveTo>
                      <a:pt x="1990" y="214"/>
                    </a:moveTo>
                    <a:cubicBezTo>
                      <a:pt x="2052" y="218"/>
                      <a:pt x="2047" y="199"/>
                      <a:pt x="2047" y="199"/>
                    </a:cubicBezTo>
                    <a:cubicBezTo>
                      <a:pt x="2043" y="189"/>
                      <a:pt x="2043" y="189"/>
                      <a:pt x="2043" y="189"/>
                    </a:cubicBezTo>
                    <a:cubicBezTo>
                      <a:pt x="2089" y="184"/>
                      <a:pt x="2089" y="184"/>
                      <a:pt x="2089" y="184"/>
                    </a:cubicBezTo>
                    <a:cubicBezTo>
                      <a:pt x="2078" y="176"/>
                      <a:pt x="2078" y="176"/>
                      <a:pt x="2078" y="176"/>
                    </a:cubicBezTo>
                    <a:cubicBezTo>
                      <a:pt x="2033" y="178"/>
                      <a:pt x="2033" y="178"/>
                      <a:pt x="2033" y="178"/>
                    </a:cubicBezTo>
                    <a:cubicBezTo>
                      <a:pt x="2025" y="186"/>
                      <a:pt x="2025" y="186"/>
                      <a:pt x="2025" y="186"/>
                    </a:cubicBezTo>
                    <a:cubicBezTo>
                      <a:pt x="2025" y="186"/>
                      <a:pt x="1966" y="173"/>
                      <a:pt x="1959" y="189"/>
                    </a:cubicBezTo>
                    <a:cubicBezTo>
                      <a:pt x="1953" y="205"/>
                      <a:pt x="1990" y="214"/>
                      <a:pt x="1990" y="214"/>
                    </a:cubicBezTo>
                    <a:close/>
                    <a:moveTo>
                      <a:pt x="1785" y="257"/>
                    </a:moveTo>
                    <a:cubicBezTo>
                      <a:pt x="1749" y="275"/>
                      <a:pt x="1749" y="275"/>
                      <a:pt x="1749" y="275"/>
                    </a:cubicBezTo>
                    <a:cubicBezTo>
                      <a:pt x="1749" y="275"/>
                      <a:pt x="1784" y="281"/>
                      <a:pt x="1768" y="284"/>
                    </a:cubicBezTo>
                    <a:cubicBezTo>
                      <a:pt x="1752" y="288"/>
                      <a:pt x="1694" y="292"/>
                      <a:pt x="1694" y="292"/>
                    </a:cubicBezTo>
                    <a:cubicBezTo>
                      <a:pt x="1680" y="308"/>
                      <a:pt x="1680" y="308"/>
                      <a:pt x="1680" y="308"/>
                    </a:cubicBezTo>
                    <a:cubicBezTo>
                      <a:pt x="1717" y="303"/>
                      <a:pt x="1717" y="303"/>
                      <a:pt x="1717" y="303"/>
                    </a:cubicBezTo>
                    <a:cubicBezTo>
                      <a:pt x="1717" y="303"/>
                      <a:pt x="1732" y="308"/>
                      <a:pt x="1751" y="311"/>
                    </a:cubicBezTo>
                    <a:cubicBezTo>
                      <a:pt x="1770" y="314"/>
                      <a:pt x="1826" y="295"/>
                      <a:pt x="1826" y="295"/>
                    </a:cubicBezTo>
                    <a:cubicBezTo>
                      <a:pt x="1824" y="304"/>
                      <a:pt x="1824" y="304"/>
                      <a:pt x="1824" y="304"/>
                    </a:cubicBezTo>
                    <a:cubicBezTo>
                      <a:pt x="1824" y="304"/>
                      <a:pt x="1862" y="299"/>
                      <a:pt x="1892" y="297"/>
                    </a:cubicBezTo>
                    <a:cubicBezTo>
                      <a:pt x="1920" y="295"/>
                      <a:pt x="1895" y="302"/>
                      <a:pt x="1885" y="304"/>
                    </a:cubicBezTo>
                    <a:cubicBezTo>
                      <a:pt x="1875" y="305"/>
                      <a:pt x="1841" y="309"/>
                      <a:pt x="1816" y="312"/>
                    </a:cubicBezTo>
                    <a:cubicBezTo>
                      <a:pt x="1791" y="315"/>
                      <a:pt x="1760" y="326"/>
                      <a:pt x="1760" y="326"/>
                    </a:cubicBezTo>
                    <a:cubicBezTo>
                      <a:pt x="1760" y="326"/>
                      <a:pt x="1788" y="331"/>
                      <a:pt x="1838" y="333"/>
                    </a:cubicBezTo>
                    <a:cubicBezTo>
                      <a:pt x="1886" y="334"/>
                      <a:pt x="1920" y="313"/>
                      <a:pt x="1920" y="313"/>
                    </a:cubicBezTo>
                    <a:cubicBezTo>
                      <a:pt x="1970" y="300"/>
                      <a:pt x="1970" y="300"/>
                      <a:pt x="1970" y="300"/>
                    </a:cubicBezTo>
                    <a:cubicBezTo>
                      <a:pt x="1970" y="300"/>
                      <a:pt x="1987" y="306"/>
                      <a:pt x="2035" y="300"/>
                    </a:cubicBezTo>
                    <a:cubicBezTo>
                      <a:pt x="2081" y="294"/>
                      <a:pt x="2084" y="284"/>
                      <a:pt x="2103" y="279"/>
                    </a:cubicBezTo>
                    <a:cubicBezTo>
                      <a:pt x="2121" y="274"/>
                      <a:pt x="2106" y="254"/>
                      <a:pt x="2086" y="254"/>
                    </a:cubicBezTo>
                    <a:cubicBezTo>
                      <a:pt x="2066" y="255"/>
                      <a:pt x="2072" y="268"/>
                      <a:pt x="2072" y="268"/>
                    </a:cubicBezTo>
                    <a:cubicBezTo>
                      <a:pt x="2045" y="267"/>
                      <a:pt x="2045" y="267"/>
                      <a:pt x="2045" y="267"/>
                    </a:cubicBezTo>
                    <a:cubicBezTo>
                      <a:pt x="2045" y="267"/>
                      <a:pt x="2050" y="260"/>
                      <a:pt x="2055" y="252"/>
                    </a:cubicBezTo>
                    <a:cubicBezTo>
                      <a:pt x="2060" y="244"/>
                      <a:pt x="2073" y="229"/>
                      <a:pt x="2061" y="229"/>
                    </a:cubicBezTo>
                    <a:cubicBezTo>
                      <a:pt x="2049" y="228"/>
                      <a:pt x="2024" y="239"/>
                      <a:pt x="1991" y="249"/>
                    </a:cubicBezTo>
                    <a:cubicBezTo>
                      <a:pt x="1957" y="259"/>
                      <a:pt x="2012" y="256"/>
                      <a:pt x="2012" y="256"/>
                    </a:cubicBezTo>
                    <a:cubicBezTo>
                      <a:pt x="2009" y="272"/>
                      <a:pt x="2009" y="272"/>
                      <a:pt x="2009" y="272"/>
                    </a:cubicBezTo>
                    <a:cubicBezTo>
                      <a:pt x="1929" y="282"/>
                      <a:pt x="1929" y="282"/>
                      <a:pt x="1929" y="282"/>
                    </a:cubicBezTo>
                    <a:cubicBezTo>
                      <a:pt x="1929" y="282"/>
                      <a:pt x="1923" y="262"/>
                      <a:pt x="1928" y="253"/>
                    </a:cubicBezTo>
                    <a:cubicBezTo>
                      <a:pt x="1932" y="244"/>
                      <a:pt x="1875" y="240"/>
                      <a:pt x="1875" y="240"/>
                    </a:cubicBezTo>
                    <a:lnTo>
                      <a:pt x="1785" y="257"/>
                    </a:lnTo>
                    <a:close/>
                    <a:moveTo>
                      <a:pt x="1887" y="230"/>
                    </a:moveTo>
                    <a:cubicBezTo>
                      <a:pt x="1905" y="215"/>
                      <a:pt x="1886" y="206"/>
                      <a:pt x="1868" y="216"/>
                    </a:cubicBezTo>
                    <a:cubicBezTo>
                      <a:pt x="1849" y="226"/>
                      <a:pt x="1887" y="230"/>
                      <a:pt x="1887" y="230"/>
                    </a:cubicBezTo>
                    <a:close/>
                    <a:moveTo>
                      <a:pt x="2008" y="377"/>
                    </a:moveTo>
                    <a:cubicBezTo>
                      <a:pt x="1988" y="361"/>
                      <a:pt x="1988" y="361"/>
                      <a:pt x="1988" y="361"/>
                    </a:cubicBezTo>
                    <a:cubicBezTo>
                      <a:pt x="1969" y="363"/>
                      <a:pt x="1969" y="363"/>
                      <a:pt x="1969" y="363"/>
                    </a:cubicBezTo>
                    <a:cubicBezTo>
                      <a:pt x="1969" y="363"/>
                      <a:pt x="1957" y="348"/>
                      <a:pt x="1932" y="357"/>
                    </a:cubicBezTo>
                    <a:cubicBezTo>
                      <a:pt x="1906" y="365"/>
                      <a:pt x="1964" y="389"/>
                      <a:pt x="1964" y="389"/>
                    </a:cubicBezTo>
                    <a:lnTo>
                      <a:pt x="2008" y="377"/>
                    </a:lnTo>
                    <a:close/>
                    <a:moveTo>
                      <a:pt x="1638" y="280"/>
                    </a:moveTo>
                    <a:cubicBezTo>
                      <a:pt x="1598" y="290"/>
                      <a:pt x="1626" y="295"/>
                      <a:pt x="1626" y="295"/>
                    </a:cubicBezTo>
                    <a:cubicBezTo>
                      <a:pt x="1683" y="281"/>
                      <a:pt x="1679" y="269"/>
                      <a:pt x="1638" y="280"/>
                    </a:cubicBezTo>
                    <a:close/>
                    <a:moveTo>
                      <a:pt x="1978" y="572"/>
                    </a:moveTo>
                    <a:cubicBezTo>
                      <a:pt x="1997" y="574"/>
                      <a:pt x="2006" y="580"/>
                      <a:pt x="2022" y="588"/>
                    </a:cubicBezTo>
                    <a:cubicBezTo>
                      <a:pt x="2038" y="596"/>
                      <a:pt x="2092" y="587"/>
                      <a:pt x="2092" y="587"/>
                    </a:cubicBezTo>
                    <a:cubicBezTo>
                      <a:pt x="2078" y="542"/>
                      <a:pt x="2078" y="542"/>
                      <a:pt x="2078" y="542"/>
                    </a:cubicBezTo>
                    <a:cubicBezTo>
                      <a:pt x="2012" y="528"/>
                      <a:pt x="2012" y="528"/>
                      <a:pt x="2012" y="528"/>
                    </a:cubicBezTo>
                    <a:cubicBezTo>
                      <a:pt x="1990" y="553"/>
                      <a:pt x="1990" y="553"/>
                      <a:pt x="1990" y="553"/>
                    </a:cubicBezTo>
                    <a:cubicBezTo>
                      <a:pt x="1968" y="555"/>
                      <a:pt x="1968" y="555"/>
                      <a:pt x="1968" y="555"/>
                    </a:cubicBezTo>
                    <a:cubicBezTo>
                      <a:pt x="1968" y="555"/>
                      <a:pt x="1959" y="571"/>
                      <a:pt x="1978" y="572"/>
                    </a:cubicBezTo>
                    <a:close/>
                    <a:moveTo>
                      <a:pt x="109" y="1360"/>
                    </a:moveTo>
                    <a:cubicBezTo>
                      <a:pt x="109" y="1369"/>
                      <a:pt x="126" y="1366"/>
                      <a:pt x="126" y="1366"/>
                    </a:cubicBezTo>
                    <a:cubicBezTo>
                      <a:pt x="124" y="1383"/>
                      <a:pt x="124" y="1383"/>
                      <a:pt x="124" y="1383"/>
                    </a:cubicBezTo>
                    <a:cubicBezTo>
                      <a:pt x="143" y="1371"/>
                      <a:pt x="143" y="1371"/>
                      <a:pt x="143" y="1371"/>
                    </a:cubicBezTo>
                    <a:cubicBezTo>
                      <a:pt x="141" y="1354"/>
                      <a:pt x="141" y="1354"/>
                      <a:pt x="141" y="1354"/>
                    </a:cubicBezTo>
                    <a:cubicBezTo>
                      <a:pt x="141" y="1354"/>
                      <a:pt x="109" y="1351"/>
                      <a:pt x="109" y="1360"/>
                    </a:cubicBezTo>
                    <a:close/>
                    <a:moveTo>
                      <a:pt x="166" y="1535"/>
                    </a:moveTo>
                    <a:cubicBezTo>
                      <a:pt x="166" y="1535"/>
                      <a:pt x="163" y="1521"/>
                      <a:pt x="164" y="1514"/>
                    </a:cubicBezTo>
                    <a:cubicBezTo>
                      <a:pt x="165" y="1507"/>
                      <a:pt x="170" y="1495"/>
                      <a:pt x="162" y="1485"/>
                    </a:cubicBezTo>
                    <a:cubicBezTo>
                      <a:pt x="162" y="1485"/>
                      <a:pt x="136" y="1481"/>
                      <a:pt x="127" y="1479"/>
                    </a:cubicBezTo>
                    <a:cubicBezTo>
                      <a:pt x="118" y="1477"/>
                      <a:pt x="103" y="1453"/>
                      <a:pt x="91" y="1452"/>
                    </a:cubicBezTo>
                    <a:cubicBezTo>
                      <a:pt x="79" y="1451"/>
                      <a:pt x="59" y="1463"/>
                      <a:pt x="64" y="1471"/>
                    </a:cubicBezTo>
                    <a:cubicBezTo>
                      <a:pt x="69" y="1479"/>
                      <a:pt x="78" y="1477"/>
                      <a:pt x="78" y="1477"/>
                    </a:cubicBezTo>
                    <a:cubicBezTo>
                      <a:pt x="87" y="1471"/>
                      <a:pt x="87" y="1471"/>
                      <a:pt x="87" y="1471"/>
                    </a:cubicBezTo>
                    <a:cubicBezTo>
                      <a:pt x="94" y="1476"/>
                      <a:pt x="94" y="1476"/>
                      <a:pt x="94" y="1476"/>
                    </a:cubicBezTo>
                    <a:cubicBezTo>
                      <a:pt x="88" y="1483"/>
                      <a:pt x="88" y="1483"/>
                      <a:pt x="88" y="1483"/>
                    </a:cubicBezTo>
                    <a:cubicBezTo>
                      <a:pt x="88" y="1483"/>
                      <a:pt x="59" y="1488"/>
                      <a:pt x="67" y="1497"/>
                    </a:cubicBezTo>
                    <a:cubicBezTo>
                      <a:pt x="75" y="1506"/>
                      <a:pt x="90" y="1497"/>
                      <a:pt x="90" y="1497"/>
                    </a:cubicBezTo>
                    <a:cubicBezTo>
                      <a:pt x="85" y="1512"/>
                      <a:pt x="85" y="1512"/>
                      <a:pt x="85" y="1512"/>
                    </a:cubicBezTo>
                    <a:cubicBezTo>
                      <a:pt x="100" y="1511"/>
                      <a:pt x="100" y="1511"/>
                      <a:pt x="100" y="1511"/>
                    </a:cubicBezTo>
                    <a:cubicBezTo>
                      <a:pt x="86" y="1522"/>
                      <a:pt x="86" y="1522"/>
                      <a:pt x="86" y="1522"/>
                    </a:cubicBezTo>
                    <a:cubicBezTo>
                      <a:pt x="112" y="1520"/>
                      <a:pt x="112" y="1520"/>
                      <a:pt x="112" y="1520"/>
                    </a:cubicBezTo>
                    <a:cubicBezTo>
                      <a:pt x="112" y="1520"/>
                      <a:pt x="85" y="1531"/>
                      <a:pt x="91" y="1536"/>
                    </a:cubicBezTo>
                    <a:cubicBezTo>
                      <a:pt x="97" y="1541"/>
                      <a:pt x="109" y="1520"/>
                      <a:pt x="115" y="1531"/>
                    </a:cubicBezTo>
                    <a:cubicBezTo>
                      <a:pt x="121" y="1542"/>
                      <a:pt x="99" y="1546"/>
                      <a:pt x="105" y="1553"/>
                    </a:cubicBezTo>
                    <a:cubicBezTo>
                      <a:pt x="111" y="1560"/>
                      <a:pt x="137" y="1555"/>
                      <a:pt x="137" y="1555"/>
                    </a:cubicBezTo>
                    <a:cubicBezTo>
                      <a:pt x="150" y="1547"/>
                      <a:pt x="150" y="1547"/>
                      <a:pt x="150" y="1547"/>
                    </a:cubicBezTo>
                    <a:cubicBezTo>
                      <a:pt x="138" y="1561"/>
                      <a:pt x="138" y="1561"/>
                      <a:pt x="138" y="1561"/>
                    </a:cubicBezTo>
                    <a:cubicBezTo>
                      <a:pt x="138" y="1561"/>
                      <a:pt x="113" y="1561"/>
                      <a:pt x="124" y="1570"/>
                    </a:cubicBezTo>
                    <a:cubicBezTo>
                      <a:pt x="135" y="1579"/>
                      <a:pt x="144" y="1579"/>
                      <a:pt x="144" y="1579"/>
                    </a:cubicBezTo>
                    <a:cubicBezTo>
                      <a:pt x="144" y="1579"/>
                      <a:pt x="168" y="1596"/>
                      <a:pt x="180" y="1586"/>
                    </a:cubicBezTo>
                    <a:cubicBezTo>
                      <a:pt x="192" y="1576"/>
                      <a:pt x="201" y="1568"/>
                      <a:pt x="192" y="1557"/>
                    </a:cubicBezTo>
                    <a:cubicBezTo>
                      <a:pt x="183" y="1546"/>
                      <a:pt x="166" y="1535"/>
                      <a:pt x="166" y="1535"/>
                    </a:cubicBezTo>
                    <a:close/>
                    <a:moveTo>
                      <a:pt x="1536" y="249"/>
                    </a:moveTo>
                    <a:cubicBezTo>
                      <a:pt x="1536" y="249"/>
                      <a:pt x="1574" y="242"/>
                      <a:pt x="1583" y="248"/>
                    </a:cubicBezTo>
                    <a:cubicBezTo>
                      <a:pt x="1593" y="254"/>
                      <a:pt x="1587" y="264"/>
                      <a:pt x="1599" y="264"/>
                    </a:cubicBezTo>
                    <a:cubicBezTo>
                      <a:pt x="1612" y="264"/>
                      <a:pt x="1634" y="259"/>
                      <a:pt x="1634" y="259"/>
                    </a:cubicBezTo>
                    <a:cubicBezTo>
                      <a:pt x="1634" y="259"/>
                      <a:pt x="1650" y="268"/>
                      <a:pt x="1665" y="261"/>
                    </a:cubicBezTo>
                    <a:cubicBezTo>
                      <a:pt x="1681" y="255"/>
                      <a:pt x="1678" y="238"/>
                      <a:pt x="1678" y="238"/>
                    </a:cubicBezTo>
                    <a:cubicBezTo>
                      <a:pt x="1700" y="238"/>
                      <a:pt x="1700" y="238"/>
                      <a:pt x="1700" y="238"/>
                    </a:cubicBezTo>
                    <a:cubicBezTo>
                      <a:pt x="1744" y="224"/>
                      <a:pt x="1744" y="224"/>
                      <a:pt x="1744" y="224"/>
                    </a:cubicBezTo>
                    <a:cubicBezTo>
                      <a:pt x="1719" y="247"/>
                      <a:pt x="1719" y="247"/>
                      <a:pt x="1719" y="247"/>
                    </a:cubicBezTo>
                    <a:cubicBezTo>
                      <a:pt x="1754" y="253"/>
                      <a:pt x="1754" y="253"/>
                      <a:pt x="1754" y="253"/>
                    </a:cubicBezTo>
                    <a:cubicBezTo>
                      <a:pt x="1791" y="238"/>
                      <a:pt x="1791" y="238"/>
                      <a:pt x="1791" y="238"/>
                    </a:cubicBezTo>
                    <a:cubicBezTo>
                      <a:pt x="1854" y="209"/>
                      <a:pt x="1854" y="209"/>
                      <a:pt x="1854" y="209"/>
                    </a:cubicBezTo>
                    <a:cubicBezTo>
                      <a:pt x="1854" y="209"/>
                      <a:pt x="1806" y="194"/>
                      <a:pt x="1797" y="194"/>
                    </a:cubicBezTo>
                    <a:cubicBezTo>
                      <a:pt x="1787" y="194"/>
                      <a:pt x="1734" y="190"/>
                      <a:pt x="1734" y="190"/>
                    </a:cubicBezTo>
                    <a:cubicBezTo>
                      <a:pt x="1683" y="198"/>
                      <a:pt x="1683" y="198"/>
                      <a:pt x="1683" y="198"/>
                    </a:cubicBezTo>
                    <a:cubicBezTo>
                      <a:pt x="1680" y="212"/>
                      <a:pt x="1680" y="212"/>
                      <a:pt x="1680" y="212"/>
                    </a:cubicBezTo>
                    <a:cubicBezTo>
                      <a:pt x="1602" y="218"/>
                      <a:pt x="1602" y="218"/>
                      <a:pt x="1602" y="218"/>
                    </a:cubicBezTo>
                    <a:cubicBezTo>
                      <a:pt x="1602" y="218"/>
                      <a:pt x="1576" y="209"/>
                      <a:pt x="1554" y="213"/>
                    </a:cubicBezTo>
                    <a:cubicBezTo>
                      <a:pt x="1532" y="216"/>
                      <a:pt x="1535" y="224"/>
                      <a:pt x="1535" y="224"/>
                    </a:cubicBezTo>
                    <a:cubicBezTo>
                      <a:pt x="1535" y="229"/>
                      <a:pt x="1536" y="249"/>
                      <a:pt x="1536" y="249"/>
                    </a:cubicBezTo>
                    <a:close/>
                    <a:moveTo>
                      <a:pt x="100" y="1323"/>
                    </a:moveTo>
                    <a:cubicBezTo>
                      <a:pt x="102" y="1338"/>
                      <a:pt x="113" y="1344"/>
                      <a:pt x="113" y="1344"/>
                    </a:cubicBezTo>
                    <a:cubicBezTo>
                      <a:pt x="121" y="1323"/>
                      <a:pt x="121" y="1323"/>
                      <a:pt x="121" y="1323"/>
                    </a:cubicBezTo>
                    <a:cubicBezTo>
                      <a:pt x="121" y="1323"/>
                      <a:pt x="98" y="1308"/>
                      <a:pt x="100" y="1323"/>
                    </a:cubicBezTo>
                    <a:close/>
                    <a:moveTo>
                      <a:pt x="82" y="1291"/>
                    </a:moveTo>
                    <a:cubicBezTo>
                      <a:pt x="78" y="1290"/>
                      <a:pt x="62" y="1294"/>
                      <a:pt x="56" y="1297"/>
                    </a:cubicBezTo>
                    <a:cubicBezTo>
                      <a:pt x="50" y="1300"/>
                      <a:pt x="45" y="1315"/>
                      <a:pt x="35" y="1315"/>
                    </a:cubicBezTo>
                    <a:cubicBezTo>
                      <a:pt x="25" y="1315"/>
                      <a:pt x="24" y="1307"/>
                      <a:pt x="34" y="1307"/>
                    </a:cubicBezTo>
                    <a:cubicBezTo>
                      <a:pt x="44" y="1307"/>
                      <a:pt x="62" y="1294"/>
                      <a:pt x="48" y="1295"/>
                    </a:cubicBezTo>
                    <a:cubicBezTo>
                      <a:pt x="34" y="1296"/>
                      <a:pt x="32" y="1299"/>
                      <a:pt x="32" y="1299"/>
                    </a:cubicBezTo>
                    <a:cubicBezTo>
                      <a:pt x="32" y="1299"/>
                      <a:pt x="35" y="1285"/>
                      <a:pt x="24" y="1289"/>
                    </a:cubicBezTo>
                    <a:cubicBezTo>
                      <a:pt x="13" y="1293"/>
                      <a:pt x="11" y="1306"/>
                      <a:pt x="11" y="1306"/>
                    </a:cubicBezTo>
                    <a:cubicBezTo>
                      <a:pt x="3" y="1324"/>
                      <a:pt x="3" y="1324"/>
                      <a:pt x="3" y="1324"/>
                    </a:cubicBezTo>
                    <a:cubicBezTo>
                      <a:pt x="3" y="1324"/>
                      <a:pt x="0" y="1336"/>
                      <a:pt x="3" y="1337"/>
                    </a:cubicBezTo>
                    <a:cubicBezTo>
                      <a:pt x="6" y="1338"/>
                      <a:pt x="9" y="1347"/>
                      <a:pt x="9" y="1347"/>
                    </a:cubicBezTo>
                    <a:cubicBezTo>
                      <a:pt x="0" y="1351"/>
                      <a:pt x="0" y="1351"/>
                      <a:pt x="0" y="1351"/>
                    </a:cubicBezTo>
                    <a:cubicBezTo>
                      <a:pt x="5" y="1386"/>
                      <a:pt x="5" y="1386"/>
                      <a:pt x="5" y="1386"/>
                    </a:cubicBezTo>
                    <a:cubicBezTo>
                      <a:pt x="5" y="1386"/>
                      <a:pt x="0" y="1398"/>
                      <a:pt x="16" y="1397"/>
                    </a:cubicBezTo>
                    <a:cubicBezTo>
                      <a:pt x="27" y="1396"/>
                      <a:pt x="16" y="1379"/>
                      <a:pt x="13" y="1372"/>
                    </a:cubicBezTo>
                    <a:cubicBezTo>
                      <a:pt x="10" y="1365"/>
                      <a:pt x="18" y="1359"/>
                      <a:pt x="23" y="1356"/>
                    </a:cubicBezTo>
                    <a:cubicBezTo>
                      <a:pt x="28" y="1353"/>
                      <a:pt x="36" y="1344"/>
                      <a:pt x="34" y="1340"/>
                    </a:cubicBezTo>
                    <a:cubicBezTo>
                      <a:pt x="34" y="1340"/>
                      <a:pt x="32" y="1329"/>
                      <a:pt x="38" y="1324"/>
                    </a:cubicBezTo>
                    <a:cubicBezTo>
                      <a:pt x="44" y="1319"/>
                      <a:pt x="55" y="1308"/>
                      <a:pt x="64" y="1303"/>
                    </a:cubicBezTo>
                    <a:cubicBezTo>
                      <a:pt x="73" y="1298"/>
                      <a:pt x="86" y="1292"/>
                      <a:pt x="82" y="1291"/>
                    </a:cubicBezTo>
                    <a:close/>
                    <a:moveTo>
                      <a:pt x="1263" y="454"/>
                    </a:moveTo>
                    <a:cubicBezTo>
                      <a:pt x="1268" y="466"/>
                      <a:pt x="1238" y="482"/>
                      <a:pt x="1266" y="478"/>
                    </a:cubicBezTo>
                    <a:cubicBezTo>
                      <a:pt x="1294" y="474"/>
                      <a:pt x="1328" y="462"/>
                      <a:pt x="1328" y="462"/>
                    </a:cubicBezTo>
                    <a:cubicBezTo>
                      <a:pt x="1354" y="468"/>
                      <a:pt x="1354" y="468"/>
                      <a:pt x="1354" y="468"/>
                    </a:cubicBezTo>
                    <a:cubicBezTo>
                      <a:pt x="1405" y="430"/>
                      <a:pt x="1405" y="430"/>
                      <a:pt x="1405" y="430"/>
                    </a:cubicBezTo>
                    <a:cubicBezTo>
                      <a:pt x="1493" y="402"/>
                      <a:pt x="1493" y="402"/>
                      <a:pt x="1493" y="402"/>
                    </a:cubicBezTo>
                    <a:cubicBezTo>
                      <a:pt x="1576" y="379"/>
                      <a:pt x="1576" y="379"/>
                      <a:pt x="1576" y="379"/>
                    </a:cubicBezTo>
                    <a:cubicBezTo>
                      <a:pt x="1642" y="366"/>
                      <a:pt x="1642" y="366"/>
                      <a:pt x="1642" y="366"/>
                    </a:cubicBezTo>
                    <a:cubicBezTo>
                      <a:pt x="1642" y="366"/>
                      <a:pt x="1603" y="334"/>
                      <a:pt x="1600" y="330"/>
                    </a:cubicBezTo>
                    <a:cubicBezTo>
                      <a:pt x="1596" y="327"/>
                      <a:pt x="1549" y="333"/>
                      <a:pt x="1549" y="333"/>
                    </a:cubicBezTo>
                    <a:cubicBezTo>
                      <a:pt x="1505" y="339"/>
                      <a:pt x="1505" y="339"/>
                      <a:pt x="1505" y="339"/>
                    </a:cubicBezTo>
                    <a:cubicBezTo>
                      <a:pt x="1481" y="321"/>
                      <a:pt x="1481" y="321"/>
                      <a:pt x="1481" y="321"/>
                    </a:cubicBezTo>
                    <a:cubicBezTo>
                      <a:pt x="1427" y="328"/>
                      <a:pt x="1427" y="328"/>
                      <a:pt x="1427" y="328"/>
                    </a:cubicBezTo>
                    <a:cubicBezTo>
                      <a:pt x="1393" y="338"/>
                      <a:pt x="1393" y="338"/>
                      <a:pt x="1393" y="338"/>
                    </a:cubicBezTo>
                    <a:cubicBezTo>
                      <a:pt x="1383" y="351"/>
                      <a:pt x="1383" y="351"/>
                      <a:pt x="1383" y="351"/>
                    </a:cubicBezTo>
                    <a:cubicBezTo>
                      <a:pt x="1372" y="371"/>
                      <a:pt x="1372" y="371"/>
                      <a:pt x="1372" y="371"/>
                    </a:cubicBezTo>
                    <a:cubicBezTo>
                      <a:pt x="1340" y="380"/>
                      <a:pt x="1340" y="380"/>
                      <a:pt x="1340" y="380"/>
                    </a:cubicBezTo>
                    <a:cubicBezTo>
                      <a:pt x="1294" y="393"/>
                      <a:pt x="1294" y="393"/>
                      <a:pt x="1294" y="393"/>
                    </a:cubicBezTo>
                    <a:cubicBezTo>
                      <a:pt x="1307" y="401"/>
                      <a:pt x="1307" y="401"/>
                      <a:pt x="1307" y="401"/>
                    </a:cubicBezTo>
                    <a:cubicBezTo>
                      <a:pt x="1227" y="437"/>
                      <a:pt x="1227" y="437"/>
                      <a:pt x="1227" y="437"/>
                    </a:cubicBezTo>
                    <a:cubicBezTo>
                      <a:pt x="1227" y="437"/>
                      <a:pt x="1259" y="442"/>
                      <a:pt x="1263" y="454"/>
                    </a:cubicBezTo>
                    <a:close/>
                    <a:moveTo>
                      <a:pt x="132" y="1313"/>
                    </a:moveTo>
                    <a:cubicBezTo>
                      <a:pt x="125" y="1331"/>
                      <a:pt x="125" y="1331"/>
                      <a:pt x="125" y="1331"/>
                    </a:cubicBezTo>
                    <a:cubicBezTo>
                      <a:pt x="127" y="1343"/>
                      <a:pt x="127" y="1343"/>
                      <a:pt x="127" y="1343"/>
                    </a:cubicBezTo>
                    <a:cubicBezTo>
                      <a:pt x="143" y="1333"/>
                      <a:pt x="143" y="1333"/>
                      <a:pt x="143" y="1333"/>
                    </a:cubicBezTo>
                    <a:lnTo>
                      <a:pt x="132" y="1313"/>
                    </a:lnTo>
                    <a:close/>
                    <a:moveTo>
                      <a:pt x="2786" y="403"/>
                    </a:moveTo>
                    <a:cubicBezTo>
                      <a:pt x="2802" y="409"/>
                      <a:pt x="2824" y="395"/>
                      <a:pt x="2824" y="395"/>
                    </a:cubicBezTo>
                    <a:cubicBezTo>
                      <a:pt x="2865" y="394"/>
                      <a:pt x="2865" y="394"/>
                      <a:pt x="2865" y="394"/>
                    </a:cubicBezTo>
                    <a:cubicBezTo>
                      <a:pt x="2865" y="394"/>
                      <a:pt x="2891" y="404"/>
                      <a:pt x="2899" y="398"/>
                    </a:cubicBezTo>
                    <a:cubicBezTo>
                      <a:pt x="2906" y="393"/>
                      <a:pt x="2900" y="370"/>
                      <a:pt x="2883" y="366"/>
                    </a:cubicBezTo>
                    <a:cubicBezTo>
                      <a:pt x="2865" y="362"/>
                      <a:pt x="2849" y="367"/>
                      <a:pt x="2849" y="367"/>
                    </a:cubicBezTo>
                    <a:cubicBezTo>
                      <a:pt x="2823" y="367"/>
                      <a:pt x="2823" y="367"/>
                      <a:pt x="2823" y="367"/>
                    </a:cubicBezTo>
                    <a:cubicBezTo>
                      <a:pt x="2823" y="367"/>
                      <a:pt x="2793" y="355"/>
                      <a:pt x="2782" y="364"/>
                    </a:cubicBezTo>
                    <a:cubicBezTo>
                      <a:pt x="2772" y="372"/>
                      <a:pt x="2768" y="378"/>
                      <a:pt x="2768" y="378"/>
                    </a:cubicBezTo>
                    <a:cubicBezTo>
                      <a:pt x="2781" y="385"/>
                      <a:pt x="2781" y="385"/>
                      <a:pt x="2781" y="385"/>
                    </a:cubicBezTo>
                    <a:cubicBezTo>
                      <a:pt x="2781" y="385"/>
                      <a:pt x="2772" y="397"/>
                      <a:pt x="2786" y="403"/>
                    </a:cubicBezTo>
                    <a:close/>
                    <a:moveTo>
                      <a:pt x="2471" y="347"/>
                    </a:moveTo>
                    <a:cubicBezTo>
                      <a:pt x="2457" y="346"/>
                      <a:pt x="2380" y="337"/>
                      <a:pt x="2339" y="339"/>
                    </a:cubicBezTo>
                    <a:cubicBezTo>
                      <a:pt x="2300" y="340"/>
                      <a:pt x="2311" y="339"/>
                      <a:pt x="2310" y="347"/>
                    </a:cubicBezTo>
                    <a:cubicBezTo>
                      <a:pt x="2308" y="356"/>
                      <a:pt x="2294" y="359"/>
                      <a:pt x="2260" y="367"/>
                    </a:cubicBezTo>
                    <a:cubicBezTo>
                      <a:pt x="2227" y="374"/>
                      <a:pt x="2259" y="375"/>
                      <a:pt x="2257" y="397"/>
                    </a:cubicBezTo>
                    <a:cubicBezTo>
                      <a:pt x="2245" y="414"/>
                      <a:pt x="2245" y="414"/>
                      <a:pt x="2245" y="414"/>
                    </a:cubicBezTo>
                    <a:cubicBezTo>
                      <a:pt x="2265" y="426"/>
                      <a:pt x="2265" y="426"/>
                      <a:pt x="2265" y="426"/>
                    </a:cubicBezTo>
                    <a:cubicBezTo>
                      <a:pt x="2318" y="404"/>
                      <a:pt x="2318" y="404"/>
                      <a:pt x="2318" y="404"/>
                    </a:cubicBezTo>
                    <a:cubicBezTo>
                      <a:pt x="2318" y="404"/>
                      <a:pt x="2299" y="397"/>
                      <a:pt x="2323" y="390"/>
                    </a:cubicBezTo>
                    <a:cubicBezTo>
                      <a:pt x="2348" y="383"/>
                      <a:pt x="2365" y="403"/>
                      <a:pt x="2365" y="403"/>
                    </a:cubicBezTo>
                    <a:cubicBezTo>
                      <a:pt x="2403" y="398"/>
                      <a:pt x="2403" y="398"/>
                      <a:pt x="2403" y="398"/>
                    </a:cubicBezTo>
                    <a:cubicBezTo>
                      <a:pt x="2398" y="383"/>
                      <a:pt x="2398" y="383"/>
                      <a:pt x="2398" y="383"/>
                    </a:cubicBezTo>
                    <a:cubicBezTo>
                      <a:pt x="2398" y="383"/>
                      <a:pt x="2447" y="381"/>
                      <a:pt x="2457" y="369"/>
                    </a:cubicBezTo>
                    <a:cubicBezTo>
                      <a:pt x="2467" y="358"/>
                      <a:pt x="2484" y="347"/>
                      <a:pt x="2471" y="347"/>
                    </a:cubicBezTo>
                    <a:close/>
                    <a:moveTo>
                      <a:pt x="2526" y="101"/>
                    </a:moveTo>
                    <a:cubicBezTo>
                      <a:pt x="2489" y="105"/>
                      <a:pt x="2489" y="105"/>
                      <a:pt x="2489" y="105"/>
                    </a:cubicBezTo>
                    <a:cubicBezTo>
                      <a:pt x="2503" y="123"/>
                      <a:pt x="2503" y="123"/>
                      <a:pt x="2503" y="123"/>
                    </a:cubicBezTo>
                    <a:lnTo>
                      <a:pt x="2526" y="101"/>
                    </a:lnTo>
                    <a:close/>
                    <a:moveTo>
                      <a:pt x="2406" y="324"/>
                    </a:moveTo>
                    <a:cubicBezTo>
                      <a:pt x="2417" y="317"/>
                      <a:pt x="2442" y="298"/>
                      <a:pt x="2438" y="290"/>
                    </a:cubicBezTo>
                    <a:cubicBezTo>
                      <a:pt x="2434" y="281"/>
                      <a:pt x="2400" y="283"/>
                      <a:pt x="2389" y="284"/>
                    </a:cubicBezTo>
                    <a:cubicBezTo>
                      <a:pt x="2366" y="286"/>
                      <a:pt x="2322" y="301"/>
                      <a:pt x="2334" y="309"/>
                    </a:cubicBezTo>
                    <a:cubicBezTo>
                      <a:pt x="2346" y="316"/>
                      <a:pt x="2406" y="324"/>
                      <a:pt x="2406" y="324"/>
                    </a:cubicBezTo>
                    <a:close/>
                    <a:moveTo>
                      <a:pt x="2634" y="123"/>
                    </a:moveTo>
                    <a:cubicBezTo>
                      <a:pt x="2598" y="131"/>
                      <a:pt x="2598" y="131"/>
                      <a:pt x="2598" y="131"/>
                    </a:cubicBezTo>
                    <a:cubicBezTo>
                      <a:pt x="2623" y="142"/>
                      <a:pt x="2623" y="142"/>
                      <a:pt x="2623" y="142"/>
                    </a:cubicBezTo>
                    <a:cubicBezTo>
                      <a:pt x="2623" y="142"/>
                      <a:pt x="2609" y="146"/>
                      <a:pt x="2611" y="156"/>
                    </a:cubicBezTo>
                    <a:cubicBezTo>
                      <a:pt x="2613" y="165"/>
                      <a:pt x="2640" y="162"/>
                      <a:pt x="2640" y="162"/>
                    </a:cubicBezTo>
                    <a:cubicBezTo>
                      <a:pt x="2627" y="171"/>
                      <a:pt x="2627" y="171"/>
                      <a:pt x="2627" y="171"/>
                    </a:cubicBezTo>
                    <a:cubicBezTo>
                      <a:pt x="2627" y="171"/>
                      <a:pt x="2645" y="175"/>
                      <a:pt x="2659" y="184"/>
                    </a:cubicBezTo>
                    <a:cubicBezTo>
                      <a:pt x="2673" y="192"/>
                      <a:pt x="2698" y="172"/>
                      <a:pt x="2698" y="172"/>
                    </a:cubicBezTo>
                    <a:cubicBezTo>
                      <a:pt x="2714" y="164"/>
                      <a:pt x="2714" y="164"/>
                      <a:pt x="2714" y="164"/>
                    </a:cubicBezTo>
                    <a:cubicBezTo>
                      <a:pt x="2714" y="164"/>
                      <a:pt x="2719" y="170"/>
                      <a:pt x="2725" y="181"/>
                    </a:cubicBezTo>
                    <a:cubicBezTo>
                      <a:pt x="2732" y="191"/>
                      <a:pt x="2756" y="173"/>
                      <a:pt x="2765" y="171"/>
                    </a:cubicBezTo>
                    <a:cubicBezTo>
                      <a:pt x="2774" y="169"/>
                      <a:pt x="2787" y="155"/>
                      <a:pt x="2787" y="155"/>
                    </a:cubicBezTo>
                    <a:cubicBezTo>
                      <a:pt x="2795" y="164"/>
                      <a:pt x="2795" y="164"/>
                      <a:pt x="2795" y="164"/>
                    </a:cubicBezTo>
                    <a:cubicBezTo>
                      <a:pt x="2795" y="164"/>
                      <a:pt x="2808" y="151"/>
                      <a:pt x="2810" y="146"/>
                    </a:cubicBezTo>
                    <a:cubicBezTo>
                      <a:pt x="2812" y="141"/>
                      <a:pt x="2865" y="143"/>
                      <a:pt x="2877" y="143"/>
                    </a:cubicBezTo>
                    <a:cubicBezTo>
                      <a:pt x="2889" y="143"/>
                      <a:pt x="2886" y="129"/>
                      <a:pt x="2886" y="129"/>
                    </a:cubicBezTo>
                    <a:cubicBezTo>
                      <a:pt x="2844" y="128"/>
                      <a:pt x="2844" y="128"/>
                      <a:pt x="2844" y="128"/>
                    </a:cubicBezTo>
                    <a:cubicBezTo>
                      <a:pt x="2864" y="117"/>
                      <a:pt x="2864" y="117"/>
                      <a:pt x="2864" y="117"/>
                    </a:cubicBezTo>
                    <a:cubicBezTo>
                      <a:pt x="2864" y="117"/>
                      <a:pt x="2872" y="97"/>
                      <a:pt x="2867" y="90"/>
                    </a:cubicBezTo>
                    <a:cubicBezTo>
                      <a:pt x="2863" y="84"/>
                      <a:pt x="2829" y="102"/>
                      <a:pt x="2829" y="102"/>
                    </a:cubicBezTo>
                    <a:cubicBezTo>
                      <a:pt x="2826" y="85"/>
                      <a:pt x="2826" y="85"/>
                      <a:pt x="2826" y="85"/>
                    </a:cubicBezTo>
                    <a:cubicBezTo>
                      <a:pt x="2794" y="91"/>
                      <a:pt x="2794" y="91"/>
                      <a:pt x="2794" y="91"/>
                    </a:cubicBezTo>
                    <a:cubicBezTo>
                      <a:pt x="2794" y="91"/>
                      <a:pt x="2791" y="71"/>
                      <a:pt x="2781" y="60"/>
                    </a:cubicBezTo>
                    <a:cubicBezTo>
                      <a:pt x="2772" y="49"/>
                      <a:pt x="2730" y="72"/>
                      <a:pt x="2730" y="72"/>
                    </a:cubicBezTo>
                    <a:cubicBezTo>
                      <a:pt x="2678" y="75"/>
                      <a:pt x="2678" y="75"/>
                      <a:pt x="2678" y="75"/>
                    </a:cubicBezTo>
                    <a:cubicBezTo>
                      <a:pt x="2695" y="88"/>
                      <a:pt x="2695" y="88"/>
                      <a:pt x="2695" y="88"/>
                    </a:cubicBezTo>
                    <a:cubicBezTo>
                      <a:pt x="2695" y="88"/>
                      <a:pt x="2658" y="85"/>
                      <a:pt x="2645" y="89"/>
                    </a:cubicBezTo>
                    <a:cubicBezTo>
                      <a:pt x="2633" y="93"/>
                      <a:pt x="2653" y="106"/>
                      <a:pt x="2653" y="106"/>
                    </a:cubicBezTo>
                    <a:cubicBezTo>
                      <a:pt x="2653" y="106"/>
                      <a:pt x="2596" y="100"/>
                      <a:pt x="2592" y="114"/>
                    </a:cubicBezTo>
                    <a:cubicBezTo>
                      <a:pt x="2587" y="128"/>
                      <a:pt x="2634" y="123"/>
                      <a:pt x="2634" y="123"/>
                    </a:cubicBezTo>
                    <a:close/>
                    <a:moveTo>
                      <a:pt x="2644" y="199"/>
                    </a:moveTo>
                    <a:cubicBezTo>
                      <a:pt x="2622" y="203"/>
                      <a:pt x="2622" y="213"/>
                      <a:pt x="2622" y="213"/>
                    </a:cubicBezTo>
                    <a:cubicBezTo>
                      <a:pt x="2640" y="216"/>
                      <a:pt x="2640" y="216"/>
                      <a:pt x="2640" y="216"/>
                    </a:cubicBezTo>
                    <a:cubicBezTo>
                      <a:pt x="2655" y="216"/>
                      <a:pt x="2667" y="195"/>
                      <a:pt x="2644" y="199"/>
                    </a:cubicBezTo>
                    <a:close/>
                    <a:moveTo>
                      <a:pt x="2488" y="226"/>
                    </a:moveTo>
                    <a:cubicBezTo>
                      <a:pt x="2484" y="226"/>
                      <a:pt x="2476" y="222"/>
                      <a:pt x="2476" y="222"/>
                    </a:cubicBezTo>
                    <a:cubicBezTo>
                      <a:pt x="2476" y="222"/>
                      <a:pt x="2416" y="222"/>
                      <a:pt x="2416" y="230"/>
                    </a:cubicBezTo>
                    <a:cubicBezTo>
                      <a:pt x="2416" y="239"/>
                      <a:pt x="2435" y="241"/>
                      <a:pt x="2435" y="241"/>
                    </a:cubicBezTo>
                    <a:cubicBezTo>
                      <a:pt x="2436" y="253"/>
                      <a:pt x="2436" y="253"/>
                      <a:pt x="2436" y="253"/>
                    </a:cubicBezTo>
                    <a:cubicBezTo>
                      <a:pt x="2436" y="253"/>
                      <a:pt x="2486" y="258"/>
                      <a:pt x="2490" y="256"/>
                    </a:cubicBezTo>
                    <a:cubicBezTo>
                      <a:pt x="2494" y="254"/>
                      <a:pt x="2506" y="255"/>
                      <a:pt x="2512" y="255"/>
                    </a:cubicBezTo>
                    <a:cubicBezTo>
                      <a:pt x="2510" y="263"/>
                      <a:pt x="2508" y="274"/>
                      <a:pt x="2508" y="274"/>
                    </a:cubicBezTo>
                    <a:cubicBezTo>
                      <a:pt x="2471" y="301"/>
                      <a:pt x="2471" y="301"/>
                      <a:pt x="2471" y="301"/>
                    </a:cubicBezTo>
                    <a:cubicBezTo>
                      <a:pt x="2485" y="307"/>
                      <a:pt x="2485" y="307"/>
                      <a:pt x="2485" y="307"/>
                    </a:cubicBezTo>
                    <a:cubicBezTo>
                      <a:pt x="2485" y="307"/>
                      <a:pt x="2461" y="322"/>
                      <a:pt x="2473" y="322"/>
                    </a:cubicBezTo>
                    <a:cubicBezTo>
                      <a:pt x="2485" y="322"/>
                      <a:pt x="2503" y="312"/>
                      <a:pt x="2503" y="312"/>
                    </a:cubicBezTo>
                    <a:cubicBezTo>
                      <a:pt x="2503" y="312"/>
                      <a:pt x="2494" y="325"/>
                      <a:pt x="2513" y="324"/>
                    </a:cubicBezTo>
                    <a:cubicBezTo>
                      <a:pt x="2532" y="323"/>
                      <a:pt x="2568" y="311"/>
                      <a:pt x="2568" y="311"/>
                    </a:cubicBezTo>
                    <a:cubicBezTo>
                      <a:pt x="2569" y="325"/>
                      <a:pt x="2569" y="325"/>
                      <a:pt x="2569" y="325"/>
                    </a:cubicBezTo>
                    <a:cubicBezTo>
                      <a:pt x="2614" y="322"/>
                      <a:pt x="2614" y="322"/>
                      <a:pt x="2614" y="322"/>
                    </a:cubicBezTo>
                    <a:cubicBezTo>
                      <a:pt x="2667" y="332"/>
                      <a:pt x="2667" y="332"/>
                      <a:pt x="2667" y="332"/>
                    </a:cubicBezTo>
                    <a:cubicBezTo>
                      <a:pt x="2731" y="327"/>
                      <a:pt x="2731" y="327"/>
                      <a:pt x="2731" y="327"/>
                    </a:cubicBezTo>
                    <a:cubicBezTo>
                      <a:pt x="2749" y="312"/>
                      <a:pt x="2749" y="312"/>
                      <a:pt x="2749" y="312"/>
                    </a:cubicBezTo>
                    <a:cubicBezTo>
                      <a:pt x="2749" y="312"/>
                      <a:pt x="2738" y="326"/>
                      <a:pt x="2751" y="327"/>
                    </a:cubicBezTo>
                    <a:cubicBezTo>
                      <a:pt x="2764" y="328"/>
                      <a:pt x="2839" y="326"/>
                      <a:pt x="2839" y="326"/>
                    </a:cubicBezTo>
                    <a:cubicBezTo>
                      <a:pt x="2846" y="312"/>
                      <a:pt x="2846" y="312"/>
                      <a:pt x="2846" y="312"/>
                    </a:cubicBezTo>
                    <a:cubicBezTo>
                      <a:pt x="2890" y="294"/>
                      <a:pt x="2890" y="294"/>
                      <a:pt x="2890" y="294"/>
                    </a:cubicBezTo>
                    <a:cubicBezTo>
                      <a:pt x="2879" y="290"/>
                      <a:pt x="2879" y="290"/>
                      <a:pt x="2879" y="290"/>
                    </a:cubicBezTo>
                    <a:cubicBezTo>
                      <a:pt x="2879" y="281"/>
                      <a:pt x="2879" y="281"/>
                      <a:pt x="2879" y="281"/>
                    </a:cubicBezTo>
                    <a:cubicBezTo>
                      <a:pt x="2879" y="281"/>
                      <a:pt x="2834" y="270"/>
                      <a:pt x="2818" y="270"/>
                    </a:cubicBezTo>
                    <a:cubicBezTo>
                      <a:pt x="2802" y="270"/>
                      <a:pt x="2681" y="294"/>
                      <a:pt x="2681" y="294"/>
                    </a:cubicBezTo>
                    <a:cubicBezTo>
                      <a:pt x="2681" y="294"/>
                      <a:pt x="2666" y="283"/>
                      <a:pt x="2658" y="282"/>
                    </a:cubicBezTo>
                    <a:cubicBezTo>
                      <a:pt x="2651" y="281"/>
                      <a:pt x="2621" y="294"/>
                      <a:pt x="2621" y="294"/>
                    </a:cubicBezTo>
                    <a:cubicBezTo>
                      <a:pt x="2608" y="280"/>
                      <a:pt x="2608" y="280"/>
                      <a:pt x="2608" y="280"/>
                    </a:cubicBezTo>
                    <a:cubicBezTo>
                      <a:pt x="2596" y="286"/>
                      <a:pt x="2596" y="286"/>
                      <a:pt x="2596" y="286"/>
                    </a:cubicBezTo>
                    <a:cubicBezTo>
                      <a:pt x="2574" y="282"/>
                      <a:pt x="2574" y="282"/>
                      <a:pt x="2574" y="282"/>
                    </a:cubicBezTo>
                    <a:cubicBezTo>
                      <a:pt x="2596" y="274"/>
                      <a:pt x="2596" y="274"/>
                      <a:pt x="2596" y="274"/>
                    </a:cubicBezTo>
                    <a:cubicBezTo>
                      <a:pt x="2583" y="268"/>
                      <a:pt x="2583" y="268"/>
                      <a:pt x="2583" y="268"/>
                    </a:cubicBezTo>
                    <a:cubicBezTo>
                      <a:pt x="2546" y="272"/>
                      <a:pt x="2546" y="272"/>
                      <a:pt x="2546" y="272"/>
                    </a:cubicBezTo>
                    <a:cubicBezTo>
                      <a:pt x="2570" y="265"/>
                      <a:pt x="2570" y="265"/>
                      <a:pt x="2570" y="265"/>
                    </a:cubicBezTo>
                    <a:cubicBezTo>
                      <a:pt x="2569" y="260"/>
                      <a:pt x="2569" y="260"/>
                      <a:pt x="2569" y="260"/>
                    </a:cubicBezTo>
                    <a:cubicBezTo>
                      <a:pt x="2615" y="259"/>
                      <a:pt x="2615" y="259"/>
                      <a:pt x="2615" y="259"/>
                    </a:cubicBezTo>
                    <a:cubicBezTo>
                      <a:pt x="2592" y="251"/>
                      <a:pt x="2592" y="251"/>
                      <a:pt x="2592" y="251"/>
                    </a:cubicBezTo>
                    <a:cubicBezTo>
                      <a:pt x="2576" y="251"/>
                      <a:pt x="2576" y="251"/>
                      <a:pt x="2576" y="251"/>
                    </a:cubicBezTo>
                    <a:cubicBezTo>
                      <a:pt x="2576" y="251"/>
                      <a:pt x="2588" y="241"/>
                      <a:pt x="2578" y="240"/>
                    </a:cubicBezTo>
                    <a:cubicBezTo>
                      <a:pt x="2570" y="239"/>
                      <a:pt x="2539" y="241"/>
                      <a:pt x="2523" y="244"/>
                    </a:cubicBezTo>
                    <a:cubicBezTo>
                      <a:pt x="2521" y="237"/>
                      <a:pt x="2492" y="226"/>
                      <a:pt x="2488" y="226"/>
                    </a:cubicBezTo>
                    <a:close/>
                    <a:moveTo>
                      <a:pt x="2173" y="281"/>
                    </a:moveTo>
                    <a:cubicBezTo>
                      <a:pt x="2182" y="281"/>
                      <a:pt x="2226" y="288"/>
                      <a:pt x="2226" y="288"/>
                    </a:cubicBezTo>
                    <a:cubicBezTo>
                      <a:pt x="2226" y="288"/>
                      <a:pt x="2202" y="308"/>
                      <a:pt x="2217" y="308"/>
                    </a:cubicBezTo>
                    <a:cubicBezTo>
                      <a:pt x="2232" y="308"/>
                      <a:pt x="2270" y="308"/>
                      <a:pt x="2270" y="308"/>
                    </a:cubicBezTo>
                    <a:cubicBezTo>
                      <a:pt x="2284" y="308"/>
                      <a:pt x="2309" y="302"/>
                      <a:pt x="2305" y="294"/>
                    </a:cubicBezTo>
                    <a:cubicBezTo>
                      <a:pt x="2301" y="285"/>
                      <a:pt x="2341" y="282"/>
                      <a:pt x="2339" y="273"/>
                    </a:cubicBezTo>
                    <a:cubicBezTo>
                      <a:pt x="2338" y="265"/>
                      <a:pt x="2376" y="259"/>
                      <a:pt x="2362" y="247"/>
                    </a:cubicBezTo>
                    <a:cubicBezTo>
                      <a:pt x="2348" y="236"/>
                      <a:pt x="2329" y="244"/>
                      <a:pt x="2329" y="244"/>
                    </a:cubicBezTo>
                    <a:cubicBezTo>
                      <a:pt x="2329" y="244"/>
                      <a:pt x="2282" y="229"/>
                      <a:pt x="2279" y="238"/>
                    </a:cubicBezTo>
                    <a:cubicBezTo>
                      <a:pt x="2276" y="246"/>
                      <a:pt x="2276" y="267"/>
                      <a:pt x="2276" y="267"/>
                    </a:cubicBezTo>
                    <a:cubicBezTo>
                      <a:pt x="2276" y="267"/>
                      <a:pt x="2255" y="242"/>
                      <a:pt x="2244" y="251"/>
                    </a:cubicBezTo>
                    <a:cubicBezTo>
                      <a:pt x="2232" y="259"/>
                      <a:pt x="2222" y="283"/>
                      <a:pt x="2213" y="276"/>
                    </a:cubicBezTo>
                    <a:cubicBezTo>
                      <a:pt x="2205" y="270"/>
                      <a:pt x="2200" y="245"/>
                      <a:pt x="2191" y="243"/>
                    </a:cubicBezTo>
                    <a:cubicBezTo>
                      <a:pt x="2181" y="241"/>
                      <a:pt x="2155" y="243"/>
                      <a:pt x="2156" y="256"/>
                    </a:cubicBezTo>
                    <a:cubicBezTo>
                      <a:pt x="2157" y="269"/>
                      <a:pt x="2165" y="281"/>
                      <a:pt x="2173" y="281"/>
                    </a:cubicBezTo>
                    <a:close/>
                    <a:moveTo>
                      <a:pt x="2477" y="192"/>
                    </a:moveTo>
                    <a:cubicBezTo>
                      <a:pt x="2487" y="195"/>
                      <a:pt x="2490" y="205"/>
                      <a:pt x="2490" y="205"/>
                    </a:cubicBezTo>
                    <a:cubicBezTo>
                      <a:pt x="2490" y="205"/>
                      <a:pt x="2532" y="202"/>
                      <a:pt x="2552" y="201"/>
                    </a:cubicBezTo>
                    <a:cubicBezTo>
                      <a:pt x="2571" y="200"/>
                      <a:pt x="2528" y="189"/>
                      <a:pt x="2528" y="189"/>
                    </a:cubicBezTo>
                    <a:cubicBezTo>
                      <a:pt x="2528" y="189"/>
                      <a:pt x="2537" y="179"/>
                      <a:pt x="2547" y="177"/>
                    </a:cubicBezTo>
                    <a:cubicBezTo>
                      <a:pt x="2558" y="175"/>
                      <a:pt x="2518" y="162"/>
                      <a:pt x="2488" y="156"/>
                    </a:cubicBezTo>
                    <a:cubicBezTo>
                      <a:pt x="2488" y="156"/>
                      <a:pt x="2464" y="160"/>
                      <a:pt x="2460" y="164"/>
                    </a:cubicBezTo>
                    <a:cubicBezTo>
                      <a:pt x="2456" y="169"/>
                      <a:pt x="2468" y="190"/>
                      <a:pt x="2477" y="192"/>
                    </a:cubicBezTo>
                    <a:close/>
                    <a:moveTo>
                      <a:pt x="2188" y="339"/>
                    </a:moveTo>
                    <a:cubicBezTo>
                      <a:pt x="2188" y="339"/>
                      <a:pt x="2127" y="341"/>
                      <a:pt x="2093" y="352"/>
                    </a:cubicBezTo>
                    <a:cubicBezTo>
                      <a:pt x="2060" y="363"/>
                      <a:pt x="2112" y="372"/>
                      <a:pt x="2101" y="385"/>
                    </a:cubicBezTo>
                    <a:cubicBezTo>
                      <a:pt x="2090" y="399"/>
                      <a:pt x="2068" y="364"/>
                      <a:pt x="2030" y="380"/>
                    </a:cubicBezTo>
                    <a:cubicBezTo>
                      <a:pt x="2042" y="405"/>
                      <a:pt x="2042" y="405"/>
                      <a:pt x="2042" y="405"/>
                    </a:cubicBezTo>
                    <a:cubicBezTo>
                      <a:pt x="2042" y="405"/>
                      <a:pt x="2048" y="415"/>
                      <a:pt x="2065" y="418"/>
                    </a:cubicBezTo>
                    <a:cubicBezTo>
                      <a:pt x="2083" y="421"/>
                      <a:pt x="2082" y="456"/>
                      <a:pt x="2082" y="456"/>
                    </a:cubicBezTo>
                    <a:cubicBezTo>
                      <a:pt x="2082" y="456"/>
                      <a:pt x="2152" y="447"/>
                      <a:pt x="2174" y="442"/>
                    </a:cubicBezTo>
                    <a:cubicBezTo>
                      <a:pt x="2196" y="436"/>
                      <a:pt x="2196" y="395"/>
                      <a:pt x="2196" y="395"/>
                    </a:cubicBezTo>
                    <a:cubicBezTo>
                      <a:pt x="2152" y="385"/>
                      <a:pt x="2152" y="385"/>
                      <a:pt x="2152" y="385"/>
                    </a:cubicBezTo>
                    <a:cubicBezTo>
                      <a:pt x="2152" y="385"/>
                      <a:pt x="2205" y="367"/>
                      <a:pt x="2232" y="358"/>
                    </a:cubicBezTo>
                    <a:cubicBezTo>
                      <a:pt x="2258" y="348"/>
                      <a:pt x="2188" y="339"/>
                      <a:pt x="2188" y="339"/>
                    </a:cubicBezTo>
                    <a:close/>
                    <a:moveTo>
                      <a:pt x="1929" y="499"/>
                    </a:moveTo>
                    <a:cubicBezTo>
                      <a:pt x="1927" y="493"/>
                      <a:pt x="1862" y="494"/>
                      <a:pt x="1862" y="494"/>
                    </a:cubicBezTo>
                    <a:cubicBezTo>
                      <a:pt x="1915" y="466"/>
                      <a:pt x="1915" y="466"/>
                      <a:pt x="1915" y="466"/>
                    </a:cubicBezTo>
                    <a:cubicBezTo>
                      <a:pt x="1915" y="466"/>
                      <a:pt x="1947" y="392"/>
                      <a:pt x="1918" y="383"/>
                    </a:cubicBezTo>
                    <a:cubicBezTo>
                      <a:pt x="1891" y="375"/>
                      <a:pt x="1852" y="393"/>
                      <a:pt x="1852" y="393"/>
                    </a:cubicBezTo>
                    <a:cubicBezTo>
                      <a:pt x="1852" y="393"/>
                      <a:pt x="1826" y="447"/>
                      <a:pt x="1802" y="450"/>
                    </a:cubicBezTo>
                    <a:cubicBezTo>
                      <a:pt x="1778" y="453"/>
                      <a:pt x="1818" y="413"/>
                      <a:pt x="1816" y="403"/>
                    </a:cubicBezTo>
                    <a:cubicBezTo>
                      <a:pt x="1814" y="393"/>
                      <a:pt x="1750" y="392"/>
                      <a:pt x="1750" y="392"/>
                    </a:cubicBezTo>
                    <a:cubicBezTo>
                      <a:pt x="1744" y="405"/>
                      <a:pt x="1744" y="405"/>
                      <a:pt x="1744" y="405"/>
                    </a:cubicBezTo>
                    <a:cubicBezTo>
                      <a:pt x="1744" y="405"/>
                      <a:pt x="1708" y="420"/>
                      <a:pt x="1671" y="423"/>
                    </a:cubicBezTo>
                    <a:cubicBezTo>
                      <a:pt x="1635" y="425"/>
                      <a:pt x="1687" y="412"/>
                      <a:pt x="1723" y="400"/>
                    </a:cubicBezTo>
                    <a:cubicBezTo>
                      <a:pt x="1761" y="388"/>
                      <a:pt x="1704" y="386"/>
                      <a:pt x="1704" y="386"/>
                    </a:cubicBezTo>
                    <a:cubicBezTo>
                      <a:pt x="1664" y="398"/>
                      <a:pt x="1664" y="398"/>
                      <a:pt x="1664" y="398"/>
                    </a:cubicBezTo>
                    <a:cubicBezTo>
                      <a:pt x="1636" y="401"/>
                      <a:pt x="1636" y="401"/>
                      <a:pt x="1636" y="401"/>
                    </a:cubicBezTo>
                    <a:cubicBezTo>
                      <a:pt x="1636" y="401"/>
                      <a:pt x="1651" y="391"/>
                      <a:pt x="1667" y="380"/>
                    </a:cubicBezTo>
                    <a:cubicBezTo>
                      <a:pt x="1682" y="369"/>
                      <a:pt x="1663" y="371"/>
                      <a:pt x="1663" y="371"/>
                    </a:cubicBezTo>
                    <a:cubicBezTo>
                      <a:pt x="1564" y="402"/>
                      <a:pt x="1564" y="402"/>
                      <a:pt x="1564" y="402"/>
                    </a:cubicBezTo>
                    <a:cubicBezTo>
                      <a:pt x="1550" y="403"/>
                      <a:pt x="1550" y="403"/>
                      <a:pt x="1550" y="403"/>
                    </a:cubicBezTo>
                    <a:cubicBezTo>
                      <a:pt x="1494" y="420"/>
                      <a:pt x="1494" y="420"/>
                      <a:pt x="1494" y="420"/>
                    </a:cubicBezTo>
                    <a:cubicBezTo>
                      <a:pt x="1496" y="428"/>
                      <a:pt x="1496" y="428"/>
                      <a:pt x="1496" y="428"/>
                    </a:cubicBezTo>
                    <a:cubicBezTo>
                      <a:pt x="1456" y="443"/>
                      <a:pt x="1456" y="443"/>
                      <a:pt x="1456" y="443"/>
                    </a:cubicBezTo>
                    <a:cubicBezTo>
                      <a:pt x="1447" y="453"/>
                      <a:pt x="1447" y="453"/>
                      <a:pt x="1447" y="453"/>
                    </a:cubicBezTo>
                    <a:cubicBezTo>
                      <a:pt x="1465" y="461"/>
                      <a:pt x="1465" y="461"/>
                      <a:pt x="1465" y="461"/>
                    </a:cubicBezTo>
                    <a:cubicBezTo>
                      <a:pt x="1465" y="461"/>
                      <a:pt x="1487" y="446"/>
                      <a:pt x="1492" y="458"/>
                    </a:cubicBezTo>
                    <a:cubicBezTo>
                      <a:pt x="1497" y="470"/>
                      <a:pt x="1451" y="464"/>
                      <a:pt x="1440" y="483"/>
                    </a:cubicBezTo>
                    <a:cubicBezTo>
                      <a:pt x="1428" y="503"/>
                      <a:pt x="1587" y="484"/>
                      <a:pt x="1565" y="502"/>
                    </a:cubicBezTo>
                    <a:cubicBezTo>
                      <a:pt x="1544" y="519"/>
                      <a:pt x="1417" y="508"/>
                      <a:pt x="1406" y="525"/>
                    </a:cubicBezTo>
                    <a:cubicBezTo>
                      <a:pt x="1395" y="542"/>
                      <a:pt x="1427" y="540"/>
                      <a:pt x="1450" y="552"/>
                    </a:cubicBezTo>
                    <a:cubicBezTo>
                      <a:pt x="1473" y="564"/>
                      <a:pt x="1438" y="557"/>
                      <a:pt x="1434" y="574"/>
                    </a:cubicBezTo>
                    <a:cubicBezTo>
                      <a:pt x="1430" y="590"/>
                      <a:pt x="1533" y="582"/>
                      <a:pt x="1533" y="582"/>
                    </a:cubicBezTo>
                    <a:cubicBezTo>
                      <a:pt x="1533" y="582"/>
                      <a:pt x="1702" y="566"/>
                      <a:pt x="1741" y="554"/>
                    </a:cubicBezTo>
                    <a:cubicBezTo>
                      <a:pt x="1768" y="545"/>
                      <a:pt x="1819" y="583"/>
                      <a:pt x="1851" y="586"/>
                    </a:cubicBezTo>
                    <a:cubicBezTo>
                      <a:pt x="1884" y="588"/>
                      <a:pt x="1895" y="551"/>
                      <a:pt x="1895" y="551"/>
                    </a:cubicBezTo>
                    <a:cubicBezTo>
                      <a:pt x="1843" y="550"/>
                      <a:pt x="1843" y="550"/>
                      <a:pt x="1843" y="550"/>
                    </a:cubicBezTo>
                    <a:cubicBezTo>
                      <a:pt x="1865" y="533"/>
                      <a:pt x="1865" y="533"/>
                      <a:pt x="1865" y="533"/>
                    </a:cubicBezTo>
                    <a:cubicBezTo>
                      <a:pt x="1865" y="533"/>
                      <a:pt x="1897" y="539"/>
                      <a:pt x="1929" y="532"/>
                    </a:cubicBezTo>
                    <a:cubicBezTo>
                      <a:pt x="1962" y="525"/>
                      <a:pt x="1931" y="506"/>
                      <a:pt x="1929" y="499"/>
                    </a:cubicBezTo>
                    <a:close/>
                    <a:moveTo>
                      <a:pt x="1909" y="590"/>
                    </a:moveTo>
                    <a:cubicBezTo>
                      <a:pt x="1941" y="591"/>
                      <a:pt x="1947" y="573"/>
                      <a:pt x="1925" y="574"/>
                    </a:cubicBezTo>
                    <a:cubicBezTo>
                      <a:pt x="1903" y="574"/>
                      <a:pt x="1909" y="590"/>
                      <a:pt x="1909" y="590"/>
                    </a:cubicBezTo>
                    <a:close/>
                    <a:moveTo>
                      <a:pt x="2183" y="224"/>
                    </a:moveTo>
                    <a:cubicBezTo>
                      <a:pt x="2201" y="221"/>
                      <a:pt x="2202" y="193"/>
                      <a:pt x="2187" y="193"/>
                    </a:cubicBezTo>
                    <a:cubicBezTo>
                      <a:pt x="2173" y="193"/>
                      <a:pt x="2166" y="226"/>
                      <a:pt x="2183" y="224"/>
                    </a:cubicBezTo>
                    <a:close/>
                    <a:moveTo>
                      <a:pt x="2307" y="155"/>
                    </a:moveTo>
                    <a:cubicBezTo>
                      <a:pt x="2307" y="155"/>
                      <a:pt x="2289" y="172"/>
                      <a:pt x="2303" y="173"/>
                    </a:cubicBezTo>
                    <a:cubicBezTo>
                      <a:pt x="2317" y="174"/>
                      <a:pt x="2349" y="175"/>
                      <a:pt x="2349" y="175"/>
                    </a:cubicBezTo>
                    <a:cubicBezTo>
                      <a:pt x="2349" y="175"/>
                      <a:pt x="2363" y="191"/>
                      <a:pt x="2380" y="191"/>
                    </a:cubicBezTo>
                    <a:cubicBezTo>
                      <a:pt x="2398" y="191"/>
                      <a:pt x="2411" y="177"/>
                      <a:pt x="2411" y="177"/>
                    </a:cubicBezTo>
                    <a:cubicBezTo>
                      <a:pt x="2402" y="169"/>
                      <a:pt x="2402" y="169"/>
                      <a:pt x="2402" y="169"/>
                    </a:cubicBezTo>
                    <a:cubicBezTo>
                      <a:pt x="2423" y="165"/>
                      <a:pt x="2423" y="165"/>
                      <a:pt x="2423" y="165"/>
                    </a:cubicBezTo>
                    <a:cubicBezTo>
                      <a:pt x="2393" y="143"/>
                      <a:pt x="2393" y="143"/>
                      <a:pt x="2393" y="143"/>
                    </a:cubicBezTo>
                    <a:cubicBezTo>
                      <a:pt x="2365" y="147"/>
                      <a:pt x="2365" y="147"/>
                      <a:pt x="2365" y="147"/>
                    </a:cubicBezTo>
                    <a:cubicBezTo>
                      <a:pt x="2355" y="132"/>
                      <a:pt x="2355" y="132"/>
                      <a:pt x="2355" y="132"/>
                    </a:cubicBezTo>
                    <a:cubicBezTo>
                      <a:pt x="2336" y="132"/>
                      <a:pt x="2336" y="132"/>
                      <a:pt x="2336" y="132"/>
                    </a:cubicBezTo>
                    <a:cubicBezTo>
                      <a:pt x="2314" y="132"/>
                      <a:pt x="2279" y="132"/>
                      <a:pt x="2278" y="144"/>
                    </a:cubicBezTo>
                    <a:cubicBezTo>
                      <a:pt x="2277" y="156"/>
                      <a:pt x="2307" y="155"/>
                      <a:pt x="2307" y="155"/>
                    </a:cubicBezTo>
                    <a:close/>
                    <a:moveTo>
                      <a:pt x="2285" y="872"/>
                    </a:moveTo>
                    <a:cubicBezTo>
                      <a:pt x="2230" y="922"/>
                      <a:pt x="2320" y="886"/>
                      <a:pt x="2320" y="886"/>
                    </a:cubicBezTo>
                    <a:cubicBezTo>
                      <a:pt x="2366" y="843"/>
                      <a:pt x="2339" y="821"/>
                      <a:pt x="2285" y="872"/>
                    </a:cubicBezTo>
                    <a:close/>
                    <a:moveTo>
                      <a:pt x="2943" y="929"/>
                    </a:moveTo>
                    <a:cubicBezTo>
                      <a:pt x="2953" y="921"/>
                      <a:pt x="2946" y="918"/>
                      <a:pt x="2946" y="918"/>
                    </a:cubicBezTo>
                    <a:cubicBezTo>
                      <a:pt x="2946" y="918"/>
                      <a:pt x="2924" y="913"/>
                      <a:pt x="2921" y="922"/>
                    </a:cubicBezTo>
                    <a:cubicBezTo>
                      <a:pt x="2921" y="922"/>
                      <a:pt x="2932" y="936"/>
                      <a:pt x="2943" y="929"/>
                    </a:cubicBezTo>
                    <a:close/>
                    <a:moveTo>
                      <a:pt x="2077" y="1360"/>
                    </a:moveTo>
                    <a:cubicBezTo>
                      <a:pt x="2105" y="1356"/>
                      <a:pt x="2070" y="1342"/>
                      <a:pt x="2070" y="1342"/>
                    </a:cubicBezTo>
                    <a:cubicBezTo>
                      <a:pt x="2026" y="1351"/>
                      <a:pt x="2048" y="1363"/>
                      <a:pt x="2077" y="1360"/>
                    </a:cubicBezTo>
                    <a:close/>
                    <a:moveTo>
                      <a:pt x="3172" y="665"/>
                    </a:moveTo>
                    <a:cubicBezTo>
                      <a:pt x="3167" y="669"/>
                      <a:pt x="3155" y="660"/>
                      <a:pt x="3155" y="660"/>
                    </a:cubicBezTo>
                    <a:cubicBezTo>
                      <a:pt x="3133" y="673"/>
                      <a:pt x="3133" y="673"/>
                      <a:pt x="3133" y="673"/>
                    </a:cubicBezTo>
                    <a:cubicBezTo>
                      <a:pt x="3135" y="656"/>
                      <a:pt x="3135" y="656"/>
                      <a:pt x="3135" y="656"/>
                    </a:cubicBezTo>
                    <a:cubicBezTo>
                      <a:pt x="3107" y="656"/>
                      <a:pt x="3107" y="656"/>
                      <a:pt x="3107" y="656"/>
                    </a:cubicBezTo>
                    <a:cubicBezTo>
                      <a:pt x="3107" y="656"/>
                      <a:pt x="3139" y="646"/>
                      <a:pt x="3133" y="636"/>
                    </a:cubicBezTo>
                    <a:cubicBezTo>
                      <a:pt x="3128" y="625"/>
                      <a:pt x="3079" y="624"/>
                      <a:pt x="3079" y="624"/>
                    </a:cubicBezTo>
                    <a:cubicBezTo>
                      <a:pt x="3073" y="613"/>
                      <a:pt x="3073" y="613"/>
                      <a:pt x="3073" y="613"/>
                    </a:cubicBezTo>
                    <a:cubicBezTo>
                      <a:pt x="3041" y="612"/>
                      <a:pt x="3041" y="612"/>
                      <a:pt x="3041" y="612"/>
                    </a:cubicBezTo>
                    <a:cubicBezTo>
                      <a:pt x="2997" y="581"/>
                      <a:pt x="2997" y="581"/>
                      <a:pt x="2997" y="581"/>
                    </a:cubicBezTo>
                    <a:cubicBezTo>
                      <a:pt x="3044" y="578"/>
                      <a:pt x="3044" y="578"/>
                      <a:pt x="3044" y="578"/>
                    </a:cubicBezTo>
                    <a:cubicBezTo>
                      <a:pt x="3024" y="564"/>
                      <a:pt x="3024" y="564"/>
                      <a:pt x="3024" y="564"/>
                    </a:cubicBezTo>
                    <a:cubicBezTo>
                      <a:pt x="3024" y="564"/>
                      <a:pt x="3037" y="560"/>
                      <a:pt x="3041" y="560"/>
                    </a:cubicBezTo>
                    <a:cubicBezTo>
                      <a:pt x="3045" y="560"/>
                      <a:pt x="3097" y="572"/>
                      <a:pt x="3091" y="558"/>
                    </a:cubicBezTo>
                    <a:cubicBezTo>
                      <a:pt x="3084" y="545"/>
                      <a:pt x="3029" y="548"/>
                      <a:pt x="3029" y="548"/>
                    </a:cubicBezTo>
                    <a:cubicBezTo>
                      <a:pt x="3011" y="546"/>
                      <a:pt x="3011" y="546"/>
                      <a:pt x="3011" y="546"/>
                    </a:cubicBezTo>
                    <a:cubicBezTo>
                      <a:pt x="3011" y="546"/>
                      <a:pt x="3088" y="544"/>
                      <a:pt x="3091" y="534"/>
                    </a:cubicBezTo>
                    <a:cubicBezTo>
                      <a:pt x="3093" y="525"/>
                      <a:pt x="3069" y="525"/>
                      <a:pt x="3069" y="525"/>
                    </a:cubicBezTo>
                    <a:cubicBezTo>
                      <a:pt x="3000" y="536"/>
                      <a:pt x="3000" y="536"/>
                      <a:pt x="3000" y="536"/>
                    </a:cubicBezTo>
                    <a:cubicBezTo>
                      <a:pt x="3040" y="512"/>
                      <a:pt x="3040" y="512"/>
                      <a:pt x="3040" y="512"/>
                    </a:cubicBezTo>
                    <a:cubicBezTo>
                      <a:pt x="3040" y="512"/>
                      <a:pt x="3093" y="518"/>
                      <a:pt x="3077" y="504"/>
                    </a:cubicBezTo>
                    <a:cubicBezTo>
                      <a:pt x="3061" y="489"/>
                      <a:pt x="3035" y="489"/>
                      <a:pt x="3035" y="489"/>
                    </a:cubicBezTo>
                    <a:cubicBezTo>
                      <a:pt x="3009" y="504"/>
                      <a:pt x="3009" y="504"/>
                      <a:pt x="3009" y="504"/>
                    </a:cubicBezTo>
                    <a:cubicBezTo>
                      <a:pt x="2999" y="500"/>
                      <a:pt x="2999" y="500"/>
                      <a:pt x="2999" y="500"/>
                    </a:cubicBezTo>
                    <a:cubicBezTo>
                      <a:pt x="2971" y="520"/>
                      <a:pt x="2971" y="520"/>
                      <a:pt x="2971" y="520"/>
                    </a:cubicBezTo>
                    <a:cubicBezTo>
                      <a:pt x="2973" y="505"/>
                      <a:pt x="2973" y="505"/>
                      <a:pt x="2973" y="505"/>
                    </a:cubicBezTo>
                    <a:cubicBezTo>
                      <a:pt x="2959" y="517"/>
                      <a:pt x="2959" y="517"/>
                      <a:pt x="2959" y="517"/>
                    </a:cubicBezTo>
                    <a:cubicBezTo>
                      <a:pt x="2973" y="497"/>
                      <a:pt x="2973" y="497"/>
                      <a:pt x="2973" y="497"/>
                    </a:cubicBezTo>
                    <a:cubicBezTo>
                      <a:pt x="2973" y="497"/>
                      <a:pt x="2993" y="502"/>
                      <a:pt x="3003" y="493"/>
                    </a:cubicBezTo>
                    <a:cubicBezTo>
                      <a:pt x="3012" y="484"/>
                      <a:pt x="3012" y="470"/>
                      <a:pt x="3005" y="472"/>
                    </a:cubicBezTo>
                    <a:cubicBezTo>
                      <a:pt x="2999" y="473"/>
                      <a:pt x="2991" y="485"/>
                      <a:pt x="2991" y="485"/>
                    </a:cubicBezTo>
                    <a:cubicBezTo>
                      <a:pt x="2967" y="486"/>
                      <a:pt x="2967" y="486"/>
                      <a:pt x="2967" y="486"/>
                    </a:cubicBezTo>
                    <a:cubicBezTo>
                      <a:pt x="2952" y="493"/>
                      <a:pt x="2952" y="493"/>
                      <a:pt x="2952" y="493"/>
                    </a:cubicBezTo>
                    <a:cubicBezTo>
                      <a:pt x="2968" y="474"/>
                      <a:pt x="2968" y="474"/>
                      <a:pt x="2968" y="474"/>
                    </a:cubicBezTo>
                    <a:cubicBezTo>
                      <a:pt x="2988" y="474"/>
                      <a:pt x="2988" y="474"/>
                      <a:pt x="2988" y="474"/>
                    </a:cubicBezTo>
                    <a:cubicBezTo>
                      <a:pt x="2988" y="474"/>
                      <a:pt x="3012" y="465"/>
                      <a:pt x="2999" y="457"/>
                    </a:cubicBezTo>
                    <a:cubicBezTo>
                      <a:pt x="2985" y="449"/>
                      <a:pt x="2941" y="469"/>
                      <a:pt x="2941" y="469"/>
                    </a:cubicBezTo>
                    <a:cubicBezTo>
                      <a:pt x="2933" y="460"/>
                      <a:pt x="2933" y="460"/>
                      <a:pt x="2933" y="460"/>
                    </a:cubicBezTo>
                    <a:cubicBezTo>
                      <a:pt x="2917" y="472"/>
                      <a:pt x="2917" y="472"/>
                      <a:pt x="2917" y="472"/>
                    </a:cubicBezTo>
                    <a:cubicBezTo>
                      <a:pt x="2932" y="452"/>
                      <a:pt x="2932" y="452"/>
                      <a:pt x="2932" y="452"/>
                    </a:cubicBezTo>
                    <a:cubicBezTo>
                      <a:pt x="2895" y="465"/>
                      <a:pt x="2895" y="465"/>
                      <a:pt x="2895" y="465"/>
                    </a:cubicBezTo>
                    <a:cubicBezTo>
                      <a:pt x="2895" y="450"/>
                      <a:pt x="2895" y="450"/>
                      <a:pt x="2895" y="450"/>
                    </a:cubicBezTo>
                    <a:cubicBezTo>
                      <a:pt x="2895" y="450"/>
                      <a:pt x="2931" y="441"/>
                      <a:pt x="2931" y="437"/>
                    </a:cubicBezTo>
                    <a:cubicBezTo>
                      <a:pt x="2931" y="433"/>
                      <a:pt x="2881" y="442"/>
                      <a:pt x="2881" y="442"/>
                    </a:cubicBezTo>
                    <a:cubicBezTo>
                      <a:pt x="2880" y="434"/>
                      <a:pt x="2880" y="434"/>
                      <a:pt x="2880" y="434"/>
                    </a:cubicBezTo>
                    <a:cubicBezTo>
                      <a:pt x="2880" y="434"/>
                      <a:pt x="2928" y="424"/>
                      <a:pt x="2923" y="417"/>
                    </a:cubicBezTo>
                    <a:cubicBezTo>
                      <a:pt x="2917" y="410"/>
                      <a:pt x="2852" y="409"/>
                      <a:pt x="2844" y="406"/>
                    </a:cubicBezTo>
                    <a:cubicBezTo>
                      <a:pt x="2836" y="404"/>
                      <a:pt x="2820" y="406"/>
                      <a:pt x="2819" y="410"/>
                    </a:cubicBezTo>
                    <a:cubicBezTo>
                      <a:pt x="2817" y="414"/>
                      <a:pt x="2828" y="428"/>
                      <a:pt x="2828" y="428"/>
                    </a:cubicBezTo>
                    <a:cubicBezTo>
                      <a:pt x="2804" y="424"/>
                      <a:pt x="2804" y="424"/>
                      <a:pt x="2804" y="424"/>
                    </a:cubicBezTo>
                    <a:cubicBezTo>
                      <a:pt x="2807" y="442"/>
                      <a:pt x="2807" y="442"/>
                      <a:pt x="2807" y="442"/>
                    </a:cubicBezTo>
                    <a:cubicBezTo>
                      <a:pt x="2793" y="425"/>
                      <a:pt x="2793" y="425"/>
                      <a:pt x="2793" y="425"/>
                    </a:cubicBezTo>
                    <a:cubicBezTo>
                      <a:pt x="2768" y="441"/>
                      <a:pt x="2768" y="441"/>
                      <a:pt x="2768" y="441"/>
                    </a:cubicBezTo>
                    <a:cubicBezTo>
                      <a:pt x="2768" y="441"/>
                      <a:pt x="2773" y="426"/>
                      <a:pt x="2768" y="422"/>
                    </a:cubicBezTo>
                    <a:cubicBezTo>
                      <a:pt x="2763" y="418"/>
                      <a:pt x="2715" y="438"/>
                      <a:pt x="2715" y="438"/>
                    </a:cubicBezTo>
                    <a:cubicBezTo>
                      <a:pt x="2727" y="413"/>
                      <a:pt x="2727" y="413"/>
                      <a:pt x="2727" y="413"/>
                    </a:cubicBezTo>
                    <a:cubicBezTo>
                      <a:pt x="2727" y="413"/>
                      <a:pt x="2767" y="412"/>
                      <a:pt x="2767" y="402"/>
                    </a:cubicBezTo>
                    <a:cubicBezTo>
                      <a:pt x="2767" y="393"/>
                      <a:pt x="2753" y="381"/>
                      <a:pt x="2753" y="381"/>
                    </a:cubicBezTo>
                    <a:cubicBezTo>
                      <a:pt x="2753" y="381"/>
                      <a:pt x="2777" y="364"/>
                      <a:pt x="2761" y="361"/>
                    </a:cubicBezTo>
                    <a:cubicBezTo>
                      <a:pt x="2745" y="358"/>
                      <a:pt x="2699" y="362"/>
                      <a:pt x="2699" y="362"/>
                    </a:cubicBezTo>
                    <a:cubicBezTo>
                      <a:pt x="2684" y="373"/>
                      <a:pt x="2684" y="373"/>
                      <a:pt x="2684" y="373"/>
                    </a:cubicBezTo>
                    <a:cubicBezTo>
                      <a:pt x="2625" y="374"/>
                      <a:pt x="2625" y="374"/>
                      <a:pt x="2625" y="374"/>
                    </a:cubicBezTo>
                    <a:cubicBezTo>
                      <a:pt x="2632" y="385"/>
                      <a:pt x="2632" y="385"/>
                      <a:pt x="2632" y="385"/>
                    </a:cubicBezTo>
                    <a:cubicBezTo>
                      <a:pt x="2652" y="393"/>
                      <a:pt x="2652" y="393"/>
                      <a:pt x="2652" y="393"/>
                    </a:cubicBezTo>
                    <a:cubicBezTo>
                      <a:pt x="2623" y="385"/>
                      <a:pt x="2623" y="385"/>
                      <a:pt x="2623" y="385"/>
                    </a:cubicBezTo>
                    <a:cubicBezTo>
                      <a:pt x="2629" y="401"/>
                      <a:pt x="2629" y="401"/>
                      <a:pt x="2629" y="401"/>
                    </a:cubicBezTo>
                    <a:cubicBezTo>
                      <a:pt x="2629" y="401"/>
                      <a:pt x="2597" y="388"/>
                      <a:pt x="2588" y="400"/>
                    </a:cubicBezTo>
                    <a:cubicBezTo>
                      <a:pt x="2579" y="412"/>
                      <a:pt x="2596" y="424"/>
                      <a:pt x="2596" y="424"/>
                    </a:cubicBezTo>
                    <a:cubicBezTo>
                      <a:pt x="2599" y="441"/>
                      <a:pt x="2599" y="441"/>
                      <a:pt x="2599" y="441"/>
                    </a:cubicBezTo>
                    <a:cubicBezTo>
                      <a:pt x="2599" y="441"/>
                      <a:pt x="2579" y="429"/>
                      <a:pt x="2568" y="432"/>
                    </a:cubicBezTo>
                    <a:cubicBezTo>
                      <a:pt x="2557" y="434"/>
                      <a:pt x="2543" y="453"/>
                      <a:pt x="2555" y="454"/>
                    </a:cubicBezTo>
                    <a:cubicBezTo>
                      <a:pt x="2567" y="456"/>
                      <a:pt x="2571" y="462"/>
                      <a:pt x="2571" y="462"/>
                    </a:cubicBezTo>
                    <a:cubicBezTo>
                      <a:pt x="2540" y="477"/>
                      <a:pt x="2540" y="477"/>
                      <a:pt x="2540" y="477"/>
                    </a:cubicBezTo>
                    <a:cubicBezTo>
                      <a:pt x="2500" y="481"/>
                      <a:pt x="2500" y="481"/>
                      <a:pt x="2500" y="481"/>
                    </a:cubicBezTo>
                    <a:cubicBezTo>
                      <a:pt x="2500" y="481"/>
                      <a:pt x="2539" y="473"/>
                      <a:pt x="2539" y="464"/>
                    </a:cubicBezTo>
                    <a:cubicBezTo>
                      <a:pt x="2539" y="454"/>
                      <a:pt x="2515" y="453"/>
                      <a:pt x="2525" y="440"/>
                    </a:cubicBezTo>
                    <a:cubicBezTo>
                      <a:pt x="2536" y="426"/>
                      <a:pt x="2549" y="425"/>
                      <a:pt x="2549" y="425"/>
                    </a:cubicBezTo>
                    <a:cubicBezTo>
                      <a:pt x="2549" y="406"/>
                      <a:pt x="2549" y="406"/>
                      <a:pt x="2549" y="406"/>
                    </a:cubicBezTo>
                    <a:cubicBezTo>
                      <a:pt x="2549" y="406"/>
                      <a:pt x="2584" y="384"/>
                      <a:pt x="2596" y="378"/>
                    </a:cubicBezTo>
                    <a:cubicBezTo>
                      <a:pt x="2608" y="373"/>
                      <a:pt x="2653" y="366"/>
                      <a:pt x="2645" y="362"/>
                    </a:cubicBezTo>
                    <a:cubicBezTo>
                      <a:pt x="2637" y="358"/>
                      <a:pt x="2591" y="357"/>
                      <a:pt x="2565" y="358"/>
                    </a:cubicBezTo>
                    <a:cubicBezTo>
                      <a:pt x="2540" y="360"/>
                      <a:pt x="2472" y="401"/>
                      <a:pt x="2472" y="401"/>
                    </a:cubicBezTo>
                    <a:cubicBezTo>
                      <a:pt x="2472" y="401"/>
                      <a:pt x="2443" y="414"/>
                      <a:pt x="2433" y="416"/>
                    </a:cubicBezTo>
                    <a:cubicBezTo>
                      <a:pt x="2424" y="417"/>
                      <a:pt x="2420" y="428"/>
                      <a:pt x="2420" y="428"/>
                    </a:cubicBezTo>
                    <a:cubicBezTo>
                      <a:pt x="2420" y="428"/>
                      <a:pt x="2373" y="454"/>
                      <a:pt x="2391" y="461"/>
                    </a:cubicBezTo>
                    <a:cubicBezTo>
                      <a:pt x="2408" y="468"/>
                      <a:pt x="2460" y="464"/>
                      <a:pt x="2453" y="473"/>
                    </a:cubicBezTo>
                    <a:cubicBezTo>
                      <a:pt x="2447" y="482"/>
                      <a:pt x="2360" y="481"/>
                      <a:pt x="2381" y="496"/>
                    </a:cubicBezTo>
                    <a:cubicBezTo>
                      <a:pt x="2403" y="510"/>
                      <a:pt x="2429" y="513"/>
                      <a:pt x="2429" y="513"/>
                    </a:cubicBezTo>
                    <a:cubicBezTo>
                      <a:pt x="2460" y="501"/>
                      <a:pt x="2460" y="501"/>
                      <a:pt x="2460" y="501"/>
                    </a:cubicBezTo>
                    <a:cubicBezTo>
                      <a:pt x="2460" y="501"/>
                      <a:pt x="2451" y="517"/>
                      <a:pt x="2473" y="517"/>
                    </a:cubicBezTo>
                    <a:cubicBezTo>
                      <a:pt x="2496" y="517"/>
                      <a:pt x="2584" y="536"/>
                      <a:pt x="2595" y="530"/>
                    </a:cubicBezTo>
                    <a:cubicBezTo>
                      <a:pt x="2605" y="525"/>
                      <a:pt x="2581" y="513"/>
                      <a:pt x="2581" y="513"/>
                    </a:cubicBezTo>
                    <a:cubicBezTo>
                      <a:pt x="2581" y="513"/>
                      <a:pt x="2648" y="520"/>
                      <a:pt x="2659" y="521"/>
                    </a:cubicBezTo>
                    <a:cubicBezTo>
                      <a:pt x="2669" y="522"/>
                      <a:pt x="2696" y="533"/>
                      <a:pt x="2705" y="528"/>
                    </a:cubicBezTo>
                    <a:cubicBezTo>
                      <a:pt x="2715" y="522"/>
                      <a:pt x="2696" y="502"/>
                      <a:pt x="2696" y="502"/>
                    </a:cubicBezTo>
                    <a:cubicBezTo>
                      <a:pt x="2727" y="496"/>
                      <a:pt x="2727" y="496"/>
                      <a:pt x="2727" y="496"/>
                    </a:cubicBezTo>
                    <a:cubicBezTo>
                      <a:pt x="2727" y="496"/>
                      <a:pt x="2735" y="518"/>
                      <a:pt x="2739" y="517"/>
                    </a:cubicBezTo>
                    <a:cubicBezTo>
                      <a:pt x="2743" y="516"/>
                      <a:pt x="2757" y="532"/>
                      <a:pt x="2757" y="532"/>
                    </a:cubicBezTo>
                    <a:cubicBezTo>
                      <a:pt x="2777" y="525"/>
                      <a:pt x="2777" y="525"/>
                      <a:pt x="2777" y="525"/>
                    </a:cubicBezTo>
                    <a:cubicBezTo>
                      <a:pt x="2777" y="525"/>
                      <a:pt x="2769" y="545"/>
                      <a:pt x="2773" y="546"/>
                    </a:cubicBezTo>
                    <a:cubicBezTo>
                      <a:pt x="2777" y="548"/>
                      <a:pt x="2807" y="554"/>
                      <a:pt x="2807" y="554"/>
                    </a:cubicBezTo>
                    <a:cubicBezTo>
                      <a:pt x="2807" y="554"/>
                      <a:pt x="2785" y="573"/>
                      <a:pt x="2793" y="573"/>
                    </a:cubicBezTo>
                    <a:cubicBezTo>
                      <a:pt x="2801" y="573"/>
                      <a:pt x="2820" y="573"/>
                      <a:pt x="2820" y="573"/>
                    </a:cubicBezTo>
                    <a:cubicBezTo>
                      <a:pt x="2816" y="590"/>
                      <a:pt x="2816" y="590"/>
                      <a:pt x="2816" y="590"/>
                    </a:cubicBezTo>
                    <a:cubicBezTo>
                      <a:pt x="2816" y="590"/>
                      <a:pt x="2849" y="594"/>
                      <a:pt x="2849" y="610"/>
                    </a:cubicBezTo>
                    <a:cubicBezTo>
                      <a:pt x="2849" y="626"/>
                      <a:pt x="2827" y="660"/>
                      <a:pt x="2821" y="661"/>
                    </a:cubicBezTo>
                    <a:cubicBezTo>
                      <a:pt x="2816" y="662"/>
                      <a:pt x="2728" y="701"/>
                      <a:pt x="2728" y="701"/>
                    </a:cubicBezTo>
                    <a:cubicBezTo>
                      <a:pt x="2728" y="701"/>
                      <a:pt x="2756" y="720"/>
                      <a:pt x="2741" y="726"/>
                    </a:cubicBezTo>
                    <a:cubicBezTo>
                      <a:pt x="2727" y="733"/>
                      <a:pt x="2707" y="734"/>
                      <a:pt x="2707" y="734"/>
                    </a:cubicBezTo>
                    <a:cubicBezTo>
                      <a:pt x="2655" y="741"/>
                      <a:pt x="2655" y="741"/>
                      <a:pt x="2655" y="741"/>
                    </a:cubicBezTo>
                    <a:cubicBezTo>
                      <a:pt x="2649" y="756"/>
                      <a:pt x="2649" y="756"/>
                      <a:pt x="2649" y="756"/>
                    </a:cubicBezTo>
                    <a:cubicBezTo>
                      <a:pt x="2640" y="742"/>
                      <a:pt x="2640" y="742"/>
                      <a:pt x="2640" y="742"/>
                    </a:cubicBezTo>
                    <a:cubicBezTo>
                      <a:pt x="2640" y="742"/>
                      <a:pt x="2613" y="733"/>
                      <a:pt x="2600" y="736"/>
                    </a:cubicBezTo>
                    <a:cubicBezTo>
                      <a:pt x="2587" y="738"/>
                      <a:pt x="2588" y="750"/>
                      <a:pt x="2588" y="750"/>
                    </a:cubicBezTo>
                    <a:cubicBezTo>
                      <a:pt x="2588" y="750"/>
                      <a:pt x="2543" y="760"/>
                      <a:pt x="2543" y="776"/>
                    </a:cubicBezTo>
                    <a:cubicBezTo>
                      <a:pt x="2543" y="800"/>
                      <a:pt x="2577" y="794"/>
                      <a:pt x="2604" y="785"/>
                    </a:cubicBezTo>
                    <a:cubicBezTo>
                      <a:pt x="2631" y="776"/>
                      <a:pt x="2637" y="777"/>
                      <a:pt x="2637" y="777"/>
                    </a:cubicBezTo>
                    <a:cubicBezTo>
                      <a:pt x="2637" y="777"/>
                      <a:pt x="2656" y="790"/>
                      <a:pt x="2663" y="785"/>
                    </a:cubicBezTo>
                    <a:cubicBezTo>
                      <a:pt x="2669" y="780"/>
                      <a:pt x="2665" y="769"/>
                      <a:pt x="2665" y="769"/>
                    </a:cubicBezTo>
                    <a:cubicBezTo>
                      <a:pt x="2681" y="754"/>
                      <a:pt x="2681" y="754"/>
                      <a:pt x="2681" y="754"/>
                    </a:cubicBezTo>
                    <a:cubicBezTo>
                      <a:pt x="2681" y="754"/>
                      <a:pt x="2668" y="766"/>
                      <a:pt x="2677" y="769"/>
                    </a:cubicBezTo>
                    <a:cubicBezTo>
                      <a:pt x="2687" y="772"/>
                      <a:pt x="2721" y="772"/>
                      <a:pt x="2721" y="772"/>
                    </a:cubicBezTo>
                    <a:cubicBezTo>
                      <a:pt x="2721" y="772"/>
                      <a:pt x="2707" y="778"/>
                      <a:pt x="2708" y="785"/>
                    </a:cubicBezTo>
                    <a:cubicBezTo>
                      <a:pt x="2709" y="792"/>
                      <a:pt x="2731" y="796"/>
                      <a:pt x="2731" y="796"/>
                    </a:cubicBezTo>
                    <a:cubicBezTo>
                      <a:pt x="2731" y="796"/>
                      <a:pt x="2717" y="805"/>
                      <a:pt x="2728" y="812"/>
                    </a:cubicBezTo>
                    <a:cubicBezTo>
                      <a:pt x="2739" y="818"/>
                      <a:pt x="2763" y="818"/>
                      <a:pt x="2763" y="818"/>
                    </a:cubicBezTo>
                    <a:cubicBezTo>
                      <a:pt x="2732" y="829"/>
                      <a:pt x="2732" y="829"/>
                      <a:pt x="2732" y="829"/>
                    </a:cubicBezTo>
                    <a:cubicBezTo>
                      <a:pt x="2732" y="829"/>
                      <a:pt x="2737" y="850"/>
                      <a:pt x="2743" y="849"/>
                    </a:cubicBezTo>
                    <a:cubicBezTo>
                      <a:pt x="2748" y="848"/>
                      <a:pt x="2759" y="841"/>
                      <a:pt x="2759" y="841"/>
                    </a:cubicBezTo>
                    <a:cubicBezTo>
                      <a:pt x="2759" y="841"/>
                      <a:pt x="2761" y="856"/>
                      <a:pt x="2771" y="857"/>
                    </a:cubicBezTo>
                    <a:cubicBezTo>
                      <a:pt x="2780" y="858"/>
                      <a:pt x="2801" y="861"/>
                      <a:pt x="2801" y="861"/>
                    </a:cubicBezTo>
                    <a:cubicBezTo>
                      <a:pt x="2801" y="861"/>
                      <a:pt x="2800" y="878"/>
                      <a:pt x="2816" y="882"/>
                    </a:cubicBezTo>
                    <a:cubicBezTo>
                      <a:pt x="2832" y="886"/>
                      <a:pt x="2843" y="878"/>
                      <a:pt x="2857" y="886"/>
                    </a:cubicBezTo>
                    <a:cubicBezTo>
                      <a:pt x="2872" y="894"/>
                      <a:pt x="2908" y="909"/>
                      <a:pt x="2908" y="909"/>
                    </a:cubicBezTo>
                    <a:cubicBezTo>
                      <a:pt x="2908" y="909"/>
                      <a:pt x="2919" y="889"/>
                      <a:pt x="2907" y="876"/>
                    </a:cubicBezTo>
                    <a:cubicBezTo>
                      <a:pt x="2895" y="862"/>
                      <a:pt x="2875" y="850"/>
                      <a:pt x="2875" y="850"/>
                    </a:cubicBezTo>
                    <a:cubicBezTo>
                      <a:pt x="2875" y="850"/>
                      <a:pt x="2855" y="825"/>
                      <a:pt x="2860" y="817"/>
                    </a:cubicBezTo>
                    <a:cubicBezTo>
                      <a:pt x="2865" y="809"/>
                      <a:pt x="2888" y="832"/>
                      <a:pt x="2888" y="832"/>
                    </a:cubicBezTo>
                    <a:cubicBezTo>
                      <a:pt x="2888" y="812"/>
                      <a:pt x="2888" y="812"/>
                      <a:pt x="2888" y="812"/>
                    </a:cubicBezTo>
                    <a:cubicBezTo>
                      <a:pt x="2888" y="812"/>
                      <a:pt x="2897" y="837"/>
                      <a:pt x="2907" y="837"/>
                    </a:cubicBezTo>
                    <a:cubicBezTo>
                      <a:pt x="2916" y="837"/>
                      <a:pt x="2931" y="833"/>
                      <a:pt x="2931" y="833"/>
                    </a:cubicBezTo>
                    <a:cubicBezTo>
                      <a:pt x="2931" y="833"/>
                      <a:pt x="2927" y="854"/>
                      <a:pt x="2937" y="853"/>
                    </a:cubicBezTo>
                    <a:cubicBezTo>
                      <a:pt x="2948" y="852"/>
                      <a:pt x="2952" y="864"/>
                      <a:pt x="2952" y="864"/>
                    </a:cubicBezTo>
                    <a:cubicBezTo>
                      <a:pt x="2965" y="849"/>
                      <a:pt x="2965" y="849"/>
                      <a:pt x="2965" y="849"/>
                    </a:cubicBezTo>
                    <a:cubicBezTo>
                      <a:pt x="2965" y="849"/>
                      <a:pt x="2975" y="861"/>
                      <a:pt x="2980" y="858"/>
                    </a:cubicBezTo>
                    <a:cubicBezTo>
                      <a:pt x="2985" y="856"/>
                      <a:pt x="2979" y="840"/>
                      <a:pt x="2979" y="840"/>
                    </a:cubicBezTo>
                    <a:cubicBezTo>
                      <a:pt x="2989" y="809"/>
                      <a:pt x="2989" y="809"/>
                      <a:pt x="2989" y="809"/>
                    </a:cubicBezTo>
                    <a:cubicBezTo>
                      <a:pt x="2989" y="809"/>
                      <a:pt x="2989" y="836"/>
                      <a:pt x="2997" y="836"/>
                    </a:cubicBezTo>
                    <a:cubicBezTo>
                      <a:pt x="3005" y="836"/>
                      <a:pt x="3009" y="808"/>
                      <a:pt x="3009" y="808"/>
                    </a:cubicBezTo>
                    <a:cubicBezTo>
                      <a:pt x="2995" y="792"/>
                      <a:pt x="2995" y="792"/>
                      <a:pt x="2995" y="792"/>
                    </a:cubicBezTo>
                    <a:cubicBezTo>
                      <a:pt x="3009" y="788"/>
                      <a:pt x="3009" y="788"/>
                      <a:pt x="3009" y="788"/>
                    </a:cubicBezTo>
                    <a:cubicBezTo>
                      <a:pt x="2997" y="778"/>
                      <a:pt x="2997" y="778"/>
                      <a:pt x="2997" y="778"/>
                    </a:cubicBezTo>
                    <a:cubicBezTo>
                      <a:pt x="2999" y="765"/>
                      <a:pt x="2999" y="765"/>
                      <a:pt x="2999" y="765"/>
                    </a:cubicBezTo>
                    <a:cubicBezTo>
                      <a:pt x="2979" y="768"/>
                      <a:pt x="2979" y="768"/>
                      <a:pt x="2979" y="768"/>
                    </a:cubicBezTo>
                    <a:cubicBezTo>
                      <a:pt x="2979" y="757"/>
                      <a:pt x="2979" y="757"/>
                      <a:pt x="2979" y="757"/>
                    </a:cubicBezTo>
                    <a:cubicBezTo>
                      <a:pt x="2964" y="757"/>
                      <a:pt x="2964" y="757"/>
                      <a:pt x="2964" y="757"/>
                    </a:cubicBezTo>
                    <a:cubicBezTo>
                      <a:pt x="2963" y="724"/>
                      <a:pt x="2963" y="724"/>
                      <a:pt x="2963" y="724"/>
                    </a:cubicBezTo>
                    <a:cubicBezTo>
                      <a:pt x="2941" y="725"/>
                      <a:pt x="2941" y="725"/>
                      <a:pt x="2941" y="725"/>
                    </a:cubicBezTo>
                    <a:cubicBezTo>
                      <a:pt x="2941" y="725"/>
                      <a:pt x="2929" y="705"/>
                      <a:pt x="2941" y="702"/>
                    </a:cubicBezTo>
                    <a:cubicBezTo>
                      <a:pt x="2953" y="700"/>
                      <a:pt x="2961" y="717"/>
                      <a:pt x="2969" y="714"/>
                    </a:cubicBezTo>
                    <a:cubicBezTo>
                      <a:pt x="2977" y="712"/>
                      <a:pt x="2976" y="686"/>
                      <a:pt x="2976" y="686"/>
                    </a:cubicBezTo>
                    <a:cubicBezTo>
                      <a:pt x="2991" y="690"/>
                      <a:pt x="2991" y="690"/>
                      <a:pt x="2991" y="690"/>
                    </a:cubicBezTo>
                    <a:cubicBezTo>
                      <a:pt x="3016" y="678"/>
                      <a:pt x="3016" y="678"/>
                      <a:pt x="3016" y="678"/>
                    </a:cubicBezTo>
                    <a:cubicBezTo>
                      <a:pt x="3016" y="678"/>
                      <a:pt x="3017" y="710"/>
                      <a:pt x="3024" y="704"/>
                    </a:cubicBezTo>
                    <a:cubicBezTo>
                      <a:pt x="3031" y="697"/>
                      <a:pt x="3044" y="697"/>
                      <a:pt x="3044" y="697"/>
                    </a:cubicBezTo>
                    <a:cubicBezTo>
                      <a:pt x="3036" y="709"/>
                      <a:pt x="3036" y="709"/>
                      <a:pt x="3036" y="709"/>
                    </a:cubicBezTo>
                    <a:cubicBezTo>
                      <a:pt x="3051" y="710"/>
                      <a:pt x="3051" y="710"/>
                      <a:pt x="3051" y="710"/>
                    </a:cubicBezTo>
                    <a:cubicBezTo>
                      <a:pt x="3044" y="729"/>
                      <a:pt x="3044" y="729"/>
                      <a:pt x="3044" y="729"/>
                    </a:cubicBezTo>
                    <a:cubicBezTo>
                      <a:pt x="3044" y="729"/>
                      <a:pt x="3067" y="770"/>
                      <a:pt x="3083" y="760"/>
                    </a:cubicBezTo>
                    <a:cubicBezTo>
                      <a:pt x="3099" y="749"/>
                      <a:pt x="3101" y="724"/>
                      <a:pt x="3101" y="724"/>
                    </a:cubicBezTo>
                    <a:cubicBezTo>
                      <a:pt x="3108" y="714"/>
                      <a:pt x="3108" y="714"/>
                      <a:pt x="3108" y="714"/>
                    </a:cubicBezTo>
                    <a:cubicBezTo>
                      <a:pt x="3108" y="714"/>
                      <a:pt x="3127" y="730"/>
                      <a:pt x="3140" y="721"/>
                    </a:cubicBezTo>
                    <a:cubicBezTo>
                      <a:pt x="3153" y="712"/>
                      <a:pt x="3152" y="694"/>
                      <a:pt x="3152" y="694"/>
                    </a:cubicBezTo>
                    <a:cubicBezTo>
                      <a:pt x="3152" y="694"/>
                      <a:pt x="3187" y="704"/>
                      <a:pt x="3201" y="688"/>
                    </a:cubicBezTo>
                    <a:cubicBezTo>
                      <a:pt x="3216" y="672"/>
                      <a:pt x="3177" y="661"/>
                      <a:pt x="3172" y="665"/>
                    </a:cubicBezTo>
                    <a:close/>
                    <a:moveTo>
                      <a:pt x="2983" y="872"/>
                    </a:moveTo>
                    <a:cubicBezTo>
                      <a:pt x="2963" y="876"/>
                      <a:pt x="2963" y="876"/>
                      <a:pt x="2963" y="876"/>
                    </a:cubicBezTo>
                    <a:cubicBezTo>
                      <a:pt x="2960" y="885"/>
                      <a:pt x="2960" y="885"/>
                      <a:pt x="2960" y="885"/>
                    </a:cubicBezTo>
                    <a:cubicBezTo>
                      <a:pt x="2983" y="882"/>
                      <a:pt x="2983" y="882"/>
                      <a:pt x="2983" y="882"/>
                    </a:cubicBezTo>
                    <a:lnTo>
                      <a:pt x="2983" y="872"/>
                    </a:lnTo>
                    <a:close/>
                    <a:moveTo>
                      <a:pt x="2758" y="861"/>
                    </a:moveTo>
                    <a:cubicBezTo>
                      <a:pt x="2746" y="862"/>
                      <a:pt x="2747" y="878"/>
                      <a:pt x="2761" y="878"/>
                    </a:cubicBezTo>
                    <a:cubicBezTo>
                      <a:pt x="2785" y="878"/>
                      <a:pt x="2771" y="859"/>
                      <a:pt x="2758" y="861"/>
                    </a:cubicBezTo>
                    <a:close/>
                    <a:moveTo>
                      <a:pt x="2555" y="832"/>
                    </a:moveTo>
                    <a:cubicBezTo>
                      <a:pt x="2565" y="822"/>
                      <a:pt x="2540" y="818"/>
                      <a:pt x="2540" y="818"/>
                    </a:cubicBezTo>
                    <a:cubicBezTo>
                      <a:pt x="2540" y="818"/>
                      <a:pt x="2540" y="847"/>
                      <a:pt x="2555" y="832"/>
                    </a:cubicBezTo>
                    <a:close/>
                    <a:moveTo>
                      <a:pt x="2800" y="969"/>
                    </a:moveTo>
                    <a:cubicBezTo>
                      <a:pt x="2777" y="971"/>
                      <a:pt x="2777" y="971"/>
                      <a:pt x="2777" y="971"/>
                    </a:cubicBezTo>
                    <a:cubicBezTo>
                      <a:pt x="2801" y="987"/>
                      <a:pt x="2801" y="987"/>
                      <a:pt x="2801" y="987"/>
                    </a:cubicBezTo>
                    <a:cubicBezTo>
                      <a:pt x="2820" y="978"/>
                      <a:pt x="2800" y="969"/>
                      <a:pt x="2800" y="969"/>
                    </a:cubicBezTo>
                    <a:close/>
                    <a:moveTo>
                      <a:pt x="2779" y="582"/>
                    </a:moveTo>
                    <a:cubicBezTo>
                      <a:pt x="2752" y="576"/>
                      <a:pt x="2779" y="594"/>
                      <a:pt x="2779" y="594"/>
                    </a:cubicBezTo>
                    <a:cubicBezTo>
                      <a:pt x="2795" y="592"/>
                      <a:pt x="2807" y="588"/>
                      <a:pt x="2779" y="582"/>
                    </a:cubicBezTo>
                    <a:close/>
                    <a:moveTo>
                      <a:pt x="2779" y="626"/>
                    </a:moveTo>
                    <a:cubicBezTo>
                      <a:pt x="2821" y="624"/>
                      <a:pt x="2821" y="624"/>
                      <a:pt x="2821" y="624"/>
                    </a:cubicBezTo>
                    <a:cubicBezTo>
                      <a:pt x="2821" y="613"/>
                      <a:pt x="2821" y="613"/>
                      <a:pt x="2821" y="613"/>
                    </a:cubicBezTo>
                    <a:cubicBezTo>
                      <a:pt x="2791" y="615"/>
                      <a:pt x="2791" y="615"/>
                      <a:pt x="2791" y="615"/>
                    </a:cubicBezTo>
                    <a:lnTo>
                      <a:pt x="2779" y="626"/>
                    </a:lnTo>
                    <a:close/>
                    <a:moveTo>
                      <a:pt x="3715" y="26"/>
                    </a:moveTo>
                    <a:cubicBezTo>
                      <a:pt x="3713" y="23"/>
                      <a:pt x="3658" y="28"/>
                      <a:pt x="3658" y="28"/>
                    </a:cubicBezTo>
                    <a:cubicBezTo>
                      <a:pt x="3660" y="18"/>
                      <a:pt x="3660" y="18"/>
                      <a:pt x="3660" y="18"/>
                    </a:cubicBezTo>
                    <a:cubicBezTo>
                      <a:pt x="3660" y="18"/>
                      <a:pt x="3625" y="10"/>
                      <a:pt x="3612" y="10"/>
                    </a:cubicBezTo>
                    <a:cubicBezTo>
                      <a:pt x="3599" y="10"/>
                      <a:pt x="3527" y="25"/>
                      <a:pt x="3527" y="25"/>
                    </a:cubicBezTo>
                    <a:cubicBezTo>
                      <a:pt x="3560" y="10"/>
                      <a:pt x="3560" y="10"/>
                      <a:pt x="3560" y="10"/>
                    </a:cubicBezTo>
                    <a:cubicBezTo>
                      <a:pt x="3515" y="12"/>
                      <a:pt x="3515" y="12"/>
                      <a:pt x="3515" y="12"/>
                    </a:cubicBezTo>
                    <a:cubicBezTo>
                      <a:pt x="3515" y="12"/>
                      <a:pt x="3479" y="0"/>
                      <a:pt x="3469" y="2"/>
                    </a:cubicBezTo>
                    <a:cubicBezTo>
                      <a:pt x="3458" y="4"/>
                      <a:pt x="3453" y="15"/>
                      <a:pt x="3453" y="15"/>
                    </a:cubicBezTo>
                    <a:cubicBezTo>
                      <a:pt x="3453" y="15"/>
                      <a:pt x="3427" y="3"/>
                      <a:pt x="3418" y="3"/>
                    </a:cubicBezTo>
                    <a:cubicBezTo>
                      <a:pt x="3409" y="3"/>
                      <a:pt x="3389" y="18"/>
                      <a:pt x="3389" y="18"/>
                    </a:cubicBezTo>
                    <a:cubicBezTo>
                      <a:pt x="3363" y="10"/>
                      <a:pt x="3363" y="10"/>
                      <a:pt x="3363" y="10"/>
                    </a:cubicBezTo>
                    <a:cubicBezTo>
                      <a:pt x="3290" y="7"/>
                      <a:pt x="3290" y="7"/>
                      <a:pt x="3290" y="7"/>
                    </a:cubicBezTo>
                    <a:cubicBezTo>
                      <a:pt x="3308" y="25"/>
                      <a:pt x="3308" y="25"/>
                      <a:pt x="3308" y="25"/>
                    </a:cubicBezTo>
                    <a:cubicBezTo>
                      <a:pt x="3266" y="11"/>
                      <a:pt x="3266" y="11"/>
                      <a:pt x="3266" y="11"/>
                    </a:cubicBezTo>
                    <a:cubicBezTo>
                      <a:pt x="3225" y="18"/>
                      <a:pt x="3225" y="18"/>
                      <a:pt x="3225" y="18"/>
                    </a:cubicBezTo>
                    <a:cubicBezTo>
                      <a:pt x="3225" y="18"/>
                      <a:pt x="3195" y="12"/>
                      <a:pt x="3179" y="12"/>
                    </a:cubicBezTo>
                    <a:cubicBezTo>
                      <a:pt x="3163" y="12"/>
                      <a:pt x="3114" y="24"/>
                      <a:pt x="3114" y="24"/>
                    </a:cubicBezTo>
                    <a:cubicBezTo>
                      <a:pt x="3172" y="42"/>
                      <a:pt x="3172" y="42"/>
                      <a:pt x="3172" y="42"/>
                    </a:cubicBezTo>
                    <a:cubicBezTo>
                      <a:pt x="3114" y="34"/>
                      <a:pt x="3114" y="34"/>
                      <a:pt x="3114" y="34"/>
                    </a:cubicBezTo>
                    <a:cubicBezTo>
                      <a:pt x="3114" y="34"/>
                      <a:pt x="3059" y="23"/>
                      <a:pt x="3034" y="25"/>
                    </a:cubicBezTo>
                    <a:cubicBezTo>
                      <a:pt x="3010" y="28"/>
                      <a:pt x="3018" y="42"/>
                      <a:pt x="3018" y="42"/>
                    </a:cubicBezTo>
                    <a:cubicBezTo>
                      <a:pt x="3018" y="42"/>
                      <a:pt x="2956" y="36"/>
                      <a:pt x="2943" y="36"/>
                    </a:cubicBezTo>
                    <a:cubicBezTo>
                      <a:pt x="2930" y="36"/>
                      <a:pt x="2830" y="46"/>
                      <a:pt x="2826" y="48"/>
                    </a:cubicBezTo>
                    <a:cubicBezTo>
                      <a:pt x="2823" y="50"/>
                      <a:pt x="2849" y="56"/>
                      <a:pt x="2849" y="56"/>
                    </a:cubicBezTo>
                    <a:cubicBezTo>
                      <a:pt x="2905" y="59"/>
                      <a:pt x="2905" y="59"/>
                      <a:pt x="2905" y="59"/>
                    </a:cubicBezTo>
                    <a:cubicBezTo>
                      <a:pt x="2850" y="67"/>
                      <a:pt x="2850" y="67"/>
                      <a:pt x="2850" y="67"/>
                    </a:cubicBezTo>
                    <a:cubicBezTo>
                      <a:pt x="2850" y="67"/>
                      <a:pt x="2870" y="76"/>
                      <a:pt x="2884" y="76"/>
                    </a:cubicBezTo>
                    <a:cubicBezTo>
                      <a:pt x="2898" y="76"/>
                      <a:pt x="2935" y="70"/>
                      <a:pt x="2935" y="70"/>
                    </a:cubicBezTo>
                    <a:cubicBezTo>
                      <a:pt x="2935" y="70"/>
                      <a:pt x="2960" y="62"/>
                      <a:pt x="2978" y="62"/>
                    </a:cubicBezTo>
                    <a:cubicBezTo>
                      <a:pt x="2997" y="62"/>
                      <a:pt x="3040" y="71"/>
                      <a:pt x="3040" y="71"/>
                    </a:cubicBezTo>
                    <a:cubicBezTo>
                      <a:pt x="3040" y="71"/>
                      <a:pt x="2989" y="72"/>
                      <a:pt x="2977" y="73"/>
                    </a:cubicBezTo>
                    <a:cubicBezTo>
                      <a:pt x="2965" y="74"/>
                      <a:pt x="2930" y="87"/>
                      <a:pt x="2930" y="87"/>
                    </a:cubicBezTo>
                    <a:cubicBezTo>
                      <a:pt x="2930" y="87"/>
                      <a:pt x="2958" y="87"/>
                      <a:pt x="2979" y="89"/>
                    </a:cubicBezTo>
                    <a:cubicBezTo>
                      <a:pt x="3001" y="91"/>
                      <a:pt x="3006" y="83"/>
                      <a:pt x="3006" y="83"/>
                    </a:cubicBezTo>
                    <a:cubicBezTo>
                      <a:pt x="3050" y="83"/>
                      <a:pt x="3050" y="83"/>
                      <a:pt x="3050" y="83"/>
                    </a:cubicBezTo>
                    <a:cubicBezTo>
                      <a:pt x="3050" y="83"/>
                      <a:pt x="3064" y="84"/>
                      <a:pt x="3081" y="84"/>
                    </a:cubicBezTo>
                    <a:cubicBezTo>
                      <a:pt x="3098" y="84"/>
                      <a:pt x="3138" y="73"/>
                      <a:pt x="3142" y="70"/>
                    </a:cubicBezTo>
                    <a:cubicBezTo>
                      <a:pt x="3147" y="66"/>
                      <a:pt x="3173" y="63"/>
                      <a:pt x="3186" y="59"/>
                    </a:cubicBezTo>
                    <a:cubicBezTo>
                      <a:pt x="3199" y="54"/>
                      <a:pt x="3220" y="59"/>
                      <a:pt x="3220" y="59"/>
                    </a:cubicBezTo>
                    <a:cubicBezTo>
                      <a:pt x="3162" y="76"/>
                      <a:pt x="3162" y="76"/>
                      <a:pt x="3162" y="76"/>
                    </a:cubicBezTo>
                    <a:cubicBezTo>
                      <a:pt x="3185" y="77"/>
                      <a:pt x="3185" y="77"/>
                      <a:pt x="3185" y="77"/>
                    </a:cubicBezTo>
                    <a:cubicBezTo>
                      <a:pt x="3153" y="87"/>
                      <a:pt x="3153" y="87"/>
                      <a:pt x="3153" y="87"/>
                    </a:cubicBezTo>
                    <a:cubicBezTo>
                      <a:pt x="3153" y="87"/>
                      <a:pt x="3040" y="92"/>
                      <a:pt x="3027" y="92"/>
                    </a:cubicBezTo>
                    <a:cubicBezTo>
                      <a:pt x="3014" y="92"/>
                      <a:pt x="3014" y="104"/>
                      <a:pt x="3014" y="104"/>
                    </a:cubicBezTo>
                    <a:cubicBezTo>
                      <a:pt x="3065" y="119"/>
                      <a:pt x="3065" y="119"/>
                      <a:pt x="3065" y="119"/>
                    </a:cubicBezTo>
                    <a:cubicBezTo>
                      <a:pt x="3065" y="119"/>
                      <a:pt x="3045" y="125"/>
                      <a:pt x="3033" y="125"/>
                    </a:cubicBezTo>
                    <a:cubicBezTo>
                      <a:pt x="3022" y="125"/>
                      <a:pt x="2974" y="99"/>
                      <a:pt x="2974" y="99"/>
                    </a:cubicBezTo>
                    <a:cubicBezTo>
                      <a:pt x="2974" y="99"/>
                      <a:pt x="2925" y="100"/>
                      <a:pt x="2912" y="100"/>
                    </a:cubicBezTo>
                    <a:cubicBezTo>
                      <a:pt x="2899" y="100"/>
                      <a:pt x="2891" y="115"/>
                      <a:pt x="2891" y="115"/>
                    </a:cubicBezTo>
                    <a:cubicBezTo>
                      <a:pt x="2912" y="126"/>
                      <a:pt x="2912" y="126"/>
                      <a:pt x="2912" y="126"/>
                    </a:cubicBezTo>
                    <a:cubicBezTo>
                      <a:pt x="2912" y="126"/>
                      <a:pt x="2923" y="142"/>
                      <a:pt x="2940" y="145"/>
                    </a:cubicBezTo>
                    <a:cubicBezTo>
                      <a:pt x="2956" y="148"/>
                      <a:pt x="2989" y="144"/>
                      <a:pt x="2989" y="144"/>
                    </a:cubicBezTo>
                    <a:cubicBezTo>
                      <a:pt x="2989" y="144"/>
                      <a:pt x="2981" y="153"/>
                      <a:pt x="2964" y="155"/>
                    </a:cubicBezTo>
                    <a:cubicBezTo>
                      <a:pt x="2948" y="157"/>
                      <a:pt x="2917" y="151"/>
                      <a:pt x="2909" y="149"/>
                    </a:cubicBezTo>
                    <a:cubicBezTo>
                      <a:pt x="2902" y="147"/>
                      <a:pt x="2846" y="157"/>
                      <a:pt x="2828" y="157"/>
                    </a:cubicBezTo>
                    <a:cubicBezTo>
                      <a:pt x="2809" y="157"/>
                      <a:pt x="2774" y="182"/>
                      <a:pt x="2774" y="182"/>
                    </a:cubicBezTo>
                    <a:cubicBezTo>
                      <a:pt x="2823" y="174"/>
                      <a:pt x="2823" y="174"/>
                      <a:pt x="2823" y="174"/>
                    </a:cubicBezTo>
                    <a:cubicBezTo>
                      <a:pt x="2821" y="186"/>
                      <a:pt x="2821" y="186"/>
                      <a:pt x="2821" y="186"/>
                    </a:cubicBezTo>
                    <a:cubicBezTo>
                      <a:pt x="2863" y="174"/>
                      <a:pt x="2863" y="174"/>
                      <a:pt x="2863" y="174"/>
                    </a:cubicBezTo>
                    <a:cubicBezTo>
                      <a:pt x="2816" y="192"/>
                      <a:pt x="2816" y="192"/>
                      <a:pt x="2816" y="192"/>
                    </a:cubicBezTo>
                    <a:cubicBezTo>
                      <a:pt x="2816" y="192"/>
                      <a:pt x="2824" y="203"/>
                      <a:pt x="2840" y="203"/>
                    </a:cubicBezTo>
                    <a:cubicBezTo>
                      <a:pt x="2857" y="203"/>
                      <a:pt x="2902" y="186"/>
                      <a:pt x="2902" y="186"/>
                    </a:cubicBezTo>
                    <a:cubicBezTo>
                      <a:pt x="2834" y="212"/>
                      <a:pt x="2834" y="212"/>
                      <a:pt x="2834" y="212"/>
                    </a:cubicBezTo>
                    <a:cubicBezTo>
                      <a:pt x="2789" y="209"/>
                      <a:pt x="2789" y="209"/>
                      <a:pt x="2789" y="209"/>
                    </a:cubicBezTo>
                    <a:cubicBezTo>
                      <a:pt x="2780" y="192"/>
                      <a:pt x="2780" y="192"/>
                      <a:pt x="2780" y="192"/>
                    </a:cubicBezTo>
                    <a:cubicBezTo>
                      <a:pt x="2780" y="192"/>
                      <a:pt x="2747" y="189"/>
                      <a:pt x="2737" y="191"/>
                    </a:cubicBezTo>
                    <a:cubicBezTo>
                      <a:pt x="2727" y="193"/>
                      <a:pt x="2741" y="218"/>
                      <a:pt x="2741" y="218"/>
                    </a:cubicBezTo>
                    <a:cubicBezTo>
                      <a:pt x="2741" y="218"/>
                      <a:pt x="2697" y="222"/>
                      <a:pt x="2691" y="222"/>
                    </a:cubicBezTo>
                    <a:cubicBezTo>
                      <a:pt x="2684" y="222"/>
                      <a:pt x="2654" y="237"/>
                      <a:pt x="2634" y="239"/>
                    </a:cubicBezTo>
                    <a:cubicBezTo>
                      <a:pt x="2622" y="240"/>
                      <a:pt x="2613" y="241"/>
                      <a:pt x="2610" y="241"/>
                    </a:cubicBezTo>
                    <a:cubicBezTo>
                      <a:pt x="2607" y="241"/>
                      <a:pt x="2626" y="247"/>
                      <a:pt x="2641" y="247"/>
                    </a:cubicBezTo>
                    <a:cubicBezTo>
                      <a:pt x="2656" y="247"/>
                      <a:pt x="2663" y="240"/>
                      <a:pt x="2663" y="240"/>
                    </a:cubicBezTo>
                    <a:cubicBezTo>
                      <a:pt x="2655" y="252"/>
                      <a:pt x="2655" y="252"/>
                      <a:pt x="2655" y="252"/>
                    </a:cubicBezTo>
                    <a:cubicBezTo>
                      <a:pt x="2680" y="247"/>
                      <a:pt x="2680" y="247"/>
                      <a:pt x="2680" y="247"/>
                    </a:cubicBezTo>
                    <a:cubicBezTo>
                      <a:pt x="2695" y="240"/>
                      <a:pt x="2695" y="240"/>
                      <a:pt x="2695" y="240"/>
                    </a:cubicBezTo>
                    <a:cubicBezTo>
                      <a:pt x="2695" y="248"/>
                      <a:pt x="2695" y="248"/>
                      <a:pt x="2695" y="248"/>
                    </a:cubicBezTo>
                    <a:cubicBezTo>
                      <a:pt x="2712" y="246"/>
                      <a:pt x="2712" y="246"/>
                      <a:pt x="2712" y="246"/>
                    </a:cubicBezTo>
                    <a:cubicBezTo>
                      <a:pt x="2728" y="244"/>
                      <a:pt x="2728" y="244"/>
                      <a:pt x="2728" y="244"/>
                    </a:cubicBezTo>
                    <a:cubicBezTo>
                      <a:pt x="2728" y="244"/>
                      <a:pt x="2729" y="253"/>
                      <a:pt x="2740" y="254"/>
                    </a:cubicBezTo>
                    <a:cubicBezTo>
                      <a:pt x="2751" y="255"/>
                      <a:pt x="2773" y="241"/>
                      <a:pt x="2773" y="241"/>
                    </a:cubicBezTo>
                    <a:cubicBezTo>
                      <a:pt x="2778" y="250"/>
                      <a:pt x="2778" y="250"/>
                      <a:pt x="2778" y="250"/>
                    </a:cubicBezTo>
                    <a:cubicBezTo>
                      <a:pt x="2796" y="240"/>
                      <a:pt x="2796" y="240"/>
                      <a:pt x="2796" y="240"/>
                    </a:cubicBezTo>
                    <a:cubicBezTo>
                      <a:pt x="2796" y="240"/>
                      <a:pt x="2802" y="248"/>
                      <a:pt x="2810" y="251"/>
                    </a:cubicBezTo>
                    <a:cubicBezTo>
                      <a:pt x="2819" y="253"/>
                      <a:pt x="2828" y="242"/>
                      <a:pt x="2828" y="242"/>
                    </a:cubicBezTo>
                    <a:cubicBezTo>
                      <a:pt x="2828" y="242"/>
                      <a:pt x="2837" y="250"/>
                      <a:pt x="2850" y="250"/>
                    </a:cubicBezTo>
                    <a:cubicBezTo>
                      <a:pt x="2863" y="250"/>
                      <a:pt x="2853" y="238"/>
                      <a:pt x="2853" y="238"/>
                    </a:cubicBezTo>
                    <a:cubicBezTo>
                      <a:pt x="2891" y="252"/>
                      <a:pt x="2891" y="252"/>
                      <a:pt x="2891" y="252"/>
                    </a:cubicBezTo>
                    <a:cubicBezTo>
                      <a:pt x="2891" y="252"/>
                      <a:pt x="2898" y="261"/>
                      <a:pt x="2902" y="261"/>
                    </a:cubicBezTo>
                    <a:cubicBezTo>
                      <a:pt x="2906" y="261"/>
                      <a:pt x="2964" y="248"/>
                      <a:pt x="2975" y="248"/>
                    </a:cubicBezTo>
                    <a:cubicBezTo>
                      <a:pt x="2986" y="248"/>
                      <a:pt x="3011" y="238"/>
                      <a:pt x="3015" y="231"/>
                    </a:cubicBezTo>
                    <a:cubicBezTo>
                      <a:pt x="3019" y="225"/>
                      <a:pt x="2973" y="230"/>
                      <a:pt x="2973" y="230"/>
                    </a:cubicBezTo>
                    <a:cubicBezTo>
                      <a:pt x="2973" y="230"/>
                      <a:pt x="2982" y="223"/>
                      <a:pt x="2975" y="220"/>
                    </a:cubicBezTo>
                    <a:cubicBezTo>
                      <a:pt x="2969" y="218"/>
                      <a:pt x="2943" y="220"/>
                      <a:pt x="2943" y="220"/>
                    </a:cubicBezTo>
                    <a:cubicBezTo>
                      <a:pt x="2905" y="214"/>
                      <a:pt x="2905" y="214"/>
                      <a:pt x="2905" y="214"/>
                    </a:cubicBezTo>
                    <a:cubicBezTo>
                      <a:pt x="2917" y="201"/>
                      <a:pt x="2917" y="201"/>
                      <a:pt x="2917" y="201"/>
                    </a:cubicBezTo>
                    <a:cubicBezTo>
                      <a:pt x="2959" y="215"/>
                      <a:pt x="2959" y="215"/>
                      <a:pt x="2959" y="215"/>
                    </a:cubicBezTo>
                    <a:cubicBezTo>
                      <a:pt x="2959" y="215"/>
                      <a:pt x="3014" y="212"/>
                      <a:pt x="3034" y="211"/>
                    </a:cubicBezTo>
                    <a:cubicBezTo>
                      <a:pt x="3055" y="210"/>
                      <a:pt x="3050" y="192"/>
                      <a:pt x="3050" y="192"/>
                    </a:cubicBezTo>
                    <a:cubicBezTo>
                      <a:pt x="3050" y="192"/>
                      <a:pt x="3075" y="187"/>
                      <a:pt x="3094" y="187"/>
                    </a:cubicBezTo>
                    <a:cubicBezTo>
                      <a:pt x="3112" y="187"/>
                      <a:pt x="3150" y="178"/>
                      <a:pt x="3150" y="178"/>
                    </a:cubicBezTo>
                    <a:cubicBezTo>
                      <a:pt x="3132" y="167"/>
                      <a:pt x="3132" y="167"/>
                      <a:pt x="3132" y="167"/>
                    </a:cubicBezTo>
                    <a:cubicBezTo>
                      <a:pt x="3132" y="167"/>
                      <a:pt x="3155" y="167"/>
                      <a:pt x="3180" y="161"/>
                    </a:cubicBezTo>
                    <a:cubicBezTo>
                      <a:pt x="3205" y="156"/>
                      <a:pt x="3147" y="146"/>
                      <a:pt x="3147" y="146"/>
                    </a:cubicBezTo>
                    <a:cubicBezTo>
                      <a:pt x="3147" y="146"/>
                      <a:pt x="3115" y="147"/>
                      <a:pt x="3104" y="143"/>
                    </a:cubicBezTo>
                    <a:cubicBezTo>
                      <a:pt x="3094" y="139"/>
                      <a:pt x="3152" y="125"/>
                      <a:pt x="3155" y="126"/>
                    </a:cubicBezTo>
                    <a:cubicBezTo>
                      <a:pt x="3158" y="127"/>
                      <a:pt x="3200" y="131"/>
                      <a:pt x="3200" y="131"/>
                    </a:cubicBezTo>
                    <a:cubicBezTo>
                      <a:pt x="3200" y="131"/>
                      <a:pt x="3248" y="129"/>
                      <a:pt x="3263" y="126"/>
                    </a:cubicBezTo>
                    <a:cubicBezTo>
                      <a:pt x="3278" y="122"/>
                      <a:pt x="3229" y="120"/>
                      <a:pt x="3247" y="113"/>
                    </a:cubicBezTo>
                    <a:cubicBezTo>
                      <a:pt x="3264" y="105"/>
                      <a:pt x="3296" y="119"/>
                      <a:pt x="3316" y="119"/>
                    </a:cubicBezTo>
                    <a:cubicBezTo>
                      <a:pt x="3335" y="119"/>
                      <a:pt x="3328" y="102"/>
                      <a:pt x="3328" y="102"/>
                    </a:cubicBezTo>
                    <a:cubicBezTo>
                      <a:pt x="3376" y="105"/>
                      <a:pt x="3376" y="105"/>
                      <a:pt x="3376" y="105"/>
                    </a:cubicBezTo>
                    <a:cubicBezTo>
                      <a:pt x="3379" y="91"/>
                      <a:pt x="3379" y="91"/>
                      <a:pt x="3379" y="91"/>
                    </a:cubicBezTo>
                    <a:cubicBezTo>
                      <a:pt x="3379" y="91"/>
                      <a:pt x="3392" y="95"/>
                      <a:pt x="3401" y="95"/>
                    </a:cubicBezTo>
                    <a:cubicBezTo>
                      <a:pt x="3409" y="95"/>
                      <a:pt x="3440" y="83"/>
                      <a:pt x="3440" y="83"/>
                    </a:cubicBezTo>
                    <a:cubicBezTo>
                      <a:pt x="3440" y="83"/>
                      <a:pt x="3499" y="73"/>
                      <a:pt x="3531" y="67"/>
                    </a:cubicBezTo>
                    <a:cubicBezTo>
                      <a:pt x="3564" y="62"/>
                      <a:pt x="3567" y="57"/>
                      <a:pt x="3562" y="57"/>
                    </a:cubicBezTo>
                    <a:cubicBezTo>
                      <a:pt x="3558" y="57"/>
                      <a:pt x="3491" y="60"/>
                      <a:pt x="3491" y="60"/>
                    </a:cubicBezTo>
                    <a:cubicBezTo>
                      <a:pt x="3474" y="67"/>
                      <a:pt x="3474" y="67"/>
                      <a:pt x="3474" y="67"/>
                    </a:cubicBezTo>
                    <a:cubicBezTo>
                      <a:pt x="3428" y="64"/>
                      <a:pt x="3428" y="64"/>
                      <a:pt x="3428" y="64"/>
                    </a:cubicBezTo>
                    <a:cubicBezTo>
                      <a:pt x="3481" y="61"/>
                      <a:pt x="3481" y="61"/>
                      <a:pt x="3481" y="61"/>
                    </a:cubicBezTo>
                    <a:cubicBezTo>
                      <a:pt x="3479" y="52"/>
                      <a:pt x="3479" y="52"/>
                      <a:pt x="3479" y="52"/>
                    </a:cubicBezTo>
                    <a:cubicBezTo>
                      <a:pt x="3512" y="57"/>
                      <a:pt x="3512" y="57"/>
                      <a:pt x="3512" y="57"/>
                    </a:cubicBezTo>
                    <a:cubicBezTo>
                      <a:pt x="3512" y="57"/>
                      <a:pt x="3517" y="49"/>
                      <a:pt x="3526" y="49"/>
                    </a:cubicBezTo>
                    <a:cubicBezTo>
                      <a:pt x="3534" y="49"/>
                      <a:pt x="3635" y="45"/>
                      <a:pt x="3653" y="44"/>
                    </a:cubicBezTo>
                    <a:cubicBezTo>
                      <a:pt x="3671" y="43"/>
                      <a:pt x="3718" y="30"/>
                      <a:pt x="3715" y="26"/>
                    </a:cubicBezTo>
                    <a:close/>
                    <a:moveTo>
                      <a:pt x="2687" y="644"/>
                    </a:moveTo>
                    <a:cubicBezTo>
                      <a:pt x="2722" y="650"/>
                      <a:pt x="2732" y="643"/>
                      <a:pt x="2747" y="633"/>
                    </a:cubicBezTo>
                    <a:cubicBezTo>
                      <a:pt x="2763" y="624"/>
                      <a:pt x="2759" y="608"/>
                      <a:pt x="2745" y="604"/>
                    </a:cubicBezTo>
                    <a:cubicBezTo>
                      <a:pt x="2731" y="601"/>
                      <a:pt x="2698" y="610"/>
                      <a:pt x="2698" y="610"/>
                    </a:cubicBezTo>
                    <a:cubicBezTo>
                      <a:pt x="2660" y="634"/>
                      <a:pt x="2652" y="639"/>
                      <a:pt x="2687" y="644"/>
                    </a:cubicBezTo>
                    <a:close/>
                    <a:moveTo>
                      <a:pt x="2674" y="560"/>
                    </a:moveTo>
                    <a:cubicBezTo>
                      <a:pt x="2658" y="565"/>
                      <a:pt x="2633" y="576"/>
                      <a:pt x="2657" y="571"/>
                    </a:cubicBezTo>
                    <a:cubicBezTo>
                      <a:pt x="2680" y="566"/>
                      <a:pt x="2700" y="558"/>
                      <a:pt x="2700" y="558"/>
                    </a:cubicBezTo>
                    <a:cubicBezTo>
                      <a:pt x="2724" y="540"/>
                      <a:pt x="2690" y="555"/>
                      <a:pt x="2674" y="560"/>
                    </a:cubicBezTo>
                    <a:close/>
                    <a:moveTo>
                      <a:pt x="2747" y="549"/>
                    </a:moveTo>
                    <a:cubicBezTo>
                      <a:pt x="2733" y="543"/>
                      <a:pt x="2722" y="562"/>
                      <a:pt x="2735" y="566"/>
                    </a:cubicBezTo>
                    <a:cubicBezTo>
                      <a:pt x="2735" y="566"/>
                      <a:pt x="2761" y="555"/>
                      <a:pt x="2747" y="549"/>
                    </a:cubicBezTo>
                    <a:close/>
                    <a:moveTo>
                      <a:pt x="2349" y="710"/>
                    </a:moveTo>
                    <a:cubicBezTo>
                      <a:pt x="2337" y="712"/>
                      <a:pt x="2327" y="729"/>
                      <a:pt x="2346" y="729"/>
                    </a:cubicBezTo>
                    <a:cubicBezTo>
                      <a:pt x="2357" y="729"/>
                      <a:pt x="2362" y="708"/>
                      <a:pt x="2349" y="710"/>
                    </a:cubicBezTo>
                    <a:close/>
                    <a:moveTo>
                      <a:pt x="2390" y="712"/>
                    </a:moveTo>
                    <a:cubicBezTo>
                      <a:pt x="2374" y="710"/>
                      <a:pt x="2385" y="727"/>
                      <a:pt x="2385" y="727"/>
                    </a:cubicBezTo>
                    <a:cubicBezTo>
                      <a:pt x="2396" y="726"/>
                      <a:pt x="2405" y="713"/>
                      <a:pt x="2390" y="712"/>
                    </a:cubicBezTo>
                    <a:close/>
                    <a:moveTo>
                      <a:pt x="2500" y="829"/>
                    </a:moveTo>
                    <a:cubicBezTo>
                      <a:pt x="2477" y="841"/>
                      <a:pt x="2509" y="849"/>
                      <a:pt x="2509" y="849"/>
                    </a:cubicBezTo>
                    <a:cubicBezTo>
                      <a:pt x="2532" y="836"/>
                      <a:pt x="2524" y="816"/>
                      <a:pt x="2500" y="829"/>
                    </a:cubicBezTo>
                    <a:close/>
                    <a:moveTo>
                      <a:pt x="2653" y="1691"/>
                    </a:moveTo>
                    <a:cubicBezTo>
                      <a:pt x="2633" y="1687"/>
                      <a:pt x="2622" y="1678"/>
                      <a:pt x="2622" y="1678"/>
                    </a:cubicBezTo>
                    <a:cubicBezTo>
                      <a:pt x="2612" y="1687"/>
                      <a:pt x="2612" y="1687"/>
                      <a:pt x="2612" y="1687"/>
                    </a:cubicBezTo>
                    <a:cubicBezTo>
                      <a:pt x="2612" y="1687"/>
                      <a:pt x="2629" y="1696"/>
                      <a:pt x="2633" y="1699"/>
                    </a:cubicBezTo>
                    <a:cubicBezTo>
                      <a:pt x="2637" y="1702"/>
                      <a:pt x="2656" y="1701"/>
                      <a:pt x="2656" y="1701"/>
                    </a:cubicBezTo>
                    <a:cubicBezTo>
                      <a:pt x="2656" y="1701"/>
                      <a:pt x="2666" y="1706"/>
                      <a:pt x="2676" y="1705"/>
                    </a:cubicBezTo>
                    <a:cubicBezTo>
                      <a:pt x="2687" y="1704"/>
                      <a:pt x="2691" y="1693"/>
                      <a:pt x="2691" y="1693"/>
                    </a:cubicBezTo>
                    <a:cubicBezTo>
                      <a:pt x="2691" y="1693"/>
                      <a:pt x="2674" y="1695"/>
                      <a:pt x="2653" y="1691"/>
                    </a:cubicBezTo>
                    <a:close/>
                    <a:moveTo>
                      <a:pt x="2731" y="1524"/>
                    </a:moveTo>
                    <a:cubicBezTo>
                      <a:pt x="2731" y="1524"/>
                      <a:pt x="2698" y="1516"/>
                      <a:pt x="2671" y="1515"/>
                    </a:cubicBezTo>
                    <a:cubicBezTo>
                      <a:pt x="2644" y="1514"/>
                      <a:pt x="2686" y="1526"/>
                      <a:pt x="2686" y="1526"/>
                    </a:cubicBezTo>
                    <a:cubicBezTo>
                      <a:pt x="2686" y="1536"/>
                      <a:pt x="2686" y="1536"/>
                      <a:pt x="2686" y="1536"/>
                    </a:cubicBezTo>
                    <a:cubicBezTo>
                      <a:pt x="2686" y="1536"/>
                      <a:pt x="2719" y="1541"/>
                      <a:pt x="2748" y="1546"/>
                    </a:cubicBezTo>
                    <a:cubicBezTo>
                      <a:pt x="2777" y="1551"/>
                      <a:pt x="2804" y="1540"/>
                      <a:pt x="2731" y="1524"/>
                    </a:cubicBezTo>
                    <a:close/>
                    <a:moveTo>
                      <a:pt x="2793" y="1702"/>
                    </a:moveTo>
                    <a:cubicBezTo>
                      <a:pt x="2780" y="1699"/>
                      <a:pt x="2766" y="1706"/>
                      <a:pt x="2761" y="1709"/>
                    </a:cubicBezTo>
                    <a:cubicBezTo>
                      <a:pt x="2765" y="1706"/>
                      <a:pt x="2774" y="1700"/>
                      <a:pt x="2783" y="1690"/>
                    </a:cubicBezTo>
                    <a:cubicBezTo>
                      <a:pt x="2795" y="1677"/>
                      <a:pt x="2764" y="1676"/>
                      <a:pt x="2750" y="1692"/>
                    </a:cubicBezTo>
                    <a:cubicBezTo>
                      <a:pt x="2744" y="1706"/>
                      <a:pt x="2744" y="1706"/>
                      <a:pt x="2744" y="1706"/>
                    </a:cubicBezTo>
                    <a:cubicBezTo>
                      <a:pt x="2736" y="1720"/>
                      <a:pt x="2736" y="1720"/>
                      <a:pt x="2736" y="1720"/>
                    </a:cubicBezTo>
                    <a:cubicBezTo>
                      <a:pt x="2773" y="1715"/>
                      <a:pt x="2773" y="1715"/>
                      <a:pt x="2773" y="1715"/>
                    </a:cubicBezTo>
                    <a:cubicBezTo>
                      <a:pt x="2773" y="1715"/>
                      <a:pt x="2810" y="1706"/>
                      <a:pt x="2793" y="1702"/>
                    </a:cubicBezTo>
                    <a:close/>
                    <a:moveTo>
                      <a:pt x="3058" y="1312"/>
                    </a:moveTo>
                    <a:cubicBezTo>
                      <a:pt x="3051" y="1320"/>
                      <a:pt x="3052" y="1335"/>
                      <a:pt x="3037" y="1324"/>
                    </a:cubicBezTo>
                    <a:cubicBezTo>
                      <a:pt x="3022" y="1313"/>
                      <a:pt x="3046" y="1306"/>
                      <a:pt x="3046" y="1306"/>
                    </a:cubicBezTo>
                    <a:cubicBezTo>
                      <a:pt x="3043" y="1289"/>
                      <a:pt x="3043" y="1289"/>
                      <a:pt x="3043" y="1289"/>
                    </a:cubicBezTo>
                    <a:cubicBezTo>
                      <a:pt x="3023" y="1288"/>
                      <a:pt x="3023" y="1288"/>
                      <a:pt x="3023" y="1288"/>
                    </a:cubicBezTo>
                    <a:cubicBezTo>
                      <a:pt x="3023" y="1288"/>
                      <a:pt x="2977" y="1308"/>
                      <a:pt x="2974" y="1312"/>
                    </a:cubicBezTo>
                    <a:cubicBezTo>
                      <a:pt x="2971" y="1316"/>
                      <a:pt x="2935" y="1320"/>
                      <a:pt x="2935" y="1320"/>
                    </a:cubicBezTo>
                    <a:cubicBezTo>
                      <a:pt x="2914" y="1334"/>
                      <a:pt x="2914" y="1334"/>
                      <a:pt x="2914" y="1334"/>
                    </a:cubicBezTo>
                    <a:cubicBezTo>
                      <a:pt x="2922" y="1319"/>
                      <a:pt x="2922" y="1319"/>
                      <a:pt x="2922" y="1319"/>
                    </a:cubicBezTo>
                    <a:cubicBezTo>
                      <a:pt x="2907" y="1308"/>
                      <a:pt x="2907" y="1308"/>
                      <a:pt x="2907" y="1308"/>
                    </a:cubicBezTo>
                    <a:cubicBezTo>
                      <a:pt x="2930" y="1313"/>
                      <a:pt x="2930" y="1313"/>
                      <a:pt x="2930" y="1313"/>
                    </a:cubicBezTo>
                    <a:cubicBezTo>
                      <a:pt x="2940" y="1305"/>
                      <a:pt x="2940" y="1305"/>
                      <a:pt x="2940" y="1305"/>
                    </a:cubicBezTo>
                    <a:cubicBezTo>
                      <a:pt x="2958" y="1304"/>
                      <a:pt x="2958" y="1304"/>
                      <a:pt x="2958" y="1304"/>
                    </a:cubicBezTo>
                    <a:cubicBezTo>
                      <a:pt x="2960" y="1291"/>
                      <a:pt x="2960" y="1291"/>
                      <a:pt x="2960" y="1291"/>
                    </a:cubicBezTo>
                    <a:cubicBezTo>
                      <a:pt x="2960" y="1291"/>
                      <a:pt x="2981" y="1294"/>
                      <a:pt x="2993" y="1289"/>
                    </a:cubicBezTo>
                    <a:cubicBezTo>
                      <a:pt x="3005" y="1284"/>
                      <a:pt x="3022" y="1275"/>
                      <a:pt x="3022" y="1275"/>
                    </a:cubicBezTo>
                    <a:cubicBezTo>
                      <a:pt x="3022" y="1275"/>
                      <a:pt x="3070" y="1280"/>
                      <a:pt x="3069" y="1275"/>
                    </a:cubicBezTo>
                    <a:cubicBezTo>
                      <a:pt x="3068" y="1270"/>
                      <a:pt x="3050" y="1262"/>
                      <a:pt x="3050" y="1262"/>
                    </a:cubicBezTo>
                    <a:cubicBezTo>
                      <a:pt x="3049" y="1246"/>
                      <a:pt x="3049" y="1246"/>
                      <a:pt x="3049" y="1246"/>
                    </a:cubicBezTo>
                    <a:cubicBezTo>
                      <a:pt x="3049" y="1246"/>
                      <a:pt x="3021" y="1255"/>
                      <a:pt x="3015" y="1254"/>
                    </a:cubicBezTo>
                    <a:cubicBezTo>
                      <a:pt x="3009" y="1253"/>
                      <a:pt x="3007" y="1241"/>
                      <a:pt x="3007" y="1241"/>
                    </a:cubicBezTo>
                    <a:cubicBezTo>
                      <a:pt x="2967" y="1253"/>
                      <a:pt x="2967" y="1253"/>
                      <a:pt x="2967" y="1253"/>
                    </a:cubicBezTo>
                    <a:cubicBezTo>
                      <a:pt x="2969" y="1233"/>
                      <a:pt x="2969" y="1233"/>
                      <a:pt x="2969" y="1233"/>
                    </a:cubicBezTo>
                    <a:cubicBezTo>
                      <a:pt x="2940" y="1243"/>
                      <a:pt x="2940" y="1243"/>
                      <a:pt x="2940" y="1243"/>
                    </a:cubicBezTo>
                    <a:cubicBezTo>
                      <a:pt x="2940" y="1243"/>
                      <a:pt x="2971" y="1208"/>
                      <a:pt x="2963" y="1204"/>
                    </a:cubicBezTo>
                    <a:cubicBezTo>
                      <a:pt x="2955" y="1200"/>
                      <a:pt x="2930" y="1200"/>
                      <a:pt x="2930" y="1200"/>
                    </a:cubicBezTo>
                    <a:cubicBezTo>
                      <a:pt x="2933" y="1184"/>
                      <a:pt x="2933" y="1184"/>
                      <a:pt x="2933" y="1184"/>
                    </a:cubicBezTo>
                    <a:cubicBezTo>
                      <a:pt x="2911" y="1184"/>
                      <a:pt x="2911" y="1184"/>
                      <a:pt x="2911" y="1184"/>
                    </a:cubicBezTo>
                    <a:cubicBezTo>
                      <a:pt x="2920" y="1170"/>
                      <a:pt x="2920" y="1170"/>
                      <a:pt x="2920" y="1170"/>
                    </a:cubicBezTo>
                    <a:cubicBezTo>
                      <a:pt x="2902" y="1154"/>
                      <a:pt x="2902" y="1154"/>
                      <a:pt x="2902" y="1154"/>
                    </a:cubicBezTo>
                    <a:cubicBezTo>
                      <a:pt x="2902" y="1154"/>
                      <a:pt x="2932" y="1161"/>
                      <a:pt x="2940" y="1155"/>
                    </a:cubicBezTo>
                    <a:cubicBezTo>
                      <a:pt x="2948" y="1149"/>
                      <a:pt x="2959" y="1144"/>
                      <a:pt x="2959" y="1144"/>
                    </a:cubicBezTo>
                    <a:cubicBezTo>
                      <a:pt x="2929" y="1126"/>
                      <a:pt x="2929" y="1126"/>
                      <a:pt x="2929" y="1126"/>
                    </a:cubicBezTo>
                    <a:cubicBezTo>
                      <a:pt x="2962" y="1107"/>
                      <a:pt x="2962" y="1107"/>
                      <a:pt x="2962" y="1107"/>
                    </a:cubicBezTo>
                    <a:cubicBezTo>
                      <a:pt x="2929" y="1092"/>
                      <a:pt x="2929" y="1092"/>
                      <a:pt x="2929" y="1092"/>
                    </a:cubicBezTo>
                    <a:cubicBezTo>
                      <a:pt x="2899" y="1093"/>
                      <a:pt x="2899" y="1093"/>
                      <a:pt x="2899" y="1093"/>
                    </a:cubicBezTo>
                    <a:cubicBezTo>
                      <a:pt x="2935" y="1080"/>
                      <a:pt x="2935" y="1080"/>
                      <a:pt x="2935" y="1080"/>
                    </a:cubicBezTo>
                    <a:cubicBezTo>
                      <a:pt x="2910" y="1074"/>
                      <a:pt x="2910" y="1074"/>
                      <a:pt x="2910" y="1074"/>
                    </a:cubicBezTo>
                    <a:cubicBezTo>
                      <a:pt x="2940" y="1060"/>
                      <a:pt x="2940" y="1060"/>
                      <a:pt x="2940" y="1060"/>
                    </a:cubicBezTo>
                    <a:cubicBezTo>
                      <a:pt x="2935" y="1044"/>
                      <a:pt x="2935" y="1044"/>
                      <a:pt x="2935" y="1044"/>
                    </a:cubicBezTo>
                    <a:cubicBezTo>
                      <a:pt x="2913" y="1042"/>
                      <a:pt x="2913" y="1042"/>
                      <a:pt x="2913" y="1042"/>
                    </a:cubicBezTo>
                    <a:cubicBezTo>
                      <a:pt x="2913" y="1042"/>
                      <a:pt x="2931" y="1032"/>
                      <a:pt x="2923" y="1013"/>
                    </a:cubicBezTo>
                    <a:cubicBezTo>
                      <a:pt x="2915" y="994"/>
                      <a:pt x="2907" y="997"/>
                      <a:pt x="2907" y="997"/>
                    </a:cubicBezTo>
                    <a:cubicBezTo>
                      <a:pt x="2916" y="983"/>
                      <a:pt x="2916" y="983"/>
                      <a:pt x="2916" y="983"/>
                    </a:cubicBezTo>
                    <a:cubicBezTo>
                      <a:pt x="2916" y="983"/>
                      <a:pt x="2892" y="994"/>
                      <a:pt x="2887" y="1001"/>
                    </a:cubicBezTo>
                    <a:cubicBezTo>
                      <a:pt x="2882" y="1008"/>
                      <a:pt x="2886" y="1014"/>
                      <a:pt x="2886" y="1014"/>
                    </a:cubicBezTo>
                    <a:cubicBezTo>
                      <a:pt x="2867" y="1008"/>
                      <a:pt x="2867" y="1008"/>
                      <a:pt x="2867" y="1008"/>
                    </a:cubicBezTo>
                    <a:cubicBezTo>
                      <a:pt x="2871" y="1030"/>
                      <a:pt x="2871" y="1030"/>
                      <a:pt x="2871" y="1030"/>
                    </a:cubicBezTo>
                    <a:cubicBezTo>
                      <a:pt x="2853" y="1029"/>
                      <a:pt x="2853" y="1029"/>
                      <a:pt x="2853" y="1029"/>
                    </a:cubicBezTo>
                    <a:cubicBezTo>
                      <a:pt x="2845" y="1043"/>
                      <a:pt x="2845" y="1043"/>
                      <a:pt x="2845" y="1043"/>
                    </a:cubicBezTo>
                    <a:cubicBezTo>
                      <a:pt x="2850" y="1049"/>
                      <a:pt x="2850" y="1049"/>
                      <a:pt x="2850" y="1049"/>
                    </a:cubicBezTo>
                    <a:cubicBezTo>
                      <a:pt x="2834" y="1050"/>
                      <a:pt x="2834" y="1050"/>
                      <a:pt x="2834" y="1050"/>
                    </a:cubicBezTo>
                    <a:cubicBezTo>
                      <a:pt x="2819" y="1080"/>
                      <a:pt x="2819" y="1080"/>
                      <a:pt x="2819" y="1080"/>
                    </a:cubicBezTo>
                    <a:cubicBezTo>
                      <a:pt x="2811" y="1080"/>
                      <a:pt x="2811" y="1080"/>
                      <a:pt x="2811" y="1080"/>
                    </a:cubicBezTo>
                    <a:cubicBezTo>
                      <a:pt x="2821" y="1055"/>
                      <a:pt x="2821" y="1055"/>
                      <a:pt x="2821" y="1055"/>
                    </a:cubicBezTo>
                    <a:cubicBezTo>
                      <a:pt x="2821" y="1055"/>
                      <a:pt x="2811" y="1040"/>
                      <a:pt x="2802" y="1049"/>
                    </a:cubicBezTo>
                    <a:cubicBezTo>
                      <a:pt x="2793" y="1058"/>
                      <a:pt x="2781" y="1071"/>
                      <a:pt x="2774" y="1072"/>
                    </a:cubicBezTo>
                    <a:cubicBezTo>
                      <a:pt x="2767" y="1073"/>
                      <a:pt x="2739" y="1094"/>
                      <a:pt x="2739" y="1094"/>
                    </a:cubicBezTo>
                    <a:cubicBezTo>
                      <a:pt x="2744" y="1079"/>
                      <a:pt x="2744" y="1079"/>
                      <a:pt x="2744" y="1079"/>
                    </a:cubicBezTo>
                    <a:cubicBezTo>
                      <a:pt x="2743" y="1068"/>
                      <a:pt x="2743" y="1068"/>
                      <a:pt x="2743" y="1068"/>
                    </a:cubicBezTo>
                    <a:cubicBezTo>
                      <a:pt x="2718" y="1089"/>
                      <a:pt x="2718" y="1089"/>
                      <a:pt x="2718" y="1089"/>
                    </a:cubicBezTo>
                    <a:cubicBezTo>
                      <a:pt x="2674" y="1099"/>
                      <a:pt x="2674" y="1099"/>
                      <a:pt x="2674" y="1099"/>
                    </a:cubicBezTo>
                    <a:cubicBezTo>
                      <a:pt x="2715" y="1085"/>
                      <a:pt x="2715" y="1085"/>
                      <a:pt x="2715" y="1085"/>
                    </a:cubicBezTo>
                    <a:cubicBezTo>
                      <a:pt x="2715" y="1085"/>
                      <a:pt x="2739" y="1058"/>
                      <a:pt x="2726" y="1052"/>
                    </a:cubicBezTo>
                    <a:cubicBezTo>
                      <a:pt x="2713" y="1046"/>
                      <a:pt x="2698" y="1052"/>
                      <a:pt x="2698" y="1052"/>
                    </a:cubicBezTo>
                    <a:cubicBezTo>
                      <a:pt x="2698" y="1052"/>
                      <a:pt x="2665" y="1067"/>
                      <a:pt x="2667" y="1056"/>
                    </a:cubicBezTo>
                    <a:cubicBezTo>
                      <a:pt x="2669" y="1045"/>
                      <a:pt x="2686" y="1042"/>
                      <a:pt x="2686" y="1042"/>
                    </a:cubicBezTo>
                    <a:cubicBezTo>
                      <a:pt x="2685" y="1049"/>
                      <a:pt x="2685" y="1049"/>
                      <a:pt x="2685" y="1049"/>
                    </a:cubicBezTo>
                    <a:cubicBezTo>
                      <a:pt x="2699" y="1044"/>
                      <a:pt x="2699" y="1044"/>
                      <a:pt x="2699" y="1044"/>
                    </a:cubicBezTo>
                    <a:cubicBezTo>
                      <a:pt x="2696" y="1025"/>
                      <a:pt x="2696" y="1025"/>
                      <a:pt x="2696" y="1025"/>
                    </a:cubicBezTo>
                    <a:cubicBezTo>
                      <a:pt x="2696" y="1025"/>
                      <a:pt x="2721" y="1011"/>
                      <a:pt x="2712" y="1004"/>
                    </a:cubicBezTo>
                    <a:cubicBezTo>
                      <a:pt x="2703" y="997"/>
                      <a:pt x="2676" y="993"/>
                      <a:pt x="2676" y="993"/>
                    </a:cubicBezTo>
                    <a:cubicBezTo>
                      <a:pt x="2676" y="993"/>
                      <a:pt x="2721" y="995"/>
                      <a:pt x="2724" y="983"/>
                    </a:cubicBezTo>
                    <a:cubicBezTo>
                      <a:pt x="2727" y="971"/>
                      <a:pt x="2730" y="968"/>
                      <a:pt x="2736" y="964"/>
                    </a:cubicBezTo>
                    <a:cubicBezTo>
                      <a:pt x="2742" y="960"/>
                      <a:pt x="2762" y="959"/>
                      <a:pt x="2752" y="950"/>
                    </a:cubicBezTo>
                    <a:cubicBezTo>
                      <a:pt x="2742" y="941"/>
                      <a:pt x="2732" y="957"/>
                      <a:pt x="2732" y="957"/>
                    </a:cubicBezTo>
                    <a:cubicBezTo>
                      <a:pt x="2726" y="940"/>
                      <a:pt x="2726" y="940"/>
                      <a:pt x="2726" y="940"/>
                    </a:cubicBezTo>
                    <a:cubicBezTo>
                      <a:pt x="2726" y="940"/>
                      <a:pt x="2695" y="941"/>
                      <a:pt x="2686" y="941"/>
                    </a:cubicBezTo>
                    <a:cubicBezTo>
                      <a:pt x="2677" y="941"/>
                      <a:pt x="2675" y="926"/>
                      <a:pt x="2683" y="923"/>
                    </a:cubicBezTo>
                    <a:cubicBezTo>
                      <a:pt x="2691" y="920"/>
                      <a:pt x="2692" y="913"/>
                      <a:pt x="2685" y="911"/>
                    </a:cubicBezTo>
                    <a:cubicBezTo>
                      <a:pt x="2678" y="909"/>
                      <a:pt x="2672" y="916"/>
                      <a:pt x="2672" y="916"/>
                    </a:cubicBezTo>
                    <a:cubicBezTo>
                      <a:pt x="2677" y="900"/>
                      <a:pt x="2677" y="900"/>
                      <a:pt x="2677" y="900"/>
                    </a:cubicBezTo>
                    <a:cubicBezTo>
                      <a:pt x="2653" y="904"/>
                      <a:pt x="2653" y="904"/>
                      <a:pt x="2653" y="904"/>
                    </a:cubicBezTo>
                    <a:cubicBezTo>
                      <a:pt x="2653" y="904"/>
                      <a:pt x="2657" y="875"/>
                      <a:pt x="2640" y="875"/>
                    </a:cubicBezTo>
                    <a:cubicBezTo>
                      <a:pt x="2623" y="875"/>
                      <a:pt x="2595" y="892"/>
                      <a:pt x="2595" y="892"/>
                    </a:cubicBezTo>
                    <a:cubicBezTo>
                      <a:pt x="2595" y="892"/>
                      <a:pt x="2587" y="881"/>
                      <a:pt x="2579" y="881"/>
                    </a:cubicBezTo>
                    <a:cubicBezTo>
                      <a:pt x="2571" y="881"/>
                      <a:pt x="2554" y="890"/>
                      <a:pt x="2554" y="890"/>
                    </a:cubicBezTo>
                    <a:cubicBezTo>
                      <a:pt x="2554" y="890"/>
                      <a:pt x="2508" y="868"/>
                      <a:pt x="2492" y="871"/>
                    </a:cubicBezTo>
                    <a:cubicBezTo>
                      <a:pt x="2476" y="874"/>
                      <a:pt x="2470" y="886"/>
                      <a:pt x="2470" y="886"/>
                    </a:cubicBezTo>
                    <a:cubicBezTo>
                      <a:pt x="2470" y="886"/>
                      <a:pt x="2449" y="896"/>
                      <a:pt x="2456" y="904"/>
                    </a:cubicBezTo>
                    <a:cubicBezTo>
                      <a:pt x="2463" y="912"/>
                      <a:pt x="2476" y="913"/>
                      <a:pt x="2470" y="921"/>
                    </a:cubicBezTo>
                    <a:cubicBezTo>
                      <a:pt x="2464" y="929"/>
                      <a:pt x="2439" y="945"/>
                      <a:pt x="2439" y="945"/>
                    </a:cubicBezTo>
                    <a:cubicBezTo>
                      <a:pt x="2421" y="952"/>
                      <a:pt x="2421" y="952"/>
                      <a:pt x="2421" y="952"/>
                    </a:cubicBezTo>
                    <a:cubicBezTo>
                      <a:pt x="2438" y="961"/>
                      <a:pt x="2438" y="961"/>
                      <a:pt x="2438" y="961"/>
                    </a:cubicBezTo>
                    <a:cubicBezTo>
                      <a:pt x="2438" y="961"/>
                      <a:pt x="2423" y="968"/>
                      <a:pt x="2422" y="977"/>
                    </a:cubicBezTo>
                    <a:cubicBezTo>
                      <a:pt x="2421" y="986"/>
                      <a:pt x="2429" y="993"/>
                      <a:pt x="2421" y="1003"/>
                    </a:cubicBezTo>
                    <a:cubicBezTo>
                      <a:pt x="2413" y="1013"/>
                      <a:pt x="2406" y="1005"/>
                      <a:pt x="2393" y="1013"/>
                    </a:cubicBezTo>
                    <a:cubicBezTo>
                      <a:pt x="2380" y="1021"/>
                      <a:pt x="2382" y="1034"/>
                      <a:pt x="2382" y="1034"/>
                    </a:cubicBezTo>
                    <a:cubicBezTo>
                      <a:pt x="2382" y="1034"/>
                      <a:pt x="2366" y="1037"/>
                      <a:pt x="2360" y="1043"/>
                    </a:cubicBezTo>
                    <a:cubicBezTo>
                      <a:pt x="2354" y="1049"/>
                      <a:pt x="2334" y="1054"/>
                      <a:pt x="2336" y="1062"/>
                    </a:cubicBezTo>
                    <a:cubicBezTo>
                      <a:pt x="2338" y="1070"/>
                      <a:pt x="2375" y="1084"/>
                      <a:pt x="2375" y="1093"/>
                    </a:cubicBezTo>
                    <a:cubicBezTo>
                      <a:pt x="2375" y="1102"/>
                      <a:pt x="2374" y="1167"/>
                      <a:pt x="2339" y="1187"/>
                    </a:cubicBezTo>
                    <a:cubicBezTo>
                      <a:pt x="2304" y="1207"/>
                      <a:pt x="2259" y="1242"/>
                      <a:pt x="2241" y="1243"/>
                    </a:cubicBezTo>
                    <a:cubicBezTo>
                      <a:pt x="2223" y="1244"/>
                      <a:pt x="2174" y="1247"/>
                      <a:pt x="2171" y="1256"/>
                    </a:cubicBezTo>
                    <a:cubicBezTo>
                      <a:pt x="2168" y="1265"/>
                      <a:pt x="2180" y="1293"/>
                      <a:pt x="2180" y="1298"/>
                    </a:cubicBezTo>
                    <a:cubicBezTo>
                      <a:pt x="2180" y="1303"/>
                      <a:pt x="2159" y="1324"/>
                      <a:pt x="2155" y="1339"/>
                    </a:cubicBezTo>
                    <a:cubicBezTo>
                      <a:pt x="2151" y="1354"/>
                      <a:pt x="2154" y="1387"/>
                      <a:pt x="2154" y="1387"/>
                    </a:cubicBezTo>
                    <a:cubicBezTo>
                      <a:pt x="2154" y="1387"/>
                      <a:pt x="2120" y="1404"/>
                      <a:pt x="2119" y="1409"/>
                    </a:cubicBezTo>
                    <a:cubicBezTo>
                      <a:pt x="2118" y="1414"/>
                      <a:pt x="2117" y="1431"/>
                      <a:pt x="2117" y="1431"/>
                    </a:cubicBezTo>
                    <a:cubicBezTo>
                      <a:pt x="2104" y="1447"/>
                      <a:pt x="2104" y="1447"/>
                      <a:pt x="2104" y="1447"/>
                    </a:cubicBezTo>
                    <a:cubicBezTo>
                      <a:pt x="2104" y="1447"/>
                      <a:pt x="2111" y="1423"/>
                      <a:pt x="2100" y="1422"/>
                    </a:cubicBezTo>
                    <a:cubicBezTo>
                      <a:pt x="2089" y="1421"/>
                      <a:pt x="2067" y="1435"/>
                      <a:pt x="2072" y="1446"/>
                    </a:cubicBezTo>
                    <a:cubicBezTo>
                      <a:pt x="2077" y="1457"/>
                      <a:pt x="2071" y="1466"/>
                      <a:pt x="2071" y="1466"/>
                    </a:cubicBezTo>
                    <a:cubicBezTo>
                      <a:pt x="2071" y="1466"/>
                      <a:pt x="2069" y="1446"/>
                      <a:pt x="2063" y="1441"/>
                    </a:cubicBezTo>
                    <a:cubicBezTo>
                      <a:pt x="2057" y="1436"/>
                      <a:pt x="2019" y="1447"/>
                      <a:pt x="2019" y="1447"/>
                    </a:cubicBezTo>
                    <a:cubicBezTo>
                      <a:pt x="2019" y="1447"/>
                      <a:pt x="2055" y="1426"/>
                      <a:pt x="2051" y="1413"/>
                    </a:cubicBezTo>
                    <a:cubicBezTo>
                      <a:pt x="2047" y="1400"/>
                      <a:pt x="2011" y="1389"/>
                      <a:pt x="2011" y="1389"/>
                    </a:cubicBezTo>
                    <a:cubicBezTo>
                      <a:pt x="2011" y="1389"/>
                      <a:pt x="2028" y="1386"/>
                      <a:pt x="2028" y="1379"/>
                    </a:cubicBezTo>
                    <a:cubicBezTo>
                      <a:pt x="2028" y="1372"/>
                      <a:pt x="2016" y="1346"/>
                      <a:pt x="2016" y="1346"/>
                    </a:cubicBezTo>
                    <a:cubicBezTo>
                      <a:pt x="2038" y="1331"/>
                      <a:pt x="2038" y="1331"/>
                      <a:pt x="2038" y="1331"/>
                    </a:cubicBezTo>
                    <a:cubicBezTo>
                      <a:pt x="2037" y="1316"/>
                      <a:pt x="2037" y="1316"/>
                      <a:pt x="2037" y="1316"/>
                    </a:cubicBezTo>
                    <a:cubicBezTo>
                      <a:pt x="2054" y="1305"/>
                      <a:pt x="2054" y="1305"/>
                      <a:pt x="2054" y="1305"/>
                    </a:cubicBezTo>
                    <a:cubicBezTo>
                      <a:pt x="2053" y="1280"/>
                      <a:pt x="2053" y="1280"/>
                      <a:pt x="2053" y="1280"/>
                    </a:cubicBezTo>
                    <a:cubicBezTo>
                      <a:pt x="2053" y="1280"/>
                      <a:pt x="2102" y="1253"/>
                      <a:pt x="2078" y="1241"/>
                    </a:cubicBezTo>
                    <a:cubicBezTo>
                      <a:pt x="2054" y="1229"/>
                      <a:pt x="1982" y="1233"/>
                      <a:pt x="1982" y="1233"/>
                    </a:cubicBezTo>
                    <a:cubicBezTo>
                      <a:pt x="1958" y="1241"/>
                      <a:pt x="1958" y="1241"/>
                      <a:pt x="1958" y="1241"/>
                    </a:cubicBezTo>
                    <a:cubicBezTo>
                      <a:pt x="1958" y="1241"/>
                      <a:pt x="1976" y="1220"/>
                      <a:pt x="1966" y="1215"/>
                    </a:cubicBezTo>
                    <a:cubicBezTo>
                      <a:pt x="1956" y="1210"/>
                      <a:pt x="1908" y="1200"/>
                      <a:pt x="1908" y="1200"/>
                    </a:cubicBezTo>
                    <a:cubicBezTo>
                      <a:pt x="1908" y="1200"/>
                      <a:pt x="1913" y="1178"/>
                      <a:pt x="1894" y="1164"/>
                    </a:cubicBezTo>
                    <a:cubicBezTo>
                      <a:pt x="1875" y="1150"/>
                      <a:pt x="1850" y="1149"/>
                      <a:pt x="1850" y="1149"/>
                    </a:cubicBezTo>
                    <a:cubicBezTo>
                      <a:pt x="1850" y="1149"/>
                      <a:pt x="1851" y="1137"/>
                      <a:pt x="1823" y="1136"/>
                    </a:cubicBezTo>
                    <a:cubicBezTo>
                      <a:pt x="1795" y="1135"/>
                      <a:pt x="1726" y="1147"/>
                      <a:pt x="1726" y="1147"/>
                    </a:cubicBezTo>
                    <a:cubicBezTo>
                      <a:pt x="1726" y="1147"/>
                      <a:pt x="1759" y="1137"/>
                      <a:pt x="1760" y="1125"/>
                    </a:cubicBezTo>
                    <a:cubicBezTo>
                      <a:pt x="1761" y="1113"/>
                      <a:pt x="1779" y="1061"/>
                      <a:pt x="1779" y="1061"/>
                    </a:cubicBezTo>
                    <a:cubicBezTo>
                      <a:pt x="1779" y="1061"/>
                      <a:pt x="1749" y="1055"/>
                      <a:pt x="1746" y="1057"/>
                    </a:cubicBezTo>
                    <a:cubicBezTo>
                      <a:pt x="1743" y="1059"/>
                      <a:pt x="1720" y="1075"/>
                      <a:pt x="1720" y="1075"/>
                    </a:cubicBezTo>
                    <a:cubicBezTo>
                      <a:pt x="1730" y="1056"/>
                      <a:pt x="1730" y="1056"/>
                      <a:pt x="1730" y="1056"/>
                    </a:cubicBezTo>
                    <a:cubicBezTo>
                      <a:pt x="1726" y="1041"/>
                      <a:pt x="1726" y="1041"/>
                      <a:pt x="1726" y="1041"/>
                    </a:cubicBezTo>
                    <a:cubicBezTo>
                      <a:pt x="1726" y="1041"/>
                      <a:pt x="1752" y="1019"/>
                      <a:pt x="1764" y="998"/>
                    </a:cubicBezTo>
                    <a:cubicBezTo>
                      <a:pt x="1776" y="977"/>
                      <a:pt x="1844" y="940"/>
                      <a:pt x="1844" y="940"/>
                    </a:cubicBezTo>
                    <a:cubicBezTo>
                      <a:pt x="1838" y="929"/>
                      <a:pt x="1838" y="929"/>
                      <a:pt x="1838" y="929"/>
                    </a:cubicBezTo>
                    <a:cubicBezTo>
                      <a:pt x="1881" y="915"/>
                      <a:pt x="1881" y="915"/>
                      <a:pt x="1881" y="915"/>
                    </a:cubicBezTo>
                    <a:cubicBezTo>
                      <a:pt x="1882" y="904"/>
                      <a:pt x="1882" y="904"/>
                      <a:pt x="1882" y="904"/>
                    </a:cubicBezTo>
                    <a:cubicBezTo>
                      <a:pt x="1909" y="900"/>
                      <a:pt x="1909" y="900"/>
                      <a:pt x="1909" y="900"/>
                    </a:cubicBezTo>
                    <a:cubicBezTo>
                      <a:pt x="1911" y="887"/>
                      <a:pt x="1911" y="887"/>
                      <a:pt x="1911" y="887"/>
                    </a:cubicBezTo>
                    <a:cubicBezTo>
                      <a:pt x="1932" y="884"/>
                      <a:pt x="1932" y="884"/>
                      <a:pt x="1932" y="884"/>
                    </a:cubicBezTo>
                    <a:cubicBezTo>
                      <a:pt x="1966" y="857"/>
                      <a:pt x="1966" y="857"/>
                      <a:pt x="1966" y="857"/>
                    </a:cubicBezTo>
                    <a:cubicBezTo>
                      <a:pt x="1966" y="857"/>
                      <a:pt x="2040" y="860"/>
                      <a:pt x="2040" y="847"/>
                    </a:cubicBezTo>
                    <a:cubicBezTo>
                      <a:pt x="2040" y="834"/>
                      <a:pt x="2020" y="819"/>
                      <a:pt x="2020" y="819"/>
                    </a:cubicBezTo>
                    <a:cubicBezTo>
                      <a:pt x="1980" y="824"/>
                      <a:pt x="1980" y="824"/>
                      <a:pt x="1980" y="824"/>
                    </a:cubicBezTo>
                    <a:cubicBezTo>
                      <a:pt x="1986" y="814"/>
                      <a:pt x="1986" y="814"/>
                      <a:pt x="1986" y="814"/>
                    </a:cubicBezTo>
                    <a:cubicBezTo>
                      <a:pt x="1950" y="800"/>
                      <a:pt x="1950" y="800"/>
                      <a:pt x="1950" y="800"/>
                    </a:cubicBezTo>
                    <a:cubicBezTo>
                      <a:pt x="1966" y="795"/>
                      <a:pt x="1966" y="795"/>
                      <a:pt x="1966" y="795"/>
                    </a:cubicBezTo>
                    <a:cubicBezTo>
                      <a:pt x="2021" y="811"/>
                      <a:pt x="2021" y="811"/>
                      <a:pt x="2021" y="811"/>
                    </a:cubicBezTo>
                    <a:cubicBezTo>
                      <a:pt x="2021" y="811"/>
                      <a:pt x="2042" y="833"/>
                      <a:pt x="2061" y="825"/>
                    </a:cubicBezTo>
                    <a:cubicBezTo>
                      <a:pt x="2080" y="817"/>
                      <a:pt x="2096" y="784"/>
                      <a:pt x="2103" y="789"/>
                    </a:cubicBezTo>
                    <a:cubicBezTo>
                      <a:pt x="2110" y="794"/>
                      <a:pt x="2131" y="804"/>
                      <a:pt x="2140" y="802"/>
                    </a:cubicBezTo>
                    <a:cubicBezTo>
                      <a:pt x="2140" y="802"/>
                      <a:pt x="2185" y="783"/>
                      <a:pt x="2203" y="776"/>
                    </a:cubicBezTo>
                    <a:cubicBezTo>
                      <a:pt x="2221" y="769"/>
                      <a:pt x="2255" y="750"/>
                      <a:pt x="2243" y="747"/>
                    </a:cubicBezTo>
                    <a:cubicBezTo>
                      <a:pt x="2231" y="744"/>
                      <a:pt x="2175" y="744"/>
                      <a:pt x="2175" y="744"/>
                    </a:cubicBezTo>
                    <a:cubicBezTo>
                      <a:pt x="2171" y="728"/>
                      <a:pt x="2171" y="728"/>
                      <a:pt x="2171" y="728"/>
                    </a:cubicBezTo>
                    <a:cubicBezTo>
                      <a:pt x="2115" y="708"/>
                      <a:pt x="2115" y="708"/>
                      <a:pt x="2115" y="708"/>
                    </a:cubicBezTo>
                    <a:cubicBezTo>
                      <a:pt x="2115" y="708"/>
                      <a:pt x="2171" y="700"/>
                      <a:pt x="2186" y="706"/>
                    </a:cubicBezTo>
                    <a:cubicBezTo>
                      <a:pt x="2201" y="712"/>
                      <a:pt x="2215" y="738"/>
                      <a:pt x="2230" y="738"/>
                    </a:cubicBezTo>
                    <a:cubicBezTo>
                      <a:pt x="2245" y="738"/>
                      <a:pt x="2324" y="700"/>
                      <a:pt x="2324" y="700"/>
                    </a:cubicBezTo>
                    <a:cubicBezTo>
                      <a:pt x="2305" y="692"/>
                      <a:pt x="2305" y="692"/>
                      <a:pt x="2305" y="692"/>
                    </a:cubicBezTo>
                    <a:cubicBezTo>
                      <a:pt x="2305" y="692"/>
                      <a:pt x="2319" y="680"/>
                      <a:pt x="2337" y="680"/>
                    </a:cubicBezTo>
                    <a:cubicBezTo>
                      <a:pt x="2355" y="680"/>
                      <a:pt x="2360" y="694"/>
                      <a:pt x="2360" y="694"/>
                    </a:cubicBezTo>
                    <a:cubicBezTo>
                      <a:pt x="2380" y="701"/>
                      <a:pt x="2380" y="701"/>
                      <a:pt x="2380" y="701"/>
                    </a:cubicBezTo>
                    <a:cubicBezTo>
                      <a:pt x="2381" y="688"/>
                      <a:pt x="2381" y="688"/>
                      <a:pt x="2381" y="688"/>
                    </a:cubicBezTo>
                    <a:cubicBezTo>
                      <a:pt x="2381" y="688"/>
                      <a:pt x="2395" y="705"/>
                      <a:pt x="2400" y="696"/>
                    </a:cubicBezTo>
                    <a:cubicBezTo>
                      <a:pt x="2405" y="687"/>
                      <a:pt x="2388" y="669"/>
                      <a:pt x="2388" y="669"/>
                    </a:cubicBezTo>
                    <a:cubicBezTo>
                      <a:pt x="2374" y="663"/>
                      <a:pt x="2374" y="663"/>
                      <a:pt x="2374" y="663"/>
                    </a:cubicBezTo>
                    <a:cubicBezTo>
                      <a:pt x="2401" y="658"/>
                      <a:pt x="2401" y="658"/>
                      <a:pt x="2401" y="658"/>
                    </a:cubicBezTo>
                    <a:cubicBezTo>
                      <a:pt x="2401" y="658"/>
                      <a:pt x="2415" y="697"/>
                      <a:pt x="2424" y="695"/>
                    </a:cubicBezTo>
                    <a:cubicBezTo>
                      <a:pt x="2433" y="693"/>
                      <a:pt x="2546" y="660"/>
                      <a:pt x="2532" y="641"/>
                    </a:cubicBezTo>
                    <a:cubicBezTo>
                      <a:pt x="2518" y="622"/>
                      <a:pt x="2507" y="607"/>
                      <a:pt x="2518" y="600"/>
                    </a:cubicBezTo>
                    <a:cubicBezTo>
                      <a:pt x="2529" y="593"/>
                      <a:pt x="2579" y="591"/>
                      <a:pt x="2580" y="585"/>
                    </a:cubicBezTo>
                    <a:cubicBezTo>
                      <a:pt x="2581" y="579"/>
                      <a:pt x="2570" y="553"/>
                      <a:pt x="2570" y="553"/>
                    </a:cubicBezTo>
                    <a:cubicBezTo>
                      <a:pt x="2558" y="538"/>
                      <a:pt x="2558" y="538"/>
                      <a:pt x="2558" y="538"/>
                    </a:cubicBezTo>
                    <a:cubicBezTo>
                      <a:pt x="2558" y="538"/>
                      <a:pt x="2496" y="520"/>
                      <a:pt x="2470" y="538"/>
                    </a:cubicBezTo>
                    <a:cubicBezTo>
                      <a:pt x="2444" y="556"/>
                      <a:pt x="2466" y="568"/>
                      <a:pt x="2466" y="568"/>
                    </a:cubicBezTo>
                    <a:cubicBezTo>
                      <a:pt x="2442" y="583"/>
                      <a:pt x="2442" y="583"/>
                      <a:pt x="2442" y="583"/>
                    </a:cubicBezTo>
                    <a:cubicBezTo>
                      <a:pt x="2428" y="583"/>
                      <a:pt x="2428" y="583"/>
                      <a:pt x="2428" y="583"/>
                    </a:cubicBezTo>
                    <a:cubicBezTo>
                      <a:pt x="2383" y="614"/>
                      <a:pt x="2383" y="614"/>
                      <a:pt x="2383" y="614"/>
                    </a:cubicBezTo>
                    <a:cubicBezTo>
                      <a:pt x="2366" y="621"/>
                      <a:pt x="2366" y="621"/>
                      <a:pt x="2366" y="621"/>
                    </a:cubicBezTo>
                    <a:cubicBezTo>
                      <a:pt x="2366" y="621"/>
                      <a:pt x="2354" y="639"/>
                      <a:pt x="2350" y="642"/>
                    </a:cubicBezTo>
                    <a:cubicBezTo>
                      <a:pt x="2346" y="645"/>
                      <a:pt x="2327" y="646"/>
                      <a:pt x="2327" y="646"/>
                    </a:cubicBezTo>
                    <a:cubicBezTo>
                      <a:pt x="2304" y="658"/>
                      <a:pt x="2304" y="658"/>
                      <a:pt x="2304" y="658"/>
                    </a:cubicBezTo>
                    <a:cubicBezTo>
                      <a:pt x="2304" y="658"/>
                      <a:pt x="2293" y="624"/>
                      <a:pt x="2299" y="613"/>
                    </a:cubicBezTo>
                    <a:cubicBezTo>
                      <a:pt x="2305" y="602"/>
                      <a:pt x="2336" y="607"/>
                      <a:pt x="2341" y="591"/>
                    </a:cubicBezTo>
                    <a:cubicBezTo>
                      <a:pt x="2346" y="575"/>
                      <a:pt x="2330" y="558"/>
                      <a:pt x="2327" y="558"/>
                    </a:cubicBezTo>
                    <a:cubicBezTo>
                      <a:pt x="2324" y="558"/>
                      <a:pt x="2271" y="582"/>
                      <a:pt x="2271" y="582"/>
                    </a:cubicBezTo>
                    <a:cubicBezTo>
                      <a:pt x="2252" y="603"/>
                      <a:pt x="2252" y="603"/>
                      <a:pt x="2252" y="603"/>
                    </a:cubicBezTo>
                    <a:cubicBezTo>
                      <a:pt x="2246" y="594"/>
                      <a:pt x="2246" y="594"/>
                      <a:pt x="2246" y="594"/>
                    </a:cubicBezTo>
                    <a:cubicBezTo>
                      <a:pt x="2264" y="576"/>
                      <a:pt x="2264" y="576"/>
                      <a:pt x="2264" y="576"/>
                    </a:cubicBezTo>
                    <a:cubicBezTo>
                      <a:pt x="2262" y="563"/>
                      <a:pt x="2262" y="563"/>
                      <a:pt x="2262" y="563"/>
                    </a:cubicBezTo>
                    <a:cubicBezTo>
                      <a:pt x="2292" y="552"/>
                      <a:pt x="2292" y="552"/>
                      <a:pt x="2292" y="552"/>
                    </a:cubicBezTo>
                    <a:cubicBezTo>
                      <a:pt x="2265" y="547"/>
                      <a:pt x="2265" y="547"/>
                      <a:pt x="2265" y="547"/>
                    </a:cubicBezTo>
                    <a:cubicBezTo>
                      <a:pt x="2270" y="537"/>
                      <a:pt x="2270" y="537"/>
                      <a:pt x="2270" y="537"/>
                    </a:cubicBezTo>
                    <a:cubicBezTo>
                      <a:pt x="2238" y="547"/>
                      <a:pt x="2238" y="547"/>
                      <a:pt x="2238" y="547"/>
                    </a:cubicBezTo>
                    <a:cubicBezTo>
                      <a:pt x="2224" y="539"/>
                      <a:pt x="2224" y="539"/>
                      <a:pt x="2224" y="539"/>
                    </a:cubicBezTo>
                    <a:cubicBezTo>
                      <a:pt x="2249" y="530"/>
                      <a:pt x="2249" y="530"/>
                      <a:pt x="2249" y="530"/>
                    </a:cubicBezTo>
                    <a:cubicBezTo>
                      <a:pt x="2250" y="520"/>
                      <a:pt x="2250" y="520"/>
                      <a:pt x="2250" y="520"/>
                    </a:cubicBezTo>
                    <a:cubicBezTo>
                      <a:pt x="2250" y="520"/>
                      <a:pt x="2286" y="528"/>
                      <a:pt x="2284" y="515"/>
                    </a:cubicBezTo>
                    <a:cubicBezTo>
                      <a:pt x="2282" y="502"/>
                      <a:pt x="2254" y="505"/>
                      <a:pt x="2266" y="488"/>
                    </a:cubicBezTo>
                    <a:cubicBezTo>
                      <a:pt x="2278" y="471"/>
                      <a:pt x="2289" y="446"/>
                      <a:pt x="2273" y="445"/>
                    </a:cubicBezTo>
                    <a:cubicBezTo>
                      <a:pt x="2248" y="435"/>
                      <a:pt x="2248" y="435"/>
                      <a:pt x="2248" y="435"/>
                    </a:cubicBezTo>
                    <a:cubicBezTo>
                      <a:pt x="2229" y="443"/>
                      <a:pt x="2229" y="443"/>
                      <a:pt x="2229" y="443"/>
                    </a:cubicBezTo>
                    <a:cubicBezTo>
                      <a:pt x="2229" y="443"/>
                      <a:pt x="2202" y="445"/>
                      <a:pt x="2201" y="449"/>
                    </a:cubicBezTo>
                    <a:cubicBezTo>
                      <a:pt x="2200" y="453"/>
                      <a:pt x="2208" y="462"/>
                      <a:pt x="2202" y="463"/>
                    </a:cubicBezTo>
                    <a:cubicBezTo>
                      <a:pt x="2196" y="464"/>
                      <a:pt x="2160" y="457"/>
                      <a:pt x="2152" y="466"/>
                    </a:cubicBezTo>
                    <a:cubicBezTo>
                      <a:pt x="2144" y="475"/>
                      <a:pt x="2127" y="484"/>
                      <a:pt x="2136" y="488"/>
                    </a:cubicBezTo>
                    <a:cubicBezTo>
                      <a:pt x="2145" y="492"/>
                      <a:pt x="2156" y="494"/>
                      <a:pt x="2156" y="494"/>
                    </a:cubicBezTo>
                    <a:cubicBezTo>
                      <a:pt x="2156" y="494"/>
                      <a:pt x="2107" y="507"/>
                      <a:pt x="2109" y="520"/>
                    </a:cubicBezTo>
                    <a:cubicBezTo>
                      <a:pt x="2111" y="533"/>
                      <a:pt x="2138" y="543"/>
                      <a:pt x="2138" y="543"/>
                    </a:cubicBezTo>
                    <a:cubicBezTo>
                      <a:pt x="2154" y="536"/>
                      <a:pt x="2154" y="536"/>
                      <a:pt x="2154" y="536"/>
                    </a:cubicBezTo>
                    <a:cubicBezTo>
                      <a:pt x="2154" y="536"/>
                      <a:pt x="2153" y="557"/>
                      <a:pt x="2159" y="554"/>
                    </a:cubicBezTo>
                    <a:cubicBezTo>
                      <a:pt x="2165" y="551"/>
                      <a:pt x="2194" y="546"/>
                      <a:pt x="2183" y="554"/>
                    </a:cubicBezTo>
                    <a:cubicBezTo>
                      <a:pt x="2172" y="562"/>
                      <a:pt x="2163" y="561"/>
                      <a:pt x="2163" y="561"/>
                    </a:cubicBezTo>
                    <a:cubicBezTo>
                      <a:pt x="2150" y="556"/>
                      <a:pt x="2150" y="556"/>
                      <a:pt x="2150" y="556"/>
                    </a:cubicBezTo>
                    <a:cubicBezTo>
                      <a:pt x="2148" y="565"/>
                      <a:pt x="2148" y="565"/>
                      <a:pt x="2148" y="565"/>
                    </a:cubicBezTo>
                    <a:cubicBezTo>
                      <a:pt x="2148" y="565"/>
                      <a:pt x="2112" y="571"/>
                      <a:pt x="2124" y="575"/>
                    </a:cubicBezTo>
                    <a:cubicBezTo>
                      <a:pt x="2136" y="579"/>
                      <a:pt x="2163" y="559"/>
                      <a:pt x="2157" y="572"/>
                    </a:cubicBezTo>
                    <a:cubicBezTo>
                      <a:pt x="2151" y="585"/>
                      <a:pt x="2132" y="594"/>
                      <a:pt x="2119" y="598"/>
                    </a:cubicBezTo>
                    <a:cubicBezTo>
                      <a:pt x="2106" y="602"/>
                      <a:pt x="2086" y="617"/>
                      <a:pt x="2086" y="617"/>
                    </a:cubicBezTo>
                    <a:cubicBezTo>
                      <a:pt x="2086" y="617"/>
                      <a:pt x="2064" y="605"/>
                      <a:pt x="2060" y="612"/>
                    </a:cubicBezTo>
                    <a:cubicBezTo>
                      <a:pt x="2056" y="619"/>
                      <a:pt x="2035" y="625"/>
                      <a:pt x="2036" y="635"/>
                    </a:cubicBezTo>
                    <a:cubicBezTo>
                      <a:pt x="2037" y="645"/>
                      <a:pt x="2030" y="654"/>
                      <a:pt x="2030" y="654"/>
                    </a:cubicBezTo>
                    <a:cubicBezTo>
                      <a:pt x="2026" y="645"/>
                      <a:pt x="2026" y="645"/>
                      <a:pt x="2026" y="645"/>
                    </a:cubicBezTo>
                    <a:cubicBezTo>
                      <a:pt x="2026" y="645"/>
                      <a:pt x="2001" y="644"/>
                      <a:pt x="2003" y="638"/>
                    </a:cubicBezTo>
                    <a:cubicBezTo>
                      <a:pt x="2005" y="632"/>
                      <a:pt x="2047" y="604"/>
                      <a:pt x="2047" y="604"/>
                    </a:cubicBezTo>
                    <a:cubicBezTo>
                      <a:pt x="2022" y="604"/>
                      <a:pt x="2022" y="604"/>
                      <a:pt x="2022" y="604"/>
                    </a:cubicBezTo>
                    <a:cubicBezTo>
                      <a:pt x="2022" y="604"/>
                      <a:pt x="2015" y="590"/>
                      <a:pt x="2008" y="590"/>
                    </a:cubicBezTo>
                    <a:cubicBezTo>
                      <a:pt x="2001" y="590"/>
                      <a:pt x="1985" y="596"/>
                      <a:pt x="1985" y="596"/>
                    </a:cubicBezTo>
                    <a:cubicBezTo>
                      <a:pt x="1985" y="596"/>
                      <a:pt x="1964" y="589"/>
                      <a:pt x="1961" y="597"/>
                    </a:cubicBezTo>
                    <a:cubicBezTo>
                      <a:pt x="1958" y="605"/>
                      <a:pt x="1956" y="612"/>
                      <a:pt x="1960" y="613"/>
                    </a:cubicBezTo>
                    <a:cubicBezTo>
                      <a:pt x="1964" y="614"/>
                      <a:pt x="1993" y="627"/>
                      <a:pt x="1983" y="630"/>
                    </a:cubicBezTo>
                    <a:cubicBezTo>
                      <a:pt x="1973" y="633"/>
                      <a:pt x="1955" y="618"/>
                      <a:pt x="1955" y="618"/>
                    </a:cubicBezTo>
                    <a:cubicBezTo>
                      <a:pt x="1941" y="609"/>
                      <a:pt x="1941" y="609"/>
                      <a:pt x="1941" y="609"/>
                    </a:cubicBezTo>
                    <a:cubicBezTo>
                      <a:pt x="1940" y="629"/>
                      <a:pt x="1940" y="629"/>
                      <a:pt x="1940" y="629"/>
                    </a:cubicBezTo>
                    <a:cubicBezTo>
                      <a:pt x="1940" y="629"/>
                      <a:pt x="1925" y="638"/>
                      <a:pt x="1916" y="636"/>
                    </a:cubicBezTo>
                    <a:cubicBezTo>
                      <a:pt x="1907" y="634"/>
                      <a:pt x="1874" y="625"/>
                      <a:pt x="1863" y="625"/>
                    </a:cubicBezTo>
                    <a:cubicBezTo>
                      <a:pt x="1852" y="625"/>
                      <a:pt x="1830" y="629"/>
                      <a:pt x="1819" y="628"/>
                    </a:cubicBezTo>
                    <a:cubicBezTo>
                      <a:pt x="1808" y="627"/>
                      <a:pt x="1791" y="610"/>
                      <a:pt x="1791" y="610"/>
                    </a:cubicBezTo>
                    <a:cubicBezTo>
                      <a:pt x="1752" y="613"/>
                      <a:pt x="1752" y="613"/>
                      <a:pt x="1752" y="613"/>
                    </a:cubicBezTo>
                    <a:cubicBezTo>
                      <a:pt x="1752" y="613"/>
                      <a:pt x="1737" y="599"/>
                      <a:pt x="1729" y="597"/>
                    </a:cubicBezTo>
                    <a:cubicBezTo>
                      <a:pt x="1721" y="595"/>
                      <a:pt x="1704" y="595"/>
                      <a:pt x="1692" y="601"/>
                    </a:cubicBezTo>
                    <a:cubicBezTo>
                      <a:pt x="1680" y="607"/>
                      <a:pt x="1685" y="609"/>
                      <a:pt x="1672" y="609"/>
                    </a:cubicBezTo>
                    <a:cubicBezTo>
                      <a:pt x="1659" y="609"/>
                      <a:pt x="1631" y="602"/>
                      <a:pt x="1624" y="611"/>
                    </a:cubicBezTo>
                    <a:cubicBezTo>
                      <a:pt x="1617" y="620"/>
                      <a:pt x="1605" y="646"/>
                      <a:pt x="1605" y="646"/>
                    </a:cubicBezTo>
                    <a:cubicBezTo>
                      <a:pt x="1597" y="666"/>
                      <a:pt x="1597" y="666"/>
                      <a:pt x="1597" y="666"/>
                    </a:cubicBezTo>
                    <a:cubicBezTo>
                      <a:pt x="1576" y="668"/>
                      <a:pt x="1576" y="668"/>
                      <a:pt x="1576" y="668"/>
                    </a:cubicBezTo>
                    <a:cubicBezTo>
                      <a:pt x="1571" y="687"/>
                      <a:pt x="1571" y="687"/>
                      <a:pt x="1571" y="687"/>
                    </a:cubicBezTo>
                    <a:cubicBezTo>
                      <a:pt x="1556" y="654"/>
                      <a:pt x="1556" y="654"/>
                      <a:pt x="1556" y="654"/>
                    </a:cubicBezTo>
                    <a:cubicBezTo>
                      <a:pt x="1556" y="654"/>
                      <a:pt x="1598" y="665"/>
                      <a:pt x="1587" y="646"/>
                    </a:cubicBezTo>
                    <a:cubicBezTo>
                      <a:pt x="1576" y="627"/>
                      <a:pt x="1544" y="625"/>
                      <a:pt x="1544" y="625"/>
                    </a:cubicBezTo>
                    <a:cubicBezTo>
                      <a:pt x="1546" y="616"/>
                      <a:pt x="1546" y="616"/>
                      <a:pt x="1546" y="616"/>
                    </a:cubicBezTo>
                    <a:cubicBezTo>
                      <a:pt x="1546" y="616"/>
                      <a:pt x="1477" y="629"/>
                      <a:pt x="1440" y="629"/>
                    </a:cubicBezTo>
                    <a:cubicBezTo>
                      <a:pt x="1403" y="629"/>
                      <a:pt x="1337" y="625"/>
                      <a:pt x="1350" y="619"/>
                    </a:cubicBezTo>
                    <a:cubicBezTo>
                      <a:pt x="1363" y="613"/>
                      <a:pt x="1447" y="616"/>
                      <a:pt x="1427" y="594"/>
                    </a:cubicBezTo>
                    <a:cubicBezTo>
                      <a:pt x="1407" y="572"/>
                      <a:pt x="1388" y="570"/>
                      <a:pt x="1364" y="572"/>
                    </a:cubicBezTo>
                    <a:cubicBezTo>
                      <a:pt x="1340" y="574"/>
                      <a:pt x="1301" y="560"/>
                      <a:pt x="1295" y="557"/>
                    </a:cubicBezTo>
                    <a:cubicBezTo>
                      <a:pt x="1289" y="554"/>
                      <a:pt x="1271" y="554"/>
                      <a:pt x="1271" y="554"/>
                    </a:cubicBezTo>
                    <a:cubicBezTo>
                      <a:pt x="1271" y="554"/>
                      <a:pt x="1223" y="527"/>
                      <a:pt x="1205" y="528"/>
                    </a:cubicBezTo>
                    <a:cubicBezTo>
                      <a:pt x="1187" y="529"/>
                      <a:pt x="1155" y="554"/>
                      <a:pt x="1155" y="554"/>
                    </a:cubicBezTo>
                    <a:cubicBezTo>
                      <a:pt x="1119" y="554"/>
                      <a:pt x="1119" y="554"/>
                      <a:pt x="1119" y="554"/>
                    </a:cubicBezTo>
                    <a:cubicBezTo>
                      <a:pt x="1139" y="542"/>
                      <a:pt x="1139" y="542"/>
                      <a:pt x="1139" y="542"/>
                    </a:cubicBezTo>
                    <a:cubicBezTo>
                      <a:pt x="1139" y="534"/>
                      <a:pt x="1139" y="534"/>
                      <a:pt x="1139" y="534"/>
                    </a:cubicBezTo>
                    <a:cubicBezTo>
                      <a:pt x="1156" y="514"/>
                      <a:pt x="1156" y="514"/>
                      <a:pt x="1156" y="514"/>
                    </a:cubicBezTo>
                    <a:cubicBezTo>
                      <a:pt x="1156" y="514"/>
                      <a:pt x="1117" y="532"/>
                      <a:pt x="1110" y="539"/>
                    </a:cubicBezTo>
                    <a:cubicBezTo>
                      <a:pt x="1103" y="546"/>
                      <a:pt x="1087" y="568"/>
                      <a:pt x="1072" y="553"/>
                    </a:cubicBezTo>
                    <a:cubicBezTo>
                      <a:pt x="1057" y="538"/>
                      <a:pt x="1078" y="522"/>
                      <a:pt x="1075" y="511"/>
                    </a:cubicBezTo>
                    <a:cubicBezTo>
                      <a:pt x="1072" y="500"/>
                      <a:pt x="1049" y="489"/>
                      <a:pt x="1046" y="498"/>
                    </a:cubicBezTo>
                    <a:cubicBezTo>
                      <a:pt x="1043" y="507"/>
                      <a:pt x="1056" y="513"/>
                      <a:pt x="1056" y="513"/>
                    </a:cubicBezTo>
                    <a:cubicBezTo>
                      <a:pt x="1056" y="513"/>
                      <a:pt x="1036" y="511"/>
                      <a:pt x="1025" y="515"/>
                    </a:cubicBezTo>
                    <a:cubicBezTo>
                      <a:pt x="1014" y="519"/>
                      <a:pt x="998" y="530"/>
                      <a:pt x="993" y="534"/>
                    </a:cubicBezTo>
                    <a:cubicBezTo>
                      <a:pt x="988" y="538"/>
                      <a:pt x="970" y="533"/>
                      <a:pt x="970" y="533"/>
                    </a:cubicBezTo>
                    <a:cubicBezTo>
                      <a:pt x="970" y="533"/>
                      <a:pt x="923" y="543"/>
                      <a:pt x="919" y="544"/>
                    </a:cubicBezTo>
                    <a:cubicBezTo>
                      <a:pt x="915" y="545"/>
                      <a:pt x="890" y="560"/>
                      <a:pt x="890" y="560"/>
                    </a:cubicBezTo>
                    <a:cubicBezTo>
                      <a:pt x="876" y="547"/>
                      <a:pt x="876" y="547"/>
                      <a:pt x="876" y="547"/>
                    </a:cubicBezTo>
                    <a:cubicBezTo>
                      <a:pt x="876" y="547"/>
                      <a:pt x="843" y="564"/>
                      <a:pt x="833" y="565"/>
                    </a:cubicBezTo>
                    <a:cubicBezTo>
                      <a:pt x="823" y="566"/>
                      <a:pt x="805" y="578"/>
                      <a:pt x="805" y="578"/>
                    </a:cubicBezTo>
                    <a:cubicBezTo>
                      <a:pt x="783" y="580"/>
                      <a:pt x="783" y="580"/>
                      <a:pt x="783" y="580"/>
                    </a:cubicBezTo>
                    <a:cubicBezTo>
                      <a:pt x="783" y="580"/>
                      <a:pt x="800" y="562"/>
                      <a:pt x="815" y="559"/>
                    </a:cubicBezTo>
                    <a:cubicBezTo>
                      <a:pt x="830" y="556"/>
                      <a:pt x="864" y="543"/>
                      <a:pt x="864" y="543"/>
                    </a:cubicBezTo>
                    <a:cubicBezTo>
                      <a:pt x="864" y="543"/>
                      <a:pt x="895" y="546"/>
                      <a:pt x="906" y="541"/>
                    </a:cubicBezTo>
                    <a:cubicBezTo>
                      <a:pt x="917" y="536"/>
                      <a:pt x="978" y="522"/>
                      <a:pt x="978" y="522"/>
                    </a:cubicBezTo>
                    <a:cubicBezTo>
                      <a:pt x="978" y="522"/>
                      <a:pt x="990" y="519"/>
                      <a:pt x="983" y="514"/>
                    </a:cubicBezTo>
                    <a:cubicBezTo>
                      <a:pt x="976" y="509"/>
                      <a:pt x="955" y="516"/>
                      <a:pt x="955" y="516"/>
                    </a:cubicBezTo>
                    <a:cubicBezTo>
                      <a:pt x="955" y="516"/>
                      <a:pt x="937" y="515"/>
                      <a:pt x="930" y="517"/>
                    </a:cubicBezTo>
                    <a:cubicBezTo>
                      <a:pt x="923" y="519"/>
                      <a:pt x="916" y="527"/>
                      <a:pt x="911" y="528"/>
                    </a:cubicBezTo>
                    <a:cubicBezTo>
                      <a:pt x="906" y="529"/>
                      <a:pt x="887" y="529"/>
                      <a:pt x="887" y="529"/>
                    </a:cubicBezTo>
                    <a:cubicBezTo>
                      <a:pt x="872" y="532"/>
                      <a:pt x="872" y="532"/>
                      <a:pt x="872" y="532"/>
                    </a:cubicBezTo>
                    <a:cubicBezTo>
                      <a:pt x="872" y="532"/>
                      <a:pt x="855" y="532"/>
                      <a:pt x="843" y="535"/>
                    </a:cubicBezTo>
                    <a:cubicBezTo>
                      <a:pt x="831" y="538"/>
                      <a:pt x="820" y="550"/>
                      <a:pt x="820" y="550"/>
                    </a:cubicBezTo>
                    <a:cubicBezTo>
                      <a:pt x="806" y="552"/>
                      <a:pt x="806" y="552"/>
                      <a:pt x="806" y="552"/>
                    </a:cubicBezTo>
                    <a:cubicBezTo>
                      <a:pt x="771" y="565"/>
                      <a:pt x="771" y="565"/>
                      <a:pt x="771" y="565"/>
                    </a:cubicBezTo>
                    <a:cubicBezTo>
                      <a:pt x="771" y="565"/>
                      <a:pt x="756" y="568"/>
                      <a:pt x="753" y="571"/>
                    </a:cubicBezTo>
                    <a:cubicBezTo>
                      <a:pt x="750" y="574"/>
                      <a:pt x="748" y="590"/>
                      <a:pt x="741" y="586"/>
                    </a:cubicBezTo>
                    <a:cubicBezTo>
                      <a:pt x="734" y="582"/>
                      <a:pt x="733" y="567"/>
                      <a:pt x="744" y="565"/>
                    </a:cubicBezTo>
                    <a:cubicBezTo>
                      <a:pt x="755" y="563"/>
                      <a:pt x="784" y="553"/>
                      <a:pt x="793" y="547"/>
                    </a:cubicBezTo>
                    <a:cubicBezTo>
                      <a:pt x="802" y="541"/>
                      <a:pt x="760" y="535"/>
                      <a:pt x="753" y="544"/>
                    </a:cubicBezTo>
                    <a:cubicBezTo>
                      <a:pt x="746" y="553"/>
                      <a:pt x="719" y="558"/>
                      <a:pt x="712" y="558"/>
                    </a:cubicBezTo>
                    <a:cubicBezTo>
                      <a:pt x="705" y="558"/>
                      <a:pt x="705" y="585"/>
                      <a:pt x="705" y="585"/>
                    </a:cubicBezTo>
                    <a:cubicBezTo>
                      <a:pt x="689" y="576"/>
                      <a:pt x="689" y="576"/>
                      <a:pt x="689" y="576"/>
                    </a:cubicBezTo>
                    <a:cubicBezTo>
                      <a:pt x="647" y="570"/>
                      <a:pt x="647" y="570"/>
                      <a:pt x="647" y="570"/>
                    </a:cubicBezTo>
                    <a:cubicBezTo>
                      <a:pt x="647" y="570"/>
                      <a:pt x="621" y="558"/>
                      <a:pt x="623" y="553"/>
                    </a:cubicBezTo>
                    <a:cubicBezTo>
                      <a:pt x="625" y="548"/>
                      <a:pt x="629" y="539"/>
                      <a:pt x="629" y="539"/>
                    </a:cubicBezTo>
                    <a:cubicBezTo>
                      <a:pt x="555" y="540"/>
                      <a:pt x="555" y="540"/>
                      <a:pt x="555" y="540"/>
                    </a:cubicBezTo>
                    <a:cubicBezTo>
                      <a:pt x="567" y="540"/>
                      <a:pt x="567" y="540"/>
                      <a:pt x="567" y="540"/>
                    </a:cubicBezTo>
                    <a:cubicBezTo>
                      <a:pt x="52" y="964"/>
                      <a:pt x="52" y="964"/>
                      <a:pt x="52" y="964"/>
                    </a:cubicBezTo>
                    <a:cubicBezTo>
                      <a:pt x="52" y="964"/>
                      <a:pt x="26" y="978"/>
                      <a:pt x="32" y="984"/>
                    </a:cubicBezTo>
                    <a:cubicBezTo>
                      <a:pt x="38" y="990"/>
                      <a:pt x="67" y="984"/>
                      <a:pt x="67" y="984"/>
                    </a:cubicBezTo>
                    <a:cubicBezTo>
                      <a:pt x="70" y="984"/>
                      <a:pt x="79" y="979"/>
                      <a:pt x="79" y="979"/>
                    </a:cubicBezTo>
                    <a:cubicBezTo>
                      <a:pt x="103" y="979"/>
                      <a:pt x="103" y="979"/>
                      <a:pt x="103" y="979"/>
                    </a:cubicBezTo>
                    <a:cubicBezTo>
                      <a:pt x="88" y="994"/>
                      <a:pt x="88" y="994"/>
                      <a:pt x="88" y="994"/>
                    </a:cubicBezTo>
                    <a:cubicBezTo>
                      <a:pt x="88" y="994"/>
                      <a:pt x="88" y="1003"/>
                      <a:pt x="88" y="1013"/>
                    </a:cubicBezTo>
                    <a:cubicBezTo>
                      <a:pt x="88" y="1024"/>
                      <a:pt x="107" y="1032"/>
                      <a:pt x="107" y="1032"/>
                    </a:cubicBezTo>
                    <a:cubicBezTo>
                      <a:pt x="107" y="1032"/>
                      <a:pt x="88" y="1051"/>
                      <a:pt x="93" y="1051"/>
                    </a:cubicBezTo>
                    <a:cubicBezTo>
                      <a:pt x="99" y="1051"/>
                      <a:pt x="115" y="1038"/>
                      <a:pt x="115" y="1038"/>
                    </a:cubicBezTo>
                    <a:cubicBezTo>
                      <a:pt x="115" y="1038"/>
                      <a:pt x="136" y="1031"/>
                      <a:pt x="143" y="1031"/>
                    </a:cubicBezTo>
                    <a:cubicBezTo>
                      <a:pt x="151" y="1031"/>
                      <a:pt x="157" y="1021"/>
                      <a:pt x="157" y="1021"/>
                    </a:cubicBezTo>
                    <a:cubicBezTo>
                      <a:pt x="169" y="1021"/>
                      <a:pt x="169" y="1021"/>
                      <a:pt x="169" y="1021"/>
                    </a:cubicBezTo>
                    <a:cubicBezTo>
                      <a:pt x="171" y="1013"/>
                      <a:pt x="171" y="1013"/>
                      <a:pt x="171" y="1013"/>
                    </a:cubicBezTo>
                    <a:cubicBezTo>
                      <a:pt x="171" y="1013"/>
                      <a:pt x="199" y="1003"/>
                      <a:pt x="217" y="1008"/>
                    </a:cubicBezTo>
                    <a:cubicBezTo>
                      <a:pt x="236" y="1014"/>
                      <a:pt x="209" y="1024"/>
                      <a:pt x="209" y="1024"/>
                    </a:cubicBezTo>
                    <a:cubicBezTo>
                      <a:pt x="209" y="1041"/>
                      <a:pt x="209" y="1041"/>
                      <a:pt x="209" y="1041"/>
                    </a:cubicBezTo>
                    <a:cubicBezTo>
                      <a:pt x="203" y="1052"/>
                      <a:pt x="203" y="1052"/>
                      <a:pt x="203" y="1052"/>
                    </a:cubicBezTo>
                    <a:cubicBezTo>
                      <a:pt x="203" y="1052"/>
                      <a:pt x="210" y="1054"/>
                      <a:pt x="216" y="1072"/>
                    </a:cubicBezTo>
                    <a:cubicBezTo>
                      <a:pt x="223" y="1089"/>
                      <a:pt x="206" y="1108"/>
                      <a:pt x="206" y="1108"/>
                    </a:cubicBezTo>
                    <a:cubicBezTo>
                      <a:pt x="206" y="1132"/>
                      <a:pt x="206" y="1132"/>
                      <a:pt x="206" y="1132"/>
                    </a:cubicBezTo>
                    <a:cubicBezTo>
                      <a:pt x="206" y="1132"/>
                      <a:pt x="200" y="1149"/>
                      <a:pt x="195" y="1162"/>
                    </a:cubicBezTo>
                    <a:cubicBezTo>
                      <a:pt x="190" y="1175"/>
                      <a:pt x="218" y="1176"/>
                      <a:pt x="218" y="1180"/>
                    </a:cubicBezTo>
                    <a:cubicBezTo>
                      <a:pt x="218" y="1185"/>
                      <a:pt x="225" y="1187"/>
                      <a:pt x="225" y="1187"/>
                    </a:cubicBezTo>
                    <a:cubicBezTo>
                      <a:pt x="225" y="1187"/>
                      <a:pt x="235" y="1186"/>
                      <a:pt x="235" y="1194"/>
                    </a:cubicBezTo>
                    <a:cubicBezTo>
                      <a:pt x="235" y="1202"/>
                      <a:pt x="208" y="1213"/>
                      <a:pt x="208" y="1213"/>
                    </a:cubicBezTo>
                    <a:cubicBezTo>
                      <a:pt x="208" y="1213"/>
                      <a:pt x="208" y="1229"/>
                      <a:pt x="198" y="1239"/>
                    </a:cubicBezTo>
                    <a:cubicBezTo>
                      <a:pt x="194" y="1243"/>
                      <a:pt x="173" y="1254"/>
                      <a:pt x="152" y="1264"/>
                    </a:cubicBezTo>
                    <a:cubicBezTo>
                      <a:pt x="150" y="1269"/>
                      <a:pt x="149" y="1274"/>
                      <a:pt x="148" y="1278"/>
                    </a:cubicBezTo>
                    <a:cubicBezTo>
                      <a:pt x="147" y="1285"/>
                      <a:pt x="142" y="1299"/>
                      <a:pt x="142" y="1299"/>
                    </a:cubicBezTo>
                    <a:cubicBezTo>
                      <a:pt x="133" y="1305"/>
                      <a:pt x="133" y="1305"/>
                      <a:pt x="133" y="1305"/>
                    </a:cubicBezTo>
                    <a:cubicBezTo>
                      <a:pt x="133" y="1305"/>
                      <a:pt x="142" y="1309"/>
                      <a:pt x="143" y="1316"/>
                    </a:cubicBezTo>
                    <a:cubicBezTo>
                      <a:pt x="144" y="1323"/>
                      <a:pt x="151" y="1326"/>
                      <a:pt x="151" y="1326"/>
                    </a:cubicBezTo>
                    <a:cubicBezTo>
                      <a:pt x="151" y="1326"/>
                      <a:pt x="201" y="1287"/>
                      <a:pt x="201" y="1296"/>
                    </a:cubicBezTo>
                    <a:cubicBezTo>
                      <a:pt x="201" y="1305"/>
                      <a:pt x="185" y="1306"/>
                      <a:pt x="183" y="1311"/>
                    </a:cubicBezTo>
                    <a:cubicBezTo>
                      <a:pt x="181" y="1316"/>
                      <a:pt x="185" y="1326"/>
                      <a:pt x="185" y="1326"/>
                    </a:cubicBezTo>
                    <a:cubicBezTo>
                      <a:pt x="194" y="1333"/>
                      <a:pt x="194" y="1333"/>
                      <a:pt x="194" y="1333"/>
                    </a:cubicBezTo>
                    <a:cubicBezTo>
                      <a:pt x="165" y="1332"/>
                      <a:pt x="165" y="1332"/>
                      <a:pt x="165" y="1332"/>
                    </a:cubicBezTo>
                    <a:cubicBezTo>
                      <a:pt x="165" y="1332"/>
                      <a:pt x="143" y="1359"/>
                      <a:pt x="153" y="1360"/>
                    </a:cubicBezTo>
                    <a:cubicBezTo>
                      <a:pt x="163" y="1361"/>
                      <a:pt x="169" y="1367"/>
                      <a:pt x="169" y="1367"/>
                    </a:cubicBezTo>
                    <a:cubicBezTo>
                      <a:pt x="169" y="1367"/>
                      <a:pt x="157" y="1388"/>
                      <a:pt x="164" y="1385"/>
                    </a:cubicBezTo>
                    <a:cubicBezTo>
                      <a:pt x="171" y="1382"/>
                      <a:pt x="212" y="1354"/>
                      <a:pt x="212" y="1354"/>
                    </a:cubicBezTo>
                    <a:cubicBezTo>
                      <a:pt x="211" y="1363"/>
                      <a:pt x="211" y="1363"/>
                      <a:pt x="211" y="1363"/>
                    </a:cubicBezTo>
                    <a:cubicBezTo>
                      <a:pt x="192" y="1374"/>
                      <a:pt x="192" y="1374"/>
                      <a:pt x="192" y="1374"/>
                    </a:cubicBezTo>
                    <a:cubicBezTo>
                      <a:pt x="207" y="1380"/>
                      <a:pt x="207" y="1380"/>
                      <a:pt x="207" y="1380"/>
                    </a:cubicBezTo>
                    <a:cubicBezTo>
                      <a:pt x="207" y="1380"/>
                      <a:pt x="202" y="1400"/>
                      <a:pt x="194" y="1398"/>
                    </a:cubicBezTo>
                    <a:cubicBezTo>
                      <a:pt x="186" y="1396"/>
                      <a:pt x="184" y="1387"/>
                      <a:pt x="184" y="1387"/>
                    </a:cubicBezTo>
                    <a:cubicBezTo>
                      <a:pt x="184" y="1387"/>
                      <a:pt x="151" y="1397"/>
                      <a:pt x="145" y="1403"/>
                    </a:cubicBezTo>
                    <a:cubicBezTo>
                      <a:pt x="139" y="1409"/>
                      <a:pt x="133" y="1417"/>
                      <a:pt x="133" y="1417"/>
                    </a:cubicBezTo>
                    <a:cubicBezTo>
                      <a:pt x="133" y="1417"/>
                      <a:pt x="151" y="1412"/>
                      <a:pt x="156" y="1412"/>
                    </a:cubicBezTo>
                    <a:cubicBezTo>
                      <a:pt x="161" y="1412"/>
                      <a:pt x="182" y="1412"/>
                      <a:pt x="182" y="1412"/>
                    </a:cubicBezTo>
                    <a:cubicBezTo>
                      <a:pt x="182" y="1412"/>
                      <a:pt x="146" y="1421"/>
                      <a:pt x="140" y="1424"/>
                    </a:cubicBezTo>
                    <a:cubicBezTo>
                      <a:pt x="134" y="1427"/>
                      <a:pt x="138" y="1435"/>
                      <a:pt x="138" y="1435"/>
                    </a:cubicBezTo>
                    <a:cubicBezTo>
                      <a:pt x="138" y="1435"/>
                      <a:pt x="105" y="1423"/>
                      <a:pt x="114" y="1437"/>
                    </a:cubicBezTo>
                    <a:cubicBezTo>
                      <a:pt x="123" y="1451"/>
                      <a:pt x="132" y="1455"/>
                      <a:pt x="132" y="1455"/>
                    </a:cubicBezTo>
                    <a:cubicBezTo>
                      <a:pt x="164" y="1444"/>
                      <a:pt x="164" y="1444"/>
                      <a:pt x="164" y="1444"/>
                    </a:cubicBezTo>
                    <a:cubicBezTo>
                      <a:pt x="173" y="1459"/>
                      <a:pt x="173" y="1459"/>
                      <a:pt x="173" y="1459"/>
                    </a:cubicBezTo>
                    <a:cubicBezTo>
                      <a:pt x="198" y="1445"/>
                      <a:pt x="198" y="1445"/>
                      <a:pt x="198" y="1445"/>
                    </a:cubicBezTo>
                    <a:cubicBezTo>
                      <a:pt x="198" y="1445"/>
                      <a:pt x="165" y="1479"/>
                      <a:pt x="176" y="1478"/>
                    </a:cubicBezTo>
                    <a:cubicBezTo>
                      <a:pt x="187" y="1477"/>
                      <a:pt x="217" y="1454"/>
                      <a:pt x="217" y="1454"/>
                    </a:cubicBezTo>
                    <a:cubicBezTo>
                      <a:pt x="217" y="1454"/>
                      <a:pt x="190" y="1484"/>
                      <a:pt x="194" y="1484"/>
                    </a:cubicBezTo>
                    <a:cubicBezTo>
                      <a:pt x="198" y="1484"/>
                      <a:pt x="216" y="1479"/>
                      <a:pt x="216" y="1479"/>
                    </a:cubicBezTo>
                    <a:cubicBezTo>
                      <a:pt x="216" y="1479"/>
                      <a:pt x="178" y="1508"/>
                      <a:pt x="190" y="1509"/>
                    </a:cubicBezTo>
                    <a:cubicBezTo>
                      <a:pt x="202" y="1510"/>
                      <a:pt x="229" y="1490"/>
                      <a:pt x="229" y="1490"/>
                    </a:cubicBezTo>
                    <a:cubicBezTo>
                      <a:pt x="229" y="1490"/>
                      <a:pt x="203" y="1518"/>
                      <a:pt x="210" y="1520"/>
                    </a:cubicBezTo>
                    <a:cubicBezTo>
                      <a:pt x="217" y="1522"/>
                      <a:pt x="233" y="1526"/>
                      <a:pt x="233" y="1529"/>
                    </a:cubicBezTo>
                    <a:cubicBezTo>
                      <a:pt x="233" y="1531"/>
                      <a:pt x="231" y="1548"/>
                      <a:pt x="228" y="1561"/>
                    </a:cubicBezTo>
                    <a:cubicBezTo>
                      <a:pt x="228" y="1561"/>
                      <a:pt x="228" y="1561"/>
                      <a:pt x="228" y="1561"/>
                    </a:cubicBezTo>
                    <a:cubicBezTo>
                      <a:pt x="1370" y="1561"/>
                      <a:pt x="1370" y="1561"/>
                      <a:pt x="1370" y="1561"/>
                    </a:cubicBezTo>
                    <a:cubicBezTo>
                      <a:pt x="1370" y="1561"/>
                      <a:pt x="1384" y="1526"/>
                      <a:pt x="1394" y="1537"/>
                    </a:cubicBezTo>
                    <a:cubicBezTo>
                      <a:pt x="1404" y="1547"/>
                      <a:pt x="1379" y="1557"/>
                      <a:pt x="1388" y="1566"/>
                    </a:cubicBezTo>
                    <a:cubicBezTo>
                      <a:pt x="1396" y="1574"/>
                      <a:pt x="1415" y="1575"/>
                      <a:pt x="1415" y="1575"/>
                    </a:cubicBezTo>
                    <a:cubicBezTo>
                      <a:pt x="1415" y="1575"/>
                      <a:pt x="1422" y="1585"/>
                      <a:pt x="1430" y="1585"/>
                    </a:cubicBezTo>
                    <a:cubicBezTo>
                      <a:pt x="1438" y="1585"/>
                      <a:pt x="1436" y="1573"/>
                      <a:pt x="1449" y="1573"/>
                    </a:cubicBezTo>
                    <a:cubicBezTo>
                      <a:pt x="1462" y="1573"/>
                      <a:pt x="1465" y="1593"/>
                      <a:pt x="1471" y="1593"/>
                    </a:cubicBezTo>
                    <a:cubicBezTo>
                      <a:pt x="1477" y="1593"/>
                      <a:pt x="1484" y="1596"/>
                      <a:pt x="1487" y="1593"/>
                    </a:cubicBezTo>
                    <a:cubicBezTo>
                      <a:pt x="1490" y="1590"/>
                      <a:pt x="1503" y="1614"/>
                      <a:pt x="1509" y="1608"/>
                    </a:cubicBezTo>
                    <a:cubicBezTo>
                      <a:pt x="1515" y="1602"/>
                      <a:pt x="1531" y="1591"/>
                      <a:pt x="1531" y="1591"/>
                    </a:cubicBezTo>
                    <a:cubicBezTo>
                      <a:pt x="1531" y="1601"/>
                      <a:pt x="1531" y="1601"/>
                      <a:pt x="1531" y="1601"/>
                    </a:cubicBezTo>
                    <a:cubicBezTo>
                      <a:pt x="1561" y="1600"/>
                      <a:pt x="1561" y="1600"/>
                      <a:pt x="1561" y="1600"/>
                    </a:cubicBezTo>
                    <a:cubicBezTo>
                      <a:pt x="1561" y="1600"/>
                      <a:pt x="1558" y="1606"/>
                      <a:pt x="1586" y="1606"/>
                    </a:cubicBezTo>
                    <a:cubicBezTo>
                      <a:pt x="1598" y="1598"/>
                      <a:pt x="1605" y="1585"/>
                      <a:pt x="1606" y="1582"/>
                    </a:cubicBezTo>
                    <a:cubicBezTo>
                      <a:pt x="1607" y="1578"/>
                      <a:pt x="1626" y="1586"/>
                      <a:pt x="1626" y="1586"/>
                    </a:cubicBezTo>
                    <a:cubicBezTo>
                      <a:pt x="1634" y="1580"/>
                      <a:pt x="1634" y="1580"/>
                      <a:pt x="1634" y="1580"/>
                    </a:cubicBezTo>
                    <a:cubicBezTo>
                      <a:pt x="1634" y="1580"/>
                      <a:pt x="1641" y="1568"/>
                      <a:pt x="1642" y="1565"/>
                    </a:cubicBezTo>
                    <a:cubicBezTo>
                      <a:pt x="1643" y="1562"/>
                      <a:pt x="1651" y="1575"/>
                      <a:pt x="1651" y="1575"/>
                    </a:cubicBezTo>
                    <a:cubicBezTo>
                      <a:pt x="1668" y="1572"/>
                      <a:pt x="1668" y="1572"/>
                      <a:pt x="1668" y="1572"/>
                    </a:cubicBezTo>
                    <a:cubicBezTo>
                      <a:pt x="1668" y="1572"/>
                      <a:pt x="1659" y="1562"/>
                      <a:pt x="1668" y="1555"/>
                    </a:cubicBezTo>
                    <a:cubicBezTo>
                      <a:pt x="1677" y="1548"/>
                      <a:pt x="1686" y="1563"/>
                      <a:pt x="1686" y="1563"/>
                    </a:cubicBezTo>
                    <a:cubicBezTo>
                      <a:pt x="1704" y="1563"/>
                      <a:pt x="1704" y="1563"/>
                      <a:pt x="1704" y="1563"/>
                    </a:cubicBezTo>
                    <a:cubicBezTo>
                      <a:pt x="1708" y="1567"/>
                      <a:pt x="1708" y="1567"/>
                      <a:pt x="1708" y="1567"/>
                    </a:cubicBezTo>
                    <a:cubicBezTo>
                      <a:pt x="1708" y="1567"/>
                      <a:pt x="1728" y="1568"/>
                      <a:pt x="1733" y="1573"/>
                    </a:cubicBezTo>
                    <a:cubicBezTo>
                      <a:pt x="1738" y="1578"/>
                      <a:pt x="1727" y="1604"/>
                      <a:pt x="1727" y="1604"/>
                    </a:cubicBezTo>
                    <a:cubicBezTo>
                      <a:pt x="1733" y="1611"/>
                      <a:pt x="1733" y="1611"/>
                      <a:pt x="1733" y="1611"/>
                    </a:cubicBezTo>
                    <a:cubicBezTo>
                      <a:pt x="1727" y="1626"/>
                      <a:pt x="1727" y="1626"/>
                      <a:pt x="1727" y="1626"/>
                    </a:cubicBezTo>
                    <a:cubicBezTo>
                      <a:pt x="1727" y="1626"/>
                      <a:pt x="1766" y="1603"/>
                      <a:pt x="1777" y="1610"/>
                    </a:cubicBezTo>
                    <a:cubicBezTo>
                      <a:pt x="1788" y="1617"/>
                      <a:pt x="1760" y="1627"/>
                      <a:pt x="1759" y="1631"/>
                    </a:cubicBezTo>
                    <a:cubicBezTo>
                      <a:pt x="1758" y="1635"/>
                      <a:pt x="1773" y="1638"/>
                      <a:pt x="1773" y="1643"/>
                    </a:cubicBezTo>
                    <a:cubicBezTo>
                      <a:pt x="1773" y="1648"/>
                      <a:pt x="1757" y="1654"/>
                      <a:pt x="1757" y="1659"/>
                    </a:cubicBezTo>
                    <a:cubicBezTo>
                      <a:pt x="1757" y="1664"/>
                      <a:pt x="1770" y="1664"/>
                      <a:pt x="1767" y="1671"/>
                    </a:cubicBezTo>
                    <a:cubicBezTo>
                      <a:pt x="1764" y="1678"/>
                      <a:pt x="1758" y="1679"/>
                      <a:pt x="1758" y="1679"/>
                    </a:cubicBezTo>
                    <a:cubicBezTo>
                      <a:pt x="1756" y="1685"/>
                      <a:pt x="1756" y="1685"/>
                      <a:pt x="1756" y="1685"/>
                    </a:cubicBezTo>
                    <a:cubicBezTo>
                      <a:pt x="1769" y="1685"/>
                      <a:pt x="1769" y="1685"/>
                      <a:pt x="1769" y="1685"/>
                    </a:cubicBezTo>
                    <a:cubicBezTo>
                      <a:pt x="1765" y="1700"/>
                      <a:pt x="1765" y="1700"/>
                      <a:pt x="1765" y="1700"/>
                    </a:cubicBezTo>
                    <a:cubicBezTo>
                      <a:pt x="1771" y="1700"/>
                      <a:pt x="1778" y="1701"/>
                      <a:pt x="1781" y="1701"/>
                    </a:cubicBezTo>
                    <a:cubicBezTo>
                      <a:pt x="1786" y="1700"/>
                      <a:pt x="1794" y="1703"/>
                      <a:pt x="1806" y="1704"/>
                    </a:cubicBezTo>
                    <a:cubicBezTo>
                      <a:pt x="1818" y="1705"/>
                      <a:pt x="1825" y="1703"/>
                      <a:pt x="1825" y="1703"/>
                    </a:cubicBezTo>
                    <a:cubicBezTo>
                      <a:pt x="1837" y="1703"/>
                      <a:pt x="1852" y="1715"/>
                      <a:pt x="1863" y="1715"/>
                    </a:cubicBezTo>
                    <a:cubicBezTo>
                      <a:pt x="1874" y="1715"/>
                      <a:pt x="1884" y="1715"/>
                      <a:pt x="1884" y="1715"/>
                    </a:cubicBezTo>
                    <a:cubicBezTo>
                      <a:pt x="1906" y="1715"/>
                      <a:pt x="1904" y="1729"/>
                      <a:pt x="1904" y="1738"/>
                    </a:cubicBezTo>
                    <a:cubicBezTo>
                      <a:pt x="1904" y="1747"/>
                      <a:pt x="1914" y="1736"/>
                      <a:pt x="1914" y="1746"/>
                    </a:cubicBezTo>
                    <a:cubicBezTo>
                      <a:pt x="1914" y="1756"/>
                      <a:pt x="1910" y="1759"/>
                      <a:pt x="1905" y="1764"/>
                    </a:cubicBezTo>
                    <a:cubicBezTo>
                      <a:pt x="1900" y="1769"/>
                      <a:pt x="1918" y="1777"/>
                      <a:pt x="1918" y="1777"/>
                    </a:cubicBezTo>
                    <a:cubicBezTo>
                      <a:pt x="1903" y="1776"/>
                      <a:pt x="1903" y="1776"/>
                      <a:pt x="1903" y="1776"/>
                    </a:cubicBezTo>
                    <a:cubicBezTo>
                      <a:pt x="1903" y="1776"/>
                      <a:pt x="1903" y="1785"/>
                      <a:pt x="1896" y="1793"/>
                    </a:cubicBezTo>
                    <a:cubicBezTo>
                      <a:pt x="1888" y="1800"/>
                      <a:pt x="1887" y="1793"/>
                      <a:pt x="1868" y="1783"/>
                    </a:cubicBezTo>
                    <a:cubicBezTo>
                      <a:pt x="1849" y="1773"/>
                      <a:pt x="1855" y="1754"/>
                      <a:pt x="1855" y="1754"/>
                    </a:cubicBezTo>
                    <a:cubicBezTo>
                      <a:pt x="1844" y="1749"/>
                      <a:pt x="1844" y="1749"/>
                      <a:pt x="1844" y="1749"/>
                    </a:cubicBezTo>
                    <a:cubicBezTo>
                      <a:pt x="1846" y="1761"/>
                      <a:pt x="1846" y="1761"/>
                      <a:pt x="1846" y="1761"/>
                    </a:cubicBezTo>
                    <a:cubicBezTo>
                      <a:pt x="1846" y="1761"/>
                      <a:pt x="1854" y="1774"/>
                      <a:pt x="1846" y="1788"/>
                    </a:cubicBezTo>
                    <a:cubicBezTo>
                      <a:pt x="1838" y="1802"/>
                      <a:pt x="1820" y="1806"/>
                      <a:pt x="1812" y="1819"/>
                    </a:cubicBezTo>
                    <a:cubicBezTo>
                      <a:pt x="1804" y="1832"/>
                      <a:pt x="1801" y="1844"/>
                      <a:pt x="1793" y="1853"/>
                    </a:cubicBezTo>
                    <a:cubicBezTo>
                      <a:pt x="1785" y="1861"/>
                      <a:pt x="1769" y="1868"/>
                      <a:pt x="1762" y="1864"/>
                    </a:cubicBezTo>
                    <a:cubicBezTo>
                      <a:pt x="1758" y="1869"/>
                      <a:pt x="1755" y="1873"/>
                      <a:pt x="1755" y="1873"/>
                    </a:cubicBezTo>
                    <a:cubicBezTo>
                      <a:pt x="1755" y="1873"/>
                      <a:pt x="1757" y="1894"/>
                      <a:pt x="1749" y="1894"/>
                    </a:cubicBezTo>
                    <a:cubicBezTo>
                      <a:pt x="1741" y="1894"/>
                      <a:pt x="1696" y="1916"/>
                      <a:pt x="1706" y="1926"/>
                    </a:cubicBezTo>
                    <a:cubicBezTo>
                      <a:pt x="1707" y="1926"/>
                      <a:pt x="1707" y="1927"/>
                      <a:pt x="1708" y="1928"/>
                    </a:cubicBezTo>
                    <a:cubicBezTo>
                      <a:pt x="1716" y="1924"/>
                      <a:pt x="1723" y="1921"/>
                      <a:pt x="1724" y="1921"/>
                    </a:cubicBezTo>
                    <a:cubicBezTo>
                      <a:pt x="1727" y="1921"/>
                      <a:pt x="1731" y="1926"/>
                      <a:pt x="1731" y="1926"/>
                    </a:cubicBezTo>
                    <a:cubicBezTo>
                      <a:pt x="1731" y="1926"/>
                      <a:pt x="1746" y="1912"/>
                      <a:pt x="1754" y="1910"/>
                    </a:cubicBezTo>
                    <a:cubicBezTo>
                      <a:pt x="1762" y="1908"/>
                      <a:pt x="1770" y="1911"/>
                      <a:pt x="1770" y="1911"/>
                    </a:cubicBezTo>
                    <a:cubicBezTo>
                      <a:pt x="1770" y="1911"/>
                      <a:pt x="1775" y="1890"/>
                      <a:pt x="1800" y="1889"/>
                    </a:cubicBezTo>
                    <a:cubicBezTo>
                      <a:pt x="1825" y="1888"/>
                      <a:pt x="1842" y="1895"/>
                      <a:pt x="1842" y="1895"/>
                    </a:cubicBezTo>
                    <a:cubicBezTo>
                      <a:pt x="1858" y="1881"/>
                      <a:pt x="1858" y="1881"/>
                      <a:pt x="1858" y="1881"/>
                    </a:cubicBezTo>
                    <a:cubicBezTo>
                      <a:pt x="1900" y="1883"/>
                      <a:pt x="1900" y="1883"/>
                      <a:pt x="1900" y="1883"/>
                    </a:cubicBezTo>
                    <a:cubicBezTo>
                      <a:pt x="1903" y="1880"/>
                      <a:pt x="1905" y="1878"/>
                      <a:pt x="1906" y="1876"/>
                    </a:cubicBezTo>
                    <a:cubicBezTo>
                      <a:pt x="1908" y="1870"/>
                      <a:pt x="1908" y="1866"/>
                      <a:pt x="1907" y="1862"/>
                    </a:cubicBezTo>
                    <a:cubicBezTo>
                      <a:pt x="1889" y="1866"/>
                      <a:pt x="1883" y="1865"/>
                      <a:pt x="1882" y="1858"/>
                    </a:cubicBezTo>
                    <a:cubicBezTo>
                      <a:pt x="1881" y="1848"/>
                      <a:pt x="1915" y="1826"/>
                      <a:pt x="1928" y="1826"/>
                    </a:cubicBezTo>
                    <a:cubicBezTo>
                      <a:pt x="1941" y="1826"/>
                      <a:pt x="1960" y="1821"/>
                      <a:pt x="1964" y="1821"/>
                    </a:cubicBezTo>
                    <a:cubicBezTo>
                      <a:pt x="1968" y="1821"/>
                      <a:pt x="1985" y="1815"/>
                      <a:pt x="1985" y="1815"/>
                    </a:cubicBezTo>
                    <a:cubicBezTo>
                      <a:pt x="1985" y="1815"/>
                      <a:pt x="2012" y="1825"/>
                      <a:pt x="2016" y="1825"/>
                    </a:cubicBezTo>
                    <a:cubicBezTo>
                      <a:pt x="2020" y="1825"/>
                      <a:pt x="2020" y="1809"/>
                      <a:pt x="2020" y="1809"/>
                    </a:cubicBezTo>
                    <a:cubicBezTo>
                      <a:pt x="2020" y="1809"/>
                      <a:pt x="2027" y="1800"/>
                      <a:pt x="2037" y="1803"/>
                    </a:cubicBezTo>
                    <a:cubicBezTo>
                      <a:pt x="2040" y="1804"/>
                      <a:pt x="2042" y="1805"/>
                      <a:pt x="2043" y="1806"/>
                    </a:cubicBezTo>
                    <a:cubicBezTo>
                      <a:pt x="2045" y="1805"/>
                      <a:pt x="2047" y="1804"/>
                      <a:pt x="2048" y="1804"/>
                    </a:cubicBezTo>
                    <a:cubicBezTo>
                      <a:pt x="2054" y="1804"/>
                      <a:pt x="2056" y="1802"/>
                      <a:pt x="2064" y="1802"/>
                    </a:cubicBezTo>
                    <a:cubicBezTo>
                      <a:pt x="2072" y="1802"/>
                      <a:pt x="2106" y="1764"/>
                      <a:pt x="2123" y="1764"/>
                    </a:cubicBezTo>
                    <a:cubicBezTo>
                      <a:pt x="2140" y="1764"/>
                      <a:pt x="2271" y="1764"/>
                      <a:pt x="2271" y="1764"/>
                    </a:cubicBezTo>
                    <a:cubicBezTo>
                      <a:pt x="2271" y="1764"/>
                      <a:pt x="2271" y="1749"/>
                      <a:pt x="2283" y="1749"/>
                    </a:cubicBezTo>
                    <a:cubicBezTo>
                      <a:pt x="2295" y="1749"/>
                      <a:pt x="2303" y="1748"/>
                      <a:pt x="2303" y="1748"/>
                    </a:cubicBezTo>
                    <a:cubicBezTo>
                      <a:pt x="2303" y="1748"/>
                      <a:pt x="2314" y="1727"/>
                      <a:pt x="2323" y="1727"/>
                    </a:cubicBezTo>
                    <a:cubicBezTo>
                      <a:pt x="2333" y="1727"/>
                      <a:pt x="2340" y="1734"/>
                      <a:pt x="2340" y="1727"/>
                    </a:cubicBezTo>
                    <a:cubicBezTo>
                      <a:pt x="2340" y="1720"/>
                      <a:pt x="2343" y="1698"/>
                      <a:pt x="2349" y="1698"/>
                    </a:cubicBezTo>
                    <a:cubicBezTo>
                      <a:pt x="2355" y="1698"/>
                      <a:pt x="2363" y="1690"/>
                      <a:pt x="2363" y="1690"/>
                    </a:cubicBezTo>
                    <a:cubicBezTo>
                      <a:pt x="2363" y="1676"/>
                      <a:pt x="2363" y="1676"/>
                      <a:pt x="2363" y="1676"/>
                    </a:cubicBezTo>
                    <a:cubicBezTo>
                      <a:pt x="2390" y="1657"/>
                      <a:pt x="2390" y="1657"/>
                      <a:pt x="2390" y="1657"/>
                    </a:cubicBezTo>
                    <a:cubicBezTo>
                      <a:pt x="2390" y="1657"/>
                      <a:pt x="2401" y="1636"/>
                      <a:pt x="2414" y="1636"/>
                    </a:cubicBezTo>
                    <a:cubicBezTo>
                      <a:pt x="2427" y="1636"/>
                      <a:pt x="2418" y="1645"/>
                      <a:pt x="2430" y="1645"/>
                    </a:cubicBezTo>
                    <a:cubicBezTo>
                      <a:pt x="2442" y="1645"/>
                      <a:pt x="2469" y="1634"/>
                      <a:pt x="2469" y="1651"/>
                    </a:cubicBezTo>
                    <a:cubicBezTo>
                      <a:pt x="2469" y="1668"/>
                      <a:pt x="2439" y="1725"/>
                      <a:pt x="2442" y="1728"/>
                    </a:cubicBezTo>
                    <a:cubicBezTo>
                      <a:pt x="2445" y="1731"/>
                      <a:pt x="2453" y="1735"/>
                      <a:pt x="2453" y="1735"/>
                    </a:cubicBezTo>
                    <a:cubicBezTo>
                      <a:pt x="2453" y="1735"/>
                      <a:pt x="2439" y="1748"/>
                      <a:pt x="2444" y="1753"/>
                    </a:cubicBezTo>
                    <a:cubicBezTo>
                      <a:pt x="2449" y="1758"/>
                      <a:pt x="2457" y="1755"/>
                      <a:pt x="2457" y="1755"/>
                    </a:cubicBezTo>
                    <a:cubicBezTo>
                      <a:pt x="2458" y="1759"/>
                      <a:pt x="2458" y="1759"/>
                      <a:pt x="2458" y="1759"/>
                    </a:cubicBezTo>
                    <a:cubicBezTo>
                      <a:pt x="2462" y="1761"/>
                      <a:pt x="2472" y="1765"/>
                      <a:pt x="2484" y="1760"/>
                    </a:cubicBezTo>
                    <a:cubicBezTo>
                      <a:pt x="2499" y="1754"/>
                      <a:pt x="2511" y="1738"/>
                      <a:pt x="2511" y="1738"/>
                    </a:cubicBezTo>
                    <a:cubicBezTo>
                      <a:pt x="2517" y="1752"/>
                      <a:pt x="2517" y="1752"/>
                      <a:pt x="2517" y="1752"/>
                    </a:cubicBezTo>
                    <a:cubicBezTo>
                      <a:pt x="2517" y="1752"/>
                      <a:pt x="2549" y="1738"/>
                      <a:pt x="2554" y="1734"/>
                    </a:cubicBezTo>
                    <a:cubicBezTo>
                      <a:pt x="2559" y="1730"/>
                      <a:pt x="2580" y="1724"/>
                      <a:pt x="2580" y="1724"/>
                    </a:cubicBezTo>
                    <a:cubicBezTo>
                      <a:pt x="2590" y="1725"/>
                      <a:pt x="2590" y="1725"/>
                      <a:pt x="2590" y="1725"/>
                    </a:cubicBezTo>
                    <a:cubicBezTo>
                      <a:pt x="2561" y="1748"/>
                      <a:pt x="2561" y="1748"/>
                      <a:pt x="2561" y="1748"/>
                    </a:cubicBezTo>
                    <a:cubicBezTo>
                      <a:pt x="2622" y="1742"/>
                      <a:pt x="2622" y="1742"/>
                      <a:pt x="2622" y="1742"/>
                    </a:cubicBezTo>
                    <a:cubicBezTo>
                      <a:pt x="2622" y="1742"/>
                      <a:pt x="2593" y="1745"/>
                      <a:pt x="2592" y="1751"/>
                    </a:cubicBezTo>
                    <a:cubicBezTo>
                      <a:pt x="2591" y="1757"/>
                      <a:pt x="2587" y="1764"/>
                      <a:pt x="2587" y="1764"/>
                    </a:cubicBezTo>
                    <a:cubicBezTo>
                      <a:pt x="2587" y="1764"/>
                      <a:pt x="2568" y="1753"/>
                      <a:pt x="2561" y="1756"/>
                    </a:cubicBezTo>
                    <a:cubicBezTo>
                      <a:pt x="2554" y="1759"/>
                      <a:pt x="2486" y="1793"/>
                      <a:pt x="2483" y="1801"/>
                    </a:cubicBezTo>
                    <a:cubicBezTo>
                      <a:pt x="2480" y="1809"/>
                      <a:pt x="2474" y="1833"/>
                      <a:pt x="2479" y="1834"/>
                    </a:cubicBezTo>
                    <a:cubicBezTo>
                      <a:pt x="2484" y="1835"/>
                      <a:pt x="2491" y="1829"/>
                      <a:pt x="2491" y="1829"/>
                    </a:cubicBezTo>
                    <a:cubicBezTo>
                      <a:pt x="2491" y="1829"/>
                      <a:pt x="2489" y="1845"/>
                      <a:pt x="2498" y="1843"/>
                    </a:cubicBezTo>
                    <a:cubicBezTo>
                      <a:pt x="2507" y="1841"/>
                      <a:pt x="2513" y="1828"/>
                      <a:pt x="2513" y="1828"/>
                    </a:cubicBezTo>
                    <a:cubicBezTo>
                      <a:pt x="2513" y="1828"/>
                      <a:pt x="2539" y="1825"/>
                      <a:pt x="2553" y="1813"/>
                    </a:cubicBezTo>
                    <a:cubicBezTo>
                      <a:pt x="2567" y="1801"/>
                      <a:pt x="2582" y="1780"/>
                      <a:pt x="2582" y="1780"/>
                    </a:cubicBezTo>
                    <a:cubicBezTo>
                      <a:pt x="2582" y="1780"/>
                      <a:pt x="2582" y="1796"/>
                      <a:pt x="2596" y="1793"/>
                    </a:cubicBezTo>
                    <a:cubicBezTo>
                      <a:pt x="2610" y="1790"/>
                      <a:pt x="2644" y="1775"/>
                      <a:pt x="2655" y="1772"/>
                    </a:cubicBezTo>
                    <a:cubicBezTo>
                      <a:pt x="2666" y="1769"/>
                      <a:pt x="2718" y="1756"/>
                      <a:pt x="2718" y="1756"/>
                    </a:cubicBezTo>
                    <a:cubicBezTo>
                      <a:pt x="2709" y="1746"/>
                      <a:pt x="2709" y="1746"/>
                      <a:pt x="2709" y="1746"/>
                    </a:cubicBezTo>
                    <a:cubicBezTo>
                      <a:pt x="2713" y="1733"/>
                      <a:pt x="2713" y="1733"/>
                      <a:pt x="2713" y="1733"/>
                    </a:cubicBezTo>
                    <a:cubicBezTo>
                      <a:pt x="2692" y="1737"/>
                      <a:pt x="2692" y="1737"/>
                      <a:pt x="2692" y="1737"/>
                    </a:cubicBezTo>
                    <a:cubicBezTo>
                      <a:pt x="2691" y="1721"/>
                      <a:pt x="2691" y="1721"/>
                      <a:pt x="2691" y="1721"/>
                    </a:cubicBezTo>
                    <a:cubicBezTo>
                      <a:pt x="2691" y="1721"/>
                      <a:pt x="2667" y="1735"/>
                      <a:pt x="2661" y="1734"/>
                    </a:cubicBezTo>
                    <a:cubicBezTo>
                      <a:pt x="2655" y="1733"/>
                      <a:pt x="2657" y="1724"/>
                      <a:pt x="2657" y="1724"/>
                    </a:cubicBezTo>
                    <a:cubicBezTo>
                      <a:pt x="2657" y="1724"/>
                      <a:pt x="2625" y="1727"/>
                      <a:pt x="2619" y="1722"/>
                    </a:cubicBezTo>
                    <a:cubicBezTo>
                      <a:pt x="2613" y="1717"/>
                      <a:pt x="2605" y="1707"/>
                      <a:pt x="2614" y="1707"/>
                    </a:cubicBezTo>
                    <a:cubicBezTo>
                      <a:pt x="2623" y="1707"/>
                      <a:pt x="2610" y="1694"/>
                      <a:pt x="2599" y="1697"/>
                    </a:cubicBezTo>
                    <a:cubicBezTo>
                      <a:pt x="2588" y="1700"/>
                      <a:pt x="2584" y="1681"/>
                      <a:pt x="2584" y="1676"/>
                    </a:cubicBezTo>
                    <a:cubicBezTo>
                      <a:pt x="2584" y="1671"/>
                      <a:pt x="2596" y="1658"/>
                      <a:pt x="2596" y="1658"/>
                    </a:cubicBezTo>
                    <a:cubicBezTo>
                      <a:pt x="2580" y="1657"/>
                      <a:pt x="2580" y="1657"/>
                      <a:pt x="2580" y="1657"/>
                    </a:cubicBezTo>
                    <a:cubicBezTo>
                      <a:pt x="2580" y="1657"/>
                      <a:pt x="2599" y="1642"/>
                      <a:pt x="2606" y="1634"/>
                    </a:cubicBezTo>
                    <a:cubicBezTo>
                      <a:pt x="2613" y="1626"/>
                      <a:pt x="2632" y="1607"/>
                      <a:pt x="2632" y="1607"/>
                    </a:cubicBezTo>
                    <a:cubicBezTo>
                      <a:pt x="2622" y="1604"/>
                      <a:pt x="2622" y="1604"/>
                      <a:pt x="2622" y="1604"/>
                    </a:cubicBezTo>
                    <a:cubicBezTo>
                      <a:pt x="2608" y="1622"/>
                      <a:pt x="2608" y="1622"/>
                      <a:pt x="2608" y="1622"/>
                    </a:cubicBezTo>
                    <a:cubicBezTo>
                      <a:pt x="2593" y="1614"/>
                      <a:pt x="2593" y="1614"/>
                      <a:pt x="2593" y="1614"/>
                    </a:cubicBezTo>
                    <a:cubicBezTo>
                      <a:pt x="2574" y="1628"/>
                      <a:pt x="2574" y="1628"/>
                      <a:pt x="2574" y="1628"/>
                    </a:cubicBezTo>
                    <a:cubicBezTo>
                      <a:pt x="2571" y="1615"/>
                      <a:pt x="2571" y="1615"/>
                      <a:pt x="2571" y="1615"/>
                    </a:cubicBezTo>
                    <a:cubicBezTo>
                      <a:pt x="2552" y="1608"/>
                      <a:pt x="2552" y="1608"/>
                      <a:pt x="2552" y="1608"/>
                    </a:cubicBezTo>
                    <a:cubicBezTo>
                      <a:pt x="2537" y="1610"/>
                      <a:pt x="2537" y="1610"/>
                      <a:pt x="2537" y="1610"/>
                    </a:cubicBezTo>
                    <a:cubicBezTo>
                      <a:pt x="2574" y="1597"/>
                      <a:pt x="2574" y="1597"/>
                      <a:pt x="2574" y="1597"/>
                    </a:cubicBezTo>
                    <a:cubicBezTo>
                      <a:pt x="2574" y="1597"/>
                      <a:pt x="2581" y="1607"/>
                      <a:pt x="2591" y="1606"/>
                    </a:cubicBezTo>
                    <a:cubicBezTo>
                      <a:pt x="2601" y="1605"/>
                      <a:pt x="2624" y="1587"/>
                      <a:pt x="2624" y="1587"/>
                    </a:cubicBezTo>
                    <a:cubicBezTo>
                      <a:pt x="2624" y="1587"/>
                      <a:pt x="2650" y="1592"/>
                      <a:pt x="2651" y="1585"/>
                    </a:cubicBezTo>
                    <a:cubicBezTo>
                      <a:pt x="2652" y="1578"/>
                      <a:pt x="2644" y="1567"/>
                      <a:pt x="2644" y="1567"/>
                    </a:cubicBezTo>
                    <a:cubicBezTo>
                      <a:pt x="2660" y="1566"/>
                      <a:pt x="2660" y="1566"/>
                      <a:pt x="2660" y="1566"/>
                    </a:cubicBezTo>
                    <a:cubicBezTo>
                      <a:pt x="2660" y="1566"/>
                      <a:pt x="2651" y="1543"/>
                      <a:pt x="2609" y="1543"/>
                    </a:cubicBezTo>
                    <a:cubicBezTo>
                      <a:pt x="2567" y="1543"/>
                      <a:pt x="2517" y="1564"/>
                      <a:pt x="2494" y="1569"/>
                    </a:cubicBezTo>
                    <a:cubicBezTo>
                      <a:pt x="2471" y="1574"/>
                      <a:pt x="2434" y="1597"/>
                      <a:pt x="2427" y="1603"/>
                    </a:cubicBezTo>
                    <a:cubicBezTo>
                      <a:pt x="2420" y="1609"/>
                      <a:pt x="2378" y="1642"/>
                      <a:pt x="2368" y="1650"/>
                    </a:cubicBezTo>
                    <a:cubicBezTo>
                      <a:pt x="2358" y="1658"/>
                      <a:pt x="2322" y="1663"/>
                      <a:pt x="2322" y="1663"/>
                    </a:cubicBezTo>
                    <a:cubicBezTo>
                      <a:pt x="2322" y="1663"/>
                      <a:pt x="2372" y="1635"/>
                      <a:pt x="2381" y="1626"/>
                    </a:cubicBezTo>
                    <a:cubicBezTo>
                      <a:pt x="2390" y="1617"/>
                      <a:pt x="2403" y="1603"/>
                      <a:pt x="2403" y="1603"/>
                    </a:cubicBezTo>
                    <a:cubicBezTo>
                      <a:pt x="2388" y="1594"/>
                      <a:pt x="2388" y="1594"/>
                      <a:pt x="2388" y="1594"/>
                    </a:cubicBezTo>
                    <a:cubicBezTo>
                      <a:pt x="2388" y="1594"/>
                      <a:pt x="2409" y="1602"/>
                      <a:pt x="2414" y="1597"/>
                    </a:cubicBezTo>
                    <a:cubicBezTo>
                      <a:pt x="2419" y="1592"/>
                      <a:pt x="2469" y="1559"/>
                      <a:pt x="2481" y="1550"/>
                    </a:cubicBezTo>
                    <a:cubicBezTo>
                      <a:pt x="2493" y="1541"/>
                      <a:pt x="2531" y="1535"/>
                      <a:pt x="2535" y="1537"/>
                    </a:cubicBezTo>
                    <a:cubicBezTo>
                      <a:pt x="2539" y="1539"/>
                      <a:pt x="2561" y="1501"/>
                      <a:pt x="2591" y="1496"/>
                    </a:cubicBezTo>
                    <a:cubicBezTo>
                      <a:pt x="2621" y="1491"/>
                      <a:pt x="2697" y="1487"/>
                      <a:pt x="2713" y="1487"/>
                    </a:cubicBezTo>
                    <a:cubicBezTo>
                      <a:pt x="2729" y="1487"/>
                      <a:pt x="2788" y="1504"/>
                      <a:pt x="2798" y="1502"/>
                    </a:cubicBezTo>
                    <a:cubicBezTo>
                      <a:pt x="2808" y="1500"/>
                      <a:pt x="2829" y="1489"/>
                      <a:pt x="2839" y="1488"/>
                    </a:cubicBezTo>
                    <a:cubicBezTo>
                      <a:pt x="2849" y="1487"/>
                      <a:pt x="2880" y="1482"/>
                      <a:pt x="2892" y="1473"/>
                    </a:cubicBezTo>
                    <a:cubicBezTo>
                      <a:pt x="2904" y="1464"/>
                      <a:pt x="2930" y="1439"/>
                      <a:pt x="2940" y="1437"/>
                    </a:cubicBezTo>
                    <a:cubicBezTo>
                      <a:pt x="2950" y="1435"/>
                      <a:pt x="2967" y="1436"/>
                      <a:pt x="2967" y="1436"/>
                    </a:cubicBezTo>
                    <a:cubicBezTo>
                      <a:pt x="2967" y="1436"/>
                      <a:pt x="2980" y="1424"/>
                      <a:pt x="2990" y="1424"/>
                    </a:cubicBezTo>
                    <a:cubicBezTo>
                      <a:pt x="3000" y="1424"/>
                      <a:pt x="3001" y="1429"/>
                      <a:pt x="3018" y="1421"/>
                    </a:cubicBezTo>
                    <a:cubicBezTo>
                      <a:pt x="3018" y="1421"/>
                      <a:pt x="3083" y="1404"/>
                      <a:pt x="3077" y="1394"/>
                    </a:cubicBezTo>
                    <a:cubicBezTo>
                      <a:pt x="3071" y="1384"/>
                      <a:pt x="3052" y="1371"/>
                      <a:pt x="3052" y="1371"/>
                    </a:cubicBezTo>
                    <a:cubicBezTo>
                      <a:pt x="3052" y="1371"/>
                      <a:pt x="3076" y="1373"/>
                      <a:pt x="3076" y="1364"/>
                    </a:cubicBezTo>
                    <a:cubicBezTo>
                      <a:pt x="3076" y="1355"/>
                      <a:pt x="3072" y="1343"/>
                      <a:pt x="3072" y="1343"/>
                    </a:cubicBezTo>
                    <a:cubicBezTo>
                      <a:pt x="3072" y="1343"/>
                      <a:pt x="3100" y="1347"/>
                      <a:pt x="3094" y="1331"/>
                    </a:cubicBezTo>
                    <a:cubicBezTo>
                      <a:pt x="3088" y="1315"/>
                      <a:pt x="3065" y="1304"/>
                      <a:pt x="3058" y="1312"/>
                    </a:cubicBezTo>
                    <a:close/>
                    <a:moveTo>
                      <a:pt x="969" y="735"/>
                    </a:moveTo>
                    <a:cubicBezTo>
                      <a:pt x="976" y="730"/>
                      <a:pt x="1004" y="720"/>
                      <a:pt x="1004" y="720"/>
                    </a:cubicBezTo>
                    <a:cubicBezTo>
                      <a:pt x="1004" y="720"/>
                      <a:pt x="999" y="712"/>
                      <a:pt x="1005" y="709"/>
                    </a:cubicBezTo>
                    <a:cubicBezTo>
                      <a:pt x="1011" y="706"/>
                      <a:pt x="1029" y="715"/>
                      <a:pt x="1051" y="709"/>
                    </a:cubicBezTo>
                    <a:cubicBezTo>
                      <a:pt x="1073" y="703"/>
                      <a:pt x="1053" y="691"/>
                      <a:pt x="1034" y="691"/>
                    </a:cubicBezTo>
                    <a:cubicBezTo>
                      <a:pt x="1015" y="691"/>
                      <a:pt x="1010" y="698"/>
                      <a:pt x="999" y="703"/>
                    </a:cubicBezTo>
                    <a:cubicBezTo>
                      <a:pt x="988" y="708"/>
                      <a:pt x="989" y="698"/>
                      <a:pt x="989" y="698"/>
                    </a:cubicBezTo>
                    <a:cubicBezTo>
                      <a:pt x="977" y="703"/>
                      <a:pt x="977" y="703"/>
                      <a:pt x="977" y="703"/>
                    </a:cubicBezTo>
                    <a:cubicBezTo>
                      <a:pt x="954" y="700"/>
                      <a:pt x="954" y="700"/>
                      <a:pt x="954" y="700"/>
                    </a:cubicBezTo>
                    <a:cubicBezTo>
                      <a:pt x="954" y="700"/>
                      <a:pt x="933" y="710"/>
                      <a:pt x="924" y="707"/>
                    </a:cubicBezTo>
                    <a:cubicBezTo>
                      <a:pt x="915" y="704"/>
                      <a:pt x="950" y="694"/>
                      <a:pt x="960" y="689"/>
                    </a:cubicBezTo>
                    <a:cubicBezTo>
                      <a:pt x="970" y="684"/>
                      <a:pt x="979" y="690"/>
                      <a:pt x="992" y="690"/>
                    </a:cubicBezTo>
                    <a:cubicBezTo>
                      <a:pt x="1005" y="690"/>
                      <a:pt x="1001" y="681"/>
                      <a:pt x="1001" y="681"/>
                    </a:cubicBezTo>
                    <a:cubicBezTo>
                      <a:pt x="1071" y="676"/>
                      <a:pt x="1071" y="676"/>
                      <a:pt x="1071" y="676"/>
                    </a:cubicBezTo>
                    <a:cubicBezTo>
                      <a:pt x="1071" y="676"/>
                      <a:pt x="1106" y="666"/>
                      <a:pt x="1119" y="664"/>
                    </a:cubicBezTo>
                    <a:cubicBezTo>
                      <a:pt x="1132" y="662"/>
                      <a:pt x="1140" y="669"/>
                      <a:pt x="1140" y="669"/>
                    </a:cubicBezTo>
                    <a:cubicBezTo>
                      <a:pt x="1140" y="669"/>
                      <a:pt x="1143" y="663"/>
                      <a:pt x="1150" y="660"/>
                    </a:cubicBezTo>
                    <a:cubicBezTo>
                      <a:pt x="1157" y="657"/>
                      <a:pt x="1179" y="667"/>
                      <a:pt x="1179" y="667"/>
                    </a:cubicBezTo>
                    <a:cubicBezTo>
                      <a:pt x="1179" y="667"/>
                      <a:pt x="1157" y="673"/>
                      <a:pt x="1149" y="677"/>
                    </a:cubicBezTo>
                    <a:cubicBezTo>
                      <a:pt x="1141" y="681"/>
                      <a:pt x="1107" y="683"/>
                      <a:pt x="1107" y="683"/>
                    </a:cubicBezTo>
                    <a:cubicBezTo>
                      <a:pt x="1105" y="691"/>
                      <a:pt x="1105" y="691"/>
                      <a:pt x="1105" y="691"/>
                    </a:cubicBezTo>
                    <a:cubicBezTo>
                      <a:pt x="1123" y="691"/>
                      <a:pt x="1123" y="691"/>
                      <a:pt x="1123" y="691"/>
                    </a:cubicBezTo>
                    <a:cubicBezTo>
                      <a:pt x="1123" y="691"/>
                      <a:pt x="1134" y="694"/>
                      <a:pt x="1138" y="694"/>
                    </a:cubicBezTo>
                    <a:cubicBezTo>
                      <a:pt x="1142" y="694"/>
                      <a:pt x="1168" y="691"/>
                      <a:pt x="1182" y="690"/>
                    </a:cubicBezTo>
                    <a:cubicBezTo>
                      <a:pt x="1196" y="689"/>
                      <a:pt x="1176" y="680"/>
                      <a:pt x="1176" y="680"/>
                    </a:cubicBezTo>
                    <a:cubicBezTo>
                      <a:pt x="1213" y="679"/>
                      <a:pt x="1213" y="679"/>
                      <a:pt x="1213" y="679"/>
                    </a:cubicBezTo>
                    <a:cubicBezTo>
                      <a:pt x="1213" y="679"/>
                      <a:pt x="1208" y="692"/>
                      <a:pt x="1189" y="698"/>
                    </a:cubicBezTo>
                    <a:cubicBezTo>
                      <a:pt x="1170" y="704"/>
                      <a:pt x="1158" y="711"/>
                      <a:pt x="1158" y="711"/>
                    </a:cubicBezTo>
                    <a:cubicBezTo>
                      <a:pt x="1158" y="711"/>
                      <a:pt x="1157" y="723"/>
                      <a:pt x="1149" y="725"/>
                    </a:cubicBezTo>
                    <a:cubicBezTo>
                      <a:pt x="1141" y="727"/>
                      <a:pt x="1119" y="716"/>
                      <a:pt x="1119" y="716"/>
                    </a:cubicBezTo>
                    <a:cubicBezTo>
                      <a:pt x="1114" y="723"/>
                      <a:pt x="1114" y="723"/>
                      <a:pt x="1114" y="723"/>
                    </a:cubicBezTo>
                    <a:cubicBezTo>
                      <a:pt x="1104" y="714"/>
                      <a:pt x="1104" y="714"/>
                      <a:pt x="1104" y="714"/>
                    </a:cubicBezTo>
                    <a:cubicBezTo>
                      <a:pt x="1094" y="724"/>
                      <a:pt x="1094" y="724"/>
                      <a:pt x="1094" y="724"/>
                    </a:cubicBezTo>
                    <a:cubicBezTo>
                      <a:pt x="1094" y="724"/>
                      <a:pt x="1086" y="718"/>
                      <a:pt x="1080" y="725"/>
                    </a:cubicBezTo>
                    <a:cubicBezTo>
                      <a:pt x="1074" y="732"/>
                      <a:pt x="1086" y="738"/>
                      <a:pt x="1086" y="738"/>
                    </a:cubicBezTo>
                    <a:cubicBezTo>
                      <a:pt x="1065" y="741"/>
                      <a:pt x="1065" y="741"/>
                      <a:pt x="1065" y="741"/>
                    </a:cubicBezTo>
                    <a:cubicBezTo>
                      <a:pt x="1065" y="741"/>
                      <a:pt x="1050" y="751"/>
                      <a:pt x="1047" y="751"/>
                    </a:cubicBezTo>
                    <a:cubicBezTo>
                      <a:pt x="1044" y="751"/>
                      <a:pt x="1001" y="764"/>
                      <a:pt x="990" y="760"/>
                    </a:cubicBezTo>
                    <a:cubicBezTo>
                      <a:pt x="979" y="756"/>
                      <a:pt x="1018" y="749"/>
                      <a:pt x="1033" y="746"/>
                    </a:cubicBezTo>
                    <a:cubicBezTo>
                      <a:pt x="1048" y="743"/>
                      <a:pt x="1070" y="726"/>
                      <a:pt x="1057" y="724"/>
                    </a:cubicBezTo>
                    <a:cubicBezTo>
                      <a:pt x="1044" y="722"/>
                      <a:pt x="992" y="751"/>
                      <a:pt x="979" y="753"/>
                    </a:cubicBezTo>
                    <a:cubicBezTo>
                      <a:pt x="966" y="755"/>
                      <a:pt x="940" y="751"/>
                      <a:pt x="931" y="746"/>
                    </a:cubicBezTo>
                    <a:cubicBezTo>
                      <a:pt x="922" y="741"/>
                      <a:pt x="962" y="740"/>
                      <a:pt x="969" y="735"/>
                    </a:cubicBezTo>
                    <a:close/>
                    <a:moveTo>
                      <a:pt x="1324" y="872"/>
                    </a:moveTo>
                    <a:cubicBezTo>
                      <a:pt x="1324" y="869"/>
                      <a:pt x="1312" y="855"/>
                      <a:pt x="1308" y="862"/>
                    </a:cubicBezTo>
                    <a:cubicBezTo>
                      <a:pt x="1304" y="869"/>
                      <a:pt x="1305" y="876"/>
                      <a:pt x="1305" y="876"/>
                    </a:cubicBezTo>
                    <a:cubicBezTo>
                      <a:pt x="1305" y="876"/>
                      <a:pt x="1291" y="868"/>
                      <a:pt x="1285" y="870"/>
                    </a:cubicBezTo>
                    <a:cubicBezTo>
                      <a:pt x="1279" y="872"/>
                      <a:pt x="1283" y="879"/>
                      <a:pt x="1283" y="879"/>
                    </a:cubicBezTo>
                    <a:cubicBezTo>
                      <a:pt x="1266" y="881"/>
                      <a:pt x="1266" y="881"/>
                      <a:pt x="1266" y="881"/>
                    </a:cubicBezTo>
                    <a:cubicBezTo>
                      <a:pt x="1266" y="881"/>
                      <a:pt x="1254" y="877"/>
                      <a:pt x="1239" y="887"/>
                    </a:cubicBezTo>
                    <a:cubicBezTo>
                      <a:pt x="1224" y="897"/>
                      <a:pt x="1195" y="916"/>
                      <a:pt x="1181" y="919"/>
                    </a:cubicBezTo>
                    <a:cubicBezTo>
                      <a:pt x="1167" y="922"/>
                      <a:pt x="1147" y="928"/>
                      <a:pt x="1147" y="928"/>
                    </a:cubicBezTo>
                    <a:cubicBezTo>
                      <a:pt x="1147" y="928"/>
                      <a:pt x="1116" y="920"/>
                      <a:pt x="1108" y="928"/>
                    </a:cubicBezTo>
                    <a:cubicBezTo>
                      <a:pt x="1100" y="936"/>
                      <a:pt x="1094" y="947"/>
                      <a:pt x="1094" y="947"/>
                    </a:cubicBezTo>
                    <a:cubicBezTo>
                      <a:pt x="1065" y="947"/>
                      <a:pt x="1065" y="947"/>
                      <a:pt x="1065" y="947"/>
                    </a:cubicBezTo>
                    <a:cubicBezTo>
                      <a:pt x="1059" y="953"/>
                      <a:pt x="1059" y="953"/>
                      <a:pt x="1059" y="953"/>
                    </a:cubicBezTo>
                    <a:cubicBezTo>
                      <a:pt x="1059" y="953"/>
                      <a:pt x="1045" y="950"/>
                      <a:pt x="1038" y="952"/>
                    </a:cubicBezTo>
                    <a:cubicBezTo>
                      <a:pt x="1031" y="954"/>
                      <a:pt x="1012" y="957"/>
                      <a:pt x="1005" y="956"/>
                    </a:cubicBezTo>
                    <a:cubicBezTo>
                      <a:pt x="998" y="955"/>
                      <a:pt x="987" y="947"/>
                      <a:pt x="984" y="948"/>
                    </a:cubicBezTo>
                    <a:cubicBezTo>
                      <a:pt x="981" y="949"/>
                      <a:pt x="963" y="946"/>
                      <a:pt x="963" y="942"/>
                    </a:cubicBezTo>
                    <a:cubicBezTo>
                      <a:pt x="963" y="938"/>
                      <a:pt x="985" y="939"/>
                      <a:pt x="985" y="939"/>
                    </a:cubicBezTo>
                    <a:cubicBezTo>
                      <a:pt x="985" y="939"/>
                      <a:pt x="994" y="929"/>
                      <a:pt x="997" y="929"/>
                    </a:cubicBezTo>
                    <a:cubicBezTo>
                      <a:pt x="1000" y="929"/>
                      <a:pt x="1008" y="937"/>
                      <a:pt x="1018" y="937"/>
                    </a:cubicBezTo>
                    <a:cubicBezTo>
                      <a:pt x="1028" y="937"/>
                      <a:pt x="1028" y="929"/>
                      <a:pt x="1028" y="929"/>
                    </a:cubicBezTo>
                    <a:cubicBezTo>
                      <a:pt x="1039" y="929"/>
                      <a:pt x="1039" y="929"/>
                      <a:pt x="1039" y="929"/>
                    </a:cubicBezTo>
                    <a:cubicBezTo>
                      <a:pt x="1039" y="929"/>
                      <a:pt x="1049" y="911"/>
                      <a:pt x="1059" y="910"/>
                    </a:cubicBezTo>
                    <a:cubicBezTo>
                      <a:pt x="1069" y="909"/>
                      <a:pt x="1072" y="918"/>
                      <a:pt x="1090" y="911"/>
                    </a:cubicBezTo>
                    <a:cubicBezTo>
                      <a:pt x="1108" y="904"/>
                      <a:pt x="1093" y="882"/>
                      <a:pt x="1093" y="882"/>
                    </a:cubicBezTo>
                    <a:cubicBezTo>
                      <a:pt x="1093" y="882"/>
                      <a:pt x="1071" y="868"/>
                      <a:pt x="1085" y="862"/>
                    </a:cubicBezTo>
                    <a:cubicBezTo>
                      <a:pt x="1091" y="859"/>
                      <a:pt x="1099" y="872"/>
                      <a:pt x="1099" y="872"/>
                    </a:cubicBezTo>
                    <a:cubicBezTo>
                      <a:pt x="1107" y="871"/>
                      <a:pt x="1107" y="871"/>
                      <a:pt x="1107" y="871"/>
                    </a:cubicBezTo>
                    <a:cubicBezTo>
                      <a:pt x="1119" y="882"/>
                      <a:pt x="1119" y="882"/>
                      <a:pt x="1119" y="882"/>
                    </a:cubicBezTo>
                    <a:cubicBezTo>
                      <a:pt x="1119" y="882"/>
                      <a:pt x="1133" y="881"/>
                      <a:pt x="1137" y="884"/>
                    </a:cubicBezTo>
                    <a:cubicBezTo>
                      <a:pt x="1141" y="887"/>
                      <a:pt x="1130" y="902"/>
                      <a:pt x="1153" y="901"/>
                    </a:cubicBezTo>
                    <a:cubicBezTo>
                      <a:pt x="1176" y="900"/>
                      <a:pt x="1176" y="895"/>
                      <a:pt x="1176" y="895"/>
                    </a:cubicBezTo>
                    <a:cubicBezTo>
                      <a:pt x="1187" y="896"/>
                      <a:pt x="1187" y="896"/>
                      <a:pt x="1187" y="896"/>
                    </a:cubicBezTo>
                    <a:cubicBezTo>
                      <a:pt x="1187" y="896"/>
                      <a:pt x="1227" y="880"/>
                      <a:pt x="1241" y="871"/>
                    </a:cubicBezTo>
                    <a:cubicBezTo>
                      <a:pt x="1255" y="862"/>
                      <a:pt x="1277" y="855"/>
                      <a:pt x="1295" y="854"/>
                    </a:cubicBezTo>
                    <a:cubicBezTo>
                      <a:pt x="1313" y="853"/>
                      <a:pt x="1351" y="857"/>
                      <a:pt x="1348" y="861"/>
                    </a:cubicBezTo>
                    <a:cubicBezTo>
                      <a:pt x="1345" y="865"/>
                      <a:pt x="1324" y="875"/>
                      <a:pt x="1324" y="872"/>
                    </a:cubicBezTo>
                    <a:close/>
                    <a:moveTo>
                      <a:pt x="1405" y="1355"/>
                    </a:moveTo>
                    <a:cubicBezTo>
                      <a:pt x="1405" y="1355"/>
                      <a:pt x="1402" y="1384"/>
                      <a:pt x="1403" y="1393"/>
                    </a:cubicBezTo>
                    <a:cubicBezTo>
                      <a:pt x="1404" y="1402"/>
                      <a:pt x="1399" y="1411"/>
                      <a:pt x="1396" y="1416"/>
                    </a:cubicBezTo>
                    <a:cubicBezTo>
                      <a:pt x="1393" y="1421"/>
                      <a:pt x="1400" y="1422"/>
                      <a:pt x="1403" y="1433"/>
                    </a:cubicBezTo>
                    <a:cubicBezTo>
                      <a:pt x="1406" y="1444"/>
                      <a:pt x="1382" y="1471"/>
                      <a:pt x="1382" y="1471"/>
                    </a:cubicBezTo>
                    <a:cubicBezTo>
                      <a:pt x="1368" y="1466"/>
                      <a:pt x="1368" y="1466"/>
                      <a:pt x="1368" y="1466"/>
                    </a:cubicBezTo>
                    <a:cubicBezTo>
                      <a:pt x="1368" y="1466"/>
                      <a:pt x="1365" y="1485"/>
                      <a:pt x="1348" y="1482"/>
                    </a:cubicBezTo>
                    <a:cubicBezTo>
                      <a:pt x="1331" y="1479"/>
                      <a:pt x="1387" y="1431"/>
                      <a:pt x="1387" y="1419"/>
                    </a:cubicBezTo>
                    <a:cubicBezTo>
                      <a:pt x="1387" y="1407"/>
                      <a:pt x="1366" y="1427"/>
                      <a:pt x="1366" y="1427"/>
                    </a:cubicBezTo>
                    <a:cubicBezTo>
                      <a:pt x="1379" y="1406"/>
                      <a:pt x="1379" y="1406"/>
                      <a:pt x="1379" y="1406"/>
                    </a:cubicBezTo>
                    <a:cubicBezTo>
                      <a:pt x="1379" y="1406"/>
                      <a:pt x="1383" y="1393"/>
                      <a:pt x="1372" y="1390"/>
                    </a:cubicBezTo>
                    <a:cubicBezTo>
                      <a:pt x="1361" y="1387"/>
                      <a:pt x="1367" y="1407"/>
                      <a:pt x="1354" y="1407"/>
                    </a:cubicBezTo>
                    <a:cubicBezTo>
                      <a:pt x="1341" y="1407"/>
                      <a:pt x="1351" y="1376"/>
                      <a:pt x="1351" y="1376"/>
                    </a:cubicBezTo>
                    <a:cubicBezTo>
                      <a:pt x="1351" y="1376"/>
                      <a:pt x="1345" y="1370"/>
                      <a:pt x="1343" y="1361"/>
                    </a:cubicBezTo>
                    <a:cubicBezTo>
                      <a:pt x="1341" y="1352"/>
                      <a:pt x="1365" y="1352"/>
                      <a:pt x="1367" y="1346"/>
                    </a:cubicBezTo>
                    <a:cubicBezTo>
                      <a:pt x="1369" y="1340"/>
                      <a:pt x="1347" y="1349"/>
                      <a:pt x="1343" y="1340"/>
                    </a:cubicBezTo>
                    <a:cubicBezTo>
                      <a:pt x="1342" y="1338"/>
                      <a:pt x="1372" y="1307"/>
                      <a:pt x="1382" y="1303"/>
                    </a:cubicBezTo>
                    <a:cubicBezTo>
                      <a:pt x="1392" y="1299"/>
                      <a:pt x="1391" y="1306"/>
                      <a:pt x="1395" y="1307"/>
                    </a:cubicBezTo>
                    <a:cubicBezTo>
                      <a:pt x="1399" y="1308"/>
                      <a:pt x="1410" y="1305"/>
                      <a:pt x="1418" y="1322"/>
                    </a:cubicBezTo>
                    <a:cubicBezTo>
                      <a:pt x="1426" y="1339"/>
                      <a:pt x="1405" y="1355"/>
                      <a:pt x="1405" y="1355"/>
                    </a:cubicBezTo>
                    <a:close/>
                    <a:moveTo>
                      <a:pt x="156" y="1459"/>
                    </a:moveTo>
                    <a:cubicBezTo>
                      <a:pt x="146" y="1456"/>
                      <a:pt x="147" y="1473"/>
                      <a:pt x="147" y="1473"/>
                    </a:cubicBezTo>
                    <a:cubicBezTo>
                      <a:pt x="155" y="1473"/>
                      <a:pt x="166" y="1462"/>
                      <a:pt x="156" y="1459"/>
                    </a:cubicBezTo>
                    <a:close/>
                    <a:moveTo>
                      <a:pt x="2216" y="1197"/>
                    </a:moveTo>
                    <a:cubicBezTo>
                      <a:pt x="2248" y="1196"/>
                      <a:pt x="2259" y="1170"/>
                      <a:pt x="2228" y="1170"/>
                    </a:cubicBezTo>
                    <a:cubicBezTo>
                      <a:pt x="2196" y="1171"/>
                      <a:pt x="2216" y="1197"/>
                      <a:pt x="2216" y="1197"/>
                    </a:cubicBezTo>
                    <a:close/>
                    <a:moveTo>
                      <a:pt x="2456" y="825"/>
                    </a:moveTo>
                    <a:cubicBezTo>
                      <a:pt x="2456" y="825"/>
                      <a:pt x="2433" y="822"/>
                      <a:pt x="2423" y="814"/>
                    </a:cubicBezTo>
                    <a:cubicBezTo>
                      <a:pt x="2413" y="806"/>
                      <a:pt x="2418" y="785"/>
                      <a:pt x="2418" y="785"/>
                    </a:cubicBezTo>
                    <a:cubicBezTo>
                      <a:pt x="2397" y="769"/>
                      <a:pt x="2397" y="769"/>
                      <a:pt x="2397" y="769"/>
                    </a:cubicBezTo>
                    <a:cubicBezTo>
                      <a:pt x="2370" y="772"/>
                      <a:pt x="2370" y="772"/>
                      <a:pt x="2370" y="772"/>
                    </a:cubicBezTo>
                    <a:cubicBezTo>
                      <a:pt x="2366" y="763"/>
                      <a:pt x="2366" y="763"/>
                      <a:pt x="2366" y="763"/>
                    </a:cubicBezTo>
                    <a:cubicBezTo>
                      <a:pt x="2353" y="741"/>
                      <a:pt x="2353" y="741"/>
                      <a:pt x="2353" y="741"/>
                    </a:cubicBezTo>
                    <a:cubicBezTo>
                      <a:pt x="2330" y="745"/>
                      <a:pt x="2330" y="745"/>
                      <a:pt x="2330" y="745"/>
                    </a:cubicBezTo>
                    <a:cubicBezTo>
                      <a:pt x="2317" y="738"/>
                      <a:pt x="2317" y="738"/>
                      <a:pt x="2317" y="738"/>
                    </a:cubicBezTo>
                    <a:cubicBezTo>
                      <a:pt x="2329" y="727"/>
                      <a:pt x="2329" y="727"/>
                      <a:pt x="2329" y="727"/>
                    </a:cubicBezTo>
                    <a:cubicBezTo>
                      <a:pt x="2327" y="710"/>
                      <a:pt x="2327" y="710"/>
                      <a:pt x="2327" y="710"/>
                    </a:cubicBezTo>
                    <a:cubicBezTo>
                      <a:pt x="2293" y="728"/>
                      <a:pt x="2293" y="728"/>
                      <a:pt x="2293" y="728"/>
                    </a:cubicBezTo>
                    <a:cubicBezTo>
                      <a:pt x="2276" y="736"/>
                      <a:pt x="2276" y="736"/>
                      <a:pt x="2276" y="736"/>
                    </a:cubicBezTo>
                    <a:cubicBezTo>
                      <a:pt x="2257" y="764"/>
                      <a:pt x="2257" y="764"/>
                      <a:pt x="2257" y="764"/>
                    </a:cubicBezTo>
                    <a:cubicBezTo>
                      <a:pt x="2257" y="764"/>
                      <a:pt x="2226" y="771"/>
                      <a:pt x="2224" y="777"/>
                    </a:cubicBezTo>
                    <a:cubicBezTo>
                      <a:pt x="2222" y="783"/>
                      <a:pt x="2234" y="790"/>
                      <a:pt x="2224" y="793"/>
                    </a:cubicBezTo>
                    <a:cubicBezTo>
                      <a:pt x="2215" y="797"/>
                      <a:pt x="2186" y="807"/>
                      <a:pt x="2186" y="807"/>
                    </a:cubicBezTo>
                    <a:cubicBezTo>
                      <a:pt x="2203" y="815"/>
                      <a:pt x="2203" y="815"/>
                      <a:pt x="2203" y="815"/>
                    </a:cubicBezTo>
                    <a:cubicBezTo>
                      <a:pt x="2203" y="815"/>
                      <a:pt x="2230" y="811"/>
                      <a:pt x="2231" y="814"/>
                    </a:cubicBezTo>
                    <a:cubicBezTo>
                      <a:pt x="2231" y="817"/>
                      <a:pt x="2225" y="822"/>
                      <a:pt x="2225" y="833"/>
                    </a:cubicBezTo>
                    <a:cubicBezTo>
                      <a:pt x="2225" y="844"/>
                      <a:pt x="2268" y="845"/>
                      <a:pt x="2287" y="835"/>
                    </a:cubicBezTo>
                    <a:cubicBezTo>
                      <a:pt x="2306" y="826"/>
                      <a:pt x="2296" y="808"/>
                      <a:pt x="2324" y="809"/>
                    </a:cubicBezTo>
                    <a:cubicBezTo>
                      <a:pt x="2351" y="809"/>
                      <a:pt x="2355" y="818"/>
                      <a:pt x="2355" y="818"/>
                    </a:cubicBezTo>
                    <a:cubicBezTo>
                      <a:pt x="2386" y="823"/>
                      <a:pt x="2386" y="823"/>
                      <a:pt x="2386" y="823"/>
                    </a:cubicBezTo>
                    <a:cubicBezTo>
                      <a:pt x="2390" y="834"/>
                      <a:pt x="2390" y="834"/>
                      <a:pt x="2390" y="834"/>
                    </a:cubicBezTo>
                    <a:cubicBezTo>
                      <a:pt x="2452" y="838"/>
                      <a:pt x="2452" y="838"/>
                      <a:pt x="2452" y="838"/>
                    </a:cubicBezTo>
                    <a:lnTo>
                      <a:pt x="2456" y="825"/>
                    </a:lnTo>
                    <a:close/>
                    <a:moveTo>
                      <a:pt x="2393" y="886"/>
                    </a:moveTo>
                    <a:cubicBezTo>
                      <a:pt x="2352" y="899"/>
                      <a:pt x="2393" y="913"/>
                      <a:pt x="2393" y="913"/>
                    </a:cubicBezTo>
                    <a:cubicBezTo>
                      <a:pt x="2415" y="897"/>
                      <a:pt x="2434" y="872"/>
                      <a:pt x="2393" y="886"/>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73" name="Belize">
                <a:extLst>
                  <a:ext uri="{FF2B5EF4-FFF2-40B4-BE49-F238E27FC236}">
                    <a16:creationId xmlns:a16="http://schemas.microsoft.com/office/drawing/2014/main" id="{5AB087D0-D862-4AB1-8054-56468682DC81}"/>
                  </a:ext>
                </a:extLst>
              </p:cNvPr>
              <p:cNvSpPr>
                <a:spLocks/>
              </p:cNvSpPr>
              <p:nvPr/>
            </p:nvSpPr>
            <p:spPr bwMode="gray">
              <a:xfrm>
                <a:off x="3271052" y="3526597"/>
                <a:ext cx="41282" cy="77752"/>
              </a:xfrm>
              <a:custGeom>
                <a:avLst/>
                <a:gdLst>
                  <a:gd name="T0" fmla="*/ 72 w 72"/>
                  <a:gd name="T1" fmla="*/ 22 h 140"/>
                  <a:gd name="T2" fmla="*/ 54 w 72"/>
                  <a:gd name="T3" fmla="*/ 11 h 140"/>
                  <a:gd name="T4" fmla="*/ 51 w 72"/>
                  <a:gd name="T5" fmla="*/ 0 h 140"/>
                  <a:gd name="T6" fmla="*/ 33 w 72"/>
                  <a:gd name="T7" fmla="*/ 33 h 140"/>
                  <a:gd name="T8" fmla="*/ 23 w 72"/>
                  <a:gd name="T9" fmla="*/ 26 h 140"/>
                  <a:gd name="T10" fmla="*/ 16 w 72"/>
                  <a:gd name="T11" fmla="*/ 36 h 140"/>
                  <a:gd name="T12" fmla="*/ 0 w 72"/>
                  <a:gd name="T13" fmla="*/ 140 h 140"/>
                  <a:gd name="T14" fmla="*/ 18 w 72"/>
                  <a:gd name="T15" fmla="*/ 140 h 140"/>
                  <a:gd name="T16" fmla="*/ 28 w 72"/>
                  <a:gd name="T17" fmla="*/ 114 h 140"/>
                  <a:gd name="T18" fmla="*/ 39 w 72"/>
                  <a:gd name="T19" fmla="*/ 118 h 140"/>
                  <a:gd name="T20" fmla="*/ 55 w 72"/>
                  <a:gd name="T21" fmla="*/ 93 h 140"/>
                  <a:gd name="T22" fmla="*/ 55 w 72"/>
                  <a:gd name="T23" fmla="*/ 60 h 140"/>
                  <a:gd name="T24" fmla="*/ 72 w 72"/>
                  <a:gd name="T25" fmla="*/ 2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0">
                    <a:moveTo>
                      <a:pt x="72" y="22"/>
                    </a:moveTo>
                    <a:cubicBezTo>
                      <a:pt x="72" y="17"/>
                      <a:pt x="54" y="11"/>
                      <a:pt x="54" y="11"/>
                    </a:cubicBezTo>
                    <a:cubicBezTo>
                      <a:pt x="51" y="0"/>
                      <a:pt x="51" y="0"/>
                      <a:pt x="51" y="0"/>
                    </a:cubicBezTo>
                    <a:cubicBezTo>
                      <a:pt x="51" y="0"/>
                      <a:pt x="44" y="32"/>
                      <a:pt x="33" y="33"/>
                    </a:cubicBezTo>
                    <a:cubicBezTo>
                      <a:pt x="22" y="34"/>
                      <a:pt x="28" y="26"/>
                      <a:pt x="23" y="26"/>
                    </a:cubicBezTo>
                    <a:cubicBezTo>
                      <a:pt x="18" y="26"/>
                      <a:pt x="16" y="36"/>
                      <a:pt x="16" y="36"/>
                    </a:cubicBezTo>
                    <a:cubicBezTo>
                      <a:pt x="0" y="140"/>
                      <a:pt x="0" y="140"/>
                      <a:pt x="0" y="140"/>
                    </a:cubicBezTo>
                    <a:cubicBezTo>
                      <a:pt x="18" y="140"/>
                      <a:pt x="18" y="140"/>
                      <a:pt x="18" y="140"/>
                    </a:cubicBezTo>
                    <a:cubicBezTo>
                      <a:pt x="28" y="114"/>
                      <a:pt x="28" y="114"/>
                      <a:pt x="28" y="114"/>
                    </a:cubicBezTo>
                    <a:cubicBezTo>
                      <a:pt x="39" y="118"/>
                      <a:pt x="39" y="118"/>
                      <a:pt x="39" y="118"/>
                    </a:cubicBezTo>
                    <a:cubicBezTo>
                      <a:pt x="39" y="118"/>
                      <a:pt x="55" y="104"/>
                      <a:pt x="55" y="93"/>
                    </a:cubicBezTo>
                    <a:cubicBezTo>
                      <a:pt x="55" y="82"/>
                      <a:pt x="51" y="70"/>
                      <a:pt x="55" y="60"/>
                    </a:cubicBezTo>
                    <a:cubicBezTo>
                      <a:pt x="59" y="50"/>
                      <a:pt x="72" y="27"/>
                      <a:pt x="72" y="22"/>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74" name="Alaska">
                <a:extLst>
                  <a:ext uri="{FF2B5EF4-FFF2-40B4-BE49-F238E27FC236}">
                    <a16:creationId xmlns:a16="http://schemas.microsoft.com/office/drawing/2014/main" id="{57AFEC97-ACE6-4A60-9A84-ED98649429E0}"/>
                  </a:ext>
                </a:extLst>
              </p:cNvPr>
              <p:cNvSpPr>
                <a:spLocks noEditPoints="1"/>
              </p:cNvSpPr>
              <p:nvPr/>
            </p:nvSpPr>
            <p:spPr bwMode="gray">
              <a:xfrm>
                <a:off x="1837292" y="2004890"/>
                <a:ext cx="1147961" cy="495070"/>
              </a:xfrm>
              <a:custGeom>
                <a:avLst/>
                <a:gdLst>
                  <a:gd name="T0" fmla="*/ 1650 w 2049"/>
                  <a:gd name="T1" fmla="*/ 628 h 886"/>
                  <a:gd name="T2" fmla="*/ 1600 w 2049"/>
                  <a:gd name="T3" fmla="*/ 619 h 886"/>
                  <a:gd name="T4" fmla="*/ 1594 w 2049"/>
                  <a:gd name="T5" fmla="*/ 717 h 886"/>
                  <a:gd name="T6" fmla="*/ 1594 w 2049"/>
                  <a:gd name="T7" fmla="*/ 777 h 886"/>
                  <a:gd name="T8" fmla="*/ 1677 w 2049"/>
                  <a:gd name="T9" fmla="*/ 696 h 886"/>
                  <a:gd name="T10" fmla="*/ 1691 w 2049"/>
                  <a:gd name="T11" fmla="*/ 558 h 886"/>
                  <a:gd name="T12" fmla="*/ 1597 w 2049"/>
                  <a:gd name="T13" fmla="*/ 572 h 886"/>
                  <a:gd name="T14" fmla="*/ 1561 w 2049"/>
                  <a:gd name="T15" fmla="*/ 513 h 886"/>
                  <a:gd name="T16" fmla="*/ 2008 w 2049"/>
                  <a:gd name="T17" fmla="*/ 53 h 886"/>
                  <a:gd name="T18" fmla="*/ 1735 w 2049"/>
                  <a:gd name="T19" fmla="*/ 24 h 886"/>
                  <a:gd name="T20" fmla="*/ 1622 w 2049"/>
                  <a:gd name="T21" fmla="*/ 0 h 886"/>
                  <a:gd name="T22" fmla="*/ 1141 w 2049"/>
                  <a:gd name="T23" fmla="*/ 107 h 886"/>
                  <a:gd name="T24" fmla="*/ 1138 w 2049"/>
                  <a:gd name="T25" fmla="*/ 211 h 886"/>
                  <a:gd name="T26" fmla="*/ 1051 w 2049"/>
                  <a:gd name="T27" fmla="*/ 238 h 886"/>
                  <a:gd name="T28" fmla="*/ 837 w 2049"/>
                  <a:gd name="T29" fmla="*/ 261 h 886"/>
                  <a:gd name="T30" fmla="*/ 939 w 2049"/>
                  <a:gd name="T31" fmla="*/ 316 h 886"/>
                  <a:gd name="T32" fmla="*/ 1037 w 2049"/>
                  <a:gd name="T33" fmla="*/ 311 h 886"/>
                  <a:gd name="T34" fmla="*/ 898 w 2049"/>
                  <a:gd name="T35" fmla="*/ 357 h 886"/>
                  <a:gd name="T36" fmla="*/ 745 w 2049"/>
                  <a:gd name="T37" fmla="*/ 404 h 886"/>
                  <a:gd name="T38" fmla="*/ 643 w 2049"/>
                  <a:gd name="T39" fmla="*/ 462 h 886"/>
                  <a:gd name="T40" fmla="*/ 689 w 2049"/>
                  <a:gd name="T41" fmla="*/ 491 h 886"/>
                  <a:gd name="T42" fmla="*/ 619 w 2049"/>
                  <a:gd name="T43" fmla="*/ 510 h 886"/>
                  <a:gd name="T44" fmla="*/ 678 w 2049"/>
                  <a:gd name="T45" fmla="*/ 554 h 886"/>
                  <a:gd name="T46" fmla="*/ 694 w 2049"/>
                  <a:gd name="T47" fmla="*/ 576 h 886"/>
                  <a:gd name="T48" fmla="*/ 785 w 2049"/>
                  <a:gd name="T49" fmla="*/ 580 h 886"/>
                  <a:gd name="T50" fmla="*/ 815 w 2049"/>
                  <a:gd name="T51" fmla="*/ 598 h 886"/>
                  <a:gd name="T52" fmla="*/ 697 w 2049"/>
                  <a:gd name="T53" fmla="*/ 654 h 886"/>
                  <a:gd name="T54" fmla="*/ 491 w 2049"/>
                  <a:gd name="T55" fmla="*/ 747 h 886"/>
                  <a:gd name="T56" fmla="*/ 385 w 2049"/>
                  <a:gd name="T57" fmla="*/ 763 h 886"/>
                  <a:gd name="T58" fmla="*/ 373 w 2049"/>
                  <a:gd name="T59" fmla="*/ 783 h 886"/>
                  <a:gd name="T60" fmla="*/ 514 w 2049"/>
                  <a:gd name="T61" fmla="*/ 746 h 886"/>
                  <a:gd name="T62" fmla="*/ 653 w 2049"/>
                  <a:gd name="T63" fmla="*/ 697 h 886"/>
                  <a:gd name="T64" fmla="*/ 841 w 2049"/>
                  <a:gd name="T65" fmla="*/ 628 h 886"/>
                  <a:gd name="T66" fmla="*/ 1015 w 2049"/>
                  <a:gd name="T67" fmla="*/ 545 h 886"/>
                  <a:gd name="T68" fmla="*/ 1234 w 2049"/>
                  <a:gd name="T69" fmla="*/ 485 h 886"/>
                  <a:gd name="T70" fmla="*/ 1075 w 2049"/>
                  <a:gd name="T71" fmla="*/ 536 h 886"/>
                  <a:gd name="T72" fmla="*/ 1211 w 2049"/>
                  <a:gd name="T73" fmla="*/ 530 h 886"/>
                  <a:gd name="T74" fmla="*/ 1336 w 2049"/>
                  <a:gd name="T75" fmla="*/ 492 h 886"/>
                  <a:gd name="T76" fmla="*/ 1472 w 2049"/>
                  <a:gd name="T77" fmla="*/ 532 h 886"/>
                  <a:gd name="T78" fmla="*/ 1541 w 2049"/>
                  <a:gd name="T79" fmla="*/ 573 h 886"/>
                  <a:gd name="T80" fmla="*/ 1630 w 2049"/>
                  <a:gd name="T81" fmla="*/ 585 h 886"/>
                  <a:gd name="T82" fmla="*/ 1679 w 2049"/>
                  <a:gd name="T83" fmla="*/ 607 h 886"/>
                  <a:gd name="T84" fmla="*/ 1636 w 2049"/>
                  <a:gd name="T85" fmla="*/ 670 h 886"/>
                  <a:gd name="T86" fmla="*/ 1660 w 2049"/>
                  <a:gd name="T87" fmla="*/ 733 h 886"/>
                  <a:gd name="T88" fmla="*/ 1623 w 2049"/>
                  <a:gd name="T89" fmla="*/ 785 h 886"/>
                  <a:gd name="T90" fmla="*/ 1707 w 2049"/>
                  <a:gd name="T91" fmla="*/ 721 h 886"/>
                  <a:gd name="T92" fmla="*/ 1598 w 2049"/>
                  <a:gd name="T93" fmla="*/ 704 h 886"/>
                  <a:gd name="T94" fmla="*/ 1546 w 2049"/>
                  <a:gd name="T95" fmla="*/ 720 h 886"/>
                  <a:gd name="T96" fmla="*/ 510 w 2049"/>
                  <a:gd name="T97" fmla="*/ 517 h 886"/>
                  <a:gd name="T98" fmla="*/ 76 w 2049"/>
                  <a:gd name="T99" fmla="*/ 849 h 886"/>
                  <a:gd name="T100" fmla="*/ 859 w 2049"/>
                  <a:gd name="T101" fmla="*/ 663 h 886"/>
                  <a:gd name="T102" fmla="*/ 881 w 2049"/>
                  <a:gd name="T103" fmla="*/ 664 h 886"/>
                  <a:gd name="T104" fmla="*/ 908 w 2049"/>
                  <a:gd name="T105" fmla="*/ 635 h 886"/>
                  <a:gd name="T106" fmla="*/ 1646 w 2049"/>
                  <a:gd name="T107" fmla="*/ 762 h 886"/>
                  <a:gd name="T108" fmla="*/ 923 w 2049"/>
                  <a:gd name="T109" fmla="*/ 630 h 886"/>
                  <a:gd name="T110" fmla="*/ 290 w 2049"/>
                  <a:gd name="T111" fmla="*/ 788 h 886"/>
                  <a:gd name="T112" fmla="*/ 221 w 2049"/>
                  <a:gd name="T113" fmla="*/ 814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9" h="886">
                    <a:moveTo>
                      <a:pt x="1636" y="622"/>
                    </a:moveTo>
                    <a:cubicBezTo>
                      <a:pt x="1628" y="629"/>
                      <a:pt x="1614" y="645"/>
                      <a:pt x="1614" y="645"/>
                    </a:cubicBezTo>
                    <a:cubicBezTo>
                      <a:pt x="1602" y="669"/>
                      <a:pt x="1602" y="669"/>
                      <a:pt x="1602" y="669"/>
                    </a:cubicBezTo>
                    <a:cubicBezTo>
                      <a:pt x="1602" y="669"/>
                      <a:pt x="1623" y="665"/>
                      <a:pt x="1633" y="656"/>
                    </a:cubicBezTo>
                    <a:cubicBezTo>
                      <a:pt x="1643" y="647"/>
                      <a:pt x="1640" y="638"/>
                      <a:pt x="1640" y="638"/>
                    </a:cubicBezTo>
                    <a:cubicBezTo>
                      <a:pt x="1650" y="628"/>
                      <a:pt x="1650" y="628"/>
                      <a:pt x="1650" y="628"/>
                    </a:cubicBezTo>
                    <a:cubicBezTo>
                      <a:pt x="1650" y="628"/>
                      <a:pt x="1644" y="615"/>
                      <a:pt x="1636" y="622"/>
                    </a:cubicBezTo>
                    <a:close/>
                    <a:moveTo>
                      <a:pt x="1600" y="619"/>
                    </a:moveTo>
                    <a:cubicBezTo>
                      <a:pt x="1600" y="619"/>
                      <a:pt x="1575" y="626"/>
                      <a:pt x="1576" y="633"/>
                    </a:cubicBezTo>
                    <a:cubicBezTo>
                      <a:pt x="1577" y="640"/>
                      <a:pt x="1586" y="650"/>
                      <a:pt x="1586" y="650"/>
                    </a:cubicBezTo>
                    <a:cubicBezTo>
                      <a:pt x="1597" y="654"/>
                      <a:pt x="1614" y="646"/>
                      <a:pt x="1614" y="636"/>
                    </a:cubicBezTo>
                    <a:cubicBezTo>
                      <a:pt x="1614" y="626"/>
                      <a:pt x="1600" y="619"/>
                      <a:pt x="1600" y="619"/>
                    </a:cubicBezTo>
                    <a:close/>
                    <a:moveTo>
                      <a:pt x="1544" y="792"/>
                    </a:moveTo>
                    <a:cubicBezTo>
                      <a:pt x="1553" y="793"/>
                      <a:pt x="1553" y="793"/>
                      <a:pt x="1553" y="793"/>
                    </a:cubicBezTo>
                    <a:cubicBezTo>
                      <a:pt x="1559" y="768"/>
                      <a:pt x="1559" y="768"/>
                      <a:pt x="1559" y="768"/>
                    </a:cubicBezTo>
                    <a:cubicBezTo>
                      <a:pt x="1548" y="773"/>
                      <a:pt x="1548" y="773"/>
                      <a:pt x="1548" y="773"/>
                    </a:cubicBezTo>
                    <a:lnTo>
                      <a:pt x="1544" y="792"/>
                    </a:lnTo>
                    <a:close/>
                    <a:moveTo>
                      <a:pt x="1594" y="717"/>
                    </a:moveTo>
                    <a:cubicBezTo>
                      <a:pt x="1581" y="726"/>
                      <a:pt x="1581" y="726"/>
                      <a:pt x="1581" y="726"/>
                    </a:cubicBezTo>
                    <a:cubicBezTo>
                      <a:pt x="1581" y="726"/>
                      <a:pt x="1587" y="732"/>
                      <a:pt x="1591" y="733"/>
                    </a:cubicBezTo>
                    <a:cubicBezTo>
                      <a:pt x="1595" y="734"/>
                      <a:pt x="1577" y="743"/>
                      <a:pt x="1573" y="745"/>
                    </a:cubicBezTo>
                    <a:cubicBezTo>
                      <a:pt x="1569" y="747"/>
                      <a:pt x="1563" y="758"/>
                      <a:pt x="1568" y="767"/>
                    </a:cubicBezTo>
                    <a:cubicBezTo>
                      <a:pt x="1573" y="776"/>
                      <a:pt x="1572" y="794"/>
                      <a:pt x="1572" y="794"/>
                    </a:cubicBezTo>
                    <a:cubicBezTo>
                      <a:pt x="1572" y="794"/>
                      <a:pt x="1586" y="786"/>
                      <a:pt x="1594" y="777"/>
                    </a:cubicBezTo>
                    <a:cubicBezTo>
                      <a:pt x="1602" y="768"/>
                      <a:pt x="1590" y="756"/>
                      <a:pt x="1590" y="756"/>
                    </a:cubicBezTo>
                    <a:cubicBezTo>
                      <a:pt x="1590" y="756"/>
                      <a:pt x="1600" y="755"/>
                      <a:pt x="1609" y="745"/>
                    </a:cubicBezTo>
                    <a:cubicBezTo>
                      <a:pt x="1618" y="735"/>
                      <a:pt x="1594" y="717"/>
                      <a:pt x="1594" y="717"/>
                    </a:cubicBezTo>
                    <a:close/>
                    <a:moveTo>
                      <a:pt x="1707" y="721"/>
                    </a:moveTo>
                    <a:cubicBezTo>
                      <a:pt x="1707" y="721"/>
                      <a:pt x="1700" y="719"/>
                      <a:pt x="1700" y="714"/>
                    </a:cubicBezTo>
                    <a:cubicBezTo>
                      <a:pt x="1700" y="710"/>
                      <a:pt x="1672" y="709"/>
                      <a:pt x="1677" y="696"/>
                    </a:cubicBezTo>
                    <a:cubicBezTo>
                      <a:pt x="1682" y="683"/>
                      <a:pt x="1688" y="666"/>
                      <a:pt x="1688" y="666"/>
                    </a:cubicBezTo>
                    <a:cubicBezTo>
                      <a:pt x="1688" y="642"/>
                      <a:pt x="1688" y="642"/>
                      <a:pt x="1688" y="642"/>
                    </a:cubicBezTo>
                    <a:cubicBezTo>
                      <a:pt x="1688" y="642"/>
                      <a:pt x="1705" y="623"/>
                      <a:pt x="1698" y="606"/>
                    </a:cubicBezTo>
                    <a:cubicBezTo>
                      <a:pt x="1692" y="588"/>
                      <a:pt x="1685" y="586"/>
                      <a:pt x="1685" y="586"/>
                    </a:cubicBezTo>
                    <a:cubicBezTo>
                      <a:pt x="1691" y="575"/>
                      <a:pt x="1691" y="575"/>
                      <a:pt x="1691" y="575"/>
                    </a:cubicBezTo>
                    <a:cubicBezTo>
                      <a:pt x="1691" y="558"/>
                      <a:pt x="1691" y="558"/>
                      <a:pt x="1691" y="558"/>
                    </a:cubicBezTo>
                    <a:cubicBezTo>
                      <a:pt x="1691" y="558"/>
                      <a:pt x="1718" y="548"/>
                      <a:pt x="1699" y="542"/>
                    </a:cubicBezTo>
                    <a:cubicBezTo>
                      <a:pt x="1681" y="537"/>
                      <a:pt x="1653" y="547"/>
                      <a:pt x="1653" y="547"/>
                    </a:cubicBezTo>
                    <a:cubicBezTo>
                      <a:pt x="1651" y="555"/>
                      <a:pt x="1651" y="555"/>
                      <a:pt x="1651" y="555"/>
                    </a:cubicBezTo>
                    <a:cubicBezTo>
                      <a:pt x="1639" y="555"/>
                      <a:pt x="1639" y="555"/>
                      <a:pt x="1639" y="555"/>
                    </a:cubicBezTo>
                    <a:cubicBezTo>
                      <a:pt x="1639" y="555"/>
                      <a:pt x="1633" y="565"/>
                      <a:pt x="1625" y="565"/>
                    </a:cubicBezTo>
                    <a:cubicBezTo>
                      <a:pt x="1618" y="565"/>
                      <a:pt x="1597" y="572"/>
                      <a:pt x="1597" y="572"/>
                    </a:cubicBezTo>
                    <a:cubicBezTo>
                      <a:pt x="1597" y="572"/>
                      <a:pt x="1581" y="585"/>
                      <a:pt x="1575" y="585"/>
                    </a:cubicBezTo>
                    <a:cubicBezTo>
                      <a:pt x="1570" y="585"/>
                      <a:pt x="1589" y="566"/>
                      <a:pt x="1589" y="566"/>
                    </a:cubicBezTo>
                    <a:cubicBezTo>
                      <a:pt x="1589" y="566"/>
                      <a:pt x="1570" y="558"/>
                      <a:pt x="1570" y="547"/>
                    </a:cubicBezTo>
                    <a:cubicBezTo>
                      <a:pt x="1570" y="537"/>
                      <a:pt x="1570" y="528"/>
                      <a:pt x="1570" y="528"/>
                    </a:cubicBezTo>
                    <a:cubicBezTo>
                      <a:pt x="1585" y="513"/>
                      <a:pt x="1585" y="513"/>
                      <a:pt x="1585" y="513"/>
                    </a:cubicBezTo>
                    <a:cubicBezTo>
                      <a:pt x="1561" y="513"/>
                      <a:pt x="1561" y="513"/>
                      <a:pt x="1561" y="513"/>
                    </a:cubicBezTo>
                    <a:cubicBezTo>
                      <a:pt x="1561" y="513"/>
                      <a:pt x="1552" y="518"/>
                      <a:pt x="1549" y="518"/>
                    </a:cubicBezTo>
                    <a:cubicBezTo>
                      <a:pt x="1549" y="518"/>
                      <a:pt x="1520" y="524"/>
                      <a:pt x="1514" y="518"/>
                    </a:cubicBezTo>
                    <a:cubicBezTo>
                      <a:pt x="1508" y="512"/>
                      <a:pt x="1534" y="498"/>
                      <a:pt x="1534" y="498"/>
                    </a:cubicBezTo>
                    <a:cubicBezTo>
                      <a:pt x="2049" y="74"/>
                      <a:pt x="2049" y="74"/>
                      <a:pt x="2049" y="74"/>
                    </a:cubicBezTo>
                    <a:cubicBezTo>
                      <a:pt x="2037" y="74"/>
                      <a:pt x="2037" y="74"/>
                      <a:pt x="2037" y="74"/>
                    </a:cubicBezTo>
                    <a:cubicBezTo>
                      <a:pt x="2037" y="74"/>
                      <a:pt x="2034" y="51"/>
                      <a:pt x="2008" y="53"/>
                    </a:cubicBezTo>
                    <a:cubicBezTo>
                      <a:pt x="1982" y="55"/>
                      <a:pt x="1951" y="64"/>
                      <a:pt x="1947" y="64"/>
                    </a:cubicBezTo>
                    <a:cubicBezTo>
                      <a:pt x="1943" y="64"/>
                      <a:pt x="1916" y="50"/>
                      <a:pt x="1912" y="48"/>
                    </a:cubicBezTo>
                    <a:cubicBezTo>
                      <a:pt x="1908" y="46"/>
                      <a:pt x="1858" y="47"/>
                      <a:pt x="1858" y="47"/>
                    </a:cubicBezTo>
                    <a:cubicBezTo>
                      <a:pt x="1858" y="47"/>
                      <a:pt x="1842" y="39"/>
                      <a:pt x="1824" y="37"/>
                    </a:cubicBezTo>
                    <a:cubicBezTo>
                      <a:pt x="1806" y="35"/>
                      <a:pt x="1735" y="38"/>
                      <a:pt x="1732" y="38"/>
                    </a:cubicBezTo>
                    <a:cubicBezTo>
                      <a:pt x="1729" y="38"/>
                      <a:pt x="1735" y="24"/>
                      <a:pt x="1735" y="24"/>
                    </a:cubicBezTo>
                    <a:cubicBezTo>
                      <a:pt x="1735" y="24"/>
                      <a:pt x="1699" y="19"/>
                      <a:pt x="1694" y="18"/>
                    </a:cubicBezTo>
                    <a:cubicBezTo>
                      <a:pt x="1689" y="17"/>
                      <a:pt x="1656" y="24"/>
                      <a:pt x="1656" y="24"/>
                    </a:cubicBezTo>
                    <a:cubicBezTo>
                      <a:pt x="1676" y="2"/>
                      <a:pt x="1676" y="2"/>
                      <a:pt x="1676" y="2"/>
                    </a:cubicBezTo>
                    <a:cubicBezTo>
                      <a:pt x="1621" y="24"/>
                      <a:pt x="1621" y="24"/>
                      <a:pt x="1621" y="24"/>
                    </a:cubicBezTo>
                    <a:cubicBezTo>
                      <a:pt x="1642" y="2"/>
                      <a:pt x="1642" y="2"/>
                      <a:pt x="1642" y="2"/>
                    </a:cubicBezTo>
                    <a:cubicBezTo>
                      <a:pt x="1622" y="0"/>
                      <a:pt x="1622" y="0"/>
                      <a:pt x="1622" y="0"/>
                    </a:cubicBezTo>
                    <a:cubicBezTo>
                      <a:pt x="1622" y="0"/>
                      <a:pt x="1591" y="22"/>
                      <a:pt x="1561" y="22"/>
                    </a:cubicBezTo>
                    <a:cubicBezTo>
                      <a:pt x="1531" y="22"/>
                      <a:pt x="1485" y="16"/>
                      <a:pt x="1477" y="24"/>
                    </a:cubicBezTo>
                    <a:cubicBezTo>
                      <a:pt x="1469" y="32"/>
                      <a:pt x="1439" y="39"/>
                      <a:pt x="1439" y="39"/>
                    </a:cubicBezTo>
                    <a:cubicBezTo>
                      <a:pt x="1439" y="39"/>
                      <a:pt x="1390" y="39"/>
                      <a:pt x="1364" y="42"/>
                    </a:cubicBezTo>
                    <a:cubicBezTo>
                      <a:pt x="1338" y="45"/>
                      <a:pt x="1277" y="91"/>
                      <a:pt x="1235" y="97"/>
                    </a:cubicBezTo>
                    <a:cubicBezTo>
                      <a:pt x="1193" y="103"/>
                      <a:pt x="1141" y="107"/>
                      <a:pt x="1141" y="107"/>
                    </a:cubicBezTo>
                    <a:cubicBezTo>
                      <a:pt x="1141" y="107"/>
                      <a:pt x="1078" y="128"/>
                      <a:pt x="1081" y="133"/>
                    </a:cubicBezTo>
                    <a:cubicBezTo>
                      <a:pt x="1084" y="138"/>
                      <a:pt x="1105" y="149"/>
                      <a:pt x="1105" y="149"/>
                    </a:cubicBezTo>
                    <a:cubicBezTo>
                      <a:pt x="1105" y="149"/>
                      <a:pt x="1118" y="172"/>
                      <a:pt x="1112" y="175"/>
                    </a:cubicBezTo>
                    <a:cubicBezTo>
                      <a:pt x="1106" y="178"/>
                      <a:pt x="1097" y="187"/>
                      <a:pt x="1097" y="187"/>
                    </a:cubicBezTo>
                    <a:cubicBezTo>
                      <a:pt x="1157" y="188"/>
                      <a:pt x="1157" y="188"/>
                      <a:pt x="1157" y="188"/>
                    </a:cubicBezTo>
                    <a:cubicBezTo>
                      <a:pt x="1138" y="211"/>
                      <a:pt x="1138" y="211"/>
                      <a:pt x="1138" y="211"/>
                    </a:cubicBezTo>
                    <a:cubicBezTo>
                      <a:pt x="1182" y="213"/>
                      <a:pt x="1182" y="213"/>
                      <a:pt x="1182" y="213"/>
                    </a:cubicBezTo>
                    <a:cubicBezTo>
                      <a:pt x="1175" y="225"/>
                      <a:pt x="1175" y="225"/>
                      <a:pt x="1175" y="225"/>
                    </a:cubicBezTo>
                    <a:cubicBezTo>
                      <a:pt x="1139" y="224"/>
                      <a:pt x="1139" y="224"/>
                      <a:pt x="1139" y="224"/>
                    </a:cubicBezTo>
                    <a:cubicBezTo>
                      <a:pt x="1132" y="232"/>
                      <a:pt x="1132" y="232"/>
                      <a:pt x="1132" y="232"/>
                    </a:cubicBezTo>
                    <a:cubicBezTo>
                      <a:pt x="1110" y="232"/>
                      <a:pt x="1110" y="232"/>
                      <a:pt x="1110" y="232"/>
                    </a:cubicBezTo>
                    <a:cubicBezTo>
                      <a:pt x="1110" y="232"/>
                      <a:pt x="1076" y="238"/>
                      <a:pt x="1051" y="238"/>
                    </a:cubicBezTo>
                    <a:cubicBezTo>
                      <a:pt x="1026" y="238"/>
                      <a:pt x="1031" y="228"/>
                      <a:pt x="1045" y="223"/>
                    </a:cubicBezTo>
                    <a:cubicBezTo>
                      <a:pt x="1059" y="218"/>
                      <a:pt x="1017" y="215"/>
                      <a:pt x="1017" y="215"/>
                    </a:cubicBezTo>
                    <a:cubicBezTo>
                      <a:pt x="1017" y="215"/>
                      <a:pt x="969" y="213"/>
                      <a:pt x="967" y="221"/>
                    </a:cubicBezTo>
                    <a:cubicBezTo>
                      <a:pt x="965" y="229"/>
                      <a:pt x="969" y="234"/>
                      <a:pt x="969" y="234"/>
                    </a:cubicBezTo>
                    <a:cubicBezTo>
                      <a:pt x="969" y="234"/>
                      <a:pt x="934" y="236"/>
                      <a:pt x="911" y="239"/>
                    </a:cubicBezTo>
                    <a:cubicBezTo>
                      <a:pt x="888" y="242"/>
                      <a:pt x="820" y="255"/>
                      <a:pt x="837" y="261"/>
                    </a:cubicBezTo>
                    <a:cubicBezTo>
                      <a:pt x="854" y="267"/>
                      <a:pt x="877" y="270"/>
                      <a:pt x="877" y="270"/>
                    </a:cubicBezTo>
                    <a:cubicBezTo>
                      <a:pt x="848" y="280"/>
                      <a:pt x="848" y="280"/>
                      <a:pt x="848" y="280"/>
                    </a:cubicBezTo>
                    <a:cubicBezTo>
                      <a:pt x="840" y="307"/>
                      <a:pt x="840" y="307"/>
                      <a:pt x="840" y="307"/>
                    </a:cubicBezTo>
                    <a:cubicBezTo>
                      <a:pt x="840" y="307"/>
                      <a:pt x="864" y="311"/>
                      <a:pt x="880" y="311"/>
                    </a:cubicBezTo>
                    <a:cubicBezTo>
                      <a:pt x="896" y="311"/>
                      <a:pt x="910" y="308"/>
                      <a:pt x="910" y="308"/>
                    </a:cubicBezTo>
                    <a:cubicBezTo>
                      <a:pt x="939" y="316"/>
                      <a:pt x="939" y="316"/>
                      <a:pt x="939" y="316"/>
                    </a:cubicBezTo>
                    <a:cubicBezTo>
                      <a:pt x="948" y="304"/>
                      <a:pt x="948" y="304"/>
                      <a:pt x="948" y="304"/>
                    </a:cubicBezTo>
                    <a:cubicBezTo>
                      <a:pt x="957" y="315"/>
                      <a:pt x="957" y="315"/>
                      <a:pt x="957" y="315"/>
                    </a:cubicBezTo>
                    <a:cubicBezTo>
                      <a:pt x="957" y="315"/>
                      <a:pt x="989" y="297"/>
                      <a:pt x="994" y="297"/>
                    </a:cubicBezTo>
                    <a:cubicBezTo>
                      <a:pt x="999" y="297"/>
                      <a:pt x="1007" y="303"/>
                      <a:pt x="1017" y="299"/>
                    </a:cubicBezTo>
                    <a:cubicBezTo>
                      <a:pt x="1027" y="295"/>
                      <a:pt x="1045" y="281"/>
                      <a:pt x="1046" y="290"/>
                    </a:cubicBezTo>
                    <a:cubicBezTo>
                      <a:pt x="1047" y="299"/>
                      <a:pt x="1037" y="311"/>
                      <a:pt x="1037" y="311"/>
                    </a:cubicBezTo>
                    <a:cubicBezTo>
                      <a:pt x="999" y="312"/>
                      <a:pt x="999" y="312"/>
                      <a:pt x="999" y="312"/>
                    </a:cubicBezTo>
                    <a:cubicBezTo>
                      <a:pt x="1004" y="333"/>
                      <a:pt x="1004" y="333"/>
                      <a:pt x="1004" y="333"/>
                    </a:cubicBezTo>
                    <a:cubicBezTo>
                      <a:pt x="1004" y="333"/>
                      <a:pt x="976" y="360"/>
                      <a:pt x="958" y="361"/>
                    </a:cubicBezTo>
                    <a:cubicBezTo>
                      <a:pt x="940" y="362"/>
                      <a:pt x="920" y="362"/>
                      <a:pt x="920" y="362"/>
                    </a:cubicBezTo>
                    <a:cubicBezTo>
                      <a:pt x="910" y="350"/>
                      <a:pt x="910" y="350"/>
                      <a:pt x="910" y="350"/>
                    </a:cubicBezTo>
                    <a:cubicBezTo>
                      <a:pt x="898" y="357"/>
                      <a:pt x="898" y="357"/>
                      <a:pt x="898" y="357"/>
                    </a:cubicBezTo>
                    <a:cubicBezTo>
                      <a:pt x="898" y="365"/>
                      <a:pt x="898" y="365"/>
                      <a:pt x="898" y="365"/>
                    </a:cubicBezTo>
                    <a:cubicBezTo>
                      <a:pt x="898" y="365"/>
                      <a:pt x="857" y="389"/>
                      <a:pt x="844" y="381"/>
                    </a:cubicBezTo>
                    <a:cubicBezTo>
                      <a:pt x="831" y="373"/>
                      <a:pt x="824" y="371"/>
                      <a:pt x="824" y="371"/>
                    </a:cubicBezTo>
                    <a:cubicBezTo>
                      <a:pt x="762" y="406"/>
                      <a:pt x="762" y="406"/>
                      <a:pt x="762" y="406"/>
                    </a:cubicBezTo>
                    <a:cubicBezTo>
                      <a:pt x="748" y="418"/>
                      <a:pt x="748" y="418"/>
                      <a:pt x="748" y="418"/>
                    </a:cubicBezTo>
                    <a:cubicBezTo>
                      <a:pt x="745" y="404"/>
                      <a:pt x="745" y="404"/>
                      <a:pt x="745" y="404"/>
                    </a:cubicBezTo>
                    <a:cubicBezTo>
                      <a:pt x="745" y="404"/>
                      <a:pt x="720" y="415"/>
                      <a:pt x="706" y="420"/>
                    </a:cubicBezTo>
                    <a:cubicBezTo>
                      <a:pt x="692" y="425"/>
                      <a:pt x="682" y="440"/>
                      <a:pt x="682" y="440"/>
                    </a:cubicBezTo>
                    <a:cubicBezTo>
                      <a:pt x="662" y="434"/>
                      <a:pt x="662" y="434"/>
                      <a:pt x="662" y="434"/>
                    </a:cubicBezTo>
                    <a:cubicBezTo>
                      <a:pt x="662" y="447"/>
                      <a:pt x="662" y="447"/>
                      <a:pt x="662" y="447"/>
                    </a:cubicBezTo>
                    <a:cubicBezTo>
                      <a:pt x="662" y="447"/>
                      <a:pt x="649" y="441"/>
                      <a:pt x="646" y="447"/>
                    </a:cubicBezTo>
                    <a:cubicBezTo>
                      <a:pt x="643" y="453"/>
                      <a:pt x="643" y="462"/>
                      <a:pt x="643" y="462"/>
                    </a:cubicBezTo>
                    <a:cubicBezTo>
                      <a:pt x="636" y="471"/>
                      <a:pt x="636" y="471"/>
                      <a:pt x="636" y="471"/>
                    </a:cubicBezTo>
                    <a:cubicBezTo>
                      <a:pt x="676" y="457"/>
                      <a:pt x="676" y="457"/>
                      <a:pt x="676" y="457"/>
                    </a:cubicBezTo>
                    <a:cubicBezTo>
                      <a:pt x="661" y="469"/>
                      <a:pt x="661" y="469"/>
                      <a:pt x="661" y="469"/>
                    </a:cubicBezTo>
                    <a:cubicBezTo>
                      <a:pt x="661" y="475"/>
                      <a:pt x="661" y="475"/>
                      <a:pt x="661" y="475"/>
                    </a:cubicBezTo>
                    <a:cubicBezTo>
                      <a:pt x="648" y="483"/>
                      <a:pt x="648" y="483"/>
                      <a:pt x="648" y="483"/>
                    </a:cubicBezTo>
                    <a:cubicBezTo>
                      <a:pt x="648" y="483"/>
                      <a:pt x="698" y="482"/>
                      <a:pt x="689" y="491"/>
                    </a:cubicBezTo>
                    <a:cubicBezTo>
                      <a:pt x="680" y="500"/>
                      <a:pt x="658" y="498"/>
                      <a:pt x="658" y="498"/>
                    </a:cubicBezTo>
                    <a:cubicBezTo>
                      <a:pt x="641" y="502"/>
                      <a:pt x="641" y="502"/>
                      <a:pt x="641" y="502"/>
                    </a:cubicBezTo>
                    <a:cubicBezTo>
                      <a:pt x="649" y="494"/>
                      <a:pt x="649" y="494"/>
                      <a:pt x="649" y="494"/>
                    </a:cubicBezTo>
                    <a:cubicBezTo>
                      <a:pt x="640" y="489"/>
                      <a:pt x="640" y="489"/>
                      <a:pt x="640" y="489"/>
                    </a:cubicBezTo>
                    <a:cubicBezTo>
                      <a:pt x="640" y="489"/>
                      <a:pt x="611" y="500"/>
                      <a:pt x="612" y="503"/>
                    </a:cubicBezTo>
                    <a:cubicBezTo>
                      <a:pt x="613" y="506"/>
                      <a:pt x="619" y="510"/>
                      <a:pt x="619" y="510"/>
                    </a:cubicBezTo>
                    <a:cubicBezTo>
                      <a:pt x="619" y="510"/>
                      <a:pt x="608" y="537"/>
                      <a:pt x="612" y="538"/>
                    </a:cubicBezTo>
                    <a:cubicBezTo>
                      <a:pt x="616" y="539"/>
                      <a:pt x="659" y="536"/>
                      <a:pt x="659" y="536"/>
                    </a:cubicBezTo>
                    <a:cubicBezTo>
                      <a:pt x="691" y="518"/>
                      <a:pt x="691" y="518"/>
                      <a:pt x="691" y="518"/>
                    </a:cubicBezTo>
                    <a:cubicBezTo>
                      <a:pt x="738" y="499"/>
                      <a:pt x="738" y="499"/>
                      <a:pt x="738" y="499"/>
                    </a:cubicBezTo>
                    <a:cubicBezTo>
                      <a:pt x="738" y="499"/>
                      <a:pt x="694" y="520"/>
                      <a:pt x="689" y="528"/>
                    </a:cubicBezTo>
                    <a:cubicBezTo>
                      <a:pt x="684" y="536"/>
                      <a:pt x="685" y="552"/>
                      <a:pt x="678" y="554"/>
                    </a:cubicBezTo>
                    <a:cubicBezTo>
                      <a:pt x="671" y="556"/>
                      <a:pt x="659" y="549"/>
                      <a:pt x="653" y="558"/>
                    </a:cubicBezTo>
                    <a:cubicBezTo>
                      <a:pt x="647" y="567"/>
                      <a:pt x="643" y="577"/>
                      <a:pt x="638" y="582"/>
                    </a:cubicBezTo>
                    <a:cubicBezTo>
                      <a:pt x="633" y="587"/>
                      <a:pt x="618" y="596"/>
                      <a:pt x="618" y="596"/>
                    </a:cubicBezTo>
                    <a:cubicBezTo>
                      <a:pt x="654" y="592"/>
                      <a:pt x="654" y="592"/>
                      <a:pt x="654" y="592"/>
                    </a:cubicBezTo>
                    <a:cubicBezTo>
                      <a:pt x="647" y="604"/>
                      <a:pt x="647" y="604"/>
                      <a:pt x="647" y="604"/>
                    </a:cubicBezTo>
                    <a:cubicBezTo>
                      <a:pt x="647" y="604"/>
                      <a:pt x="677" y="573"/>
                      <a:pt x="694" y="576"/>
                    </a:cubicBezTo>
                    <a:cubicBezTo>
                      <a:pt x="711" y="579"/>
                      <a:pt x="702" y="584"/>
                      <a:pt x="702" y="584"/>
                    </a:cubicBezTo>
                    <a:cubicBezTo>
                      <a:pt x="718" y="582"/>
                      <a:pt x="718" y="582"/>
                      <a:pt x="718" y="582"/>
                    </a:cubicBezTo>
                    <a:cubicBezTo>
                      <a:pt x="718" y="582"/>
                      <a:pt x="705" y="607"/>
                      <a:pt x="719" y="607"/>
                    </a:cubicBezTo>
                    <a:cubicBezTo>
                      <a:pt x="733" y="607"/>
                      <a:pt x="750" y="585"/>
                      <a:pt x="750" y="585"/>
                    </a:cubicBezTo>
                    <a:cubicBezTo>
                      <a:pt x="778" y="572"/>
                      <a:pt x="778" y="572"/>
                      <a:pt x="778" y="572"/>
                    </a:cubicBezTo>
                    <a:cubicBezTo>
                      <a:pt x="785" y="580"/>
                      <a:pt x="785" y="580"/>
                      <a:pt x="785" y="580"/>
                    </a:cubicBezTo>
                    <a:cubicBezTo>
                      <a:pt x="765" y="582"/>
                      <a:pt x="765" y="582"/>
                      <a:pt x="765" y="582"/>
                    </a:cubicBezTo>
                    <a:cubicBezTo>
                      <a:pt x="765" y="582"/>
                      <a:pt x="751" y="596"/>
                      <a:pt x="762" y="596"/>
                    </a:cubicBezTo>
                    <a:cubicBezTo>
                      <a:pt x="773" y="596"/>
                      <a:pt x="819" y="583"/>
                      <a:pt x="819" y="583"/>
                    </a:cubicBezTo>
                    <a:cubicBezTo>
                      <a:pt x="847" y="571"/>
                      <a:pt x="847" y="571"/>
                      <a:pt x="847" y="571"/>
                    </a:cubicBezTo>
                    <a:cubicBezTo>
                      <a:pt x="815" y="588"/>
                      <a:pt x="815" y="588"/>
                      <a:pt x="815" y="588"/>
                    </a:cubicBezTo>
                    <a:cubicBezTo>
                      <a:pt x="815" y="598"/>
                      <a:pt x="815" y="598"/>
                      <a:pt x="815" y="598"/>
                    </a:cubicBezTo>
                    <a:cubicBezTo>
                      <a:pt x="815" y="598"/>
                      <a:pt x="797" y="599"/>
                      <a:pt x="786" y="603"/>
                    </a:cubicBezTo>
                    <a:cubicBezTo>
                      <a:pt x="775" y="607"/>
                      <a:pt x="767" y="620"/>
                      <a:pt x="767" y="620"/>
                    </a:cubicBezTo>
                    <a:cubicBezTo>
                      <a:pt x="747" y="622"/>
                      <a:pt x="747" y="622"/>
                      <a:pt x="747" y="622"/>
                    </a:cubicBezTo>
                    <a:cubicBezTo>
                      <a:pt x="723" y="642"/>
                      <a:pt x="723" y="642"/>
                      <a:pt x="723" y="642"/>
                    </a:cubicBezTo>
                    <a:cubicBezTo>
                      <a:pt x="724" y="651"/>
                      <a:pt x="724" y="651"/>
                      <a:pt x="724" y="651"/>
                    </a:cubicBezTo>
                    <a:cubicBezTo>
                      <a:pt x="697" y="654"/>
                      <a:pt x="697" y="654"/>
                      <a:pt x="697" y="654"/>
                    </a:cubicBezTo>
                    <a:cubicBezTo>
                      <a:pt x="697" y="654"/>
                      <a:pt x="652" y="663"/>
                      <a:pt x="647" y="670"/>
                    </a:cubicBezTo>
                    <a:cubicBezTo>
                      <a:pt x="642" y="677"/>
                      <a:pt x="645" y="691"/>
                      <a:pt x="636" y="691"/>
                    </a:cubicBezTo>
                    <a:cubicBezTo>
                      <a:pt x="627" y="691"/>
                      <a:pt x="600" y="691"/>
                      <a:pt x="584" y="693"/>
                    </a:cubicBezTo>
                    <a:cubicBezTo>
                      <a:pt x="568" y="695"/>
                      <a:pt x="515" y="734"/>
                      <a:pt x="515" y="734"/>
                    </a:cubicBezTo>
                    <a:cubicBezTo>
                      <a:pt x="500" y="737"/>
                      <a:pt x="500" y="737"/>
                      <a:pt x="500" y="737"/>
                    </a:cubicBezTo>
                    <a:cubicBezTo>
                      <a:pt x="491" y="747"/>
                      <a:pt x="491" y="747"/>
                      <a:pt x="491" y="747"/>
                    </a:cubicBezTo>
                    <a:cubicBezTo>
                      <a:pt x="490" y="736"/>
                      <a:pt x="490" y="736"/>
                      <a:pt x="490" y="736"/>
                    </a:cubicBezTo>
                    <a:cubicBezTo>
                      <a:pt x="490" y="736"/>
                      <a:pt x="458" y="732"/>
                      <a:pt x="447" y="738"/>
                    </a:cubicBezTo>
                    <a:cubicBezTo>
                      <a:pt x="436" y="744"/>
                      <a:pt x="412" y="754"/>
                      <a:pt x="412" y="754"/>
                    </a:cubicBezTo>
                    <a:cubicBezTo>
                      <a:pt x="403" y="752"/>
                      <a:pt x="403" y="752"/>
                      <a:pt x="403" y="752"/>
                    </a:cubicBezTo>
                    <a:cubicBezTo>
                      <a:pt x="404" y="760"/>
                      <a:pt x="404" y="760"/>
                      <a:pt x="404" y="760"/>
                    </a:cubicBezTo>
                    <a:cubicBezTo>
                      <a:pt x="385" y="763"/>
                      <a:pt x="385" y="763"/>
                      <a:pt x="385" y="763"/>
                    </a:cubicBezTo>
                    <a:cubicBezTo>
                      <a:pt x="378" y="769"/>
                      <a:pt x="378" y="769"/>
                      <a:pt x="378" y="769"/>
                    </a:cubicBezTo>
                    <a:cubicBezTo>
                      <a:pt x="362" y="767"/>
                      <a:pt x="362" y="767"/>
                      <a:pt x="362" y="767"/>
                    </a:cubicBezTo>
                    <a:cubicBezTo>
                      <a:pt x="345" y="782"/>
                      <a:pt x="345" y="782"/>
                      <a:pt x="345" y="782"/>
                    </a:cubicBezTo>
                    <a:cubicBezTo>
                      <a:pt x="350" y="788"/>
                      <a:pt x="350" y="788"/>
                      <a:pt x="350" y="788"/>
                    </a:cubicBezTo>
                    <a:cubicBezTo>
                      <a:pt x="360" y="776"/>
                      <a:pt x="360" y="776"/>
                      <a:pt x="360" y="776"/>
                    </a:cubicBezTo>
                    <a:cubicBezTo>
                      <a:pt x="373" y="783"/>
                      <a:pt x="373" y="783"/>
                      <a:pt x="373" y="783"/>
                    </a:cubicBezTo>
                    <a:cubicBezTo>
                      <a:pt x="387" y="771"/>
                      <a:pt x="387" y="771"/>
                      <a:pt x="387" y="771"/>
                    </a:cubicBezTo>
                    <a:cubicBezTo>
                      <a:pt x="388" y="779"/>
                      <a:pt x="388" y="779"/>
                      <a:pt x="388" y="779"/>
                    </a:cubicBezTo>
                    <a:cubicBezTo>
                      <a:pt x="388" y="779"/>
                      <a:pt x="409" y="778"/>
                      <a:pt x="417" y="771"/>
                    </a:cubicBezTo>
                    <a:cubicBezTo>
                      <a:pt x="425" y="764"/>
                      <a:pt x="441" y="750"/>
                      <a:pt x="450" y="748"/>
                    </a:cubicBezTo>
                    <a:cubicBezTo>
                      <a:pt x="459" y="746"/>
                      <a:pt x="451" y="762"/>
                      <a:pt x="464" y="762"/>
                    </a:cubicBezTo>
                    <a:cubicBezTo>
                      <a:pt x="477" y="762"/>
                      <a:pt x="514" y="746"/>
                      <a:pt x="514" y="746"/>
                    </a:cubicBezTo>
                    <a:cubicBezTo>
                      <a:pt x="536" y="752"/>
                      <a:pt x="536" y="752"/>
                      <a:pt x="536" y="752"/>
                    </a:cubicBezTo>
                    <a:cubicBezTo>
                      <a:pt x="548" y="740"/>
                      <a:pt x="548" y="740"/>
                      <a:pt x="548" y="740"/>
                    </a:cubicBezTo>
                    <a:cubicBezTo>
                      <a:pt x="548" y="740"/>
                      <a:pt x="585" y="738"/>
                      <a:pt x="596" y="729"/>
                    </a:cubicBezTo>
                    <a:cubicBezTo>
                      <a:pt x="607" y="720"/>
                      <a:pt x="619" y="706"/>
                      <a:pt x="628" y="705"/>
                    </a:cubicBezTo>
                    <a:cubicBezTo>
                      <a:pt x="637" y="704"/>
                      <a:pt x="649" y="704"/>
                      <a:pt x="649" y="704"/>
                    </a:cubicBezTo>
                    <a:cubicBezTo>
                      <a:pt x="653" y="697"/>
                      <a:pt x="653" y="697"/>
                      <a:pt x="653" y="697"/>
                    </a:cubicBezTo>
                    <a:cubicBezTo>
                      <a:pt x="677" y="697"/>
                      <a:pt x="677" y="697"/>
                      <a:pt x="677" y="697"/>
                    </a:cubicBezTo>
                    <a:cubicBezTo>
                      <a:pt x="684" y="691"/>
                      <a:pt x="684" y="691"/>
                      <a:pt x="684" y="691"/>
                    </a:cubicBezTo>
                    <a:cubicBezTo>
                      <a:pt x="684" y="691"/>
                      <a:pt x="717" y="684"/>
                      <a:pt x="732" y="677"/>
                    </a:cubicBezTo>
                    <a:cubicBezTo>
                      <a:pt x="747" y="670"/>
                      <a:pt x="762" y="656"/>
                      <a:pt x="762" y="656"/>
                    </a:cubicBezTo>
                    <a:cubicBezTo>
                      <a:pt x="803" y="650"/>
                      <a:pt x="803" y="650"/>
                      <a:pt x="803" y="650"/>
                    </a:cubicBezTo>
                    <a:cubicBezTo>
                      <a:pt x="841" y="628"/>
                      <a:pt x="841" y="628"/>
                      <a:pt x="841" y="628"/>
                    </a:cubicBezTo>
                    <a:cubicBezTo>
                      <a:pt x="841" y="628"/>
                      <a:pt x="885" y="627"/>
                      <a:pt x="892" y="620"/>
                    </a:cubicBezTo>
                    <a:cubicBezTo>
                      <a:pt x="899" y="613"/>
                      <a:pt x="912" y="601"/>
                      <a:pt x="912" y="601"/>
                    </a:cubicBezTo>
                    <a:cubicBezTo>
                      <a:pt x="912" y="601"/>
                      <a:pt x="954" y="594"/>
                      <a:pt x="958" y="586"/>
                    </a:cubicBezTo>
                    <a:cubicBezTo>
                      <a:pt x="962" y="578"/>
                      <a:pt x="947" y="578"/>
                      <a:pt x="947" y="578"/>
                    </a:cubicBezTo>
                    <a:cubicBezTo>
                      <a:pt x="947" y="578"/>
                      <a:pt x="970" y="562"/>
                      <a:pt x="979" y="557"/>
                    </a:cubicBezTo>
                    <a:cubicBezTo>
                      <a:pt x="988" y="552"/>
                      <a:pt x="1015" y="545"/>
                      <a:pt x="1015" y="545"/>
                    </a:cubicBezTo>
                    <a:cubicBezTo>
                      <a:pt x="1066" y="526"/>
                      <a:pt x="1066" y="526"/>
                      <a:pt x="1066" y="526"/>
                    </a:cubicBezTo>
                    <a:cubicBezTo>
                      <a:pt x="1060" y="513"/>
                      <a:pt x="1060" y="513"/>
                      <a:pt x="1060" y="513"/>
                    </a:cubicBezTo>
                    <a:cubicBezTo>
                      <a:pt x="1060" y="513"/>
                      <a:pt x="1083" y="519"/>
                      <a:pt x="1090" y="514"/>
                    </a:cubicBezTo>
                    <a:cubicBezTo>
                      <a:pt x="1097" y="509"/>
                      <a:pt x="1130" y="494"/>
                      <a:pt x="1130" y="494"/>
                    </a:cubicBezTo>
                    <a:cubicBezTo>
                      <a:pt x="1130" y="494"/>
                      <a:pt x="1188" y="470"/>
                      <a:pt x="1196" y="467"/>
                    </a:cubicBezTo>
                    <a:cubicBezTo>
                      <a:pt x="1204" y="464"/>
                      <a:pt x="1234" y="485"/>
                      <a:pt x="1234" y="485"/>
                    </a:cubicBezTo>
                    <a:cubicBezTo>
                      <a:pt x="1210" y="485"/>
                      <a:pt x="1210" y="485"/>
                      <a:pt x="1210" y="485"/>
                    </a:cubicBezTo>
                    <a:cubicBezTo>
                      <a:pt x="1197" y="477"/>
                      <a:pt x="1197" y="477"/>
                      <a:pt x="1197" y="477"/>
                    </a:cubicBezTo>
                    <a:cubicBezTo>
                      <a:pt x="1174" y="493"/>
                      <a:pt x="1174" y="493"/>
                      <a:pt x="1174" y="493"/>
                    </a:cubicBezTo>
                    <a:cubicBezTo>
                      <a:pt x="1151" y="493"/>
                      <a:pt x="1151" y="493"/>
                      <a:pt x="1151" y="493"/>
                    </a:cubicBezTo>
                    <a:cubicBezTo>
                      <a:pt x="1151" y="493"/>
                      <a:pt x="1128" y="515"/>
                      <a:pt x="1119" y="518"/>
                    </a:cubicBezTo>
                    <a:cubicBezTo>
                      <a:pt x="1110" y="521"/>
                      <a:pt x="1071" y="527"/>
                      <a:pt x="1075" y="536"/>
                    </a:cubicBezTo>
                    <a:cubicBezTo>
                      <a:pt x="1079" y="545"/>
                      <a:pt x="1099" y="544"/>
                      <a:pt x="1099" y="544"/>
                    </a:cubicBezTo>
                    <a:cubicBezTo>
                      <a:pt x="1099" y="544"/>
                      <a:pt x="1079" y="552"/>
                      <a:pt x="1075" y="552"/>
                    </a:cubicBezTo>
                    <a:cubicBezTo>
                      <a:pt x="1071" y="552"/>
                      <a:pt x="1042" y="551"/>
                      <a:pt x="1042" y="557"/>
                    </a:cubicBezTo>
                    <a:cubicBezTo>
                      <a:pt x="1042" y="563"/>
                      <a:pt x="1045" y="576"/>
                      <a:pt x="1065" y="568"/>
                    </a:cubicBezTo>
                    <a:cubicBezTo>
                      <a:pt x="1085" y="560"/>
                      <a:pt x="1129" y="536"/>
                      <a:pt x="1147" y="532"/>
                    </a:cubicBezTo>
                    <a:cubicBezTo>
                      <a:pt x="1165" y="528"/>
                      <a:pt x="1197" y="537"/>
                      <a:pt x="1211" y="530"/>
                    </a:cubicBezTo>
                    <a:cubicBezTo>
                      <a:pt x="1225" y="523"/>
                      <a:pt x="1247" y="502"/>
                      <a:pt x="1247" y="502"/>
                    </a:cubicBezTo>
                    <a:cubicBezTo>
                      <a:pt x="1245" y="492"/>
                      <a:pt x="1245" y="492"/>
                      <a:pt x="1245" y="492"/>
                    </a:cubicBezTo>
                    <a:cubicBezTo>
                      <a:pt x="1245" y="492"/>
                      <a:pt x="1299" y="471"/>
                      <a:pt x="1309" y="472"/>
                    </a:cubicBezTo>
                    <a:cubicBezTo>
                      <a:pt x="1319" y="473"/>
                      <a:pt x="1322" y="483"/>
                      <a:pt x="1322" y="483"/>
                    </a:cubicBezTo>
                    <a:cubicBezTo>
                      <a:pt x="1364" y="470"/>
                      <a:pt x="1364" y="470"/>
                      <a:pt x="1364" y="470"/>
                    </a:cubicBezTo>
                    <a:cubicBezTo>
                      <a:pt x="1336" y="492"/>
                      <a:pt x="1336" y="492"/>
                      <a:pt x="1336" y="492"/>
                    </a:cubicBezTo>
                    <a:cubicBezTo>
                      <a:pt x="1350" y="498"/>
                      <a:pt x="1350" y="498"/>
                      <a:pt x="1350" y="498"/>
                    </a:cubicBezTo>
                    <a:cubicBezTo>
                      <a:pt x="1350" y="498"/>
                      <a:pt x="1346" y="510"/>
                      <a:pt x="1350" y="510"/>
                    </a:cubicBezTo>
                    <a:cubicBezTo>
                      <a:pt x="1354" y="510"/>
                      <a:pt x="1395" y="485"/>
                      <a:pt x="1395" y="485"/>
                    </a:cubicBezTo>
                    <a:cubicBezTo>
                      <a:pt x="1395" y="485"/>
                      <a:pt x="1356" y="515"/>
                      <a:pt x="1367" y="520"/>
                    </a:cubicBezTo>
                    <a:cubicBezTo>
                      <a:pt x="1378" y="525"/>
                      <a:pt x="1406" y="526"/>
                      <a:pt x="1406" y="526"/>
                    </a:cubicBezTo>
                    <a:cubicBezTo>
                      <a:pt x="1472" y="532"/>
                      <a:pt x="1472" y="532"/>
                      <a:pt x="1472" y="532"/>
                    </a:cubicBezTo>
                    <a:cubicBezTo>
                      <a:pt x="1493" y="519"/>
                      <a:pt x="1493" y="519"/>
                      <a:pt x="1493" y="519"/>
                    </a:cubicBezTo>
                    <a:cubicBezTo>
                      <a:pt x="1493" y="519"/>
                      <a:pt x="1480" y="541"/>
                      <a:pt x="1491" y="542"/>
                    </a:cubicBezTo>
                    <a:cubicBezTo>
                      <a:pt x="1502" y="543"/>
                      <a:pt x="1534" y="541"/>
                      <a:pt x="1534" y="541"/>
                    </a:cubicBezTo>
                    <a:cubicBezTo>
                      <a:pt x="1556" y="535"/>
                      <a:pt x="1556" y="535"/>
                      <a:pt x="1556" y="535"/>
                    </a:cubicBezTo>
                    <a:cubicBezTo>
                      <a:pt x="1556" y="535"/>
                      <a:pt x="1517" y="549"/>
                      <a:pt x="1520" y="557"/>
                    </a:cubicBezTo>
                    <a:cubicBezTo>
                      <a:pt x="1523" y="565"/>
                      <a:pt x="1541" y="573"/>
                      <a:pt x="1541" y="573"/>
                    </a:cubicBezTo>
                    <a:cubicBezTo>
                      <a:pt x="1541" y="573"/>
                      <a:pt x="1539" y="609"/>
                      <a:pt x="1551" y="609"/>
                    </a:cubicBezTo>
                    <a:cubicBezTo>
                      <a:pt x="1563" y="609"/>
                      <a:pt x="1594" y="606"/>
                      <a:pt x="1594" y="606"/>
                    </a:cubicBezTo>
                    <a:cubicBezTo>
                      <a:pt x="1587" y="585"/>
                      <a:pt x="1587" y="585"/>
                      <a:pt x="1587" y="585"/>
                    </a:cubicBezTo>
                    <a:cubicBezTo>
                      <a:pt x="1601" y="580"/>
                      <a:pt x="1601" y="580"/>
                      <a:pt x="1601" y="580"/>
                    </a:cubicBezTo>
                    <a:cubicBezTo>
                      <a:pt x="1610" y="591"/>
                      <a:pt x="1610" y="591"/>
                      <a:pt x="1610" y="591"/>
                    </a:cubicBezTo>
                    <a:cubicBezTo>
                      <a:pt x="1630" y="585"/>
                      <a:pt x="1630" y="585"/>
                      <a:pt x="1630" y="585"/>
                    </a:cubicBezTo>
                    <a:cubicBezTo>
                      <a:pt x="1630" y="585"/>
                      <a:pt x="1610" y="608"/>
                      <a:pt x="1621" y="612"/>
                    </a:cubicBezTo>
                    <a:cubicBezTo>
                      <a:pt x="1632" y="616"/>
                      <a:pt x="1650" y="586"/>
                      <a:pt x="1650" y="586"/>
                    </a:cubicBezTo>
                    <a:cubicBezTo>
                      <a:pt x="1670" y="557"/>
                      <a:pt x="1670" y="557"/>
                      <a:pt x="1670" y="557"/>
                    </a:cubicBezTo>
                    <a:cubicBezTo>
                      <a:pt x="1652" y="599"/>
                      <a:pt x="1652" y="599"/>
                      <a:pt x="1652" y="599"/>
                    </a:cubicBezTo>
                    <a:cubicBezTo>
                      <a:pt x="1656" y="615"/>
                      <a:pt x="1656" y="615"/>
                      <a:pt x="1656" y="615"/>
                    </a:cubicBezTo>
                    <a:cubicBezTo>
                      <a:pt x="1679" y="607"/>
                      <a:pt x="1679" y="607"/>
                      <a:pt x="1679" y="607"/>
                    </a:cubicBezTo>
                    <a:cubicBezTo>
                      <a:pt x="1664" y="623"/>
                      <a:pt x="1664" y="623"/>
                      <a:pt x="1664" y="623"/>
                    </a:cubicBezTo>
                    <a:cubicBezTo>
                      <a:pt x="1681" y="638"/>
                      <a:pt x="1681" y="638"/>
                      <a:pt x="1681" y="638"/>
                    </a:cubicBezTo>
                    <a:cubicBezTo>
                      <a:pt x="1669" y="635"/>
                      <a:pt x="1669" y="635"/>
                      <a:pt x="1669" y="635"/>
                    </a:cubicBezTo>
                    <a:cubicBezTo>
                      <a:pt x="1667" y="647"/>
                      <a:pt x="1667" y="647"/>
                      <a:pt x="1667" y="647"/>
                    </a:cubicBezTo>
                    <a:cubicBezTo>
                      <a:pt x="1648" y="660"/>
                      <a:pt x="1648" y="660"/>
                      <a:pt x="1648" y="660"/>
                    </a:cubicBezTo>
                    <a:cubicBezTo>
                      <a:pt x="1636" y="670"/>
                      <a:pt x="1636" y="670"/>
                      <a:pt x="1636" y="670"/>
                    </a:cubicBezTo>
                    <a:cubicBezTo>
                      <a:pt x="1657" y="681"/>
                      <a:pt x="1657" y="681"/>
                      <a:pt x="1657" y="681"/>
                    </a:cubicBezTo>
                    <a:cubicBezTo>
                      <a:pt x="1654" y="702"/>
                      <a:pt x="1654" y="702"/>
                      <a:pt x="1654" y="702"/>
                    </a:cubicBezTo>
                    <a:cubicBezTo>
                      <a:pt x="1642" y="714"/>
                      <a:pt x="1642" y="714"/>
                      <a:pt x="1642" y="714"/>
                    </a:cubicBezTo>
                    <a:cubicBezTo>
                      <a:pt x="1654" y="719"/>
                      <a:pt x="1654" y="719"/>
                      <a:pt x="1654" y="719"/>
                    </a:cubicBezTo>
                    <a:cubicBezTo>
                      <a:pt x="1639" y="733"/>
                      <a:pt x="1639" y="733"/>
                      <a:pt x="1639" y="733"/>
                    </a:cubicBezTo>
                    <a:cubicBezTo>
                      <a:pt x="1660" y="733"/>
                      <a:pt x="1660" y="733"/>
                      <a:pt x="1660" y="733"/>
                    </a:cubicBezTo>
                    <a:cubicBezTo>
                      <a:pt x="1685" y="724"/>
                      <a:pt x="1685" y="724"/>
                      <a:pt x="1685" y="724"/>
                    </a:cubicBezTo>
                    <a:cubicBezTo>
                      <a:pt x="1663" y="750"/>
                      <a:pt x="1663" y="750"/>
                      <a:pt x="1663" y="750"/>
                    </a:cubicBezTo>
                    <a:cubicBezTo>
                      <a:pt x="1652" y="760"/>
                      <a:pt x="1652" y="760"/>
                      <a:pt x="1652" y="760"/>
                    </a:cubicBezTo>
                    <a:cubicBezTo>
                      <a:pt x="1667" y="765"/>
                      <a:pt x="1667" y="765"/>
                      <a:pt x="1667" y="765"/>
                    </a:cubicBezTo>
                    <a:cubicBezTo>
                      <a:pt x="1637" y="777"/>
                      <a:pt x="1637" y="777"/>
                      <a:pt x="1637" y="777"/>
                    </a:cubicBezTo>
                    <a:cubicBezTo>
                      <a:pt x="1623" y="785"/>
                      <a:pt x="1623" y="785"/>
                      <a:pt x="1623" y="785"/>
                    </a:cubicBezTo>
                    <a:cubicBezTo>
                      <a:pt x="1637" y="791"/>
                      <a:pt x="1637" y="791"/>
                      <a:pt x="1637" y="791"/>
                    </a:cubicBezTo>
                    <a:cubicBezTo>
                      <a:pt x="1637" y="791"/>
                      <a:pt x="1636" y="794"/>
                      <a:pt x="1634" y="798"/>
                    </a:cubicBezTo>
                    <a:cubicBezTo>
                      <a:pt x="1655" y="788"/>
                      <a:pt x="1676" y="777"/>
                      <a:pt x="1680" y="773"/>
                    </a:cubicBezTo>
                    <a:cubicBezTo>
                      <a:pt x="1690" y="763"/>
                      <a:pt x="1690" y="747"/>
                      <a:pt x="1690" y="747"/>
                    </a:cubicBezTo>
                    <a:cubicBezTo>
                      <a:pt x="1690" y="747"/>
                      <a:pt x="1717" y="736"/>
                      <a:pt x="1717" y="728"/>
                    </a:cubicBezTo>
                    <a:cubicBezTo>
                      <a:pt x="1717" y="720"/>
                      <a:pt x="1707" y="721"/>
                      <a:pt x="1707" y="721"/>
                    </a:cubicBezTo>
                    <a:close/>
                    <a:moveTo>
                      <a:pt x="1598" y="704"/>
                    </a:moveTo>
                    <a:cubicBezTo>
                      <a:pt x="1604" y="718"/>
                      <a:pt x="1624" y="696"/>
                      <a:pt x="1624" y="696"/>
                    </a:cubicBezTo>
                    <a:cubicBezTo>
                      <a:pt x="1639" y="692"/>
                      <a:pt x="1639" y="692"/>
                      <a:pt x="1639" y="692"/>
                    </a:cubicBezTo>
                    <a:cubicBezTo>
                      <a:pt x="1638" y="682"/>
                      <a:pt x="1638" y="682"/>
                      <a:pt x="1638" y="682"/>
                    </a:cubicBezTo>
                    <a:cubicBezTo>
                      <a:pt x="1620" y="679"/>
                      <a:pt x="1620" y="679"/>
                      <a:pt x="1620" y="679"/>
                    </a:cubicBezTo>
                    <a:cubicBezTo>
                      <a:pt x="1620" y="679"/>
                      <a:pt x="1595" y="697"/>
                      <a:pt x="1598" y="704"/>
                    </a:cubicBezTo>
                    <a:close/>
                    <a:moveTo>
                      <a:pt x="1583" y="656"/>
                    </a:moveTo>
                    <a:cubicBezTo>
                      <a:pt x="1576" y="653"/>
                      <a:pt x="1559" y="664"/>
                      <a:pt x="1558" y="670"/>
                    </a:cubicBezTo>
                    <a:cubicBezTo>
                      <a:pt x="1557" y="676"/>
                      <a:pt x="1550" y="689"/>
                      <a:pt x="1550" y="689"/>
                    </a:cubicBezTo>
                    <a:cubicBezTo>
                      <a:pt x="1549" y="698"/>
                      <a:pt x="1549" y="698"/>
                      <a:pt x="1549" y="698"/>
                    </a:cubicBezTo>
                    <a:cubicBezTo>
                      <a:pt x="1549" y="698"/>
                      <a:pt x="1541" y="702"/>
                      <a:pt x="1540" y="709"/>
                    </a:cubicBezTo>
                    <a:cubicBezTo>
                      <a:pt x="1539" y="716"/>
                      <a:pt x="1546" y="720"/>
                      <a:pt x="1546" y="720"/>
                    </a:cubicBezTo>
                    <a:cubicBezTo>
                      <a:pt x="1546" y="720"/>
                      <a:pt x="1559" y="700"/>
                      <a:pt x="1576" y="687"/>
                    </a:cubicBezTo>
                    <a:cubicBezTo>
                      <a:pt x="1593" y="674"/>
                      <a:pt x="1590" y="659"/>
                      <a:pt x="1583" y="656"/>
                    </a:cubicBezTo>
                    <a:close/>
                    <a:moveTo>
                      <a:pt x="525" y="542"/>
                    </a:moveTo>
                    <a:cubicBezTo>
                      <a:pt x="547" y="540"/>
                      <a:pt x="594" y="519"/>
                      <a:pt x="578" y="515"/>
                    </a:cubicBezTo>
                    <a:cubicBezTo>
                      <a:pt x="561" y="510"/>
                      <a:pt x="539" y="507"/>
                      <a:pt x="533" y="513"/>
                    </a:cubicBezTo>
                    <a:cubicBezTo>
                      <a:pt x="527" y="519"/>
                      <a:pt x="514" y="506"/>
                      <a:pt x="510" y="517"/>
                    </a:cubicBezTo>
                    <a:cubicBezTo>
                      <a:pt x="507" y="528"/>
                      <a:pt x="513" y="543"/>
                      <a:pt x="525" y="542"/>
                    </a:cubicBezTo>
                    <a:close/>
                    <a:moveTo>
                      <a:pt x="0" y="886"/>
                    </a:moveTo>
                    <a:cubicBezTo>
                      <a:pt x="41" y="880"/>
                      <a:pt x="41" y="880"/>
                      <a:pt x="41" y="880"/>
                    </a:cubicBezTo>
                    <a:cubicBezTo>
                      <a:pt x="49" y="869"/>
                      <a:pt x="49" y="869"/>
                      <a:pt x="49" y="869"/>
                    </a:cubicBezTo>
                    <a:cubicBezTo>
                      <a:pt x="90" y="863"/>
                      <a:pt x="90" y="863"/>
                      <a:pt x="90" y="863"/>
                    </a:cubicBezTo>
                    <a:cubicBezTo>
                      <a:pt x="76" y="849"/>
                      <a:pt x="76" y="849"/>
                      <a:pt x="76" y="849"/>
                    </a:cubicBezTo>
                    <a:lnTo>
                      <a:pt x="0" y="886"/>
                    </a:lnTo>
                    <a:close/>
                    <a:moveTo>
                      <a:pt x="908" y="635"/>
                    </a:moveTo>
                    <a:cubicBezTo>
                      <a:pt x="905" y="636"/>
                      <a:pt x="892" y="641"/>
                      <a:pt x="892" y="641"/>
                    </a:cubicBezTo>
                    <a:cubicBezTo>
                      <a:pt x="892" y="641"/>
                      <a:pt x="884" y="634"/>
                      <a:pt x="879" y="635"/>
                    </a:cubicBezTo>
                    <a:cubicBezTo>
                      <a:pt x="874" y="636"/>
                      <a:pt x="875" y="651"/>
                      <a:pt x="875" y="651"/>
                    </a:cubicBezTo>
                    <a:cubicBezTo>
                      <a:pt x="859" y="663"/>
                      <a:pt x="859" y="663"/>
                      <a:pt x="859" y="663"/>
                    </a:cubicBezTo>
                    <a:cubicBezTo>
                      <a:pt x="859" y="646"/>
                      <a:pt x="859" y="646"/>
                      <a:pt x="859" y="646"/>
                    </a:cubicBezTo>
                    <a:cubicBezTo>
                      <a:pt x="859" y="646"/>
                      <a:pt x="845" y="641"/>
                      <a:pt x="831" y="654"/>
                    </a:cubicBezTo>
                    <a:cubicBezTo>
                      <a:pt x="831" y="654"/>
                      <a:pt x="814" y="665"/>
                      <a:pt x="811" y="672"/>
                    </a:cubicBezTo>
                    <a:cubicBezTo>
                      <a:pt x="809" y="680"/>
                      <a:pt x="831" y="681"/>
                      <a:pt x="831" y="681"/>
                    </a:cubicBezTo>
                    <a:cubicBezTo>
                      <a:pt x="831" y="681"/>
                      <a:pt x="861" y="681"/>
                      <a:pt x="872" y="676"/>
                    </a:cubicBezTo>
                    <a:cubicBezTo>
                      <a:pt x="884" y="671"/>
                      <a:pt x="881" y="664"/>
                      <a:pt x="881" y="664"/>
                    </a:cubicBezTo>
                    <a:cubicBezTo>
                      <a:pt x="899" y="661"/>
                      <a:pt x="899" y="661"/>
                      <a:pt x="899" y="661"/>
                    </a:cubicBezTo>
                    <a:cubicBezTo>
                      <a:pt x="900" y="655"/>
                      <a:pt x="900" y="655"/>
                      <a:pt x="900" y="655"/>
                    </a:cubicBezTo>
                    <a:cubicBezTo>
                      <a:pt x="925" y="654"/>
                      <a:pt x="925" y="654"/>
                      <a:pt x="925" y="654"/>
                    </a:cubicBezTo>
                    <a:cubicBezTo>
                      <a:pt x="931" y="638"/>
                      <a:pt x="931" y="638"/>
                      <a:pt x="931" y="638"/>
                    </a:cubicBezTo>
                    <a:cubicBezTo>
                      <a:pt x="920" y="640"/>
                      <a:pt x="920" y="640"/>
                      <a:pt x="920" y="640"/>
                    </a:cubicBezTo>
                    <a:cubicBezTo>
                      <a:pt x="920" y="640"/>
                      <a:pt x="912" y="634"/>
                      <a:pt x="908" y="635"/>
                    </a:cubicBezTo>
                    <a:close/>
                    <a:moveTo>
                      <a:pt x="107" y="860"/>
                    </a:moveTo>
                    <a:cubicBezTo>
                      <a:pt x="135" y="859"/>
                      <a:pt x="135" y="859"/>
                      <a:pt x="135" y="859"/>
                    </a:cubicBezTo>
                    <a:cubicBezTo>
                      <a:pt x="161" y="840"/>
                      <a:pt x="161" y="840"/>
                      <a:pt x="161" y="840"/>
                    </a:cubicBezTo>
                    <a:cubicBezTo>
                      <a:pt x="152" y="829"/>
                      <a:pt x="152" y="829"/>
                      <a:pt x="152" y="829"/>
                    </a:cubicBezTo>
                    <a:lnTo>
                      <a:pt x="107" y="860"/>
                    </a:lnTo>
                    <a:close/>
                    <a:moveTo>
                      <a:pt x="1646" y="762"/>
                    </a:moveTo>
                    <a:cubicBezTo>
                      <a:pt x="1652" y="749"/>
                      <a:pt x="1637" y="734"/>
                      <a:pt x="1627" y="744"/>
                    </a:cubicBezTo>
                    <a:cubicBezTo>
                      <a:pt x="1617" y="754"/>
                      <a:pt x="1611" y="784"/>
                      <a:pt x="1611" y="784"/>
                    </a:cubicBezTo>
                    <a:cubicBezTo>
                      <a:pt x="1611" y="784"/>
                      <a:pt x="1624" y="773"/>
                      <a:pt x="1629" y="773"/>
                    </a:cubicBezTo>
                    <a:cubicBezTo>
                      <a:pt x="1634" y="773"/>
                      <a:pt x="1640" y="775"/>
                      <a:pt x="1646" y="762"/>
                    </a:cubicBezTo>
                    <a:close/>
                    <a:moveTo>
                      <a:pt x="953" y="609"/>
                    </a:moveTo>
                    <a:cubicBezTo>
                      <a:pt x="940" y="618"/>
                      <a:pt x="916" y="623"/>
                      <a:pt x="923" y="630"/>
                    </a:cubicBezTo>
                    <a:cubicBezTo>
                      <a:pt x="934" y="641"/>
                      <a:pt x="959" y="629"/>
                      <a:pt x="959" y="629"/>
                    </a:cubicBezTo>
                    <a:cubicBezTo>
                      <a:pt x="966" y="620"/>
                      <a:pt x="966" y="620"/>
                      <a:pt x="966" y="620"/>
                    </a:cubicBezTo>
                    <a:cubicBezTo>
                      <a:pt x="966" y="620"/>
                      <a:pt x="982" y="624"/>
                      <a:pt x="979" y="618"/>
                    </a:cubicBezTo>
                    <a:cubicBezTo>
                      <a:pt x="977" y="612"/>
                      <a:pt x="967" y="600"/>
                      <a:pt x="953" y="609"/>
                    </a:cubicBezTo>
                    <a:close/>
                    <a:moveTo>
                      <a:pt x="331" y="777"/>
                    </a:moveTo>
                    <a:cubicBezTo>
                      <a:pt x="319" y="777"/>
                      <a:pt x="290" y="788"/>
                      <a:pt x="290" y="788"/>
                    </a:cubicBezTo>
                    <a:cubicBezTo>
                      <a:pt x="290" y="788"/>
                      <a:pt x="253" y="802"/>
                      <a:pt x="254" y="809"/>
                    </a:cubicBezTo>
                    <a:cubicBezTo>
                      <a:pt x="256" y="818"/>
                      <a:pt x="270" y="812"/>
                      <a:pt x="289" y="806"/>
                    </a:cubicBezTo>
                    <a:cubicBezTo>
                      <a:pt x="308" y="799"/>
                      <a:pt x="328" y="809"/>
                      <a:pt x="335" y="803"/>
                    </a:cubicBezTo>
                    <a:cubicBezTo>
                      <a:pt x="342" y="797"/>
                      <a:pt x="344" y="777"/>
                      <a:pt x="331" y="777"/>
                    </a:cubicBezTo>
                    <a:close/>
                    <a:moveTo>
                      <a:pt x="219" y="828"/>
                    </a:moveTo>
                    <a:cubicBezTo>
                      <a:pt x="221" y="814"/>
                      <a:pt x="221" y="814"/>
                      <a:pt x="221" y="814"/>
                    </a:cubicBezTo>
                    <a:cubicBezTo>
                      <a:pt x="184" y="829"/>
                      <a:pt x="184" y="829"/>
                      <a:pt x="184" y="829"/>
                    </a:cubicBezTo>
                    <a:lnTo>
                      <a:pt x="219" y="828"/>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grpSp>
        <p:grpSp>
          <p:nvGrpSpPr>
            <p:cNvPr id="207" name="Europe and North America">
              <a:extLst>
                <a:ext uri="{FF2B5EF4-FFF2-40B4-BE49-F238E27FC236}">
                  <a16:creationId xmlns:a16="http://schemas.microsoft.com/office/drawing/2014/main" id="{2E93D9C0-6F14-448F-824F-F7F3A3CFB84A}"/>
                </a:ext>
              </a:extLst>
            </p:cNvPr>
            <p:cNvGrpSpPr/>
            <p:nvPr/>
          </p:nvGrpSpPr>
          <p:grpSpPr bwMode="gray">
            <a:xfrm>
              <a:off x="4187181" y="1387475"/>
              <a:ext cx="2724750" cy="1681765"/>
              <a:chOff x="4465059" y="1736728"/>
              <a:chExt cx="2118092" cy="1307497"/>
            </a:xfrm>
            <a:grpFill/>
          </p:grpSpPr>
          <p:sp>
            <p:nvSpPr>
              <p:cNvPr id="316" name="United Kingdom">
                <a:extLst>
                  <a:ext uri="{FF2B5EF4-FFF2-40B4-BE49-F238E27FC236}">
                    <a16:creationId xmlns:a16="http://schemas.microsoft.com/office/drawing/2014/main" id="{544C6279-1297-4550-9899-803888D7ECA8}"/>
                  </a:ext>
                </a:extLst>
              </p:cNvPr>
              <p:cNvSpPr>
                <a:spLocks noEditPoints="1"/>
              </p:cNvSpPr>
              <p:nvPr/>
            </p:nvSpPr>
            <p:spPr bwMode="gray">
              <a:xfrm>
                <a:off x="5470122" y="2277816"/>
                <a:ext cx="222289" cy="307833"/>
              </a:xfrm>
              <a:custGeom>
                <a:avLst/>
                <a:gdLst>
                  <a:gd name="T0" fmla="*/ 118 w 395"/>
                  <a:gd name="T1" fmla="*/ 256 h 549"/>
                  <a:gd name="T2" fmla="*/ 111 w 395"/>
                  <a:gd name="T3" fmla="*/ 221 h 549"/>
                  <a:gd name="T4" fmla="*/ 98 w 395"/>
                  <a:gd name="T5" fmla="*/ 248 h 549"/>
                  <a:gd name="T6" fmla="*/ 222 w 395"/>
                  <a:gd name="T7" fmla="*/ 93 h 549"/>
                  <a:gd name="T8" fmla="*/ 97 w 395"/>
                  <a:gd name="T9" fmla="*/ 159 h 549"/>
                  <a:gd name="T10" fmla="*/ 93 w 395"/>
                  <a:gd name="T11" fmla="*/ 183 h 549"/>
                  <a:gd name="T12" fmla="*/ 325 w 395"/>
                  <a:gd name="T13" fmla="*/ 1 h 549"/>
                  <a:gd name="T14" fmla="*/ 296 w 395"/>
                  <a:gd name="T15" fmla="*/ 36 h 549"/>
                  <a:gd name="T16" fmla="*/ 301 w 395"/>
                  <a:gd name="T17" fmla="*/ 12 h 549"/>
                  <a:gd name="T18" fmla="*/ 296 w 395"/>
                  <a:gd name="T19" fmla="*/ 36 h 549"/>
                  <a:gd name="T20" fmla="*/ 246 w 395"/>
                  <a:gd name="T21" fmla="*/ 96 h 549"/>
                  <a:gd name="T22" fmla="*/ 128 w 395"/>
                  <a:gd name="T23" fmla="*/ 258 h 549"/>
                  <a:gd name="T24" fmla="*/ 331 w 395"/>
                  <a:gd name="T25" fmla="*/ 402 h 549"/>
                  <a:gd name="T26" fmla="*/ 330 w 395"/>
                  <a:gd name="T27" fmla="*/ 357 h 549"/>
                  <a:gd name="T28" fmla="*/ 291 w 395"/>
                  <a:gd name="T29" fmla="*/ 314 h 549"/>
                  <a:gd name="T30" fmla="*/ 265 w 395"/>
                  <a:gd name="T31" fmla="*/ 261 h 549"/>
                  <a:gd name="T32" fmla="*/ 191 w 395"/>
                  <a:gd name="T33" fmla="*/ 235 h 549"/>
                  <a:gd name="T34" fmla="*/ 214 w 395"/>
                  <a:gd name="T35" fmla="*/ 222 h 549"/>
                  <a:gd name="T36" fmla="*/ 261 w 395"/>
                  <a:gd name="T37" fmla="*/ 177 h 549"/>
                  <a:gd name="T38" fmla="*/ 211 w 395"/>
                  <a:gd name="T39" fmla="*/ 154 h 549"/>
                  <a:gd name="T40" fmla="*/ 179 w 395"/>
                  <a:gd name="T41" fmla="*/ 147 h 549"/>
                  <a:gd name="T42" fmla="*/ 224 w 395"/>
                  <a:gd name="T43" fmla="*/ 112 h 549"/>
                  <a:gd name="T44" fmla="*/ 153 w 395"/>
                  <a:gd name="T45" fmla="*/ 110 h 549"/>
                  <a:gd name="T46" fmla="*/ 144 w 395"/>
                  <a:gd name="T47" fmla="*/ 148 h 549"/>
                  <a:gd name="T48" fmla="*/ 121 w 395"/>
                  <a:gd name="T49" fmla="*/ 162 h 549"/>
                  <a:gd name="T50" fmla="*/ 116 w 395"/>
                  <a:gd name="T51" fmla="*/ 198 h 549"/>
                  <a:gd name="T52" fmla="*/ 134 w 395"/>
                  <a:gd name="T53" fmla="*/ 202 h 549"/>
                  <a:gd name="T54" fmla="*/ 116 w 395"/>
                  <a:gd name="T55" fmla="*/ 250 h 549"/>
                  <a:gd name="T56" fmla="*/ 144 w 395"/>
                  <a:gd name="T57" fmla="*/ 251 h 549"/>
                  <a:gd name="T58" fmla="*/ 146 w 395"/>
                  <a:gd name="T59" fmla="*/ 306 h 549"/>
                  <a:gd name="T60" fmla="*/ 211 w 395"/>
                  <a:gd name="T61" fmla="*/ 295 h 549"/>
                  <a:gd name="T62" fmla="*/ 216 w 395"/>
                  <a:gd name="T63" fmla="*/ 349 h 549"/>
                  <a:gd name="T64" fmla="*/ 162 w 395"/>
                  <a:gd name="T65" fmla="*/ 377 h 549"/>
                  <a:gd name="T66" fmla="*/ 135 w 395"/>
                  <a:gd name="T67" fmla="*/ 402 h 549"/>
                  <a:gd name="T68" fmla="*/ 117 w 395"/>
                  <a:gd name="T69" fmla="*/ 448 h 549"/>
                  <a:gd name="T70" fmla="*/ 151 w 395"/>
                  <a:gd name="T71" fmla="*/ 466 h 549"/>
                  <a:gd name="T72" fmla="*/ 202 w 395"/>
                  <a:gd name="T73" fmla="*/ 467 h 549"/>
                  <a:gd name="T74" fmla="*/ 156 w 395"/>
                  <a:gd name="T75" fmla="*/ 485 h 549"/>
                  <a:gd name="T76" fmla="*/ 129 w 395"/>
                  <a:gd name="T77" fmla="*/ 516 h 549"/>
                  <a:gd name="T78" fmla="*/ 83 w 395"/>
                  <a:gd name="T79" fmla="*/ 545 h 549"/>
                  <a:gd name="T80" fmla="*/ 147 w 395"/>
                  <a:gd name="T81" fmla="*/ 530 h 549"/>
                  <a:gd name="T82" fmla="*/ 211 w 395"/>
                  <a:gd name="T83" fmla="*/ 519 h 549"/>
                  <a:gd name="T84" fmla="*/ 273 w 395"/>
                  <a:gd name="T85" fmla="*/ 520 h 549"/>
                  <a:gd name="T86" fmla="*/ 293 w 395"/>
                  <a:gd name="T87" fmla="*/ 508 h 549"/>
                  <a:gd name="T88" fmla="*/ 340 w 395"/>
                  <a:gd name="T89" fmla="*/ 474 h 549"/>
                  <a:gd name="T90" fmla="*/ 375 w 395"/>
                  <a:gd name="T91" fmla="*/ 447 h 549"/>
                  <a:gd name="T92" fmla="*/ 157 w 395"/>
                  <a:gd name="T93" fmla="*/ 325 h 549"/>
                  <a:gd name="T94" fmla="*/ 94 w 395"/>
                  <a:gd name="T95" fmla="*/ 338 h 549"/>
                  <a:gd name="T96" fmla="*/ 110 w 395"/>
                  <a:gd name="T97" fmla="*/ 308 h 549"/>
                  <a:gd name="T98" fmla="*/ 86 w 395"/>
                  <a:gd name="T99" fmla="*/ 281 h 549"/>
                  <a:gd name="T100" fmla="*/ 58 w 395"/>
                  <a:gd name="T101" fmla="*/ 288 h 549"/>
                  <a:gd name="T102" fmla="*/ 13 w 395"/>
                  <a:gd name="T103" fmla="*/ 325 h 549"/>
                  <a:gd name="T104" fmla="*/ 67 w 395"/>
                  <a:gd name="T105" fmla="*/ 335 h 549"/>
                  <a:gd name="T106" fmla="*/ 63 w 395"/>
                  <a:gd name="T107" fmla="*/ 155 h 549"/>
                  <a:gd name="T108" fmla="*/ 63 w 395"/>
                  <a:gd name="T109" fmla="*/ 155 h 549"/>
                  <a:gd name="T110" fmla="*/ 108 w 395"/>
                  <a:gd name="T111" fmla="*/ 115 h 549"/>
                  <a:gd name="T112" fmla="*/ 72 w 395"/>
                  <a:gd name="T113" fmla="*/ 128 h 549"/>
                  <a:gd name="T114" fmla="*/ 57 w 395"/>
                  <a:gd name="T115" fmla="*/ 169 h 549"/>
                  <a:gd name="T116" fmla="*/ 57 w 395"/>
                  <a:gd name="T117" fmla="*/ 16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6" y="96"/>
                      <a:pt x="246" y="96"/>
                      <a:pt x="246" y="96"/>
                    </a:cubicBezTo>
                    <a:lnTo>
                      <a:pt x="239" y="94"/>
                    </a:lnTo>
                    <a:close/>
                    <a:moveTo>
                      <a:pt x="137" y="269"/>
                    </a:moveTo>
                    <a:cubicBezTo>
                      <a:pt x="143" y="265"/>
                      <a:pt x="134" y="252"/>
                      <a:pt x="128" y="258"/>
                    </a:cubicBezTo>
                    <a:cubicBezTo>
                      <a:pt x="122" y="264"/>
                      <a:pt x="130"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0" y="180"/>
                      <a:pt x="130" y="180"/>
                      <a:pt x="130" y="180"/>
                    </a:cubicBezTo>
                    <a:cubicBezTo>
                      <a:pt x="130"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0"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6"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4" y="461"/>
                      <a:pt x="354" y="461"/>
                      <a:pt x="354" y="461"/>
                    </a:cubicBezTo>
                    <a:cubicBezTo>
                      <a:pt x="354"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17" name="Ukraine">
                <a:extLst>
                  <a:ext uri="{FF2B5EF4-FFF2-40B4-BE49-F238E27FC236}">
                    <a16:creationId xmlns:a16="http://schemas.microsoft.com/office/drawing/2014/main" id="{FDDD2147-F94E-459E-808D-85F657CDBD16}"/>
                  </a:ext>
                </a:extLst>
              </p:cNvPr>
              <p:cNvSpPr>
                <a:spLocks/>
              </p:cNvSpPr>
              <p:nvPr/>
            </p:nvSpPr>
            <p:spPr bwMode="gray">
              <a:xfrm>
                <a:off x="6162391" y="2517417"/>
                <a:ext cx="420760" cy="231669"/>
              </a:xfrm>
              <a:custGeom>
                <a:avLst/>
                <a:gdLst>
                  <a:gd name="T0" fmla="*/ 51 w 750"/>
                  <a:gd name="T1" fmla="*/ 223 h 415"/>
                  <a:gd name="T2" fmla="*/ 79 w 750"/>
                  <a:gd name="T3" fmla="*/ 232 h 415"/>
                  <a:gd name="T4" fmla="*/ 132 w 750"/>
                  <a:gd name="T5" fmla="*/ 230 h 415"/>
                  <a:gd name="T6" fmla="*/ 166 w 750"/>
                  <a:gd name="T7" fmla="*/ 227 h 415"/>
                  <a:gd name="T8" fmla="*/ 209 w 750"/>
                  <a:gd name="T9" fmla="*/ 209 h 415"/>
                  <a:gd name="T10" fmla="*/ 243 w 750"/>
                  <a:gd name="T11" fmla="*/ 208 h 415"/>
                  <a:gd name="T12" fmla="*/ 274 w 750"/>
                  <a:gd name="T13" fmla="*/ 225 h 415"/>
                  <a:gd name="T14" fmla="*/ 296 w 750"/>
                  <a:gd name="T15" fmla="*/ 259 h 415"/>
                  <a:gd name="T16" fmla="*/ 311 w 750"/>
                  <a:gd name="T17" fmla="*/ 278 h 415"/>
                  <a:gd name="T18" fmla="*/ 317 w 750"/>
                  <a:gd name="T19" fmla="*/ 310 h 415"/>
                  <a:gd name="T20" fmla="*/ 304 w 750"/>
                  <a:gd name="T21" fmla="*/ 321 h 415"/>
                  <a:gd name="T22" fmla="*/ 283 w 750"/>
                  <a:gd name="T23" fmla="*/ 356 h 415"/>
                  <a:gd name="T24" fmla="*/ 281 w 750"/>
                  <a:gd name="T25" fmla="*/ 370 h 415"/>
                  <a:gd name="T26" fmla="*/ 323 w 750"/>
                  <a:gd name="T27" fmla="*/ 353 h 415"/>
                  <a:gd name="T28" fmla="*/ 391 w 750"/>
                  <a:gd name="T29" fmla="*/ 301 h 415"/>
                  <a:gd name="T30" fmla="*/ 436 w 750"/>
                  <a:gd name="T31" fmla="*/ 299 h 415"/>
                  <a:gd name="T32" fmla="*/ 420 w 750"/>
                  <a:gd name="T33" fmla="*/ 310 h 415"/>
                  <a:gd name="T34" fmla="*/ 488 w 750"/>
                  <a:gd name="T35" fmla="*/ 324 h 415"/>
                  <a:gd name="T36" fmla="*/ 499 w 750"/>
                  <a:gd name="T37" fmla="*/ 381 h 415"/>
                  <a:gd name="T38" fmla="*/ 542 w 750"/>
                  <a:gd name="T39" fmla="*/ 396 h 415"/>
                  <a:gd name="T40" fmla="*/ 591 w 750"/>
                  <a:gd name="T41" fmla="*/ 385 h 415"/>
                  <a:gd name="T42" fmla="*/ 622 w 750"/>
                  <a:gd name="T43" fmla="*/ 361 h 415"/>
                  <a:gd name="T44" fmla="*/ 553 w 750"/>
                  <a:gd name="T45" fmla="*/ 352 h 415"/>
                  <a:gd name="T46" fmla="*/ 503 w 750"/>
                  <a:gd name="T47" fmla="*/ 328 h 415"/>
                  <a:gd name="T48" fmla="*/ 537 w 750"/>
                  <a:gd name="T49" fmla="*/ 322 h 415"/>
                  <a:gd name="T50" fmla="*/ 588 w 750"/>
                  <a:gd name="T51" fmla="*/ 297 h 415"/>
                  <a:gd name="T52" fmla="*/ 679 w 750"/>
                  <a:gd name="T53" fmla="*/ 273 h 415"/>
                  <a:gd name="T54" fmla="*/ 703 w 750"/>
                  <a:gd name="T55" fmla="*/ 231 h 415"/>
                  <a:gd name="T56" fmla="*/ 727 w 750"/>
                  <a:gd name="T57" fmla="*/ 189 h 415"/>
                  <a:gd name="T58" fmla="*/ 742 w 750"/>
                  <a:gd name="T59" fmla="*/ 166 h 415"/>
                  <a:gd name="T60" fmla="*/ 709 w 750"/>
                  <a:gd name="T61" fmla="*/ 136 h 415"/>
                  <a:gd name="T62" fmla="*/ 662 w 750"/>
                  <a:gd name="T63" fmla="*/ 119 h 415"/>
                  <a:gd name="T64" fmla="*/ 620 w 750"/>
                  <a:gd name="T65" fmla="*/ 100 h 415"/>
                  <a:gd name="T66" fmla="*/ 578 w 750"/>
                  <a:gd name="T67" fmla="*/ 106 h 415"/>
                  <a:gd name="T68" fmla="*/ 540 w 750"/>
                  <a:gd name="T69" fmla="*/ 99 h 415"/>
                  <a:gd name="T70" fmla="*/ 482 w 750"/>
                  <a:gd name="T71" fmla="*/ 56 h 415"/>
                  <a:gd name="T72" fmla="*/ 486 w 750"/>
                  <a:gd name="T73" fmla="*/ 26 h 415"/>
                  <a:gd name="T74" fmla="*/ 431 w 750"/>
                  <a:gd name="T75" fmla="*/ 1 h 415"/>
                  <a:gd name="T76" fmla="*/ 398 w 750"/>
                  <a:gd name="T77" fmla="*/ 16 h 415"/>
                  <a:gd name="T78" fmla="*/ 327 w 750"/>
                  <a:gd name="T79" fmla="*/ 53 h 415"/>
                  <a:gd name="T80" fmla="*/ 273 w 750"/>
                  <a:gd name="T81" fmla="*/ 39 h 415"/>
                  <a:gd name="T82" fmla="*/ 247 w 750"/>
                  <a:gd name="T83" fmla="*/ 46 h 415"/>
                  <a:gd name="T84" fmla="*/ 224 w 750"/>
                  <a:gd name="T85" fmla="*/ 38 h 415"/>
                  <a:gd name="T86" fmla="*/ 202 w 750"/>
                  <a:gd name="T87" fmla="*/ 40 h 415"/>
                  <a:gd name="T88" fmla="*/ 157 w 750"/>
                  <a:gd name="T89" fmla="*/ 28 h 415"/>
                  <a:gd name="T90" fmla="*/ 103 w 750"/>
                  <a:gd name="T91" fmla="*/ 27 h 415"/>
                  <a:gd name="T92" fmla="*/ 47 w 750"/>
                  <a:gd name="T93" fmla="*/ 40 h 415"/>
                  <a:gd name="T94" fmla="*/ 75 w 750"/>
                  <a:gd name="T95" fmla="*/ 76 h 415"/>
                  <a:gd name="T96" fmla="*/ 58 w 750"/>
                  <a:gd name="T97" fmla="*/ 103 h 415"/>
                  <a:gd name="T98" fmla="*/ 30 w 750"/>
                  <a:gd name="T99" fmla="*/ 174 h 415"/>
                  <a:gd name="T100" fmla="*/ 1 w 750"/>
                  <a:gd name="T101" fmla="*/ 194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4"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7"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18" name="Switzerland">
                <a:extLst>
                  <a:ext uri="{FF2B5EF4-FFF2-40B4-BE49-F238E27FC236}">
                    <a16:creationId xmlns:a16="http://schemas.microsoft.com/office/drawing/2014/main" id="{AF3F5475-129D-4040-BFDF-52FACAD939C6}"/>
                  </a:ext>
                </a:extLst>
              </p:cNvPr>
              <p:cNvSpPr>
                <a:spLocks/>
              </p:cNvSpPr>
              <p:nvPr/>
            </p:nvSpPr>
            <p:spPr bwMode="gray">
              <a:xfrm>
                <a:off x="5782913" y="2647533"/>
                <a:ext cx="109556" cy="61884"/>
              </a:xfrm>
              <a:custGeom>
                <a:avLst/>
                <a:gdLst>
                  <a:gd name="T0" fmla="*/ 93 w 196"/>
                  <a:gd name="T1" fmla="*/ 17 h 109"/>
                  <a:gd name="T2" fmla="*/ 81 w 196"/>
                  <a:gd name="T3" fmla="*/ 17 h 109"/>
                  <a:gd name="T4" fmla="*/ 70 w 196"/>
                  <a:gd name="T5" fmla="*/ 15 h 109"/>
                  <a:gd name="T6" fmla="*/ 70 w 196"/>
                  <a:gd name="T7" fmla="*/ 16 h 109"/>
                  <a:gd name="T8" fmla="*/ 65 w 196"/>
                  <a:gd name="T9" fmla="*/ 26 h 109"/>
                  <a:gd name="T10" fmla="*/ 52 w 196"/>
                  <a:gd name="T11" fmla="*/ 19 h 109"/>
                  <a:gd name="T12" fmla="*/ 47 w 196"/>
                  <a:gd name="T13" fmla="*/ 28 h 109"/>
                  <a:gd name="T14" fmla="*/ 36 w 196"/>
                  <a:gd name="T15" fmla="*/ 43 h 109"/>
                  <a:gd name="T16" fmla="*/ 25 w 196"/>
                  <a:gd name="T17" fmla="*/ 43 h 109"/>
                  <a:gd name="T18" fmla="*/ 22 w 196"/>
                  <a:gd name="T19" fmla="*/ 56 h 109"/>
                  <a:gd name="T20" fmla="*/ 4 w 196"/>
                  <a:gd name="T21" fmla="*/ 72 h 109"/>
                  <a:gd name="T22" fmla="*/ 10 w 196"/>
                  <a:gd name="T23" fmla="*/ 80 h 109"/>
                  <a:gd name="T24" fmla="*/ 6 w 196"/>
                  <a:gd name="T25" fmla="*/ 89 h 109"/>
                  <a:gd name="T26" fmla="*/ 24 w 196"/>
                  <a:gd name="T27" fmla="*/ 73 h 109"/>
                  <a:gd name="T28" fmla="*/ 39 w 196"/>
                  <a:gd name="T29" fmla="*/ 75 h 109"/>
                  <a:gd name="T30" fmla="*/ 38 w 196"/>
                  <a:gd name="T31" fmla="*/ 93 h 109"/>
                  <a:gd name="T32" fmla="*/ 45 w 196"/>
                  <a:gd name="T33" fmla="*/ 103 h 109"/>
                  <a:gd name="T34" fmla="*/ 52 w 196"/>
                  <a:gd name="T35" fmla="*/ 103 h 109"/>
                  <a:gd name="T36" fmla="*/ 66 w 196"/>
                  <a:gd name="T37" fmla="*/ 96 h 109"/>
                  <a:gd name="T38" fmla="*/ 86 w 196"/>
                  <a:gd name="T39" fmla="*/ 101 h 109"/>
                  <a:gd name="T40" fmla="*/ 92 w 196"/>
                  <a:gd name="T41" fmla="*/ 81 h 109"/>
                  <a:gd name="T42" fmla="*/ 103 w 196"/>
                  <a:gd name="T43" fmla="*/ 75 h 109"/>
                  <a:gd name="T44" fmla="*/ 111 w 196"/>
                  <a:gd name="T45" fmla="*/ 90 h 109"/>
                  <a:gd name="T46" fmla="*/ 116 w 196"/>
                  <a:gd name="T47" fmla="*/ 91 h 109"/>
                  <a:gd name="T48" fmla="*/ 132 w 196"/>
                  <a:gd name="T49" fmla="*/ 108 h 109"/>
                  <a:gd name="T50" fmla="*/ 133 w 196"/>
                  <a:gd name="T51" fmla="*/ 93 h 109"/>
                  <a:gd name="T52" fmla="*/ 139 w 196"/>
                  <a:gd name="T53" fmla="*/ 87 h 109"/>
                  <a:gd name="T54" fmla="*/ 144 w 196"/>
                  <a:gd name="T55" fmla="*/ 71 h 109"/>
                  <a:gd name="T56" fmla="*/ 150 w 196"/>
                  <a:gd name="T57" fmla="*/ 83 h 109"/>
                  <a:gd name="T58" fmla="*/ 164 w 196"/>
                  <a:gd name="T59" fmla="*/ 80 h 109"/>
                  <a:gd name="T60" fmla="*/ 175 w 196"/>
                  <a:gd name="T61" fmla="*/ 85 h 109"/>
                  <a:gd name="T62" fmla="*/ 180 w 196"/>
                  <a:gd name="T63" fmla="*/ 79 h 109"/>
                  <a:gd name="T64" fmla="*/ 176 w 196"/>
                  <a:gd name="T65" fmla="*/ 66 h 109"/>
                  <a:gd name="T66" fmla="*/ 189 w 196"/>
                  <a:gd name="T67" fmla="*/ 68 h 109"/>
                  <a:gd name="T68" fmla="*/ 191 w 196"/>
                  <a:gd name="T69" fmla="*/ 55 h 109"/>
                  <a:gd name="T70" fmla="*/ 196 w 196"/>
                  <a:gd name="T71" fmla="*/ 54 h 109"/>
                  <a:gd name="T72" fmla="*/ 187 w 196"/>
                  <a:gd name="T73" fmla="*/ 43 h 109"/>
                  <a:gd name="T74" fmla="*/ 171 w 196"/>
                  <a:gd name="T75" fmla="*/ 55 h 109"/>
                  <a:gd name="T76" fmla="*/ 166 w 196"/>
                  <a:gd name="T77" fmla="*/ 43 h 109"/>
                  <a:gd name="T78" fmla="*/ 154 w 196"/>
                  <a:gd name="T79" fmla="*/ 44 h 109"/>
                  <a:gd name="T80" fmla="*/ 146 w 196"/>
                  <a:gd name="T81" fmla="*/ 42 h 109"/>
                  <a:gd name="T82" fmla="*/ 153 w 196"/>
                  <a:gd name="T83" fmla="*/ 29 h 109"/>
                  <a:gd name="T84" fmla="*/ 154 w 196"/>
                  <a:gd name="T85" fmla="*/ 19 h 109"/>
                  <a:gd name="T86" fmla="*/ 150 w 196"/>
                  <a:gd name="T87" fmla="*/ 19 h 109"/>
                  <a:gd name="T88" fmla="*/ 144 w 196"/>
                  <a:gd name="T89" fmla="*/ 11 h 109"/>
                  <a:gd name="T90" fmla="*/ 134 w 196"/>
                  <a:gd name="T91" fmla="*/ 8 h 109"/>
                  <a:gd name="T92" fmla="*/ 125 w 196"/>
                  <a:gd name="T93" fmla="*/ 8 h 109"/>
                  <a:gd name="T94" fmla="*/ 109 w 196"/>
                  <a:gd name="T95" fmla="*/ 1 h 109"/>
                  <a:gd name="T96" fmla="*/ 107 w 196"/>
                  <a:gd name="T97" fmla="*/ 14 h 109"/>
                  <a:gd name="T98" fmla="*/ 103 w 196"/>
                  <a:gd name="T99" fmla="*/ 10 h 109"/>
                  <a:gd name="T100" fmla="*/ 93 w 196"/>
                  <a:gd name="T101" fmla="*/ 1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0" y="83"/>
                      <a:pt x="150" y="83"/>
                      <a:pt x="150"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19" name="Sweden">
                <a:extLst>
                  <a:ext uri="{FF2B5EF4-FFF2-40B4-BE49-F238E27FC236}">
                    <a16:creationId xmlns:a16="http://schemas.microsoft.com/office/drawing/2014/main" id="{FA94880D-94BF-44DF-B3D4-1EF04728902D}"/>
                  </a:ext>
                </a:extLst>
              </p:cNvPr>
              <p:cNvSpPr>
                <a:spLocks noEditPoints="1"/>
              </p:cNvSpPr>
              <p:nvPr/>
            </p:nvSpPr>
            <p:spPr bwMode="gray">
              <a:xfrm>
                <a:off x="5908347" y="2062015"/>
                <a:ext cx="257220" cy="371304"/>
              </a:xfrm>
              <a:custGeom>
                <a:avLst/>
                <a:gdLst>
                  <a:gd name="T0" fmla="*/ 445 w 459"/>
                  <a:gd name="T1" fmla="*/ 95 h 664"/>
                  <a:gd name="T2" fmla="*/ 424 w 459"/>
                  <a:gd name="T3" fmla="*/ 67 h 664"/>
                  <a:gd name="T4" fmla="*/ 391 w 459"/>
                  <a:gd name="T5" fmla="*/ 26 h 664"/>
                  <a:gd name="T6" fmla="*/ 338 w 459"/>
                  <a:gd name="T7" fmla="*/ 9 h 664"/>
                  <a:gd name="T8" fmla="*/ 305 w 459"/>
                  <a:gd name="T9" fmla="*/ 14 h 664"/>
                  <a:gd name="T10" fmla="*/ 284 w 459"/>
                  <a:gd name="T11" fmla="*/ 25 h 664"/>
                  <a:gd name="T12" fmla="*/ 243 w 459"/>
                  <a:gd name="T13" fmla="*/ 25 h 664"/>
                  <a:gd name="T14" fmla="*/ 216 w 459"/>
                  <a:gd name="T15" fmla="*/ 45 h 664"/>
                  <a:gd name="T16" fmla="*/ 165 w 459"/>
                  <a:gd name="T17" fmla="*/ 71 h 664"/>
                  <a:gd name="T18" fmla="*/ 161 w 459"/>
                  <a:gd name="T19" fmla="*/ 99 h 664"/>
                  <a:gd name="T20" fmla="*/ 146 w 459"/>
                  <a:gd name="T21" fmla="*/ 128 h 664"/>
                  <a:gd name="T22" fmla="*/ 118 w 459"/>
                  <a:gd name="T23" fmla="*/ 144 h 664"/>
                  <a:gd name="T24" fmla="*/ 96 w 459"/>
                  <a:gd name="T25" fmla="*/ 194 h 664"/>
                  <a:gd name="T26" fmla="*/ 68 w 459"/>
                  <a:gd name="T27" fmla="*/ 227 h 664"/>
                  <a:gd name="T28" fmla="*/ 28 w 459"/>
                  <a:gd name="T29" fmla="*/ 260 h 664"/>
                  <a:gd name="T30" fmla="*/ 21 w 459"/>
                  <a:gd name="T31" fmla="*/ 290 h 664"/>
                  <a:gd name="T32" fmla="*/ 33 w 459"/>
                  <a:gd name="T33" fmla="*/ 334 h 664"/>
                  <a:gd name="T34" fmla="*/ 50 w 459"/>
                  <a:gd name="T35" fmla="*/ 374 h 664"/>
                  <a:gd name="T36" fmla="*/ 51 w 459"/>
                  <a:gd name="T37" fmla="*/ 409 h 664"/>
                  <a:gd name="T38" fmla="*/ 36 w 459"/>
                  <a:gd name="T39" fmla="*/ 431 h 664"/>
                  <a:gd name="T40" fmla="*/ 15 w 459"/>
                  <a:gd name="T41" fmla="*/ 452 h 664"/>
                  <a:gd name="T42" fmla="*/ 0 w 459"/>
                  <a:gd name="T43" fmla="*/ 469 h 664"/>
                  <a:gd name="T44" fmla="*/ 19 w 459"/>
                  <a:gd name="T45" fmla="*/ 515 h 664"/>
                  <a:gd name="T46" fmla="*/ 49 w 459"/>
                  <a:gd name="T47" fmla="*/ 586 h 664"/>
                  <a:gd name="T48" fmla="*/ 53 w 459"/>
                  <a:gd name="T49" fmla="*/ 607 h 664"/>
                  <a:gd name="T50" fmla="*/ 69 w 459"/>
                  <a:gd name="T51" fmla="*/ 656 h 664"/>
                  <a:gd name="T52" fmla="*/ 120 w 459"/>
                  <a:gd name="T53" fmla="*/ 631 h 664"/>
                  <a:gd name="T54" fmla="*/ 176 w 459"/>
                  <a:gd name="T55" fmla="*/ 618 h 664"/>
                  <a:gd name="T56" fmla="*/ 206 w 459"/>
                  <a:gd name="T57" fmla="*/ 549 h 664"/>
                  <a:gd name="T58" fmla="*/ 196 w 459"/>
                  <a:gd name="T59" fmla="*/ 507 h 664"/>
                  <a:gd name="T60" fmla="*/ 237 w 459"/>
                  <a:gd name="T61" fmla="*/ 489 h 664"/>
                  <a:gd name="T62" fmla="*/ 270 w 459"/>
                  <a:gd name="T63" fmla="*/ 456 h 664"/>
                  <a:gd name="T64" fmla="*/ 271 w 459"/>
                  <a:gd name="T65" fmla="*/ 409 h 664"/>
                  <a:gd name="T66" fmla="*/ 217 w 459"/>
                  <a:gd name="T67" fmla="*/ 350 h 664"/>
                  <a:gd name="T68" fmla="*/ 237 w 459"/>
                  <a:gd name="T69" fmla="*/ 303 h 664"/>
                  <a:gd name="T70" fmla="*/ 271 w 459"/>
                  <a:gd name="T71" fmla="*/ 270 h 664"/>
                  <a:gd name="T72" fmla="*/ 340 w 459"/>
                  <a:gd name="T73" fmla="*/ 249 h 664"/>
                  <a:gd name="T74" fmla="*/ 372 w 459"/>
                  <a:gd name="T75" fmla="*/ 175 h 664"/>
                  <a:gd name="T76" fmla="*/ 396 w 459"/>
                  <a:gd name="T77" fmla="*/ 144 h 664"/>
                  <a:gd name="T78" fmla="*/ 459 w 459"/>
                  <a:gd name="T79" fmla="*/ 157 h 664"/>
                  <a:gd name="T80" fmla="*/ 271 w 459"/>
                  <a:gd name="T81" fmla="*/ 583 h 664"/>
                  <a:gd name="T82" fmla="*/ 290 w 459"/>
                  <a:gd name="T83" fmla="*/ 543 h 664"/>
                  <a:gd name="T84" fmla="*/ 200 w 459"/>
                  <a:gd name="T85" fmla="*/ 597 h 664"/>
                  <a:gd name="T86" fmla="*/ 230 w 459"/>
                  <a:gd name="T87" fmla="*/ 570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moveTo>
                      <a:pt x="200" y="597"/>
                    </a:moveTo>
                    <a:cubicBezTo>
                      <a:pt x="200" y="602"/>
                      <a:pt x="199" y="615"/>
                      <a:pt x="199" y="615"/>
                    </a:cubicBezTo>
                    <a:cubicBezTo>
                      <a:pt x="207" y="615"/>
                      <a:pt x="216" y="584"/>
                      <a:pt x="216" y="584"/>
                    </a:cubicBezTo>
                    <a:cubicBezTo>
                      <a:pt x="230" y="570"/>
                      <a:pt x="230" y="570"/>
                      <a:pt x="230" y="570"/>
                    </a:cubicBezTo>
                    <a:cubicBezTo>
                      <a:pt x="226" y="557"/>
                      <a:pt x="226" y="557"/>
                      <a:pt x="226" y="557"/>
                    </a:cubicBezTo>
                    <a:cubicBezTo>
                      <a:pt x="226" y="557"/>
                      <a:pt x="200" y="591"/>
                      <a:pt x="200" y="597"/>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20" name="Spain">
                <a:extLst>
                  <a:ext uri="{FF2B5EF4-FFF2-40B4-BE49-F238E27FC236}">
                    <a16:creationId xmlns:a16="http://schemas.microsoft.com/office/drawing/2014/main" id="{F9D1A6CB-6B34-4DB8-9416-98F817FE18B6}"/>
                  </a:ext>
                </a:extLst>
              </p:cNvPr>
              <p:cNvSpPr>
                <a:spLocks noEditPoints="1"/>
              </p:cNvSpPr>
              <p:nvPr/>
            </p:nvSpPr>
            <p:spPr bwMode="gray">
              <a:xfrm>
                <a:off x="5412962" y="2768127"/>
                <a:ext cx="331845" cy="231669"/>
              </a:xfrm>
              <a:custGeom>
                <a:avLst/>
                <a:gdLst>
                  <a:gd name="T0" fmla="*/ 527 w 591"/>
                  <a:gd name="T1" fmla="*/ 205 h 413"/>
                  <a:gd name="T2" fmla="*/ 511 w 591"/>
                  <a:gd name="T3" fmla="*/ 226 h 413"/>
                  <a:gd name="T4" fmla="*/ 531 w 591"/>
                  <a:gd name="T5" fmla="*/ 237 h 413"/>
                  <a:gd name="T6" fmla="*/ 536 w 591"/>
                  <a:gd name="T7" fmla="*/ 212 h 413"/>
                  <a:gd name="T8" fmla="*/ 461 w 591"/>
                  <a:gd name="T9" fmla="*/ 249 h 413"/>
                  <a:gd name="T10" fmla="*/ 560 w 591"/>
                  <a:gd name="T11" fmla="*/ 198 h 413"/>
                  <a:gd name="T12" fmla="*/ 560 w 591"/>
                  <a:gd name="T13" fmla="*/ 198 h 413"/>
                  <a:gd name="T14" fmla="*/ 534 w 591"/>
                  <a:gd name="T15" fmla="*/ 86 h 413"/>
                  <a:gd name="T16" fmla="*/ 527 w 591"/>
                  <a:gd name="T17" fmla="*/ 67 h 413"/>
                  <a:gd name="T18" fmla="*/ 514 w 591"/>
                  <a:gd name="T19" fmla="*/ 77 h 413"/>
                  <a:gd name="T20" fmla="*/ 496 w 591"/>
                  <a:gd name="T21" fmla="*/ 70 h 413"/>
                  <a:gd name="T22" fmla="*/ 479 w 591"/>
                  <a:gd name="T23" fmla="*/ 68 h 413"/>
                  <a:gd name="T24" fmla="*/ 459 w 591"/>
                  <a:gd name="T25" fmla="*/ 56 h 413"/>
                  <a:gd name="T26" fmla="*/ 437 w 591"/>
                  <a:gd name="T27" fmla="*/ 48 h 413"/>
                  <a:gd name="T28" fmla="*/ 417 w 591"/>
                  <a:gd name="T29" fmla="*/ 63 h 413"/>
                  <a:gd name="T30" fmla="*/ 395 w 591"/>
                  <a:gd name="T31" fmla="*/ 54 h 413"/>
                  <a:gd name="T32" fmla="*/ 376 w 591"/>
                  <a:gd name="T33" fmla="*/ 51 h 413"/>
                  <a:gd name="T34" fmla="*/ 342 w 591"/>
                  <a:gd name="T35" fmla="*/ 38 h 413"/>
                  <a:gd name="T36" fmla="*/ 327 w 591"/>
                  <a:gd name="T37" fmla="*/ 29 h 413"/>
                  <a:gd name="T38" fmla="*/ 320 w 591"/>
                  <a:gd name="T39" fmla="*/ 23 h 413"/>
                  <a:gd name="T40" fmla="*/ 234 w 591"/>
                  <a:gd name="T41" fmla="*/ 22 h 413"/>
                  <a:gd name="T42" fmla="*/ 156 w 591"/>
                  <a:gd name="T43" fmla="*/ 7 h 413"/>
                  <a:gd name="T44" fmla="*/ 91 w 591"/>
                  <a:gd name="T45" fmla="*/ 8 h 413"/>
                  <a:gd name="T46" fmla="*/ 49 w 591"/>
                  <a:gd name="T47" fmla="*/ 18 h 413"/>
                  <a:gd name="T48" fmla="*/ 21 w 591"/>
                  <a:gd name="T49" fmla="*/ 67 h 413"/>
                  <a:gd name="T50" fmla="*/ 15 w 591"/>
                  <a:gd name="T51" fmla="*/ 101 h 413"/>
                  <a:gd name="T52" fmla="*/ 50 w 591"/>
                  <a:gd name="T53" fmla="*/ 94 h 413"/>
                  <a:gd name="T54" fmla="*/ 61 w 591"/>
                  <a:gd name="T55" fmla="*/ 99 h 413"/>
                  <a:gd name="T56" fmla="*/ 85 w 591"/>
                  <a:gd name="T57" fmla="*/ 96 h 413"/>
                  <a:gd name="T58" fmla="*/ 115 w 591"/>
                  <a:gd name="T59" fmla="*/ 108 h 413"/>
                  <a:gd name="T60" fmla="*/ 94 w 591"/>
                  <a:gd name="T61" fmla="*/ 144 h 413"/>
                  <a:gd name="T62" fmla="*/ 96 w 591"/>
                  <a:gd name="T63" fmla="*/ 181 h 413"/>
                  <a:gd name="T64" fmla="*/ 94 w 591"/>
                  <a:gd name="T65" fmla="*/ 205 h 413"/>
                  <a:gd name="T66" fmla="*/ 61 w 591"/>
                  <a:gd name="T67" fmla="*/ 217 h 413"/>
                  <a:gd name="T68" fmla="*/ 77 w 591"/>
                  <a:gd name="T69" fmla="*/ 240 h 413"/>
                  <a:gd name="T70" fmla="*/ 66 w 591"/>
                  <a:gd name="T71" fmla="*/ 276 h 413"/>
                  <a:gd name="T72" fmla="*/ 84 w 591"/>
                  <a:gd name="T73" fmla="*/ 301 h 413"/>
                  <a:gd name="T74" fmla="*/ 60 w 591"/>
                  <a:gd name="T75" fmla="*/ 325 h 413"/>
                  <a:gd name="T76" fmla="*/ 61 w 591"/>
                  <a:gd name="T77" fmla="*/ 351 h 413"/>
                  <a:gd name="T78" fmla="*/ 81 w 591"/>
                  <a:gd name="T79" fmla="*/ 350 h 413"/>
                  <a:gd name="T80" fmla="*/ 109 w 591"/>
                  <a:gd name="T81" fmla="*/ 365 h 413"/>
                  <a:gd name="T82" fmla="*/ 110 w 591"/>
                  <a:gd name="T83" fmla="*/ 383 h 413"/>
                  <a:gd name="T84" fmla="*/ 136 w 591"/>
                  <a:gd name="T85" fmla="*/ 413 h 413"/>
                  <a:gd name="T86" fmla="*/ 177 w 591"/>
                  <a:gd name="T87" fmla="*/ 389 h 413"/>
                  <a:gd name="T88" fmla="*/ 235 w 591"/>
                  <a:gd name="T89" fmla="*/ 377 h 413"/>
                  <a:gd name="T90" fmla="*/ 265 w 591"/>
                  <a:gd name="T91" fmla="*/ 378 h 413"/>
                  <a:gd name="T92" fmla="*/ 297 w 591"/>
                  <a:gd name="T93" fmla="*/ 374 h 413"/>
                  <a:gd name="T94" fmla="*/ 331 w 591"/>
                  <a:gd name="T95" fmla="*/ 329 h 413"/>
                  <a:gd name="T96" fmla="*/ 356 w 591"/>
                  <a:gd name="T97" fmla="*/ 315 h 413"/>
                  <a:gd name="T98" fmla="*/ 401 w 591"/>
                  <a:gd name="T99" fmla="*/ 270 h 413"/>
                  <a:gd name="T100" fmla="*/ 385 w 591"/>
                  <a:gd name="T101" fmla="*/ 215 h 413"/>
                  <a:gd name="T102" fmla="*/ 424 w 591"/>
                  <a:gd name="T103" fmla="*/ 172 h 413"/>
                  <a:gd name="T104" fmla="*/ 438 w 591"/>
                  <a:gd name="T105" fmla="*/ 146 h 413"/>
                  <a:gd name="T106" fmla="*/ 514 w 591"/>
                  <a:gd name="T107" fmla="*/ 1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7"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5"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21" name="Slovenia">
                <a:extLst>
                  <a:ext uri="{FF2B5EF4-FFF2-40B4-BE49-F238E27FC236}">
                    <a16:creationId xmlns:a16="http://schemas.microsoft.com/office/drawing/2014/main" id="{2BBA1EC0-60C6-4575-9D13-87F560370026}"/>
                  </a:ext>
                </a:extLst>
              </p:cNvPr>
              <p:cNvSpPr>
                <a:spLocks/>
              </p:cNvSpPr>
              <p:nvPr/>
            </p:nvSpPr>
            <p:spPr bwMode="gray">
              <a:xfrm>
                <a:off x="5957569" y="2674509"/>
                <a:ext cx="77801" cy="44429"/>
              </a:xfrm>
              <a:custGeom>
                <a:avLst/>
                <a:gdLst>
                  <a:gd name="T0" fmla="*/ 18 w 138"/>
                  <a:gd name="T1" fmla="*/ 80 h 80"/>
                  <a:gd name="T2" fmla="*/ 27 w 138"/>
                  <a:gd name="T3" fmla="*/ 79 h 80"/>
                  <a:gd name="T4" fmla="*/ 29 w 138"/>
                  <a:gd name="T5" fmla="*/ 70 h 80"/>
                  <a:gd name="T6" fmla="*/ 35 w 138"/>
                  <a:gd name="T7" fmla="*/ 76 h 80"/>
                  <a:gd name="T8" fmla="*/ 47 w 138"/>
                  <a:gd name="T9" fmla="*/ 75 h 80"/>
                  <a:gd name="T10" fmla="*/ 53 w 138"/>
                  <a:gd name="T11" fmla="*/ 67 h 80"/>
                  <a:gd name="T12" fmla="*/ 59 w 138"/>
                  <a:gd name="T13" fmla="*/ 75 h 80"/>
                  <a:gd name="T14" fmla="*/ 72 w 138"/>
                  <a:gd name="T15" fmla="*/ 75 h 80"/>
                  <a:gd name="T16" fmla="*/ 82 w 138"/>
                  <a:gd name="T17" fmla="*/ 75 h 80"/>
                  <a:gd name="T18" fmla="*/ 83 w 138"/>
                  <a:gd name="T19" fmla="*/ 62 h 80"/>
                  <a:gd name="T20" fmla="*/ 93 w 138"/>
                  <a:gd name="T21" fmla="*/ 61 h 80"/>
                  <a:gd name="T22" fmla="*/ 100 w 138"/>
                  <a:gd name="T23" fmla="*/ 53 h 80"/>
                  <a:gd name="T24" fmla="*/ 97 w 138"/>
                  <a:gd name="T25" fmla="*/ 40 h 80"/>
                  <a:gd name="T26" fmla="*/ 106 w 138"/>
                  <a:gd name="T27" fmla="*/ 36 h 80"/>
                  <a:gd name="T28" fmla="*/ 122 w 138"/>
                  <a:gd name="T29" fmla="*/ 32 h 80"/>
                  <a:gd name="T30" fmla="*/ 125 w 138"/>
                  <a:gd name="T31" fmla="*/ 24 h 80"/>
                  <a:gd name="T32" fmla="*/ 138 w 138"/>
                  <a:gd name="T33" fmla="*/ 22 h 80"/>
                  <a:gd name="T34" fmla="*/ 128 w 138"/>
                  <a:gd name="T35" fmla="*/ 15 h 80"/>
                  <a:gd name="T36" fmla="*/ 125 w 138"/>
                  <a:gd name="T37" fmla="*/ 5 h 80"/>
                  <a:gd name="T38" fmla="*/ 118 w 138"/>
                  <a:gd name="T39" fmla="*/ 0 h 80"/>
                  <a:gd name="T40" fmla="*/ 115 w 138"/>
                  <a:gd name="T41" fmla="*/ 8 h 80"/>
                  <a:gd name="T42" fmla="*/ 113 w 138"/>
                  <a:gd name="T43" fmla="*/ 20 h 80"/>
                  <a:gd name="T44" fmla="*/ 97 w 138"/>
                  <a:gd name="T45" fmla="*/ 15 h 80"/>
                  <a:gd name="T46" fmla="*/ 90 w 138"/>
                  <a:gd name="T47" fmla="*/ 19 h 80"/>
                  <a:gd name="T48" fmla="*/ 57 w 138"/>
                  <a:gd name="T49" fmla="*/ 18 h 80"/>
                  <a:gd name="T50" fmla="*/ 50 w 138"/>
                  <a:gd name="T51" fmla="*/ 27 h 80"/>
                  <a:gd name="T52" fmla="*/ 35 w 138"/>
                  <a:gd name="T53" fmla="*/ 25 h 80"/>
                  <a:gd name="T54" fmla="*/ 26 w 138"/>
                  <a:gd name="T55" fmla="*/ 21 h 80"/>
                  <a:gd name="T56" fmla="*/ 14 w 138"/>
                  <a:gd name="T57" fmla="*/ 25 h 80"/>
                  <a:gd name="T58" fmla="*/ 5 w 138"/>
                  <a:gd name="T59" fmla="*/ 25 h 80"/>
                  <a:gd name="T60" fmla="*/ 0 w 138"/>
                  <a:gd name="T61" fmla="*/ 34 h 80"/>
                  <a:gd name="T62" fmla="*/ 8 w 138"/>
                  <a:gd name="T63" fmla="*/ 37 h 80"/>
                  <a:gd name="T64" fmla="*/ 3 w 138"/>
                  <a:gd name="T65" fmla="*/ 62 h 80"/>
                  <a:gd name="T66" fmla="*/ 23 w 138"/>
                  <a:gd name="T67" fmla="*/ 70 h 80"/>
                  <a:gd name="T68" fmla="*/ 18 w 138"/>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4"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22" name="Slovakia">
                <a:extLst>
                  <a:ext uri="{FF2B5EF4-FFF2-40B4-BE49-F238E27FC236}">
                    <a16:creationId xmlns:a16="http://schemas.microsoft.com/office/drawing/2014/main" id="{9A7E94C1-B23B-46C1-9DD9-97683BA4F534}"/>
                  </a:ext>
                </a:extLst>
              </p:cNvPr>
              <p:cNvSpPr>
                <a:spLocks/>
              </p:cNvSpPr>
              <p:nvPr/>
            </p:nvSpPr>
            <p:spPr bwMode="gray">
              <a:xfrm>
                <a:off x="6038546" y="2596757"/>
                <a:ext cx="133373" cy="55537"/>
              </a:xfrm>
              <a:custGeom>
                <a:avLst/>
                <a:gdLst>
                  <a:gd name="T0" fmla="*/ 233 w 239"/>
                  <a:gd name="T1" fmla="*/ 23 h 98"/>
                  <a:gd name="T2" fmla="*/ 214 w 239"/>
                  <a:gd name="T3" fmla="*/ 19 h 98"/>
                  <a:gd name="T4" fmla="*/ 194 w 239"/>
                  <a:gd name="T5" fmla="*/ 6 h 98"/>
                  <a:gd name="T6" fmla="*/ 170 w 239"/>
                  <a:gd name="T7" fmla="*/ 14 h 98"/>
                  <a:gd name="T8" fmla="*/ 159 w 239"/>
                  <a:gd name="T9" fmla="*/ 10 h 98"/>
                  <a:gd name="T10" fmla="*/ 140 w 239"/>
                  <a:gd name="T11" fmla="*/ 9 h 98"/>
                  <a:gd name="T12" fmla="*/ 132 w 239"/>
                  <a:gd name="T13" fmla="*/ 18 h 98"/>
                  <a:gd name="T14" fmla="*/ 126 w 239"/>
                  <a:gd name="T15" fmla="*/ 11 h 98"/>
                  <a:gd name="T16" fmla="*/ 119 w 239"/>
                  <a:gd name="T17" fmla="*/ 11 h 98"/>
                  <a:gd name="T18" fmla="*/ 111 w 239"/>
                  <a:gd name="T19" fmla="*/ 2 h 98"/>
                  <a:gd name="T20" fmla="*/ 91 w 239"/>
                  <a:gd name="T21" fmla="*/ 8 h 98"/>
                  <a:gd name="T22" fmla="*/ 83 w 239"/>
                  <a:gd name="T23" fmla="*/ 2 h 98"/>
                  <a:gd name="T24" fmla="*/ 72 w 239"/>
                  <a:gd name="T25" fmla="*/ 9 h 98"/>
                  <a:gd name="T26" fmla="*/ 58 w 239"/>
                  <a:gd name="T27" fmla="*/ 15 h 98"/>
                  <a:gd name="T28" fmla="*/ 58 w 239"/>
                  <a:gd name="T29" fmla="*/ 28 h 98"/>
                  <a:gd name="T30" fmla="*/ 36 w 239"/>
                  <a:gd name="T31" fmla="*/ 40 h 98"/>
                  <a:gd name="T32" fmla="*/ 24 w 239"/>
                  <a:gd name="T33" fmla="*/ 39 h 98"/>
                  <a:gd name="T34" fmla="*/ 12 w 239"/>
                  <a:gd name="T35" fmla="*/ 41 h 98"/>
                  <a:gd name="T36" fmla="*/ 3 w 239"/>
                  <a:gd name="T37" fmla="*/ 46 h 98"/>
                  <a:gd name="T38" fmla="*/ 1 w 239"/>
                  <a:gd name="T39" fmla="*/ 60 h 98"/>
                  <a:gd name="T40" fmla="*/ 0 w 239"/>
                  <a:gd name="T41" fmla="*/ 70 h 98"/>
                  <a:gd name="T42" fmla="*/ 7 w 239"/>
                  <a:gd name="T43" fmla="*/ 75 h 98"/>
                  <a:gd name="T44" fmla="*/ 7 w 239"/>
                  <a:gd name="T45" fmla="*/ 87 h 98"/>
                  <a:gd name="T46" fmla="*/ 7 w 239"/>
                  <a:gd name="T47" fmla="*/ 87 h 98"/>
                  <a:gd name="T48" fmla="*/ 13 w 239"/>
                  <a:gd name="T49" fmla="*/ 92 h 98"/>
                  <a:gd name="T50" fmla="*/ 20 w 239"/>
                  <a:gd name="T51" fmla="*/ 81 h 98"/>
                  <a:gd name="T52" fmla="*/ 40 w 239"/>
                  <a:gd name="T53" fmla="*/ 97 h 98"/>
                  <a:gd name="T54" fmla="*/ 81 w 239"/>
                  <a:gd name="T55" fmla="*/ 94 h 98"/>
                  <a:gd name="T56" fmla="*/ 87 w 239"/>
                  <a:gd name="T57" fmla="*/ 78 h 98"/>
                  <a:gd name="T58" fmla="*/ 111 w 239"/>
                  <a:gd name="T59" fmla="*/ 81 h 98"/>
                  <a:gd name="T60" fmla="*/ 118 w 239"/>
                  <a:gd name="T61" fmla="*/ 73 h 98"/>
                  <a:gd name="T62" fmla="*/ 144 w 239"/>
                  <a:gd name="T63" fmla="*/ 69 h 98"/>
                  <a:gd name="T64" fmla="*/ 155 w 239"/>
                  <a:gd name="T65" fmla="*/ 53 h 98"/>
                  <a:gd name="T66" fmla="*/ 171 w 239"/>
                  <a:gd name="T67" fmla="*/ 53 h 98"/>
                  <a:gd name="T68" fmla="*/ 174 w 239"/>
                  <a:gd name="T69" fmla="*/ 63 h 98"/>
                  <a:gd name="T70" fmla="*/ 183 w 239"/>
                  <a:gd name="T71" fmla="*/ 64 h 98"/>
                  <a:gd name="T72" fmla="*/ 188 w 239"/>
                  <a:gd name="T73" fmla="*/ 53 h 98"/>
                  <a:gd name="T74" fmla="*/ 194 w 239"/>
                  <a:gd name="T75" fmla="*/ 63 h 98"/>
                  <a:gd name="T76" fmla="*/ 223 w 239"/>
                  <a:gd name="T77" fmla="*/ 59 h 98"/>
                  <a:gd name="T78" fmla="*/ 223 w 239"/>
                  <a:gd name="T79" fmla="*/ 59 h 98"/>
                  <a:gd name="T80" fmla="*/ 224 w 239"/>
                  <a:gd name="T81" fmla="*/ 51 h 98"/>
                  <a:gd name="T82" fmla="*/ 234 w 239"/>
                  <a:gd name="T83" fmla="*/ 43 h 98"/>
                  <a:gd name="T84" fmla="*/ 237 w 239"/>
                  <a:gd name="T85" fmla="*/ 30 h 98"/>
                  <a:gd name="T86" fmla="*/ 233 w 239"/>
                  <a:gd name="T87" fmla="*/ 2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23" name="Serbia">
                <a:extLst>
                  <a:ext uri="{FF2B5EF4-FFF2-40B4-BE49-F238E27FC236}">
                    <a16:creationId xmlns:a16="http://schemas.microsoft.com/office/drawing/2014/main" id="{FAD1053C-B838-43C5-9D84-646F18D5F879}"/>
                  </a:ext>
                </a:extLst>
              </p:cNvPr>
              <p:cNvSpPr>
                <a:spLocks noEditPoints="1"/>
              </p:cNvSpPr>
              <p:nvPr/>
            </p:nvSpPr>
            <p:spPr bwMode="gray">
              <a:xfrm>
                <a:off x="6087769" y="2693546"/>
                <a:ext cx="104793" cy="130115"/>
              </a:xfrm>
              <a:custGeom>
                <a:avLst/>
                <a:gdLst>
                  <a:gd name="T0" fmla="*/ 167 w 185"/>
                  <a:gd name="T1" fmla="*/ 152 h 233"/>
                  <a:gd name="T2" fmla="*/ 160 w 185"/>
                  <a:gd name="T3" fmla="*/ 140 h 233"/>
                  <a:gd name="T4" fmla="*/ 166 w 185"/>
                  <a:gd name="T5" fmla="*/ 120 h 233"/>
                  <a:gd name="T6" fmla="*/ 161 w 185"/>
                  <a:gd name="T7" fmla="*/ 102 h 233"/>
                  <a:gd name="T8" fmla="*/ 171 w 185"/>
                  <a:gd name="T9" fmla="*/ 88 h 233"/>
                  <a:gd name="T10" fmla="*/ 139 w 185"/>
                  <a:gd name="T11" fmla="*/ 91 h 233"/>
                  <a:gd name="T12" fmla="*/ 117 w 185"/>
                  <a:gd name="T13" fmla="*/ 82 h 233"/>
                  <a:gd name="T14" fmla="*/ 115 w 185"/>
                  <a:gd name="T15" fmla="*/ 56 h 233"/>
                  <a:gd name="T16" fmla="*/ 91 w 185"/>
                  <a:gd name="T17" fmla="*/ 48 h 233"/>
                  <a:gd name="T18" fmla="*/ 77 w 185"/>
                  <a:gd name="T19" fmla="*/ 27 h 233"/>
                  <a:gd name="T20" fmla="*/ 48 w 185"/>
                  <a:gd name="T21" fmla="*/ 6 h 233"/>
                  <a:gd name="T22" fmla="*/ 18 w 185"/>
                  <a:gd name="T23" fmla="*/ 17 h 233"/>
                  <a:gd name="T24" fmla="*/ 0 w 185"/>
                  <a:gd name="T25" fmla="*/ 21 h 233"/>
                  <a:gd name="T26" fmla="*/ 6 w 185"/>
                  <a:gd name="T27" fmla="*/ 40 h 233"/>
                  <a:gd name="T28" fmla="*/ 8 w 185"/>
                  <a:gd name="T29" fmla="*/ 53 h 233"/>
                  <a:gd name="T30" fmla="*/ 12 w 185"/>
                  <a:gd name="T31" fmla="*/ 65 h 233"/>
                  <a:gd name="T32" fmla="*/ 5 w 185"/>
                  <a:gd name="T33" fmla="*/ 72 h 233"/>
                  <a:gd name="T34" fmla="*/ 27 w 185"/>
                  <a:gd name="T35" fmla="*/ 76 h 233"/>
                  <a:gd name="T36" fmla="*/ 15 w 185"/>
                  <a:gd name="T37" fmla="*/ 106 h 233"/>
                  <a:gd name="T38" fmla="*/ 37 w 185"/>
                  <a:gd name="T39" fmla="*/ 118 h 233"/>
                  <a:gd name="T40" fmla="*/ 35 w 185"/>
                  <a:gd name="T41" fmla="*/ 140 h 233"/>
                  <a:gd name="T42" fmla="*/ 41 w 185"/>
                  <a:gd name="T43" fmla="*/ 153 h 233"/>
                  <a:gd name="T44" fmla="*/ 58 w 185"/>
                  <a:gd name="T45" fmla="*/ 174 h 233"/>
                  <a:gd name="T46" fmla="*/ 65 w 185"/>
                  <a:gd name="T47" fmla="*/ 199 h 233"/>
                  <a:gd name="T48" fmla="*/ 71 w 185"/>
                  <a:gd name="T49" fmla="*/ 211 h 233"/>
                  <a:gd name="T50" fmla="*/ 84 w 185"/>
                  <a:gd name="T51" fmla="*/ 221 h 233"/>
                  <a:gd name="T52" fmla="*/ 95 w 185"/>
                  <a:gd name="T53" fmla="*/ 229 h 233"/>
                  <a:gd name="T54" fmla="*/ 112 w 185"/>
                  <a:gd name="T55" fmla="*/ 221 h 233"/>
                  <a:gd name="T56" fmla="*/ 128 w 185"/>
                  <a:gd name="T57" fmla="*/ 213 h 233"/>
                  <a:gd name="T58" fmla="*/ 158 w 185"/>
                  <a:gd name="T59" fmla="*/ 207 h 233"/>
                  <a:gd name="T60" fmla="*/ 165 w 185"/>
                  <a:gd name="T61" fmla="*/ 192 h 233"/>
                  <a:gd name="T62" fmla="*/ 177 w 185"/>
                  <a:gd name="T63" fmla="*/ 180 h 233"/>
                  <a:gd name="T64" fmla="*/ 180 w 185"/>
                  <a:gd name="T65" fmla="*/ 159 h 233"/>
                  <a:gd name="T66" fmla="*/ 27 w 185"/>
                  <a:gd name="T67" fmla="*/ 144 h 233"/>
                  <a:gd name="T68" fmla="*/ 24 w 185"/>
                  <a:gd name="T69" fmla="*/ 144 h 233"/>
                  <a:gd name="T70" fmla="*/ 24 w 185"/>
                  <a:gd name="T71"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24" name="Romania">
                <a:extLst>
                  <a:ext uri="{FF2B5EF4-FFF2-40B4-BE49-F238E27FC236}">
                    <a16:creationId xmlns:a16="http://schemas.microsoft.com/office/drawing/2014/main" id="{20F97A2E-4E25-4829-95EA-596C53856DB9}"/>
                  </a:ext>
                </a:extLst>
              </p:cNvPr>
              <p:cNvSpPr>
                <a:spLocks/>
              </p:cNvSpPr>
              <p:nvPr/>
            </p:nvSpPr>
            <p:spPr bwMode="gray">
              <a:xfrm>
                <a:off x="6122697" y="2634839"/>
                <a:ext cx="230227" cy="138049"/>
              </a:xfrm>
              <a:custGeom>
                <a:avLst/>
                <a:gdLst>
                  <a:gd name="T0" fmla="*/ 360 w 411"/>
                  <a:gd name="T1" fmla="*/ 241 h 248"/>
                  <a:gd name="T2" fmla="*/ 379 w 411"/>
                  <a:gd name="T3" fmla="*/ 187 h 248"/>
                  <a:gd name="T4" fmla="*/ 396 w 411"/>
                  <a:gd name="T5" fmla="*/ 146 h 248"/>
                  <a:gd name="T6" fmla="*/ 353 w 411"/>
                  <a:gd name="T7" fmla="*/ 161 h 248"/>
                  <a:gd name="T8" fmla="*/ 330 w 411"/>
                  <a:gd name="T9" fmla="*/ 121 h 248"/>
                  <a:gd name="T10" fmla="*/ 332 w 411"/>
                  <a:gd name="T11" fmla="*/ 98 h 248"/>
                  <a:gd name="T12" fmla="*/ 317 w 411"/>
                  <a:gd name="T13" fmla="*/ 66 h 248"/>
                  <a:gd name="T14" fmla="*/ 307 w 411"/>
                  <a:gd name="T15" fmla="*/ 55 h 248"/>
                  <a:gd name="T16" fmla="*/ 286 w 411"/>
                  <a:gd name="T17" fmla="*/ 32 h 248"/>
                  <a:gd name="T18" fmla="*/ 263 w 411"/>
                  <a:gd name="T19" fmla="*/ 3 h 248"/>
                  <a:gd name="T20" fmla="*/ 225 w 411"/>
                  <a:gd name="T21" fmla="*/ 17 h 248"/>
                  <a:gd name="T22" fmla="*/ 204 w 411"/>
                  <a:gd name="T23" fmla="*/ 21 h 248"/>
                  <a:gd name="T24" fmla="*/ 172 w 411"/>
                  <a:gd name="T25" fmla="*/ 16 h 248"/>
                  <a:gd name="T26" fmla="*/ 145 w 411"/>
                  <a:gd name="T27" fmla="*/ 18 h 248"/>
                  <a:gd name="T28" fmla="*/ 123 w 411"/>
                  <a:gd name="T29" fmla="*/ 14 h 248"/>
                  <a:gd name="T30" fmla="*/ 90 w 411"/>
                  <a:gd name="T31" fmla="*/ 28 h 248"/>
                  <a:gd name="T32" fmla="*/ 69 w 411"/>
                  <a:gd name="T33" fmla="*/ 53 h 248"/>
                  <a:gd name="T34" fmla="*/ 46 w 411"/>
                  <a:gd name="T35" fmla="*/ 83 h 248"/>
                  <a:gd name="T36" fmla="*/ 29 w 411"/>
                  <a:gd name="T37" fmla="*/ 107 h 248"/>
                  <a:gd name="T38" fmla="*/ 16 w 411"/>
                  <a:gd name="T39" fmla="*/ 114 h 248"/>
                  <a:gd name="T40" fmla="*/ 1 w 411"/>
                  <a:gd name="T41" fmla="*/ 119 h 248"/>
                  <a:gd name="T42" fmla="*/ 22 w 411"/>
                  <a:gd name="T43" fmla="*/ 131 h 248"/>
                  <a:gd name="T44" fmla="*/ 38 w 411"/>
                  <a:gd name="T45" fmla="*/ 160 h 248"/>
                  <a:gd name="T46" fmla="*/ 51 w 411"/>
                  <a:gd name="T47" fmla="*/ 177 h 248"/>
                  <a:gd name="T48" fmla="*/ 72 w 411"/>
                  <a:gd name="T49" fmla="*/ 190 h 248"/>
                  <a:gd name="T50" fmla="*/ 94 w 411"/>
                  <a:gd name="T51" fmla="*/ 190 h 248"/>
                  <a:gd name="T52" fmla="*/ 107 w 411"/>
                  <a:gd name="T53" fmla="*/ 200 h 248"/>
                  <a:gd name="T54" fmla="*/ 107 w 411"/>
                  <a:gd name="T55" fmla="*/ 212 h 248"/>
                  <a:gd name="T56" fmla="*/ 113 w 411"/>
                  <a:gd name="T57" fmla="*/ 219 h 248"/>
                  <a:gd name="T58" fmla="*/ 118 w 411"/>
                  <a:gd name="T59" fmla="*/ 236 h 248"/>
                  <a:gd name="T60" fmla="*/ 142 w 411"/>
                  <a:gd name="T61" fmla="*/ 232 h 248"/>
                  <a:gd name="T62" fmla="*/ 180 w 411"/>
                  <a:gd name="T63" fmla="*/ 244 h 248"/>
                  <a:gd name="T64" fmla="*/ 201 w 411"/>
                  <a:gd name="T65" fmla="*/ 240 h 248"/>
                  <a:gd name="T66" fmla="*/ 236 w 411"/>
                  <a:gd name="T67" fmla="*/ 247 h 248"/>
                  <a:gd name="T68" fmla="*/ 266 w 411"/>
                  <a:gd name="T69" fmla="*/ 229 h 248"/>
                  <a:gd name="T70" fmla="*/ 284 w 411"/>
                  <a:gd name="T71" fmla="*/ 226 h 248"/>
                  <a:gd name="T72" fmla="*/ 315 w 411"/>
                  <a:gd name="T73" fmla="*/ 228 h 248"/>
                  <a:gd name="T74" fmla="*/ 341 w 411"/>
                  <a:gd name="T75" fmla="*/ 2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6"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25" name="Portugal">
                <a:extLst>
                  <a:ext uri="{FF2B5EF4-FFF2-40B4-BE49-F238E27FC236}">
                    <a16:creationId xmlns:a16="http://schemas.microsoft.com/office/drawing/2014/main" id="{83299230-7F2F-45EC-A4D5-6E2734E6B3CF}"/>
                  </a:ext>
                </a:extLst>
              </p:cNvPr>
              <p:cNvSpPr>
                <a:spLocks/>
              </p:cNvSpPr>
              <p:nvPr/>
            </p:nvSpPr>
            <p:spPr bwMode="gray">
              <a:xfrm>
                <a:off x="5398672" y="2817318"/>
                <a:ext cx="87327" cy="155504"/>
              </a:xfrm>
              <a:custGeom>
                <a:avLst/>
                <a:gdLst>
                  <a:gd name="T0" fmla="*/ 141 w 155"/>
                  <a:gd name="T1" fmla="*/ 20 h 277"/>
                  <a:gd name="T2" fmla="*/ 140 w 155"/>
                  <a:gd name="T3" fmla="*/ 7 h 277"/>
                  <a:gd name="T4" fmla="*/ 111 w 155"/>
                  <a:gd name="T5" fmla="*/ 8 h 277"/>
                  <a:gd name="T6" fmla="*/ 104 w 155"/>
                  <a:gd name="T7" fmla="*/ 16 h 277"/>
                  <a:gd name="T8" fmla="*/ 87 w 155"/>
                  <a:gd name="T9" fmla="*/ 11 h 277"/>
                  <a:gd name="T10" fmla="*/ 70 w 155"/>
                  <a:gd name="T11" fmla="*/ 15 h 277"/>
                  <a:gd name="T12" fmla="*/ 76 w 155"/>
                  <a:gd name="T13" fmla="*/ 6 h 277"/>
                  <a:gd name="T14" fmla="*/ 62 w 155"/>
                  <a:gd name="T15" fmla="*/ 0 h 277"/>
                  <a:gd name="T16" fmla="*/ 41 w 155"/>
                  <a:gd name="T17" fmla="*/ 13 h 277"/>
                  <a:gd name="T18" fmla="*/ 46 w 155"/>
                  <a:gd name="T19" fmla="*/ 53 h 277"/>
                  <a:gd name="T20" fmla="*/ 23 w 155"/>
                  <a:gd name="T21" fmla="*/ 114 h 277"/>
                  <a:gd name="T22" fmla="*/ 9 w 155"/>
                  <a:gd name="T23" fmla="*/ 146 h 277"/>
                  <a:gd name="T24" fmla="*/ 6 w 155"/>
                  <a:gd name="T25" fmla="*/ 180 h 277"/>
                  <a:gd name="T26" fmla="*/ 23 w 155"/>
                  <a:gd name="T27" fmla="*/ 191 h 277"/>
                  <a:gd name="T28" fmla="*/ 30 w 155"/>
                  <a:gd name="T29" fmla="*/ 228 h 277"/>
                  <a:gd name="T30" fmla="*/ 20 w 155"/>
                  <a:gd name="T31" fmla="*/ 271 h 277"/>
                  <a:gd name="T32" fmla="*/ 52 w 155"/>
                  <a:gd name="T33" fmla="*/ 268 h 277"/>
                  <a:gd name="T34" fmla="*/ 62 w 155"/>
                  <a:gd name="T35" fmla="*/ 276 h 277"/>
                  <a:gd name="T36" fmla="*/ 87 w 155"/>
                  <a:gd name="T37" fmla="*/ 263 h 277"/>
                  <a:gd name="T38" fmla="*/ 85 w 155"/>
                  <a:gd name="T39" fmla="*/ 252 h 277"/>
                  <a:gd name="T40" fmla="*/ 86 w 155"/>
                  <a:gd name="T41" fmla="*/ 237 h 277"/>
                  <a:gd name="T42" fmla="*/ 96 w 155"/>
                  <a:gd name="T43" fmla="*/ 220 h 277"/>
                  <a:gd name="T44" fmla="*/ 110 w 155"/>
                  <a:gd name="T45" fmla="*/ 213 h 277"/>
                  <a:gd name="T46" fmla="*/ 101 w 155"/>
                  <a:gd name="T47" fmla="*/ 206 h 277"/>
                  <a:gd name="T48" fmla="*/ 92 w 155"/>
                  <a:gd name="T49" fmla="*/ 188 h 277"/>
                  <a:gd name="T50" fmla="*/ 114 w 155"/>
                  <a:gd name="T51" fmla="*/ 162 h 277"/>
                  <a:gd name="T52" fmla="*/ 103 w 155"/>
                  <a:gd name="T53" fmla="*/ 152 h 277"/>
                  <a:gd name="T54" fmla="*/ 103 w 155"/>
                  <a:gd name="T55" fmla="*/ 143 h 277"/>
                  <a:gd name="T56" fmla="*/ 87 w 155"/>
                  <a:gd name="T57" fmla="*/ 129 h 277"/>
                  <a:gd name="T58" fmla="*/ 108 w 155"/>
                  <a:gd name="T59" fmla="*/ 128 h 277"/>
                  <a:gd name="T60" fmla="*/ 120 w 155"/>
                  <a:gd name="T61" fmla="*/ 117 h 277"/>
                  <a:gd name="T62" fmla="*/ 116 w 155"/>
                  <a:gd name="T63" fmla="*/ 100 h 277"/>
                  <a:gd name="T64" fmla="*/ 122 w 155"/>
                  <a:gd name="T65" fmla="*/ 93 h 277"/>
                  <a:gd name="T66" fmla="*/ 128 w 155"/>
                  <a:gd name="T67" fmla="*/ 65 h 277"/>
                  <a:gd name="T68" fmla="*/ 120 w 155"/>
                  <a:gd name="T69" fmla="*/ 56 h 277"/>
                  <a:gd name="T70" fmla="*/ 154 w 155"/>
                  <a:gd name="T71" fmla="*/ 29 h 277"/>
                  <a:gd name="T72" fmla="*/ 141 w 155"/>
                  <a:gd name="T73" fmla="*/ 2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1"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26" name="Poland">
                <a:extLst>
                  <a:ext uri="{FF2B5EF4-FFF2-40B4-BE49-F238E27FC236}">
                    <a16:creationId xmlns:a16="http://schemas.microsoft.com/office/drawing/2014/main" id="{D328FC76-7C6B-4AAE-87E0-816D3AF99125}"/>
                  </a:ext>
                </a:extLst>
              </p:cNvPr>
              <p:cNvSpPr>
                <a:spLocks/>
              </p:cNvSpPr>
              <p:nvPr/>
            </p:nvSpPr>
            <p:spPr bwMode="gray">
              <a:xfrm>
                <a:off x="5971859" y="2446013"/>
                <a:ext cx="234991" cy="168198"/>
              </a:xfrm>
              <a:custGeom>
                <a:avLst/>
                <a:gdLst>
                  <a:gd name="T0" fmla="*/ 312 w 419"/>
                  <a:gd name="T1" fmla="*/ 276 h 301"/>
                  <a:gd name="T2" fmla="*/ 351 w 419"/>
                  <a:gd name="T3" fmla="*/ 293 h 301"/>
                  <a:gd name="T4" fmla="*/ 371 w 419"/>
                  <a:gd name="T5" fmla="*/ 301 h 301"/>
                  <a:gd name="T6" fmla="*/ 364 w 419"/>
                  <a:gd name="T7" fmla="*/ 265 h 301"/>
                  <a:gd name="T8" fmla="*/ 417 w 419"/>
                  <a:gd name="T9" fmla="*/ 224 h 301"/>
                  <a:gd name="T10" fmla="*/ 416 w 419"/>
                  <a:gd name="T11" fmla="*/ 203 h 301"/>
                  <a:gd name="T12" fmla="*/ 390 w 419"/>
                  <a:gd name="T13" fmla="*/ 180 h 301"/>
                  <a:gd name="T14" fmla="*/ 389 w 419"/>
                  <a:gd name="T15" fmla="*/ 167 h 301"/>
                  <a:gd name="T16" fmla="*/ 387 w 419"/>
                  <a:gd name="T17" fmla="*/ 140 h 301"/>
                  <a:gd name="T18" fmla="*/ 379 w 419"/>
                  <a:gd name="T19" fmla="*/ 123 h 301"/>
                  <a:gd name="T20" fmla="*/ 394 w 419"/>
                  <a:gd name="T21" fmla="*/ 106 h 301"/>
                  <a:gd name="T22" fmla="*/ 392 w 419"/>
                  <a:gd name="T23" fmla="*/ 78 h 301"/>
                  <a:gd name="T24" fmla="*/ 373 w 419"/>
                  <a:gd name="T25" fmla="*/ 46 h 301"/>
                  <a:gd name="T26" fmla="*/ 344 w 419"/>
                  <a:gd name="T27" fmla="*/ 22 h 301"/>
                  <a:gd name="T28" fmla="*/ 313 w 419"/>
                  <a:gd name="T29" fmla="*/ 26 h 301"/>
                  <a:gd name="T30" fmla="*/ 257 w 419"/>
                  <a:gd name="T31" fmla="*/ 20 h 301"/>
                  <a:gd name="T32" fmla="*/ 231 w 419"/>
                  <a:gd name="T33" fmla="*/ 18 h 301"/>
                  <a:gd name="T34" fmla="*/ 189 w 419"/>
                  <a:gd name="T35" fmla="*/ 22 h 301"/>
                  <a:gd name="T36" fmla="*/ 149 w 419"/>
                  <a:gd name="T37" fmla="*/ 0 h 301"/>
                  <a:gd name="T38" fmla="*/ 81 w 419"/>
                  <a:gd name="T39" fmla="*/ 28 h 301"/>
                  <a:gd name="T40" fmla="*/ 12 w 419"/>
                  <a:gd name="T41" fmla="*/ 48 h 301"/>
                  <a:gd name="T42" fmla="*/ 7 w 419"/>
                  <a:gd name="T43" fmla="*/ 58 h 301"/>
                  <a:gd name="T44" fmla="*/ 14 w 419"/>
                  <a:gd name="T45" fmla="*/ 75 h 301"/>
                  <a:gd name="T46" fmla="*/ 3 w 419"/>
                  <a:gd name="T47" fmla="*/ 102 h 301"/>
                  <a:gd name="T48" fmla="*/ 14 w 419"/>
                  <a:gd name="T49" fmla="*/ 111 h 301"/>
                  <a:gd name="T50" fmla="*/ 24 w 419"/>
                  <a:gd name="T51" fmla="*/ 122 h 301"/>
                  <a:gd name="T52" fmla="*/ 25 w 419"/>
                  <a:gd name="T53" fmla="*/ 132 h 301"/>
                  <a:gd name="T54" fmla="*/ 29 w 419"/>
                  <a:gd name="T55" fmla="*/ 142 h 301"/>
                  <a:gd name="T56" fmla="*/ 30 w 419"/>
                  <a:gd name="T57" fmla="*/ 161 h 301"/>
                  <a:gd name="T58" fmla="*/ 38 w 419"/>
                  <a:gd name="T59" fmla="*/ 173 h 301"/>
                  <a:gd name="T60" fmla="*/ 41 w 419"/>
                  <a:gd name="T61" fmla="*/ 187 h 301"/>
                  <a:gd name="T62" fmla="*/ 50 w 419"/>
                  <a:gd name="T63" fmla="*/ 197 h 301"/>
                  <a:gd name="T64" fmla="*/ 67 w 419"/>
                  <a:gd name="T65" fmla="*/ 207 h 301"/>
                  <a:gd name="T66" fmla="*/ 96 w 419"/>
                  <a:gd name="T67" fmla="*/ 216 h 301"/>
                  <a:gd name="T68" fmla="*/ 92 w 419"/>
                  <a:gd name="T69" fmla="*/ 225 h 301"/>
                  <a:gd name="T70" fmla="*/ 102 w 419"/>
                  <a:gd name="T71" fmla="*/ 236 h 301"/>
                  <a:gd name="T72" fmla="*/ 132 w 419"/>
                  <a:gd name="T73" fmla="*/ 232 h 301"/>
                  <a:gd name="T74" fmla="*/ 148 w 419"/>
                  <a:gd name="T75" fmla="*/ 236 h 301"/>
                  <a:gd name="T76" fmla="*/ 168 w 419"/>
                  <a:gd name="T77" fmla="*/ 244 h 301"/>
                  <a:gd name="T78" fmla="*/ 190 w 419"/>
                  <a:gd name="T79" fmla="*/ 255 h 301"/>
                  <a:gd name="T80" fmla="*/ 196 w 419"/>
                  <a:gd name="T81" fmla="*/ 266 h 301"/>
                  <a:gd name="T82" fmla="*/ 229 w 419"/>
                  <a:gd name="T83" fmla="*/ 272 h 301"/>
                  <a:gd name="T84" fmla="*/ 244 w 419"/>
                  <a:gd name="T85" fmla="*/ 281 h 301"/>
                  <a:gd name="T86" fmla="*/ 258 w 419"/>
                  <a:gd name="T87" fmla="*/ 279 h 301"/>
                  <a:gd name="T88" fmla="*/ 288 w 419"/>
                  <a:gd name="T89" fmla="*/ 28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27" name="Norway">
                <a:extLst>
                  <a:ext uri="{FF2B5EF4-FFF2-40B4-BE49-F238E27FC236}">
                    <a16:creationId xmlns:a16="http://schemas.microsoft.com/office/drawing/2014/main" id="{654A579C-1E72-447C-A8B7-C33A243F15ED}"/>
                  </a:ext>
                </a:extLst>
              </p:cNvPr>
              <p:cNvSpPr>
                <a:spLocks noEditPoints="1"/>
              </p:cNvSpPr>
              <p:nvPr/>
            </p:nvSpPr>
            <p:spPr bwMode="gray">
              <a:xfrm>
                <a:off x="5778150" y="1793852"/>
                <a:ext cx="506500" cy="564889"/>
              </a:xfrm>
              <a:custGeom>
                <a:avLst/>
                <a:gdLst>
                  <a:gd name="T0" fmla="*/ 453 w 905"/>
                  <a:gd name="T1" fmla="*/ 40 h 1010"/>
                  <a:gd name="T2" fmla="*/ 653 w 905"/>
                  <a:gd name="T3" fmla="*/ 48 h 1010"/>
                  <a:gd name="T4" fmla="*/ 558 w 905"/>
                  <a:gd name="T5" fmla="*/ 4 h 1010"/>
                  <a:gd name="T6" fmla="*/ 429 w 905"/>
                  <a:gd name="T7" fmla="*/ 28 h 1010"/>
                  <a:gd name="T8" fmla="*/ 281 w 905"/>
                  <a:gd name="T9" fmla="*/ 93 h 1010"/>
                  <a:gd name="T10" fmla="*/ 345 w 905"/>
                  <a:gd name="T11" fmla="*/ 111 h 1010"/>
                  <a:gd name="T12" fmla="*/ 432 w 905"/>
                  <a:gd name="T13" fmla="*/ 100 h 1010"/>
                  <a:gd name="T14" fmla="*/ 515 w 905"/>
                  <a:gd name="T15" fmla="*/ 123 h 1010"/>
                  <a:gd name="T16" fmla="*/ 551 w 905"/>
                  <a:gd name="T17" fmla="*/ 82 h 1010"/>
                  <a:gd name="T18" fmla="*/ 453 w 905"/>
                  <a:gd name="T19" fmla="*/ 54 h 1010"/>
                  <a:gd name="T20" fmla="*/ 328 w 905"/>
                  <a:gd name="T21" fmla="*/ 27 h 1010"/>
                  <a:gd name="T22" fmla="*/ 240 w 905"/>
                  <a:gd name="T23" fmla="*/ 24 h 1010"/>
                  <a:gd name="T24" fmla="*/ 417 w 905"/>
                  <a:gd name="T25" fmla="*/ 467 h 1010"/>
                  <a:gd name="T26" fmla="*/ 363 w 905"/>
                  <a:gd name="T27" fmla="*/ 482 h 1010"/>
                  <a:gd name="T28" fmla="*/ 611 w 905"/>
                  <a:gd name="T29" fmla="*/ 404 h 1010"/>
                  <a:gd name="T30" fmla="*/ 320 w 905"/>
                  <a:gd name="T31" fmla="*/ 509 h 1010"/>
                  <a:gd name="T32" fmla="*/ 902 w 905"/>
                  <a:gd name="T33" fmla="*/ 421 h 1010"/>
                  <a:gd name="T34" fmla="*/ 749 w 905"/>
                  <a:gd name="T35" fmla="*/ 425 h 1010"/>
                  <a:gd name="T36" fmla="*/ 683 w 905"/>
                  <a:gd name="T37" fmla="*/ 393 h 1010"/>
                  <a:gd name="T38" fmla="*/ 593 w 905"/>
                  <a:gd name="T39" fmla="*/ 446 h 1010"/>
                  <a:gd name="T40" fmla="*/ 507 w 905"/>
                  <a:gd name="T41" fmla="*/ 444 h 1010"/>
                  <a:gd name="T42" fmla="*/ 494 w 905"/>
                  <a:gd name="T43" fmla="*/ 437 h 1010"/>
                  <a:gd name="T44" fmla="*/ 446 w 905"/>
                  <a:gd name="T45" fmla="*/ 491 h 1010"/>
                  <a:gd name="T46" fmla="*/ 399 w 905"/>
                  <a:gd name="T47" fmla="*/ 505 h 1010"/>
                  <a:gd name="T48" fmla="*/ 360 w 905"/>
                  <a:gd name="T49" fmla="*/ 526 h 1010"/>
                  <a:gd name="T50" fmla="*/ 365 w 905"/>
                  <a:gd name="T51" fmla="*/ 561 h 1010"/>
                  <a:gd name="T52" fmla="*/ 293 w 905"/>
                  <a:gd name="T53" fmla="*/ 606 h 1010"/>
                  <a:gd name="T54" fmla="*/ 266 w 905"/>
                  <a:gd name="T55" fmla="*/ 642 h 1010"/>
                  <a:gd name="T56" fmla="*/ 237 w 905"/>
                  <a:gd name="T57" fmla="*/ 689 h 1010"/>
                  <a:gd name="T58" fmla="*/ 180 w 905"/>
                  <a:gd name="T59" fmla="*/ 715 h 1010"/>
                  <a:gd name="T60" fmla="*/ 118 w 905"/>
                  <a:gd name="T61" fmla="*/ 741 h 1010"/>
                  <a:gd name="T62" fmla="*/ 111 w 905"/>
                  <a:gd name="T63" fmla="*/ 775 h 1010"/>
                  <a:gd name="T64" fmla="*/ 72 w 905"/>
                  <a:gd name="T65" fmla="*/ 808 h 1010"/>
                  <a:gd name="T66" fmla="*/ 20 w 905"/>
                  <a:gd name="T67" fmla="*/ 804 h 1010"/>
                  <a:gd name="T68" fmla="*/ 21 w 905"/>
                  <a:gd name="T69" fmla="*/ 834 h 1010"/>
                  <a:gd name="T70" fmla="*/ 71 w 905"/>
                  <a:gd name="T71" fmla="*/ 854 h 1010"/>
                  <a:gd name="T72" fmla="*/ 0 w 905"/>
                  <a:gd name="T73" fmla="*/ 858 h 1010"/>
                  <a:gd name="T74" fmla="*/ 65 w 905"/>
                  <a:gd name="T75" fmla="*/ 884 h 1010"/>
                  <a:gd name="T76" fmla="*/ 14 w 905"/>
                  <a:gd name="T77" fmla="*/ 926 h 1010"/>
                  <a:gd name="T78" fmla="*/ 36 w 905"/>
                  <a:gd name="T79" fmla="*/ 967 h 1010"/>
                  <a:gd name="T80" fmla="*/ 103 w 905"/>
                  <a:gd name="T81" fmla="*/ 1004 h 1010"/>
                  <a:gd name="T82" fmla="*/ 207 w 905"/>
                  <a:gd name="T83" fmla="*/ 942 h 1010"/>
                  <a:gd name="T84" fmla="*/ 252 w 905"/>
                  <a:gd name="T85" fmla="*/ 911 h 1010"/>
                  <a:gd name="T86" fmla="*/ 268 w 905"/>
                  <a:gd name="T87" fmla="*/ 857 h 1010"/>
                  <a:gd name="T88" fmla="*/ 262 w 905"/>
                  <a:gd name="T89" fmla="*/ 783 h 1010"/>
                  <a:gd name="T90" fmla="*/ 279 w 905"/>
                  <a:gd name="T91" fmla="*/ 724 h 1010"/>
                  <a:gd name="T92" fmla="*/ 348 w 905"/>
                  <a:gd name="T93" fmla="*/ 629 h 1010"/>
                  <a:gd name="T94" fmla="*/ 386 w 905"/>
                  <a:gd name="T95" fmla="*/ 591 h 1010"/>
                  <a:gd name="T96" fmla="*/ 423 w 905"/>
                  <a:gd name="T97" fmla="*/ 529 h 1010"/>
                  <a:gd name="T98" fmla="*/ 508 w 905"/>
                  <a:gd name="T99" fmla="*/ 505 h 1010"/>
                  <a:gd name="T100" fmla="*/ 557 w 905"/>
                  <a:gd name="T101" fmla="*/ 481 h 1010"/>
                  <a:gd name="T102" fmla="*/ 594 w 905"/>
                  <a:gd name="T103" fmla="*/ 480 h 1010"/>
                  <a:gd name="T104" fmla="*/ 677 w 905"/>
                  <a:gd name="T105" fmla="*/ 489 h 1010"/>
                  <a:gd name="T106" fmla="*/ 752 w 905"/>
                  <a:gd name="T107" fmla="*/ 438 h 1010"/>
                  <a:gd name="T108" fmla="*/ 834 w 905"/>
                  <a:gd name="T109" fmla="*/ 469 h 1010"/>
                  <a:gd name="T110" fmla="*/ 891 w 905"/>
                  <a:gd name="T111" fmla="*/ 456 h 1010"/>
                  <a:gd name="T112" fmla="*/ 380 w 905"/>
                  <a:gd name="T113" fmla="*/ 512 h 1010"/>
                  <a:gd name="T114" fmla="*/ 346 w 905"/>
                  <a:gd name="T115" fmla="*/ 483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1010">
                    <a:moveTo>
                      <a:pt x="215" y="87"/>
                    </a:moveTo>
                    <a:cubicBezTo>
                      <a:pt x="229" y="97"/>
                      <a:pt x="250" y="93"/>
                      <a:pt x="250" y="93"/>
                    </a:cubicBezTo>
                    <a:cubicBezTo>
                      <a:pt x="228" y="82"/>
                      <a:pt x="228" y="82"/>
                      <a:pt x="228" y="82"/>
                    </a:cubicBezTo>
                    <a:cubicBezTo>
                      <a:pt x="195" y="65"/>
                      <a:pt x="195" y="65"/>
                      <a:pt x="195" y="65"/>
                    </a:cubicBezTo>
                    <a:cubicBezTo>
                      <a:pt x="191" y="78"/>
                      <a:pt x="201" y="78"/>
                      <a:pt x="215" y="87"/>
                    </a:cubicBezTo>
                    <a:close/>
                    <a:moveTo>
                      <a:pt x="453" y="40"/>
                    </a:moveTo>
                    <a:cubicBezTo>
                      <a:pt x="481" y="40"/>
                      <a:pt x="481" y="40"/>
                      <a:pt x="481" y="40"/>
                    </a:cubicBezTo>
                    <a:cubicBezTo>
                      <a:pt x="481" y="40"/>
                      <a:pt x="512" y="51"/>
                      <a:pt x="516" y="49"/>
                    </a:cubicBezTo>
                    <a:cubicBezTo>
                      <a:pt x="520" y="48"/>
                      <a:pt x="542" y="44"/>
                      <a:pt x="547" y="44"/>
                    </a:cubicBezTo>
                    <a:cubicBezTo>
                      <a:pt x="553" y="44"/>
                      <a:pt x="599" y="62"/>
                      <a:pt x="599" y="62"/>
                    </a:cubicBezTo>
                    <a:cubicBezTo>
                      <a:pt x="613" y="47"/>
                      <a:pt x="613" y="47"/>
                      <a:pt x="613" y="47"/>
                    </a:cubicBezTo>
                    <a:cubicBezTo>
                      <a:pt x="653" y="48"/>
                      <a:pt x="653" y="48"/>
                      <a:pt x="653" y="48"/>
                    </a:cubicBezTo>
                    <a:cubicBezTo>
                      <a:pt x="656" y="35"/>
                      <a:pt x="656" y="35"/>
                      <a:pt x="656" y="35"/>
                    </a:cubicBezTo>
                    <a:cubicBezTo>
                      <a:pt x="656" y="35"/>
                      <a:pt x="677" y="42"/>
                      <a:pt x="688" y="21"/>
                    </a:cubicBezTo>
                    <a:cubicBezTo>
                      <a:pt x="699" y="0"/>
                      <a:pt x="653" y="17"/>
                      <a:pt x="653" y="17"/>
                    </a:cubicBezTo>
                    <a:cubicBezTo>
                      <a:pt x="653" y="17"/>
                      <a:pt x="650" y="7"/>
                      <a:pt x="626" y="7"/>
                    </a:cubicBezTo>
                    <a:cubicBezTo>
                      <a:pt x="602" y="7"/>
                      <a:pt x="585" y="19"/>
                      <a:pt x="578" y="17"/>
                    </a:cubicBezTo>
                    <a:cubicBezTo>
                      <a:pt x="571" y="16"/>
                      <a:pt x="577" y="4"/>
                      <a:pt x="558" y="4"/>
                    </a:cubicBezTo>
                    <a:cubicBezTo>
                      <a:pt x="540" y="4"/>
                      <a:pt x="535" y="20"/>
                      <a:pt x="535" y="20"/>
                    </a:cubicBezTo>
                    <a:cubicBezTo>
                      <a:pt x="491" y="4"/>
                      <a:pt x="491" y="4"/>
                      <a:pt x="491" y="4"/>
                    </a:cubicBezTo>
                    <a:cubicBezTo>
                      <a:pt x="491" y="4"/>
                      <a:pt x="470" y="11"/>
                      <a:pt x="447" y="16"/>
                    </a:cubicBezTo>
                    <a:cubicBezTo>
                      <a:pt x="425" y="20"/>
                      <a:pt x="440" y="4"/>
                      <a:pt x="440" y="4"/>
                    </a:cubicBezTo>
                    <a:cubicBezTo>
                      <a:pt x="419" y="14"/>
                      <a:pt x="419" y="14"/>
                      <a:pt x="419" y="14"/>
                    </a:cubicBezTo>
                    <a:cubicBezTo>
                      <a:pt x="429" y="28"/>
                      <a:pt x="429" y="28"/>
                      <a:pt x="429" y="28"/>
                    </a:cubicBezTo>
                    <a:lnTo>
                      <a:pt x="453" y="40"/>
                    </a:lnTo>
                    <a:close/>
                    <a:moveTo>
                      <a:pt x="214" y="49"/>
                    </a:moveTo>
                    <a:cubicBezTo>
                      <a:pt x="221" y="54"/>
                      <a:pt x="236" y="51"/>
                      <a:pt x="239" y="55"/>
                    </a:cubicBezTo>
                    <a:cubicBezTo>
                      <a:pt x="242" y="59"/>
                      <a:pt x="223" y="69"/>
                      <a:pt x="223" y="69"/>
                    </a:cubicBezTo>
                    <a:cubicBezTo>
                      <a:pt x="252" y="80"/>
                      <a:pt x="252" y="80"/>
                      <a:pt x="252" y="80"/>
                    </a:cubicBezTo>
                    <a:cubicBezTo>
                      <a:pt x="252" y="80"/>
                      <a:pt x="267" y="90"/>
                      <a:pt x="281" y="93"/>
                    </a:cubicBezTo>
                    <a:cubicBezTo>
                      <a:pt x="295" y="96"/>
                      <a:pt x="305" y="76"/>
                      <a:pt x="305" y="76"/>
                    </a:cubicBezTo>
                    <a:cubicBezTo>
                      <a:pt x="333" y="71"/>
                      <a:pt x="333" y="71"/>
                      <a:pt x="333" y="71"/>
                    </a:cubicBezTo>
                    <a:cubicBezTo>
                      <a:pt x="356" y="85"/>
                      <a:pt x="356" y="85"/>
                      <a:pt x="356" y="85"/>
                    </a:cubicBezTo>
                    <a:cubicBezTo>
                      <a:pt x="356" y="85"/>
                      <a:pt x="337" y="90"/>
                      <a:pt x="319" y="94"/>
                    </a:cubicBezTo>
                    <a:cubicBezTo>
                      <a:pt x="301" y="99"/>
                      <a:pt x="302" y="106"/>
                      <a:pt x="302" y="106"/>
                    </a:cubicBezTo>
                    <a:cubicBezTo>
                      <a:pt x="302" y="106"/>
                      <a:pt x="352" y="110"/>
                      <a:pt x="345" y="111"/>
                    </a:cubicBezTo>
                    <a:cubicBezTo>
                      <a:pt x="337" y="113"/>
                      <a:pt x="307" y="125"/>
                      <a:pt x="307" y="125"/>
                    </a:cubicBezTo>
                    <a:cubicBezTo>
                      <a:pt x="340" y="137"/>
                      <a:pt x="340" y="137"/>
                      <a:pt x="340" y="137"/>
                    </a:cubicBezTo>
                    <a:cubicBezTo>
                      <a:pt x="340" y="137"/>
                      <a:pt x="370" y="152"/>
                      <a:pt x="395" y="148"/>
                    </a:cubicBezTo>
                    <a:cubicBezTo>
                      <a:pt x="421" y="144"/>
                      <a:pt x="402" y="128"/>
                      <a:pt x="402" y="121"/>
                    </a:cubicBezTo>
                    <a:cubicBezTo>
                      <a:pt x="402" y="114"/>
                      <a:pt x="432" y="114"/>
                      <a:pt x="432" y="114"/>
                    </a:cubicBezTo>
                    <a:cubicBezTo>
                      <a:pt x="432" y="100"/>
                      <a:pt x="432" y="100"/>
                      <a:pt x="432" y="100"/>
                    </a:cubicBezTo>
                    <a:cubicBezTo>
                      <a:pt x="451" y="96"/>
                      <a:pt x="451" y="96"/>
                      <a:pt x="451" y="96"/>
                    </a:cubicBezTo>
                    <a:cubicBezTo>
                      <a:pt x="460" y="75"/>
                      <a:pt x="460" y="75"/>
                      <a:pt x="460" y="75"/>
                    </a:cubicBezTo>
                    <a:cubicBezTo>
                      <a:pt x="473" y="82"/>
                      <a:pt x="473" y="82"/>
                      <a:pt x="473" y="82"/>
                    </a:cubicBezTo>
                    <a:cubicBezTo>
                      <a:pt x="489" y="73"/>
                      <a:pt x="489" y="73"/>
                      <a:pt x="489" y="73"/>
                    </a:cubicBezTo>
                    <a:cubicBezTo>
                      <a:pt x="489" y="73"/>
                      <a:pt x="498" y="87"/>
                      <a:pt x="518" y="92"/>
                    </a:cubicBezTo>
                    <a:cubicBezTo>
                      <a:pt x="537" y="96"/>
                      <a:pt x="515" y="123"/>
                      <a:pt x="515" y="123"/>
                    </a:cubicBezTo>
                    <a:cubicBezTo>
                      <a:pt x="551" y="121"/>
                      <a:pt x="551" y="121"/>
                      <a:pt x="551" y="121"/>
                    </a:cubicBezTo>
                    <a:cubicBezTo>
                      <a:pt x="551" y="121"/>
                      <a:pt x="570" y="137"/>
                      <a:pt x="571" y="132"/>
                    </a:cubicBezTo>
                    <a:cubicBezTo>
                      <a:pt x="572" y="128"/>
                      <a:pt x="623" y="114"/>
                      <a:pt x="627" y="106"/>
                    </a:cubicBezTo>
                    <a:cubicBezTo>
                      <a:pt x="632" y="97"/>
                      <a:pt x="589" y="99"/>
                      <a:pt x="589" y="99"/>
                    </a:cubicBezTo>
                    <a:cubicBezTo>
                      <a:pt x="587" y="87"/>
                      <a:pt x="587" y="87"/>
                      <a:pt x="587" y="87"/>
                    </a:cubicBezTo>
                    <a:cubicBezTo>
                      <a:pt x="551" y="82"/>
                      <a:pt x="551" y="82"/>
                      <a:pt x="551" y="82"/>
                    </a:cubicBezTo>
                    <a:cubicBezTo>
                      <a:pt x="550" y="71"/>
                      <a:pt x="550" y="71"/>
                      <a:pt x="550" y="71"/>
                    </a:cubicBezTo>
                    <a:cubicBezTo>
                      <a:pt x="529" y="73"/>
                      <a:pt x="529" y="73"/>
                      <a:pt x="529" y="73"/>
                    </a:cubicBezTo>
                    <a:cubicBezTo>
                      <a:pt x="532" y="61"/>
                      <a:pt x="532" y="61"/>
                      <a:pt x="532" y="61"/>
                    </a:cubicBezTo>
                    <a:cubicBezTo>
                      <a:pt x="481" y="62"/>
                      <a:pt x="481" y="62"/>
                      <a:pt x="481" y="62"/>
                    </a:cubicBezTo>
                    <a:cubicBezTo>
                      <a:pt x="477" y="54"/>
                      <a:pt x="477" y="54"/>
                      <a:pt x="477" y="54"/>
                    </a:cubicBezTo>
                    <a:cubicBezTo>
                      <a:pt x="453" y="54"/>
                      <a:pt x="453" y="54"/>
                      <a:pt x="453" y="54"/>
                    </a:cubicBezTo>
                    <a:cubicBezTo>
                      <a:pt x="453" y="54"/>
                      <a:pt x="450" y="41"/>
                      <a:pt x="435" y="37"/>
                    </a:cubicBezTo>
                    <a:cubicBezTo>
                      <a:pt x="419" y="33"/>
                      <a:pt x="412" y="38"/>
                      <a:pt x="412" y="38"/>
                    </a:cubicBezTo>
                    <a:cubicBezTo>
                      <a:pt x="415" y="26"/>
                      <a:pt x="415" y="26"/>
                      <a:pt x="415" y="26"/>
                    </a:cubicBezTo>
                    <a:cubicBezTo>
                      <a:pt x="415" y="26"/>
                      <a:pt x="394" y="20"/>
                      <a:pt x="366" y="21"/>
                    </a:cubicBezTo>
                    <a:cubicBezTo>
                      <a:pt x="337" y="23"/>
                      <a:pt x="374" y="55"/>
                      <a:pt x="374" y="55"/>
                    </a:cubicBezTo>
                    <a:cubicBezTo>
                      <a:pt x="374" y="55"/>
                      <a:pt x="343" y="30"/>
                      <a:pt x="328" y="27"/>
                    </a:cubicBezTo>
                    <a:cubicBezTo>
                      <a:pt x="312" y="24"/>
                      <a:pt x="307" y="44"/>
                      <a:pt x="307" y="44"/>
                    </a:cubicBezTo>
                    <a:cubicBezTo>
                      <a:pt x="307" y="44"/>
                      <a:pt x="284" y="40"/>
                      <a:pt x="278" y="37"/>
                    </a:cubicBezTo>
                    <a:cubicBezTo>
                      <a:pt x="273" y="34"/>
                      <a:pt x="291" y="24"/>
                      <a:pt x="291" y="24"/>
                    </a:cubicBezTo>
                    <a:cubicBezTo>
                      <a:pt x="254" y="27"/>
                      <a:pt x="254" y="27"/>
                      <a:pt x="254" y="27"/>
                    </a:cubicBezTo>
                    <a:cubicBezTo>
                      <a:pt x="245" y="35"/>
                      <a:pt x="245" y="35"/>
                      <a:pt x="245" y="35"/>
                    </a:cubicBezTo>
                    <a:cubicBezTo>
                      <a:pt x="240" y="24"/>
                      <a:pt x="240" y="24"/>
                      <a:pt x="240" y="24"/>
                    </a:cubicBezTo>
                    <a:cubicBezTo>
                      <a:pt x="240" y="24"/>
                      <a:pt x="216" y="31"/>
                      <a:pt x="208" y="38"/>
                    </a:cubicBezTo>
                    <a:cubicBezTo>
                      <a:pt x="208" y="38"/>
                      <a:pt x="207" y="45"/>
                      <a:pt x="214" y="49"/>
                    </a:cubicBezTo>
                    <a:close/>
                    <a:moveTo>
                      <a:pt x="425" y="477"/>
                    </a:moveTo>
                    <a:cubicBezTo>
                      <a:pt x="441" y="474"/>
                      <a:pt x="440" y="464"/>
                      <a:pt x="447" y="464"/>
                    </a:cubicBezTo>
                    <a:cubicBezTo>
                      <a:pt x="453" y="464"/>
                      <a:pt x="447" y="453"/>
                      <a:pt x="447" y="453"/>
                    </a:cubicBezTo>
                    <a:cubicBezTo>
                      <a:pt x="417" y="467"/>
                      <a:pt x="417" y="467"/>
                      <a:pt x="417" y="467"/>
                    </a:cubicBezTo>
                    <a:lnTo>
                      <a:pt x="425" y="477"/>
                    </a:lnTo>
                    <a:close/>
                    <a:moveTo>
                      <a:pt x="513" y="437"/>
                    </a:moveTo>
                    <a:cubicBezTo>
                      <a:pt x="522" y="434"/>
                      <a:pt x="535" y="424"/>
                      <a:pt x="517" y="423"/>
                    </a:cubicBezTo>
                    <a:cubicBezTo>
                      <a:pt x="500" y="422"/>
                      <a:pt x="513" y="437"/>
                      <a:pt x="513" y="437"/>
                    </a:cubicBezTo>
                    <a:close/>
                    <a:moveTo>
                      <a:pt x="392" y="470"/>
                    </a:moveTo>
                    <a:cubicBezTo>
                      <a:pt x="373" y="465"/>
                      <a:pt x="363" y="482"/>
                      <a:pt x="363" y="482"/>
                    </a:cubicBezTo>
                    <a:cubicBezTo>
                      <a:pt x="379" y="486"/>
                      <a:pt x="379" y="486"/>
                      <a:pt x="379" y="486"/>
                    </a:cubicBezTo>
                    <a:cubicBezTo>
                      <a:pt x="385" y="482"/>
                      <a:pt x="411" y="474"/>
                      <a:pt x="392" y="470"/>
                    </a:cubicBezTo>
                    <a:close/>
                    <a:moveTo>
                      <a:pt x="610" y="414"/>
                    </a:moveTo>
                    <a:cubicBezTo>
                      <a:pt x="623" y="417"/>
                      <a:pt x="623" y="417"/>
                      <a:pt x="623" y="417"/>
                    </a:cubicBezTo>
                    <a:cubicBezTo>
                      <a:pt x="631" y="408"/>
                      <a:pt x="631" y="402"/>
                      <a:pt x="631" y="402"/>
                    </a:cubicBezTo>
                    <a:cubicBezTo>
                      <a:pt x="611" y="404"/>
                      <a:pt x="611" y="404"/>
                      <a:pt x="611" y="404"/>
                    </a:cubicBezTo>
                    <a:lnTo>
                      <a:pt x="610" y="414"/>
                    </a:lnTo>
                    <a:close/>
                    <a:moveTo>
                      <a:pt x="320" y="509"/>
                    </a:moveTo>
                    <a:cubicBezTo>
                      <a:pt x="304" y="509"/>
                      <a:pt x="279" y="528"/>
                      <a:pt x="285" y="532"/>
                    </a:cubicBezTo>
                    <a:cubicBezTo>
                      <a:pt x="290" y="535"/>
                      <a:pt x="315" y="520"/>
                      <a:pt x="315" y="520"/>
                    </a:cubicBezTo>
                    <a:cubicBezTo>
                      <a:pt x="338" y="516"/>
                      <a:pt x="338" y="516"/>
                      <a:pt x="338" y="516"/>
                    </a:cubicBezTo>
                    <a:cubicBezTo>
                      <a:pt x="335" y="516"/>
                      <a:pt x="336" y="509"/>
                      <a:pt x="320" y="509"/>
                    </a:cubicBezTo>
                    <a:close/>
                    <a:moveTo>
                      <a:pt x="901" y="448"/>
                    </a:moveTo>
                    <a:cubicBezTo>
                      <a:pt x="884" y="451"/>
                      <a:pt x="884" y="451"/>
                      <a:pt x="884" y="451"/>
                    </a:cubicBezTo>
                    <a:cubicBezTo>
                      <a:pt x="856" y="444"/>
                      <a:pt x="856" y="444"/>
                      <a:pt x="856" y="444"/>
                    </a:cubicBezTo>
                    <a:cubicBezTo>
                      <a:pt x="836" y="433"/>
                      <a:pt x="836" y="433"/>
                      <a:pt x="836" y="433"/>
                    </a:cubicBezTo>
                    <a:cubicBezTo>
                      <a:pt x="836" y="433"/>
                      <a:pt x="862" y="437"/>
                      <a:pt x="873" y="432"/>
                    </a:cubicBezTo>
                    <a:cubicBezTo>
                      <a:pt x="884" y="427"/>
                      <a:pt x="902" y="421"/>
                      <a:pt x="902" y="421"/>
                    </a:cubicBezTo>
                    <a:cubicBezTo>
                      <a:pt x="902" y="421"/>
                      <a:pt x="876" y="406"/>
                      <a:pt x="862" y="406"/>
                    </a:cubicBezTo>
                    <a:cubicBezTo>
                      <a:pt x="848" y="406"/>
                      <a:pt x="827" y="395"/>
                      <a:pt x="827" y="395"/>
                    </a:cubicBezTo>
                    <a:cubicBezTo>
                      <a:pt x="827" y="395"/>
                      <a:pt x="819" y="421"/>
                      <a:pt x="803" y="418"/>
                    </a:cubicBezTo>
                    <a:cubicBezTo>
                      <a:pt x="787" y="415"/>
                      <a:pt x="815" y="397"/>
                      <a:pt x="815" y="397"/>
                    </a:cubicBezTo>
                    <a:cubicBezTo>
                      <a:pt x="771" y="382"/>
                      <a:pt x="771" y="382"/>
                      <a:pt x="771" y="382"/>
                    </a:cubicBezTo>
                    <a:cubicBezTo>
                      <a:pt x="771" y="382"/>
                      <a:pt x="763" y="431"/>
                      <a:pt x="749" y="425"/>
                    </a:cubicBezTo>
                    <a:cubicBezTo>
                      <a:pt x="735" y="419"/>
                      <a:pt x="746" y="393"/>
                      <a:pt x="746" y="393"/>
                    </a:cubicBezTo>
                    <a:cubicBezTo>
                      <a:pt x="746" y="393"/>
                      <a:pt x="708" y="437"/>
                      <a:pt x="698" y="430"/>
                    </a:cubicBezTo>
                    <a:cubicBezTo>
                      <a:pt x="688" y="423"/>
                      <a:pt x="734" y="387"/>
                      <a:pt x="734" y="387"/>
                    </a:cubicBezTo>
                    <a:cubicBezTo>
                      <a:pt x="711" y="385"/>
                      <a:pt x="711" y="385"/>
                      <a:pt x="711" y="385"/>
                    </a:cubicBezTo>
                    <a:cubicBezTo>
                      <a:pt x="699" y="395"/>
                      <a:pt x="699" y="395"/>
                      <a:pt x="699" y="395"/>
                    </a:cubicBezTo>
                    <a:cubicBezTo>
                      <a:pt x="683" y="393"/>
                      <a:pt x="683" y="393"/>
                      <a:pt x="683" y="393"/>
                    </a:cubicBezTo>
                    <a:cubicBezTo>
                      <a:pt x="653" y="411"/>
                      <a:pt x="653" y="411"/>
                      <a:pt x="653" y="411"/>
                    </a:cubicBezTo>
                    <a:cubicBezTo>
                      <a:pt x="637" y="412"/>
                      <a:pt x="637" y="412"/>
                      <a:pt x="637" y="412"/>
                    </a:cubicBezTo>
                    <a:cubicBezTo>
                      <a:pt x="635" y="432"/>
                      <a:pt x="635" y="432"/>
                      <a:pt x="635" y="432"/>
                    </a:cubicBezTo>
                    <a:cubicBezTo>
                      <a:pt x="611" y="423"/>
                      <a:pt x="611" y="423"/>
                      <a:pt x="611" y="423"/>
                    </a:cubicBezTo>
                    <a:cubicBezTo>
                      <a:pt x="585" y="428"/>
                      <a:pt x="585" y="428"/>
                      <a:pt x="585" y="428"/>
                    </a:cubicBezTo>
                    <a:cubicBezTo>
                      <a:pt x="593" y="446"/>
                      <a:pt x="593" y="446"/>
                      <a:pt x="593" y="446"/>
                    </a:cubicBezTo>
                    <a:cubicBezTo>
                      <a:pt x="562" y="437"/>
                      <a:pt x="562" y="437"/>
                      <a:pt x="562" y="437"/>
                    </a:cubicBezTo>
                    <a:cubicBezTo>
                      <a:pt x="551" y="443"/>
                      <a:pt x="551" y="443"/>
                      <a:pt x="551" y="443"/>
                    </a:cubicBezTo>
                    <a:cubicBezTo>
                      <a:pt x="554" y="459"/>
                      <a:pt x="554" y="459"/>
                      <a:pt x="554" y="459"/>
                    </a:cubicBezTo>
                    <a:cubicBezTo>
                      <a:pt x="524" y="465"/>
                      <a:pt x="524" y="465"/>
                      <a:pt x="524" y="465"/>
                    </a:cubicBezTo>
                    <a:cubicBezTo>
                      <a:pt x="527" y="444"/>
                      <a:pt x="527" y="444"/>
                      <a:pt x="527" y="444"/>
                    </a:cubicBezTo>
                    <a:cubicBezTo>
                      <a:pt x="507" y="444"/>
                      <a:pt x="507" y="444"/>
                      <a:pt x="507" y="444"/>
                    </a:cubicBezTo>
                    <a:cubicBezTo>
                      <a:pt x="513" y="457"/>
                      <a:pt x="513" y="457"/>
                      <a:pt x="513" y="457"/>
                    </a:cubicBezTo>
                    <a:cubicBezTo>
                      <a:pt x="497" y="447"/>
                      <a:pt x="497" y="447"/>
                      <a:pt x="497" y="447"/>
                    </a:cubicBezTo>
                    <a:cubicBezTo>
                      <a:pt x="499" y="467"/>
                      <a:pt x="499" y="467"/>
                      <a:pt x="499" y="467"/>
                    </a:cubicBezTo>
                    <a:cubicBezTo>
                      <a:pt x="482" y="466"/>
                      <a:pt x="482" y="466"/>
                      <a:pt x="482" y="466"/>
                    </a:cubicBezTo>
                    <a:cubicBezTo>
                      <a:pt x="482" y="466"/>
                      <a:pt x="479" y="453"/>
                      <a:pt x="481" y="450"/>
                    </a:cubicBezTo>
                    <a:cubicBezTo>
                      <a:pt x="483" y="447"/>
                      <a:pt x="494" y="437"/>
                      <a:pt x="494" y="437"/>
                    </a:cubicBezTo>
                    <a:cubicBezTo>
                      <a:pt x="471" y="434"/>
                      <a:pt x="471" y="434"/>
                      <a:pt x="471" y="434"/>
                    </a:cubicBezTo>
                    <a:cubicBezTo>
                      <a:pt x="468" y="463"/>
                      <a:pt x="468" y="463"/>
                      <a:pt x="468" y="463"/>
                    </a:cubicBezTo>
                    <a:cubicBezTo>
                      <a:pt x="450" y="472"/>
                      <a:pt x="450" y="472"/>
                      <a:pt x="450" y="472"/>
                    </a:cubicBezTo>
                    <a:cubicBezTo>
                      <a:pt x="460" y="480"/>
                      <a:pt x="460" y="480"/>
                      <a:pt x="460" y="480"/>
                    </a:cubicBezTo>
                    <a:cubicBezTo>
                      <a:pt x="438" y="483"/>
                      <a:pt x="438" y="483"/>
                      <a:pt x="438" y="483"/>
                    </a:cubicBezTo>
                    <a:cubicBezTo>
                      <a:pt x="446" y="491"/>
                      <a:pt x="446" y="491"/>
                      <a:pt x="446" y="491"/>
                    </a:cubicBezTo>
                    <a:cubicBezTo>
                      <a:pt x="418" y="492"/>
                      <a:pt x="418" y="492"/>
                      <a:pt x="418" y="492"/>
                    </a:cubicBezTo>
                    <a:cubicBezTo>
                      <a:pt x="418" y="500"/>
                      <a:pt x="418" y="500"/>
                      <a:pt x="418" y="500"/>
                    </a:cubicBezTo>
                    <a:cubicBezTo>
                      <a:pt x="439" y="505"/>
                      <a:pt x="439" y="505"/>
                      <a:pt x="439" y="505"/>
                    </a:cubicBezTo>
                    <a:cubicBezTo>
                      <a:pt x="432" y="514"/>
                      <a:pt x="432" y="514"/>
                      <a:pt x="432" y="514"/>
                    </a:cubicBezTo>
                    <a:cubicBezTo>
                      <a:pt x="408" y="504"/>
                      <a:pt x="408" y="504"/>
                      <a:pt x="408" y="504"/>
                    </a:cubicBezTo>
                    <a:cubicBezTo>
                      <a:pt x="399" y="505"/>
                      <a:pt x="399" y="505"/>
                      <a:pt x="399" y="505"/>
                    </a:cubicBezTo>
                    <a:cubicBezTo>
                      <a:pt x="415" y="516"/>
                      <a:pt x="415" y="516"/>
                      <a:pt x="415" y="516"/>
                    </a:cubicBezTo>
                    <a:cubicBezTo>
                      <a:pt x="400" y="527"/>
                      <a:pt x="400" y="527"/>
                      <a:pt x="400" y="527"/>
                    </a:cubicBezTo>
                    <a:cubicBezTo>
                      <a:pt x="392" y="514"/>
                      <a:pt x="392" y="514"/>
                      <a:pt x="392" y="514"/>
                    </a:cubicBezTo>
                    <a:cubicBezTo>
                      <a:pt x="382" y="520"/>
                      <a:pt x="382" y="520"/>
                      <a:pt x="382" y="520"/>
                    </a:cubicBezTo>
                    <a:cubicBezTo>
                      <a:pt x="383" y="525"/>
                      <a:pt x="383" y="525"/>
                      <a:pt x="383" y="525"/>
                    </a:cubicBezTo>
                    <a:cubicBezTo>
                      <a:pt x="360" y="526"/>
                      <a:pt x="360" y="526"/>
                      <a:pt x="360" y="526"/>
                    </a:cubicBezTo>
                    <a:cubicBezTo>
                      <a:pt x="357" y="535"/>
                      <a:pt x="357" y="535"/>
                      <a:pt x="357" y="535"/>
                    </a:cubicBezTo>
                    <a:cubicBezTo>
                      <a:pt x="374" y="544"/>
                      <a:pt x="374" y="544"/>
                      <a:pt x="374" y="544"/>
                    </a:cubicBezTo>
                    <a:cubicBezTo>
                      <a:pt x="372" y="554"/>
                      <a:pt x="372" y="554"/>
                      <a:pt x="372" y="554"/>
                    </a:cubicBezTo>
                    <a:cubicBezTo>
                      <a:pt x="350" y="546"/>
                      <a:pt x="350" y="546"/>
                      <a:pt x="350" y="546"/>
                    </a:cubicBezTo>
                    <a:cubicBezTo>
                      <a:pt x="347" y="556"/>
                      <a:pt x="347" y="556"/>
                      <a:pt x="347" y="556"/>
                    </a:cubicBezTo>
                    <a:cubicBezTo>
                      <a:pt x="365" y="561"/>
                      <a:pt x="365" y="561"/>
                      <a:pt x="365" y="561"/>
                    </a:cubicBezTo>
                    <a:cubicBezTo>
                      <a:pt x="365" y="561"/>
                      <a:pt x="344" y="562"/>
                      <a:pt x="337" y="563"/>
                    </a:cubicBezTo>
                    <a:cubicBezTo>
                      <a:pt x="330" y="564"/>
                      <a:pt x="334" y="574"/>
                      <a:pt x="334" y="574"/>
                    </a:cubicBezTo>
                    <a:cubicBezTo>
                      <a:pt x="334" y="574"/>
                      <a:pt x="321" y="567"/>
                      <a:pt x="313" y="573"/>
                    </a:cubicBezTo>
                    <a:cubicBezTo>
                      <a:pt x="305" y="579"/>
                      <a:pt x="298" y="584"/>
                      <a:pt x="303" y="587"/>
                    </a:cubicBezTo>
                    <a:cubicBezTo>
                      <a:pt x="308" y="590"/>
                      <a:pt x="297" y="596"/>
                      <a:pt x="297" y="596"/>
                    </a:cubicBezTo>
                    <a:cubicBezTo>
                      <a:pt x="297" y="596"/>
                      <a:pt x="290" y="605"/>
                      <a:pt x="293" y="606"/>
                    </a:cubicBezTo>
                    <a:cubicBezTo>
                      <a:pt x="296" y="607"/>
                      <a:pt x="316" y="608"/>
                      <a:pt x="316" y="608"/>
                    </a:cubicBezTo>
                    <a:cubicBezTo>
                      <a:pt x="309" y="616"/>
                      <a:pt x="309" y="616"/>
                      <a:pt x="309" y="616"/>
                    </a:cubicBezTo>
                    <a:cubicBezTo>
                      <a:pt x="286" y="612"/>
                      <a:pt x="286" y="612"/>
                      <a:pt x="286" y="612"/>
                    </a:cubicBezTo>
                    <a:cubicBezTo>
                      <a:pt x="286" y="612"/>
                      <a:pt x="273" y="614"/>
                      <a:pt x="273" y="622"/>
                    </a:cubicBezTo>
                    <a:cubicBezTo>
                      <a:pt x="273" y="630"/>
                      <a:pt x="283" y="636"/>
                      <a:pt x="279" y="639"/>
                    </a:cubicBezTo>
                    <a:cubicBezTo>
                      <a:pt x="275" y="642"/>
                      <a:pt x="271" y="642"/>
                      <a:pt x="266" y="642"/>
                    </a:cubicBezTo>
                    <a:cubicBezTo>
                      <a:pt x="261" y="642"/>
                      <a:pt x="255" y="643"/>
                      <a:pt x="257" y="650"/>
                    </a:cubicBezTo>
                    <a:cubicBezTo>
                      <a:pt x="259" y="657"/>
                      <a:pt x="267" y="661"/>
                      <a:pt x="267" y="661"/>
                    </a:cubicBezTo>
                    <a:cubicBezTo>
                      <a:pt x="267" y="661"/>
                      <a:pt x="273" y="672"/>
                      <a:pt x="266" y="673"/>
                    </a:cubicBezTo>
                    <a:cubicBezTo>
                      <a:pt x="259" y="674"/>
                      <a:pt x="252" y="673"/>
                      <a:pt x="249" y="673"/>
                    </a:cubicBezTo>
                    <a:cubicBezTo>
                      <a:pt x="246" y="673"/>
                      <a:pt x="243" y="674"/>
                      <a:pt x="240" y="678"/>
                    </a:cubicBezTo>
                    <a:cubicBezTo>
                      <a:pt x="237" y="682"/>
                      <a:pt x="237" y="689"/>
                      <a:pt x="237" y="689"/>
                    </a:cubicBezTo>
                    <a:cubicBezTo>
                      <a:pt x="237" y="689"/>
                      <a:pt x="239" y="696"/>
                      <a:pt x="232" y="696"/>
                    </a:cubicBezTo>
                    <a:cubicBezTo>
                      <a:pt x="225" y="696"/>
                      <a:pt x="222" y="689"/>
                      <a:pt x="216" y="690"/>
                    </a:cubicBezTo>
                    <a:cubicBezTo>
                      <a:pt x="210" y="691"/>
                      <a:pt x="212" y="691"/>
                      <a:pt x="207" y="695"/>
                    </a:cubicBezTo>
                    <a:cubicBezTo>
                      <a:pt x="202" y="699"/>
                      <a:pt x="202" y="700"/>
                      <a:pt x="199" y="704"/>
                    </a:cubicBezTo>
                    <a:cubicBezTo>
                      <a:pt x="196" y="708"/>
                      <a:pt x="187" y="708"/>
                      <a:pt x="187" y="708"/>
                    </a:cubicBezTo>
                    <a:cubicBezTo>
                      <a:pt x="187" y="708"/>
                      <a:pt x="183" y="709"/>
                      <a:pt x="180" y="715"/>
                    </a:cubicBezTo>
                    <a:cubicBezTo>
                      <a:pt x="177" y="721"/>
                      <a:pt x="186" y="725"/>
                      <a:pt x="181" y="728"/>
                    </a:cubicBezTo>
                    <a:cubicBezTo>
                      <a:pt x="176" y="731"/>
                      <a:pt x="175" y="733"/>
                      <a:pt x="170" y="733"/>
                    </a:cubicBezTo>
                    <a:cubicBezTo>
                      <a:pt x="165" y="733"/>
                      <a:pt x="156" y="728"/>
                      <a:pt x="153" y="728"/>
                    </a:cubicBezTo>
                    <a:cubicBezTo>
                      <a:pt x="150" y="728"/>
                      <a:pt x="157" y="720"/>
                      <a:pt x="144" y="727"/>
                    </a:cubicBezTo>
                    <a:cubicBezTo>
                      <a:pt x="131" y="734"/>
                      <a:pt x="130" y="735"/>
                      <a:pt x="126" y="734"/>
                    </a:cubicBezTo>
                    <a:cubicBezTo>
                      <a:pt x="122" y="733"/>
                      <a:pt x="117" y="731"/>
                      <a:pt x="118" y="741"/>
                    </a:cubicBezTo>
                    <a:cubicBezTo>
                      <a:pt x="119" y="751"/>
                      <a:pt x="125" y="750"/>
                      <a:pt x="126" y="753"/>
                    </a:cubicBezTo>
                    <a:cubicBezTo>
                      <a:pt x="127" y="756"/>
                      <a:pt x="130" y="764"/>
                      <a:pt x="122" y="760"/>
                    </a:cubicBezTo>
                    <a:cubicBezTo>
                      <a:pt x="114" y="756"/>
                      <a:pt x="113" y="747"/>
                      <a:pt x="108" y="750"/>
                    </a:cubicBezTo>
                    <a:cubicBezTo>
                      <a:pt x="103" y="753"/>
                      <a:pt x="97" y="760"/>
                      <a:pt x="102" y="763"/>
                    </a:cubicBezTo>
                    <a:cubicBezTo>
                      <a:pt x="107" y="766"/>
                      <a:pt x="122" y="762"/>
                      <a:pt x="119" y="768"/>
                    </a:cubicBezTo>
                    <a:cubicBezTo>
                      <a:pt x="116" y="774"/>
                      <a:pt x="126" y="777"/>
                      <a:pt x="111" y="775"/>
                    </a:cubicBezTo>
                    <a:cubicBezTo>
                      <a:pt x="96" y="773"/>
                      <a:pt x="92" y="773"/>
                      <a:pt x="92" y="773"/>
                    </a:cubicBezTo>
                    <a:cubicBezTo>
                      <a:pt x="92" y="773"/>
                      <a:pt x="94" y="767"/>
                      <a:pt x="88" y="772"/>
                    </a:cubicBezTo>
                    <a:cubicBezTo>
                      <a:pt x="82" y="777"/>
                      <a:pt x="84" y="786"/>
                      <a:pt x="84" y="786"/>
                    </a:cubicBezTo>
                    <a:cubicBezTo>
                      <a:pt x="84" y="786"/>
                      <a:pt x="55" y="773"/>
                      <a:pt x="59" y="781"/>
                    </a:cubicBezTo>
                    <a:cubicBezTo>
                      <a:pt x="63" y="789"/>
                      <a:pt x="85" y="794"/>
                      <a:pt x="85" y="794"/>
                    </a:cubicBezTo>
                    <a:cubicBezTo>
                      <a:pt x="72" y="808"/>
                      <a:pt x="72" y="808"/>
                      <a:pt x="72" y="808"/>
                    </a:cubicBezTo>
                    <a:cubicBezTo>
                      <a:pt x="72" y="808"/>
                      <a:pt x="73" y="798"/>
                      <a:pt x="66" y="797"/>
                    </a:cubicBezTo>
                    <a:cubicBezTo>
                      <a:pt x="59" y="796"/>
                      <a:pt x="53" y="804"/>
                      <a:pt x="53" y="804"/>
                    </a:cubicBezTo>
                    <a:cubicBezTo>
                      <a:pt x="40" y="793"/>
                      <a:pt x="40" y="793"/>
                      <a:pt x="40" y="793"/>
                    </a:cubicBezTo>
                    <a:cubicBezTo>
                      <a:pt x="34" y="802"/>
                      <a:pt x="34" y="802"/>
                      <a:pt x="34" y="802"/>
                    </a:cubicBezTo>
                    <a:cubicBezTo>
                      <a:pt x="43" y="805"/>
                      <a:pt x="43" y="805"/>
                      <a:pt x="43" y="805"/>
                    </a:cubicBezTo>
                    <a:cubicBezTo>
                      <a:pt x="20" y="804"/>
                      <a:pt x="20" y="804"/>
                      <a:pt x="20" y="804"/>
                    </a:cubicBezTo>
                    <a:cubicBezTo>
                      <a:pt x="19" y="813"/>
                      <a:pt x="19" y="813"/>
                      <a:pt x="19" y="813"/>
                    </a:cubicBezTo>
                    <a:cubicBezTo>
                      <a:pt x="52" y="815"/>
                      <a:pt x="52" y="815"/>
                      <a:pt x="52" y="815"/>
                    </a:cubicBezTo>
                    <a:cubicBezTo>
                      <a:pt x="35" y="820"/>
                      <a:pt x="35" y="820"/>
                      <a:pt x="35" y="820"/>
                    </a:cubicBezTo>
                    <a:cubicBezTo>
                      <a:pt x="11" y="814"/>
                      <a:pt x="11" y="814"/>
                      <a:pt x="11" y="814"/>
                    </a:cubicBezTo>
                    <a:cubicBezTo>
                      <a:pt x="11" y="814"/>
                      <a:pt x="3" y="821"/>
                      <a:pt x="3" y="827"/>
                    </a:cubicBezTo>
                    <a:cubicBezTo>
                      <a:pt x="3" y="833"/>
                      <a:pt x="21" y="834"/>
                      <a:pt x="21" y="834"/>
                    </a:cubicBezTo>
                    <a:cubicBezTo>
                      <a:pt x="10" y="839"/>
                      <a:pt x="10" y="839"/>
                      <a:pt x="10" y="839"/>
                    </a:cubicBezTo>
                    <a:cubicBezTo>
                      <a:pt x="10" y="839"/>
                      <a:pt x="1" y="846"/>
                      <a:pt x="10" y="847"/>
                    </a:cubicBezTo>
                    <a:cubicBezTo>
                      <a:pt x="19" y="848"/>
                      <a:pt x="42" y="848"/>
                      <a:pt x="42" y="848"/>
                    </a:cubicBezTo>
                    <a:cubicBezTo>
                      <a:pt x="52" y="854"/>
                      <a:pt x="52" y="854"/>
                      <a:pt x="52" y="854"/>
                    </a:cubicBezTo>
                    <a:cubicBezTo>
                      <a:pt x="63" y="846"/>
                      <a:pt x="63" y="846"/>
                      <a:pt x="63" y="846"/>
                    </a:cubicBezTo>
                    <a:cubicBezTo>
                      <a:pt x="71" y="854"/>
                      <a:pt x="71" y="854"/>
                      <a:pt x="71" y="854"/>
                    </a:cubicBezTo>
                    <a:cubicBezTo>
                      <a:pt x="89" y="845"/>
                      <a:pt x="89" y="845"/>
                      <a:pt x="89" y="845"/>
                    </a:cubicBezTo>
                    <a:cubicBezTo>
                      <a:pt x="89" y="845"/>
                      <a:pt x="86" y="858"/>
                      <a:pt x="80" y="858"/>
                    </a:cubicBezTo>
                    <a:cubicBezTo>
                      <a:pt x="74" y="858"/>
                      <a:pt x="62" y="857"/>
                      <a:pt x="62" y="857"/>
                    </a:cubicBezTo>
                    <a:cubicBezTo>
                      <a:pt x="44" y="858"/>
                      <a:pt x="44" y="858"/>
                      <a:pt x="44" y="858"/>
                    </a:cubicBezTo>
                    <a:cubicBezTo>
                      <a:pt x="44" y="858"/>
                      <a:pt x="28" y="856"/>
                      <a:pt x="25" y="856"/>
                    </a:cubicBezTo>
                    <a:cubicBezTo>
                      <a:pt x="22" y="856"/>
                      <a:pt x="0" y="858"/>
                      <a:pt x="0" y="858"/>
                    </a:cubicBezTo>
                    <a:cubicBezTo>
                      <a:pt x="0" y="858"/>
                      <a:pt x="2" y="870"/>
                      <a:pt x="7" y="872"/>
                    </a:cubicBezTo>
                    <a:cubicBezTo>
                      <a:pt x="12" y="874"/>
                      <a:pt x="20" y="874"/>
                      <a:pt x="20" y="874"/>
                    </a:cubicBezTo>
                    <a:cubicBezTo>
                      <a:pt x="20" y="874"/>
                      <a:pt x="7" y="884"/>
                      <a:pt x="13" y="891"/>
                    </a:cubicBezTo>
                    <a:cubicBezTo>
                      <a:pt x="19" y="898"/>
                      <a:pt x="29" y="899"/>
                      <a:pt x="29" y="899"/>
                    </a:cubicBezTo>
                    <a:cubicBezTo>
                      <a:pt x="47" y="888"/>
                      <a:pt x="47" y="888"/>
                      <a:pt x="47" y="888"/>
                    </a:cubicBezTo>
                    <a:cubicBezTo>
                      <a:pt x="65" y="884"/>
                      <a:pt x="65" y="884"/>
                      <a:pt x="65" y="884"/>
                    </a:cubicBezTo>
                    <a:cubicBezTo>
                      <a:pt x="59" y="898"/>
                      <a:pt x="59" y="898"/>
                      <a:pt x="59" y="898"/>
                    </a:cubicBezTo>
                    <a:cubicBezTo>
                      <a:pt x="49" y="895"/>
                      <a:pt x="49" y="895"/>
                      <a:pt x="49" y="895"/>
                    </a:cubicBezTo>
                    <a:cubicBezTo>
                      <a:pt x="43" y="907"/>
                      <a:pt x="43" y="907"/>
                      <a:pt x="43" y="907"/>
                    </a:cubicBezTo>
                    <a:cubicBezTo>
                      <a:pt x="43" y="907"/>
                      <a:pt x="13" y="901"/>
                      <a:pt x="17" y="908"/>
                    </a:cubicBezTo>
                    <a:cubicBezTo>
                      <a:pt x="21" y="915"/>
                      <a:pt x="30" y="918"/>
                      <a:pt x="30" y="918"/>
                    </a:cubicBezTo>
                    <a:cubicBezTo>
                      <a:pt x="14" y="926"/>
                      <a:pt x="14" y="926"/>
                      <a:pt x="14" y="926"/>
                    </a:cubicBezTo>
                    <a:cubicBezTo>
                      <a:pt x="2" y="926"/>
                      <a:pt x="2" y="926"/>
                      <a:pt x="2" y="926"/>
                    </a:cubicBezTo>
                    <a:cubicBezTo>
                      <a:pt x="2" y="926"/>
                      <a:pt x="4" y="938"/>
                      <a:pt x="7" y="938"/>
                    </a:cubicBezTo>
                    <a:cubicBezTo>
                      <a:pt x="10" y="938"/>
                      <a:pt x="42" y="939"/>
                      <a:pt x="42" y="939"/>
                    </a:cubicBezTo>
                    <a:cubicBezTo>
                      <a:pt x="33" y="953"/>
                      <a:pt x="33" y="953"/>
                      <a:pt x="33" y="953"/>
                    </a:cubicBezTo>
                    <a:cubicBezTo>
                      <a:pt x="41" y="955"/>
                      <a:pt x="41" y="955"/>
                      <a:pt x="41" y="955"/>
                    </a:cubicBezTo>
                    <a:cubicBezTo>
                      <a:pt x="36" y="967"/>
                      <a:pt x="36" y="967"/>
                      <a:pt x="36" y="967"/>
                    </a:cubicBezTo>
                    <a:cubicBezTo>
                      <a:pt x="36" y="967"/>
                      <a:pt x="10" y="954"/>
                      <a:pt x="11" y="962"/>
                    </a:cubicBezTo>
                    <a:cubicBezTo>
                      <a:pt x="12" y="970"/>
                      <a:pt x="23" y="981"/>
                      <a:pt x="23" y="981"/>
                    </a:cubicBezTo>
                    <a:cubicBezTo>
                      <a:pt x="55" y="995"/>
                      <a:pt x="55" y="995"/>
                      <a:pt x="55" y="995"/>
                    </a:cubicBezTo>
                    <a:cubicBezTo>
                      <a:pt x="55" y="995"/>
                      <a:pt x="48" y="1000"/>
                      <a:pt x="55" y="1003"/>
                    </a:cubicBezTo>
                    <a:cubicBezTo>
                      <a:pt x="62" y="1006"/>
                      <a:pt x="83" y="1001"/>
                      <a:pt x="83" y="1001"/>
                    </a:cubicBezTo>
                    <a:cubicBezTo>
                      <a:pt x="83" y="1001"/>
                      <a:pt x="86" y="1010"/>
                      <a:pt x="103" y="1004"/>
                    </a:cubicBezTo>
                    <a:cubicBezTo>
                      <a:pt x="120" y="998"/>
                      <a:pt x="148" y="973"/>
                      <a:pt x="148" y="973"/>
                    </a:cubicBezTo>
                    <a:cubicBezTo>
                      <a:pt x="172" y="954"/>
                      <a:pt x="172" y="954"/>
                      <a:pt x="172" y="954"/>
                    </a:cubicBezTo>
                    <a:cubicBezTo>
                      <a:pt x="172" y="954"/>
                      <a:pt x="183" y="959"/>
                      <a:pt x="193" y="950"/>
                    </a:cubicBezTo>
                    <a:cubicBezTo>
                      <a:pt x="203" y="941"/>
                      <a:pt x="193" y="922"/>
                      <a:pt x="193" y="922"/>
                    </a:cubicBezTo>
                    <a:cubicBezTo>
                      <a:pt x="205" y="920"/>
                      <a:pt x="205" y="920"/>
                      <a:pt x="205" y="920"/>
                    </a:cubicBezTo>
                    <a:cubicBezTo>
                      <a:pt x="205" y="920"/>
                      <a:pt x="192" y="937"/>
                      <a:pt x="207" y="942"/>
                    </a:cubicBezTo>
                    <a:cubicBezTo>
                      <a:pt x="222" y="947"/>
                      <a:pt x="233" y="949"/>
                      <a:pt x="233" y="949"/>
                    </a:cubicBezTo>
                    <a:cubicBezTo>
                      <a:pt x="247" y="962"/>
                      <a:pt x="247" y="962"/>
                      <a:pt x="247" y="962"/>
                    </a:cubicBezTo>
                    <a:cubicBezTo>
                      <a:pt x="247" y="962"/>
                      <a:pt x="253" y="951"/>
                      <a:pt x="255" y="946"/>
                    </a:cubicBezTo>
                    <a:cubicBezTo>
                      <a:pt x="257" y="941"/>
                      <a:pt x="251" y="940"/>
                      <a:pt x="248" y="932"/>
                    </a:cubicBezTo>
                    <a:cubicBezTo>
                      <a:pt x="245" y="924"/>
                      <a:pt x="254" y="921"/>
                      <a:pt x="254" y="921"/>
                    </a:cubicBezTo>
                    <a:cubicBezTo>
                      <a:pt x="254" y="921"/>
                      <a:pt x="254" y="917"/>
                      <a:pt x="252" y="911"/>
                    </a:cubicBezTo>
                    <a:cubicBezTo>
                      <a:pt x="250" y="905"/>
                      <a:pt x="264" y="911"/>
                      <a:pt x="269" y="911"/>
                    </a:cubicBezTo>
                    <a:cubicBezTo>
                      <a:pt x="274" y="911"/>
                      <a:pt x="277" y="906"/>
                      <a:pt x="277" y="906"/>
                    </a:cubicBezTo>
                    <a:cubicBezTo>
                      <a:pt x="277" y="889"/>
                      <a:pt x="277" y="889"/>
                      <a:pt x="277" y="889"/>
                    </a:cubicBezTo>
                    <a:cubicBezTo>
                      <a:pt x="284" y="889"/>
                      <a:pt x="284" y="889"/>
                      <a:pt x="284" y="889"/>
                    </a:cubicBezTo>
                    <a:cubicBezTo>
                      <a:pt x="284" y="889"/>
                      <a:pt x="280" y="880"/>
                      <a:pt x="277" y="877"/>
                    </a:cubicBezTo>
                    <a:cubicBezTo>
                      <a:pt x="274" y="874"/>
                      <a:pt x="268" y="857"/>
                      <a:pt x="268" y="857"/>
                    </a:cubicBezTo>
                    <a:cubicBezTo>
                      <a:pt x="283" y="854"/>
                      <a:pt x="283" y="854"/>
                      <a:pt x="283" y="854"/>
                    </a:cubicBezTo>
                    <a:cubicBezTo>
                      <a:pt x="283" y="854"/>
                      <a:pt x="290" y="848"/>
                      <a:pt x="292" y="841"/>
                    </a:cubicBezTo>
                    <a:cubicBezTo>
                      <a:pt x="294" y="834"/>
                      <a:pt x="275" y="828"/>
                      <a:pt x="275" y="828"/>
                    </a:cubicBezTo>
                    <a:cubicBezTo>
                      <a:pt x="275" y="828"/>
                      <a:pt x="267" y="821"/>
                      <a:pt x="266" y="814"/>
                    </a:cubicBezTo>
                    <a:cubicBezTo>
                      <a:pt x="265" y="807"/>
                      <a:pt x="271" y="800"/>
                      <a:pt x="272" y="795"/>
                    </a:cubicBezTo>
                    <a:cubicBezTo>
                      <a:pt x="273" y="790"/>
                      <a:pt x="262" y="783"/>
                      <a:pt x="262" y="783"/>
                    </a:cubicBezTo>
                    <a:cubicBezTo>
                      <a:pt x="262" y="783"/>
                      <a:pt x="256" y="775"/>
                      <a:pt x="254" y="770"/>
                    </a:cubicBezTo>
                    <a:cubicBezTo>
                      <a:pt x="252" y="765"/>
                      <a:pt x="261" y="763"/>
                      <a:pt x="267" y="757"/>
                    </a:cubicBezTo>
                    <a:cubicBezTo>
                      <a:pt x="273" y="751"/>
                      <a:pt x="255" y="751"/>
                      <a:pt x="255" y="748"/>
                    </a:cubicBezTo>
                    <a:cubicBezTo>
                      <a:pt x="255" y="745"/>
                      <a:pt x="261" y="740"/>
                      <a:pt x="261" y="740"/>
                    </a:cubicBezTo>
                    <a:cubicBezTo>
                      <a:pt x="266" y="734"/>
                      <a:pt x="266" y="734"/>
                      <a:pt x="266" y="734"/>
                    </a:cubicBezTo>
                    <a:cubicBezTo>
                      <a:pt x="266" y="734"/>
                      <a:pt x="272" y="729"/>
                      <a:pt x="279" y="724"/>
                    </a:cubicBezTo>
                    <a:cubicBezTo>
                      <a:pt x="286" y="719"/>
                      <a:pt x="301" y="707"/>
                      <a:pt x="301" y="707"/>
                    </a:cubicBezTo>
                    <a:cubicBezTo>
                      <a:pt x="301" y="707"/>
                      <a:pt x="328" y="712"/>
                      <a:pt x="332" y="703"/>
                    </a:cubicBezTo>
                    <a:cubicBezTo>
                      <a:pt x="336" y="694"/>
                      <a:pt x="315" y="684"/>
                      <a:pt x="315" y="684"/>
                    </a:cubicBezTo>
                    <a:cubicBezTo>
                      <a:pt x="315" y="684"/>
                      <a:pt x="324" y="678"/>
                      <a:pt x="329" y="674"/>
                    </a:cubicBezTo>
                    <a:cubicBezTo>
                      <a:pt x="334" y="670"/>
                      <a:pt x="344" y="658"/>
                      <a:pt x="344" y="658"/>
                    </a:cubicBezTo>
                    <a:cubicBezTo>
                      <a:pt x="348" y="629"/>
                      <a:pt x="348" y="629"/>
                      <a:pt x="348" y="629"/>
                    </a:cubicBezTo>
                    <a:cubicBezTo>
                      <a:pt x="351" y="624"/>
                      <a:pt x="351" y="624"/>
                      <a:pt x="351" y="624"/>
                    </a:cubicBezTo>
                    <a:cubicBezTo>
                      <a:pt x="349" y="608"/>
                      <a:pt x="349" y="608"/>
                      <a:pt x="349" y="608"/>
                    </a:cubicBezTo>
                    <a:cubicBezTo>
                      <a:pt x="363" y="615"/>
                      <a:pt x="363" y="615"/>
                      <a:pt x="363" y="615"/>
                    </a:cubicBezTo>
                    <a:cubicBezTo>
                      <a:pt x="363" y="615"/>
                      <a:pt x="372" y="610"/>
                      <a:pt x="379" y="608"/>
                    </a:cubicBezTo>
                    <a:cubicBezTo>
                      <a:pt x="386" y="606"/>
                      <a:pt x="372" y="592"/>
                      <a:pt x="372" y="592"/>
                    </a:cubicBezTo>
                    <a:cubicBezTo>
                      <a:pt x="386" y="591"/>
                      <a:pt x="386" y="591"/>
                      <a:pt x="386" y="591"/>
                    </a:cubicBezTo>
                    <a:cubicBezTo>
                      <a:pt x="386" y="591"/>
                      <a:pt x="388" y="584"/>
                      <a:pt x="394" y="579"/>
                    </a:cubicBezTo>
                    <a:cubicBezTo>
                      <a:pt x="400" y="574"/>
                      <a:pt x="405" y="573"/>
                      <a:pt x="405" y="573"/>
                    </a:cubicBezTo>
                    <a:cubicBezTo>
                      <a:pt x="410" y="563"/>
                      <a:pt x="410" y="563"/>
                      <a:pt x="410" y="563"/>
                    </a:cubicBezTo>
                    <a:cubicBezTo>
                      <a:pt x="410" y="563"/>
                      <a:pt x="399" y="555"/>
                      <a:pt x="398" y="551"/>
                    </a:cubicBezTo>
                    <a:cubicBezTo>
                      <a:pt x="397" y="547"/>
                      <a:pt x="414" y="539"/>
                      <a:pt x="414" y="539"/>
                    </a:cubicBezTo>
                    <a:cubicBezTo>
                      <a:pt x="423" y="529"/>
                      <a:pt x="423" y="529"/>
                      <a:pt x="423" y="529"/>
                    </a:cubicBezTo>
                    <a:cubicBezTo>
                      <a:pt x="449" y="525"/>
                      <a:pt x="449" y="525"/>
                      <a:pt x="449" y="525"/>
                    </a:cubicBezTo>
                    <a:cubicBezTo>
                      <a:pt x="449" y="525"/>
                      <a:pt x="464" y="525"/>
                      <a:pt x="467" y="520"/>
                    </a:cubicBezTo>
                    <a:cubicBezTo>
                      <a:pt x="470" y="515"/>
                      <a:pt x="460" y="504"/>
                      <a:pt x="468" y="498"/>
                    </a:cubicBezTo>
                    <a:cubicBezTo>
                      <a:pt x="476" y="492"/>
                      <a:pt x="476" y="505"/>
                      <a:pt x="476" y="505"/>
                    </a:cubicBezTo>
                    <a:cubicBezTo>
                      <a:pt x="495" y="501"/>
                      <a:pt x="495" y="501"/>
                      <a:pt x="495" y="501"/>
                    </a:cubicBezTo>
                    <a:cubicBezTo>
                      <a:pt x="508" y="505"/>
                      <a:pt x="508" y="505"/>
                      <a:pt x="508" y="505"/>
                    </a:cubicBezTo>
                    <a:cubicBezTo>
                      <a:pt x="517" y="505"/>
                      <a:pt x="517" y="505"/>
                      <a:pt x="517" y="505"/>
                    </a:cubicBezTo>
                    <a:cubicBezTo>
                      <a:pt x="517" y="505"/>
                      <a:pt x="528" y="511"/>
                      <a:pt x="536" y="509"/>
                    </a:cubicBezTo>
                    <a:cubicBezTo>
                      <a:pt x="544" y="507"/>
                      <a:pt x="531" y="501"/>
                      <a:pt x="531" y="496"/>
                    </a:cubicBezTo>
                    <a:cubicBezTo>
                      <a:pt x="531" y="491"/>
                      <a:pt x="538" y="494"/>
                      <a:pt x="538" y="494"/>
                    </a:cubicBezTo>
                    <a:cubicBezTo>
                      <a:pt x="537" y="480"/>
                      <a:pt x="537" y="480"/>
                      <a:pt x="537" y="480"/>
                    </a:cubicBezTo>
                    <a:cubicBezTo>
                      <a:pt x="557" y="481"/>
                      <a:pt x="557" y="481"/>
                      <a:pt x="557" y="481"/>
                    </a:cubicBezTo>
                    <a:cubicBezTo>
                      <a:pt x="555" y="479"/>
                      <a:pt x="554" y="478"/>
                      <a:pt x="554" y="478"/>
                    </a:cubicBezTo>
                    <a:cubicBezTo>
                      <a:pt x="556" y="473"/>
                      <a:pt x="556" y="473"/>
                      <a:pt x="556" y="473"/>
                    </a:cubicBezTo>
                    <a:cubicBezTo>
                      <a:pt x="568" y="478"/>
                      <a:pt x="568" y="478"/>
                      <a:pt x="568" y="478"/>
                    </a:cubicBezTo>
                    <a:cubicBezTo>
                      <a:pt x="570" y="469"/>
                      <a:pt x="570" y="469"/>
                      <a:pt x="570" y="469"/>
                    </a:cubicBezTo>
                    <a:cubicBezTo>
                      <a:pt x="570" y="469"/>
                      <a:pt x="577" y="466"/>
                      <a:pt x="581" y="466"/>
                    </a:cubicBezTo>
                    <a:cubicBezTo>
                      <a:pt x="585" y="466"/>
                      <a:pt x="594" y="480"/>
                      <a:pt x="594" y="480"/>
                    </a:cubicBezTo>
                    <a:cubicBezTo>
                      <a:pt x="603" y="481"/>
                      <a:pt x="603" y="481"/>
                      <a:pt x="603" y="481"/>
                    </a:cubicBezTo>
                    <a:cubicBezTo>
                      <a:pt x="603" y="481"/>
                      <a:pt x="604" y="491"/>
                      <a:pt x="618" y="492"/>
                    </a:cubicBezTo>
                    <a:cubicBezTo>
                      <a:pt x="632" y="493"/>
                      <a:pt x="632" y="494"/>
                      <a:pt x="632" y="494"/>
                    </a:cubicBezTo>
                    <a:cubicBezTo>
                      <a:pt x="632" y="494"/>
                      <a:pt x="632" y="494"/>
                      <a:pt x="642" y="497"/>
                    </a:cubicBezTo>
                    <a:cubicBezTo>
                      <a:pt x="652" y="500"/>
                      <a:pt x="661" y="492"/>
                      <a:pt x="661" y="492"/>
                    </a:cubicBezTo>
                    <a:cubicBezTo>
                      <a:pt x="661" y="492"/>
                      <a:pt x="672" y="488"/>
                      <a:pt x="677" y="489"/>
                    </a:cubicBezTo>
                    <a:cubicBezTo>
                      <a:pt x="682" y="490"/>
                      <a:pt x="694" y="498"/>
                      <a:pt x="702" y="498"/>
                    </a:cubicBezTo>
                    <a:cubicBezTo>
                      <a:pt x="710" y="498"/>
                      <a:pt x="704" y="488"/>
                      <a:pt x="711" y="483"/>
                    </a:cubicBezTo>
                    <a:cubicBezTo>
                      <a:pt x="718" y="478"/>
                      <a:pt x="727" y="483"/>
                      <a:pt x="727" y="483"/>
                    </a:cubicBezTo>
                    <a:cubicBezTo>
                      <a:pt x="727" y="483"/>
                      <a:pt x="728" y="467"/>
                      <a:pt x="727" y="463"/>
                    </a:cubicBezTo>
                    <a:cubicBezTo>
                      <a:pt x="726" y="459"/>
                      <a:pt x="730" y="446"/>
                      <a:pt x="730" y="446"/>
                    </a:cubicBezTo>
                    <a:cubicBezTo>
                      <a:pt x="730" y="446"/>
                      <a:pt x="747" y="437"/>
                      <a:pt x="752" y="438"/>
                    </a:cubicBezTo>
                    <a:cubicBezTo>
                      <a:pt x="757" y="439"/>
                      <a:pt x="768" y="440"/>
                      <a:pt x="768" y="440"/>
                    </a:cubicBezTo>
                    <a:cubicBezTo>
                      <a:pt x="768" y="440"/>
                      <a:pt x="779" y="433"/>
                      <a:pt x="794" y="434"/>
                    </a:cubicBezTo>
                    <a:cubicBezTo>
                      <a:pt x="809" y="435"/>
                      <a:pt x="802" y="441"/>
                      <a:pt x="802" y="441"/>
                    </a:cubicBezTo>
                    <a:cubicBezTo>
                      <a:pt x="825" y="446"/>
                      <a:pt x="825" y="446"/>
                      <a:pt x="825" y="446"/>
                    </a:cubicBezTo>
                    <a:cubicBezTo>
                      <a:pt x="825" y="446"/>
                      <a:pt x="839" y="447"/>
                      <a:pt x="843" y="464"/>
                    </a:cubicBezTo>
                    <a:cubicBezTo>
                      <a:pt x="847" y="481"/>
                      <a:pt x="834" y="469"/>
                      <a:pt x="834" y="469"/>
                    </a:cubicBezTo>
                    <a:cubicBezTo>
                      <a:pt x="832" y="477"/>
                      <a:pt x="832" y="477"/>
                      <a:pt x="832" y="477"/>
                    </a:cubicBezTo>
                    <a:cubicBezTo>
                      <a:pt x="836" y="479"/>
                      <a:pt x="840" y="480"/>
                      <a:pt x="845" y="480"/>
                    </a:cubicBezTo>
                    <a:cubicBezTo>
                      <a:pt x="854" y="479"/>
                      <a:pt x="855" y="465"/>
                      <a:pt x="855" y="465"/>
                    </a:cubicBezTo>
                    <a:cubicBezTo>
                      <a:pt x="870" y="464"/>
                      <a:pt x="870" y="464"/>
                      <a:pt x="870" y="464"/>
                    </a:cubicBezTo>
                    <a:cubicBezTo>
                      <a:pt x="874" y="456"/>
                      <a:pt x="874" y="456"/>
                      <a:pt x="874" y="456"/>
                    </a:cubicBezTo>
                    <a:cubicBezTo>
                      <a:pt x="874" y="456"/>
                      <a:pt x="873" y="459"/>
                      <a:pt x="891" y="456"/>
                    </a:cubicBezTo>
                    <a:cubicBezTo>
                      <a:pt x="899" y="455"/>
                      <a:pt x="903" y="451"/>
                      <a:pt x="905" y="448"/>
                    </a:cubicBezTo>
                    <a:lnTo>
                      <a:pt x="901" y="448"/>
                    </a:lnTo>
                    <a:close/>
                    <a:moveTo>
                      <a:pt x="372" y="489"/>
                    </a:moveTo>
                    <a:cubicBezTo>
                      <a:pt x="357" y="498"/>
                      <a:pt x="357" y="498"/>
                      <a:pt x="357" y="498"/>
                    </a:cubicBezTo>
                    <a:cubicBezTo>
                      <a:pt x="362" y="511"/>
                      <a:pt x="362" y="511"/>
                      <a:pt x="362" y="511"/>
                    </a:cubicBezTo>
                    <a:cubicBezTo>
                      <a:pt x="380" y="512"/>
                      <a:pt x="380" y="512"/>
                      <a:pt x="380" y="512"/>
                    </a:cubicBezTo>
                    <a:cubicBezTo>
                      <a:pt x="376" y="499"/>
                      <a:pt x="376" y="499"/>
                      <a:pt x="376" y="499"/>
                    </a:cubicBezTo>
                    <a:lnTo>
                      <a:pt x="372" y="489"/>
                    </a:lnTo>
                    <a:close/>
                    <a:moveTo>
                      <a:pt x="346" y="483"/>
                    </a:moveTo>
                    <a:cubicBezTo>
                      <a:pt x="335" y="487"/>
                      <a:pt x="339" y="504"/>
                      <a:pt x="339" y="504"/>
                    </a:cubicBezTo>
                    <a:cubicBezTo>
                      <a:pt x="351" y="516"/>
                      <a:pt x="351" y="516"/>
                      <a:pt x="351" y="516"/>
                    </a:cubicBezTo>
                    <a:cubicBezTo>
                      <a:pt x="351" y="516"/>
                      <a:pt x="357" y="479"/>
                      <a:pt x="346" y="483"/>
                    </a:cubicBezTo>
                    <a:close/>
                    <a:moveTo>
                      <a:pt x="403" y="498"/>
                    </a:moveTo>
                    <a:cubicBezTo>
                      <a:pt x="412" y="493"/>
                      <a:pt x="427" y="490"/>
                      <a:pt x="408" y="486"/>
                    </a:cubicBezTo>
                    <a:cubicBezTo>
                      <a:pt x="389" y="483"/>
                      <a:pt x="380" y="494"/>
                      <a:pt x="380" y="494"/>
                    </a:cubicBezTo>
                    <a:cubicBezTo>
                      <a:pt x="386" y="501"/>
                      <a:pt x="386" y="501"/>
                      <a:pt x="386" y="501"/>
                    </a:cubicBezTo>
                    <a:lnTo>
                      <a:pt x="403" y="498"/>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28" name="Netherlands">
                <a:extLst>
                  <a:ext uri="{FF2B5EF4-FFF2-40B4-BE49-F238E27FC236}">
                    <a16:creationId xmlns:a16="http://schemas.microsoft.com/office/drawing/2014/main" id="{F2F13C3E-4583-4715-9B89-334359A09B92}"/>
                  </a:ext>
                </a:extLst>
              </p:cNvPr>
              <p:cNvSpPr>
                <a:spLocks/>
              </p:cNvSpPr>
              <p:nvPr/>
            </p:nvSpPr>
            <p:spPr bwMode="gray">
              <a:xfrm>
                <a:off x="5717815" y="2485683"/>
                <a:ext cx="101618" cy="80926"/>
              </a:xfrm>
              <a:custGeom>
                <a:avLst/>
                <a:gdLst>
                  <a:gd name="T0" fmla="*/ 14 w 182"/>
                  <a:gd name="T1" fmla="*/ 104 h 145"/>
                  <a:gd name="T2" fmla="*/ 0 w 182"/>
                  <a:gd name="T3" fmla="*/ 116 h 145"/>
                  <a:gd name="T4" fmla="*/ 0 w 182"/>
                  <a:gd name="T5" fmla="*/ 116 h 145"/>
                  <a:gd name="T6" fmla="*/ 9 w 182"/>
                  <a:gd name="T7" fmla="*/ 108 h 145"/>
                  <a:gd name="T8" fmla="*/ 10 w 182"/>
                  <a:gd name="T9" fmla="*/ 110 h 145"/>
                  <a:gd name="T10" fmla="*/ 18 w 182"/>
                  <a:gd name="T11" fmla="*/ 108 h 145"/>
                  <a:gd name="T12" fmla="*/ 22 w 182"/>
                  <a:gd name="T13" fmla="*/ 114 h 145"/>
                  <a:gd name="T14" fmla="*/ 34 w 182"/>
                  <a:gd name="T15" fmla="*/ 112 h 145"/>
                  <a:gd name="T16" fmla="*/ 43 w 182"/>
                  <a:gd name="T17" fmla="*/ 117 h 145"/>
                  <a:gd name="T18" fmla="*/ 46 w 182"/>
                  <a:gd name="T19" fmla="*/ 110 h 145"/>
                  <a:gd name="T20" fmla="*/ 56 w 182"/>
                  <a:gd name="T21" fmla="*/ 112 h 145"/>
                  <a:gd name="T22" fmla="*/ 56 w 182"/>
                  <a:gd name="T23" fmla="*/ 106 h 145"/>
                  <a:gd name="T24" fmla="*/ 65 w 182"/>
                  <a:gd name="T25" fmla="*/ 108 h 145"/>
                  <a:gd name="T26" fmla="*/ 71 w 182"/>
                  <a:gd name="T27" fmla="*/ 104 h 145"/>
                  <a:gd name="T28" fmla="*/ 90 w 182"/>
                  <a:gd name="T29" fmla="*/ 104 h 145"/>
                  <a:gd name="T30" fmla="*/ 94 w 182"/>
                  <a:gd name="T31" fmla="*/ 114 h 145"/>
                  <a:gd name="T32" fmla="*/ 108 w 182"/>
                  <a:gd name="T33" fmla="*/ 114 h 145"/>
                  <a:gd name="T34" fmla="*/ 119 w 182"/>
                  <a:gd name="T35" fmla="*/ 121 h 145"/>
                  <a:gd name="T36" fmla="*/ 114 w 182"/>
                  <a:gd name="T37" fmla="*/ 130 h 145"/>
                  <a:gd name="T38" fmla="*/ 112 w 182"/>
                  <a:gd name="T39" fmla="*/ 140 h 145"/>
                  <a:gd name="T40" fmla="*/ 123 w 182"/>
                  <a:gd name="T41" fmla="*/ 140 h 145"/>
                  <a:gd name="T42" fmla="*/ 127 w 182"/>
                  <a:gd name="T43" fmla="*/ 124 h 145"/>
                  <a:gd name="T44" fmla="*/ 123 w 182"/>
                  <a:gd name="T45" fmla="*/ 116 h 145"/>
                  <a:gd name="T46" fmla="*/ 134 w 182"/>
                  <a:gd name="T47" fmla="*/ 106 h 145"/>
                  <a:gd name="T48" fmla="*/ 130 w 182"/>
                  <a:gd name="T49" fmla="*/ 95 h 145"/>
                  <a:gd name="T50" fmla="*/ 124 w 182"/>
                  <a:gd name="T51" fmla="*/ 80 h 145"/>
                  <a:gd name="T52" fmla="*/ 148 w 182"/>
                  <a:gd name="T53" fmla="*/ 85 h 145"/>
                  <a:gd name="T54" fmla="*/ 152 w 182"/>
                  <a:gd name="T55" fmla="*/ 77 h 145"/>
                  <a:gd name="T56" fmla="*/ 158 w 182"/>
                  <a:gd name="T57" fmla="*/ 78 h 145"/>
                  <a:gd name="T58" fmla="*/ 160 w 182"/>
                  <a:gd name="T59" fmla="*/ 67 h 145"/>
                  <a:gd name="T60" fmla="*/ 168 w 182"/>
                  <a:gd name="T61" fmla="*/ 59 h 145"/>
                  <a:gd name="T62" fmla="*/ 153 w 182"/>
                  <a:gd name="T63" fmla="*/ 47 h 145"/>
                  <a:gd name="T64" fmla="*/ 164 w 182"/>
                  <a:gd name="T65" fmla="*/ 40 h 145"/>
                  <a:gd name="T66" fmla="*/ 172 w 182"/>
                  <a:gd name="T67" fmla="*/ 40 h 145"/>
                  <a:gd name="T68" fmla="*/ 170 w 182"/>
                  <a:gd name="T69" fmla="*/ 28 h 145"/>
                  <a:gd name="T70" fmla="*/ 182 w 182"/>
                  <a:gd name="T71" fmla="*/ 20 h 145"/>
                  <a:gd name="T72" fmla="*/ 177 w 182"/>
                  <a:gd name="T73" fmla="*/ 12 h 145"/>
                  <a:gd name="T74" fmla="*/ 180 w 182"/>
                  <a:gd name="T75" fmla="*/ 10 h 145"/>
                  <a:gd name="T76" fmla="*/ 176 w 182"/>
                  <a:gd name="T77" fmla="*/ 7 h 145"/>
                  <a:gd name="T78" fmla="*/ 154 w 182"/>
                  <a:gd name="T79" fmla="*/ 1 h 145"/>
                  <a:gd name="T80" fmla="*/ 125 w 182"/>
                  <a:gd name="T81" fmla="*/ 0 h 145"/>
                  <a:gd name="T82" fmla="*/ 103 w 182"/>
                  <a:gd name="T83" fmla="*/ 10 h 145"/>
                  <a:gd name="T84" fmla="*/ 107 w 182"/>
                  <a:gd name="T85" fmla="*/ 21 h 145"/>
                  <a:gd name="T86" fmla="*/ 111 w 182"/>
                  <a:gd name="T87" fmla="*/ 34 h 145"/>
                  <a:gd name="T88" fmla="*/ 116 w 182"/>
                  <a:gd name="T89" fmla="*/ 40 h 145"/>
                  <a:gd name="T90" fmla="*/ 122 w 182"/>
                  <a:gd name="T91" fmla="*/ 48 h 145"/>
                  <a:gd name="T92" fmla="*/ 104 w 182"/>
                  <a:gd name="T93" fmla="*/ 60 h 145"/>
                  <a:gd name="T94" fmla="*/ 92 w 182"/>
                  <a:gd name="T95" fmla="*/ 52 h 145"/>
                  <a:gd name="T96" fmla="*/ 100 w 182"/>
                  <a:gd name="T97" fmla="*/ 37 h 145"/>
                  <a:gd name="T98" fmla="*/ 102 w 182"/>
                  <a:gd name="T99" fmla="*/ 24 h 145"/>
                  <a:gd name="T100" fmla="*/ 97 w 182"/>
                  <a:gd name="T101" fmla="*/ 16 h 145"/>
                  <a:gd name="T102" fmla="*/ 81 w 182"/>
                  <a:gd name="T103" fmla="*/ 30 h 145"/>
                  <a:gd name="T104" fmla="*/ 64 w 182"/>
                  <a:gd name="T105" fmla="*/ 49 h 145"/>
                  <a:gd name="T106" fmla="*/ 60 w 182"/>
                  <a:gd name="T107" fmla="*/ 69 h 145"/>
                  <a:gd name="T108" fmla="*/ 42 w 182"/>
                  <a:gd name="T109" fmla="*/ 89 h 145"/>
                  <a:gd name="T110" fmla="*/ 48 w 182"/>
                  <a:gd name="T111" fmla="*/ 97 h 145"/>
                  <a:gd name="T112" fmla="*/ 31 w 182"/>
                  <a:gd name="T113" fmla="*/ 98 h 145"/>
                  <a:gd name="T114" fmla="*/ 14 w 182"/>
                  <a:gd name="T115" fmla="*/ 10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29" name="Montenegro">
                <a:extLst>
                  <a:ext uri="{FF2B5EF4-FFF2-40B4-BE49-F238E27FC236}">
                    <a16:creationId xmlns:a16="http://schemas.microsoft.com/office/drawing/2014/main" id="{813DA8C5-B186-46D8-BA94-9BD2B574BBE4}"/>
                  </a:ext>
                </a:extLst>
              </p:cNvPr>
              <p:cNvSpPr>
                <a:spLocks/>
              </p:cNvSpPr>
              <p:nvPr/>
            </p:nvSpPr>
            <p:spPr bwMode="gray">
              <a:xfrm>
                <a:off x="6079830" y="2772886"/>
                <a:ext cx="44458" cy="50776"/>
              </a:xfrm>
              <a:custGeom>
                <a:avLst/>
                <a:gdLst>
                  <a:gd name="T0" fmla="*/ 79 w 80"/>
                  <a:gd name="T1" fmla="*/ 27 h 90"/>
                  <a:gd name="T2" fmla="*/ 73 w 80"/>
                  <a:gd name="T3" fmla="*/ 31 h 90"/>
                  <a:gd name="T4" fmla="*/ 65 w 80"/>
                  <a:gd name="T5" fmla="*/ 17 h 90"/>
                  <a:gd name="T6" fmla="*/ 56 w 80"/>
                  <a:gd name="T7" fmla="*/ 10 h 90"/>
                  <a:gd name="T8" fmla="*/ 46 w 80"/>
                  <a:gd name="T9" fmla="*/ 0 h 90"/>
                  <a:gd name="T10" fmla="*/ 29 w 80"/>
                  <a:gd name="T11" fmla="*/ 0 h 90"/>
                  <a:gd name="T12" fmla="*/ 29 w 80"/>
                  <a:gd name="T13" fmla="*/ 15 h 90"/>
                  <a:gd name="T14" fmla="*/ 18 w 80"/>
                  <a:gd name="T15" fmla="*/ 14 h 90"/>
                  <a:gd name="T16" fmla="*/ 9 w 80"/>
                  <a:gd name="T17" fmla="*/ 29 h 90"/>
                  <a:gd name="T18" fmla="*/ 4 w 80"/>
                  <a:gd name="T19" fmla="*/ 29 h 90"/>
                  <a:gd name="T20" fmla="*/ 3 w 80"/>
                  <a:gd name="T21" fmla="*/ 39 h 90"/>
                  <a:gd name="T22" fmla="*/ 17 w 80"/>
                  <a:gd name="T23" fmla="*/ 48 h 90"/>
                  <a:gd name="T24" fmla="*/ 4 w 80"/>
                  <a:gd name="T25" fmla="*/ 64 h 90"/>
                  <a:gd name="T26" fmla="*/ 6 w 80"/>
                  <a:gd name="T27" fmla="*/ 65 h 90"/>
                  <a:gd name="T28" fmla="*/ 24 w 80"/>
                  <a:gd name="T29" fmla="*/ 62 h 90"/>
                  <a:gd name="T30" fmla="*/ 24 w 80"/>
                  <a:gd name="T31" fmla="*/ 74 h 90"/>
                  <a:gd name="T32" fmla="*/ 41 w 80"/>
                  <a:gd name="T33" fmla="*/ 90 h 90"/>
                  <a:gd name="T34" fmla="*/ 48 w 80"/>
                  <a:gd name="T35" fmla="*/ 81 h 90"/>
                  <a:gd name="T36" fmla="*/ 46 w 80"/>
                  <a:gd name="T37" fmla="*/ 71 h 90"/>
                  <a:gd name="T38" fmla="*/ 40 w 80"/>
                  <a:gd name="T39" fmla="*/ 74 h 90"/>
                  <a:gd name="T40" fmla="*/ 31 w 80"/>
                  <a:gd name="T41" fmla="*/ 68 h 90"/>
                  <a:gd name="T42" fmla="*/ 46 w 80"/>
                  <a:gd name="T43" fmla="*/ 68 h 90"/>
                  <a:gd name="T44" fmla="*/ 52 w 80"/>
                  <a:gd name="T45" fmla="*/ 63 h 90"/>
                  <a:gd name="T46" fmla="*/ 54 w 80"/>
                  <a:gd name="T47" fmla="*/ 49 h 90"/>
                  <a:gd name="T48" fmla="*/ 72 w 80"/>
                  <a:gd name="T49" fmla="*/ 59 h 90"/>
                  <a:gd name="T50" fmla="*/ 78 w 80"/>
                  <a:gd name="T51" fmla="*/ 53 h 90"/>
                  <a:gd name="T52" fmla="*/ 80 w 80"/>
                  <a:gd name="T53" fmla="*/ 56 h 90"/>
                  <a:gd name="T54" fmla="*/ 79 w 80"/>
                  <a:gd name="T55" fmla="*/ 2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30" name="Moldova">
                <a:extLst>
                  <a:ext uri="{FF2B5EF4-FFF2-40B4-BE49-F238E27FC236}">
                    <a16:creationId xmlns:a16="http://schemas.microsoft.com/office/drawing/2014/main" id="{52A6EBB2-97ED-4128-8882-34BB775F0610}"/>
                  </a:ext>
                </a:extLst>
              </p:cNvPr>
              <p:cNvSpPr>
                <a:spLocks/>
              </p:cNvSpPr>
              <p:nvPr/>
            </p:nvSpPr>
            <p:spPr bwMode="gray">
              <a:xfrm>
                <a:off x="6270361" y="2630078"/>
                <a:ext cx="79389" cy="88859"/>
              </a:xfrm>
              <a:custGeom>
                <a:avLst/>
                <a:gdLst>
                  <a:gd name="T0" fmla="*/ 0 w 143"/>
                  <a:gd name="T1" fmla="*/ 11 h 158"/>
                  <a:gd name="T2" fmla="*/ 24 w 143"/>
                  <a:gd name="T3" fmla="*/ 30 h 158"/>
                  <a:gd name="T4" fmla="*/ 23 w 143"/>
                  <a:gd name="T5" fmla="*/ 40 h 158"/>
                  <a:gd name="T6" fmla="*/ 38 w 143"/>
                  <a:gd name="T7" fmla="*/ 49 h 158"/>
                  <a:gd name="T8" fmla="*/ 44 w 143"/>
                  <a:gd name="T9" fmla="*/ 63 h 158"/>
                  <a:gd name="T10" fmla="*/ 52 w 143"/>
                  <a:gd name="T11" fmla="*/ 64 h 158"/>
                  <a:gd name="T12" fmla="*/ 54 w 143"/>
                  <a:gd name="T13" fmla="*/ 74 h 158"/>
                  <a:gd name="T14" fmla="*/ 71 w 143"/>
                  <a:gd name="T15" fmla="*/ 84 h 158"/>
                  <a:gd name="T16" fmla="*/ 69 w 143"/>
                  <a:gd name="T17" fmla="*/ 106 h 158"/>
                  <a:gd name="T18" fmla="*/ 74 w 143"/>
                  <a:gd name="T19" fmla="*/ 109 h 158"/>
                  <a:gd name="T20" fmla="*/ 67 w 143"/>
                  <a:gd name="T21" fmla="*/ 129 h 158"/>
                  <a:gd name="T22" fmla="*/ 73 w 143"/>
                  <a:gd name="T23" fmla="*/ 143 h 158"/>
                  <a:gd name="T24" fmla="*/ 75 w 143"/>
                  <a:gd name="T25" fmla="*/ 158 h 158"/>
                  <a:gd name="T26" fmla="*/ 92 w 143"/>
                  <a:gd name="T27" fmla="*/ 155 h 158"/>
                  <a:gd name="T28" fmla="*/ 88 w 143"/>
                  <a:gd name="T29" fmla="*/ 141 h 158"/>
                  <a:gd name="T30" fmla="*/ 104 w 143"/>
                  <a:gd name="T31" fmla="*/ 129 h 158"/>
                  <a:gd name="T32" fmla="*/ 113 w 143"/>
                  <a:gd name="T33" fmla="*/ 120 h 158"/>
                  <a:gd name="T34" fmla="*/ 97 w 143"/>
                  <a:gd name="T35" fmla="*/ 106 h 158"/>
                  <a:gd name="T36" fmla="*/ 113 w 143"/>
                  <a:gd name="T37" fmla="*/ 102 h 158"/>
                  <a:gd name="T38" fmla="*/ 126 w 143"/>
                  <a:gd name="T39" fmla="*/ 109 h 158"/>
                  <a:gd name="T40" fmla="*/ 143 w 143"/>
                  <a:gd name="T41" fmla="*/ 104 h 158"/>
                  <a:gd name="T42" fmla="*/ 141 w 143"/>
                  <a:gd name="T43" fmla="*/ 83 h 158"/>
                  <a:gd name="T44" fmla="*/ 120 w 143"/>
                  <a:gd name="T45" fmla="*/ 77 h 158"/>
                  <a:gd name="T46" fmla="*/ 122 w 143"/>
                  <a:gd name="T47" fmla="*/ 61 h 158"/>
                  <a:gd name="T48" fmla="*/ 117 w 143"/>
                  <a:gd name="T49" fmla="*/ 56 h 158"/>
                  <a:gd name="T50" fmla="*/ 105 w 143"/>
                  <a:gd name="T51" fmla="*/ 58 h 158"/>
                  <a:gd name="T52" fmla="*/ 105 w 143"/>
                  <a:gd name="T53" fmla="*/ 43 h 158"/>
                  <a:gd name="T54" fmla="*/ 103 w 143"/>
                  <a:gd name="T55" fmla="*/ 26 h 158"/>
                  <a:gd name="T56" fmla="*/ 83 w 143"/>
                  <a:gd name="T57" fmla="*/ 24 h 158"/>
                  <a:gd name="T58" fmla="*/ 78 w 143"/>
                  <a:gd name="T59" fmla="*/ 13 h 158"/>
                  <a:gd name="T60" fmla="*/ 57 w 143"/>
                  <a:gd name="T61" fmla="*/ 12 h 158"/>
                  <a:gd name="T62" fmla="*/ 52 w 143"/>
                  <a:gd name="T63" fmla="*/ 7 h 158"/>
                  <a:gd name="T64" fmla="*/ 48 w 143"/>
                  <a:gd name="T65" fmla="*/ 9 h 158"/>
                  <a:gd name="T66" fmla="*/ 33 w 143"/>
                  <a:gd name="T67" fmla="*/ 1 h 158"/>
                  <a:gd name="T68" fmla="*/ 18 w 143"/>
                  <a:gd name="T69" fmla="*/ 8 h 158"/>
                  <a:gd name="T70" fmla="*/ 2 w 143"/>
                  <a:gd name="T71" fmla="*/ 3 h 158"/>
                  <a:gd name="T72" fmla="*/ 0 w 143"/>
                  <a:gd name="T73" fmla="*/ 11 h 158"/>
                  <a:gd name="T74" fmla="*/ 0 w 143"/>
                  <a:gd name="T75" fmla="*/ 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31" name="Malta">
                <a:extLst>
                  <a:ext uri="{FF2B5EF4-FFF2-40B4-BE49-F238E27FC236}">
                    <a16:creationId xmlns:a16="http://schemas.microsoft.com/office/drawing/2014/main" id="{3F3B653F-979B-4A20-9A12-8F79F146EFFB}"/>
                  </a:ext>
                </a:extLst>
              </p:cNvPr>
              <p:cNvSpPr>
                <a:spLocks/>
              </p:cNvSpPr>
              <p:nvPr/>
            </p:nvSpPr>
            <p:spPr bwMode="gray">
              <a:xfrm>
                <a:off x="5978210" y="2987100"/>
                <a:ext cx="19053" cy="19041"/>
              </a:xfrm>
              <a:custGeom>
                <a:avLst/>
                <a:gdLst>
                  <a:gd name="T0" fmla="*/ 23 w 34"/>
                  <a:gd name="T1" fmla="*/ 33 h 33"/>
                  <a:gd name="T2" fmla="*/ 8 w 34"/>
                  <a:gd name="T3" fmla="*/ 14 h 33"/>
                  <a:gd name="T4" fmla="*/ 23 w 34"/>
                  <a:gd name="T5" fmla="*/ 33 h 33"/>
                </a:gdLst>
                <a:ahLst/>
                <a:cxnLst>
                  <a:cxn ang="0">
                    <a:pos x="T0" y="T1"/>
                  </a:cxn>
                  <a:cxn ang="0">
                    <a:pos x="T2" y="T3"/>
                  </a:cxn>
                  <a:cxn ang="0">
                    <a:pos x="T4" y="T5"/>
                  </a:cxn>
                </a:cxnLst>
                <a:rect l="0" t="0" r="r" b="b"/>
                <a:pathLst>
                  <a:path w="34" h="33">
                    <a:moveTo>
                      <a:pt x="23" y="33"/>
                    </a:moveTo>
                    <a:cubicBezTo>
                      <a:pt x="34" y="20"/>
                      <a:pt x="16" y="0"/>
                      <a:pt x="8" y="14"/>
                    </a:cubicBezTo>
                    <a:cubicBezTo>
                      <a:pt x="0" y="28"/>
                      <a:pt x="23" y="33"/>
                      <a:pt x="23" y="33"/>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32" name="Macedonia">
                <a:extLst>
                  <a:ext uri="{FF2B5EF4-FFF2-40B4-BE49-F238E27FC236}">
                    <a16:creationId xmlns:a16="http://schemas.microsoft.com/office/drawing/2014/main" id="{2A13EBEB-1CF3-4686-B8CD-5F1B4466ECC5}"/>
                  </a:ext>
                </a:extLst>
              </p:cNvPr>
              <p:cNvSpPr>
                <a:spLocks/>
              </p:cNvSpPr>
              <p:nvPr/>
            </p:nvSpPr>
            <p:spPr bwMode="gray">
              <a:xfrm>
                <a:off x="6133812" y="2809383"/>
                <a:ext cx="61923" cy="49190"/>
              </a:xfrm>
              <a:custGeom>
                <a:avLst/>
                <a:gdLst>
                  <a:gd name="T0" fmla="*/ 100 w 111"/>
                  <a:gd name="T1" fmla="*/ 26 h 87"/>
                  <a:gd name="T2" fmla="*/ 88 w 111"/>
                  <a:gd name="T3" fmla="*/ 17 h 87"/>
                  <a:gd name="T4" fmla="*/ 88 w 111"/>
                  <a:gd name="T5" fmla="*/ 9 h 87"/>
                  <a:gd name="T6" fmla="*/ 83 w 111"/>
                  <a:gd name="T7" fmla="*/ 9 h 87"/>
                  <a:gd name="T8" fmla="*/ 77 w 111"/>
                  <a:gd name="T9" fmla="*/ 0 h 87"/>
                  <a:gd name="T10" fmla="*/ 76 w 111"/>
                  <a:gd name="T11" fmla="*/ 0 h 87"/>
                  <a:gd name="T12" fmla="*/ 50 w 111"/>
                  <a:gd name="T13" fmla="*/ 2 h 87"/>
                  <a:gd name="T14" fmla="*/ 46 w 111"/>
                  <a:gd name="T15" fmla="*/ 6 h 87"/>
                  <a:gd name="T16" fmla="*/ 33 w 111"/>
                  <a:gd name="T17" fmla="*/ 6 h 87"/>
                  <a:gd name="T18" fmla="*/ 30 w 111"/>
                  <a:gd name="T19" fmla="*/ 14 h 87"/>
                  <a:gd name="T20" fmla="*/ 18 w 111"/>
                  <a:gd name="T21" fmla="*/ 14 h 87"/>
                  <a:gd name="T22" fmla="*/ 13 w 111"/>
                  <a:gd name="T23" fmla="*/ 22 h 87"/>
                  <a:gd name="T24" fmla="*/ 2 w 111"/>
                  <a:gd name="T25" fmla="*/ 26 h 87"/>
                  <a:gd name="T26" fmla="*/ 0 w 111"/>
                  <a:gd name="T27" fmla="*/ 41 h 87"/>
                  <a:gd name="T28" fmla="*/ 5 w 111"/>
                  <a:gd name="T29" fmla="*/ 52 h 87"/>
                  <a:gd name="T30" fmla="*/ 3 w 111"/>
                  <a:gd name="T31" fmla="*/ 64 h 87"/>
                  <a:gd name="T32" fmla="*/ 11 w 111"/>
                  <a:gd name="T33" fmla="*/ 70 h 87"/>
                  <a:gd name="T34" fmla="*/ 11 w 111"/>
                  <a:gd name="T35" fmla="*/ 84 h 87"/>
                  <a:gd name="T36" fmla="*/ 29 w 111"/>
                  <a:gd name="T37" fmla="*/ 77 h 87"/>
                  <a:gd name="T38" fmla="*/ 31 w 111"/>
                  <a:gd name="T39" fmla="*/ 84 h 87"/>
                  <a:gd name="T40" fmla="*/ 36 w 111"/>
                  <a:gd name="T41" fmla="*/ 79 h 87"/>
                  <a:gd name="T42" fmla="*/ 60 w 111"/>
                  <a:gd name="T43" fmla="*/ 81 h 87"/>
                  <a:gd name="T44" fmla="*/ 63 w 111"/>
                  <a:gd name="T45" fmla="*/ 70 h 87"/>
                  <a:gd name="T46" fmla="*/ 90 w 111"/>
                  <a:gd name="T47" fmla="*/ 66 h 87"/>
                  <a:gd name="T48" fmla="*/ 108 w 111"/>
                  <a:gd name="T49" fmla="*/ 44 h 87"/>
                  <a:gd name="T50" fmla="*/ 100 w 111"/>
                  <a:gd name="T51" fmla="*/ 2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33" name="Luxembourg">
                <a:extLst>
                  <a:ext uri="{FF2B5EF4-FFF2-40B4-BE49-F238E27FC236}">
                    <a16:creationId xmlns:a16="http://schemas.microsoft.com/office/drawing/2014/main" id="{1AA08FCE-261E-4E30-BB43-CA60A9A4F0DB}"/>
                  </a:ext>
                </a:extLst>
              </p:cNvPr>
              <p:cNvSpPr>
                <a:spLocks/>
              </p:cNvSpPr>
              <p:nvPr/>
            </p:nvSpPr>
            <p:spPr bwMode="gray">
              <a:xfrm>
                <a:off x="5779738" y="2580888"/>
                <a:ext cx="19053" cy="17455"/>
              </a:xfrm>
              <a:custGeom>
                <a:avLst/>
                <a:gdLst>
                  <a:gd name="T0" fmla="*/ 13 w 36"/>
                  <a:gd name="T1" fmla="*/ 32 h 32"/>
                  <a:gd name="T2" fmla="*/ 19 w 36"/>
                  <a:gd name="T3" fmla="*/ 27 h 32"/>
                  <a:gd name="T4" fmla="*/ 30 w 36"/>
                  <a:gd name="T5" fmla="*/ 29 h 32"/>
                  <a:gd name="T6" fmla="*/ 35 w 36"/>
                  <a:gd name="T7" fmla="*/ 20 h 32"/>
                  <a:gd name="T8" fmla="*/ 20 w 36"/>
                  <a:gd name="T9" fmla="*/ 8 h 32"/>
                  <a:gd name="T10" fmla="*/ 20 w 36"/>
                  <a:gd name="T11" fmla="*/ 0 h 32"/>
                  <a:gd name="T12" fmla="*/ 12 w 36"/>
                  <a:gd name="T13" fmla="*/ 4 h 32"/>
                  <a:gd name="T14" fmla="*/ 2 w 36"/>
                  <a:gd name="T15" fmla="*/ 18 h 32"/>
                  <a:gd name="T16" fmla="*/ 1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34" name="Lithuania">
                <a:extLst>
                  <a:ext uri="{FF2B5EF4-FFF2-40B4-BE49-F238E27FC236}">
                    <a16:creationId xmlns:a16="http://schemas.microsoft.com/office/drawing/2014/main" id="{3E33CD3A-4251-42E6-9508-6F6ACD104225}"/>
                  </a:ext>
                </a:extLst>
              </p:cNvPr>
              <p:cNvSpPr>
                <a:spLocks/>
              </p:cNvSpPr>
              <p:nvPr/>
            </p:nvSpPr>
            <p:spPr bwMode="gray">
              <a:xfrm>
                <a:off x="6122697" y="2398411"/>
                <a:ext cx="128609" cy="72991"/>
              </a:xfrm>
              <a:custGeom>
                <a:avLst/>
                <a:gdLst>
                  <a:gd name="T0" fmla="*/ 222 w 230"/>
                  <a:gd name="T1" fmla="*/ 42 h 132"/>
                  <a:gd name="T2" fmla="*/ 210 w 230"/>
                  <a:gd name="T3" fmla="*/ 38 h 132"/>
                  <a:gd name="T4" fmla="*/ 195 w 230"/>
                  <a:gd name="T5" fmla="*/ 30 h 132"/>
                  <a:gd name="T6" fmla="*/ 184 w 230"/>
                  <a:gd name="T7" fmla="*/ 20 h 132"/>
                  <a:gd name="T8" fmla="*/ 157 w 230"/>
                  <a:gd name="T9" fmla="*/ 17 h 132"/>
                  <a:gd name="T10" fmla="*/ 145 w 230"/>
                  <a:gd name="T11" fmla="*/ 4 h 132"/>
                  <a:gd name="T12" fmla="*/ 128 w 230"/>
                  <a:gd name="T13" fmla="*/ 12 h 132"/>
                  <a:gd name="T14" fmla="*/ 113 w 230"/>
                  <a:gd name="T15" fmla="*/ 8 h 132"/>
                  <a:gd name="T16" fmla="*/ 104 w 230"/>
                  <a:gd name="T17" fmla="*/ 13 h 132"/>
                  <a:gd name="T18" fmla="*/ 81 w 230"/>
                  <a:gd name="T19" fmla="*/ 7 h 132"/>
                  <a:gd name="T20" fmla="*/ 73 w 230"/>
                  <a:gd name="T21" fmla="*/ 9 h 132"/>
                  <a:gd name="T22" fmla="*/ 60 w 230"/>
                  <a:gd name="T23" fmla="*/ 2 h 132"/>
                  <a:gd name="T24" fmla="*/ 46 w 230"/>
                  <a:gd name="T25" fmla="*/ 5 h 132"/>
                  <a:gd name="T26" fmla="*/ 13 w 230"/>
                  <a:gd name="T27" fmla="*/ 11 h 132"/>
                  <a:gd name="T28" fmla="*/ 0 w 230"/>
                  <a:gd name="T29" fmla="*/ 16 h 132"/>
                  <a:gd name="T30" fmla="*/ 1 w 230"/>
                  <a:gd name="T31" fmla="*/ 23 h 132"/>
                  <a:gd name="T32" fmla="*/ 11 w 230"/>
                  <a:gd name="T33" fmla="*/ 60 h 132"/>
                  <a:gd name="T34" fmla="*/ 14 w 230"/>
                  <a:gd name="T35" fmla="*/ 64 h 132"/>
                  <a:gd name="T36" fmla="*/ 19 w 230"/>
                  <a:gd name="T37" fmla="*/ 64 h 132"/>
                  <a:gd name="T38" fmla="*/ 22 w 230"/>
                  <a:gd name="T39" fmla="*/ 70 h 132"/>
                  <a:gd name="T40" fmla="*/ 30 w 230"/>
                  <a:gd name="T41" fmla="*/ 69 h 132"/>
                  <a:gd name="T42" fmla="*/ 32 w 230"/>
                  <a:gd name="T43" fmla="*/ 75 h 132"/>
                  <a:gd name="T44" fmla="*/ 64 w 230"/>
                  <a:gd name="T45" fmla="*/ 71 h 132"/>
                  <a:gd name="T46" fmla="*/ 74 w 230"/>
                  <a:gd name="T47" fmla="*/ 86 h 132"/>
                  <a:gd name="T48" fmla="*/ 65 w 230"/>
                  <a:gd name="T49" fmla="*/ 98 h 132"/>
                  <a:gd name="T50" fmla="*/ 70 w 230"/>
                  <a:gd name="T51" fmla="*/ 108 h 132"/>
                  <a:gd name="T52" fmla="*/ 74 w 230"/>
                  <a:gd name="T53" fmla="*/ 108 h 132"/>
                  <a:gd name="T54" fmla="*/ 103 w 230"/>
                  <a:gd name="T55" fmla="*/ 119 h 132"/>
                  <a:gd name="T56" fmla="*/ 103 w 230"/>
                  <a:gd name="T57" fmla="*/ 132 h 132"/>
                  <a:gd name="T58" fmla="*/ 127 w 230"/>
                  <a:gd name="T59" fmla="*/ 127 h 132"/>
                  <a:gd name="T60" fmla="*/ 137 w 230"/>
                  <a:gd name="T61" fmla="*/ 132 h 132"/>
                  <a:gd name="T62" fmla="*/ 155 w 230"/>
                  <a:gd name="T63" fmla="*/ 132 h 132"/>
                  <a:gd name="T64" fmla="*/ 157 w 230"/>
                  <a:gd name="T65" fmla="*/ 122 h 132"/>
                  <a:gd name="T66" fmla="*/ 165 w 230"/>
                  <a:gd name="T67" fmla="*/ 130 h 132"/>
                  <a:gd name="T68" fmla="*/ 169 w 230"/>
                  <a:gd name="T69" fmla="*/ 122 h 132"/>
                  <a:gd name="T70" fmla="*/ 187 w 230"/>
                  <a:gd name="T71" fmla="*/ 115 h 132"/>
                  <a:gd name="T72" fmla="*/ 193 w 230"/>
                  <a:gd name="T73" fmla="*/ 123 h 132"/>
                  <a:gd name="T74" fmla="*/ 188 w 230"/>
                  <a:gd name="T75" fmla="*/ 103 h 132"/>
                  <a:gd name="T76" fmla="*/ 195 w 230"/>
                  <a:gd name="T77" fmla="*/ 96 h 132"/>
                  <a:gd name="T78" fmla="*/ 193 w 230"/>
                  <a:gd name="T79" fmla="*/ 81 h 132"/>
                  <a:gd name="T80" fmla="*/ 208 w 230"/>
                  <a:gd name="T81" fmla="*/ 79 h 132"/>
                  <a:gd name="T82" fmla="*/ 204 w 230"/>
                  <a:gd name="T83" fmla="*/ 66 h 132"/>
                  <a:gd name="T84" fmla="*/ 217 w 230"/>
                  <a:gd name="T85" fmla="*/ 71 h 132"/>
                  <a:gd name="T86" fmla="*/ 230 w 230"/>
                  <a:gd name="T87" fmla="*/ 65 h 132"/>
                  <a:gd name="T88" fmla="*/ 216 w 230"/>
                  <a:gd name="T89" fmla="*/ 50 h 132"/>
                  <a:gd name="T90" fmla="*/ 222 w 230"/>
                  <a:gd name="T91" fmla="*/ 4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35" name="Liechtenstein">
                <a:extLst>
                  <a:ext uri="{FF2B5EF4-FFF2-40B4-BE49-F238E27FC236}">
                    <a16:creationId xmlns:a16="http://schemas.microsoft.com/office/drawing/2014/main" id="{A298DC50-0E33-4CE7-A217-123ECA501F94}"/>
                  </a:ext>
                </a:extLst>
              </p:cNvPr>
              <p:cNvSpPr>
                <a:spLocks/>
              </p:cNvSpPr>
              <p:nvPr/>
            </p:nvSpPr>
            <p:spPr bwMode="gray">
              <a:xfrm>
                <a:off x="5862302" y="2663401"/>
                <a:ext cx="7938" cy="9521"/>
              </a:xfrm>
              <a:custGeom>
                <a:avLst/>
                <a:gdLst>
                  <a:gd name="T0" fmla="*/ 11 w 15"/>
                  <a:gd name="T1" fmla="*/ 1 h 16"/>
                  <a:gd name="T2" fmla="*/ 4 w 15"/>
                  <a:gd name="T3" fmla="*/ 14 h 16"/>
                  <a:gd name="T4" fmla="*/ 12 w 15"/>
                  <a:gd name="T5" fmla="*/ 16 h 16"/>
                  <a:gd name="T6" fmla="*/ 15 w 15"/>
                  <a:gd name="T7" fmla="*/ 16 h 16"/>
                  <a:gd name="T8" fmla="*/ 15 w 15"/>
                  <a:gd name="T9" fmla="*/ 6 h 16"/>
                  <a:gd name="T10" fmla="*/ 13 w 15"/>
                  <a:gd name="T11" fmla="*/ 0 h 16"/>
                  <a:gd name="T12" fmla="*/ 11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36" name="Latvia">
                <a:extLst>
                  <a:ext uri="{FF2B5EF4-FFF2-40B4-BE49-F238E27FC236}">
                    <a16:creationId xmlns:a16="http://schemas.microsoft.com/office/drawing/2014/main" id="{3CE2C85D-4398-4BF8-8985-2631840BBF72}"/>
                  </a:ext>
                </a:extLst>
              </p:cNvPr>
              <p:cNvSpPr>
                <a:spLocks/>
              </p:cNvSpPr>
              <p:nvPr/>
            </p:nvSpPr>
            <p:spPr bwMode="gray">
              <a:xfrm>
                <a:off x="6119522" y="2352394"/>
                <a:ext cx="160365" cy="69818"/>
              </a:xfrm>
              <a:custGeom>
                <a:avLst/>
                <a:gdLst>
                  <a:gd name="T0" fmla="*/ 5 w 286"/>
                  <a:gd name="T1" fmla="*/ 97 h 123"/>
                  <a:gd name="T2" fmla="*/ 18 w 286"/>
                  <a:gd name="T3" fmla="*/ 92 h 123"/>
                  <a:gd name="T4" fmla="*/ 51 w 286"/>
                  <a:gd name="T5" fmla="*/ 86 h 123"/>
                  <a:gd name="T6" fmla="*/ 65 w 286"/>
                  <a:gd name="T7" fmla="*/ 83 h 123"/>
                  <a:gd name="T8" fmla="*/ 78 w 286"/>
                  <a:gd name="T9" fmla="*/ 90 h 123"/>
                  <a:gd name="T10" fmla="*/ 86 w 286"/>
                  <a:gd name="T11" fmla="*/ 88 h 123"/>
                  <a:gd name="T12" fmla="*/ 109 w 286"/>
                  <a:gd name="T13" fmla="*/ 94 h 123"/>
                  <a:gd name="T14" fmla="*/ 118 w 286"/>
                  <a:gd name="T15" fmla="*/ 89 h 123"/>
                  <a:gd name="T16" fmla="*/ 133 w 286"/>
                  <a:gd name="T17" fmla="*/ 93 h 123"/>
                  <a:gd name="T18" fmla="*/ 150 w 286"/>
                  <a:gd name="T19" fmla="*/ 85 h 123"/>
                  <a:gd name="T20" fmla="*/ 162 w 286"/>
                  <a:gd name="T21" fmla="*/ 98 h 123"/>
                  <a:gd name="T22" fmla="*/ 189 w 286"/>
                  <a:gd name="T23" fmla="*/ 101 h 123"/>
                  <a:gd name="T24" fmla="*/ 200 w 286"/>
                  <a:gd name="T25" fmla="*/ 111 h 123"/>
                  <a:gd name="T26" fmla="*/ 215 w 286"/>
                  <a:gd name="T27" fmla="*/ 119 h 123"/>
                  <a:gd name="T28" fmla="*/ 227 w 286"/>
                  <a:gd name="T29" fmla="*/ 123 h 123"/>
                  <a:gd name="T30" fmla="*/ 243 w 286"/>
                  <a:gd name="T31" fmla="*/ 113 h 123"/>
                  <a:gd name="T32" fmla="*/ 259 w 286"/>
                  <a:gd name="T33" fmla="*/ 119 h 123"/>
                  <a:gd name="T34" fmla="*/ 264 w 286"/>
                  <a:gd name="T35" fmla="*/ 113 h 123"/>
                  <a:gd name="T36" fmla="*/ 278 w 286"/>
                  <a:gd name="T37" fmla="*/ 100 h 123"/>
                  <a:gd name="T38" fmla="*/ 286 w 286"/>
                  <a:gd name="T39" fmla="*/ 101 h 123"/>
                  <a:gd name="T40" fmla="*/ 280 w 286"/>
                  <a:gd name="T41" fmla="*/ 82 h 123"/>
                  <a:gd name="T42" fmla="*/ 268 w 286"/>
                  <a:gd name="T43" fmla="*/ 65 h 123"/>
                  <a:gd name="T44" fmla="*/ 255 w 286"/>
                  <a:gd name="T45" fmla="*/ 61 h 123"/>
                  <a:gd name="T46" fmla="*/ 256 w 286"/>
                  <a:gd name="T47" fmla="*/ 52 h 123"/>
                  <a:gd name="T48" fmla="*/ 268 w 286"/>
                  <a:gd name="T49" fmla="*/ 45 h 123"/>
                  <a:gd name="T50" fmla="*/ 246 w 286"/>
                  <a:gd name="T51" fmla="*/ 30 h 123"/>
                  <a:gd name="T52" fmla="*/ 238 w 286"/>
                  <a:gd name="T53" fmla="*/ 31 h 123"/>
                  <a:gd name="T54" fmla="*/ 225 w 286"/>
                  <a:gd name="T55" fmla="*/ 26 h 123"/>
                  <a:gd name="T56" fmla="*/ 214 w 286"/>
                  <a:gd name="T57" fmla="*/ 32 h 123"/>
                  <a:gd name="T58" fmla="*/ 194 w 286"/>
                  <a:gd name="T59" fmla="*/ 20 h 123"/>
                  <a:gd name="T60" fmla="*/ 166 w 286"/>
                  <a:gd name="T61" fmla="*/ 3 h 123"/>
                  <a:gd name="T62" fmla="*/ 145 w 286"/>
                  <a:gd name="T63" fmla="*/ 4 h 123"/>
                  <a:gd name="T64" fmla="*/ 124 w 286"/>
                  <a:gd name="T65" fmla="*/ 10 h 123"/>
                  <a:gd name="T66" fmla="*/ 120 w 286"/>
                  <a:gd name="T67" fmla="*/ 10 h 123"/>
                  <a:gd name="T68" fmla="*/ 119 w 286"/>
                  <a:gd name="T69" fmla="*/ 12 h 123"/>
                  <a:gd name="T70" fmla="*/ 123 w 286"/>
                  <a:gd name="T71" fmla="*/ 55 h 123"/>
                  <a:gd name="T72" fmla="*/ 86 w 286"/>
                  <a:gd name="T73" fmla="*/ 52 h 123"/>
                  <a:gd name="T74" fmla="*/ 79 w 286"/>
                  <a:gd name="T75" fmla="*/ 37 h 123"/>
                  <a:gd name="T76" fmla="*/ 56 w 286"/>
                  <a:gd name="T77" fmla="*/ 18 h 123"/>
                  <a:gd name="T78" fmla="*/ 21 w 286"/>
                  <a:gd name="T79" fmla="*/ 30 h 123"/>
                  <a:gd name="T80" fmla="*/ 16 w 286"/>
                  <a:gd name="T81" fmla="*/ 46 h 123"/>
                  <a:gd name="T82" fmla="*/ 0 w 286"/>
                  <a:gd name="T83" fmla="*/ 69 h 123"/>
                  <a:gd name="T84" fmla="*/ 6 w 286"/>
                  <a:gd name="T85" fmla="*/ 104 h 123"/>
                  <a:gd name="T86" fmla="*/ 5 w 286"/>
                  <a:gd name="T87" fmla="*/ 9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37" name="Italy">
                <a:extLst>
                  <a:ext uri="{FF2B5EF4-FFF2-40B4-BE49-F238E27FC236}">
                    <a16:creationId xmlns:a16="http://schemas.microsoft.com/office/drawing/2014/main" id="{61589299-5EF1-4033-A79B-A578C79A6D1A}"/>
                  </a:ext>
                </a:extLst>
              </p:cNvPr>
              <p:cNvSpPr>
                <a:spLocks noEditPoints="1"/>
              </p:cNvSpPr>
              <p:nvPr/>
            </p:nvSpPr>
            <p:spPr bwMode="gray">
              <a:xfrm>
                <a:off x="5797204" y="2669747"/>
                <a:ext cx="293738" cy="309420"/>
              </a:xfrm>
              <a:custGeom>
                <a:avLst/>
                <a:gdLst>
                  <a:gd name="T0" fmla="*/ 341 w 523"/>
                  <a:gd name="T1" fmla="*/ 483 h 554"/>
                  <a:gd name="T2" fmla="*/ 278 w 523"/>
                  <a:gd name="T3" fmla="*/ 485 h 554"/>
                  <a:gd name="T4" fmla="*/ 281 w 523"/>
                  <a:gd name="T5" fmla="*/ 507 h 554"/>
                  <a:gd name="T6" fmla="*/ 330 w 523"/>
                  <a:gd name="T7" fmla="*/ 531 h 554"/>
                  <a:gd name="T8" fmla="*/ 372 w 523"/>
                  <a:gd name="T9" fmla="*/ 513 h 554"/>
                  <a:gd name="T10" fmla="*/ 378 w 523"/>
                  <a:gd name="T11" fmla="*/ 479 h 554"/>
                  <a:gd name="T12" fmla="*/ 68 w 523"/>
                  <a:gd name="T13" fmla="*/ 320 h 554"/>
                  <a:gd name="T14" fmla="*/ 75 w 523"/>
                  <a:gd name="T15" fmla="*/ 381 h 554"/>
                  <a:gd name="T16" fmla="*/ 78 w 523"/>
                  <a:gd name="T17" fmla="*/ 424 h 554"/>
                  <a:gd name="T18" fmla="*/ 103 w 523"/>
                  <a:gd name="T19" fmla="*/ 414 h 554"/>
                  <a:gd name="T20" fmla="*/ 133 w 523"/>
                  <a:gd name="T21" fmla="*/ 388 h 554"/>
                  <a:gd name="T22" fmla="*/ 140 w 523"/>
                  <a:gd name="T23" fmla="*/ 352 h 554"/>
                  <a:gd name="T24" fmla="*/ 481 w 523"/>
                  <a:gd name="T25" fmla="*/ 337 h 554"/>
                  <a:gd name="T26" fmla="*/ 414 w 523"/>
                  <a:gd name="T27" fmla="*/ 281 h 554"/>
                  <a:gd name="T28" fmla="*/ 311 w 523"/>
                  <a:gd name="T29" fmla="*/ 216 h 554"/>
                  <a:gd name="T30" fmla="*/ 249 w 523"/>
                  <a:gd name="T31" fmla="*/ 148 h 554"/>
                  <a:gd name="T32" fmla="*/ 244 w 523"/>
                  <a:gd name="T33" fmla="*/ 92 h 554"/>
                  <a:gd name="T34" fmla="*/ 294 w 523"/>
                  <a:gd name="T35" fmla="*/ 46 h 554"/>
                  <a:gd name="T36" fmla="*/ 265 w 523"/>
                  <a:gd name="T37" fmla="*/ 29 h 554"/>
                  <a:gd name="T38" fmla="*/ 243 w 523"/>
                  <a:gd name="T39" fmla="*/ 16 h 554"/>
                  <a:gd name="T40" fmla="*/ 195 w 523"/>
                  <a:gd name="T41" fmla="*/ 7 h 554"/>
                  <a:gd name="T42" fmla="*/ 165 w 523"/>
                  <a:gd name="T43" fmla="*/ 16 h 554"/>
                  <a:gd name="T44" fmla="*/ 154 w 523"/>
                  <a:gd name="T45" fmla="*/ 40 h 554"/>
                  <a:gd name="T46" fmla="*/ 124 w 523"/>
                  <a:gd name="T47" fmla="*/ 44 h 554"/>
                  <a:gd name="T48" fmla="*/ 107 w 523"/>
                  <a:gd name="T49" fmla="*/ 54 h 554"/>
                  <a:gd name="T50" fmla="*/ 85 w 523"/>
                  <a:gd name="T51" fmla="*/ 51 h 554"/>
                  <a:gd name="T52" fmla="*/ 60 w 523"/>
                  <a:gd name="T53" fmla="*/ 62 h 554"/>
                  <a:gd name="T54" fmla="*/ 19 w 523"/>
                  <a:gd name="T55" fmla="*/ 64 h 554"/>
                  <a:gd name="T56" fmla="*/ 28 w 523"/>
                  <a:gd name="T57" fmla="*/ 93 h 554"/>
                  <a:gd name="T58" fmla="*/ 6 w 523"/>
                  <a:gd name="T59" fmla="*/ 118 h 554"/>
                  <a:gd name="T60" fmla="*/ 12 w 523"/>
                  <a:gd name="T61" fmla="*/ 141 h 554"/>
                  <a:gd name="T62" fmla="*/ 45 w 523"/>
                  <a:gd name="T63" fmla="*/ 160 h 554"/>
                  <a:gd name="T64" fmla="*/ 58 w 523"/>
                  <a:gd name="T65" fmla="*/ 173 h 554"/>
                  <a:gd name="T66" fmla="*/ 160 w 523"/>
                  <a:gd name="T67" fmla="*/ 192 h 554"/>
                  <a:gd name="T68" fmla="*/ 193 w 523"/>
                  <a:gd name="T69" fmla="*/ 236 h 554"/>
                  <a:gd name="T70" fmla="*/ 259 w 523"/>
                  <a:gd name="T71" fmla="*/ 294 h 554"/>
                  <a:gd name="T72" fmla="*/ 325 w 523"/>
                  <a:gd name="T73" fmla="*/ 334 h 554"/>
                  <a:gd name="T74" fmla="*/ 397 w 523"/>
                  <a:gd name="T75" fmla="*/ 373 h 554"/>
                  <a:gd name="T76" fmla="*/ 418 w 523"/>
                  <a:gd name="T77" fmla="*/ 446 h 554"/>
                  <a:gd name="T78" fmla="*/ 395 w 523"/>
                  <a:gd name="T79" fmla="*/ 489 h 554"/>
                  <a:gd name="T80" fmla="*/ 435 w 523"/>
                  <a:gd name="T81" fmla="*/ 466 h 554"/>
                  <a:gd name="T82" fmla="*/ 452 w 523"/>
                  <a:gd name="T83" fmla="*/ 408 h 554"/>
                  <a:gd name="T84" fmla="*/ 468 w 523"/>
                  <a:gd name="T85" fmla="*/ 361 h 554"/>
                  <a:gd name="T86" fmla="*/ 515 w 523"/>
                  <a:gd name="T87" fmla="*/ 363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1" y="9"/>
                      <a:pt x="221"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4" y="44"/>
                      <a:pt x="124" y="44"/>
                      <a:pt x="124"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38" name="Ireland">
                <a:extLst>
                  <a:ext uri="{FF2B5EF4-FFF2-40B4-BE49-F238E27FC236}">
                    <a16:creationId xmlns:a16="http://schemas.microsoft.com/office/drawing/2014/main" id="{421073C4-9718-4D3A-8B3E-5A5D7AF52724}"/>
                  </a:ext>
                </a:extLst>
              </p:cNvPr>
              <p:cNvSpPr>
                <a:spLocks/>
              </p:cNvSpPr>
              <p:nvPr/>
            </p:nvSpPr>
            <p:spPr bwMode="gray">
              <a:xfrm>
                <a:off x="5414549" y="2431732"/>
                <a:ext cx="106380" cy="112661"/>
              </a:xfrm>
              <a:custGeom>
                <a:avLst/>
                <a:gdLst>
                  <a:gd name="T0" fmla="*/ 186 w 189"/>
                  <a:gd name="T1" fmla="*/ 104 h 202"/>
                  <a:gd name="T2" fmla="*/ 177 w 189"/>
                  <a:gd name="T3" fmla="*/ 87 h 202"/>
                  <a:gd name="T4" fmla="*/ 175 w 189"/>
                  <a:gd name="T5" fmla="*/ 73 h 202"/>
                  <a:gd name="T6" fmla="*/ 189 w 189"/>
                  <a:gd name="T7" fmla="*/ 66 h 202"/>
                  <a:gd name="T8" fmla="*/ 167 w 189"/>
                  <a:gd name="T9" fmla="*/ 61 h 202"/>
                  <a:gd name="T10" fmla="*/ 155 w 189"/>
                  <a:gd name="T11" fmla="*/ 45 h 202"/>
                  <a:gd name="T12" fmla="*/ 138 w 189"/>
                  <a:gd name="T13" fmla="*/ 61 h 202"/>
                  <a:gd name="T14" fmla="*/ 113 w 189"/>
                  <a:gd name="T15" fmla="*/ 51 h 202"/>
                  <a:gd name="T16" fmla="*/ 129 w 189"/>
                  <a:gd name="T17" fmla="*/ 38 h 202"/>
                  <a:gd name="T18" fmla="*/ 128 w 189"/>
                  <a:gd name="T19" fmla="*/ 28 h 202"/>
                  <a:gd name="T20" fmla="*/ 158 w 189"/>
                  <a:gd name="T21" fmla="*/ 14 h 202"/>
                  <a:gd name="T22" fmla="*/ 161 w 189"/>
                  <a:gd name="T23" fmla="*/ 7 h 202"/>
                  <a:gd name="T24" fmla="*/ 153 w 189"/>
                  <a:gd name="T25" fmla="*/ 2 h 202"/>
                  <a:gd name="T26" fmla="*/ 138 w 189"/>
                  <a:gd name="T27" fmla="*/ 14 h 202"/>
                  <a:gd name="T28" fmla="*/ 134 w 189"/>
                  <a:gd name="T29" fmla="*/ 4 h 202"/>
                  <a:gd name="T30" fmla="*/ 107 w 189"/>
                  <a:gd name="T31" fmla="*/ 9 h 202"/>
                  <a:gd name="T32" fmla="*/ 99 w 189"/>
                  <a:gd name="T33" fmla="*/ 30 h 202"/>
                  <a:gd name="T34" fmla="*/ 84 w 189"/>
                  <a:gd name="T35" fmla="*/ 35 h 202"/>
                  <a:gd name="T36" fmla="*/ 102 w 189"/>
                  <a:gd name="T37" fmla="*/ 44 h 202"/>
                  <a:gd name="T38" fmla="*/ 92 w 189"/>
                  <a:gd name="T39" fmla="*/ 50 h 202"/>
                  <a:gd name="T40" fmla="*/ 87 w 189"/>
                  <a:gd name="T41" fmla="*/ 57 h 202"/>
                  <a:gd name="T42" fmla="*/ 69 w 189"/>
                  <a:gd name="T43" fmla="*/ 56 h 202"/>
                  <a:gd name="T44" fmla="*/ 69 w 189"/>
                  <a:gd name="T45" fmla="*/ 61 h 202"/>
                  <a:gd name="T46" fmla="*/ 48 w 189"/>
                  <a:gd name="T47" fmla="*/ 51 h 202"/>
                  <a:gd name="T48" fmla="*/ 30 w 189"/>
                  <a:gd name="T49" fmla="*/ 54 h 202"/>
                  <a:gd name="T50" fmla="*/ 33 w 189"/>
                  <a:gd name="T51" fmla="*/ 71 h 202"/>
                  <a:gd name="T52" fmla="*/ 42 w 189"/>
                  <a:gd name="T53" fmla="*/ 79 h 202"/>
                  <a:gd name="T54" fmla="*/ 31 w 189"/>
                  <a:gd name="T55" fmla="*/ 86 h 202"/>
                  <a:gd name="T56" fmla="*/ 25 w 189"/>
                  <a:gd name="T57" fmla="*/ 98 h 202"/>
                  <a:gd name="T58" fmla="*/ 48 w 189"/>
                  <a:gd name="T59" fmla="*/ 107 h 202"/>
                  <a:gd name="T60" fmla="*/ 66 w 189"/>
                  <a:gd name="T61" fmla="*/ 107 h 202"/>
                  <a:gd name="T62" fmla="*/ 50 w 189"/>
                  <a:gd name="T63" fmla="*/ 116 h 202"/>
                  <a:gd name="T64" fmla="*/ 50 w 189"/>
                  <a:gd name="T65" fmla="*/ 130 h 202"/>
                  <a:gd name="T66" fmla="*/ 35 w 189"/>
                  <a:gd name="T67" fmla="*/ 134 h 202"/>
                  <a:gd name="T68" fmla="*/ 30 w 189"/>
                  <a:gd name="T69" fmla="*/ 156 h 202"/>
                  <a:gd name="T70" fmla="*/ 4 w 189"/>
                  <a:gd name="T71" fmla="*/ 161 h 202"/>
                  <a:gd name="T72" fmla="*/ 15 w 189"/>
                  <a:gd name="T73" fmla="*/ 167 h 202"/>
                  <a:gd name="T74" fmla="*/ 0 w 189"/>
                  <a:gd name="T75" fmla="*/ 176 h 202"/>
                  <a:gd name="T76" fmla="*/ 7 w 189"/>
                  <a:gd name="T77" fmla="*/ 183 h 202"/>
                  <a:gd name="T78" fmla="*/ 30 w 189"/>
                  <a:gd name="T79" fmla="*/ 180 h 202"/>
                  <a:gd name="T80" fmla="*/ 19 w 189"/>
                  <a:gd name="T81" fmla="*/ 192 h 202"/>
                  <a:gd name="T82" fmla="*/ 35 w 189"/>
                  <a:gd name="T83" fmla="*/ 190 h 202"/>
                  <a:gd name="T84" fmla="*/ 29 w 189"/>
                  <a:gd name="T85" fmla="*/ 202 h 202"/>
                  <a:gd name="T86" fmla="*/ 74 w 189"/>
                  <a:gd name="T87" fmla="*/ 191 h 202"/>
                  <a:gd name="T88" fmla="*/ 83 w 189"/>
                  <a:gd name="T89" fmla="*/ 178 h 202"/>
                  <a:gd name="T90" fmla="*/ 102 w 189"/>
                  <a:gd name="T91" fmla="*/ 178 h 202"/>
                  <a:gd name="T92" fmla="*/ 124 w 189"/>
                  <a:gd name="T93" fmla="*/ 166 h 202"/>
                  <a:gd name="T94" fmla="*/ 140 w 189"/>
                  <a:gd name="T95" fmla="*/ 165 h 202"/>
                  <a:gd name="T96" fmla="*/ 143 w 189"/>
                  <a:gd name="T97" fmla="*/ 159 h 202"/>
                  <a:gd name="T98" fmla="*/ 168 w 189"/>
                  <a:gd name="T99" fmla="*/ 160 h 202"/>
                  <a:gd name="T100" fmla="*/ 167 w 189"/>
                  <a:gd name="T101" fmla="*/ 148 h 202"/>
                  <a:gd name="T102" fmla="*/ 179 w 189"/>
                  <a:gd name="T103" fmla="*/ 146 h 202"/>
                  <a:gd name="T104" fmla="*/ 178 w 189"/>
                  <a:gd name="T105" fmla="*/ 133 h 202"/>
                  <a:gd name="T106" fmla="*/ 186 w 189"/>
                  <a:gd name="T107" fmla="*/ 10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202">
                    <a:moveTo>
                      <a:pt x="186" y="104"/>
                    </a:moveTo>
                    <a:cubicBezTo>
                      <a:pt x="186" y="94"/>
                      <a:pt x="177" y="87"/>
                      <a:pt x="177" y="87"/>
                    </a:cubicBezTo>
                    <a:cubicBezTo>
                      <a:pt x="177" y="87"/>
                      <a:pt x="177" y="78"/>
                      <a:pt x="175"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7" y="183"/>
                      <a:pt x="7"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39" name="Iceland">
                <a:extLst>
                  <a:ext uri="{FF2B5EF4-FFF2-40B4-BE49-F238E27FC236}">
                    <a16:creationId xmlns:a16="http://schemas.microsoft.com/office/drawing/2014/main" id="{20968978-FAD1-4676-A597-8D9D5B2DB76C}"/>
                  </a:ext>
                </a:extLst>
              </p:cNvPr>
              <p:cNvSpPr>
                <a:spLocks/>
              </p:cNvSpPr>
              <p:nvPr/>
            </p:nvSpPr>
            <p:spPr bwMode="gray">
              <a:xfrm>
                <a:off x="5189085" y="2125486"/>
                <a:ext cx="222289" cy="84099"/>
              </a:xfrm>
              <a:custGeom>
                <a:avLst/>
                <a:gdLst>
                  <a:gd name="T0" fmla="*/ 207 w 396"/>
                  <a:gd name="T1" fmla="*/ 144 h 152"/>
                  <a:gd name="T2" fmla="*/ 238 w 396"/>
                  <a:gd name="T3" fmla="*/ 136 h 152"/>
                  <a:gd name="T4" fmla="*/ 262 w 396"/>
                  <a:gd name="T5" fmla="*/ 130 h 152"/>
                  <a:gd name="T6" fmla="*/ 339 w 396"/>
                  <a:gd name="T7" fmla="*/ 105 h 152"/>
                  <a:gd name="T8" fmla="*/ 363 w 396"/>
                  <a:gd name="T9" fmla="*/ 83 h 152"/>
                  <a:gd name="T10" fmla="*/ 373 w 396"/>
                  <a:gd name="T11" fmla="*/ 68 h 152"/>
                  <a:gd name="T12" fmla="*/ 356 w 396"/>
                  <a:gd name="T13" fmla="*/ 50 h 152"/>
                  <a:gd name="T14" fmla="*/ 341 w 396"/>
                  <a:gd name="T15" fmla="*/ 41 h 152"/>
                  <a:gd name="T16" fmla="*/ 342 w 396"/>
                  <a:gd name="T17" fmla="*/ 24 h 152"/>
                  <a:gd name="T18" fmla="*/ 325 w 396"/>
                  <a:gd name="T19" fmla="*/ 17 h 152"/>
                  <a:gd name="T20" fmla="*/ 294 w 396"/>
                  <a:gd name="T21" fmla="*/ 16 h 152"/>
                  <a:gd name="T22" fmla="*/ 262 w 396"/>
                  <a:gd name="T23" fmla="*/ 19 h 152"/>
                  <a:gd name="T24" fmla="*/ 227 w 396"/>
                  <a:gd name="T25" fmla="*/ 19 h 152"/>
                  <a:gd name="T26" fmla="*/ 201 w 396"/>
                  <a:gd name="T27" fmla="*/ 16 h 152"/>
                  <a:gd name="T28" fmla="*/ 182 w 396"/>
                  <a:gd name="T29" fmla="*/ 26 h 152"/>
                  <a:gd name="T30" fmla="*/ 171 w 396"/>
                  <a:gd name="T31" fmla="*/ 39 h 152"/>
                  <a:gd name="T32" fmla="*/ 145 w 396"/>
                  <a:gd name="T33" fmla="*/ 50 h 152"/>
                  <a:gd name="T34" fmla="*/ 112 w 396"/>
                  <a:gd name="T35" fmla="*/ 63 h 152"/>
                  <a:gd name="T36" fmla="*/ 102 w 396"/>
                  <a:gd name="T37" fmla="*/ 40 h 152"/>
                  <a:gd name="T38" fmla="*/ 68 w 396"/>
                  <a:gd name="T39" fmla="*/ 7 h 152"/>
                  <a:gd name="T40" fmla="*/ 43 w 396"/>
                  <a:gd name="T41" fmla="*/ 19 h 152"/>
                  <a:gd name="T42" fmla="*/ 35 w 396"/>
                  <a:gd name="T43" fmla="*/ 37 h 152"/>
                  <a:gd name="T44" fmla="*/ 4 w 396"/>
                  <a:gd name="T45" fmla="*/ 47 h 152"/>
                  <a:gd name="T46" fmla="*/ 55 w 396"/>
                  <a:gd name="T47" fmla="*/ 43 h 152"/>
                  <a:gd name="T48" fmla="*/ 64 w 396"/>
                  <a:gd name="T49" fmla="*/ 61 h 152"/>
                  <a:gd name="T50" fmla="*/ 35 w 396"/>
                  <a:gd name="T51" fmla="*/ 73 h 152"/>
                  <a:gd name="T52" fmla="*/ 38 w 396"/>
                  <a:gd name="T53" fmla="*/ 82 h 152"/>
                  <a:gd name="T54" fmla="*/ 88 w 396"/>
                  <a:gd name="T55" fmla="*/ 91 h 152"/>
                  <a:gd name="T56" fmla="*/ 85 w 396"/>
                  <a:gd name="T57" fmla="*/ 105 h 152"/>
                  <a:gd name="T58" fmla="*/ 41 w 396"/>
                  <a:gd name="T59" fmla="*/ 125 h 152"/>
                  <a:gd name="T60" fmla="*/ 98 w 396"/>
                  <a:gd name="T61" fmla="*/ 123 h 152"/>
                  <a:gd name="T62" fmla="*/ 124 w 396"/>
                  <a:gd name="T63" fmla="*/ 127 h 152"/>
                  <a:gd name="T64" fmla="*/ 172 w 396"/>
                  <a:gd name="T65" fmla="*/ 1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40" name="Hungary">
                <a:extLst>
                  <a:ext uri="{FF2B5EF4-FFF2-40B4-BE49-F238E27FC236}">
                    <a16:creationId xmlns:a16="http://schemas.microsoft.com/office/drawing/2014/main" id="{134AA5F0-5777-48BB-A9C8-F088744DA8A6}"/>
                  </a:ext>
                </a:extLst>
              </p:cNvPr>
              <p:cNvSpPr>
                <a:spLocks/>
              </p:cNvSpPr>
              <p:nvPr/>
            </p:nvSpPr>
            <p:spPr bwMode="gray">
              <a:xfrm>
                <a:off x="6024255" y="2626905"/>
                <a:ext cx="160365" cy="82512"/>
              </a:xfrm>
              <a:custGeom>
                <a:avLst/>
                <a:gdLst>
                  <a:gd name="T0" fmla="*/ 31 w 286"/>
                  <a:gd name="T1" fmla="*/ 43 h 148"/>
                  <a:gd name="T2" fmla="*/ 16 w 286"/>
                  <a:gd name="T3" fmla="*/ 43 h 148"/>
                  <a:gd name="T4" fmla="*/ 15 w 286"/>
                  <a:gd name="T5" fmla="*/ 52 h 148"/>
                  <a:gd name="T6" fmla="*/ 23 w 286"/>
                  <a:gd name="T7" fmla="*/ 53 h 148"/>
                  <a:gd name="T8" fmla="*/ 15 w 286"/>
                  <a:gd name="T9" fmla="*/ 65 h 148"/>
                  <a:gd name="T10" fmla="*/ 15 w 286"/>
                  <a:gd name="T11" fmla="*/ 79 h 148"/>
                  <a:gd name="T12" fmla="*/ 2 w 286"/>
                  <a:gd name="T13" fmla="*/ 81 h 148"/>
                  <a:gd name="T14" fmla="*/ 0 w 286"/>
                  <a:gd name="T15" fmla="*/ 85 h 148"/>
                  <a:gd name="T16" fmla="*/ 7 w 286"/>
                  <a:gd name="T17" fmla="*/ 90 h 148"/>
                  <a:gd name="T18" fmla="*/ 10 w 286"/>
                  <a:gd name="T19" fmla="*/ 100 h 148"/>
                  <a:gd name="T20" fmla="*/ 20 w 286"/>
                  <a:gd name="T21" fmla="*/ 107 h 148"/>
                  <a:gd name="T22" fmla="*/ 34 w 286"/>
                  <a:gd name="T23" fmla="*/ 120 h 148"/>
                  <a:gd name="T24" fmla="*/ 54 w 286"/>
                  <a:gd name="T25" fmla="*/ 137 h 148"/>
                  <a:gd name="T26" fmla="*/ 63 w 286"/>
                  <a:gd name="T27" fmla="*/ 141 h 148"/>
                  <a:gd name="T28" fmla="*/ 75 w 286"/>
                  <a:gd name="T29" fmla="*/ 141 h 148"/>
                  <a:gd name="T30" fmla="*/ 78 w 286"/>
                  <a:gd name="T31" fmla="*/ 148 h 148"/>
                  <a:gd name="T32" fmla="*/ 106 w 286"/>
                  <a:gd name="T33" fmla="*/ 145 h 148"/>
                  <a:gd name="T34" fmla="*/ 112 w 286"/>
                  <a:gd name="T35" fmla="*/ 139 h 148"/>
                  <a:gd name="T36" fmla="*/ 115 w 286"/>
                  <a:gd name="T37" fmla="*/ 140 h 148"/>
                  <a:gd name="T38" fmla="*/ 118 w 286"/>
                  <a:gd name="T39" fmla="*/ 136 h 148"/>
                  <a:gd name="T40" fmla="*/ 133 w 286"/>
                  <a:gd name="T41" fmla="*/ 136 h 148"/>
                  <a:gd name="T42" fmla="*/ 145 w 286"/>
                  <a:gd name="T43" fmla="*/ 125 h 148"/>
                  <a:gd name="T44" fmla="*/ 163 w 286"/>
                  <a:gd name="T45" fmla="*/ 125 h 148"/>
                  <a:gd name="T46" fmla="*/ 176 w 286"/>
                  <a:gd name="T47" fmla="*/ 131 h 148"/>
                  <a:gd name="T48" fmla="*/ 192 w 286"/>
                  <a:gd name="T49" fmla="*/ 127 h 148"/>
                  <a:gd name="T50" fmla="*/ 194 w 286"/>
                  <a:gd name="T51" fmla="*/ 118 h 148"/>
                  <a:gd name="T52" fmla="*/ 205 w 286"/>
                  <a:gd name="T53" fmla="*/ 120 h 148"/>
                  <a:gd name="T54" fmla="*/ 221 w 286"/>
                  <a:gd name="T55" fmla="*/ 110 h 148"/>
                  <a:gd name="T56" fmla="*/ 222 w 286"/>
                  <a:gd name="T57" fmla="*/ 96 h 148"/>
                  <a:gd name="T58" fmla="*/ 238 w 286"/>
                  <a:gd name="T59" fmla="*/ 83 h 148"/>
                  <a:gd name="T60" fmla="*/ 245 w 286"/>
                  <a:gd name="T61" fmla="*/ 66 h 148"/>
                  <a:gd name="T62" fmla="*/ 246 w 286"/>
                  <a:gd name="T63" fmla="*/ 48 h 148"/>
                  <a:gd name="T64" fmla="*/ 266 w 286"/>
                  <a:gd name="T65" fmla="*/ 41 h 148"/>
                  <a:gd name="T66" fmla="*/ 286 w 286"/>
                  <a:gd name="T67" fmla="*/ 27 h 148"/>
                  <a:gd name="T68" fmla="*/ 264 w 286"/>
                  <a:gd name="T69" fmla="*/ 19 h 148"/>
                  <a:gd name="T70" fmla="*/ 248 w 286"/>
                  <a:gd name="T71" fmla="*/ 6 h 148"/>
                  <a:gd name="T72" fmla="*/ 219 w 286"/>
                  <a:gd name="T73" fmla="*/ 10 h 148"/>
                  <a:gd name="T74" fmla="*/ 213 w 286"/>
                  <a:gd name="T75" fmla="*/ 0 h 148"/>
                  <a:gd name="T76" fmla="*/ 208 w 286"/>
                  <a:gd name="T77" fmla="*/ 11 h 148"/>
                  <a:gd name="T78" fmla="*/ 199 w 286"/>
                  <a:gd name="T79" fmla="*/ 10 h 148"/>
                  <a:gd name="T80" fmla="*/ 196 w 286"/>
                  <a:gd name="T81" fmla="*/ 0 h 148"/>
                  <a:gd name="T82" fmla="*/ 180 w 286"/>
                  <a:gd name="T83" fmla="*/ 0 h 148"/>
                  <a:gd name="T84" fmla="*/ 169 w 286"/>
                  <a:gd name="T85" fmla="*/ 16 h 148"/>
                  <a:gd name="T86" fmla="*/ 143 w 286"/>
                  <a:gd name="T87" fmla="*/ 20 h 148"/>
                  <a:gd name="T88" fmla="*/ 136 w 286"/>
                  <a:gd name="T89" fmla="*/ 28 h 148"/>
                  <a:gd name="T90" fmla="*/ 112 w 286"/>
                  <a:gd name="T91" fmla="*/ 25 h 148"/>
                  <a:gd name="T92" fmla="*/ 106 w 286"/>
                  <a:gd name="T93" fmla="*/ 41 h 148"/>
                  <a:gd name="T94" fmla="*/ 65 w 286"/>
                  <a:gd name="T95" fmla="*/ 44 h 148"/>
                  <a:gd name="T96" fmla="*/ 45 w 286"/>
                  <a:gd name="T97" fmla="*/ 28 h 148"/>
                  <a:gd name="T98" fmla="*/ 38 w 286"/>
                  <a:gd name="T99" fmla="*/ 39 h 148"/>
                  <a:gd name="T100" fmla="*/ 32 w 286"/>
                  <a:gd name="T101" fmla="*/ 34 h 148"/>
                  <a:gd name="T102" fmla="*/ 31 w 286"/>
                  <a:gd name="T103" fmla="*/ 4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6" h="148">
                    <a:moveTo>
                      <a:pt x="31" y="43"/>
                    </a:moveTo>
                    <a:cubicBezTo>
                      <a:pt x="16" y="43"/>
                      <a:pt x="16" y="43"/>
                      <a:pt x="16" y="43"/>
                    </a:cubicBezTo>
                    <a:cubicBezTo>
                      <a:pt x="15" y="52"/>
                      <a:pt x="15" y="52"/>
                      <a:pt x="15" y="52"/>
                    </a:cubicBezTo>
                    <a:cubicBezTo>
                      <a:pt x="23" y="53"/>
                      <a:pt x="23" y="53"/>
                      <a:pt x="23"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41" name="Greenland">
                <a:extLst>
                  <a:ext uri="{FF2B5EF4-FFF2-40B4-BE49-F238E27FC236}">
                    <a16:creationId xmlns:a16="http://schemas.microsoft.com/office/drawing/2014/main" id="{46A02427-3823-4D2F-A354-7722A233FDC7}"/>
                  </a:ext>
                </a:extLst>
              </p:cNvPr>
              <p:cNvSpPr>
                <a:spLocks noEditPoints="1"/>
              </p:cNvSpPr>
              <p:nvPr/>
            </p:nvSpPr>
            <p:spPr bwMode="gray">
              <a:xfrm>
                <a:off x="4465059" y="1736728"/>
                <a:ext cx="1479807" cy="717218"/>
              </a:xfrm>
              <a:custGeom>
                <a:avLst/>
                <a:gdLst>
                  <a:gd name="T0" fmla="*/ 1565 w 2644"/>
                  <a:gd name="T1" fmla="*/ 52 h 1282"/>
                  <a:gd name="T2" fmla="*/ 1392 w 2644"/>
                  <a:gd name="T3" fmla="*/ 47 h 1282"/>
                  <a:gd name="T4" fmla="*/ 1490 w 2644"/>
                  <a:gd name="T5" fmla="*/ 10 h 1282"/>
                  <a:gd name="T6" fmla="*/ 1129 w 2644"/>
                  <a:gd name="T7" fmla="*/ 20 h 1282"/>
                  <a:gd name="T8" fmla="*/ 1006 w 2644"/>
                  <a:gd name="T9" fmla="*/ 38 h 1282"/>
                  <a:gd name="T10" fmla="*/ 728 w 2644"/>
                  <a:gd name="T11" fmla="*/ 51 h 1282"/>
                  <a:gd name="T12" fmla="*/ 452 w 2644"/>
                  <a:gd name="T13" fmla="*/ 80 h 1282"/>
                  <a:gd name="T14" fmla="*/ 236 w 2644"/>
                  <a:gd name="T15" fmla="*/ 157 h 1282"/>
                  <a:gd name="T16" fmla="*/ 83 w 2644"/>
                  <a:gd name="T17" fmla="*/ 219 h 1282"/>
                  <a:gd name="T18" fmla="*/ 96 w 2644"/>
                  <a:gd name="T19" fmla="*/ 231 h 1282"/>
                  <a:gd name="T20" fmla="*/ 106 w 2644"/>
                  <a:gd name="T21" fmla="*/ 266 h 1282"/>
                  <a:gd name="T22" fmla="*/ 313 w 2644"/>
                  <a:gd name="T23" fmla="*/ 274 h 1282"/>
                  <a:gd name="T24" fmla="*/ 399 w 2644"/>
                  <a:gd name="T25" fmla="*/ 369 h 1282"/>
                  <a:gd name="T26" fmla="*/ 370 w 2644"/>
                  <a:gd name="T27" fmla="*/ 445 h 1282"/>
                  <a:gd name="T28" fmla="*/ 438 w 2644"/>
                  <a:gd name="T29" fmla="*/ 447 h 1282"/>
                  <a:gd name="T30" fmla="*/ 432 w 2644"/>
                  <a:gd name="T31" fmla="*/ 517 h 1282"/>
                  <a:gd name="T32" fmla="*/ 456 w 2644"/>
                  <a:gd name="T33" fmla="*/ 542 h 1282"/>
                  <a:gd name="T34" fmla="*/ 421 w 2644"/>
                  <a:gd name="T35" fmla="*/ 578 h 1282"/>
                  <a:gd name="T36" fmla="*/ 408 w 2644"/>
                  <a:gd name="T37" fmla="*/ 639 h 1282"/>
                  <a:gd name="T38" fmla="*/ 354 w 2644"/>
                  <a:gd name="T39" fmla="*/ 640 h 1282"/>
                  <a:gd name="T40" fmla="*/ 276 w 2644"/>
                  <a:gd name="T41" fmla="*/ 668 h 1282"/>
                  <a:gd name="T42" fmla="*/ 273 w 2644"/>
                  <a:gd name="T43" fmla="*/ 727 h 1282"/>
                  <a:gd name="T44" fmla="*/ 270 w 2644"/>
                  <a:gd name="T45" fmla="*/ 802 h 1282"/>
                  <a:gd name="T46" fmla="*/ 328 w 2644"/>
                  <a:gd name="T47" fmla="*/ 798 h 1282"/>
                  <a:gd name="T48" fmla="*/ 286 w 2644"/>
                  <a:gd name="T49" fmla="*/ 851 h 1282"/>
                  <a:gd name="T50" fmla="*/ 322 w 2644"/>
                  <a:gd name="T51" fmla="*/ 925 h 1282"/>
                  <a:gd name="T52" fmla="*/ 398 w 2644"/>
                  <a:gd name="T53" fmla="*/ 969 h 1282"/>
                  <a:gd name="T54" fmla="*/ 443 w 2644"/>
                  <a:gd name="T55" fmla="*/ 1000 h 1282"/>
                  <a:gd name="T56" fmla="*/ 540 w 2644"/>
                  <a:gd name="T57" fmla="*/ 948 h 1282"/>
                  <a:gd name="T58" fmla="*/ 585 w 2644"/>
                  <a:gd name="T59" fmla="*/ 903 h 1282"/>
                  <a:gd name="T60" fmla="*/ 625 w 2644"/>
                  <a:gd name="T61" fmla="*/ 858 h 1282"/>
                  <a:gd name="T62" fmla="*/ 673 w 2644"/>
                  <a:gd name="T63" fmla="*/ 802 h 1282"/>
                  <a:gd name="T64" fmla="*/ 752 w 2644"/>
                  <a:gd name="T65" fmla="*/ 741 h 1282"/>
                  <a:gd name="T66" fmla="*/ 841 w 2644"/>
                  <a:gd name="T67" fmla="*/ 727 h 1282"/>
                  <a:gd name="T68" fmla="*/ 1053 w 2644"/>
                  <a:gd name="T69" fmla="*/ 599 h 1282"/>
                  <a:gd name="T70" fmla="*/ 1317 w 2644"/>
                  <a:gd name="T71" fmla="*/ 578 h 1282"/>
                  <a:gd name="T72" fmla="*/ 1303 w 2644"/>
                  <a:gd name="T73" fmla="*/ 524 h 1282"/>
                  <a:gd name="T74" fmla="*/ 1217 w 2644"/>
                  <a:gd name="T75" fmla="*/ 512 h 1282"/>
                  <a:gd name="T76" fmla="*/ 1271 w 2644"/>
                  <a:gd name="T77" fmla="*/ 465 h 1282"/>
                  <a:gd name="T78" fmla="*/ 1427 w 2644"/>
                  <a:gd name="T79" fmla="*/ 502 h 1282"/>
                  <a:gd name="T80" fmla="*/ 1425 w 2644"/>
                  <a:gd name="T81" fmla="*/ 459 h 1282"/>
                  <a:gd name="T82" fmla="*/ 1303 w 2644"/>
                  <a:gd name="T83" fmla="*/ 412 h 1282"/>
                  <a:gd name="T84" fmla="*/ 1471 w 2644"/>
                  <a:gd name="T85" fmla="*/ 404 h 1282"/>
                  <a:gd name="T86" fmla="*/ 1535 w 2644"/>
                  <a:gd name="T87" fmla="*/ 368 h 1282"/>
                  <a:gd name="T88" fmla="*/ 1546 w 2644"/>
                  <a:gd name="T89" fmla="*/ 334 h 1282"/>
                  <a:gd name="T90" fmla="*/ 1594 w 2644"/>
                  <a:gd name="T91" fmla="*/ 289 h 1282"/>
                  <a:gd name="T92" fmla="*/ 1590 w 2644"/>
                  <a:gd name="T93" fmla="*/ 221 h 1282"/>
                  <a:gd name="T94" fmla="*/ 1627 w 2644"/>
                  <a:gd name="T95" fmla="*/ 165 h 1282"/>
                  <a:gd name="T96" fmla="*/ 1659 w 2644"/>
                  <a:gd name="T97" fmla="*/ 111 h 1282"/>
                  <a:gd name="T98" fmla="*/ 1807 w 2644"/>
                  <a:gd name="T99" fmla="*/ 79 h 1282"/>
                  <a:gd name="T100" fmla="*/ 371 w 2644"/>
                  <a:gd name="T101" fmla="*/ 534 h 1282"/>
                  <a:gd name="T102" fmla="*/ 2531 w 2644"/>
                  <a:gd name="T103" fmla="*/ 1160 h 1282"/>
                  <a:gd name="T104" fmla="*/ 2458 w 2644"/>
                  <a:gd name="T105" fmla="*/ 1164 h 1282"/>
                  <a:gd name="T106" fmla="*/ 2471 w 2644"/>
                  <a:gd name="T107" fmla="*/ 1249 h 1282"/>
                  <a:gd name="T108" fmla="*/ 2517 w 2644"/>
                  <a:gd name="T109" fmla="*/ 1268 h 1282"/>
                  <a:gd name="T110" fmla="*/ 2531 w 2644"/>
                  <a:gd name="T111" fmla="*/ 1179 h 1282"/>
                  <a:gd name="T112" fmla="*/ 2577 w 2644"/>
                  <a:gd name="T113" fmla="*/ 1240 h 1282"/>
                  <a:gd name="T114" fmla="*/ 2624 w 2644"/>
                  <a:gd name="T115" fmla="*/ 1211 h 1282"/>
                  <a:gd name="T116" fmla="*/ 2629 w 2644"/>
                  <a:gd name="T117" fmla="*/ 1260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44" h="1282">
                    <a:moveTo>
                      <a:pt x="1845" y="57"/>
                    </a:moveTo>
                    <a:cubicBezTo>
                      <a:pt x="1825" y="57"/>
                      <a:pt x="1757" y="51"/>
                      <a:pt x="1752" y="57"/>
                    </a:cubicBezTo>
                    <a:cubicBezTo>
                      <a:pt x="1747" y="63"/>
                      <a:pt x="1722" y="69"/>
                      <a:pt x="1711" y="69"/>
                    </a:cubicBezTo>
                    <a:cubicBezTo>
                      <a:pt x="1700" y="69"/>
                      <a:pt x="1655" y="60"/>
                      <a:pt x="1647" y="64"/>
                    </a:cubicBezTo>
                    <a:cubicBezTo>
                      <a:pt x="1639" y="68"/>
                      <a:pt x="1587" y="83"/>
                      <a:pt x="1581" y="86"/>
                    </a:cubicBezTo>
                    <a:cubicBezTo>
                      <a:pt x="1575" y="89"/>
                      <a:pt x="1523" y="101"/>
                      <a:pt x="1532" y="94"/>
                    </a:cubicBezTo>
                    <a:cubicBezTo>
                      <a:pt x="1541" y="87"/>
                      <a:pt x="1615" y="71"/>
                      <a:pt x="1610" y="61"/>
                    </a:cubicBezTo>
                    <a:cubicBezTo>
                      <a:pt x="1605" y="51"/>
                      <a:pt x="1576" y="48"/>
                      <a:pt x="1565" y="52"/>
                    </a:cubicBezTo>
                    <a:cubicBezTo>
                      <a:pt x="1554" y="56"/>
                      <a:pt x="1536" y="63"/>
                      <a:pt x="1536" y="63"/>
                    </a:cubicBezTo>
                    <a:cubicBezTo>
                      <a:pt x="1457" y="73"/>
                      <a:pt x="1457" y="73"/>
                      <a:pt x="1457" y="73"/>
                    </a:cubicBezTo>
                    <a:cubicBezTo>
                      <a:pt x="1457" y="73"/>
                      <a:pt x="1531" y="55"/>
                      <a:pt x="1513" y="54"/>
                    </a:cubicBezTo>
                    <a:cubicBezTo>
                      <a:pt x="1495" y="53"/>
                      <a:pt x="1427" y="52"/>
                      <a:pt x="1427" y="52"/>
                    </a:cubicBezTo>
                    <a:cubicBezTo>
                      <a:pt x="1403" y="57"/>
                      <a:pt x="1403" y="57"/>
                      <a:pt x="1403" y="57"/>
                    </a:cubicBezTo>
                    <a:cubicBezTo>
                      <a:pt x="1358" y="53"/>
                      <a:pt x="1358" y="53"/>
                      <a:pt x="1358" y="53"/>
                    </a:cubicBezTo>
                    <a:cubicBezTo>
                      <a:pt x="1358" y="53"/>
                      <a:pt x="1307" y="68"/>
                      <a:pt x="1309" y="61"/>
                    </a:cubicBezTo>
                    <a:cubicBezTo>
                      <a:pt x="1311" y="54"/>
                      <a:pt x="1371" y="47"/>
                      <a:pt x="1392" y="47"/>
                    </a:cubicBezTo>
                    <a:cubicBezTo>
                      <a:pt x="1413" y="47"/>
                      <a:pt x="1548" y="45"/>
                      <a:pt x="1557" y="45"/>
                    </a:cubicBezTo>
                    <a:cubicBezTo>
                      <a:pt x="1566" y="45"/>
                      <a:pt x="1645" y="43"/>
                      <a:pt x="1636" y="35"/>
                    </a:cubicBezTo>
                    <a:cubicBezTo>
                      <a:pt x="1627" y="27"/>
                      <a:pt x="1577" y="24"/>
                      <a:pt x="1558" y="27"/>
                    </a:cubicBezTo>
                    <a:cubicBezTo>
                      <a:pt x="1539" y="30"/>
                      <a:pt x="1526" y="29"/>
                      <a:pt x="1526" y="29"/>
                    </a:cubicBezTo>
                    <a:cubicBezTo>
                      <a:pt x="1526" y="29"/>
                      <a:pt x="1551" y="18"/>
                      <a:pt x="1535" y="17"/>
                    </a:cubicBezTo>
                    <a:cubicBezTo>
                      <a:pt x="1519" y="16"/>
                      <a:pt x="1492" y="19"/>
                      <a:pt x="1492" y="19"/>
                    </a:cubicBezTo>
                    <a:cubicBezTo>
                      <a:pt x="1492" y="19"/>
                      <a:pt x="1462" y="18"/>
                      <a:pt x="1455" y="16"/>
                    </a:cubicBezTo>
                    <a:cubicBezTo>
                      <a:pt x="1448" y="14"/>
                      <a:pt x="1483" y="17"/>
                      <a:pt x="1490" y="10"/>
                    </a:cubicBezTo>
                    <a:cubicBezTo>
                      <a:pt x="1497" y="3"/>
                      <a:pt x="1454" y="5"/>
                      <a:pt x="1432" y="5"/>
                    </a:cubicBezTo>
                    <a:cubicBezTo>
                      <a:pt x="1410" y="5"/>
                      <a:pt x="1355" y="8"/>
                      <a:pt x="1355" y="8"/>
                    </a:cubicBezTo>
                    <a:cubicBezTo>
                      <a:pt x="1355" y="8"/>
                      <a:pt x="1315" y="4"/>
                      <a:pt x="1292" y="2"/>
                    </a:cubicBezTo>
                    <a:cubicBezTo>
                      <a:pt x="1269" y="0"/>
                      <a:pt x="1246" y="5"/>
                      <a:pt x="1237" y="6"/>
                    </a:cubicBezTo>
                    <a:cubicBezTo>
                      <a:pt x="1228" y="7"/>
                      <a:pt x="1210" y="7"/>
                      <a:pt x="1188" y="6"/>
                    </a:cubicBezTo>
                    <a:cubicBezTo>
                      <a:pt x="1166" y="5"/>
                      <a:pt x="1144" y="5"/>
                      <a:pt x="1146" y="10"/>
                    </a:cubicBezTo>
                    <a:cubicBezTo>
                      <a:pt x="1148" y="15"/>
                      <a:pt x="1177" y="16"/>
                      <a:pt x="1177" y="16"/>
                    </a:cubicBezTo>
                    <a:cubicBezTo>
                      <a:pt x="1177" y="16"/>
                      <a:pt x="1142" y="21"/>
                      <a:pt x="1129" y="20"/>
                    </a:cubicBezTo>
                    <a:cubicBezTo>
                      <a:pt x="1116" y="19"/>
                      <a:pt x="1061" y="13"/>
                      <a:pt x="1047" y="11"/>
                    </a:cubicBezTo>
                    <a:cubicBezTo>
                      <a:pt x="1033" y="9"/>
                      <a:pt x="995" y="13"/>
                      <a:pt x="990" y="13"/>
                    </a:cubicBezTo>
                    <a:cubicBezTo>
                      <a:pt x="985" y="13"/>
                      <a:pt x="935" y="19"/>
                      <a:pt x="956" y="24"/>
                    </a:cubicBezTo>
                    <a:cubicBezTo>
                      <a:pt x="977" y="29"/>
                      <a:pt x="1046" y="31"/>
                      <a:pt x="1046" y="31"/>
                    </a:cubicBezTo>
                    <a:cubicBezTo>
                      <a:pt x="1103" y="38"/>
                      <a:pt x="1103" y="38"/>
                      <a:pt x="1103" y="38"/>
                    </a:cubicBezTo>
                    <a:cubicBezTo>
                      <a:pt x="1103" y="38"/>
                      <a:pt x="1048" y="40"/>
                      <a:pt x="1040" y="40"/>
                    </a:cubicBezTo>
                    <a:cubicBezTo>
                      <a:pt x="1032" y="40"/>
                      <a:pt x="984" y="27"/>
                      <a:pt x="985" y="31"/>
                    </a:cubicBezTo>
                    <a:cubicBezTo>
                      <a:pt x="986" y="35"/>
                      <a:pt x="1006" y="38"/>
                      <a:pt x="1006" y="38"/>
                    </a:cubicBezTo>
                    <a:cubicBezTo>
                      <a:pt x="975" y="41"/>
                      <a:pt x="975" y="41"/>
                      <a:pt x="975" y="41"/>
                    </a:cubicBezTo>
                    <a:cubicBezTo>
                      <a:pt x="975" y="41"/>
                      <a:pt x="958" y="55"/>
                      <a:pt x="962" y="59"/>
                    </a:cubicBezTo>
                    <a:cubicBezTo>
                      <a:pt x="966" y="63"/>
                      <a:pt x="938" y="64"/>
                      <a:pt x="925" y="56"/>
                    </a:cubicBezTo>
                    <a:cubicBezTo>
                      <a:pt x="912" y="48"/>
                      <a:pt x="885" y="42"/>
                      <a:pt x="859" y="40"/>
                    </a:cubicBezTo>
                    <a:cubicBezTo>
                      <a:pt x="833" y="38"/>
                      <a:pt x="804" y="38"/>
                      <a:pt x="804" y="38"/>
                    </a:cubicBezTo>
                    <a:cubicBezTo>
                      <a:pt x="806" y="58"/>
                      <a:pt x="806" y="58"/>
                      <a:pt x="806" y="58"/>
                    </a:cubicBezTo>
                    <a:cubicBezTo>
                      <a:pt x="806" y="58"/>
                      <a:pt x="786" y="61"/>
                      <a:pt x="773" y="59"/>
                    </a:cubicBezTo>
                    <a:cubicBezTo>
                      <a:pt x="760" y="57"/>
                      <a:pt x="736" y="49"/>
                      <a:pt x="728" y="51"/>
                    </a:cubicBezTo>
                    <a:cubicBezTo>
                      <a:pt x="720" y="53"/>
                      <a:pt x="702" y="62"/>
                      <a:pt x="702" y="62"/>
                    </a:cubicBezTo>
                    <a:cubicBezTo>
                      <a:pt x="702" y="62"/>
                      <a:pt x="713" y="44"/>
                      <a:pt x="700" y="44"/>
                    </a:cubicBezTo>
                    <a:cubicBezTo>
                      <a:pt x="687" y="44"/>
                      <a:pt x="616" y="45"/>
                      <a:pt x="597" y="48"/>
                    </a:cubicBezTo>
                    <a:cubicBezTo>
                      <a:pt x="578" y="51"/>
                      <a:pt x="545" y="44"/>
                      <a:pt x="550" y="49"/>
                    </a:cubicBezTo>
                    <a:cubicBezTo>
                      <a:pt x="555" y="54"/>
                      <a:pt x="590" y="71"/>
                      <a:pt x="590" y="71"/>
                    </a:cubicBezTo>
                    <a:cubicBezTo>
                      <a:pt x="590" y="71"/>
                      <a:pt x="536" y="54"/>
                      <a:pt x="527" y="54"/>
                    </a:cubicBezTo>
                    <a:cubicBezTo>
                      <a:pt x="518" y="54"/>
                      <a:pt x="491" y="49"/>
                      <a:pt x="487" y="59"/>
                    </a:cubicBezTo>
                    <a:cubicBezTo>
                      <a:pt x="483" y="69"/>
                      <a:pt x="465" y="80"/>
                      <a:pt x="452" y="80"/>
                    </a:cubicBezTo>
                    <a:cubicBezTo>
                      <a:pt x="439" y="80"/>
                      <a:pt x="402" y="80"/>
                      <a:pt x="402" y="80"/>
                    </a:cubicBezTo>
                    <a:cubicBezTo>
                      <a:pt x="402" y="80"/>
                      <a:pt x="328" y="94"/>
                      <a:pt x="324" y="95"/>
                    </a:cubicBezTo>
                    <a:cubicBezTo>
                      <a:pt x="320" y="96"/>
                      <a:pt x="248" y="106"/>
                      <a:pt x="259" y="113"/>
                    </a:cubicBezTo>
                    <a:cubicBezTo>
                      <a:pt x="270" y="120"/>
                      <a:pt x="310" y="122"/>
                      <a:pt x="315" y="121"/>
                    </a:cubicBezTo>
                    <a:cubicBezTo>
                      <a:pt x="320" y="120"/>
                      <a:pt x="335" y="118"/>
                      <a:pt x="335" y="118"/>
                    </a:cubicBezTo>
                    <a:cubicBezTo>
                      <a:pt x="311" y="128"/>
                      <a:pt x="311" y="128"/>
                      <a:pt x="311" y="128"/>
                    </a:cubicBezTo>
                    <a:cubicBezTo>
                      <a:pt x="300" y="139"/>
                      <a:pt x="300" y="139"/>
                      <a:pt x="300" y="139"/>
                    </a:cubicBezTo>
                    <a:cubicBezTo>
                      <a:pt x="300" y="139"/>
                      <a:pt x="253" y="157"/>
                      <a:pt x="236" y="157"/>
                    </a:cubicBezTo>
                    <a:cubicBezTo>
                      <a:pt x="219" y="157"/>
                      <a:pt x="151" y="157"/>
                      <a:pt x="137" y="169"/>
                    </a:cubicBezTo>
                    <a:cubicBezTo>
                      <a:pt x="123" y="181"/>
                      <a:pt x="112" y="167"/>
                      <a:pt x="112" y="167"/>
                    </a:cubicBezTo>
                    <a:cubicBezTo>
                      <a:pt x="90" y="176"/>
                      <a:pt x="90" y="176"/>
                      <a:pt x="90" y="176"/>
                    </a:cubicBezTo>
                    <a:cubicBezTo>
                      <a:pt x="57" y="175"/>
                      <a:pt x="57" y="175"/>
                      <a:pt x="57" y="175"/>
                    </a:cubicBezTo>
                    <a:cubicBezTo>
                      <a:pt x="57" y="175"/>
                      <a:pt x="0" y="181"/>
                      <a:pt x="14" y="191"/>
                    </a:cubicBezTo>
                    <a:cubicBezTo>
                      <a:pt x="28" y="201"/>
                      <a:pt x="51" y="212"/>
                      <a:pt x="51" y="212"/>
                    </a:cubicBezTo>
                    <a:cubicBezTo>
                      <a:pt x="71" y="204"/>
                      <a:pt x="71" y="204"/>
                      <a:pt x="71" y="204"/>
                    </a:cubicBezTo>
                    <a:cubicBezTo>
                      <a:pt x="71" y="204"/>
                      <a:pt x="73" y="216"/>
                      <a:pt x="83" y="219"/>
                    </a:cubicBezTo>
                    <a:cubicBezTo>
                      <a:pt x="93" y="222"/>
                      <a:pt x="116" y="209"/>
                      <a:pt x="116" y="209"/>
                    </a:cubicBezTo>
                    <a:cubicBezTo>
                      <a:pt x="116" y="209"/>
                      <a:pt x="112" y="220"/>
                      <a:pt x="122" y="220"/>
                    </a:cubicBezTo>
                    <a:cubicBezTo>
                      <a:pt x="132" y="220"/>
                      <a:pt x="169" y="204"/>
                      <a:pt x="176" y="209"/>
                    </a:cubicBezTo>
                    <a:cubicBezTo>
                      <a:pt x="183" y="214"/>
                      <a:pt x="181" y="220"/>
                      <a:pt x="181" y="220"/>
                    </a:cubicBezTo>
                    <a:cubicBezTo>
                      <a:pt x="170" y="221"/>
                      <a:pt x="170" y="221"/>
                      <a:pt x="170" y="221"/>
                    </a:cubicBezTo>
                    <a:cubicBezTo>
                      <a:pt x="170" y="221"/>
                      <a:pt x="162" y="232"/>
                      <a:pt x="155" y="232"/>
                    </a:cubicBezTo>
                    <a:cubicBezTo>
                      <a:pt x="148" y="232"/>
                      <a:pt x="152" y="226"/>
                      <a:pt x="141" y="226"/>
                    </a:cubicBezTo>
                    <a:cubicBezTo>
                      <a:pt x="130" y="226"/>
                      <a:pt x="96" y="231"/>
                      <a:pt x="96" y="231"/>
                    </a:cubicBezTo>
                    <a:cubicBezTo>
                      <a:pt x="69" y="228"/>
                      <a:pt x="69" y="228"/>
                      <a:pt x="69" y="228"/>
                    </a:cubicBezTo>
                    <a:cubicBezTo>
                      <a:pt x="69" y="228"/>
                      <a:pt x="31" y="208"/>
                      <a:pt x="20" y="227"/>
                    </a:cubicBezTo>
                    <a:cubicBezTo>
                      <a:pt x="9" y="246"/>
                      <a:pt x="36" y="252"/>
                      <a:pt x="44" y="251"/>
                    </a:cubicBezTo>
                    <a:cubicBezTo>
                      <a:pt x="52" y="250"/>
                      <a:pt x="79" y="251"/>
                      <a:pt x="79" y="251"/>
                    </a:cubicBezTo>
                    <a:cubicBezTo>
                      <a:pt x="79" y="251"/>
                      <a:pt x="36" y="254"/>
                      <a:pt x="41" y="261"/>
                    </a:cubicBezTo>
                    <a:cubicBezTo>
                      <a:pt x="46" y="268"/>
                      <a:pt x="74" y="274"/>
                      <a:pt x="74" y="274"/>
                    </a:cubicBezTo>
                    <a:cubicBezTo>
                      <a:pt x="98" y="277"/>
                      <a:pt x="98" y="277"/>
                      <a:pt x="98" y="277"/>
                    </a:cubicBezTo>
                    <a:cubicBezTo>
                      <a:pt x="98" y="277"/>
                      <a:pt x="99" y="267"/>
                      <a:pt x="106" y="266"/>
                    </a:cubicBezTo>
                    <a:cubicBezTo>
                      <a:pt x="113" y="265"/>
                      <a:pt x="121" y="276"/>
                      <a:pt x="121" y="276"/>
                    </a:cubicBezTo>
                    <a:cubicBezTo>
                      <a:pt x="144" y="267"/>
                      <a:pt x="144" y="267"/>
                      <a:pt x="144" y="267"/>
                    </a:cubicBezTo>
                    <a:cubicBezTo>
                      <a:pt x="144" y="267"/>
                      <a:pt x="148" y="277"/>
                      <a:pt x="151" y="277"/>
                    </a:cubicBezTo>
                    <a:cubicBezTo>
                      <a:pt x="154" y="277"/>
                      <a:pt x="184" y="263"/>
                      <a:pt x="193" y="265"/>
                    </a:cubicBezTo>
                    <a:cubicBezTo>
                      <a:pt x="202" y="267"/>
                      <a:pt x="209" y="271"/>
                      <a:pt x="214" y="271"/>
                    </a:cubicBezTo>
                    <a:cubicBezTo>
                      <a:pt x="219" y="271"/>
                      <a:pt x="230" y="262"/>
                      <a:pt x="236" y="262"/>
                    </a:cubicBezTo>
                    <a:cubicBezTo>
                      <a:pt x="242" y="262"/>
                      <a:pt x="259" y="273"/>
                      <a:pt x="259" y="273"/>
                    </a:cubicBezTo>
                    <a:cubicBezTo>
                      <a:pt x="259" y="273"/>
                      <a:pt x="291" y="268"/>
                      <a:pt x="313" y="274"/>
                    </a:cubicBezTo>
                    <a:cubicBezTo>
                      <a:pt x="335" y="280"/>
                      <a:pt x="339" y="291"/>
                      <a:pt x="339" y="291"/>
                    </a:cubicBezTo>
                    <a:cubicBezTo>
                      <a:pt x="339" y="291"/>
                      <a:pt x="361" y="286"/>
                      <a:pt x="361" y="291"/>
                    </a:cubicBezTo>
                    <a:cubicBezTo>
                      <a:pt x="361" y="296"/>
                      <a:pt x="351" y="306"/>
                      <a:pt x="351" y="306"/>
                    </a:cubicBezTo>
                    <a:cubicBezTo>
                      <a:pt x="357" y="315"/>
                      <a:pt x="357" y="315"/>
                      <a:pt x="357" y="315"/>
                    </a:cubicBezTo>
                    <a:cubicBezTo>
                      <a:pt x="357" y="315"/>
                      <a:pt x="390" y="321"/>
                      <a:pt x="390" y="330"/>
                    </a:cubicBezTo>
                    <a:cubicBezTo>
                      <a:pt x="390" y="339"/>
                      <a:pt x="374" y="343"/>
                      <a:pt x="374" y="343"/>
                    </a:cubicBezTo>
                    <a:cubicBezTo>
                      <a:pt x="383" y="359"/>
                      <a:pt x="383" y="359"/>
                      <a:pt x="383" y="359"/>
                    </a:cubicBezTo>
                    <a:cubicBezTo>
                      <a:pt x="399" y="369"/>
                      <a:pt x="399" y="369"/>
                      <a:pt x="399" y="369"/>
                    </a:cubicBezTo>
                    <a:cubicBezTo>
                      <a:pt x="385" y="374"/>
                      <a:pt x="385" y="374"/>
                      <a:pt x="385" y="374"/>
                    </a:cubicBezTo>
                    <a:cubicBezTo>
                      <a:pt x="395" y="387"/>
                      <a:pt x="395" y="387"/>
                      <a:pt x="395" y="387"/>
                    </a:cubicBezTo>
                    <a:cubicBezTo>
                      <a:pt x="395" y="387"/>
                      <a:pt x="383" y="386"/>
                      <a:pt x="383" y="395"/>
                    </a:cubicBezTo>
                    <a:cubicBezTo>
                      <a:pt x="383" y="404"/>
                      <a:pt x="405" y="407"/>
                      <a:pt x="402" y="412"/>
                    </a:cubicBezTo>
                    <a:cubicBezTo>
                      <a:pt x="399" y="417"/>
                      <a:pt x="380" y="426"/>
                      <a:pt x="380" y="426"/>
                    </a:cubicBezTo>
                    <a:cubicBezTo>
                      <a:pt x="388" y="433"/>
                      <a:pt x="388" y="433"/>
                      <a:pt x="388" y="433"/>
                    </a:cubicBezTo>
                    <a:cubicBezTo>
                      <a:pt x="388" y="433"/>
                      <a:pt x="347" y="438"/>
                      <a:pt x="348" y="441"/>
                    </a:cubicBezTo>
                    <a:cubicBezTo>
                      <a:pt x="349" y="444"/>
                      <a:pt x="357" y="446"/>
                      <a:pt x="370" y="445"/>
                    </a:cubicBezTo>
                    <a:cubicBezTo>
                      <a:pt x="383" y="444"/>
                      <a:pt x="367" y="455"/>
                      <a:pt x="367" y="455"/>
                    </a:cubicBezTo>
                    <a:cubicBezTo>
                      <a:pt x="367" y="455"/>
                      <a:pt x="316" y="456"/>
                      <a:pt x="328" y="465"/>
                    </a:cubicBezTo>
                    <a:cubicBezTo>
                      <a:pt x="340" y="474"/>
                      <a:pt x="353" y="479"/>
                      <a:pt x="369" y="478"/>
                    </a:cubicBezTo>
                    <a:cubicBezTo>
                      <a:pt x="385" y="477"/>
                      <a:pt x="389" y="467"/>
                      <a:pt x="389" y="467"/>
                    </a:cubicBezTo>
                    <a:cubicBezTo>
                      <a:pt x="389" y="467"/>
                      <a:pt x="416" y="469"/>
                      <a:pt x="414" y="460"/>
                    </a:cubicBezTo>
                    <a:cubicBezTo>
                      <a:pt x="412" y="451"/>
                      <a:pt x="419" y="439"/>
                      <a:pt x="419" y="439"/>
                    </a:cubicBezTo>
                    <a:cubicBezTo>
                      <a:pt x="421" y="458"/>
                      <a:pt x="421" y="458"/>
                      <a:pt x="421" y="458"/>
                    </a:cubicBezTo>
                    <a:cubicBezTo>
                      <a:pt x="438" y="447"/>
                      <a:pt x="438" y="447"/>
                      <a:pt x="438" y="447"/>
                    </a:cubicBezTo>
                    <a:cubicBezTo>
                      <a:pt x="438" y="447"/>
                      <a:pt x="430" y="453"/>
                      <a:pt x="434" y="458"/>
                    </a:cubicBezTo>
                    <a:cubicBezTo>
                      <a:pt x="438" y="463"/>
                      <a:pt x="463" y="465"/>
                      <a:pt x="463" y="465"/>
                    </a:cubicBezTo>
                    <a:cubicBezTo>
                      <a:pt x="454" y="471"/>
                      <a:pt x="454" y="471"/>
                      <a:pt x="454" y="471"/>
                    </a:cubicBezTo>
                    <a:cubicBezTo>
                      <a:pt x="454" y="471"/>
                      <a:pt x="448" y="484"/>
                      <a:pt x="457" y="487"/>
                    </a:cubicBezTo>
                    <a:cubicBezTo>
                      <a:pt x="466" y="490"/>
                      <a:pt x="479" y="504"/>
                      <a:pt x="473" y="510"/>
                    </a:cubicBezTo>
                    <a:cubicBezTo>
                      <a:pt x="467" y="516"/>
                      <a:pt x="456" y="513"/>
                      <a:pt x="456" y="513"/>
                    </a:cubicBezTo>
                    <a:cubicBezTo>
                      <a:pt x="456" y="519"/>
                      <a:pt x="456" y="519"/>
                      <a:pt x="456" y="519"/>
                    </a:cubicBezTo>
                    <a:cubicBezTo>
                      <a:pt x="456" y="519"/>
                      <a:pt x="441" y="518"/>
                      <a:pt x="432" y="517"/>
                    </a:cubicBezTo>
                    <a:cubicBezTo>
                      <a:pt x="423" y="516"/>
                      <a:pt x="415" y="506"/>
                      <a:pt x="415" y="506"/>
                    </a:cubicBezTo>
                    <a:cubicBezTo>
                      <a:pt x="375" y="505"/>
                      <a:pt x="375" y="505"/>
                      <a:pt x="375" y="505"/>
                    </a:cubicBezTo>
                    <a:cubicBezTo>
                      <a:pt x="375" y="505"/>
                      <a:pt x="351" y="483"/>
                      <a:pt x="345" y="505"/>
                    </a:cubicBezTo>
                    <a:cubicBezTo>
                      <a:pt x="343" y="514"/>
                      <a:pt x="355" y="520"/>
                      <a:pt x="362" y="521"/>
                    </a:cubicBezTo>
                    <a:cubicBezTo>
                      <a:pt x="369" y="522"/>
                      <a:pt x="374" y="518"/>
                      <a:pt x="383" y="522"/>
                    </a:cubicBezTo>
                    <a:cubicBezTo>
                      <a:pt x="392" y="526"/>
                      <a:pt x="400" y="540"/>
                      <a:pt x="415" y="540"/>
                    </a:cubicBezTo>
                    <a:cubicBezTo>
                      <a:pt x="430" y="540"/>
                      <a:pt x="441" y="534"/>
                      <a:pt x="441" y="534"/>
                    </a:cubicBezTo>
                    <a:cubicBezTo>
                      <a:pt x="456" y="542"/>
                      <a:pt x="456" y="542"/>
                      <a:pt x="456" y="542"/>
                    </a:cubicBezTo>
                    <a:cubicBezTo>
                      <a:pt x="470" y="533"/>
                      <a:pt x="470" y="533"/>
                      <a:pt x="470" y="533"/>
                    </a:cubicBezTo>
                    <a:cubicBezTo>
                      <a:pt x="467" y="547"/>
                      <a:pt x="467" y="547"/>
                      <a:pt x="467" y="547"/>
                    </a:cubicBezTo>
                    <a:cubicBezTo>
                      <a:pt x="467" y="547"/>
                      <a:pt x="452" y="540"/>
                      <a:pt x="450" y="547"/>
                    </a:cubicBezTo>
                    <a:cubicBezTo>
                      <a:pt x="448" y="554"/>
                      <a:pt x="459" y="561"/>
                      <a:pt x="459" y="561"/>
                    </a:cubicBezTo>
                    <a:cubicBezTo>
                      <a:pt x="459" y="561"/>
                      <a:pt x="432" y="561"/>
                      <a:pt x="433" y="566"/>
                    </a:cubicBezTo>
                    <a:cubicBezTo>
                      <a:pt x="434" y="571"/>
                      <a:pt x="454" y="572"/>
                      <a:pt x="454" y="572"/>
                    </a:cubicBezTo>
                    <a:cubicBezTo>
                      <a:pt x="454" y="572"/>
                      <a:pt x="451" y="581"/>
                      <a:pt x="446" y="583"/>
                    </a:cubicBezTo>
                    <a:cubicBezTo>
                      <a:pt x="441" y="585"/>
                      <a:pt x="425" y="572"/>
                      <a:pt x="421" y="578"/>
                    </a:cubicBezTo>
                    <a:cubicBezTo>
                      <a:pt x="417" y="584"/>
                      <a:pt x="427" y="592"/>
                      <a:pt x="427" y="592"/>
                    </a:cubicBezTo>
                    <a:cubicBezTo>
                      <a:pt x="411" y="591"/>
                      <a:pt x="411" y="591"/>
                      <a:pt x="411" y="591"/>
                    </a:cubicBezTo>
                    <a:cubicBezTo>
                      <a:pt x="416" y="605"/>
                      <a:pt x="416" y="605"/>
                      <a:pt x="416" y="605"/>
                    </a:cubicBezTo>
                    <a:cubicBezTo>
                      <a:pt x="416" y="605"/>
                      <a:pt x="395" y="606"/>
                      <a:pt x="398" y="616"/>
                    </a:cubicBezTo>
                    <a:cubicBezTo>
                      <a:pt x="401" y="626"/>
                      <a:pt x="420" y="628"/>
                      <a:pt x="420" y="628"/>
                    </a:cubicBezTo>
                    <a:cubicBezTo>
                      <a:pt x="420" y="628"/>
                      <a:pt x="422" y="639"/>
                      <a:pt x="415" y="639"/>
                    </a:cubicBezTo>
                    <a:cubicBezTo>
                      <a:pt x="408" y="639"/>
                      <a:pt x="413" y="647"/>
                      <a:pt x="413" y="647"/>
                    </a:cubicBezTo>
                    <a:cubicBezTo>
                      <a:pt x="413" y="647"/>
                      <a:pt x="411" y="649"/>
                      <a:pt x="408" y="639"/>
                    </a:cubicBezTo>
                    <a:cubicBezTo>
                      <a:pt x="405" y="629"/>
                      <a:pt x="394" y="624"/>
                      <a:pt x="394" y="624"/>
                    </a:cubicBezTo>
                    <a:cubicBezTo>
                      <a:pt x="394" y="624"/>
                      <a:pt x="377" y="593"/>
                      <a:pt x="367" y="595"/>
                    </a:cubicBezTo>
                    <a:cubicBezTo>
                      <a:pt x="357" y="597"/>
                      <a:pt x="331" y="609"/>
                      <a:pt x="345" y="617"/>
                    </a:cubicBezTo>
                    <a:cubicBezTo>
                      <a:pt x="359" y="625"/>
                      <a:pt x="381" y="628"/>
                      <a:pt x="381" y="628"/>
                    </a:cubicBezTo>
                    <a:cubicBezTo>
                      <a:pt x="381" y="628"/>
                      <a:pt x="364" y="630"/>
                      <a:pt x="353" y="630"/>
                    </a:cubicBezTo>
                    <a:cubicBezTo>
                      <a:pt x="342" y="630"/>
                      <a:pt x="328" y="625"/>
                      <a:pt x="320" y="630"/>
                    </a:cubicBezTo>
                    <a:cubicBezTo>
                      <a:pt x="312" y="635"/>
                      <a:pt x="289" y="640"/>
                      <a:pt x="296" y="643"/>
                    </a:cubicBezTo>
                    <a:cubicBezTo>
                      <a:pt x="303" y="646"/>
                      <a:pt x="344" y="639"/>
                      <a:pt x="354" y="640"/>
                    </a:cubicBezTo>
                    <a:cubicBezTo>
                      <a:pt x="364" y="641"/>
                      <a:pt x="388" y="643"/>
                      <a:pt x="388" y="643"/>
                    </a:cubicBezTo>
                    <a:cubicBezTo>
                      <a:pt x="388" y="643"/>
                      <a:pt x="368" y="644"/>
                      <a:pt x="362" y="644"/>
                    </a:cubicBezTo>
                    <a:cubicBezTo>
                      <a:pt x="356" y="644"/>
                      <a:pt x="290" y="649"/>
                      <a:pt x="284" y="654"/>
                    </a:cubicBezTo>
                    <a:cubicBezTo>
                      <a:pt x="278" y="659"/>
                      <a:pt x="278" y="663"/>
                      <a:pt x="294" y="662"/>
                    </a:cubicBezTo>
                    <a:cubicBezTo>
                      <a:pt x="310" y="661"/>
                      <a:pt x="348" y="657"/>
                      <a:pt x="348" y="657"/>
                    </a:cubicBezTo>
                    <a:cubicBezTo>
                      <a:pt x="348" y="657"/>
                      <a:pt x="375" y="656"/>
                      <a:pt x="376" y="659"/>
                    </a:cubicBezTo>
                    <a:cubicBezTo>
                      <a:pt x="377" y="662"/>
                      <a:pt x="330" y="664"/>
                      <a:pt x="330" y="664"/>
                    </a:cubicBezTo>
                    <a:cubicBezTo>
                      <a:pt x="330" y="664"/>
                      <a:pt x="275" y="666"/>
                      <a:pt x="276" y="668"/>
                    </a:cubicBezTo>
                    <a:cubicBezTo>
                      <a:pt x="277" y="670"/>
                      <a:pt x="286" y="675"/>
                      <a:pt x="295" y="675"/>
                    </a:cubicBezTo>
                    <a:cubicBezTo>
                      <a:pt x="304" y="675"/>
                      <a:pt x="318" y="682"/>
                      <a:pt x="318" y="682"/>
                    </a:cubicBezTo>
                    <a:cubicBezTo>
                      <a:pt x="318" y="682"/>
                      <a:pt x="294" y="676"/>
                      <a:pt x="289" y="682"/>
                    </a:cubicBezTo>
                    <a:cubicBezTo>
                      <a:pt x="284" y="688"/>
                      <a:pt x="289" y="690"/>
                      <a:pt x="289" y="690"/>
                    </a:cubicBezTo>
                    <a:cubicBezTo>
                      <a:pt x="289" y="690"/>
                      <a:pt x="258" y="699"/>
                      <a:pt x="262" y="705"/>
                    </a:cubicBezTo>
                    <a:cubicBezTo>
                      <a:pt x="287" y="706"/>
                      <a:pt x="287" y="706"/>
                      <a:pt x="287" y="706"/>
                    </a:cubicBezTo>
                    <a:cubicBezTo>
                      <a:pt x="264" y="716"/>
                      <a:pt x="264" y="716"/>
                      <a:pt x="264" y="716"/>
                    </a:cubicBezTo>
                    <a:cubicBezTo>
                      <a:pt x="264" y="716"/>
                      <a:pt x="263" y="729"/>
                      <a:pt x="273" y="727"/>
                    </a:cubicBezTo>
                    <a:cubicBezTo>
                      <a:pt x="283" y="725"/>
                      <a:pt x="306" y="725"/>
                      <a:pt x="306" y="725"/>
                    </a:cubicBezTo>
                    <a:cubicBezTo>
                      <a:pt x="306" y="725"/>
                      <a:pt x="267" y="736"/>
                      <a:pt x="274" y="744"/>
                    </a:cubicBezTo>
                    <a:cubicBezTo>
                      <a:pt x="281" y="752"/>
                      <a:pt x="304" y="740"/>
                      <a:pt x="304" y="740"/>
                    </a:cubicBezTo>
                    <a:cubicBezTo>
                      <a:pt x="304" y="740"/>
                      <a:pt x="287" y="755"/>
                      <a:pt x="285" y="762"/>
                    </a:cubicBezTo>
                    <a:cubicBezTo>
                      <a:pt x="283" y="769"/>
                      <a:pt x="280" y="775"/>
                      <a:pt x="286" y="775"/>
                    </a:cubicBezTo>
                    <a:cubicBezTo>
                      <a:pt x="292" y="775"/>
                      <a:pt x="303" y="767"/>
                      <a:pt x="303" y="767"/>
                    </a:cubicBezTo>
                    <a:cubicBezTo>
                      <a:pt x="303" y="767"/>
                      <a:pt x="298" y="783"/>
                      <a:pt x="291" y="783"/>
                    </a:cubicBezTo>
                    <a:cubicBezTo>
                      <a:pt x="284" y="783"/>
                      <a:pt x="269" y="792"/>
                      <a:pt x="270" y="802"/>
                    </a:cubicBezTo>
                    <a:cubicBezTo>
                      <a:pt x="271" y="812"/>
                      <a:pt x="294" y="793"/>
                      <a:pt x="294" y="793"/>
                    </a:cubicBezTo>
                    <a:cubicBezTo>
                      <a:pt x="294" y="793"/>
                      <a:pt x="309" y="776"/>
                      <a:pt x="313" y="780"/>
                    </a:cubicBezTo>
                    <a:cubicBezTo>
                      <a:pt x="317" y="784"/>
                      <a:pt x="341" y="774"/>
                      <a:pt x="341" y="774"/>
                    </a:cubicBezTo>
                    <a:cubicBezTo>
                      <a:pt x="338" y="784"/>
                      <a:pt x="338" y="784"/>
                      <a:pt x="338" y="784"/>
                    </a:cubicBezTo>
                    <a:cubicBezTo>
                      <a:pt x="352" y="774"/>
                      <a:pt x="352" y="774"/>
                      <a:pt x="352" y="774"/>
                    </a:cubicBezTo>
                    <a:cubicBezTo>
                      <a:pt x="338" y="791"/>
                      <a:pt x="338" y="791"/>
                      <a:pt x="338" y="791"/>
                    </a:cubicBezTo>
                    <a:cubicBezTo>
                      <a:pt x="360" y="794"/>
                      <a:pt x="360" y="794"/>
                      <a:pt x="360" y="794"/>
                    </a:cubicBezTo>
                    <a:cubicBezTo>
                      <a:pt x="360" y="794"/>
                      <a:pt x="330" y="794"/>
                      <a:pt x="328" y="798"/>
                    </a:cubicBezTo>
                    <a:cubicBezTo>
                      <a:pt x="326" y="802"/>
                      <a:pt x="335" y="804"/>
                      <a:pt x="335" y="804"/>
                    </a:cubicBezTo>
                    <a:cubicBezTo>
                      <a:pt x="335" y="804"/>
                      <a:pt x="312" y="809"/>
                      <a:pt x="306" y="810"/>
                    </a:cubicBezTo>
                    <a:cubicBezTo>
                      <a:pt x="300" y="811"/>
                      <a:pt x="307" y="816"/>
                      <a:pt x="307" y="816"/>
                    </a:cubicBezTo>
                    <a:cubicBezTo>
                      <a:pt x="307" y="816"/>
                      <a:pt x="283" y="821"/>
                      <a:pt x="281" y="826"/>
                    </a:cubicBezTo>
                    <a:cubicBezTo>
                      <a:pt x="279" y="831"/>
                      <a:pt x="305" y="829"/>
                      <a:pt x="305" y="829"/>
                    </a:cubicBezTo>
                    <a:cubicBezTo>
                      <a:pt x="305" y="829"/>
                      <a:pt x="284" y="833"/>
                      <a:pt x="284" y="836"/>
                    </a:cubicBezTo>
                    <a:cubicBezTo>
                      <a:pt x="284" y="839"/>
                      <a:pt x="304" y="844"/>
                      <a:pt x="304" y="844"/>
                    </a:cubicBezTo>
                    <a:cubicBezTo>
                      <a:pt x="304" y="844"/>
                      <a:pt x="287" y="844"/>
                      <a:pt x="286" y="851"/>
                    </a:cubicBezTo>
                    <a:cubicBezTo>
                      <a:pt x="285" y="858"/>
                      <a:pt x="310" y="855"/>
                      <a:pt x="310" y="855"/>
                    </a:cubicBezTo>
                    <a:cubicBezTo>
                      <a:pt x="298" y="870"/>
                      <a:pt x="298" y="870"/>
                      <a:pt x="298" y="870"/>
                    </a:cubicBezTo>
                    <a:cubicBezTo>
                      <a:pt x="317" y="867"/>
                      <a:pt x="317" y="867"/>
                      <a:pt x="317" y="867"/>
                    </a:cubicBezTo>
                    <a:cubicBezTo>
                      <a:pt x="317" y="867"/>
                      <a:pt x="295" y="880"/>
                      <a:pt x="298" y="891"/>
                    </a:cubicBezTo>
                    <a:cubicBezTo>
                      <a:pt x="301" y="902"/>
                      <a:pt x="324" y="900"/>
                      <a:pt x="324" y="900"/>
                    </a:cubicBezTo>
                    <a:cubicBezTo>
                      <a:pt x="313" y="915"/>
                      <a:pt x="313" y="915"/>
                      <a:pt x="313" y="915"/>
                    </a:cubicBezTo>
                    <a:cubicBezTo>
                      <a:pt x="334" y="908"/>
                      <a:pt x="334" y="908"/>
                      <a:pt x="334" y="908"/>
                    </a:cubicBezTo>
                    <a:cubicBezTo>
                      <a:pt x="334" y="908"/>
                      <a:pt x="319" y="920"/>
                      <a:pt x="322" y="925"/>
                    </a:cubicBezTo>
                    <a:cubicBezTo>
                      <a:pt x="325" y="930"/>
                      <a:pt x="344" y="931"/>
                      <a:pt x="344" y="931"/>
                    </a:cubicBezTo>
                    <a:cubicBezTo>
                      <a:pt x="344" y="931"/>
                      <a:pt x="334" y="934"/>
                      <a:pt x="337" y="940"/>
                    </a:cubicBezTo>
                    <a:cubicBezTo>
                      <a:pt x="340" y="946"/>
                      <a:pt x="351" y="943"/>
                      <a:pt x="351" y="943"/>
                    </a:cubicBezTo>
                    <a:cubicBezTo>
                      <a:pt x="351" y="943"/>
                      <a:pt x="336" y="955"/>
                      <a:pt x="339" y="959"/>
                    </a:cubicBezTo>
                    <a:cubicBezTo>
                      <a:pt x="342" y="963"/>
                      <a:pt x="358" y="961"/>
                      <a:pt x="358" y="961"/>
                    </a:cubicBezTo>
                    <a:cubicBezTo>
                      <a:pt x="356" y="969"/>
                      <a:pt x="356" y="969"/>
                      <a:pt x="356" y="969"/>
                    </a:cubicBezTo>
                    <a:cubicBezTo>
                      <a:pt x="382" y="963"/>
                      <a:pt x="382" y="963"/>
                      <a:pt x="382" y="963"/>
                    </a:cubicBezTo>
                    <a:cubicBezTo>
                      <a:pt x="382" y="963"/>
                      <a:pt x="390" y="976"/>
                      <a:pt x="398" y="969"/>
                    </a:cubicBezTo>
                    <a:cubicBezTo>
                      <a:pt x="406" y="962"/>
                      <a:pt x="431" y="946"/>
                      <a:pt x="435" y="948"/>
                    </a:cubicBezTo>
                    <a:cubicBezTo>
                      <a:pt x="439" y="950"/>
                      <a:pt x="428" y="958"/>
                      <a:pt x="428" y="958"/>
                    </a:cubicBezTo>
                    <a:cubicBezTo>
                      <a:pt x="443" y="962"/>
                      <a:pt x="443" y="962"/>
                      <a:pt x="443" y="962"/>
                    </a:cubicBezTo>
                    <a:cubicBezTo>
                      <a:pt x="457" y="955"/>
                      <a:pt x="457" y="955"/>
                      <a:pt x="457" y="955"/>
                    </a:cubicBezTo>
                    <a:cubicBezTo>
                      <a:pt x="457" y="955"/>
                      <a:pt x="436" y="968"/>
                      <a:pt x="431" y="973"/>
                    </a:cubicBezTo>
                    <a:cubicBezTo>
                      <a:pt x="426" y="978"/>
                      <a:pt x="422" y="983"/>
                      <a:pt x="430" y="983"/>
                    </a:cubicBezTo>
                    <a:cubicBezTo>
                      <a:pt x="438" y="983"/>
                      <a:pt x="465" y="978"/>
                      <a:pt x="465" y="978"/>
                    </a:cubicBezTo>
                    <a:cubicBezTo>
                      <a:pt x="465" y="978"/>
                      <a:pt x="434" y="994"/>
                      <a:pt x="443" y="1000"/>
                    </a:cubicBezTo>
                    <a:cubicBezTo>
                      <a:pt x="452" y="1006"/>
                      <a:pt x="471" y="1000"/>
                      <a:pt x="471" y="1000"/>
                    </a:cubicBezTo>
                    <a:cubicBezTo>
                      <a:pt x="471" y="1000"/>
                      <a:pt x="481" y="1019"/>
                      <a:pt x="493" y="1012"/>
                    </a:cubicBezTo>
                    <a:cubicBezTo>
                      <a:pt x="505" y="1005"/>
                      <a:pt x="511" y="998"/>
                      <a:pt x="511" y="998"/>
                    </a:cubicBezTo>
                    <a:cubicBezTo>
                      <a:pt x="511" y="998"/>
                      <a:pt x="506" y="995"/>
                      <a:pt x="502" y="989"/>
                    </a:cubicBezTo>
                    <a:cubicBezTo>
                      <a:pt x="498" y="983"/>
                      <a:pt x="515" y="990"/>
                      <a:pt x="520" y="985"/>
                    </a:cubicBezTo>
                    <a:cubicBezTo>
                      <a:pt x="525" y="980"/>
                      <a:pt x="524" y="964"/>
                      <a:pt x="524" y="964"/>
                    </a:cubicBezTo>
                    <a:cubicBezTo>
                      <a:pt x="524" y="964"/>
                      <a:pt x="546" y="974"/>
                      <a:pt x="545" y="964"/>
                    </a:cubicBezTo>
                    <a:cubicBezTo>
                      <a:pt x="544" y="954"/>
                      <a:pt x="540" y="948"/>
                      <a:pt x="540" y="948"/>
                    </a:cubicBezTo>
                    <a:cubicBezTo>
                      <a:pt x="540" y="948"/>
                      <a:pt x="546" y="957"/>
                      <a:pt x="552" y="958"/>
                    </a:cubicBezTo>
                    <a:cubicBezTo>
                      <a:pt x="557" y="958"/>
                      <a:pt x="562" y="949"/>
                      <a:pt x="559" y="944"/>
                    </a:cubicBezTo>
                    <a:cubicBezTo>
                      <a:pt x="553" y="934"/>
                      <a:pt x="547" y="931"/>
                      <a:pt x="547" y="931"/>
                    </a:cubicBezTo>
                    <a:cubicBezTo>
                      <a:pt x="547" y="931"/>
                      <a:pt x="569" y="937"/>
                      <a:pt x="569" y="933"/>
                    </a:cubicBezTo>
                    <a:cubicBezTo>
                      <a:pt x="569" y="929"/>
                      <a:pt x="564" y="923"/>
                      <a:pt x="564" y="923"/>
                    </a:cubicBezTo>
                    <a:cubicBezTo>
                      <a:pt x="582" y="922"/>
                      <a:pt x="582" y="922"/>
                      <a:pt x="582" y="922"/>
                    </a:cubicBezTo>
                    <a:cubicBezTo>
                      <a:pt x="574" y="908"/>
                      <a:pt x="574" y="908"/>
                      <a:pt x="574" y="908"/>
                    </a:cubicBezTo>
                    <a:cubicBezTo>
                      <a:pt x="585" y="903"/>
                      <a:pt x="585" y="903"/>
                      <a:pt x="585" y="903"/>
                    </a:cubicBezTo>
                    <a:cubicBezTo>
                      <a:pt x="585" y="903"/>
                      <a:pt x="572" y="894"/>
                      <a:pt x="569" y="893"/>
                    </a:cubicBezTo>
                    <a:cubicBezTo>
                      <a:pt x="566" y="892"/>
                      <a:pt x="580" y="887"/>
                      <a:pt x="580" y="887"/>
                    </a:cubicBezTo>
                    <a:cubicBezTo>
                      <a:pt x="566" y="873"/>
                      <a:pt x="566" y="873"/>
                      <a:pt x="566" y="873"/>
                    </a:cubicBezTo>
                    <a:cubicBezTo>
                      <a:pt x="566" y="873"/>
                      <a:pt x="580" y="885"/>
                      <a:pt x="584" y="882"/>
                    </a:cubicBezTo>
                    <a:cubicBezTo>
                      <a:pt x="588" y="879"/>
                      <a:pt x="596" y="873"/>
                      <a:pt x="596" y="873"/>
                    </a:cubicBezTo>
                    <a:cubicBezTo>
                      <a:pt x="596" y="873"/>
                      <a:pt x="612" y="875"/>
                      <a:pt x="615" y="872"/>
                    </a:cubicBezTo>
                    <a:cubicBezTo>
                      <a:pt x="618" y="869"/>
                      <a:pt x="611" y="859"/>
                      <a:pt x="611" y="859"/>
                    </a:cubicBezTo>
                    <a:cubicBezTo>
                      <a:pt x="625" y="858"/>
                      <a:pt x="625" y="858"/>
                      <a:pt x="625" y="858"/>
                    </a:cubicBezTo>
                    <a:cubicBezTo>
                      <a:pt x="630" y="841"/>
                      <a:pt x="630" y="841"/>
                      <a:pt x="630" y="841"/>
                    </a:cubicBezTo>
                    <a:cubicBezTo>
                      <a:pt x="630" y="841"/>
                      <a:pt x="650" y="848"/>
                      <a:pt x="656" y="843"/>
                    </a:cubicBezTo>
                    <a:cubicBezTo>
                      <a:pt x="662" y="838"/>
                      <a:pt x="657" y="829"/>
                      <a:pt x="657" y="829"/>
                    </a:cubicBezTo>
                    <a:cubicBezTo>
                      <a:pt x="657" y="829"/>
                      <a:pt x="664" y="839"/>
                      <a:pt x="671" y="839"/>
                    </a:cubicBezTo>
                    <a:cubicBezTo>
                      <a:pt x="675" y="839"/>
                      <a:pt x="678" y="830"/>
                      <a:pt x="680" y="828"/>
                    </a:cubicBezTo>
                    <a:cubicBezTo>
                      <a:pt x="685" y="821"/>
                      <a:pt x="680" y="811"/>
                      <a:pt x="680" y="811"/>
                    </a:cubicBezTo>
                    <a:cubicBezTo>
                      <a:pt x="655" y="807"/>
                      <a:pt x="655" y="807"/>
                      <a:pt x="655" y="807"/>
                    </a:cubicBezTo>
                    <a:cubicBezTo>
                      <a:pt x="673" y="802"/>
                      <a:pt x="673" y="802"/>
                      <a:pt x="673" y="802"/>
                    </a:cubicBezTo>
                    <a:cubicBezTo>
                      <a:pt x="693" y="794"/>
                      <a:pt x="693" y="794"/>
                      <a:pt x="693" y="794"/>
                    </a:cubicBezTo>
                    <a:cubicBezTo>
                      <a:pt x="694" y="780"/>
                      <a:pt x="694" y="780"/>
                      <a:pt x="694" y="780"/>
                    </a:cubicBezTo>
                    <a:cubicBezTo>
                      <a:pt x="681" y="777"/>
                      <a:pt x="681" y="777"/>
                      <a:pt x="681" y="777"/>
                    </a:cubicBezTo>
                    <a:cubicBezTo>
                      <a:pt x="686" y="765"/>
                      <a:pt x="686" y="765"/>
                      <a:pt x="686" y="765"/>
                    </a:cubicBezTo>
                    <a:cubicBezTo>
                      <a:pt x="707" y="765"/>
                      <a:pt x="707" y="765"/>
                      <a:pt x="707" y="765"/>
                    </a:cubicBezTo>
                    <a:cubicBezTo>
                      <a:pt x="707" y="765"/>
                      <a:pt x="721" y="769"/>
                      <a:pt x="728" y="763"/>
                    </a:cubicBezTo>
                    <a:cubicBezTo>
                      <a:pt x="735" y="757"/>
                      <a:pt x="730" y="745"/>
                      <a:pt x="730" y="745"/>
                    </a:cubicBezTo>
                    <a:cubicBezTo>
                      <a:pt x="752" y="741"/>
                      <a:pt x="752" y="741"/>
                      <a:pt x="752" y="741"/>
                    </a:cubicBezTo>
                    <a:cubicBezTo>
                      <a:pt x="752" y="741"/>
                      <a:pt x="783" y="747"/>
                      <a:pt x="791" y="740"/>
                    </a:cubicBezTo>
                    <a:cubicBezTo>
                      <a:pt x="799" y="733"/>
                      <a:pt x="802" y="726"/>
                      <a:pt x="802" y="726"/>
                    </a:cubicBezTo>
                    <a:cubicBezTo>
                      <a:pt x="811" y="721"/>
                      <a:pt x="811" y="721"/>
                      <a:pt x="811" y="721"/>
                    </a:cubicBezTo>
                    <a:cubicBezTo>
                      <a:pt x="811" y="721"/>
                      <a:pt x="813" y="710"/>
                      <a:pt x="824" y="708"/>
                    </a:cubicBezTo>
                    <a:cubicBezTo>
                      <a:pt x="835" y="706"/>
                      <a:pt x="804" y="740"/>
                      <a:pt x="812" y="740"/>
                    </a:cubicBezTo>
                    <a:cubicBezTo>
                      <a:pt x="820" y="740"/>
                      <a:pt x="828" y="738"/>
                      <a:pt x="828" y="738"/>
                    </a:cubicBezTo>
                    <a:cubicBezTo>
                      <a:pt x="832" y="725"/>
                      <a:pt x="832" y="725"/>
                      <a:pt x="832" y="725"/>
                    </a:cubicBezTo>
                    <a:cubicBezTo>
                      <a:pt x="841" y="727"/>
                      <a:pt x="841" y="727"/>
                      <a:pt x="841" y="727"/>
                    </a:cubicBezTo>
                    <a:cubicBezTo>
                      <a:pt x="849" y="718"/>
                      <a:pt x="849" y="718"/>
                      <a:pt x="849" y="718"/>
                    </a:cubicBezTo>
                    <a:cubicBezTo>
                      <a:pt x="849" y="718"/>
                      <a:pt x="866" y="733"/>
                      <a:pt x="878" y="725"/>
                    </a:cubicBezTo>
                    <a:cubicBezTo>
                      <a:pt x="890" y="717"/>
                      <a:pt x="907" y="704"/>
                      <a:pt x="907" y="704"/>
                    </a:cubicBezTo>
                    <a:cubicBezTo>
                      <a:pt x="907" y="704"/>
                      <a:pt x="923" y="709"/>
                      <a:pt x="950" y="698"/>
                    </a:cubicBezTo>
                    <a:cubicBezTo>
                      <a:pt x="977" y="687"/>
                      <a:pt x="974" y="670"/>
                      <a:pt x="992" y="658"/>
                    </a:cubicBezTo>
                    <a:cubicBezTo>
                      <a:pt x="1010" y="646"/>
                      <a:pt x="1052" y="634"/>
                      <a:pt x="1052" y="634"/>
                    </a:cubicBezTo>
                    <a:cubicBezTo>
                      <a:pt x="1052" y="634"/>
                      <a:pt x="1055" y="625"/>
                      <a:pt x="1054" y="619"/>
                    </a:cubicBezTo>
                    <a:cubicBezTo>
                      <a:pt x="1053" y="613"/>
                      <a:pt x="1046" y="601"/>
                      <a:pt x="1053" y="599"/>
                    </a:cubicBezTo>
                    <a:cubicBezTo>
                      <a:pt x="1060" y="597"/>
                      <a:pt x="1071" y="625"/>
                      <a:pt x="1082" y="625"/>
                    </a:cubicBezTo>
                    <a:cubicBezTo>
                      <a:pt x="1082" y="625"/>
                      <a:pt x="1124" y="624"/>
                      <a:pt x="1135" y="622"/>
                    </a:cubicBezTo>
                    <a:cubicBezTo>
                      <a:pt x="1146" y="620"/>
                      <a:pt x="1167" y="609"/>
                      <a:pt x="1190" y="606"/>
                    </a:cubicBezTo>
                    <a:cubicBezTo>
                      <a:pt x="1213" y="603"/>
                      <a:pt x="1253" y="600"/>
                      <a:pt x="1260" y="598"/>
                    </a:cubicBezTo>
                    <a:cubicBezTo>
                      <a:pt x="1267" y="596"/>
                      <a:pt x="1273" y="589"/>
                      <a:pt x="1273" y="589"/>
                    </a:cubicBezTo>
                    <a:cubicBezTo>
                      <a:pt x="1291" y="589"/>
                      <a:pt x="1291" y="589"/>
                      <a:pt x="1291" y="589"/>
                    </a:cubicBezTo>
                    <a:cubicBezTo>
                      <a:pt x="1300" y="578"/>
                      <a:pt x="1300" y="578"/>
                      <a:pt x="1300" y="578"/>
                    </a:cubicBezTo>
                    <a:cubicBezTo>
                      <a:pt x="1317" y="578"/>
                      <a:pt x="1317" y="578"/>
                      <a:pt x="1317" y="578"/>
                    </a:cubicBezTo>
                    <a:cubicBezTo>
                      <a:pt x="1317" y="578"/>
                      <a:pt x="1335" y="561"/>
                      <a:pt x="1339" y="558"/>
                    </a:cubicBezTo>
                    <a:cubicBezTo>
                      <a:pt x="1343" y="555"/>
                      <a:pt x="1369" y="553"/>
                      <a:pt x="1369" y="553"/>
                    </a:cubicBezTo>
                    <a:cubicBezTo>
                      <a:pt x="1401" y="542"/>
                      <a:pt x="1401" y="542"/>
                      <a:pt x="1401" y="542"/>
                    </a:cubicBezTo>
                    <a:cubicBezTo>
                      <a:pt x="1422" y="537"/>
                      <a:pt x="1422" y="537"/>
                      <a:pt x="1422" y="537"/>
                    </a:cubicBezTo>
                    <a:cubicBezTo>
                      <a:pt x="1427" y="529"/>
                      <a:pt x="1427" y="529"/>
                      <a:pt x="1427" y="529"/>
                    </a:cubicBezTo>
                    <a:cubicBezTo>
                      <a:pt x="1427" y="529"/>
                      <a:pt x="1407" y="531"/>
                      <a:pt x="1395" y="531"/>
                    </a:cubicBezTo>
                    <a:cubicBezTo>
                      <a:pt x="1383" y="531"/>
                      <a:pt x="1375" y="524"/>
                      <a:pt x="1360" y="522"/>
                    </a:cubicBezTo>
                    <a:cubicBezTo>
                      <a:pt x="1345" y="520"/>
                      <a:pt x="1317" y="520"/>
                      <a:pt x="1303" y="524"/>
                    </a:cubicBezTo>
                    <a:cubicBezTo>
                      <a:pt x="1289" y="528"/>
                      <a:pt x="1269" y="528"/>
                      <a:pt x="1269" y="528"/>
                    </a:cubicBezTo>
                    <a:cubicBezTo>
                      <a:pt x="1259" y="537"/>
                      <a:pt x="1259" y="537"/>
                      <a:pt x="1259" y="537"/>
                    </a:cubicBezTo>
                    <a:cubicBezTo>
                      <a:pt x="1259" y="537"/>
                      <a:pt x="1214" y="541"/>
                      <a:pt x="1221" y="535"/>
                    </a:cubicBezTo>
                    <a:cubicBezTo>
                      <a:pt x="1228" y="529"/>
                      <a:pt x="1288" y="520"/>
                      <a:pt x="1288" y="520"/>
                    </a:cubicBezTo>
                    <a:cubicBezTo>
                      <a:pt x="1288" y="520"/>
                      <a:pt x="1348" y="508"/>
                      <a:pt x="1333" y="499"/>
                    </a:cubicBezTo>
                    <a:cubicBezTo>
                      <a:pt x="1318" y="490"/>
                      <a:pt x="1310" y="490"/>
                      <a:pt x="1310" y="490"/>
                    </a:cubicBezTo>
                    <a:cubicBezTo>
                      <a:pt x="1310" y="490"/>
                      <a:pt x="1255" y="508"/>
                      <a:pt x="1249" y="511"/>
                    </a:cubicBezTo>
                    <a:cubicBezTo>
                      <a:pt x="1243" y="514"/>
                      <a:pt x="1217" y="512"/>
                      <a:pt x="1217" y="512"/>
                    </a:cubicBezTo>
                    <a:cubicBezTo>
                      <a:pt x="1241" y="500"/>
                      <a:pt x="1241" y="500"/>
                      <a:pt x="1241" y="500"/>
                    </a:cubicBezTo>
                    <a:cubicBezTo>
                      <a:pt x="1255" y="489"/>
                      <a:pt x="1255" y="489"/>
                      <a:pt x="1255" y="489"/>
                    </a:cubicBezTo>
                    <a:cubicBezTo>
                      <a:pt x="1255" y="489"/>
                      <a:pt x="1279" y="493"/>
                      <a:pt x="1286" y="491"/>
                    </a:cubicBezTo>
                    <a:cubicBezTo>
                      <a:pt x="1293" y="489"/>
                      <a:pt x="1311" y="485"/>
                      <a:pt x="1319" y="485"/>
                    </a:cubicBezTo>
                    <a:cubicBezTo>
                      <a:pt x="1327" y="485"/>
                      <a:pt x="1349" y="483"/>
                      <a:pt x="1337" y="477"/>
                    </a:cubicBezTo>
                    <a:cubicBezTo>
                      <a:pt x="1325" y="471"/>
                      <a:pt x="1287" y="470"/>
                      <a:pt x="1287" y="470"/>
                    </a:cubicBezTo>
                    <a:cubicBezTo>
                      <a:pt x="1255" y="472"/>
                      <a:pt x="1255" y="472"/>
                      <a:pt x="1255" y="472"/>
                    </a:cubicBezTo>
                    <a:cubicBezTo>
                      <a:pt x="1271" y="465"/>
                      <a:pt x="1271" y="465"/>
                      <a:pt x="1271" y="465"/>
                    </a:cubicBezTo>
                    <a:cubicBezTo>
                      <a:pt x="1255" y="455"/>
                      <a:pt x="1255" y="455"/>
                      <a:pt x="1255" y="455"/>
                    </a:cubicBezTo>
                    <a:cubicBezTo>
                      <a:pt x="1255" y="455"/>
                      <a:pt x="1253" y="446"/>
                      <a:pt x="1257" y="446"/>
                    </a:cubicBezTo>
                    <a:cubicBezTo>
                      <a:pt x="1261" y="446"/>
                      <a:pt x="1281" y="463"/>
                      <a:pt x="1294" y="464"/>
                    </a:cubicBezTo>
                    <a:cubicBezTo>
                      <a:pt x="1307" y="465"/>
                      <a:pt x="1348" y="477"/>
                      <a:pt x="1348" y="477"/>
                    </a:cubicBezTo>
                    <a:cubicBezTo>
                      <a:pt x="1348" y="477"/>
                      <a:pt x="1366" y="469"/>
                      <a:pt x="1367" y="478"/>
                    </a:cubicBezTo>
                    <a:cubicBezTo>
                      <a:pt x="1368" y="487"/>
                      <a:pt x="1356" y="501"/>
                      <a:pt x="1377" y="507"/>
                    </a:cubicBezTo>
                    <a:cubicBezTo>
                      <a:pt x="1398" y="513"/>
                      <a:pt x="1421" y="514"/>
                      <a:pt x="1421" y="514"/>
                    </a:cubicBezTo>
                    <a:cubicBezTo>
                      <a:pt x="1421" y="514"/>
                      <a:pt x="1423" y="499"/>
                      <a:pt x="1427" y="502"/>
                    </a:cubicBezTo>
                    <a:cubicBezTo>
                      <a:pt x="1431" y="505"/>
                      <a:pt x="1427" y="520"/>
                      <a:pt x="1436" y="520"/>
                    </a:cubicBezTo>
                    <a:cubicBezTo>
                      <a:pt x="1445" y="520"/>
                      <a:pt x="1457" y="510"/>
                      <a:pt x="1457" y="510"/>
                    </a:cubicBezTo>
                    <a:cubicBezTo>
                      <a:pt x="1457" y="494"/>
                      <a:pt x="1457" y="494"/>
                      <a:pt x="1457" y="494"/>
                    </a:cubicBezTo>
                    <a:cubicBezTo>
                      <a:pt x="1451" y="492"/>
                      <a:pt x="1451" y="492"/>
                      <a:pt x="1451" y="492"/>
                    </a:cubicBezTo>
                    <a:cubicBezTo>
                      <a:pt x="1451" y="492"/>
                      <a:pt x="1465" y="481"/>
                      <a:pt x="1459" y="476"/>
                    </a:cubicBezTo>
                    <a:cubicBezTo>
                      <a:pt x="1453" y="471"/>
                      <a:pt x="1442" y="477"/>
                      <a:pt x="1442" y="477"/>
                    </a:cubicBezTo>
                    <a:cubicBezTo>
                      <a:pt x="1436" y="462"/>
                      <a:pt x="1436" y="462"/>
                      <a:pt x="1436" y="462"/>
                    </a:cubicBezTo>
                    <a:cubicBezTo>
                      <a:pt x="1425" y="459"/>
                      <a:pt x="1425" y="459"/>
                      <a:pt x="1425" y="459"/>
                    </a:cubicBezTo>
                    <a:cubicBezTo>
                      <a:pt x="1428" y="449"/>
                      <a:pt x="1428" y="449"/>
                      <a:pt x="1428" y="449"/>
                    </a:cubicBezTo>
                    <a:cubicBezTo>
                      <a:pt x="1380" y="430"/>
                      <a:pt x="1380" y="430"/>
                      <a:pt x="1380" y="430"/>
                    </a:cubicBezTo>
                    <a:cubicBezTo>
                      <a:pt x="1353" y="437"/>
                      <a:pt x="1353" y="437"/>
                      <a:pt x="1353" y="437"/>
                    </a:cubicBezTo>
                    <a:cubicBezTo>
                      <a:pt x="1347" y="434"/>
                      <a:pt x="1347" y="434"/>
                      <a:pt x="1347" y="434"/>
                    </a:cubicBezTo>
                    <a:cubicBezTo>
                      <a:pt x="1369" y="427"/>
                      <a:pt x="1369" y="427"/>
                      <a:pt x="1369" y="427"/>
                    </a:cubicBezTo>
                    <a:cubicBezTo>
                      <a:pt x="1371" y="424"/>
                      <a:pt x="1371" y="424"/>
                      <a:pt x="1371" y="424"/>
                    </a:cubicBezTo>
                    <a:cubicBezTo>
                      <a:pt x="1371" y="424"/>
                      <a:pt x="1370" y="415"/>
                      <a:pt x="1353" y="415"/>
                    </a:cubicBezTo>
                    <a:cubicBezTo>
                      <a:pt x="1336" y="415"/>
                      <a:pt x="1303" y="412"/>
                      <a:pt x="1303" y="412"/>
                    </a:cubicBezTo>
                    <a:cubicBezTo>
                      <a:pt x="1314" y="398"/>
                      <a:pt x="1314" y="398"/>
                      <a:pt x="1314" y="398"/>
                    </a:cubicBezTo>
                    <a:cubicBezTo>
                      <a:pt x="1314" y="398"/>
                      <a:pt x="1327" y="396"/>
                      <a:pt x="1337" y="400"/>
                    </a:cubicBezTo>
                    <a:cubicBezTo>
                      <a:pt x="1347" y="404"/>
                      <a:pt x="1363" y="393"/>
                      <a:pt x="1363" y="393"/>
                    </a:cubicBezTo>
                    <a:cubicBezTo>
                      <a:pt x="1381" y="390"/>
                      <a:pt x="1381" y="390"/>
                      <a:pt x="1381" y="390"/>
                    </a:cubicBezTo>
                    <a:cubicBezTo>
                      <a:pt x="1413" y="400"/>
                      <a:pt x="1413" y="400"/>
                      <a:pt x="1413" y="400"/>
                    </a:cubicBezTo>
                    <a:cubicBezTo>
                      <a:pt x="1427" y="397"/>
                      <a:pt x="1427" y="397"/>
                      <a:pt x="1427" y="397"/>
                    </a:cubicBezTo>
                    <a:cubicBezTo>
                      <a:pt x="1427" y="397"/>
                      <a:pt x="1453" y="418"/>
                      <a:pt x="1464" y="418"/>
                    </a:cubicBezTo>
                    <a:cubicBezTo>
                      <a:pt x="1475" y="418"/>
                      <a:pt x="1471" y="404"/>
                      <a:pt x="1471" y="404"/>
                    </a:cubicBezTo>
                    <a:cubicBezTo>
                      <a:pt x="1445" y="400"/>
                      <a:pt x="1445" y="400"/>
                      <a:pt x="1445" y="400"/>
                    </a:cubicBezTo>
                    <a:cubicBezTo>
                      <a:pt x="1425" y="390"/>
                      <a:pt x="1425" y="390"/>
                      <a:pt x="1425" y="390"/>
                    </a:cubicBezTo>
                    <a:cubicBezTo>
                      <a:pt x="1394" y="387"/>
                      <a:pt x="1394" y="387"/>
                      <a:pt x="1394" y="387"/>
                    </a:cubicBezTo>
                    <a:cubicBezTo>
                      <a:pt x="1394" y="387"/>
                      <a:pt x="1401" y="378"/>
                      <a:pt x="1408" y="375"/>
                    </a:cubicBezTo>
                    <a:cubicBezTo>
                      <a:pt x="1415" y="372"/>
                      <a:pt x="1432" y="390"/>
                      <a:pt x="1448" y="390"/>
                    </a:cubicBezTo>
                    <a:cubicBezTo>
                      <a:pt x="1464" y="390"/>
                      <a:pt x="1492" y="391"/>
                      <a:pt x="1492" y="391"/>
                    </a:cubicBezTo>
                    <a:cubicBezTo>
                      <a:pt x="1534" y="386"/>
                      <a:pt x="1534" y="386"/>
                      <a:pt x="1534" y="386"/>
                    </a:cubicBezTo>
                    <a:cubicBezTo>
                      <a:pt x="1535" y="368"/>
                      <a:pt x="1535" y="368"/>
                      <a:pt x="1535" y="368"/>
                    </a:cubicBezTo>
                    <a:cubicBezTo>
                      <a:pt x="1506" y="361"/>
                      <a:pt x="1506" y="361"/>
                      <a:pt x="1506" y="361"/>
                    </a:cubicBezTo>
                    <a:cubicBezTo>
                      <a:pt x="1491" y="371"/>
                      <a:pt x="1491" y="371"/>
                      <a:pt x="1491" y="371"/>
                    </a:cubicBezTo>
                    <a:cubicBezTo>
                      <a:pt x="1491" y="371"/>
                      <a:pt x="1477" y="359"/>
                      <a:pt x="1481" y="355"/>
                    </a:cubicBezTo>
                    <a:cubicBezTo>
                      <a:pt x="1485" y="351"/>
                      <a:pt x="1517" y="354"/>
                      <a:pt x="1517" y="354"/>
                    </a:cubicBezTo>
                    <a:cubicBezTo>
                      <a:pt x="1546" y="346"/>
                      <a:pt x="1546" y="346"/>
                      <a:pt x="1546" y="346"/>
                    </a:cubicBezTo>
                    <a:cubicBezTo>
                      <a:pt x="1546" y="346"/>
                      <a:pt x="1563" y="356"/>
                      <a:pt x="1576" y="352"/>
                    </a:cubicBezTo>
                    <a:cubicBezTo>
                      <a:pt x="1589" y="348"/>
                      <a:pt x="1602" y="339"/>
                      <a:pt x="1597" y="337"/>
                    </a:cubicBezTo>
                    <a:cubicBezTo>
                      <a:pt x="1592" y="335"/>
                      <a:pt x="1550" y="334"/>
                      <a:pt x="1546" y="334"/>
                    </a:cubicBezTo>
                    <a:cubicBezTo>
                      <a:pt x="1542" y="334"/>
                      <a:pt x="1550" y="326"/>
                      <a:pt x="1538" y="323"/>
                    </a:cubicBezTo>
                    <a:cubicBezTo>
                      <a:pt x="1526" y="320"/>
                      <a:pt x="1498" y="321"/>
                      <a:pt x="1498" y="321"/>
                    </a:cubicBezTo>
                    <a:cubicBezTo>
                      <a:pt x="1498" y="321"/>
                      <a:pt x="1532" y="320"/>
                      <a:pt x="1535" y="314"/>
                    </a:cubicBezTo>
                    <a:cubicBezTo>
                      <a:pt x="1538" y="308"/>
                      <a:pt x="1499" y="301"/>
                      <a:pt x="1499" y="301"/>
                    </a:cubicBezTo>
                    <a:cubicBezTo>
                      <a:pt x="1499" y="301"/>
                      <a:pt x="1521" y="296"/>
                      <a:pt x="1528" y="299"/>
                    </a:cubicBezTo>
                    <a:cubicBezTo>
                      <a:pt x="1535" y="302"/>
                      <a:pt x="1559" y="310"/>
                      <a:pt x="1565" y="308"/>
                    </a:cubicBezTo>
                    <a:cubicBezTo>
                      <a:pt x="1571" y="306"/>
                      <a:pt x="1573" y="320"/>
                      <a:pt x="1583" y="316"/>
                    </a:cubicBezTo>
                    <a:cubicBezTo>
                      <a:pt x="1593" y="312"/>
                      <a:pt x="1601" y="294"/>
                      <a:pt x="1594" y="289"/>
                    </a:cubicBezTo>
                    <a:cubicBezTo>
                      <a:pt x="1587" y="284"/>
                      <a:pt x="1570" y="272"/>
                      <a:pt x="1570" y="272"/>
                    </a:cubicBezTo>
                    <a:cubicBezTo>
                      <a:pt x="1531" y="264"/>
                      <a:pt x="1531" y="264"/>
                      <a:pt x="1531" y="264"/>
                    </a:cubicBezTo>
                    <a:cubicBezTo>
                      <a:pt x="1531" y="264"/>
                      <a:pt x="1513" y="256"/>
                      <a:pt x="1520" y="250"/>
                    </a:cubicBezTo>
                    <a:cubicBezTo>
                      <a:pt x="1527" y="244"/>
                      <a:pt x="1549" y="249"/>
                      <a:pt x="1549" y="249"/>
                    </a:cubicBezTo>
                    <a:cubicBezTo>
                      <a:pt x="1580" y="242"/>
                      <a:pt x="1580" y="242"/>
                      <a:pt x="1580" y="242"/>
                    </a:cubicBezTo>
                    <a:cubicBezTo>
                      <a:pt x="1580" y="242"/>
                      <a:pt x="1591" y="244"/>
                      <a:pt x="1623" y="246"/>
                    </a:cubicBezTo>
                    <a:cubicBezTo>
                      <a:pt x="1655" y="248"/>
                      <a:pt x="1670" y="225"/>
                      <a:pt x="1647" y="223"/>
                    </a:cubicBezTo>
                    <a:cubicBezTo>
                      <a:pt x="1624" y="221"/>
                      <a:pt x="1590" y="221"/>
                      <a:pt x="1590" y="221"/>
                    </a:cubicBezTo>
                    <a:cubicBezTo>
                      <a:pt x="1589" y="211"/>
                      <a:pt x="1589" y="211"/>
                      <a:pt x="1589" y="211"/>
                    </a:cubicBezTo>
                    <a:cubicBezTo>
                      <a:pt x="1609" y="210"/>
                      <a:pt x="1609" y="210"/>
                      <a:pt x="1609" y="210"/>
                    </a:cubicBezTo>
                    <a:cubicBezTo>
                      <a:pt x="1609" y="210"/>
                      <a:pt x="1603" y="195"/>
                      <a:pt x="1587" y="197"/>
                    </a:cubicBezTo>
                    <a:cubicBezTo>
                      <a:pt x="1571" y="199"/>
                      <a:pt x="1583" y="215"/>
                      <a:pt x="1574" y="216"/>
                    </a:cubicBezTo>
                    <a:cubicBezTo>
                      <a:pt x="1565" y="217"/>
                      <a:pt x="1540" y="204"/>
                      <a:pt x="1549" y="201"/>
                    </a:cubicBezTo>
                    <a:cubicBezTo>
                      <a:pt x="1558" y="198"/>
                      <a:pt x="1582" y="193"/>
                      <a:pt x="1585" y="185"/>
                    </a:cubicBezTo>
                    <a:cubicBezTo>
                      <a:pt x="1588" y="177"/>
                      <a:pt x="1598" y="165"/>
                      <a:pt x="1601" y="164"/>
                    </a:cubicBezTo>
                    <a:cubicBezTo>
                      <a:pt x="1604" y="163"/>
                      <a:pt x="1618" y="170"/>
                      <a:pt x="1627" y="165"/>
                    </a:cubicBezTo>
                    <a:cubicBezTo>
                      <a:pt x="1636" y="160"/>
                      <a:pt x="1649" y="151"/>
                      <a:pt x="1649" y="151"/>
                    </a:cubicBezTo>
                    <a:cubicBezTo>
                      <a:pt x="1639" y="141"/>
                      <a:pt x="1639" y="141"/>
                      <a:pt x="1639" y="141"/>
                    </a:cubicBezTo>
                    <a:cubicBezTo>
                      <a:pt x="1639" y="141"/>
                      <a:pt x="1665" y="128"/>
                      <a:pt x="1671" y="128"/>
                    </a:cubicBezTo>
                    <a:cubicBezTo>
                      <a:pt x="1677" y="128"/>
                      <a:pt x="1687" y="138"/>
                      <a:pt x="1695" y="132"/>
                    </a:cubicBezTo>
                    <a:cubicBezTo>
                      <a:pt x="1703" y="126"/>
                      <a:pt x="1723" y="122"/>
                      <a:pt x="1711" y="119"/>
                    </a:cubicBezTo>
                    <a:cubicBezTo>
                      <a:pt x="1699" y="116"/>
                      <a:pt x="1670" y="119"/>
                      <a:pt x="1670" y="119"/>
                    </a:cubicBezTo>
                    <a:cubicBezTo>
                      <a:pt x="1670" y="119"/>
                      <a:pt x="1615" y="134"/>
                      <a:pt x="1626" y="123"/>
                    </a:cubicBezTo>
                    <a:cubicBezTo>
                      <a:pt x="1637" y="112"/>
                      <a:pt x="1659" y="111"/>
                      <a:pt x="1659" y="111"/>
                    </a:cubicBezTo>
                    <a:cubicBezTo>
                      <a:pt x="1659" y="111"/>
                      <a:pt x="1700" y="113"/>
                      <a:pt x="1721" y="112"/>
                    </a:cubicBezTo>
                    <a:cubicBezTo>
                      <a:pt x="1742" y="111"/>
                      <a:pt x="1758" y="104"/>
                      <a:pt x="1758" y="104"/>
                    </a:cubicBezTo>
                    <a:cubicBezTo>
                      <a:pt x="1758" y="104"/>
                      <a:pt x="1723" y="95"/>
                      <a:pt x="1717" y="98"/>
                    </a:cubicBezTo>
                    <a:cubicBezTo>
                      <a:pt x="1711" y="101"/>
                      <a:pt x="1672" y="102"/>
                      <a:pt x="1672" y="102"/>
                    </a:cubicBezTo>
                    <a:cubicBezTo>
                      <a:pt x="1672" y="102"/>
                      <a:pt x="1625" y="105"/>
                      <a:pt x="1642" y="100"/>
                    </a:cubicBezTo>
                    <a:cubicBezTo>
                      <a:pt x="1659" y="95"/>
                      <a:pt x="1710" y="94"/>
                      <a:pt x="1710" y="94"/>
                    </a:cubicBezTo>
                    <a:cubicBezTo>
                      <a:pt x="1710" y="94"/>
                      <a:pt x="1776" y="95"/>
                      <a:pt x="1787" y="92"/>
                    </a:cubicBezTo>
                    <a:cubicBezTo>
                      <a:pt x="1798" y="89"/>
                      <a:pt x="1807" y="79"/>
                      <a:pt x="1807" y="79"/>
                    </a:cubicBezTo>
                    <a:cubicBezTo>
                      <a:pt x="1807" y="79"/>
                      <a:pt x="1834" y="80"/>
                      <a:pt x="1851" y="78"/>
                    </a:cubicBezTo>
                    <a:cubicBezTo>
                      <a:pt x="1868" y="76"/>
                      <a:pt x="1891" y="67"/>
                      <a:pt x="1891" y="67"/>
                    </a:cubicBezTo>
                    <a:cubicBezTo>
                      <a:pt x="1891" y="67"/>
                      <a:pt x="1865" y="57"/>
                      <a:pt x="1845" y="57"/>
                    </a:cubicBezTo>
                    <a:close/>
                    <a:moveTo>
                      <a:pt x="345" y="566"/>
                    </a:moveTo>
                    <a:cubicBezTo>
                      <a:pt x="353" y="568"/>
                      <a:pt x="353" y="568"/>
                      <a:pt x="353" y="568"/>
                    </a:cubicBezTo>
                    <a:cubicBezTo>
                      <a:pt x="353" y="568"/>
                      <a:pt x="371" y="564"/>
                      <a:pt x="377" y="564"/>
                    </a:cubicBezTo>
                    <a:cubicBezTo>
                      <a:pt x="383" y="564"/>
                      <a:pt x="397" y="554"/>
                      <a:pt x="395" y="546"/>
                    </a:cubicBezTo>
                    <a:cubicBezTo>
                      <a:pt x="393" y="538"/>
                      <a:pt x="371" y="534"/>
                      <a:pt x="371" y="534"/>
                    </a:cubicBezTo>
                    <a:cubicBezTo>
                      <a:pt x="371" y="534"/>
                      <a:pt x="361" y="526"/>
                      <a:pt x="351" y="526"/>
                    </a:cubicBezTo>
                    <a:cubicBezTo>
                      <a:pt x="341" y="526"/>
                      <a:pt x="337" y="532"/>
                      <a:pt x="321" y="526"/>
                    </a:cubicBezTo>
                    <a:cubicBezTo>
                      <a:pt x="317" y="542"/>
                      <a:pt x="317" y="542"/>
                      <a:pt x="317" y="542"/>
                    </a:cubicBezTo>
                    <a:cubicBezTo>
                      <a:pt x="317" y="542"/>
                      <a:pt x="309" y="546"/>
                      <a:pt x="309" y="552"/>
                    </a:cubicBezTo>
                    <a:cubicBezTo>
                      <a:pt x="309" y="558"/>
                      <a:pt x="321" y="564"/>
                      <a:pt x="321" y="564"/>
                    </a:cubicBezTo>
                    <a:cubicBezTo>
                      <a:pt x="317" y="572"/>
                      <a:pt x="317" y="572"/>
                      <a:pt x="317" y="572"/>
                    </a:cubicBezTo>
                    <a:lnTo>
                      <a:pt x="345" y="566"/>
                    </a:lnTo>
                    <a:close/>
                    <a:moveTo>
                      <a:pt x="2531" y="1160"/>
                    </a:moveTo>
                    <a:cubicBezTo>
                      <a:pt x="2535" y="1157"/>
                      <a:pt x="2548" y="1143"/>
                      <a:pt x="2545" y="1138"/>
                    </a:cubicBezTo>
                    <a:cubicBezTo>
                      <a:pt x="2542" y="1133"/>
                      <a:pt x="2538" y="1126"/>
                      <a:pt x="2538" y="1126"/>
                    </a:cubicBezTo>
                    <a:cubicBezTo>
                      <a:pt x="2538" y="1126"/>
                      <a:pt x="2520" y="1124"/>
                      <a:pt x="2519" y="1127"/>
                    </a:cubicBezTo>
                    <a:cubicBezTo>
                      <a:pt x="2518" y="1130"/>
                      <a:pt x="2498" y="1155"/>
                      <a:pt x="2498" y="1160"/>
                    </a:cubicBezTo>
                    <a:cubicBezTo>
                      <a:pt x="2498" y="1165"/>
                      <a:pt x="2501" y="1177"/>
                      <a:pt x="2501" y="1177"/>
                    </a:cubicBezTo>
                    <a:cubicBezTo>
                      <a:pt x="2488" y="1166"/>
                      <a:pt x="2488" y="1166"/>
                      <a:pt x="2488" y="1166"/>
                    </a:cubicBezTo>
                    <a:cubicBezTo>
                      <a:pt x="2482" y="1145"/>
                      <a:pt x="2482" y="1145"/>
                      <a:pt x="2482" y="1145"/>
                    </a:cubicBezTo>
                    <a:cubicBezTo>
                      <a:pt x="2482" y="1145"/>
                      <a:pt x="2457" y="1161"/>
                      <a:pt x="2458" y="1164"/>
                    </a:cubicBezTo>
                    <a:cubicBezTo>
                      <a:pt x="2459" y="1167"/>
                      <a:pt x="2472" y="1165"/>
                      <a:pt x="2473" y="1168"/>
                    </a:cubicBezTo>
                    <a:cubicBezTo>
                      <a:pt x="2474" y="1171"/>
                      <a:pt x="2483" y="1185"/>
                      <a:pt x="2483" y="1185"/>
                    </a:cubicBezTo>
                    <a:cubicBezTo>
                      <a:pt x="2460" y="1181"/>
                      <a:pt x="2460" y="1181"/>
                      <a:pt x="2460" y="1181"/>
                    </a:cubicBezTo>
                    <a:cubicBezTo>
                      <a:pt x="2460" y="1181"/>
                      <a:pt x="2448" y="1196"/>
                      <a:pt x="2449" y="1204"/>
                    </a:cubicBezTo>
                    <a:cubicBezTo>
                      <a:pt x="2450" y="1212"/>
                      <a:pt x="2466" y="1214"/>
                      <a:pt x="2466" y="1214"/>
                    </a:cubicBezTo>
                    <a:cubicBezTo>
                      <a:pt x="2466" y="1214"/>
                      <a:pt x="2452" y="1230"/>
                      <a:pt x="2455" y="1232"/>
                    </a:cubicBezTo>
                    <a:cubicBezTo>
                      <a:pt x="2458" y="1234"/>
                      <a:pt x="2472" y="1234"/>
                      <a:pt x="2472" y="1234"/>
                    </a:cubicBezTo>
                    <a:cubicBezTo>
                      <a:pt x="2471" y="1249"/>
                      <a:pt x="2471" y="1249"/>
                      <a:pt x="2471" y="1249"/>
                    </a:cubicBezTo>
                    <a:cubicBezTo>
                      <a:pt x="2463" y="1259"/>
                      <a:pt x="2463" y="1259"/>
                      <a:pt x="2463" y="1259"/>
                    </a:cubicBezTo>
                    <a:cubicBezTo>
                      <a:pt x="2473" y="1264"/>
                      <a:pt x="2473" y="1264"/>
                      <a:pt x="2473" y="1264"/>
                    </a:cubicBezTo>
                    <a:cubicBezTo>
                      <a:pt x="2473" y="1264"/>
                      <a:pt x="2480" y="1264"/>
                      <a:pt x="2484" y="1264"/>
                    </a:cubicBezTo>
                    <a:cubicBezTo>
                      <a:pt x="2488" y="1264"/>
                      <a:pt x="2496" y="1269"/>
                      <a:pt x="2496" y="1269"/>
                    </a:cubicBezTo>
                    <a:cubicBezTo>
                      <a:pt x="2496" y="1269"/>
                      <a:pt x="2498" y="1267"/>
                      <a:pt x="2506" y="1267"/>
                    </a:cubicBezTo>
                    <a:cubicBezTo>
                      <a:pt x="2513" y="1266"/>
                      <a:pt x="2514" y="1270"/>
                      <a:pt x="2514" y="1270"/>
                    </a:cubicBezTo>
                    <a:cubicBezTo>
                      <a:pt x="2514" y="1270"/>
                      <a:pt x="2515" y="1269"/>
                      <a:pt x="2517" y="1268"/>
                    </a:cubicBezTo>
                    <a:cubicBezTo>
                      <a:pt x="2517" y="1268"/>
                      <a:pt x="2517" y="1268"/>
                      <a:pt x="2517" y="1268"/>
                    </a:cubicBezTo>
                    <a:cubicBezTo>
                      <a:pt x="2513" y="1258"/>
                      <a:pt x="2510" y="1252"/>
                      <a:pt x="2510" y="1252"/>
                    </a:cubicBezTo>
                    <a:cubicBezTo>
                      <a:pt x="2521" y="1239"/>
                      <a:pt x="2521" y="1239"/>
                      <a:pt x="2521" y="1239"/>
                    </a:cubicBezTo>
                    <a:cubicBezTo>
                      <a:pt x="2521" y="1239"/>
                      <a:pt x="2503" y="1224"/>
                      <a:pt x="2513" y="1222"/>
                    </a:cubicBezTo>
                    <a:cubicBezTo>
                      <a:pt x="2523" y="1220"/>
                      <a:pt x="2531" y="1213"/>
                      <a:pt x="2531" y="1213"/>
                    </a:cubicBezTo>
                    <a:cubicBezTo>
                      <a:pt x="2535" y="1194"/>
                      <a:pt x="2535" y="1194"/>
                      <a:pt x="2535" y="1194"/>
                    </a:cubicBezTo>
                    <a:cubicBezTo>
                      <a:pt x="2549" y="1194"/>
                      <a:pt x="2549" y="1194"/>
                      <a:pt x="2549" y="1194"/>
                    </a:cubicBezTo>
                    <a:cubicBezTo>
                      <a:pt x="2554" y="1179"/>
                      <a:pt x="2554" y="1179"/>
                      <a:pt x="2554" y="1179"/>
                    </a:cubicBezTo>
                    <a:cubicBezTo>
                      <a:pt x="2531" y="1179"/>
                      <a:pt x="2531" y="1179"/>
                      <a:pt x="2531" y="1179"/>
                    </a:cubicBezTo>
                    <a:cubicBezTo>
                      <a:pt x="2531" y="1179"/>
                      <a:pt x="2527" y="1163"/>
                      <a:pt x="2531" y="1160"/>
                    </a:cubicBezTo>
                    <a:close/>
                    <a:moveTo>
                      <a:pt x="2525" y="1228"/>
                    </a:moveTo>
                    <a:cubicBezTo>
                      <a:pt x="2527" y="1252"/>
                      <a:pt x="2527" y="1252"/>
                      <a:pt x="2527" y="1252"/>
                    </a:cubicBezTo>
                    <a:cubicBezTo>
                      <a:pt x="2533" y="1252"/>
                      <a:pt x="2543" y="1262"/>
                      <a:pt x="2543" y="1262"/>
                    </a:cubicBezTo>
                    <a:cubicBezTo>
                      <a:pt x="2549" y="1244"/>
                      <a:pt x="2549" y="1244"/>
                      <a:pt x="2549" y="1244"/>
                    </a:cubicBezTo>
                    <a:cubicBezTo>
                      <a:pt x="2537" y="1230"/>
                      <a:pt x="2537" y="1230"/>
                      <a:pt x="2537" y="1230"/>
                    </a:cubicBezTo>
                    <a:lnTo>
                      <a:pt x="2525" y="1228"/>
                    </a:lnTo>
                    <a:close/>
                    <a:moveTo>
                      <a:pt x="2577" y="1240"/>
                    </a:moveTo>
                    <a:cubicBezTo>
                      <a:pt x="2576" y="1251"/>
                      <a:pt x="2567" y="1253"/>
                      <a:pt x="2579" y="1254"/>
                    </a:cubicBezTo>
                    <a:cubicBezTo>
                      <a:pt x="2591" y="1255"/>
                      <a:pt x="2596" y="1253"/>
                      <a:pt x="2596" y="1253"/>
                    </a:cubicBezTo>
                    <a:cubicBezTo>
                      <a:pt x="2596" y="1253"/>
                      <a:pt x="2604" y="1272"/>
                      <a:pt x="2605" y="1265"/>
                    </a:cubicBezTo>
                    <a:cubicBezTo>
                      <a:pt x="2607" y="1259"/>
                      <a:pt x="2617" y="1245"/>
                      <a:pt x="2619" y="1244"/>
                    </a:cubicBezTo>
                    <a:cubicBezTo>
                      <a:pt x="2621" y="1244"/>
                      <a:pt x="2630" y="1244"/>
                      <a:pt x="2622" y="1239"/>
                    </a:cubicBezTo>
                    <a:cubicBezTo>
                      <a:pt x="2614" y="1234"/>
                      <a:pt x="2607" y="1227"/>
                      <a:pt x="2610" y="1227"/>
                    </a:cubicBezTo>
                    <a:cubicBezTo>
                      <a:pt x="2613" y="1226"/>
                      <a:pt x="2620" y="1227"/>
                      <a:pt x="2615" y="1224"/>
                    </a:cubicBezTo>
                    <a:cubicBezTo>
                      <a:pt x="2610" y="1220"/>
                      <a:pt x="2624" y="1211"/>
                      <a:pt x="2624" y="1211"/>
                    </a:cubicBezTo>
                    <a:cubicBezTo>
                      <a:pt x="2624" y="1211"/>
                      <a:pt x="2616" y="1199"/>
                      <a:pt x="2615" y="1200"/>
                    </a:cubicBezTo>
                    <a:cubicBezTo>
                      <a:pt x="2614" y="1200"/>
                      <a:pt x="2601" y="1205"/>
                      <a:pt x="2601" y="1210"/>
                    </a:cubicBezTo>
                    <a:cubicBezTo>
                      <a:pt x="2601" y="1215"/>
                      <a:pt x="2601" y="1219"/>
                      <a:pt x="2601" y="1219"/>
                    </a:cubicBezTo>
                    <a:cubicBezTo>
                      <a:pt x="2601" y="1219"/>
                      <a:pt x="2592" y="1207"/>
                      <a:pt x="2590" y="1208"/>
                    </a:cubicBezTo>
                    <a:cubicBezTo>
                      <a:pt x="2588" y="1209"/>
                      <a:pt x="2585" y="1213"/>
                      <a:pt x="2585" y="1213"/>
                    </a:cubicBezTo>
                    <a:cubicBezTo>
                      <a:pt x="2569" y="1224"/>
                      <a:pt x="2569" y="1224"/>
                      <a:pt x="2569" y="1224"/>
                    </a:cubicBezTo>
                    <a:cubicBezTo>
                      <a:pt x="2569" y="1224"/>
                      <a:pt x="2578" y="1229"/>
                      <a:pt x="2577" y="1240"/>
                    </a:cubicBezTo>
                    <a:close/>
                    <a:moveTo>
                      <a:pt x="2629" y="1260"/>
                    </a:moveTo>
                    <a:cubicBezTo>
                      <a:pt x="2612" y="1266"/>
                      <a:pt x="2612" y="1266"/>
                      <a:pt x="2612" y="1266"/>
                    </a:cubicBezTo>
                    <a:cubicBezTo>
                      <a:pt x="2612" y="1266"/>
                      <a:pt x="2602" y="1270"/>
                      <a:pt x="2598" y="1269"/>
                    </a:cubicBezTo>
                    <a:cubicBezTo>
                      <a:pt x="2594" y="1269"/>
                      <a:pt x="2578" y="1262"/>
                      <a:pt x="2573" y="1262"/>
                    </a:cubicBezTo>
                    <a:cubicBezTo>
                      <a:pt x="2563" y="1262"/>
                      <a:pt x="2565" y="1273"/>
                      <a:pt x="2573" y="1272"/>
                    </a:cubicBezTo>
                    <a:cubicBezTo>
                      <a:pt x="2581" y="1270"/>
                      <a:pt x="2592" y="1282"/>
                      <a:pt x="2592" y="1282"/>
                    </a:cubicBezTo>
                    <a:cubicBezTo>
                      <a:pt x="2592" y="1282"/>
                      <a:pt x="2609" y="1279"/>
                      <a:pt x="2626" y="1275"/>
                    </a:cubicBezTo>
                    <a:cubicBezTo>
                      <a:pt x="2644" y="1272"/>
                      <a:pt x="2629" y="1260"/>
                      <a:pt x="2629" y="1260"/>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42" name="Greece">
                <a:extLst>
                  <a:ext uri="{FF2B5EF4-FFF2-40B4-BE49-F238E27FC236}">
                    <a16:creationId xmlns:a16="http://schemas.microsoft.com/office/drawing/2014/main" id="{25689909-6B1B-48AC-AA45-785B7E064107}"/>
                  </a:ext>
                </a:extLst>
              </p:cNvPr>
              <p:cNvSpPr>
                <a:spLocks noEditPoints="1"/>
              </p:cNvSpPr>
              <p:nvPr/>
            </p:nvSpPr>
            <p:spPr bwMode="gray">
              <a:xfrm>
                <a:off x="6130637" y="2828424"/>
                <a:ext cx="203235" cy="204694"/>
              </a:xfrm>
              <a:custGeom>
                <a:avLst/>
                <a:gdLst>
                  <a:gd name="T0" fmla="*/ 190 w 365"/>
                  <a:gd name="T1" fmla="*/ 78 h 367"/>
                  <a:gd name="T2" fmla="*/ 5 w 365"/>
                  <a:gd name="T3" fmla="*/ 188 h 367"/>
                  <a:gd name="T4" fmla="*/ 212 w 365"/>
                  <a:gd name="T5" fmla="*/ 277 h 367"/>
                  <a:gd name="T6" fmla="*/ 210 w 365"/>
                  <a:gd name="T7" fmla="*/ 258 h 367"/>
                  <a:gd name="T8" fmla="*/ 210 w 365"/>
                  <a:gd name="T9" fmla="*/ 258 h 367"/>
                  <a:gd name="T10" fmla="*/ 223 w 365"/>
                  <a:gd name="T11" fmla="*/ 213 h 367"/>
                  <a:gd name="T12" fmla="*/ 97 w 365"/>
                  <a:gd name="T13" fmla="*/ 176 h 367"/>
                  <a:gd name="T14" fmla="*/ 166 w 365"/>
                  <a:gd name="T15" fmla="*/ 188 h 367"/>
                  <a:gd name="T16" fmla="*/ 128 w 365"/>
                  <a:gd name="T17" fmla="*/ 152 h 367"/>
                  <a:gd name="T18" fmla="*/ 153 w 365"/>
                  <a:gd name="T19" fmla="*/ 156 h 367"/>
                  <a:gd name="T20" fmla="*/ 107 w 365"/>
                  <a:gd name="T21" fmla="*/ 94 h 367"/>
                  <a:gd name="T22" fmla="*/ 129 w 365"/>
                  <a:gd name="T23" fmla="*/ 78 h 367"/>
                  <a:gd name="T24" fmla="*/ 140 w 365"/>
                  <a:gd name="T25" fmla="*/ 79 h 367"/>
                  <a:gd name="T26" fmla="*/ 152 w 365"/>
                  <a:gd name="T27" fmla="*/ 77 h 367"/>
                  <a:gd name="T28" fmla="*/ 182 w 365"/>
                  <a:gd name="T29" fmla="*/ 49 h 367"/>
                  <a:gd name="T30" fmla="*/ 258 w 365"/>
                  <a:gd name="T31" fmla="*/ 52 h 367"/>
                  <a:gd name="T32" fmla="*/ 275 w 365"/>
                  <a:gd name="T33" fmla="*/ 22 h 367"/>
                  <a:gd name="T34" fmla="*/ 261 w 365"/>
                  <a:gd name="T35" fmla="*/ 0 h 367"/>
                  <a:gd name="T36" fmla="*/ 237 w 365"/>
                  <a:gd name="T37" fmla="*/ 25 h 367"/>
                  <a:gd name="T38" fmla="*/ 205 w 365"/>
                  <a:gd name="T39" fmla="*/ 17 h 367"/>
                  <a:gd name="T40" fmla="*/ 161 w 365"/>
                  <a:gd name="T41" fmla="*/ 9 h 367"/>
                  <a:gd name="T42" fmla="*/ 123 w 365"/>
                  <a:gd name="T43" fmla="*/ 25 h 367"/>
                  <a:gd name="T44" fmla="*/ 70 w 365"/>
                  <a:gd name="T45" fmla="*/ 36 h 367"/>
                  <a:gd name="T46" fmla="*/ 38 w 365"/>
                  <a:gd name="T47" fmla="*/ 50 h 367"/>
                  <a:gd name="T48" fmla="*/ 21 w 365"/>
                  <a:gd name="T49" fmla="*/ 84 h 367"/>
                  <a:gd name="T50" fmla="*/ 3 w 365"/>
                  <a:gd name="T51" fmla="*/ 109 h 367"/>
                  <a:gd name="T52" fmla="*/ 29 w 365"/>
                  <a:gd name="T53" fmla="*/ 156 h 367"/>
                  <a:gd name="T54" fmla="*/ 266 w 365"/>
                  <a:gd name="T55" fmla="*/ 168 h 367"/>
                  <a:gd name="T56" fmla="*/ 261 w 365"/>
                  <a:gd name="T57" fmla="*/ 196 h 367"/>
                  <a:gd name="T58" fmla="*/ 30 w 365"/>
                  <a:gd name="T59" fmla="*/ 220 h 367"/>
                  <a:gd name="T60" fmla="*/ 255 w 365"/>
                  <a:gd name="T61" fmla="*/ 270 h 367"/>
                  <a:gd name="T62" fmla="*/ 275 w 365"/>
                  <a:gd name="T63" fmla="*/ 220 h 367"/>
                  <a:gd name="T64" fmla="*/ 269 w 365"/>
                  <a:gd name="T65" fmla="*/ 127 h 367"/>
                  <a:gd name="T66" fmla="*/ 278 w 365"/>
                  <a:gd name="T67" fmla="*/ 148 h 367"/>
                  <a:gd name="T68" fmla="*/ 247 w 365"/>
                  <a:gd name="T69" fmla="*/ 254 h 367"/>
                  <a:gd name="T70" fmla="*/ 291 w 365"/>
                  <a:gd name="T71" fmla="*/ 220 h 367"/>
                  <a:gd name="T72" fmla="*/ 307 w 365"/>
                  <a:gd name="T73" fmla="*/ 236 h 367"/>
                  <a:gd name="T74" fmla="*/ 186 w 365"/>
                  <a:gd name="T75" fmla="*/ 146 h 367"/>
                  <a:gd name="T76" fmla="*/ 361 w 365"/>
                  <a:gd name="T77" fmla="*/ 281 h 367"/>
                  <a:gd name="T78" fmla="*/ 310 w 365"/>
                  <a:gd name="T79" fmla="*/ 258 h 367"/>
                  <a:gd name="T80" fmla="*/ 326 w 365"/>
                  <a:gd name="T81" fmla="*/ 249 h 367"/>
                  <a:gd name="T82" fmla="*/ 324 w 365"/>
                  <a:gd name="T83" fmla="*/ 339 h 367"/>
                  <a:gd name="T84" fmla="*/ 186 w 365"/>
                  <a:gd name="T85" fmla="*/ 221 h 367"/>
                  <a:gd name="T86" fmla="*/ 127 w 365"/>
                  <a:gd name="T87" fmla="*/ 288 h 367"/>
                  <a:gd name="T88" fmla="*/ 259 w 365"/>
                  <a:gd name="T89" fmla="*/ 352 h 367"/>
                  <a:gd name="T90" fmla="*/ 209 w 365"/>
                  <a:gd name="T91" fmla="*/ 336 h 367"/>
                  <a:gd name="T92" fmla="*/ 161 w 365"/>
                  <a:gd name="T93" fmla="*/ 342 h 367"/>
                  <a:gd name="T94" fmla="*/ 205 w 365"/>
                  <a:gd name="T95" fmla="*/ 352 h 367"/>
                  <a:gd name="T96" fmla="*/ 241 w 365"/>
                  <a:gd name="T97" fmla="*/ 362 h 367"/>
                  <a:gd name="T98" fmla="*/ 285 w 365"/>
                  <a:gd name="T99" fmla="*/ 272 h 367"/>
                  <a:gd name="T100" fmla="*/ 79 w 365"/>
                  <a:gd name="T101" fmla="*/ 186 h 367"/>
                  <a:gd name="T102" fmla="*/ 47 w 365"/>
                  <a:gd name="T103" fmla="*/ 207 h 367"/>
                  <a:gd name="T104" fmla="*/ 81 w 365"/>
                  <a:gd name="T105" fmla="*/ 260 h 367"/>
                  <a:gd name="T106" fmla="*/ 113 w 365"/>
                  <a:gd name="T107" fmla="*/ 262 h 367"/>
                  <a:gd name="T108" fmla="*/ 129 w 365"/>
                  <a:gd name="T109" fmla="*/ 270 h 367"/>
                  <a:gd name="T110" fmla="*/ 117 w 365"/>
                  <a:gd name="T111" fmla="*/ 221 h 367"/>
                  <a:gd name="T112" fmla="*/ 132 w 365"/>
                  <a:gd name="T113" fmla="*/ 212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43" name="Germany">
                <a:extLst>
                  <a:ext uri="{FF2B5EF4-FFF2-40B4-BE49-F238E27FC236}">
                    <a16:creationId xmlns:a16="http://schemas.microsoft.com/office/drawing/2014/main" id="{37F4D6AA-DAFF-437B-9A1F-930F53267E08}"/>
                  </a:ext>
                </a:extLst>
              </p:cNvPr>
              <p:cNvSpPr>
                <a:spLocks/>
              </p:cNvSpPr>
              <p:nvPr/>
            </p:nvSpPr>
            <p:spPr bwMode="gray">
              <a:xfrm>
                <a:off x="5786089" y="2444426"/>
                <a:ext cx="209586" cy="218975"/>
              </a:xfrm>
              <a:custGeom>
                <a:avLst/>
                <a:gdLst>
                  <a:gd name="T0" fmla="*/ 21 w 373"/>
                  <a:gd name="T1" fmla="*/ 294 h 393"/>
                  <a:gd name="T2" fmla="*/ 62 w 373"/>
                  <a:gd name="T3" fmla="*/ 297 h 393"/>
                  <a:gd name="T4" fmla="*/ 90 w 373"/>
                  <a:gd name="T5" fmla="*/ 305 h 393"/>
                  <a:gd name="T6" fmla="*/ 74 w 373"/>
                  <a:gd name="T7" fmla="*/ 330 h 393"/>
                  <a:gd name="T8" fmla="*/ 75 w 373"/>
                  <a:gd name="T9" fmla="*/ 381 h 393"/>
                  <a:gd name="T10" fmla="*/ 101 w 373"/>
                  <a:gd name="T11" fmla="*/ 378 h 393"/>
                  <a:gd name="T12" fmla="*/ 128 w 373"/>
                  <a:gd name="T13" fmla="*/ 372 h 393"/>
                  <a:gd name="T14" fmla="*/ 148 w 373"/>
                  <a:gd name="T15" fmla="*/ 383 h 393"/>
                  <a:gd name="T16" fmla="*/ 161 w 373"/>
                  <a:gd name="T17" fmla="*/ 382 h 393"/>
                  <a:gd name="T18" fmla="*/ 182 w 373"/>
                  <a:gd name="T19" fmla="*/ 377 h 393"/>
                  <a:gd name="T20" fmla="*/ 224 w 373"/>
                  <a:gd name="T21" fmla="*/ 387 h 393"/>
                  <a:gd name="T22" fmla="*/ 258 w 373"/>
                  <a:gd name="T23" fmla="*/ 372 h 393"/>
                  <a:gd name="T24" fmla="*/ 290 w 373"/>
                  <a:gd name="T25" fmla="*/ 385 h 393"/>
                  <a:gd name="T26" fmla="*/ 282 w 373"/>
                  <a:gd name="T27" fmla="*/ 358 h 393"/>
                  <a:gd name="T28" fmla="*/ 309 w 373"/>
                  <a:gd name="T29" fmla="*/ 335 h 393"/>
                  <a:gd name="T30" fmla="*/ 324 w 373"/>
                  <a:gd name="T31" fmla="*/ 316 h 393"/>
                  <a:gd name="T32" fmla="*/ 301 w 373"/>
                  <a:gd name="T33" fmla="*/ 295 h 393"/>
                  <a:gd name="T34" fmla="*/ 281 w 373"/>
                  <a:gd name="T35" fmla="*/ 285 h 393"/>
                  <a:gd name="T36" fmla="*/ 271 w 373"/>
                  <a:gd name="T37" fmla="*/ 271 h 393"/>
                  <a:gd name="T38" fmla="*/ 263 w 373"/>
                  <a:gd name="T39" fmla="*/ 248 h 393"/>
                  <a:gd name="T40" fmla="*/ 263 w 373"/>
                  <a:gd name="T41" fmla="*/ 239 h 393"/>
                  <a:gd name="T42" fmla="*/ 283 w 373"/>
                  <a:gd name="T43" fmla="*/ 227 h 393"/>
                  <a:gd name="T44" fmla="*/ 308 w 373"/>
                  <a:gd name="T45" fmla="*/ 221 h 393"/>
                  <a:gd name="T46" fmla="*/ 325 w 373"/>
                  <a:gd name="T47" fmla="*/ 210 h 393"/>
                  <a:gd name="T48" fmla="*/ 360 w 373"/>
                  <a:gd name="T49" fmla="*/ 208 h 393"/>
                  <a:gd name="T50" fmla="*/ 369 w 373"/>
                  <a:gd name="T51" fmla="*/ 177 h 393"/>
                  <a:gd name="T52" fmla="*/ 351 w 373"/>
                  <a:gd name="T53" fmla="*/ 157 h 393"/>
                  <a:gd name="T54" fmla="*/ 356 w 373"/>
                  <a:gd name="T55" fmla="*/ 136 h 393"/>
                  <a:gd name="T56" fmla="*/ 352 w 373"/>
                  <a:gd name="T57" fmla="*/ 115 h 393"/>
                  <a:gd name="T58" fmla="*/ 334 w 373"/>
                  <a:gd name="T59" fmla="*/ 106 h 393"/>
                  <a:gd name="T60" fmla="*/ 339 w 373"/>
                  <a:gd name="T61" fmla="*/ 72 h 393"/>
                  <a:gd name="T62" fmla="*/ 321 w 373"/>
                  <a:gd name="T63" fmla="*/ 55 h 393"/>
                  <a:gd name="T64" fmla="*/ 296 w 373"/>
                  <a:gd name="T65" fmla="*/ 35 h 393"/>
                  <a:gd name="T66" fmla="*/ 226 w 373"/>
                  <a:gd name="T67" fmla="*/ 35 h 393"/>
                  <a:gd name="T68" fmla="*/ 202 w 373"/>
                  <a:gd name="T69" fmla="*/ 35 h 393"/>
                  <a:gd name="T70" fmla="*/ 168 w 373"/>
                  <a:gd name="T71" fmla="*/ 22 h 393"/>
                  <a:gd name="T72" fmla="*/ 145 w 373"/>
                  <a:gd name="T73" fmla="*/ 3 h 393"/>
                  <a:gd name="T74" fmla="*/ 112 w 373"/>
                  <a:gd name="T75" fmla="*/ 0 h 393"/>
                  <a:gd name="T76" fmla="*/ 130 w 373"/>
                  <a:gd name="T77" fmla="*/ 49 h 393"/>
                  <a:gd name="T78" fmla="*/ 105 w 373"/>
                  <a:gd name="T79" fmla="*/ 55 h 393"/>
                  <a:gd name="T80" fmla="*/ 82 w 373"/>
                  <a:gd name="T81" fmla="*/ 62 h 393"/>
                  <a:gd name="T82" fmla="*/ 57 w 373"/>
                  <a:gd name="T83" fmla="*/ 85 h 393"/>
                  <a:gd name="T84" fmla="*/ 47 w 373"/>
                  <a:gd name="T85" fmla="*/ 103 h 393"/>
                  <a:gd name="T86" fmla="*/ 30 w 373"/>
                  <a:gd name="T87" fmla="*/ 122 h 393"/>
                  <a:gd name="T88" fmla="*/ 35 w 373"/>
                  <a:gd name="T89" fmla="*/ 153 h 393"/>
                  <a:gd name="T90" fmla="*/ 1 w 373"/>
                  <a:gd name="T91" fmla="*/ 155 h 393"/>
                  <a:gd name="T92" fmla="*/ 0 w 373"/>
                  <a:gd name="T93" fmla="*/ 191 h 393"/>
                  <a:gd name="T94" fmla="*/ 5 w 373"/>
                  <a:gd name="T95" fmla="*/ 216 h 393"/>
                  <a:gd name="T96" fmla="*/ 9 w 373"/>
                  <a:gd name="T97" fmla="*/ 239 h 393"/>
                  <a:gd name="T98" fmla="*/ 17 w 373"/>
                  <a:gd name="T99" fmla="*/ 27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44" name="France">
                <a:extLst>
                  <a:ext uri="{FF2B5EF4-FFF2-40B4-BE49-F238E27FC236}">
                    <a16:creationId xmlns:a16="http://schemas.microsoft.com/office/drawing/2014/main" id="{BF078F27-B0BE-412C-A59D-A955F46C041C}"/>
                  </a:ext>
                </a:extLst>
              </p:cNvPr>
              <p:cNvSpPr>
                <a:spLocks/>
              </p:cNvSpPr>
              <p:nvPr/>
            </p:nvSpPr>
            <p:spPr bwMode="gray">
              <a:xfrm>
                <a:off x="5531792" y="2552321"/>
                <a:ext cx="304780" cy="257994"/>
              </a:xfrm>
              <a:custGeom>
                <a:avLst/>
                <a:gdLst>
                  <a:gd name="T0" fmla="*/ 91 w 96"/>
                  <a:gd name="T1" fmla="*/ 18 h 81"/>
                  <a:gd name="T2" fmla="*/ 87 w 96"/>
                  <a:gd name="T3" fmla="*/ 17 h 81"/>
                  <a:gd name="T4" fmla="*/ 84 w 96"/>
                  <a:gd name="T5" fmla="*/ 15 h 81"/>
                  <a:gd name="T6" fmla="*/ 81 w 96"/>
                  <a:gd name="T7" fmla="*/ 14 h 81"/>
                  <a:gd name="T8" fmla="*/ 79 w 96"/>
                  <a:gd name="T9" fmla="*/ 14 h 81"/>
                  <a:gd name="T10" fmla="*/ 76 w 96"/>
                  <a:gd name="T11" fmla="*/ 13 h 81"/>
                  <a:gd name="T12" fmla="*/ 72 w 96"/>
                  <a:gd name="T13" fmla="*/ 9 h 81"/>
                  <a:gd name="T14" fmla="*/ 67 w 96"/>
                  <a:gd name="T15" fmla="*/ 11 h 81"/>
                  <a:gd name="T16" fmla="*/ 62 w 96"/>
                  <a:gd name="T17" fmla="*/ 6 h 81"/>
                  <a:gd name="T18" fmla="*/ 58 w 96"/>
                  <a:gd name="T19" fmla="*/ 4 h 81"/>
                  <a:gd name="T20" fmla="*/ 57 w 96"/>
                  <a:gd name="T21" fmla="*/ 0 h 81"/>
                  <a:gd name="T22" fmla="*/ 47 w 96"/>
                  <a:gd name="T23" fmla="*/ 2 h 81"/>
                  <a:gd name="T24" fmla="*/ 48 w 96"/>
                  <a:gd name="T25" fmla="*/ 9 h 81"/>
                  <a:gd name="T26" fmla="*/ 38 w 96"/>
                  <a:gd name="T27" fmla="*/ 14 h 81"/>
                  <a:gd name="T28" fmla="*/ 33 w 96"/>
                  <a:gd name="T29" fmla="*/ 17 h 81"/>
                  <a:gd name="T30" fmla="*/ 27 w 96"/>
                  <a:gd name="T31" fmla="*/ 13 h 81"/>
                  <a:gd name="T32" fmla="*/ 26 w 96"/>
                  <a:gd name="T33" fmla="*/ 17 h 81"/>
                  <a:gd name="T34" fmla="*/ 18 w 96"/>
                  <a:gd name="T35" fmla="*/ 22 h 81"/>
                  <a:gd name="T36" fmla="*/ 13 w 96"/>
                  <a:gd name="T37" fmla="*/ 20 h 81"/>
                  <a:gd name="T38" fmla="*/ 2 w 96"/>
                  <a:gd name="T39" fmla="*/ 24 h 81"/>
                  <a:gd name="T40" fmla="*/ 1 w 96"/>
                  <a:gd name="T41" fmla="*/ 28 h 81"/>
                  <a:gd name="T42" fmla="*/ 6 w 96"/>
                  <a:gd name="T43" fmla="*/ 29 h 81"/>
                  <a:gd name="T44" fmla="*/ 15 w 96"/>
                  <a:gd name="T45" fmla="*/ 32 h 81"/>
                  <a:gd name="T46" fmla="*/ 22 w 96"/>
                  <a:gd name="T47" fmla="*/ 35 h 81"/>
                  <a:gd name="T48" fmla="*/ 23 w 96"/>
                  <a:gd name="T49" fmla="*/ 43 h 81"/>
                  <a:gd name="T50" fmla="*/ 26 w 96"/>
                  <a:gd name="T51" fmla="*/ 49 h 81"/>
                  <a:gd name="T52" fmla="*/ 30 w 96"/>
                  <a:gd name="T53" fmla="*/ 56 h 81"/>
                  <a:gd name="T54" fmla="*/ 26 w 96"/>
                  <a:gd name="T55" fmla="*/ 59 h 81"/>
                  <a:gd name="T56" fmla="*/ 20 w 96"/>
                  <a:gd name="T57" fmla="*/ 72 h 81"/>
                  <a:gd name="T58" fmla="*/ 23 w 96"/>
                  <a:gd name="T59" fmla="*/ 73 h 81"/>
                  <a:gd name="T60" fmla="*/ 27 w 96"/>
                  <a:gd name="T61" fmla="*/ 75 h 81"/>
                  <a:gd name="T62" fmla="*/ 32 w 96"/>
                  <a:gd name="T63" fmla="*/ 77 h 81"/>
                  <a:gd name="T64" fmla="*/ 36 w 96"/>
                  <a:gd name="T65" fmla="*/ 78 h 81"/>
                  <a:gd name="T66" fmla="*/ 39 w 96"/>
                  <a:gd name="T67" fmla="*/ 78 h 81"/>
                  <a:gd name="T68" fmla="*/ 42 w 96"/>
                  <a:gd name="T69" fmla="*/ 78 h 81"/>
                  <a:gd name="T70" fmla="*/ 44 w 96"/>
                  <a:gd name="T71" fmla="*/ 78 h 81"/>
                  <a:gd name="T72" fmla="*/ 47 w 96"/>
                  <a:gd name="T73" fmla="*/ 78 h 81"/>
                  <a:gd name="T74" fmla="*/ 49 w 96"/>
                  <a:gd name="T75" fmla="*/ 81 h 81"/>
                  <a:gd name="T76" fmla="*/ 52 w 96"/>
                  <a:gd name="T77" fmla="*/ 81 h 81"/>
                  <a:gd name="T78" fmla="*/ 55 w 96"/>
                  <a:gd name="T79" fmla="*/ 80 h 81"/>
                  <a:gd name="T80" fmla="*/ 56 w 96"/>
                  <a:gd name="T81" fmla="*/ 79 h 81"/>
                  <a:gd name="T82" fmla="*/ 66 w 96"/>
                  <a:gd name="T83" fmla="*/ 70 h 81"/>
                  <a:gd name="T84" fmla="*/ 74 w 96"/>
                  <a:gd name="T85" fmla="*/ 71 h 81"/>
                  <a:gd name="T86" fmla="*/ 83 w 96"/>
                  <a:gd name="T87" fmla="*/ 74 h 81"/>
                  <a:gd name="T88" fmla="*/ 90 w 96"/>
                  <a:gd name="T89" fmla="*/ 68 h 81"/>
                  <a:gd name="T90" fmla="*/ 92 w 96"/>
                  <a:gd name="T91" fmla="*/ 65 h 81"/>
                  <a:gd name="T92" fmla="*/ 88 w 96"/>
                  <a:gd name="T93" fmla="*/ 63 h 81"/>
                  <a:gd name="T94" fmla="*/ 87 w 96"/>
                  <a:gd name="T95" fmla="*/ 59 h 81"/>
                  <a:gd name="T96" fmla="*/ 85 w 96"/>
                  <a:gd name="T97" fmla="*/ 57 h 81"/>
                  <a:gd name="T98" fmla="*/ 85 w 96"/>
                  <a:gd name="T99" fmla="*/ 55 h 81"/>
                  <a:gd name="T100" fmla="*/ 87 w 96"/>
                  <a:gd name="T101" fmla="*/ 51 h 81"/>
                  <a:gd name="T102" fmla="*/ 87 w 96"/>
                  <a:gd name="T103" fmla="*/ 48 h 81"/>
                  <a:gd name="T104" fmla="*/ 86 w 96"/>
                  <a:gd name="T105" fmla="*/ 43 h 81"/>
                  <a:gd name="T106" fmla="*/ 80 w 96"/>
                  <a:gd name="T107" fmla="*/ 46 h 81"/>
                  <a:gd name="T108" fmla="*/ 80 w 96"/>
                  <a:gd name="T109" fmla="*/ 43 h 81"/>
                  <a:gd name="T110" fmla="*/ 84 w 96"/>
                  <a:gd name="T111" fmla="*/ 37 h 81"/>
                  <a:gd name="T112" fmla="*/ 87 w 96"/>
                  <a:gd name="T113" fmla="*/ 35 h 81"/>
                  <a:gd name="T114" fmla="*/ 91 w 96"/>
                  <a:gd name="T115" fmla="*/ 34 h 81"/>
                  <a:gd name="T116" fmla="*/ 91 w 96"/>
                  <a:gd name="T117" fmla="*/ 29 h 81"/>
                  <a:gd name="T118" fmla="*/ 93 w 96"/>
                  <a:gd name="T119" fmla="*/ 22 h 81"/>
                  <a:gd name="T120" fmla="*/ 96 w 96"/>
                  <a:gd name="T121" fmla="*/ 19 h 81"/>
                  <a:gd name="T122" fmla="*/ 91 w 96"/>
                  <a:gd name="T123" fmla="*/ 1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 h="81">
                    <a:moveTo>
                      <a:pt x="91" y="19"/>
                    </a:moveTo>
                    <a:cubicBezTo>
                      <a:pt x="91" y="18"/>
                      <a:pt x="91" y="18"/>
                      <a:pt x="91" y="18"/>
                    </a:cubicBezTo>
                    <a:cubicBezTo>
                      <a:pt x="91" y="18"/>
                      <a:pt x="89" y="19"/>
                      <a:pt x="88" y="19"/>
                    </a:cubicBezTo>
                    <a:cubicBezTo>
                      <a:pt x="87" y="18"/>
                      <a:pt x="87" y="17"/>
                      <a:pt x="87" y="17"/>
                    </a:cubicBezTo>
                    <a:cubicBezTo>
                      <a:pt x="84" y="17"/>
                      <a:pt x="84" y="17"/>
                      <a:pt x="84" y="17"/>
                    </a:cubicBezTo>
                    <a:cubicBezTo>
                      <a:pt x="84" y="17"/>
                      <a:pt x="85" y="16"/>
                      <a:pt x="84" y="15"/>
                    </a:cubicBezTo>
                    <a:cubicBezTo>
                      <a:pt x="84" y="15"/>
                      <a:pt x="83" y="14"/>
                      <a:pt x="83" y="14"/>
                    </a:cubicBezTo>
                    <a:cubicBezTo>
                      <a:pt x="81" y="14"/>
                      <a:pt x="81" y="14"/>
                      <a:pt x="81" y="14"/>
                    </a:cubicBezTo>
                    <a:cubicBezTo>
                      <a:pt x="80" y="15"/>
                      <a:pt x="80" y="15"/>
                      <a:pt x="80" y="15"/>
                    </a:cubicBezTo>
                    <a:cubicBezTo>
                      <a:pt x="79" y="14"/>
                      <a:pt x="79" y="14"/>
                      <a:pt x="79" y="14"/>
                    </a:cubicBezTo>
                    <a:cubicBezTo>
                      <a:pt x="76" y="14"/>
                      <a:pt x="76" y="14"/>
                      <a:pt x="76" y="14"/>
                    </a:cubicBezTo>
                    <a:cubicBezTo>
                      <a:pt x="76" y="14"/>
                      <a:pt x="76" y="14"/>
                      <a:pt x="76" y="13"/>
                    </a:cubicBezTo>
                    <a:cubicBezTo>
                      <a:pt x="75" y="13"/>
                      <a:pt x="72" y="12"/>
                      <a:pt x="72" y="12"/>
                    </a:cubicBezTo>
                    <a:cubicBezTo>
                      <a:pt x="72" y="9"/>
                      <a:pt x="72" y="9"/>
                      <a:pt x="72" y="9"/>
                    </a:cubicBezTo>
                    <a:cubicBezTo>
                      <a:pt x="70" y="11"/>
                      <a:pt x="70" y="11"/>
                      <a:pt x="70" y="11"/>
                    </a:cubicBezTo>
                    <a:cubicBezTo>
                      <a:pt x="67" y="11"/>
                      <a:pt x="67" y="11"/>
                      <a:pt x="67" y="11"/>
                    </a:cubicBezTo>
                    <a:cubicBezTo>
                      <a:pt x="67" y="11"/>
                      <a:pt x="67" y="8"/>
                      <a:pt x="66" y="7"/>
                    </a:cubicBezTo>
                    <a:cubicBezTo>
                      <a:pt x="65" y="7"/>
                      <a:pt x="62" y="6"/>
                      <a:pt x="62" y="6"/>
                    </a:cubicBezTo>
                    <a:cubicBezTo>
                      <a:pt x="61" y="5"/>
                      <a:pt x="61" y="5"/>
                      <a:pt x="61" y="5"/>
                    </a:cubicBezTo>
                    <a:cubicBezTo>
                      <a:pt x="58" y="4"/>
                      <a:pt x="58" y="4"/>
                      <a:pt x="58" y="4"/>
                    </a:cubicBezTo>
                    <a:cubicBezTo>
                      <a:pt x="57" y="2"/>
                      <a:pt x="57" y="2"/>
                      <a:pt x="57" y="2"/>
                    </a:cubicBezTo>
                    <a:cubicBezTo>
                      <a:pt x="57" y="0"/>
                      <a:pt x="57" y="0"/>
                      <a:pt x="57" y="0"/>
                    </a:cubicBezTo>
                    <a:cubicBezTo>
                      <a:pt x="57" y="0"/>
                      <a:pt x="55" y="0"/>
                      <a:pt x="53" y="1"/>
                    </a:cubicBezTo>
                    <a:cubicBezTo>
                      <a:pt x="51" y="1"/>
                      <a:pt x="47" y="1"/>
                      <a:pt x="47" y="2"/>
                    </a:cubicBezTo>
                    <a:cubicBezTo>
                      <a:pt x="48" y="3"/>
                      <a:pt x="49" y="5"/>
                      <a:pt x="49" y="5"/>
                    </a:cubicBezTo>
                    <a:cubicBezTo>
                      <a:pt x="49" y="5"/>
                      <a:pt x="50" y="8"/>
                      <a:pt x="48" y="9"/>
                    </a:cubicBezTo>
                    <a:cubicBezTo>
                      <a:pt x="46" y="10"/>
                      <a:pt x="42" y="10"/>
                      <a:pt x="42" y="10"/>
                    </a:cubicBezTo>
                    <a:cubicBezTo>
                      <a:pt x="38" y="14"/>
                      <a:pt x="38" y="14"/>
                      <a:pt x="38" y="14"/>
                    </a:cubicBezTo>
                    <a:cubicBezTo>
                      <a:pt x="39" y="15"/>
                      <a:pt x="39" y="15"/>
                      <a:pt x="39" y="15"/>
                    </a:cubicBezTo>
                    <a:cubicBezTo>
                      <a:pt x="39" y="15"/>
                      <a:pt x="36" y="17"/>
                      <a:pt x="33" y="17"/>
                    </a:cubicBezTo>
                    <a:cubicBezTo>
                      <a:pt x="31" y="17"/>
                      <a:pt x="29" y="16"/>
                      <a:pt x="29" y="16"/>
                    </a:cubicBezTo>
                    <a:cubicBezTo>
                      <a:pt x="27" y="13"/>
                      <a:pt x="27" y="13"/>
                      <a:pt x="27" y="13"/>
                    </a:cubicBezTo>
                    <a:cubicBezTo>
                      <a:pt x="27" y="13"/>
                      <a:pt x="23" y="12"/>
                      <a:pt x="23" y="13"/>
                    </a:cubicBezTo>
                    <a:cubicBezTo>
                      <a:pt x="24" y="14"/>
                      <a:pt x="26" y="17"/>
                      <a:pt x="26" y="17"/>
                    </a:cubicBezTo>
                    <a:cubicBezTo>
                      <a:pt x="26" y="17"/>
                      <a:pt x="28" y="21"/>
                      <a:pt x="25" y="22"/>
                    </a:cubicBezTo>
                    <a:cubicBezTo>
                      <a:pt x="22" y="22"/>
                      <a:pt x="18" y="22"/>
                      <a:pt x="18" y="22"/>
                    </a:cubicBezTo>
                    <a:cubicBezTo>
                      <a:pt x="17" y="24"/>
                      <a:pt x="17" y="24"/>
                      <a:pt x="17" y="24"/>
                    </a:cubicBezTo>
                    <a:cubicBezTo>
                      <a:pt x="17" y="24"/>
                      <a:pt x="14" y="20"/>
                      <a:pt x="13" y="20"/>
                    </a:cubicBezTo>
                    <a:cubicBezTo>
                      <a:pt x="12" y="21"/>
                      <a:pt x="9" y="22"/>
                      <a:pt x="9" y="22"/>
                    </a:cubicBezTo>
                    <a:cubicBezTo>
                      <a:pt x="9" y="22"/>
                      <a:pt x="2" y="23"/>
                      <a:pt x="2" y="24"/>
                    </a:cubicBezTo>
                    <a:cubicBezTo>
                      <a:pt x="1" y="25"/>
                      <a:pt x="5" y="26"/>
                      <a:pt x="5" y="27"/>
                    </a:cubicBezTo>
                    <a:cubicBezTo>
                      <a:pt x="5" y="27"/>
                      <a:pt x="0" y="27"/>
                      <a:pt x="1" y="28"/>
                    </a:cubicBezTo>
                    <a:cubicBezTo>
                      <a:pt x="2" y="30"/>
                      <a:pt x="5" y="30"/>
                      <a:pt x="5" y="30"/>
                    </a:cubicBezTo>
                    <a:cubicBezTo>
                      <a:pt x="6" y="29"/>
                      <a:pt x="6" y="29"/>
                      <a:pt x="6" y="29"/>
                    </a:cubicBezTo>
                    <a:cubicBezTo>
                      <a:pt x="12" y="32"/>
                      <a:pt x="12" y="32"/>
                      <a:pt x="12" y="32"/>
                    </a:cubicBezTo>
                    <a:cubicBezTo>
                      <a:pt x="15" y="32"/>
                      <a:pt x="15" y="32"/>
                      <a:pt x="15" y="32"/>
                    </a:cubicBezTo>
                    <a:cubicBezTo>
                      <a:pt x="17" y="34"/>
                      <a:pt x="17" y="34"/>
                      <a:pt x="17" y="34"/>
                    </a:cubicBezTo>
                    <a:cubicBezTo>
                      <a:pt x="22" y="35"/>
                      <a:pt x="22" y="35"/>
                      <a:pt x="22" y="35"/>
                    </a:cubicBezTo>
                    <a:cubicBezTo>
                      <a:pt x="19" y="37"/>
                      <a:pt x="19" y="37"/>
                      <a:pt x="19" y="37"/>
                    </a:cubicBezTo>
                    <a:cubicBezTo>
                      <a:pt x="19" y="37"/>
                      <a:pt x="22" y="42"/>
                      <a:pt x="23" y="43"/>
                    </a:cubicBezTo>
                    <a:cubicBezTo>
                      <a:pt x="23" y="44"/>
                      <a:pt x="26" y="44"/>
                      <a:pt x="26" y="44"/>
                    </a:cubicBezTo>
                    <a:cubicBezTo>
                      <a:pt x="26" y="49"/>
                      <a:pt x="26" y="49"/>
                      <a:pt x="26" y="49"/>
                    </a:cubicBezTo>
                    <a:cubicBezTo>
                      <a:pt x="28" y="52"/>
                      <a:pt x="28" y="52"/>
                      <a:pt x="28" y="52"/>
                    </a:cubicBezTo>
                    <a:cubicBezTo>
                      <a:pt x="30" y="56"/>
                      <a:pt x="30" y="56"/>
                      <a:pt x="30" y="56"/>
                    </a:cubicBezTo>
                    <a:cubicBezTo>
                      <a:pt x="26" y="52"/>
                      <a:pt x="26" y="52"/>
                      <a:pt x="26" y="52"/>
                    </a:cubicBezTo>
                    <a:cubicBezTo>
                      <a:pt x="26" y="52"/>
                      <a:pt x="26" y="57"/>
                      <a:pt x="26" y="59"/>
                    </a:cubicBezTo>
                    <a:cubicBezTo>
                      <a:pt x="26" y="60"/>
                      <a:pt x="24" y="67"/>
                      <a:pt x="23" y="69"/>
                    </a:cubicBezTo>
                    <a:cubicBezTo>
                      <a:pt x="22" y="70"/>
                      <a:pt x="22" y="72"/>
                      <a:pt x="20" y="72"/>
                    </a:cubicBezTo>
                    <a:cubicBezTo>
                      <a:pt x="20" y="73"/>
                      <a:pt x="20" y="73"/>
                      <a:pt x="20" y="73"/>
                    </a:cubicBezTo>
                    <a:cubicBezTo>
                      <a:pt x="20" y="73"/>
                      <a:pt x="22" y="72"/>
                      <a:pt x="23" y="73"/>
                    </a:cubicBezTo>
                    <a:cubicBezTo>
                      <a:pt x="24" y="74"/>
                      <a:pt x="23" y="75"/>
                      <a:pt x="23" y="75"/>
                    </a:cubicBezTo>
                    <a:cubicBezTo>
                      <a:pt x="23" y="75"/>
                      <a:pt x="26" y="75"/>
                      <a:pt x="27" y="75"/>
                    </a:cubicBezTo>
                    <a:cubicBezTo>
                      <a:pt x="28" y="75"/>
                      <a:pt x="29" y="77"/>
                      <a:pt x="29" y="77"/>
                    </a:cubicBezTo>
                    <a:cubicBezTo>
                      <a:pt x="29" y="77"/>
                      <a:pt x="31" y="76"/>
                      <a:pt x="32" y="77"/>
                    </a:cubicBezTo>
                    <a:cubicBezTo>
                      <a:pt x="32" y="77"/>
                      <a:pt x="32" y="77"/>
                      <a:pt x="32" y="77"/>
                    </a:cubicBezTo>
                    <a:cubicBezTo>
                      <a:pt x="36" y="78"/>
                      <a:pt x="36" y="78"/>
                      <a:pt x="36" y="78"/>
                    </a:cubicBezTo>
                    <a:cubicBezTo>
                      <a:pt x="36" y="79"/>
                      <a:pt x="36" y="79"/>
                      <a:pt x="36" y="79"/>
                    </a:cubicBezTo>
                    <a:cubicBezTo>
                      <a:pt x="39" y="78"/>
                      <a:pt x="39" y="78"/>
                      <a:pt x="39" y="78"/>
                    </a:cubicBezTo>
                    <a:cubicBezTo>
                      <a:pt x="39" y="78"/>
                      <a:pt x="38" y="76"/>
                      <a:pt x="40" y="76"/>
                    </a:cubicBezTo>
                    <a:cubicBezTo>
                      <a:pt x="42" y="76"/>
                      <a:pt x="42" y="78"/>
                      <a:pt x="42" y="78"/>
                    </a:cubicBezTo>
                    <a:cubicBezTo>
                      <a:pt x="44" y="78"/>
                      <a:pt x="44" y="78"/>
                      <a:pt x="44" y="78"/>
                    </a:cubicBezTo>
                    <a:cubicBezTo>
                      <a:pt x="44" y="78"/>
                      <a:pt x="44" y="78"/>
                      <a:pt x="44" y="78"/>
                    </a:cubicBezTo>
                    <a:cubicBezTo>
                      <a:pt x="44" y="78"/>
                      <a:pt x="45" y="78"/>
                      <a:pt x="45" y="78"/>
                    </a:cubicBezTo>
                    <a:cubicBezTo>
                      <a:pt x="47" y="78"/>
                      <a:pt x="47" y="78"/>
                      <a:pt x="47" y="78"/>
                    </a:cubicBezTo>
                    <a:cubicBezTo>
                      <a:pt x="48" y="80"/>
                      <a:pt x="48" y="80"/>
                      <a:pt x="48" y="80"/>
                    </a:cubicBezTo>
                    <a:cubicBezTo>
                      <a:pt x="48" y="80"/>
                      <a:pt x="49" y="81"/>
                      <a:pt x="49" y="81"/>
                    </a:cubicBezTo>
                    <a:cubicBezTo>
                      <a:pt x="49" y="81"/>
                      <a:pt x="50" y="80"/>
                      <a:pt x="50" y="80"/>
                    </a:cubicBezTo>
                    <a:cubicBezTo>
                      <a:pt x="51" y="80"/>
                      <a:pt x="52" y="81"/>
                      <a:pt x="52" y="81"/>
                    </a:cubicBezTo>
                    <a:cubicBezTo>
                      <a:pt x="52" y="81"/>
                      <a:pt x="52" y="81"/>
                      <a:pt x="53" y="81"/>
                    </a:cubicBezTo>
                    <a:cubicBezTo>
                      <a:pt x="55" y="81"/>
                      <a:pt x="55" y="80"/>
                      <a:pt x="55" y="80"/>
                    </a:cubicBezTo>
                    <a:cubicBezTo>
                      <a:pt x="56" y="80"/>
                      <a:pt x="56" y="80"/>
                      <a:pt x="56" y="80"/>
                    </a:cubicBezTo>
                    <a:cubicBezTo>
                      <a:pt x="56" y="80"/>
                      <a:pt x="56" y="79"/>
                      <a:pt x="56" y="79"/>
                    </a:cubicBezTo>
                    <a:cubicBezTo>
                      <a:pt x="56" y="77"/>
                      <a:pt x="58" y="73"/>
                      <a:pt x="60" y="73"/>
                    </a:cubicBezTo>
                    <a:cubicBezTo>
                      <a:pt x="61" y="72"/>
                      <a:pt x="65" y="69"/>
                      <a:pt x="66" y="70"/>
                    </a:cubicBezTo>
                    <a:cubicBezTo>
                      <a:pt x="68" y="71"/>
                      <a:pt x="69" y="72"/>
                      <a:pt x="69" y="72"/>
                    </a:cubicBezTo>
                    <a:cubicBezTo>
                      <a:pt x="69" y="72"/>
                      <a:pt x="73" y="71"/>
                      <a:pt x="74" y="71"/>
                    </a:cubicBezTo>
                    <a:cubicBezTo>
                      <a:pt x="75" y="72"/>
                      <a:pt x="76" y="74"/>
                      <a:pt x="77" y="74"/>
                    </a:cubicBezTo>
                    <a:cubicBezTo>
                      <a:pt x="77" y="74"/>
                      <a:pt x="81" y="76"/>
                      <a:pt x="83" y="74"/>
                    </a:cubicBezTo>
                    <a:cubicBezTo>
                      <a:pt x="86" y="72"/>
                      <a:pt x="86" y="69"/>
                      <a:pt x="87" y="69"/>
                    </a:cubicBezTo>
                    <a:cubicBezTo>
                      <a:pt x="88" y="68"/>
                      <a:pt x="89" y="68"/>
                      <a:pt x="90" y="68"/>
                    </a:cubicBezTo>
                    <a:cubicBezTo>
                      <a:pt x="90" y="68"/>
                      <a:pt x="90" y="67"/>
                      <a:pt x="90" y="67"/>
                    </a:cubicBezTo>
                    <a:cubicBezTo>
                      <a:pt x="91" y="67"/>
                      <a:pt x="92" y="66"/>
                      <a:pt x="92" y="65"/>
                    </a:cubicBezTo>
                    <a:cubicBezTo>
                      <a:pt x="91" y="64"/>
                      <a:pt x="89" y="65"/>
                      <a:pt x="89" y="65"/>
                    </a:cubicBezTo>
                    <a:cubicBezTo>
                      <a:pt x="88" y="63"/>
                      <a:pt x="88" y="63"/>
                      <a:pt x="88" y="63"/>
                    </a:cubicBezTo>
                    <a:cubicBezTo>
                      <a:pt x="88" y="63"/>
                      <a:pt x="86" y="63"/>
                      <a:pt x="86" y="62"/>
                    </a:cubicBezTo>
                    <a:cubicBezTo>
                      <a:pt x="86" y="60"/>
                      <a:pt x="87" y="60"/>
                      <a:pt x="87" y="59"/>
                    </a:cubicBezTo>
                    <a:cubicBezTo>
                      <a:pt x="87" y="58"/>
                      <a:pt x="86" y="57"/>
                      <a:pt x="86" y="57"/>
                    </a:cubicBezTo>
                    <a:cubicBezTo>
                      <a:pt x="85" y="57"/>
                      <a:pt x="85" y="57"/>
                      <a:pt x="85" y="57"/>
                    </a:cubicBezTo>
                    <a:cubicBezTo>
                      <a:pt x="84" y="55"/>
                      <a:pt x="84" y="55"/>
                      <a:pt x="84" y="55"/>
                    </a:cubicBezTo>
                    <a:cubicBezTo>
                      <a:pt x="85" y="55"/>
                      <a:pt x="85" y="55"/>
                      <a:pt x="85" y="55"/>
                    </a:cubicBezTo>
                    <a:cubicBezTo>
                      <a:pt x="85" y="55"/>
                      <a:pt x="89" y="55"/>
                      <a:pt x="89" y="53"/>
                    </a:cubicBezTo>
                    <a:cubicBezTo>
                      <a:pt x="89" y="52"/>
                      <a:pt x="87" y="51"/>
                      <a:pt x="87" y="51"/>
                    </a:cubicBezTo>
                    <a:cubicBezTo>
                      <a:pt x="85" y="49"/>
                      <a:pt x="85" y="49"/>
                      <a:pt x="85" y="49"/>
                    </a:cubicBezTo>
                    <a:cubicBezTo>
                      <a:pt x="85" y="49"/>
                      <a:pt x="87" y="49"/>
                      <a:pt x="87" y="48"/>
                    </a:cubicBezTo>
                    <a:cubicBezTo>
                      <a:pt x="87" y="47"/>
                      <a:pt x="86" y="46"/>
                      <a:pt x="86" y="46"/>
                    </a:cubicBezTo>
                    <a:cubicBezTo>
                      <a:pt x="86" y="43"/>
                      <a:pt x="86" y="43"/>
                      <a:pt x="86" y="43"/>
                    </a:cubicBezTo>
                    <a:cubicBezTo>
                      <a:pt x="86" y="43"/>
                      <a:pt x="85" y="42"/>
                      <a:pt x="83" y="43"/>
                    </a:cubicBezTo>
                    <a:cubicBezTo>
                      <a:pt x="82" y="43"/>
                      <a:pt x="81" y="46"/>
                      <a:pt x="80" y="46"/>
                    </a:cubicBezTo>
                    <a:cubicBezTo>
                      <a:pt x="79" y="45"/>
                      <a:pt x="81" y="44"/>
                      <a:pt x="81" y="44"/>
                    </a:cubicBezTo>
                    <a:cubicBezTo>
                      <a:pt x="80" y="43"/>
                      <a:pt x="80" y="43"/>
                      <a:pt x="80" y="43"/>
                    </a:cubicBezTo>
                    <a:cubicBezTo>
                      <a:pt x="80" y="43"/>
                      <a:pt x="82" y="41"/>
                      <a:pt x="83" y="40"/>
                    </a:cubicBezTo>
                    <a:cubicBezTo>
                      <a:pt x="84" y="38"/>
                      <a:pt x="84" y="37"/>
                      <a:pt x="84" y="37"/>
                    </a:cubicBezTo>
                    <a:cubicBezTo>
                      <a:pt x="84" y="37"/>
                      <a:pt x="85" y="38"/>
                      <a:pt x="86" y="37"/>
                    </a:cubicBezTo>
                    <a:cubicBezTo>
                      <a:pt x="86" y="36"/>
                      <a:pt x="87" y="35"/>
                      <a:pt x="87" y="35"/>
                    </a:cubicBezTo>
                    <a:cubicBezTo>
                      <a:pt x="88" y="33"/>
                      <a:pt x="88" y="33"/>
                      <a:pt x="88" y="33"/>
                    </a:cubicBezTo>
                    <a:cubicBezTo>
                      <a:pt x="91" y="34"/>
                      <a:pt x="91" y="34"/>
                      <a:pt x="91" y="34"/>
                    </a:cubicBezTo>
                    <a:cubicBezTo>
                      <a:pt x="92" y="33"/>
                      <a:pt x="92" y="33"/>
                      <a:pt x="92" y="33"/>
                    </a:cubicBezTo>
                    <a:cubicBezTo>
                      <a:pt x="92" y="33"/>
                      <a:pt x="91" y="31"/>
                      <a:pt x="91" y="29"/>
                    </a:cubicBezTo>
                    <a:cubicBezTo>
                      <a:pt x="92" y="27"/>
                      <a:pt x="93" y="24"/>
                      <a:pt x="93" y="24"/>
                    </a:cubicBezTo>
                    <a:cubicBezTo>
                      <a:pt x="93" y="22"/>
                      <a:pt x="93" y="22"/>
                      <a:pt x="93" y="22"/>
                    </a:cubicBezTo>
                    <a:cubicBezTo>
                      <a:pt x="96" y="20"/>
                      <a:pt x="96" y="20"/>
                      <a:pt x="96" y="20"/>
                    </a:cubicBezTo>
                    <a:cubicBezTo>
                      <a:pt x="96" y="19"/>
                      <a:pt x="96" y="19"/>
                      <a:pt x="96" y="19"/>
                    </a:cubicBezTo>
                    <a:cubicBezTo>
                      <a:pt x="94" y="19"/>
                      <a:pt x="94" y="19"/>
                      <a:pt x="94" y="19"/>
                    </a:cubicBezTo>
                    <a:cubicBezTo>
                      <a:pt x="91" y="19"/>
                      <a:pt x="91" y="19"/>
                      <a:pt x="91" y="19"/>
                    </a:cubicBezTo>
                    <a:close/>
                  </a:path>
                </a:pathLst>
              </a:custGeom>
              <a:solidFill>
                <a:srgbClr val="DEDEDE"/>
              </a:solidFill>
              <a:ln w="0">
                <a:solidFill>
                  <a:schemeClr val="bg1"/>
                </a:solidFill>
                <a:round/>
                <a:headEnd/>
                <a:tailEnd/>
              </a:ln>
            </p:spPr>
            <p:txBody>
              <a:bodyPr vert="horz" wrap="square" lIns="91419" tIns="45709" rIns="91419" bIns="45709" numCol="1" anchor="t" anchorCtr="0" compatLnSpc="1">
                <a:prstTxWarp prst="textNoShape">
                  <a:avLst/>
                </a:prstTxWarp>
              </a:bodyPr>
              <a:lstStyle/>
              <a:p>
                <a:endParaRPr lang="en-US" dirty="0"/>
              </a:p>
            </p:txBody>
          </p:sp>
          <p:sp>
            <p:nvSpPr>
              <p:cNvPr id="345" name="Finland">
                <a:extLst>
                  <a:ext uri="{FF2B5EF4-FFF2-40B4-BE49-F238E27FC236}">
                    <a16:creationId xmlns:a16="http://schemas.microsoft.com/office/drawing/2014/main" id="{961B3B9D-487F-47C4-9C75-BDEE47D9346C}"/>
                  </a:ext>
                </a:extLst>
              </p:cNvPr>
              <p:cNvSpPr>
                <a:spLocks/>
              </p:cNvSpPr>
              <p:nvPr/>
            </p:nvSpPr>
            <p:spPr bwMode="gray">
              <a:xfrm>
                <a:off x="6087765" y="2035040"/>
                <a:ext cx="236578" cy="269751"/>
              </a:xfrm>
              <a:custGeom>
                <a:avLst/>
                <a:gdLst>
                  <a:gd name="T0" fmla="*/ 88 w 422"/>
                  <a:gd name="T1" fmla="*/ 64 h 480"/>
                  <a:gd name="T2" fmla="*/ 64 w 422"/>
                  <a:gd name="T3" fmla="*/ 59 h 480"/>
                  <a:gd name="T4" fmla="*/ 40 w 422"/>
                  <a:gd name="T5" fmla="*/ 47 h 480"/>
                  <a:gd name="T6" fmla="*/ 16 w 422"/>
                  <a:gd name="T7" fmla="*/ 36 h 480"/>
                  <a:gd name="T8" fmla="*/ 2 w 422"/>
                  <a:gd name="T9" fmla="*/ 40 h 480"/>
                  <a:gd name="T10" fmla="*/ 17 w 422"/>
                  <a:gd name="T11" fmla="*/ 56 h 480"/>
                  <a:gd name="T12" fmla="*/ 48 w 422"/>
                  <a:gd name="T13" fmla="*/ 72 h 480"/>
                  <a:gd name="T14" fmla="*/ 92 w 422"/>
                  <a:gd name="T15" fmla="*/ 85 h 480"/>
                  <a:gd name="T16" fmla="*/ 103 w 422"/>
                  <a:gd name="T17" fmla="*/ 114 h 480"/>
                  <a:gd name="T18" fmla="*/ 107 w 422"/>
                  <a:gd name="T19" fmla="*/ 132 h 480"/>
                  <a:gd name="T20" fmla="*/ 113 w 422"/>
                  <a:gd name="T21" fmla="*/ 165 h 480"/>
                  <a:gd name="T22" fmla="*/ 138 w 422"/>
                  <a:gd name="T23" fmla="*/ 204 h 480"/>
                  <a:gd name="T24" fmla="*/ 179 w 422"/>
                  <a:gd name="T25" fmla="*/ 217 h 480"/>
                  <a:gd name="T26" fmla="*/ 167 w 422"/>
                  <a:gd name="T27" fmla="*/ 234 h 480"/>
                  <a:gd name="T28" fmla="*/ 119 w 422"/>
                  <a:gd name="T29" fmla="*/ 283 h 480"/>
                  <a:gd name="T30" fmla="*/ 81 w 422"/>
                  <a:gd name="T31" fmla="*/ 309 h 480"/>
                  <a:gd name="T32" fmla="*/ 45 w 422"/>
                  <a:gd name="T33" fmla="*/ 336 h 480"/>
                  <a:gd name="T34" fmla="*/ 49 w 422"/>
                  <a:gd name="T35" fmla="*/ 364 h 480"/>
                  <a:gd name="T36" fmla="*/ 62 w 422"/>
                  <a:gd name="T37" fmla="*/ 393 h 480"/>
                  <a:gd name="T38" fmla="*/ 71 w 422"/>
                  <a:gd name="T39" fmla="*/ 452 h 480"/>
                  <a:gd name="T40" fmla="*/ 114 w 422"/>
                  <a:gd name="T41" fmla="*/ 460 h 480"/>
                  <a:gd name="T42" fmla="*/ 180 w 422"/>
                  <a:gd name="T43" fmla="*/ 475 h 480"/>
                  <a:gd name="T44" fmla="*/ 222 w 422"/>
                  <a:gd name="T45" fmla="*/ 465 h 480"/>
                  <a:gd name="T46" fmla="*/ 304 w 422"/>
                  <a:gd name="T47" fmla="*/ 451 h 480"/>
                  <a:gd name="T48" fmla="*/ 305 w 422"/>
                  <a:gd name="T49" fmla="*/ 441 h 480"/>
                  <a:gd name="T50" fmla="*/ 382 w 422"/>
                  <a:gd name="T51" fmla="*/ 381 h 480"/>
                  <a:gd name="T52" fmla="*/ 421 w 422"/>
                  <a:gd name="T53" fmla="*/ 340 h 480"/>
                  <a:gd name="T54" fmla="*/ 360 w 422"/>
                  <a:gd name="T55" fmla="*/ 295 h 480"/>
                  <a:gd name="T56" fmla="*/ 368 w 422"/>
                  <a:gd name="T57" fmla="*/ 265 h 480"/>
                  <a:gd name="T58" fmla="*/ 359 w 422"/>
                  <a:gd name="T59" fmla="*/ 247 h 480"/>
                  <a:gd name="T60" fmla="*/ 339 w 422"/>
                  <a:gd name="T61" fmla="*/ 228 h 480"/>
                  <a:gd name="T62" fmla="*/ 337 w 422"/>
                  <a:gd name="T63" fmla="*/ 202 h 480"/>
                  <a:gd name="T64" fmla="*/ 312 w 422"/>
                  <a:gd name="T65" fmla="*/ 156 h 480"/>
                  <a:gd name="T66" fmla="*/ 316 w 422"/>
                  <a:gd name="T67" fmla="*/ 133 h 480"/>
                  <a:gd name="T68" fmla="*/ 312 w 422"/>
                  <a:gd name="T69" fmla="*/ 98 h 480"/>
                  <a:gd name="T70" fmla="*/ 275 w 422"/>
                  <a:gd name="T71" fmla="*/ 82 h 480"/>
                  <a:gd name="T72" fmla="*/ 282 w 422"/>
                  <a:gd name="T73" fmla="*/ 62 h 480"/>
                  <a:gd name="T74" fmla="*/ 280 w 422"/>
                  <a:gd name="T75" fmla="*/ 36 h 480"/>
                  <a:gd name="T76" fmla="*/ 271 w 422"/>
                  <a:gd name="T77" fmla="*/ 13 h 480"/>
                  <a:gd name="T78" fmla="*/ 240 w 422"/>
                  <a:gd name="T79" fmla="*/ 1 h 480"/>
                  <a:gd name="T80" fmla="*/ 198 w 422"/>
                  <a:gd name="T81" fmla="*/ 5 h 480"/>
                  <a:gd name="T82" fmla="*/ 173 w 422"/>
                  <a:gd name="T83" fmla="*/ 30 h 480"/>
                  <a:gd name="T84" fmla="*/ 157 w 422"/>
                  <a:gd name="T85" fmla="*/ 50 h 480"/>
                  <a:gd name="T86" fmla="*/ 123 w 422"/>
                  <a:gd name="T87" fmla="*/ 5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46" name="Estonia">
                <a:extLst>
                  <a:ext uri="{FF2B5EF4-FFF2-40B4-BE49-F238E27FC236}">
                    <a16:creationId xmlns:a16="http://schemas.microsoft.com/office/drawing/2014/main" id="{F480CBAA-7258-41F4-9F9C-F85EEF48B6F8}"/>
                  </a:ext>
                </a:extLst>
              </p:cNvPr>
              <p:cNvSpPr>
                <a:spLocks noEditPoints="1"/>
              </p:cNvSpPr>
              <p:nvPr/>
            </p:nvSpPr>
            <p:spPr bwMode="gray">
              <a:xfrm>
                <a:off x="6132226" y="2311137"/>
                <a:ext cx="133373" cy="60297"/>
              </a:xfrm>
              <a:custGeom>
                <a:avLst/>
                <a:gdLst>
                  <a:gd name="T0" fmla="*/ 228 w 237"/>
                  <a:gd name="T1" fmla="*/ 76 h 107"/>
                  <a:gd name="T2" fmla="*/ 221 w 237"/>
                  <a:gd name="T3" fmla="*/ 74 h 107"/>
                  <a:gd name="T4" fmla="*/ 226 w 237"/>
                  <a:gd name="T5" fmla="*/ 56 h 107"/>
                  <a:gd name="T6" fmla="*/ 217 w 237"/>
                  <a:gd name="T7" fmla="*/ 52 h 107"/>
                  <a:gd name="T8" fmla="*/ 220 w 237"/>
                  <a:gd name="T9" fmla="*/ 36 h 107"/>
                  <a:gd name="T10" fmla="*/ 231 w 237"/>
                  <a:gd name="T11" fmla="*/ 30 h 107"/>
                  <a:gd name="T12" fmla="*/ 228 w 237"/>
                  <a:gd name="T13" fmla="*/ 21 h 107"/>
                  <a:gd name="T14" fmla="*/ 231 w 237"/>
                  <a:gd name="T15" fmla="*/ 11 h 107"/>
                  <a:gd name="T16" fmla="*/ 170 w 237"/>
                  <a:gd name="T17" fmla="*/ 1 h 107"/>
                  <a:gd name="T18" fmla="*/ 110 w 237"/>
                  <a:gd name="T19" fmla="*/ 6 h 107"/>
                  <a:gd name="T20" fmla="*/ 60 w 237"/>
                  <a:gd name="T21" fmla="*/ 31 h 107"/>
                  <a:gd name="T22" fmla="*/ 66 w 237"/>
                  <a:gd name="T23" fmla="*/ 56 h 107"/>
                  <a:gd name="T24" fmla="*/ 105 w 237"/>
                  <a:gd name="T25" fmla="*/ 61 h 107"/>
                  <a:gd name="T26" fmla="*/ 98 w 237"/>
                  <a:gd name="T27" fmla="*/ 85 h 107"/>
                  <a:gd name="T28" fmla="*/ 102 w 237"/>
                  <a:gd name="T29" fmla="*/ 85 h 107"/>
                  <a:gd name="T30" fmla="*/ 123 w 237"/>
                  <a:gd name="T31" fmla="*/ 79 h 107"/>
                  <a:gd name="T32" fmla="*/ 144 w 237"/>
                  <a:gd name="T33" fmla="*/ 78 h 107"/>
                  <a:gd name="T34" fmla="*/ 172 w 237"/>
                  <a:gd name="T35" fmla="*/ 95 h 107"/>
                  <a:gd name="T36" fmla="*/ 192 w 237"/>
                  <a:gd name="T37" fmla="*/ 107 h 107"/>
                  <a:gd name="T38" fmla="*/ 203 w 237"/>
                  <a:gd name="T39" fmla="*/ 101 h 107"/>
                  <a:gd name="T40" fmla="*/ 216 w 237"/>
                  <a:gd name="T41" fmla="*/ 106 h 107"/>
                  <a:gd name="T42" fmla="*/ 224 w 237"/>
                  <a:gd name="T43" fmla="*/ 105 h 107"/>
                  <a:gd name="T44" fmla="*/ 224 w 237"/>
                  <a:gd name="T45" fmla="*/ 97 h 107"/>
                  <a:gd name="T46" fmla="*/ 237 w 237"/>
                  <a:gd name="T47" fmla="*/ 88 h 107"/>
                  <a:gd name="T48" fmla="*/ 228 w 237"/>
                  <a:gd name="T49" fmla="*/ 76 h 107"/>
                  <a:gd name="T50" fmla="*/ 27 w 237"/>
                  <a:gd name="T51" fmla="*/ 53 h 107"/>
                  <a:gd name="T52" fmla="*/ 7 w 237"/>
                  <a:gd name="T53" fmla="*/ 55 h 107"/>
                  <a:gd name="T54" fmla="*/ 9 w 237"/>
                  <a:gd name="T55" fmla="*/ 74 h 107"/>
                  <a:gd name="T56" fmla="*/ 14 w 237"/>
                  <a:gd name="T57" fmla="*/ 87 h 107"/>
                  <a:gd name="T58" fmla="*/ 34 w 237"/>
                  <a:gd name="T59" fmla="*/ 74 h 107"/>
                  <a:gd name="T60" fmla="*/ 55 w 237"/>
                  <a:gd name="T61" fmla="*/ 60 h 107"/>
                  <a:gd name="T62" fmla="*/ 51 w 237"/>
                  <a:gd name="T63" fmla="*/ 49 h 107"/>
                  <a:gd name="T64" fmla="*/ 27 w 237"/>
                  <a:gd name="T65" fmla="*/ 53 h 107"/>
                  <a:gd name="T66" fmla="*/ 29 w 237"/>
                  <a:gd name="T67" fmla="*/ 45 h 107"/>
                  <a:gd name="T68" fmla="*/ 35 w 237"/>
                  <a:gd name="T69" fmla="*/ 25 h 107"/>
                  <a:gd name="T70" fmla="*/ 29 w 237"/>
                  <a:gd name="T71" fmla="*/ 4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4" y="52"/>
                      <a:pt x="7" y="55"/>
                    </a:cubicBezTo>
                    <a:cubicBezTo>
                      <a:pt x="0" y="57"/>
                      <a:pt x="9" y="74"/>
                      <a:pt x="9" y="74"/>
                    </a:cubicBezTo>
                    <a:cubicBezTo>
                      <a:pt x="14" y="87"/>
                      <a:pt x="14" y="87"/>
                      <a:pt x="14" y="87"/>
                    </a:cubicBezTo>
                    <a:cubicBezTo>
                      <a:pt x="14"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47" name="Czech Republic">
                <a:extLst>
                  <a:ext uri="{FF2B5EF4-FFF2-40B4-BE49-F238E27FC236}">
                    <a16:creationId xmlns:a16="http://schemas.microsoft.com/office/drawing/2014/main" id="{B91B8DE9-0A5E-4401-AB46-42D0F02EC140}"/>
                  </a:ext>
                </a:extLst>
              </p:cNvPr>
              <p:cNvSpPr>
                <a:spLocks/>
              </p:cNvSpPr>
              <p:nvPr/>
            </p:nvSpPr>
            <p:spPr bwMode="gray">
              <a:xfrm>
                <a:off x="5927401" y="2553914"/>
                <a:ext cx="130318" cy="62543"/>
              </a:xfrm>
              <a:custGeom>
                <a:avLst/>
                <a:gdLst>
                  <a:gd name="T0" fmla="*/ 268 w 280"/>
                  <a:gd name="T1" fmla="*/ 67 h 132"/>
                  <a:gd name="T2" fmla="*/ 255 w 280"/>
                  <a:gd name="T3" fmla="*/ 60 h 132"/>
                  <a:gd name="T4" fmla="*/ 240 w 280"/>
                  <a:gd name="T5" fmla="*/ 57 h 132"/>
                  <a:gd name="T6" fmla="*/ 219 w 280"/>
                  <a:gd name="T7" fmla="*/ 42 h 132"/>
                  <a:gd name="T8" fmla="*/ 196 w 280"/>
                  <a:gd name="T9" fmla="*/ 47 h 132"/>
                  <a:gd name="T10" fmla="*/ 177 w 280"/>
                  <a:gd name="T11" fmla="*/ 35 h 132"/>
                  <a:gd name="T12" fmla="*/ 178 w 280"/>
                  <a:gd name="T13" fmla="*/ 28 h 132"/>
                  <a:gd name="T14" fmla="*/ 159 w 280"/>
                  <a:gd name="T15" fmla="*/ 24 h 132"/>
                  <a:gd name="T16" fmla="*/ 132 w 280"/>
                  <a:gd name="T17" fmla="*/ 13 h 132"/>
                  <a:gd name="T18" fmla="*/ 116 w 280"/>
                  <a:gd name="T19" fmla="*/ 2 h 132"/>
                  <a:gd name="T20" fmla="*/ 108 w 280"/>
                  <a:gd name="T21" fmla="*/ 11 h 132"/>
                  <a:gd name="T22" fmla="*/ 87 w 280"/>
                  <a:gd name="T23" fmla="*/ 11 h 132"/>
                  <a:gd name="T24" fmla="*/ 72 w 280"/>
                  <a:gd name="T25" fmla="*/ 19 h 132"/>
                  <a:gd name="T26" fmla="*/ 56 w 280"/>
                  <a:gd name="T27" fmla="*/ 24 h 132"/>
                  <a:gd name="T28" fmla="*/ 38 w 280"/>
                  <a:gd name="T29" fmla="*/ 36 h 132"/>
                  <a:gd name="T30" fmla="*/ 21 w 280"/>
                  <a:gd name="T31" fmla="*/ 36 h 132"/>
                  <a:gd name="T32" fmla="*/ 11 w 280"/>
                  <a:gd name="T33" fmla="*/ 42 h 132"/>
                  <a:gd name="T34" fmla="*/ 5 w 280"/>
                  <a:gd name="T35" fmla="*/ 50 h 132"/>
                  <a:gd name="T36" fmla="*/ 17 w 280"/>
                  <a:gd name="T37" fmla="*/ 60 h 132"/>
                  <a:gd name="T38" fmla="*/ 19 w 280"/>
                  <a:gd name="T39" fmla="*/ 74 h 132"/>
                  <a:gd name="T40" fmla="*/ 27 w 280"/>
                  <a:gd name="T41" fmla="*/ 82 h 132"/>
                  <a:gd name="T42" fmla="*/ 42 w 280"/>
                  <a:gd name="T43" fmla="*/ 90 h 132"/>
                  <a:gd name="T44" fmla="*/ 49 w 280"/>
                  <a:gd name="T45" fmla="*/ 98 h 132"/>
                  <a:gd name="T46" fmla="*/ 65 w 280"/>
                  <a:gd name="T47" fmla="*/ 108 h 132"/>
                  <a:gd name="T48" fmla="*/ 87 w 280"/>
                  <a:gd name="T49" fmla="*/ 131 h 132"/>
                  <a:gd name="T50" fmla="*/ 110 w 280"/>
                  <a:gd name="T51" fmla="*/ 132 h 132"/>
                  <a:gd name="T52" fmla="*/ 115 w 280"/>
                  <a:gd name="T53" fmla="*/ 119 h 132"/>
                  <a:gd name="T54" fmla="*/ 142 w 280"/>
                  <a:gd name="T55" fmla="*/ 112 h 132"/>
                  <a:gd name="T56" fmla="*/ 158 w 280"/>
                  <a:gd name="T57" fmla="*/ 113 h 132"/>
                  <a:gd name="T58" fmla="*/ 173 w 280"/>
                  <a:gd name="T59" fmla="*/ 120 h 132"/>
                  <a:gd name="T60" fmla="*/ 200 w 280"/>
                  <a:gd name="T61" fmla="*/ 123 h 132"/>
                  <a:gd name="T62" fmla="*/ 221 w 280"/>
                  <a:gd name="T63" fmla="*/ 116 h 132"/>
                  <a:gd name="T64" fmla="*/ 255 w 280"/>
                  <a:gd name="T65" fmla="*/ 105 h 132"/>
                  <a:gd name="T66" fmla="*/ 269 w 280"/>
                  <a:gd name="T67" fmla="*/ 86 h 132"/>
                  <a:gd name="T68" fmla="*/ 275 w 280"/>
                  <a:gd name="T69" fmla="*/ 7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48" name="Cyprus">
                <a:extLst>
                  <a:ext uri="{FF2B5EF4-FFF2-40B4-BE49-F238E27FC236}">
                    <a16:creationId xmlns:a16="http://schemas.microsoft.com/office/drawing/2014/main" id="{A607B5BA-A550-45F5-8D4D-A4EDA5F299B5}"/>
                  </a:ext>
                </a:extLst>
              </p:cNvPr>
              <p:cNvSpPr>
                <a:spLocks/>
              </p:cNvSpPr>
              <p:nvPr/>
            </p:nvSpPr>
            <p:spPr bwMode="gray">
              <a:xfrm>
                <a:off x="6435490" y="3010902"/>
                <a:ext cx="53984" cy="33323"/>
              </a:xfrm>
              <a:custGeom>
                <a:avLst/>
                <a:gdLst>
                  <a:gd name="T0" fmla="*/ 1 w 98"/>
                  <a:gd name="T1" fmla="*/ 31 h 60"/>
                  <a:gd name="T2" fmla="*/ 36 w 98"/>
                  <a:gd name="T3" fmla="*/ 57 h 60"/>
                  <a:gd name="T4" fmla="*/ 61 w 98"/>
                  <a:gd name="T5" fmla="*/ 38 h 60"/>
                  <a:gd name="T6" fmla="*/ 80 w 98"/>
                  <a:gd name="T7" fmla="*/ 39 h 60"/>
                  <a:gd name="T8" fmla="*/ 77 w 98"/>
                  <a:gd name="T9" fmla="*/ 24 h 60"/>
                  <a:gd name="T10" fmla="*/ 98 w 98"/>
                  <a:gd name="T11" fmla="*/ 0 h 60"/>
                  <a:gd name="T12" fmla="*/ 71 w 98"/>
                  <a:gd name="T13" fmla="*/ 17 h 60"/>
                  <a:gd name="T14" fmla="*/ 38 w 98"/>
                  <a:gd name="T15" fmla="*/ 15 h 60"/>
                  <a:gd name="T16" fmla="*/ 32 w 98"/>
                  <a:gd name="T17" fmla="*/ 26 h 60"/>
                  <a:gd name="T18" fmla="*/ 1 w 98"/>
                  <a:gd name="T19"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60">
                    <a:moveTo>
                      <a:pt x="1" y="31"/>
                    </a:moveTo>
                    <a:cubicBezTo>
                      <a:pt x="2" y="45"/>
                      <a:pt x="29" y="60"/>
                      <a:pt x="36" y="57"/>
                    </a:cubicBezTo>
                    <a:cubicBezTo>
                      <a:pt x="43" y="54"/>
                      <a:pt x="61" y="38"/>
                      <a:pt x="61" y="38"/>
                    </a:cubicBezTo>
                    <a:cubicBezTo>
                      <a:pt x="61" y="38"/>
                      <a:pt x="77" y="45"/>
                      <a:pt x="80" y="39"/>
                    </a:cubicBezTo>
                    <a:cubicBezTo>
                      <a:pt x="84" y="33"/>
                      <a:pt x="77" y="24"/>
                      <a:pt x="77" y="24"/>
                    </a:cubicBezTo>
                    <a:cubicBezTo>
                      <a:pt x="98" y="0"/>
                      <a:pt x="98" y="0"/>
                      <a:pt x="98" y="0"/>
                    </a:cubicBezTo>
                    <a:cubicBezTo>
                      <a:pt x="71" y="17"/>
                      <a:pt x="71" y="17"/>
                      <a:pt x="71" y="17"/>
                    </a:cubicBezTo>
                    <a:cubicBezTo>
                      <a:pt x="71" y="17"/>
                      <a:pt x="47" y="13"/>
                      <a:pt x="38" y="15"/>
                    </a:cubicBezTo>
                    <a:cubicBezTo>
                      <a:pt x="29" y="17"/>
                      <a:pt x="32" y="26"/>
                      <a:pt x="32" y="26"/>
                    </a:cubicBezTo>
                    <a:cubicBezTo>
                      <a:pt x="32" y="26"/>
                      <a:pt x="0" y="20"/>
                      <a:pt x="1" y="3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49" name="Croatia">
                <a:extLst>
                  <a:ext uri="{FF2B5EF4-FFF2-40B4-BE49-F238E27FC236}">
                    <a16:creationId xmlns:a16="http://schemas.microsoft.com/office/drawing/2014/main" id="{6B000584-41C3-408D-9E1C-6BAFD18C63AF}"/>
                  </a:ext>
                </a:extLst>
              </p:cNvPr>
              <p:cNvSpPr>
                <a:spLocks/>
              </p:cNvSpPr>
              <p:nvPr/>
            </p:nvSpPr>
            <p:spPr bwMode="gray">
              <a:xfrm>
                <a:off x="5965508" y="2687203"/>
                <a:ext cx="136549" cy="103140"/>
              </a:xfrm>
              <a:custGeom>
                <a:avLst/>
                <a:gdLst>
                  <a:gd name="T0" fmla="*/ 232 w 246"/>
                  <a:gd name="T1" fmla="*/ 77 h 186"/>
                  <a:gd name="T2" fmla="*/ 228 w 246"/>
                  <a:gd name="T3" fmla="*/ 65 h 186"/>
                  <a:gd name="T4" fmla="*/ 226 w 246"/>
                  <a:gd name="T5" fmla="*/ 52 h 186"/>
                  <a:gd name="T6" fmla="*/ 217 w 246"/>
                  <a:gd name="T7" fmla="*/ 32 h 186"/>
                  <a:gd name="T8" fmla="*/ 183 w 246"/>
                  <a:gd name="T9" fmla="*/ 41 h 186"/>
                  <a:gd name="T10" fmla="*/ 168 w 246"/>
                  <a:gd name="T11" fmla="*/ 34 h 186"/>
                  <a:gd name="T12" fmla="*/ 139 w 246"/>
                  <a:gd name="T13" fmla="*/ 13 h 186"/>
                  <a:gd name="T14" fmla="*/ 112 w 246"/>
                  <a:gd name="T15" fmla="*/ 2 h 186"/>
                  <a:gd name="T16" fmla="*/ 93 w 246"/>
                  <a:gd name="T17" fmla="*/ 14 h 186"/>
                  <a:gd name="T18" fmla="*/ 87 w 246"/>
                  <a:gd name="T19" fmla="*/ 31 h 186"/>
                  <a:gd name="T20" fmla="*/ 70 w 246"/>
                  <a:gd name="T21" fmla="*/ 40 h 186"/>
                  <a:gd name="T22" fmla="*/ 59 w 246"/>
                  <a:gd name="T23" fmla="*/ 53 h 186"/>
                  <a:gd name="T24" fmla="*/ 40 w 246"/>
                  <a:gd name="T25" fmla="*/ 45 h 186"/>
                  <a:gd name="T26" fmla="*/ 22 w 246"/>
                  <a:gd name="T27" fmla="*/ 54 h 186"/>
                  <a:gd name="T28" fmla="*/ 14 w 246"/>
                  <a:gd name="T29" fmla="*/ 57 h 186"/>
                  <a:gd name="T30" fmla="*/ 1 w 246"/>
                  <a:gd name="T31" fmla="*/ 67 h 186"/>
                  <a:gd name="T32" fmla="*/ 31 w 246"/>
                  <a:gd name="T33" fmla="*/ 70 h 186"/>
                  <a:gd name="T34" fmla="*/ 54 w 246"/>
                  <a:gd name="T35" fmla="*/ 87 h 186"/>
                  <a:gd name="T36" fmla="*/ 68 w 246"/>
                  <a:gd name="T37" fmla="*/ 123 h 186"/>
                  <a:gd name="T38" fmla="*/ 98 w 246"/>
                  <a:gd name="T39" fmla="*/ 161 h 186"/>
                  <a:gd name="T40" fmla="*/ 146 w 246"/>
                  <a:gd name="T41" fmla="*/ 171 h 186"/>
                  <a:gd name="T42" fmla="*/ 165 w 246"/>
                  <a:gd name="T43" fmla="*/ 186 h 186"/>
                  <a:gd name="T44" fmla="*/ 131 w 246"/>
                  <a:gd name="T45" fmla="*/ 146 h 186"/>
                  <a:gd name="T46" fmla="*/ 110 w 246"/>
                  <a:gd name="T47" fmla="*/ 123 h 186"/>
                  <a:gd name="T48" fmla="*/ 102 w 246"/>
                  <a:gd name="T49" fmla="*/ 105 h 186"/>
                  <a:gd name="T50" fmla="*/ 91 w 246"/>
                  <a:gd name="T51" fmla="*/ 93 h 186"/>
                  <a:gd name="T52" fmla="*/ 93 w 246"/>
                  <a:gd name="T53" fmla="*/ 81 h 186"/>
                  <a:gd name="T54" fmla="*/ 112 w 246"/>
                  <a:gd name="T55" fmla="*/ 74 h 186"/>
                  <a:gd name="T56" fmla="*/ 142 w 246"/>
                  <a:gd name="T57" fmla="*/ 68 h 186"/>
                  <a:gd name="T58" fmla="*/ 164 w 246"/>
                  <a:gd name="T59" fmla="*/ 71 h 186"/>
                  <a:gd name="T60" fmla="*/ 193 w 246"/>
                  <a:gd name="T61" fmla="*/ 73 h 186"/>
                  <a:gd name="T62" fmla="*/ 220 w 246"/>
                  <a:gd name="T63" fmla="*/ 8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50" name="Corsica">
                <a:extLst>
                  <a:ext uri="{FF2B5EF4-FFF2-40B4-BE49-F238E27FC236}">
                    <a16:creationId xmlns:a16="http://schemas.microsoft.com/office/drawing/2014/main" id="{FCF0ED4B-CCFC-405A-BF22-80DB0E852A94}"/>
                  </a:ext>
                </a:extLst>
              </p:cNvPr>
              <p:cNvSpPr>
                <a:spLocks/>
              </p:cNvSpPr>
              <p:nvPr/>
            </p:nvSpPr>
            <p:spPr bwMode="gray">
              <a:xfrm>
                <a:off x="5843257" y="2787591"/>
                <a:ext cx="25398" cy="50797"/>
              </a:xfrm>
              <a:custGeom>
                <a:avLst/>
                <a:gdLst>
                  <a:gd name="T0" fmla="*/ 8 w 8"/>
                  <a:gd name="T1" fmla="*/ 4 h 16"/>
                  <a:gd name="T2" fmla="*/ 7 w 8"/>
                  <a:gd name="T3" fmla="*/ 4 h 16"/>
                  <a:gd name="T4" fmla="*/ 7 w 8"/>
                  <a:gd name="T5" fmla="*/ 1 h 16"/>
                  <a:gd name="T6" fmla="*/ 5 w 8"/>
                  <a:gd name="T7" fmla="*/ 3 h 16"/>
                  <a:gd name="T8" fmla="*/ 1 w 8"/>
                  <a:gd name="T9" fmla="*/ 8 h 16"/>
                  <a:gd name="T10" fmla="*/ 3 w 8"/>
                  <a:gd name="T11" fmla="*/ 12 h 16"/>
                  <a:gd name="T12" fmla="*/ 2 w 8"/>
                  <a:gd name="T13" fmla="*/ 15 h 16"/>
                  <a:gd name="T14" fmla="*/ 5 w 8"/>
                  <a:gd name="T15" fmla="*/ 16 h 16"/>
                  <a:gd name="T16" fmla="*/ 7 w 8"/>
                  <a:gd name="T17" fmla="*/ 13 h 16"/>
                  <a:gd name="T18" fmla="*/ 7 w 8"/>
                  <a:gd name="T19" fmla="*/ 11 h 16"/>
                  <a:gd name="T20" fmla="*/ 8 w 8"/>
                  <a:gd name="T21" fmla="*/ 10 h 16"/>
                  <a:gd name="T22" fmla="*/ 8 w 8"/>
                  <a:gd name="T23"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6">
                    <a:moveTo>
                      <a:pt x="8" y="4"/>
                    </a:moveTo>
                    <a:cubicBezTo>
                      <a:pt x="7" y="4"/>
                      <a:pt x="7" y="4"/>
                      <a:pt x="7" y="4"/>
                    </a:cubicBezTo>
                    <a:cubicBezTo>
                      <a:pt x="7" y="4"/>
                      <a:pt x="8" y="3"/>
                      <a:pt x="7" y="1"/>
                    </a:cubicBezTo>
                    <a:cubicBezTo>
                      <a:pt x="7" y="0"/>
                      <a:pt x="5" y="3"/>
                      <a:pt x="5" y="3"/>
                    </a:cubicBezTo>
                    <a:cubicBezTo>
                      <a:pt x="5" y="3"/>
                      <a:pt x="0" y="6"/>
                      <a:pt x="1" y="8"/>
                    </a:cubicBezTo>
                    <a:cubicBezTo>
                      <a:pt x="1" y="11"/>
                      <a:pt x="3" y="12"/>
                      <a:pt x="3" y="12"/>
                    </a:cubicBezTo>
                    <a:cubicBezTo>
                      <a:pt x="3" y="12"/>
                      <a:pt x="1" y="14"/>
                      <a:pt x="2" y="15"/>
                    </a:cubicBezTo>
                    <a:cubicBezTo>
                      <a:pt x="4" y="16"/>
                      <a:pt x="5" y="16"/>
                      <a:pt x="5" y="16"/>
                    </a:cubicBezTo>
                    <a:cubicBezTo>
                      <a:pt x="5" y="16"/>
                      <a:pt x="7" y="15"/>
                      <a:pt x="7" y="13"/>
                    </a:cubicBezTo>
                    <a:cubicBezTo>
                      <a:pt x="7" y="11"/>
                      <a:pt x="7" y="11"/>
                      <a:pt x="7" y="11"/>
                    </a:cubicBezTo>
                    <a:cubicBezTo>
                      <a:pt x="8" y="10"/>
                      <a:pt x="8" y="10"/>
                      <a:pt x="8" y="10"/>
                    </a:cubicBezTo>
                    <a:cubicBezTo>
                      <a:pt x="8" y="4"/>
                      <a:pt x="8" y="4"/>
                      <a:pt x="8" y="4"/>
                    </a:cubicBezTo>
                    <a:close/>
                  </a:path>
                </a:pathLst>
              </a:custGeom>
              <a:solidFill>
                <a:srgbClr val="DEDEDE"/>
              </a:solidFill>
              <a:ln w="0">
                <a:solidFill>
                  <a:schemeClr val="bg1"/>
                </a:solidFill>
                <a:round/>
                <a:headEnd/>
                <a:tailEnd/>
              </a:ln>
            </p:spPr>
            <p:txBody>
              <a:bodyPr vert="horz" wrap="square" lIns="91419" tIns="45709" rIns="91419" bIns="45709" numCol="1" anchor="t" anchorCtr="0" compatLnSpc="1">
                <a:prstTxWarp prst="textNoShape">
                  <a:avLst/>
                </a:prstTxWarp>
              </a:bodyPr>
              <a:lstStyle/>
              <a:p>
                <a:endParaRPr lang="en-US" dirty="0"/>
              </a:p>
            </p:txBody>
          </p:sp>
          <p:sp>
            <p:nvSpPr>
              <p:cNvPr id="351" name="Bulgaria">
                <a:extLst>
                  <a:ext uri="{FF2B5EF4-FFF2-40B4-BE49-F238E27FC236}">
                    <a16:creationId xmlns:a16="http://schemas.microsoft.com/office/drawing/2014/main" id="{656BC0C6-C5F1-46CF-BD6A-51C1807C7A6F}"/>
                  </a:ext>
                </a:extLst>
              </p:cNvPr>
              <p:cNvSpPr>
                <a:spLocks/>
              </p:cNvSpPr>
              <p:nvPr/>
            </p:nvSpPr>
            <p:spPr bwMode="gray">
              <a:xfrm>
                <a:off x="6176682" y="2755433"/>
                <a:ext cx="149251" cy="87273"/>
              </a:xfrm>
              <a:custGeom>
                <a:avLst/>
                <a:gdLst>
                  <a:gd name="T0" fmla="*/ 225 w 267"/>
                  <a:gd name="T1" fmla="*/ 87 h 155"/>
                  <a:gd name="T2" fmla="*/ 241 w 267"/>
                  <a:gd name="T3" fmla="*/ 47 h 155"/>
                  <a:gd name="T4" fmla="*/ 264 w 267"/>
                  <a:gd name="T5" fmla="*/ 23 h 155"/>
                  <a:gd name="T6" fmla="*/ 237 w 267"/>
                  <a:gd name="T7" fmla="*/ 12 h 155"/>
                  <a:gd name="T8" fmla="*/ 194 w 267"/>
                  <a:gd name="T9" fmla="*/ 2 h 155"/>
                  <a:gd name="T10" fmla="*/ 169 w 267"/>
                  <a:gd name="T11" fmla="*/ 6 h 155"/>
                  <a:gd name="T12" fmla="*/ 157 w 267"/>
                  <a:gd name="T13" fmla="*/ 12 h 155"/>
                  <a:gd name="T14" fmla="*/ 118 w 267"/>
                  <a:gd name="T15" fmla="*/ 23 h 155"/>
                  <a:gd name="T16" fmla="*/ 92 w 267"/>
                  <a:gd name="T17" fmla="*/ 17 h 155"/>
                  <a:gd name="T18" fmla="*/ 62 w 267"/>
                  <a:gd name="T19" fmla="*/ 21 h 155"/>
                  <a:gd name="T20" fmla="*/ 39 w 267"/>
                  <a:gd name="T21" fmla="*/ 21 h 155"/>
                  <a:gd name="T22" fmla="*/ 29 w 267"/>
                  <a:gd name="T23" fmla="*/ 5 h 155"/>
                  <a:gd name="T24" fmla="*/ 10 w 267"/>
                  <a:gd name="T25" fmla="*/ 0 h 155"/>
                  <a:gd name="T26" fmla="*/ 0 w 267"/>
                  <a:gd name="T27" fmla="*/ 16 h 155"/>
                  <a:gd name="T28" fmla="*/ 12 w 267"/>
                  <a:gd name="T29" fmla="*/ 33 h 155"/>
                  <a:gd name="T30" fmla="*/ 23 w 267"/>
                  <a:gd name="T31" fmla="*/ 47 h 155"/>
                  <a:gd name="T32" fmla="*/ 20 w 267"/>
                  <a:gd name="T33" fmla="*/ 68 h 155"/>
                  <a:gd name="T34" fmla="*/ 8 w 267"/>
                  <a:gd name="T35" fmla="*/ 80 h 155"/>
                  <a:gd name="T36" fmla="*/ 2 w 267"/>
                  <a:gd name="T37" fmla="*/ 95 h 155"/>
                  <a:gd name="T38" fmla="*/ 8 w 267"/>
                  <a:gd name="T39" fmla="*/ 104 h 155"/>
                  <a:gd name="T40" fmla="*/ 13 w 267"/>
                  <a:gd name="T41" fmla="*/ 112 h 155"/>
                  <a:gd name="T42" fmla="*/ 33 w 267"/>
                  <a:gd name="T43" fmla="*/ 139 h 155"/>
                  <a:gd name="T44" fmla="*/ 41 w 267"/>
                  <a:gd name="T45" fmla="*/ 154 h 155"/>
                  <a:gd name="T46" fmla="*/ 73 w 267"/>
                  <a:gd name="T47" fmla="*/ 150 h 155"/>
                  <a:gd name="T48" fmla="*/ 97 w 267"/>
                  <a:gd name="T49" fmla="*/ 135 h 155"/>
                  <a:gd name="T50" fmla="*/ 123 w 267"/>
                  <a:gd name="T51" fmla="*/ 146 h 155"/>
                  <a:gd name="T52" fmla="*/ 145 w 267"/>
                  <a:gd name="T53" fmla="*/ 146 h 155"/>
                  <a:gd name="T54" fmla="*/ 171 w 267"/>
                  <a:gd name="T55" fmla="*/ 148 h 155"/>
                  <a:gd name="T56" fmla="*/ 179 w 267"/>
                  <a:gd name="T57" fmla="*/ 129 h 155"/>
                  <a:gd name="T58" fmla="*/ 208 w 267"/>
                  <a:gd name="T59" fmla="*/ 116 h 155"/>
                  <a:gd name="T60" fmla="*/ 226 w 267"/>
                  <a:gd name="T61" fmla="*/ 119 h 155"/>
                  <a:gd name="T62" fmla="*/ 248 w 267"/>
                  <a:gd name="T63" fmla="*/ 1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52" name="Belgium">
                <a:extLst>
                  <a:ext uri="{FF2B5EF4-FFF2-40B4-BE49-F238E27FC236}">
                    <a16:creationId xmlns:a16="http://schemas.microsoft.com/office/drawing/2014/main" id="{F3D1D96A-1120-466E-93E6-16D70DE5759E}"/>
                  </a:ext>
                </a:extLst>
              </p:cNvPr>
              <p:cNvSpPr>
                <a:spLocks/>
              </p:cNvSpPr>
              <p:nvPr/>
            </p:nvSpPr>
            <p:spPr bwMode="gray">
              <a:xfrm>
                <a:off x="5713051" y="2542806"/>
                <a:ext cx="84152" cy="57124"/>
              </a:xfrm>
              <a:custGeom>
                <a:avLst/>
                <a:gdLst>
                  <a:gd name="T0" fmla="*/ 0 w 149"/>
                  <a:gd name="T1" fmla="*/ 29 h 102"/>
                  <a:gd name="T2" fmla="*/ 6 w 149"/>
                  <a:gd name="T3" fmla="*/ 43 h 102"/>
                  <a:gd name="T4" fmla="*/ 22 w 149"/>
                  <a:gd name="T5" fmla="*/ 47 h 102"/>
                  <a:gd name="T6" fmla="*/ 29 w 149"/>
                  <a:gd name="T7" fmla="*/ 54 h 102"/>
                  <a:gd name="T8" fmla="*/ 52 w 149"/>
                  <a:gd name="T9" fmla="*/ 59 h 102"/>
                  <a:gd name="T10" fmla="*/ 57 w 149"/>
                  <a:gd name="T11" fmla="*/ 78 h 102"/>
                  <a:gd name="T12" fmla="*/ 72 w 149"/>
                  <a:gd name="T13" fmla="*/ 78 h 102"/>
                  <a:gd name="T14" fmla="*/ 82 w 149"/>
                  <a:gd name="T15" fmla="*/ 71 h 102"/>
                  <a:gd name="T16" fmla="*/ 82 w 149"/>
                  <a:gd name="T17" fmla="*/ 87 h 102"/>
                  <a:gd name="T18" fmla="*/ 106 w 149"/>
                  <a:gd name="T19" fmla="*/ 94 h 102"/>
                  <a:gd name="T20" fmla="*/ 109 w 149"/>
                  <a:gd name="T21" fmla="*/ 98 h 102"/>
                  <a:gd name="T22" fmla="*/ 123 w 149"/>
                  <a:gd name="T23" fmla="*/ 98 h 102"/>
                  <a:gd name="T24" fmla="*/ 128 w 149"/>
                  <a:gd name="T25" fmla="*/ 102 h 102"/>
                  <a:gd name="T26" fmla="*/ 131 w 149"/>
                  <a:gd name="T27" fmla="*/ 100 h 102"/>
                  <a:gd name="T28" fmla="*/ 120 w 149"/>
                  <a:gd name="T29" fmla="*/ 86 h 102"/>
                  <a:gd name="T30" fmla="*/ 130 w 149"/>
                  <a:gd name="T31" fmla="*/ 72 h 102"/>
                  <a:gd name="T32" fmla="*/ 138 w 149"/>
                  <a:gd name="T33" fmla="*/ 68 h 102"/>
                  <a:gd name="T34" fmla="*/ 138 w 149"/>
                  <a:gd name="T35" fmla="*/ 68 h 102"/>
                  <a:gd name="T36" fmla="*/ 140 w 149"/>
                  <a:gd name="T37" fmla="*/ 62 h 102"/>
                  <a:gd name="T38" fmla="*/ 149 w 149"/>
                  <a:gd name="T39" fmla="*/ 61 h 102"/>
                  <a:gd name="T40" fmla="*/ 146 w 149"/>
                  <a:gd name="T41" fmla="*/ 48 h 102"/>
                  <a:gd name="T42" fmla="*/ 136 w 149"/>
                  <a:gd name="T43" fmla="*/ 39 h 102"/>
                  <a:gd name="T44" fmla="*/ 131 w 149"/>
                  <a:gd name="T45" fmla="*/ 38 h 102"/>
                  <a:gd name="T46" fmla="*/ 120 w 149"/>
                  <a:gd name="T47" fmla="*/ 38 h 102"/>
                  <a:gd name="T48" fmla="*/ 122 w 149"/>
                  <a:gd name="T49" fmla="*/ 28 h 102"/>
                  <a:gd name="T50" fmla="*/ 127 w 149"/>
                  <a:gd name="T51" fmla="*/ 19 h 102"/>
                  <a:gd name="T52" fmla="*/ 116 w 149"/>
                  <a:gd name="T53" fmla="*/ 12 h 102"/>
                  <a:gd name="T54" fmla="*/ 102 w 149"/>
                  <a:gd name="T55" fmla="*/ 12 h 102"/>
                  <a:gd name="T56" fmla="*/ 98 w 149"/>
                  <a:gd name="T57" fmla="*/ 2 h 102"/>
                  <a:gd name="T58" fmla="*/ 79 w 149"/>
                  <a:gd name="T59" fmla="*/ 2 h 102"/>
                  <a:gd name="T60" fmla="*/ 73 w 149"/>
                  <a:gd name="T61" fmla="*/ 6 h 102"/>
                  <a:gd name="T62" fmla="*/ 64 w 149"/>
                  <a:gd name="T63" fmla="*/ 4 h 102"/>
                  <a:gd name="T64" fmla="*/ 64 w 149"/>
                  <a:gd name="T65" fmla="*/ 10 h 102"/>
                  <a:gd name="T66" fmla="*/ 54 w 149"/>
                  <a:gd name="T67" fmla="*/ 8 h 102"/>
                  <a:gd name="T68" fmla="*/ 51 w 149"/>
                  <a:gd name="T69" fmla="*/ 15 h 102"/>
                  <a:gd name="T70" fmla="*/ 42 w 149"/>
                  <a:gd name="T71" fmla="*/ 10 h 102"/>
                  <a:gd name="T72" fmla="*/ 30 w 149"/>
                  <a:gd name="T73" fmla="*/ 12 h 102"/>
                  <a:gd name="T74" fmla="*/ 26 w 149"/>
                  <a:gd name="T75" fmla="*/ 6 h 102"/>
                  <a:gd name="T76" fmla="*/ 18 w 149"/>
                  <a:gd name="T77" fmla="*/ 8 h 102"/>
                  <a:gd name="T78" fmla="*/ 17 w 149"/>
                  <a:gd name="T79" fmla="*/ 6 h 102"/>
                  <a:gd name="T80" fmla="*/ 1 w 149"/>
                  <a:gd name="T81" fmla="*/ 20 h 102"/>
                  <a:gd name="T82" fmla="*/ 0 w 149"/>
                  <a:gd name="T83" fmla="*/ 2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53" name="Belarus">
                <a:extLst>
                  <a:ext uri="{FF2B5EF4-FFF2-40B4-BE49-F238E27FC236}">
                    <a16:creationId xmlns:a16="http://schemas.microsoft.com/office/drawing/2014/main" id="{AE5019BE-5264-4497-96EA-50AFCD27205E}"/>
                  </a:ext>
                </a:extLst>
              </p:cNvPr>
              <p:cNvSpPr>
                <a:spLocks/>
              </p:cNvSpPr>
              <p:nvPr/>
            </p:nvSpPr>
            <p:spPr bwMode="gray">
              <a:xfrm>
                <a:off x="6176682" y="2409517"/>
                <a:ext cx="214349" cy="139635"/>
              </a:xfrm>
              <a:custGeom>
                <a:avLst/>
                <a:gdLst>
                  <a:gd name="T0" fmla="*/ 19 w 382"/>
                  <a:gd name="T1" fmla="*/ 225 h 250"/>
                  <a:gd name="T2" fmla="*/ 42 w 382"/>
                  <a:gd name="T3" fmla="*/ 236 h 250"/>
                  <a:gd name="T4" fmla="*/ 77 w 382"/>
                  <a:gd name="T5" fmla="*/ 221 h 250"/>
                  <a:gd name="T6" fmla="*/ 121 w 382"/>
                  <a:gd name="T7" fmla="*/ 214 h 250"/>
                  <a:gd name="T8" fmla="*/ 146 w 382"/>
                  <a:gd name="T9" fmla="*/ 222 h 250"/>
                  <a:gd name="T10" fmla="*/ 176 w 382"/>
                  <a:gd name="T11" fmla="*/ 234 h 250"/>
                  <a:gd name="T12" fmla="*/ 193 w 382"/>
                  <a:gd name="T13" fmla="*/ 239 h 250"/>
                  <a:gd name="T14" fmla="*/ 205 w 382"/>
                  <a:gd name="T15" fmla="*/ 237 h 250"/>
                  <a:gd name="T16" fmla="*/ 221 w 382"/>
                  <a:gd name="T17" fmla="*/ 240 h 250"/>
                  <a:gd name="T18" fmla="*/ 236 w 382"/>
                  <a:gd name="T19" fmla="*/ 242 h 250"/>
                  <a:gd name="T20" fmla="*/ 259 w 382"/>
                  <a:gd name="T21" fmla="*/ 245 h 250"/>
                  <a:gd name="T22" fmla="*/ 301 w 382"/>
                  <a:gd name="T23" fmla="*/ 247 h 250"/>
                  <a:gd name="T24" fmla="*/ 323 w 382"/>
                  <a:gd name="T25" fmla="*/ 206 h 250"/>
                  <a:gd name="T26" fmla="*/ 344 w 382"/>
                  <a:gd name="T27" fmla="*/ 191 h 250"/>
                  <a:gd name="T28" fmla="*/ 328 w 382"/>
                  <a:gd name="T29" fmla="*/ 151 h 250"/>
                  <a:gd name="T30" fmla="*/ 365 w 382"/>
                  <a:gd name="T31" fmla="*/ 155 h 250"/>
                  <a:gd name="T32" fmla="*/ 368 w 382"/>
                  <a:gd name="T33" fmla="*/ 131 h 250"/>
                  <a:gd name="T34" fmla="*/ 340 w 382"/>
                  <a:gd name="T35" fmla="*/ 118 h 250"/>
                  <a:gd name="T36" fmla="*/ 318 w 382"/>
                  <a:gd name="T37" fmla="*/ 96 h 250"/>
                  <a:gd name="T38" fmla="*/ 294 w 382"/>
                  <a:gd name="T39" fmla="*/ 66 h 250"/>
                  <a:gd name="T40" fmla="*/ 290 w 382"/>
                  <a:gd name="T41" fmla="*/ 44 h 250"/>
                  <a:gd name="T42" fmla="*/ 260 w 382"/>
                  <a:gd name="T43" fmla="*/ 9 h 250"/>
                  <a:gd name="T44" fmla="*/ 236 w 382"/>
                  <a:gd name="T45" fmla="*/ 11 h 250"/>
                  <a:gd name="T46" fmla="*/ 204 w 382"/>
                  <a:gd name="T47" fmla="*/ 11 h 250"/>
                  <a:gd name="T48" fmla="*/ 176 w 382"/>
                  <a:gd name="T49" fmla="*/ 0 h 250"/>
                  <a:gd name="T50" fmla="*/ 157 w 382"/>
                  <a:gd name="T51" fmla="*/ 19 h 250"/>
                  <a:gd name="T52" fmla="*/ 119 w 382"/>
                  <a:gd name="T53" fmla="*/ 31 h 250"/>
                  <a:gd name="T54" fmla="*/ 120 w 382"/>
                  <a:gd name="T55" fmla="*/ 52 h 250"/>
                  <a:gd name="T56" fmla="*/ 111 w 382"/>
                  <a:gd name="T57" fmla="*/ 60 h 250"/>
                  <a:gd name="T58" fmla="*/ 98 w 382"/>
                  <a:gd name="T59" fmla="*/ 77 h 250"/>
                  <a:gd name="T60" fmla="*/ 96 w 382"/>
                  <a:gd name="T61" fmla="*/ 104 h 250"/>
                  <a:gd name="T62" fmla="*/ 72 w 382"/>
                  <a:gd name="T63" fmla="*/ 103 h 250"/>
                  <a:gd name="T64" fmla="*/ 60 w 382"/>
                  <a:gd name="T65" fmla="*/ 103 h 250"/>
                  <a:gd name="T66" fmla="*/ 40 w 382"/>
                  <a:gd name="T67" fmla="*/ 113 h 250"/>
                  <a:gd name="T68" fmla="*/ 6 w 382"/>
                  <a:gd name="T69" fmla="*/ 113 h 250"/>
                  <a:gd name="T70" fmla="*/ 25 w 382"/>
                  <a:gd name="T71" fmla="*/ 145 h 250"/>
                  <a:gd name="T72" fmla="*/ 27 w 382"/>
                  <a:gd name="T73" fmla="*/ 173 h 250"/>
                  <a:gd name="T74" fmla="*/ 12 w 382"/>
                  <a:gd name="T75" fmla="*/ 190 h 250"/>
                  <a:gd name="T76" fmla="*/ 20 w 382"/>
                  <a:gd name="T77" fmla="*/ 20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6"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54" name="Bosnia and Herzegovina">
                <a:extLst>
                  <a:ext uri="{FF2B5EF4-FFF2-40B4-BE49-F238E27FC236}">
                    <a16:creationId xmlns:a16="http://schemas.microsoft.com/office/drawing/2014/main" id="{09FEF371-D765-4441-BAF1-E9BF2978762C}"/>
                  </a:ext>
                </a:extLst>
              </p:cNvPr>
              <p:cNvSpPr>
                <a:spLocks/>
              </p:cNvSpPr>
              <p:nvPr/>
            </p:nvSpPr>
            <p:spPr bwMode="gray">
              <a:xfrm>
                <a:off x="6011553" y="2723698"/>
                <a:ext cx="96854" cy="85685"/>
              </a:xfrm>
              <a:custGeom>
                <a:avLst/>
                <a:gdLst>
                  <a:gd name="T0" fmla="*/ 162 w 173"/>
                  <a:gd name="T1" fmla="*/ 51 h 153"/>
                  <a:gd name="T2" fmla="*/ 151 w 173"/>
                  <a:gd name="T3" fmla="*/ 52 h 153"/>
                  <a:gd name="T4" fmla="*/ 151 w 173"/>
                  <a:gd name="T5" fmla="*/ 41 h 153"/>
                  <a:gd name="T6" fmla="*/ 163 w 173"/>
                  <a:gd name="T7" fmla="*/ 22 h 153"/>
                  <a:gd name="T8" fmla="*/ 144 w 173"/>
                  <a:gd name="T9" fmla="*/ 23 h 153"/>
                  <a:gd name="T10" fmla="*/ 141 w 173"/>
                  <a:gd name="T11" fmla="*/ 18 h 153"/>
                  <a:gd name="T12" fmla="*/ 136 w 173"/>
                  <a:gd name="T13" fmla="*/ 19 h 153"/>
                  <a:gd name="T14" fmla="*/ 126 w 173"/>
                  <a:gd name="T15" fmla="*/ 8 h 153"/>
                  <a:gd name="T16" fmla="*/ 109 w 173"/>
                  <a:gd name="T17" fmla="*/ 7 h 153"/>
                  <a:gd name="T18" fmla="*/ 93 w 173"/>
                  <a:gd name="T19" fmla="*/ 8 h 153"/>
                  <a:gd name="T20" fmla="*/ 80 w 173"/>
                  <a:gd name="T21" fmla="*/ 5 h 153"/>
                  <a:gd name="T22" fmla="*/ 71 w 173"/>
                  <a:gd name="T23" fmla="*/ 9 h 153"/>
                  <a:gd name="T24" fmla="*/ 58 w 173"/>
                  <a:gd name="T25" fmla="*/ 2 h 153"/>
                  <a:gd name="T26" fmla="*/ 43 w 173"/>
                  <a:gd name="T27" fmla="*/ 4 h 153"/>
                  <a:gd name="T28" fmla="*/ 28 w 173"/>
                  <a:gd name="T29" fmla="*/ 8 h 153"/>
                  <a:gd name="T30" fmla="*/ 12 w 173"/>
                  <a:gd name="T31" fmla="*/ 1 h 153"/>
                  <a:gd name="T32" fmla="*/ 9 w 173"/>
                  <a:gd name="T33" fmla="*/ 15 h 153"/>
                  <a:gd name="T34" fmla="*/ 0 w 173"/>
                  <a:gd name="T35" fmla="*/ 20 h 153"/>
                  <a:gd name="T36" fmla="*/ 7 w 173"/>
                  <a:gd name="T37" fmla="*/ 27 h 153"/>
                  <a:gd name="T38" fmla="*/ 19 w 173"/>
                  <a:gd name="T39" fmla="*/ 30 h 153"/>
                  <a:gd name="T40" fmla="*/ 18 w 173"/>
                  <a:gd name="T41" fmla="*/ 39 h 153"/>
                  <a:gd name="T42" fmla="*/ 26 w 173"/>
                  <a:gd name="T43" fmla="*/ 43 h 153"/>
                  <a:gd name="T44" fmla="*/ 26 w 173"/>
                  <a:gd name="T45" fmla="*/ 57 h 153"/>
                  <a:gd name="T46" fmla="*/ 37 w 173"/>
                  <a:gd name="T47" fmla="*/ 60 h 153"/>
                  <a:gd name="T48" fmla="*/ 47 w 173"/>
                  <a:gd name="T49" fmla="*/ 80 h 153"/>
                  <a:gd name="T50" fmla="*/ 75 w 173"/>
                  <a:gd name="T51" fmla="*/ 99 h 153"/>
                  <a:gd name="T52" fmla="*/ 81 w 173"/>
                  <a:gd name="T53" fmla="*/ 120 h 153"/>
                  <a:gd name="T54" fmla="*/ 89 w 173"/>
                  <a:gd name="T55" fmla="*/ 121 h 153"/>
                  <a:gd name="T56" fmla="*/ 125 w 173"/>
                  <a:gd name="T57" fmla="*/ 153 h 153"/>
                  <a:gd name="T58" fmla="*/ 138 w 173"/>
                  <a:gd name="T59" fmla="*/ 137 h 153"/>
                  <a:gd name="T60" fmla="*/ 124 w 173"/>
                  <a:gd name="T61" fmla="*/ 128 h 153"/>
                  <a:gd name="T62" fmla="*/ 125 w 173"/>
                  <a:gd name="T63" fmla="*/ 118 h 153"/>
                  <a:gd name="T64" fmla="*/ 130 w 173"/>
                  <a:gd name="T65" fmla="*/ 118 h 153"/>
                  <a:gd name="T66" fmla="*/ 139 w 173"/>
                  <a:gd name="T67" fmla="*/ 103 h 153"/>
                  <a:gd name="T68" fmla="*/ 150 w 173"/>
                  <a:gd name="T69" fmla="*/ 104 h 153"/>
                  <a:gd name="T70" fmla="*/ 150 w 173"/>
                  <a:gd name="T71" fmla="*/ 89 h 153"/>
                  <a:gd name="T72" fmla="*/ 171 w 173"/>
                  <a:gd name="T73" fmla="*/ 86 h 153"/>
                  <a:gd name="T74" fmla="*/ 159 w 173"/>
                  <a:gd name="T75" fmla="*/ 66 h 153"/>
                  <a:gd name="T76" fmla="*/ 173 w 173"/>
                  <a:gd name="T77" fmla="*/ 64 h 153"/>
                  <a:gd name="T78" fmla="*/ 162 w 173"/>
                  <a:gd name="T7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55" name="Austria">
                <a:extLst>
                  <a:ext uri="{FF2B5EF4-FFF2-40B4-BE49-F238E27FC236}">
                    <a16:creationId xmlns:a16="http://schemas.microsoft.com/office/drawing/2014/main" id="{830416F4-9DE1-444E-8614-A0DAC5760029}"/>
                  </a:ext>
                </a:extLst>
              </p:cNvPr>
              <p:cNvSpPr>
                <a:spLocks/>
              </p:cNvSpPr>
              <p:nvPr/>
            </p:nvSpPr>
            <p:spPr bwMode="gray">
              <a:xfrm>
                <a:off x="5870241" y="2612624"/>
                <a:ext cx="171480" cy="77752"/>
              </a:xfrm>
              <a:custGeom>
                <a:avLst/>
                <a:gdLst>
                  <a:gd name="T0" fmla="*/ 307 w 308"/>
                  <a:gd name="T1" fmla="*/ 48 h 138"/>
                  <a:gd name="T2" fmla="*/ 301 w 308"/>
                  <a:gd name="T3" fmla="*/ 33 h 138"/>
                  <a:gd name="T4" fmla="*/ 287 w 308"/>
                  <a:gd name="T5" fmla="*/ 11 h 138"/>
                  <a:gd name="T6" fmla="*/ 268 w 308"/>
                  <a:gd name="T7" fmla="*/ 17 h 138"/>
                  <a:gd name="T8" fmla="*/ 254 w 308"/>
                  <a:gd name="T9" fmla="*/ 14 h 138"/>
                  <a:gd name="T10" fmla="*/ 228 w 308"/>
                  <a:gd name="T11" fmla="*/ 1 h 138"/>
                  <a:gd name="T12" fmla="*/ 214 w 308"/>
                  <a:gd name="T13" fmla="*/ 16 h 138"/>
                  <a:gd name="T14" fmla="*/ 204 w 308"/>
                  <a:gd name="T15" fmla="*/ 23 h 138"/>
                  <a:gd name="T16" fmla="*/ 175 w 308"/>
                  <a:gd name="T17" fmla="*/ 15 h 138"/>
                  <a:gd name="T18" fmla="*/ 156 w 308"/>
                  <a:gd name="T19" fmla="*/ 27 h 138"/>
                  <a:gd name="T20" fmla="*/ 160 w 308"/>
                  <a:gd name="T21" fmla="*/ 45 h 138"/>
                  <a:gd name="T22" fmla="*/ 133 w 308"/>
                  <a:gd name="T23" fmla="*/ 57 h 138"/>
                  <a:gd name="T24" fmla="*/ 141 w 308"/>
                  <a:gd name="T25" fmla="*/ 68 h 138"/>
                  <a:gd name="T26" fmla="*/ 131 w 308"/>
                  <a:gd name="T27" fmla="*/ 77 h 138"/>
                  <a:gd name="T28" fmla="*/ 109 w 308"/>
                  <a:gd name="T29" fmla="*/ 71 h 138"/>
                  <a:gd name="T30" fmla="*/ 84 w 308"/>
                  <a:gd name="T31" fmla="*/ 78 h 138"/>
                  <a:gd name="T32" fmla="*/ 63 w 308"/>
                  <a:gd name="T33" fmla="*/ 88 h 138"/>
                  <a:gd name="T34" fmla="*/ 33 w 308"/>
                  <a:gd name="T35" fmla="*/ 76 h 138"/>
                  <a:gd name="T36" fmla="*/ 26 w 308"/>
                  <a:gd name="T37" fmla="*/ 91 h 138"/>
                  <a:gd name="T38" fmla="*/ 0 w 308"/>
                  <a:gd name="T39" fmla="*/ 84 h 138"/>
                  <a:gd name="T40" fmla="*/ 2 w 308"/>
                  <a:gd name="T41" fmla="*/ 97 h 138"/>
                  <a:gd name="T42" fmla="*/ 11 w 308"/>
                  <a:gd name="T43" fmla="*/ 106 h 138"/>
                  <a:gd name="T44" fmla="*/ 32 w 308"/>
                  <a:gd name="T45" fmla="*/ 106 h 138"/>
                  <a:gd name="T46" fmla="*/ 50 w 308"/>
                  <a:gd name="T47" fmla="*/ 117 h 138"/>
                  <a:gd name="T48" fmla="*/ 66 w 308"/>
                  <a:gd name="T49" fmla="*/ 109 h 138"/>
                  <a:gd name="T50" fmla="*/ 104 w 308"/>
                  <a:gd name="T51" fmla="*/ 103 h 138"/>
                  <a:gd name="T52" fmla="*/ 119 w 308"/>
                  <a:gd name="T53" fmla="*/ 118 h 138"/>
                  <a:gd name="T54" fmla="*/ 136 w 308"/>
                  <a:gd name="T55" fmla="*/ 131 h 138"/>
                  <a:gd name="T56" fmla="*/ 162 w 308"/>
                  <a:gd name="T57" fmla="*/ 136 h 138"/>
                  <a:gd name="T58" fmla="*/ 183 w 308"/>
                  <a:gd name="T59" fmla="*/ 132 h 138"/>
                  <a:gd name="T60" fmla="*/ 207 w 308"/>
                  <a:gd name="T61" fmla="*/ 138 h 138"/>
                  <a:gd name="T62" fmla="*/ 247 w 308"/>
                  <a:gd name="T63" fmla="*/ 130 h 138"/>
                  <a:gd name="T64" fmla="*/ 270 w 308"/>
                  <a:gd name="T65" fmla="*/ 131 h 138"/>
                  <a:gd name="T66" fmla="*/ 277 w 308"/>
                  <a:gd name="T67" fmla="*/ 107 h 138"/>
                  <a:gd name="T68" fmla="*/ 290 w 308"/>
                  <a:gd name="T69" fmla="*/ 91 h 138"/>
                  <a:gd name="T70" fmla="*/ 290 w 308"/>
                  <a:gd name="T71" fmla="*/ 78 h 138"/>
                  <a:gd name="T72" fmla="*/ 306 w 308"/>
                  <a:gd name="T73"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2" y="111"/>
                      <a:pt x="92" y="111"/>
                      <a:pt x="92" y="111"/>
                    </a:cubicBezTo>
                    <a:cubicBezTo>
                      <a:pt x="92"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2"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8" y="79"/>
                      <a:pt x="298" y="79"/>
                      <a:pt x="298" y="79"/>
                    </a:cubicBezTo>
                    <a:cubicBezTo>
                      <a:pt x="290" y="78"/>
                      <a:pt x="290" y="78"/>
                      <a:pt x="290" y="78"/>
                    </a:cubicBezTo>
                    <a:cubicBezTo>
                      <a:pt x="291" y="69"/>
                      <a:pt x="291" y="69"/>
                      <a:pt x="291" y="69"/>
                    </a:cubicBezTo>
                    <a:lnTo>
                      <a:pt x="306" y="69"/>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56" name="Andorra">
                <a:extLst>
                  <a:ext uri="{FF2B5EF4-FFF2-40B4-BE49-F238E27FC236}">
                    <a16:creationId xmlns:a16="http://schemas.microsoft.com/office/drawing/2014/main" id="{6FBC037B-7005-4ABA-ACA5-92D1D0CEBBDB}"/>
                  </a:ext>
                </a:extLst>
              </p:cNvPr>
              <p:cNvSpPr>
                <a:spLocks/>
              </p:cNvSpPr>
              <p:nvPr/>
            </p:nvSpPr>
            <p:spPr bwMode="gray">
              <a:xfrm>
                <a:off x="5671769" y="2801450"/>
                <a:ext cx="11114" cy="6347"/>
              </a:xfrm>
              <a:custGeom>
                <a:avLst/>
                <a:gdLst>
                  <a:gd name="T0" fmla="*/ 5 w 20"/>
                  <a:gd name="T1" fmla="*/ 13 h 13"/>
                  <a:gd name="T2" fmla="*/ 18 w 20"/>
                  <a:gd name="T3" fmla="*/ 10 h 13"/>
                  <a:gd name="T4" fmla="*/ 20 w 20"/>
                  <a:gd name="T5" fmla="*/ 10 h 13"/>
                  <a:gd name="T6" fmla="*/ 19 w 20"/>
                  <a:gd name="T7" fmla="*/ 1 h 13"/>
                  <a:gd name="T8" fmla="*/ 5 w 20"/>
                  <a:gd name="T9" fmla="*/ 1 h 13"/>
                  <a:gd name="T10" fmla="*/ 0 w 20"/>
                  <a:gd name="T11" fmla="*/ 2 h 13"/>
                  <a:gd name="T12" fmla="*/ 5 w 2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57" name="Albania">
                <a:extLst>
                  <a:ext uri="{FF2B5EF4-FFF2-40B4-BE49-F238E27FC236}">
                    <a16:creationId xmlns:a16="http://schemas.microsoft.com/office/drawing/2014/main" id="{B4BDC6F5-9FFF-4BEF-B9D0-C7F92C2FA7FA}"/>
                  </a:ext>
                </a:extLst>
              </p:cNvPr>
              <p:cNvSpPr>
                <a:spLocks/>
              </p:cNvSpPr>
              <p:nvPr/>
            </p:nvSpPr>
            <p:spPr bwMode="gray">
              <a:xfrm>
                <a:off x="6097293" y="2801450"/>
                <a:ext cx="55572" cy="92032"/>
              </a:xfrm>
              <a:custGeom>
                <a:avLst/>
                <a:gdLst>
                  <a:gd name="T0" fmla="*/ 62 w 100"/>
                  <a:gd name="T1" fmla="*/ 142 h 165"/>
                  <a:gd name="T2" fmla="*/ 72 w 100"/>
                  <a:gd name="T3" fmla="*/ 138 h 165"/>
                  <a:gd name="T4" fmla="*/ 80 w 100"/>
                  <a:gd name="T5" fmla="*/ 133 h 165"/>
                  <a:gd name="T6" fmla="*/ 80 w 100"/>
                  <a:gd name="T7" fmla="*/ 119 h 165"/>
                  <a:gd name="T8" fmla="*/ 95 w 100"/>
                  <a:gd name="T9" fmla="*/ 113 h 165"/>
                  <a:gd name="T10" fmla="*/ 95 w 100"/>
                  <a:gd name="T11" fmla="*/ 92 h 165"/>
                  <a:gd name="T12" fmla="*/ 77 w 100"/>
                  <a:gd name="T13" fmla="*/ 99 h 165"/>
                  <a:gd name="T14" fmla="*/ 77 w 100"/>
                  <a:gd name="T15" fmla="*/ 85 h 165"/>
                  <a:gd name="T16" fmla="*/ 69 w 100"/>
                  <a:gd name="T17" fmla="*/ 79 h 165"/>
                  <a:gd name="T18" fmla="*/ 71 w 100"/>
                  <a:gd name="T19" fmla="*/ 67 h 165"/>
                  <a:gd name="T20" fmla="*/ 66 w 100"/>
                  <a:gd name="T21" fmla="*/ 56 h 165"/>
                  <a:gd name="T22" fmla="*/ 68 w 100"/>
                  <a:gd name="T23" fmla="*/ 41 h 165"/>
                  <a:gd name="T24" fmla="*/ 68 w 100"/>
                  <a:gd name="T25" fmla="*/ 29 h 165"/>
                  <a:gd name="T26" fmla="*/ 64 w 100"/>
                  <a:gd name="T27" fmla="*/ 19 h 165"/>
                  <a:gd name="T28" fmla="*/ 55 w 100"/>
                  <a:gd name="T29" fmla="*/ 19 h 165"/>
                  <a:gd name="T30" fmla="*/ 47 w 100"/>
                  <a:gd name="T31" fmla="*/ 4 h 165"/>
                  <a:gd name="T32" fmla="*/ 41 w 100"/>
                  <a:gd name="T33" fmla="*/ 10 h 165"/>
                  <a:gd name="T34" fmla="*/ 23 w 100"/>
                  <a:gd name="T35" fmla="*/ 0 h 165"/>
                  <a:gd name="T36" fmla="*/ 21 w 100"/>
                  <a:gd name="T37" fmla="*/ 14 h 165"/>
                  <a:gd name="T38" fmla="*/ 15 w 100"/>
                  <a:gd name="T39" fmla="*/ 19 h 165"/>
                  <a:gd name="T40" fmla="*/ 0 w 100"/>
                  <a:gd name="T41" fmla="*/ 19 h 165"/>
                  <a:gd name="T42" fmla="*/ 9 w 100"/>
                  <a:gd name="T43" fmla="*/ 25 h 165"/>
                  <a:gd name="T44" fmla="*/ 15 w 100"/>
                  <a:gd name="T45" fmla="*/ 22 h 165"/>
                  <a:gd name="T46" fmla="*/ 17 w 100"/>
                  <a:gd name="T47" fmla="*/ 32 h 165"/>
                  <a:gd name="T48" fmla="*/ 10 w 100"/>
                  <a:gd name="T49" fmla="*/ 41 h 165"/>
                  <a:gd name="T50" fmla="*/ 14 w 100"/>
                  <a:gd name="T51" fmla="*/ 45 h 165"/>
                  <a:gd name="T52" fmla="*/ 30 w 100"/>
                  <a:gd name="T53" fmla="*/ 45 h 165"/>
                  <a:gd name="T54" fmla="*/ 24 w 100"/>
                  <a:gd name="T55" fmla="*/ 96 h 165"/>
                  <a:gd name="T56" fmla="*/ 17 w 100"/>
                  <a:gd name="T57" fmla="*/ 129 h 165"/>
                  <a:gd name="T58" fmla="*/ 40 w 100"/>
                  <a:gd name="T59" fmla="*/ 144 h 165"/>
                  <a:gd name="T60" fmla="*/ 41 w 100"/>
                  <a:gd name="T61" fmla="*/ 163 h 165"/>
                  <a:gd name="T62" fmla="*/ 64 w 100"/>
                  <a:gd name="T63" fmla="*/ 165 h 165"/>
                  <a:gd name="T64" fmla="*/ 62 w 100"/>
                  <a:gd name="T65" fmla="*/ 158 h 165"/>
                  <a:gd name="T66" fmla="*/ 62 w 100"/>
                  <a:gd name="T67" fmla="*/ 14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grpSp>
        <p:grpSp>
          <p:nvGrpSpPr>
            <p:cNvPr id="208" name="Australia">
              <a:extLst>
                <a:ext uri="{FF2B5EF4-FFF2-40B4-BE49-F238E27FC236}">
                  <a16:creationId xmlns:a16="http://schemas.microsoft.com/office/drawing/2014/main" id="{0701351F-AB11-4C12-8010-AA5E5C96C9BE}"/>
                </a:ext>
              </a:extLst>
            </p:cNvPr>
            <p:cNvGrpSpPr/>
            <p:nvPr/>
          </p:nvGrpSpPr>
          <p:grpSpPr bwMode="gray">
            <a:xfrm>
              <a:off x="9381341" y="4816308"/>
              <a:ext cx="1995565" cy="1387862"/>
              <a:chOff x="8502775" y="4402489"/>
              <a:chExt cx="1551258" cy="1079000"/>
            </a:xfrm>
            <a:grpFill/>
          </p:grpSpPr>
          <p:sp>
            <p:nvSpPr>
              <p:cNvPr id="314" name="New Zealand">
                <a:extLst>
                  <a:ext uri="{FF2B5EF4-FFF2-40B4-BE49-F238E27FC236}">
                    <a16:creationId xmlns:a16="http://schemas.microsoft.com/office/drawing/2014/main" id="{9757F0EA-A22B-4276-8722-9E24B64C1F79}"/>
                  </a:ext>
                </a:extLst>
              </p:cNvPr>
              <p:cNvSpPr>
                <a:spLocks noEditPoints="1"/>
              </p:cNvSpPr>
              <p:nvPr/>
            </p:nvSpPr>
            <p:spPr bwMode="gray">
              <a:xfrm>
                <a:off x="9577700" y="5113360"/>
                <a:ext cx="476333" cy="368129"/>
              </a:xfrm>
              <a:custGeom>
                <a:avLst/>
                <a:gdLst>
                  <a:gd name="T0" fmla="*/ 489 w 851"/>
                  <a:gd name="T1" fmla="*/ 375 h 656"/>
                  <a:gd name="T2" fmla="*/ 477 w 851"/>
                  <a:gd name="T3" fmla="*/ 361 h 656"/>
                  <a:gd name="T4" fmla="*/ 456 w 851"/>
                  <a:gd name="T5" fmla="*/ 351 h 656"/>
                  <a:gd name="T6" fmla="*/ 425 w 851"/>
                  <a:gd name="T7" fmla="*/ 380 h 656"/>
                  <a:gd name="T8" fmla="*/ 360 w 851"/>
                  <a:gd name="T9" fmla="*/ 432 h 656"/>
                  <a:gd name="T10" fmla="*/ 261 w 851"/>
                  <a:gd name="T11" fmla="*/ 484 h 656"/>
                  <a:gd name="T12" fmla="*/ 177 w 851"/>
                  <a:gd name="T13" fmla="*/ 513 h 656"/>
                  <a:gd name="T14" fmla="*/ 112 w 851"/>
                  <a:gd name="T15" fmla="*/ 564 h 656"/>
                  <a:gd name="T16" fmla="*/ 56 w 851"/>
                  <a:gd name="T17" fmla="*/ 583 h 656"/>
                  <a:gd name="T18" fmla="*/ 0 w 851"/>
                  <a:gd name="T19" fmla="*/ 608 h 656"/>
                  <a:gd name="T20" fmla="*/ 12 w 851"/>
                  <a:gd name="T21" fmla="*/ 629 h 656"/>
                  <a:gd name="T22" fmla="*/ 47 w 851"/>
                  <a:gd name="T23" fmla="*/ 631 h 656"/>
                  <a:gd name="T24" fmla="*/ 65 w 851"/>
                  <a:gd name="T25" fmla="*/ 637 h 656"/>
                  <a:gd name="T26" fmla="*/ 96 w 851"/>
                  <a:gd name="T27" fmla="*/ 648 h 656"/>
                  <a:gd name="T28" fmla="*/ 152 w 851"/>
                  <a:gd name="T29" fmla="*/ 653 h 656"/>
                  <a:gd name="T30" fmla="*/ 215 w 851"/>
                  <a:gd name="T31" fmla="*/ 620 h 656"/>
                  <a:gd name="T32" fmla="*/ 265 w 851"/>
                  <a:gd name="T33" fmla="*/ 574 h 656"/>
                  <a:gd name="T34" fmla="*/ 279 w 851"/>
                  <a:gd name="T35" fmla="*/ 557 h 656"/>
                  <a:gd name="T36" fmla="*/ 306 w 851"/>
                  <a:gd name="T37" fmla="*/ 517 h 656"/>
                  <a:gd name="T38" fmla="*/ 343 w 851"/>
                  <a:gd name="T39" fmla="*/ 510 h 656"/>
                  <a:gd name="T40" fmla="*/ 388 w 851"/>
                  <a:gd name="T41" fmla="*/ 503 h 656"/>
                  <a:gd name="T42" fmla="*/ 395 w 851"/>
                  <a:gd name="T43" fmla="*/ 480 h 656"/>
                  <a:gd name="T44" fmla="*/ 430 w 851"/>
                  <a:gd name="T45" fmla="*/ 456 h 656"/>
                  <a:gd name="T46" fmla="*/ 468 w 851"/>
                  <a:gd name="T47" fmla="*/ 430 h 656"/>
                  <a:gd name="T48" fmla="*/ 518 w 851"/>
                  <a:gd name="T49" fmla="*/ 389 h 656"/>
                  <a:gd name="T50" fmla="*/ 498 w 851"/>
                  <a:gd name="T51" fmla="*/ 375 h 656"/>
                  <a:gd name="T52" fmla="*/ 841 w 851"/>
                  <a:gd name="T53" fmla="*/ 205 h 656"/>
                  <a:gd name="T54" fmla="*/ 821 w 851"/>
                  <a:gd name="T55" fmla="*/ 186 h 656"/>
                  <a:gd name="T56" fmla="*/ 768 w 851"/>
                  <a:gd name="T57" fmla="*/ 192 h 656"/>
                  <a:gd name="T58" fmla="*/ 777 w 851"/>
                  <a:gd name="T59" fmla="*/ 120 h 656"/>
                  <a:gd name="T60" fmla="*/ 756 w 851"/>
                  <a:gd name="T61" fmla="*/ 129 h 656"/>
                  <a:gd name="T62" fmla="*/ 740 w 851"/>
                  <a:gd name="T63" fmla="*/ 126 h 656"/>
                  <a:gd name="T64" fmla="*/ 750 w 851"/>
                  <a:gd name="T65" fmla="*/ 62 h 656"/>
                  <a:gd name="T66" fmla="*/ 720 w 851"/>
                  <a:gd name="T67" fmla="*/ 27 h 656"/>
                  <a:gd name="T68" fmla="*/ 692 w 851"/>
                  <a:gd name="T69" fmla="*/ 11 h 656"/>
                  <a:gd name="T70" fmla="*/ 679 w 851"/>
                  <a:gd name="T71" fmla="*/ 12 h 656"/>
                  <a:gd name="T72" fmla="*/ 686 w 851"/>
                  <a:gd name="T73" fmla="*/ 60 h 656"/>
                  <a:gd name="T74" fmla="*/ 692 w 851"/>
                  <a:gd name="T75" fmla="*/ 70 h 656"/>
                  <a:gd name="T76" fmla="*/ 712 w 851"/>
                  <a:gd name="T77" fmla="*/ 89 h 656"/>
                  <a:gd name="T78" fmla="*/ 705 w 851"/>
                  <a:gd name="T79" fmla="*/ 102 h 656"/>
                  <a:gd name="T80" fmla="*/ 715 w 851"/>
                  <a:gd name="T81" fmla="*/ 136 h 656"/>
                  <a:gd name="T82" fmla="*/ 694 w 851"/>
                  <a:gd name="T83" fmla="*/ 148 h 656"/>
                  <a:gd name="T84" fmla="*/ 682 w 851"/>
                  <a:gd name="T85" fmla="*/ 185 h 656"/>
                  <a:gd name="T86" fmla="*/ 656 w 851"/>
                  <a:gd name="T87" fmla="*/ 209 h 656"/>
                  <a:gd name="T88" fmla="*/ 578 w 851"/>
                  <a:gd name="T89" fmla="*/ 255 h 656"/>
                  <a:gd name="T90" fmla="*/ 609 w 851"/>
                  <a:gd name="T91" fmla="*/ 302 h 656"/>
                  <a:gd name="T92" fmla="*/ 576 w 851"/>
                  <a:gd name="T93" fmla="*/ 359 h 656"/>
                  <a:gd name="T94" fmla="*/ 557 w 851"/>
                  <a:gd name="T95" fmla="*/ 381 h 656"/>
                  <a:gd name="T96" fmla="*/ 644 w 851"/>
                  <a:gd name="T97" fmla="*/ 340 h 656"/>
                  <a:gd name="T98" fmla="*/ 697 w 851"/>
                  <a:gd name="T99" fmla="*/ 308 h 656"/>
                  <a:gd name="T100" fmla="*/ 715 w 851"/>
                  <a:gd name="T101" fmla="*/ 277 h 656"/>
                  <a:gd name="T102" fmla="*/ 774 w 851"/>
                  <a:gd name="T103" fmla="*/ 266 h 656"/>
                  <a:gd name="T104" fmla="*/ 805 w 851"/>
                  <a:gd name="T105" fmla="*/ 23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1" h="656">
                    <a:moveTo>
                      <a:pt x="498" y="375"/>
                    </a:moveTo>
                    <a:cubicBezTo>
                      <a:pt x="489" y="375"/>
                      <a:pt x="489" y="375"/>
                      <a:pt x="489" y="375"/>
                    </a:cubicBezTo>
                    <a:cubicBezTo>
                      <a:pt x="495" y="350"/>
                      <a:pt x="495" y="350"/>
                      <a:pt x="495" y="350"/>
                    </a:cubicBezTo>
                    <a:cubicBezTo>
                      <a:pt x="477" y="361"/>
                      <a:pt x="477" y="361"/>
                      <a:pt x="477" y="361"/>
                    </a:cubicBezTo>
                    <a:cubicBezTo>
                      <a:pt x="477" y="361"/>
                      <a:pt x="490" y="335"/>
                      <a:pt x="478" y="335"/>
                    </a:cubicBezTo>
                    <a:cubicBezTo>
                      <a:pt x="466" y="334"/>
                      <a:pt x="456" y="351"/>
                      <a:pt x="456" y="351"/>
                    </a:cubicBezTo>
                    <a:cubicBezTo>
                      <a:pt x="445" y="358"/>
                      <a:pt x="445" y="358"/>
                      <a:pt x="445" y="358"/>
                    </a:cubicBezTo>
                    <a:cubicBezTo>
                      <a:pt x="445" y="358"/>
                      <a:pt x="434" y="369"/>
                      <a:pt x="425" y="380"/>
                    </a:cubicBezTo>
                    <a:cubicBezTo>
                      <a:pt x="417" y="391"/>
                      <a:pt x="396" y="393"/>
                      <a:pt x="381" y="403"/>
                    </a:cubicBezTo>
                    <a:cubicBezTo>
                      <a:pt x="366" y="414"/>
                      <a:pt x="360" y="432"/>
                      <a:pt x="360" y="432"/>
                    </a:cubicBezTo>
                    <a:cubicBezTo>
                      <a:pt x="360" y="432"/>
                      <a:pt x="313" y="446"/>
                      <a:pt x="300" y="455"/>
                    </a:cubicBezTo>
                    <a:cubicBezTo>
                      <a:pt x="285" y="464"/>
                      <a:pt x="261" y="484"/>
                      <a:pt x="261" y="484"/>
                    </a:cubicBezTo>
                    <a:cubicBezTo>
                      <a:pt x="261" y="484"/>
                      <a:pt x="234" y="488"/>
                      <a:pt x="217" y="495"/>
                    </a:cubicBezTo>
                    <a:cubicBezTo>
                      <a:pt x="201" y="503"/>
                      <a:pt x="192" y="505"/>
                      <a:pt x="177" y="513"/>
                    </a:cubicBezTo>
                    <a:cubicBezTo>
                      <a:pt x="161" y="522"/>
                      <a:pt x="131" y="533"/>
                      <a:pt x="119" y="539"/>
                    </a:cubicBezTo>
                    <a:cubicBezTo>
                      <a:pt x="106" y="545"/>
                      <a:pt x="112" y="564"/>
                      <a:pt x="112" y="564"/>
                    </a:cubicBezTo>
                    <a:cubicBezTo>
                      <a:pt x="102" y="555"/>
                      <a:pt x="102" y="555"/>
                      <a:pt x="102" y="555"/>
                    </a:cubicBezTo>
                    <a:cubicBezTo>
                      <a:pt x="102" y="555"/>
                      <a:pt x="67" y="577"/>
                      <a:pt x="56" y="583"/>
                    </a:cubicBezTo>
                    <a:cubicBezTo>
                      <a:pt x="44" y="590"/>
                      <a:pt x="39" y="587"/>
                      <a:pt x="23" y="593"/>
                    </a:cubicBezTo>
                    <a:cubicBezTo>
                      <a:pt x="7" y="599"/>
                      <a:pt x="0" y="608"/>
                      <a:pt x="0" y="608"/>
                    </a:cubicBezTo>
                    <a:cubicBezTo>
                      <a:pt x="0" y="608"/>
                      <a:pt x="20" y="607"/>
                      <a:pt x="18" y="611"/>
                    </a:cubicBezTo>
                    <a:cubicBezTo>
                      <a:pt x="16" y="615"/>
                      <a:pt x="8" y="620"/>
                      <a:pt x="12" y="629"/>
                    </a:cubicBezTo>
                    <a:cubicBezTo>
                      <a:pt x="17" y="638"/>
                      <a:pt x="40" y="624"/>
                      <a:pt x="40" y="624"/>
                    </a:cubicBezTo>
                    <a:cubicBezTo>
                      <a:pt x="47" y="631"/>
                      <a:pt x="47" y="631"/>
                      <a:pt x="47" y="631"/>
                    </a:cubicBezTo>
                    <a:cubicBezTo>
                      <a:pt x="63" y="631"/>
                      <a:pt x="63" y="631"/>
                      <a:pt x="63" y="631"/>
                    </a:cubicBezTo>
                    <a:cubicBezTo>
                      <a:pt x="65" y="637"/>
                      <a:pt x="65" y="637"/>
                      <a:pt x="65" y="637"/>
                    </a:cubicBezTo>
                    <a:cubicBezTo>
                      <a:pt x="87" y="634"/>
                      <a:pt x="87" y="634"/>
                      <a:pt x="87" y="634"/>
                    </a:cubicBezTo>
                    <a:cubicBezTo>
                      <a:pt x="96" y="648"/>
                      <a:pt x="96" y="648"/>
                      <a:pt x="96" y="648"/>
                    </a:cubicBezTo>
                    <a:cubicBezTo>
                      <a:pt x="118" y="645"/>
                      <a:pt x="118" y="645"/>
                      <a:pt x="118" y="645"/>
                    </a:cubicBezTo>
                    <a:cubicBezTo>
                      <a:pt x="118" y="645"/>
                      <a:pt x="136" y="656"/>
                      <a:pt x="152" y="653"/>
                    </a:cubicBezTo>
                    <a:cubicBezTo>
                      <a:pt x="167" y="650"/>
                      <a:pt x="172" y="634"/>
                      <a:pt x="182" y="627"/>
                    </a:cubicBezTo>
                    <a:cubicBezTo>
                      <a:pt x="192" y="620"/>
                      <a:pt x="200" y="630"/>
                      <a:pt x="215" y="620"/>
                    </a:cubicBezTo>
                    <a:cubicBezTo>
                      <a:pt x="230" y="610"/>
                      <a:pt x="220" y="597"/>
                      <a:pt x="232" y="586"/>
                    </a:cubicBezTo>
                    <a:cubicBezTo>
                      <a:pt x="243" y="574"/>
                      <a:pt x="257" y="582"/>
                      <a:pt x="265" y="574"/>
                    </a:cubicBezTo>
                    <a:cubicBezTo>
                      <a:pt x="273" y="567"/>
                      <a:pt x="265" y="558"/>
                      <a:pt x="265" y="558"/>
                    </a:cubicBezTo>
                    <a:cubicBezTo>
                      <a:pt x="279" y="557"/>
                      <a:pt x="279" y="557"/>
                      <a:pt x="279" y="557"/>
                    </a:cubicBezTo>
                    <a:cubicBezTo>
                      <a:pt x="318" y="527"/>
                      <a:pt x="318" y="527"/>
                      <a:pt x="318" y="527"/>
                    </a:cubicBezTo>
                    <a:cubicBezTo>
                      <a:pt x="306" y="517"/>
                      <a:pt x="306" y="517"/>
                      <a:pt x="306" y="517"/>
                    </a:cubicBezTo>
                    <a:cubicBezTo>
                      <a:pt x="333" y="527"/>
                      <a:pt x="333" y="527"/>
                      <a:pt x="333" y="527"/>
                    </a:cubicBezTo>
                    <a:cubicBezTo>
                      <a:pt x="333" y="527"/>
                      <a:pt x="334" y="511"/>
                      <a:pt x="343" y="510"/>
                    </a:cubicBezTo>
                    <a:cubicBezTo>
                      <a:pt x="352" y="509"/>
                      <a:pt x="360" y="517"/>
                      <a:pt x="372" y="520"/>
                    </a:cubicBezTo>
                    <a:cubicBezTo>
                      <a:pt x="383" y="522"/>
                      <a:pt x="388" y="503"/>
                      <a:pt x="388" y="503"/>
                    </a:cubicBezTo>
                    <a:cubicBezTo>
                      <a:pt x="378" y="495"/>
                      <a:pt x="378" y="495"/>
                      <a:pt x="378" y="495"/>
                    </a:cubicBezTo>
                    <a:cubicBezTo>
                      <a:pt x="395" y="480"/>
                      <a:pt x="395" y="480"/>
                      <a:pt x="395" y="480"/>
                    </a:cubicBezTo>
                    <a:cubicBezTo>
                      <a:pt x="407" y="466"/>
                      <a:pt x="407" y="466"/>
                      <a:pt x="407" y="466"/>
                    </a:cubicBezTo>
                    <a:cubicBezTo>
                      <a:pt x="407" y="466"/>
                      <a:pt x="418" y="459"/>
                      <a:pt x="430" y="456"/>
                    </a:cubicBezTo>
                    <a:cubicBezTo>
                      <a:pt x="442" y="453"/>
                      <a:pt x="447" y="436"/>
                      <a:pt x="447" y="436"/>
                    </a:cubicBezTo>
                    <a:cubicBezTo>
                      <a:pt x="447" y="436"/>
                      <a:pt x="458" y="434"/>
                      <a:pt x="468" y="430"/>
                    </a:cubicBezTo>
                    <a:cubicBezTo>
                      <a:pt x="479" y="426"/>
                      <a:pt x="488" y="408"/>
                      <a:pt x="488" y="408"/>
                    </a:cubicBezTo>
                    <a:cubicBezTo>
                      <a:pt x="488" y="408"/>
                      <a:pt x="508" y="401"/>
                      <a:pt x="518" y="389"/>
                    </a:cubicBezTo>
                    <a:cubicBezTo>
                      <a:pt x="529" y="376"/>
                      <a:pt x="516" y="353"/>
                      <a:pt x="516" y="353"/>
                    </a:cubicBezTo>
                    <a:lnTo>
                      <a:pt x="498" y="375"/>
                    </a:lnTo>
                    <a:close/>
                    <a:moveTo>
                      <a:pt x="815" y="215"/>
                    </a:moveTo>
                    <a:cubicBezTo>
                      <a:pt x="823" y="210"/>
                      <a:pt x="831" y="213"/>
                      <a:pt x="841" y="205"/>
                    </a:cubicBezTo>
                    <a:cubicBezTo>
                      <a:pt x="851" y="197"/>
                      <a:pt x="847" y="183"/>
                      <a:pt x="839" y="176"/>
                    </a:cubicBezTo>
                    <a:cubicBezTo>
                      <a:pt x="831" y="168"/>
                      <a:pt x="821" y="186"/>
                      <a:pt x="821" y="186"/>
                    </a:cubicBezTo>
                    <a:cubicBezTo>
                      <a:pt x="821" y="186"/>
                      <a:pt x="815" y="186"/>
                      <a:pt x="806" y="184"/>
                    </a:cubicBezTo>
                    <a:cubicBezTo>
                      <a:pt x="798" y="181"/>
                      <a:pt x="780" y="195"/>
                      <a:pt x="768" y="192"/>
                    </a:cubicBezTo>
                    <a:cubicBezTo>
                      <a:pt x="756" y="189"/>
                      <a:pt x="761" y="145"/>
                      <a:pt x="761" y="145"/>
                    </a:cubicBezTo>
                    <a:cubicBezTo>
                      <a:pt x="777" y="120"/>
                      <a:pt x="777" y="120"/>
                      <a:pt x="777" y="120"/>
                    </a:cubicBezTo>
                    <a:cubicBezTo>
                      <a:pt x="777" y="120"/>
                      <a:pt x="777" y="102"/>
                      <a:pt x="767" y="103"/>
                    </a:cubicBezTo>
                    <a:cubicBezTo>
                      <a:pt x="756" y="103"/>
                      <a:pt x="756" y="119"/>
                      <a:pt x="756" y="129"/>
                    </a:cubicBezTo>
                    <a:cubicBezTo>
                      <a:pt x="755" y="138"/>
                      <a:pt x="743" y="146"/>
                      <a:pt x="743" y="146"/>
                    </a:cubicBezTo>
                    <a:cubicBezTo>
                      <a:pt x="740" y="126"/>
                      <a:pt x="740" y="126"/>
                      <a:pt x="740" y="126"/>
                    </a:cubicBezTo>
                    <a:cubicBezTo>
                      <a:pt x="726" y="113"/>
                      <a:pt x="726" y="113"/>
                      <a:pt x="726" y="113"/>
                    </a:cubicBezTo>
                    <a:cubicBezTo>
                      <a:pt x="726" y="113"/>
                      <a:pt x="750" y="82"/>
                      <a:pt x="750" y="62"/>
                    </a:cubicBezTo>
                    <a:cubicBezTo>
                      <a:pt x="751" y="42"/>
                      <a:pt x="717" y="41"/>
                      <a:pt x="717" y="41"/>
                    </a:cubicBezTo>
                    <a:cubicBezTo>
                      <a:pt x="720" y="27"/>
                      <a:pt x="720" y="27"/>
                      <a:pt x="720" y="27"/>
                    </a:cubicBezTo>
                    <a:cubicBezTo>
                      <a:pt x="707" y="25"/>
                      <a:pt x="707" y="25"/>
                      <a:pt x="707" y="25"/>
                    </a:cubicBezTo>
                    <a:cubicBezTo>
                      <a:pt x="692" y="11"/>
                      <a:pt x="692" y="11"/>
                      <a:pt x="692" y="11"/>
                    </a:cubicBezTo>
                    <a:cubicBezTo>
                      <a:pt x="699" y="0"/>
                      <a:pt x="699" y="0"/>
                      <a:pt x="699" y="0"/>
                    </a:cubicBezTo>
                    <a:cubicBezTo>
                      <a:pt x="679" y="12"/>
                      <a:pt x="679" y="12"/>
                      <a:pt x="679" y="12"/>
                    </a:cubicBezTo>
                    <a:cubicBezTo>
                      <a:pt x="692" y="35"/>
                      <a:pt x="692" y="35"/>
                      <a:pt x="692" y="35"/>
                    </a:cubicBezTo>
                    <a:cubicBezTo>
                      <a:pt x="686" y="60"/>
                      <a:pt x="686" y="60"/>
                      <a:pt x="686" y="60"/>
                    </a:cubicBezTo>
                    <a:cubicBezTo>
                      <a:pt x="701" y="66"/>
                      <a:pt x="701" y="66"/>
                      <a:pt x="701" y="66"/>
                    </a:cubicBezTo>
                    <a:cubicBezTo>
                      <a:pt x="692" y="70"/>
                      <a:pt x="692" y="70"/>
                      <a:pt x="692" y="70"/>
                    </a:cubicBezTo>
                    <a:cubicBezTo>
                      <a:pt x="696" y="84"/>
                      <a:pt x="696" y="84"/>
                      <a:pt x="696" y="84"/>
                    </a:cubicBezTo>
                    <a:cubicBezTo>
                      <a:pt x="712" y="89"/>
                      <a:pt x="712" y="89"/>
                      <a:pt x="712" y="89"/>
                    </a:cubicBezTo>
                    <a:cubicBezTo>
                      <a:pt x="696" y="97"/>
                      <a:pt x="696" y="97"/>
                      <a:pt x="696" y="97"/>
                    </a:cubicBezTo>
                    <a:cubicBezTo>
                      <a:pt x="705" y="102"/>
                      <a:pt x="705" y="102"/>
                      <a:pt x="705" y="102"/>
                    </a:cubicBezTo>
                    <a:cubicBezTo>
                      <a:pt x="705" y="102"/>
                      <a:pt x="702" y="116"/>
                      <a:pt x="702" y="122"/>
                    </a:cubicBezTo>
                    <a:cubicBezTo>
                      <a:pt x="702" y="129"/>
                      <a:pt x="715" y="136"/>
                      <a:pt x="715" y="136"/>
                    </a:cubicBezTo>
                    <a:cubicBezTo>
                      <a:pt x="702" y="138"/>
                      <a:pt x="702" y="138"/>
                      <a:pt x="702" y="138"/>
                    </a:cubicBezTo>
                    <a:cubicBezTo>
                      <a:pt x="694" y="148"/>
                      <a:pt x="694" y="148"/>
                      <a:pt x="694" y="148"/>
                    </a:cubicBezTo>
                    <a:cubicBezTo>
                      <a:pt x="705" y="154"/>
                      <a:pt x="705" y="154"/>
                      <a:pt x="705" y="154"/>
                    </a:cubicBezTo>
                    <a:cubicBezTo>
                      <a:pt x="705" y="154"/>
                      <a:pt x="684" y="174"/>
                      <a:pt x="682" y="185"/>
                    </a:cubicBezTo>
                    <a:cubicBezTo>
                      <a:pt x="681" y="196"/>
                      <a:pt x="691" y="199"/>
                      <a:pt x="691" y="199"/>
                    </a:cubicBezTo>
                    <a:cubicBezTo>
                      <a:pt x="691" y="199"/>
                      <a:pt x="669" y="203"/>
                      <a:pt x="656" y="209"/>
                    </a:cubicBezTo>
                    <a:cubicBezTo>
                      <a:pt x="643" y="214"/>
                      <a:pt x="646" y="217"/>
                      <a:pt x="630" y="229"/>
                    </a:cubicBezTo>
                    <a:cubicBezTo>
                      <a:pt x="613" y="242"/>
                      <a:pt x="599" y="243"/>
                      <a:pt x="578" y="255"/>
                    </a:cubicBezTo>
                    <a:cubicBezTo>
                      <a:pt x="557" y="268"/>
                      <a:pt x="576" y="302"/>
                      <a:pt x="576" y="302"/>
                    </a:cubicBezTo>
                    <a:cubicBezTo>
                      <a:pt x="576" y="302"/>
                      <a:pt x="599" y="300"/>
                      <a:pt x="609" y="302"/>
                    </a:cubicBezTo>
                    <a:cubicBezTo>
                      <a:pt x="619" y="304"/>
                      <a:pt x="609" y="323"/>
                      <a:pt x="609" y="338"/>
                    </a:cubicBezTo>
                    <a:cubicBezTo>
                      <a:pt x="610" y="354"/>
                      <a:pt x="593" y="353"/>
                      <a:pt x="576" y="359"/>
                    </a:cubicBezTo>
                    <a:cubicBezTo>
                      <a:pt x="559" y="365"/>
                      <a:pt x="567" y="370"/>
                      <a:pt x="567" y="370"/>
                    </a:cubicBezTo>
                    <a:cubicBezTo>
                      <a:pt x="557" y="381"/>
                      <a:pt x="557" y="381"/>
                      <a:pt x="557" y="381"/>
                    </a:cubicBezTo>
                    <a:cubicBezTo>
                      <a:pt x="557" y="381"/>
                      <a:pt x="575" y="394"/>
                      <a:pt x="589" y="390"/>
                    </a:cubicBezTo>
                    <a:cubicBezTo>
                      <a:pt x="602" y="385"/>
                      <a:pt x="633" y="351"/>
                      <a:pt x="644" y="340"/>
                    </a:cubicBezTo>
                    <a:cubicBezTo>
                      <a:pt x="655" y="329"/>
                      <a:pt x="682" y="321"/>
                      <a:pt x="687" y="321"/>
                    </a:cubicBezTo>
                    <a:cubicBezTo>
                      <a:pt x="692" y="320"/>
                      <a:pt x="697" y="308"/>
                      <a:pt x="697" y="308"/>
                    </a:cubicBezTo>
                    <a:cubicBezTo>
                      <a:pt x="697" y="308"/>
                      <a:pt x="704" y="305"/>
                      <a:pt x="715" y="301"/>
                    </a:cubicBezTo>
                    <a:cubicBezTo>
                      <a:pt x="726" y="296"/>
                      <a:pt x="715" y="277"/>
                      <a:pt x="715" y="277"/>
                    </a:cubicBezTo>
                    <a:cubicBezTo>
                      <a:pt x="715" y="277"/>
                      <a:pt x="725" y="269"/>
                      <a:pt x="738" y="263"/>
                    </a:cubicBezTo>
                    <a:cubicBezTo>
                      <a:pt x="752" y="257"/>
                      <a:pt x="762" y="269"/>
                      <a:pt x="774" y="266"/>
                    </a:cubicBezTo>
                    <a:cubicBezTo>
                      <a:pt x="786" y="264"/>
                      <a:pt x="782" y="240"/>
                      <a:pt x="782" y="240"/>
                    </a:cubicBezTo>
                    <a:cubicBezTo>
                      <a:pt x="782" y="240"/>
                      <a:pt x="793" y="237"/>
                      <a:pt x="805" y="236"/>
                    </a:cubicBezTo>
                    <a:cubicBezTo>
                      <a:pt x="816" y="235"/>
                      <a:pt x="808" y="221"/>
                      <a:pt x="815" y="215"/>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15" name="Australia">
                <a:extLst>
                  <a:ext uri="{FF2B5EF4-FFF2-40B4-BE49-F238E27FC236}">
                    <a16:creationId xmlns:a16="http://schemas.microsoft.com/office/drawing/2014/main" id="{E731AB29-3917-4785-8E90-D9BA5D1EFA9D}"/>
                  </a:ext>
                </a:extLst>
              </p:cNvPr>
              <p:cNvSpPr>
                <a:spLocks noEditPoints="1"/>
              </p:cNvSpPr>
              <p:nvPr/>
            </p:nvSpPr>
            <p:spPr bwMode="gray">
              <a:xfrm>
                <a:off x="8502775" y="4402489"/>
                <a:ext cx="1062221" cy="993314"/>
              </a:xfrm>
              <a:custGeom>
                <a:avLst/>
                <a:gdLst>
                  <a:gd name="T0" fmla="*/ 971 w 1898"/>
                  <a:gd name="T1" fmla="*/ 1367 h 1774"/>
                  <a:gd name="T2" fmla="*/ 1008 w 1898"/>
                  <a:gd name="T3" fmla="*/ 1349 h 1774"/>
                  <a:gd name="T4" fmla="*/ 1830 w 1898"/>
                  <a:gd name="T5" fmla="*/ 698 h 1774"/>
                  <a:gd name="T6" fmla="*/ 1797 w 1898"/>
                  <a:gd name="T7" fmla="*/ 622 h 1774"/>
                  <a:gd name="T8" fmla="*/ 1707 w 1898"/>
                  <a:gd name="T9" fmla="*/ 471 h 1774"/>
                  <a:gd name="T10" fmla="*/ 1649 w 1898"/>
                  <a:gd name="T11" fmla="*/ 192 h 1774"/>
                  <a:gd name="T12" fmla="*/ 1596 w 1898"/>
                  <a:gd name="T13" fmla="*/ 64 h 1774"/>
                  <a:gd name="T14" fmla="*/ 1541 w 1898"/>
                  <a:gd name="T15" fmla="*/ 18 h 1774"/>
                  <a:gd name="T16" fmla="*/ 1494 w 1898"/>
                  <a:gd name="T17" fmla="*/ 189 h 1774"/>
                  <a:gd name="T18" fmla="*/ 1283 w 1898"/>
                  <a:gd name="T19" fmla="*/ 306 h 1774"/>
                  <a:gd name="T20" fmla="*/ 1239 w 1898"/>
                  <a:gd name="T21" fmla="*/ 181 h 1774"/>
                  <a:gd name="T22" fmla="*/ 1269 w 1898"/>
                  <a:gd name="T23" fmla="*/ 69 h 1774"/>
                  <a:gd name="T24" fmla="*/ 1170 w 1898"/>
                  <a:gd name="T25" fmla="*/ 75 h 1774"/>
                  <a:gd name="T26" fmla="*/ 1050 w 1898"/>
                  <a:gd name="T27" fmla="*/ 42 h 1774"/>
                  <a:gd name="T28" fmla="*/ 1012 w 1898"/>
                  <a:gd name="T29" fmla="*/ 86 h 1774"/>
                  <a:gd name="T30" fmla="*/ 910 w 1898"/>
                  <a:gd name="T31" fmla="*/ 212 h 1774"/>
                  <a:gd name="T32" fmla="*/ 872 w 1898"/>
                  <a:gd name="T33" fmla="*/ 235 h 1774"/>
                  <a:gd name="T34" fmla="*/ 848 w 1898"/>
                  <a:gd name="T35" fmla="*/ 215 h 1774"/>
                  <a:gd name="T36" fmla="*/ 788 w 1898"/>
                  <a:gd name="T37" fmla="*/ 185 h 1774"/>
                  <a:gd name="T38" fmla="*/ 731 w 1898"/>
                  <a:gd name="T39" fmla="*/ 238 h 1774"/>
                  <a:gd name="T40" fmla="*/ 676 w 1898"/>
                  <a:gd name="T41" fmla="*/ 279 h 1774"/>
                  <a:gd name="T42" fmla="*/ 614 w 1898"/>
                  <a:gd name="T43" fmla="*/ 310 h 1774"/>
                  <a:gd name="T44" fmla="*/ 606 w 1898"/>
                  <a:gd name="T45" fmla="*/ 348 h 1774"/>
                  <a:gd name="T46" fmla="*/ 531 w 1898"/>
                  <a:gd name="T47" fmla="*/ 409 h 1774"/>
                  <a:gd name="T48" fmla="*/ 359 w 1898"/>
                  <a:gd name="T49" fmla="*/ 505 h 1774"/>
                  <a:gd name="T50" fmla="*/ 218 w 1898"/>
                  <a:gd name="T51" fmla="*/ 554 h 1774"/>
                  <a:gd name="T52" fmla="*/ 83 w 1898"/>
                  <a:gd name="T53" fmla="*/ 649 h 1774"/>
                  <a:gd name="T54" fmla="*/ 48 w 1898"/>
                  <a:gd name="T55" fmla="*/ 813 h 1774"/>
                  <a:gd name="T56" fmla="*/ 35 w 1898"/>
                  <a:gd name="T57" fmla="*/ 937 h 1774"/>
                  <a:gd name="T58" fmla="*/ 87 w 1898"/>
                  <a:gd name="T59" fmla="*/ 1141 h 1774"/>
                  <a:gd name="T60" fmla="*/ 56 w 1898"/>
                  <a:gd name="T61" fmla="*/ 1305 h 1774"/>
                  <a:gd name="T62" fmla="*/ 186 w 1898"/>
                  <a:gd name="T63" fmla="*/ 1285 h 1774"/>
                  <a:gd name="T64" fmla="*/ 384 w 1898"/>
                  <a:gd name="T65" fmla="*/ 1244 h 1774"/>
                  <a:gd name="T66" fmla="*/ 594 w 1898"/>
                  <a:gd name="T67" fmla="*/ 1153 h 1774"/>
                  <a:gd name="T68" fmla="*/ 896 w 1898"/>
                  <a:gd name="T69" fmla="*/ 1136 h 1774"/>
                  <a:gd name="T70" fmla="*/ 932 w 1898"/>
                  <a:gd name="T71" fmla="*/ 1225 h 1774"/>
                  <a:gd name="T72" fmla="*/ 962 w 1898"/>
                  <a:gd name="T73" fmla="*/ 1304 h 1774"/>
                  <a:gd name="T74" fmla="*/ 1060 w 1898"/>
                  <a:gd name="T75" fmla="*/ 1224 h 1774"/>
                  <a:gd name="T76" fmla="*/ 1083 w 1898"/>
                  <a:gd name="T77" fmla="*/ 1210 h 1774"/>
                  <a:gd name="T78" fmla="*/ 1011 w 1898"/>
                  <a:gd name="T79" fmla="*/ 1319 h 1774"/>
                  <a:gd name="T80" fmla="*/ 1072 w 1898"/>
                  <a:gd name="T81" fmla="*/ 1339 h 1774"/>
                  <a:gd name="T82" fmla="*/ 1118 w 1898"/>
                  <a:gd name="T83" fmla="*/ 1477 h 1774"/>
                  <a:gd name="T84" fmla="*/ 1319 w 1898"/>
                  <a:gd name="T85" fmla="*/ 1502 h 1774"/>
                  <a:gd name="T86" fmla="*/ 1360 w 1898"/>
                  <a:gd name="T87" fmla="*/ 1532 h 1774"/>
                  <a:gd name="T88" fmla="*/ 1533 w 1898"/>
                  <a:gd name="T89" fmla="*/ 1461 h 1774"/>
                  <a:gd name="T90" fmla="*/ 1641 w 1898"/>
                  <a:gd name="T91" fmla="*/ 1275 h 1774"/>
                  <a:gd name="T92" fmla="*/ 1874 w 1898"/>
                  <a:gd name="T93" fmla="*/ 952 h 1774"/>
                  <a:gd name="T94" fmla="*/ 1364 w 1898"/>
                  <a:gd name="T95" fmla="*/ 1612 h 1774"/>
                  <a:gd name="T96" fmla="*/ 1274 w 1898"/>
                  <a:gd name="T97" fmla="*/ 1651 h 1774"/>
                  <a:gd name="T98" fmla="*/ 1184 w 1898"/>
                  <a:gd name="T99" fmla="*/ 1616 h 1774"/>
                  <a:gd name="T100" fmla="*/ 1155 w 1898"/>
                  <a:gd name="T101" fmla="*/ 1713 h 1774"/>
                  <a:gd name="T102" fmla="*/ 1214 w 1898"/>
                  <a:gd name="T103" fmla="*/ 1769 h 1774"/>
                  <a:gd name="T104" fmla="*/ 1282 w 1898"/>
                  <a:gd name="T105" fmla="*/ 1706 h 1774"/>
                  <a:gd name="T106" fmla="*/ 1290 w 1898"/>
                  <a:gd name="T107" fmla="*/ 195 h 1774"/>
                  <a:gd name="T108" fmla="*/ 1209 w 1898"/>
                  <a:gd name="T109" fmla="*/ 1549 h 1774"/>
                  <a:gd name="T110" fmla="*/ 1357 w 1898"/>
                  <a:gd name="T111" fmla="*/ 1597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98" h="1774">
                    <a:moveTo>
                      <a:pt x="1024" y="43"/>
                    </a:moveTo>
                    <a:cubicBezTo>
                      <a:pt x="1014" y="29"/>
                      <a:pt x="990" y="54"/>
                      <a:pt x="999" y="65"/>
                    </a:cubicBezTo>
                    <a:cubicBezTo>
                      <a:pt x="1008" y="75"/>
                      <a:pt x="1024" y="43"/>
                      <a:pt x="1024" y="43"/>
                    </a:cubicBezTo>
                    <a:close/>
                    <a:moveTo>
                      <a:pt x="986" y="1341"/>
                    </a:moveTo>
                    <a:cubicBezTo>
                      <a:pt x="972" y="1343"/>
                      <a:pt x="954" y="1348"/>
                      <a:pt x="961" y="1354"/>
                    </a:cubicBezTo>
                    <a:cubicBezTo>
                      <a:pt x="968" y="1360"/>
                      <a:pt x="971" y="1367"/>
                      <a:pt x="971" y="1367"/>
                    </a:cubicBezTo>
                    <a:cubicBezTo>
                      <a:pt x="985" y="1367"/>
                      <a:pt x="999" y="1359"/>
                      <a:pt x="999" y="1359"/>
                    </a:cubicBezTo>
                    <a:cubicBezTo>
                      <a:pt x="1007" y="1359"/>
                      <a:pt x="1007" y="1359"/>
                      <a:pt x="1007" y="1359"/>
                    </a:cubicBezTo>
                    <a:cubicBezTo>
                      <a:pt x="1011" y="1356"/>
                      <a:pt x="1011" y="1356"/>
                      <a:pt x="1011" y="1356"/>
                    </a:cubicBezTo>
                    <a:cubicBezTo>
                      <a:pt x="1022" y="1356"/>
                      <a:pt x="1022" y="1356"/>
                      <a:pt x="1022" y="1356"/>
                    </a:cubicBezTo>
                    <a:cubicBezTo>
                      <a:pt x="1026" y="1351"/>
                      <a:pt x="1026" y="1351"/>
                      <a:pt x="1026" y="1351"/>
                    </a:cubicBezTo>
                    <a:cubicBezTo>
                      <a:pt x="1008" y="1349"/>
                      <a:pt x="1008" y="1349"/>
                      <a:pt x="1008" y="1349"/>
                    </a:cubicBezTo>
                    <a:cubicBezTo>
                      <a:pt x="1008" y="1349"/>
                      <a:pt x="1000" y="1340"/>
                      <a:pt x="986" y="1341"/>
                    </a:cubicBezTo>
                    <a:close/>
                    <a:moveTo>
                      <a:pt x="1869" y="774"/>
                    </a:moveTo>
                    <a:cubicBezTo>
                      <a:pt x="1869" y="774"/>
                      <a:pt x="1866" y="733"/>
                      <a:pt x="1865" y="727"/>
                    </a:cubicBezTo>
                    <a:cubicBezTo>
                      <a:pt x="1863" y="721"/>
                      <a:pt x="1843" y="720"/>
                      <a:pt x="1843" y="720"/>
                    </a:cubicBezTo>
                    <a:cubicBezTo>
                      <a:pt x="1843" y="706"/>
                      <a:pt x="1843" y="706"/>
                      <a:pt x="1843" y="706"/>
                    </a:cubicBezTo>
                    <a:cubicBezTo>
                      <a:pt x="1830" y="698"/>
                      <a:pt x="1830" y="698"/>
                      <a:pt x="1830" y="698"/>
                    </a:cubicBezTo>
                    <a:cubicBezTo>
                      <a:pt x="1830" y="698"/>
                      <a:pt x="1835" y="681"/>
                      <a:pt x="1830" y="674"/>
                    </a:cubicBezTo>
                    <a:cubicBezTo>
                      <a:pt x="1825" y="667"/>
                      <a:pt x="1805" y="660"/>
                      <a:pt x="1805" y="660"/>
                    </a:cubicBezTo>
                    <a:cubicBezTo>
                      <a:pt x="1805" y="660"/>
                      <a:pt x="1840" y="654"/>
                      <a:pt x="1842" y="641"/>
                    </a:cubicBezTo>
                    <a:cubicBezTo>
                      <a:pt x="1844" y="627"/>
                      <a:pt x="1822" y="623"/>
                      <a:pt x="1822" y="623"/>
                    </a:cubicBezTo>
                    <a:cubicBezTo>
                      <a:pt x="1822" y="623"/>
                      <a:pt x="1815" y="602"/>
                      <a:pt x="1804" y="603"/>
                    </a:cubicBezTo>
                    <a:cubicBezTo>
                      <a:pt x="1792" y="604"/>
                      <a:pt x="1797" y="622"/>
                      <a:pt x="1797" y="622"/>
                    </a:cubicBezTo>
                    <a:cubicBezTo>
                      <a:pt x="1783" y="619"/>
                      <a:pt x="1783" y="619"/>
                      <a:pt x="1783" y="619"/>
                    </a:cubicBezTo>
                    <a:cubicBezTo>
                      <a:pt x="1783" y="619"/>
                      <a:pt x="1796" y="578"/>
                      <a:pt x="1796" y="568"/>
                    </a:cubicBezTo>
                    <a:cubicBezTo>
                      <a:pt x="1795" y="559"/>
                      <a:pt x="1775" y="557"/>
                      <a:pt x="1771" y="547"/>
                    </a:cubicBezTo>
                    <a:cubicBezTo>
                      <a:pt x="1768" y="538"/>
                      <a:pt x="1781" y="521"/>
                      <a:pt x="1777" y="507"/>
                    </a:cubicBezTo>
                    <a:cubicBezTo>
                      <a:pt x="1773" y="494"/>
                      <a:pt x="1713" y="465"/>
                      <a:pt x="1713" y="465"/>
                    </a:cubicBezTo>
                    <a:cubicBezTo>
                      <a:pt x="1707" y="471"/>
                      <a:pt x="1707" y="471"/>
                      <a:pt x="1707" y="471"/>
                    </a:cubicBezTo>
                    <a:cubicBezTo>
                      <a:pt x="1707" y="471"/>
                      <a:pt x="1679" y="439"/>
                      <a:pt x="1677" y="417"/>
                    </a:cubicBezTo>
                    <a:cubicBezTo>
                      <a:pt x="1676" y="394"/>
                      <a:pt x="1685" y="381"/>
                      <a:pt x="1685" y="361"/>
                    </a:cubicBezTo>
                    <a:cubicBezTo>
                      <a:pt x="1685" y="341"/>
                      <a:pt x="1666" y="298"/>
                      <a:pt x="1662" y="282"/>
                    </a:cubicBezTo>
                    <a:cubicBezTo>
                      <a:pt x="1658" y="266"/>
                      <a:pt x="1669" y="256"/>
                      <a:pt x="1671" y="247"/>
                    </a:cubicBezTo>
                    <a:cubicBezTo>
                      <a:pt x="1673" y="238"/>
                      <a:pt x="1666" y="200"/>
                      <a:pt x="1666" y="200"/>
                    </a:cubicBezTo>
                    <a:cubicBezTo>
                      <a:pt x="1649" y="192"/>
                      <a:pt x="1649" y="192"/>
                      <a:pt x="1649" y="192"/>
                    </a:cubicBezTo>
                    <a:cubicBezTo>
                      <a:pt x="1649" y="192"/>
                      <a:pt x="1635" y="177"/>
                      <a:pt x="1625" y="177"/>
                    </a:cubicBezTo>
                    <a:cubicBezTo>
                      <a:pt x="1615" y="176"/>
                      <a:pt x="1609" y="191"/>
                      <a:pt x="1609" y="191"/>
                    </a:cubicBezTo>
                    <a:cubicBezTo>
                      <a:pt x="1609" y="191"/>
                      <a:pt x="1602" y="176"/>
                      <a:pt x="1601" y="167"/>
                    </a:cubicBezTo>
                    <a:cubicBezTo>
                      <a:pt x="1600" y="159"/>
                      <a:pt x="1607" y="135"/>
                      <a:pt x="1607" y="135"/>
                    </a:cubicBezTo>
                    <a:cubicBezTo>
                      <a:pt x="1596" y="120"/>
                      <a:pt x="1596" y="120"/>
                      <a:pt x="1596" y="120"/>
                    </a:cubicBezTo>
                    <a:cubicBezTo>
                      <a:pt x="1596" y="64"/>
                      <a:pt x="1596" y="64"/>
                      <a:pt x="1596" y="64"/>
                    </a:cubicBezTo>
                    <a:cubicBezTo>
                      <a:pt x="1596" y="64"/>
                      <a:pt x="1575" y="50"/>
                      <a:pt x="1578" y="41"/>
                    </a:cubicBezTo>
                    <a:cubicBezTo>
                      <a:pt x="1582" y="32"/>
                      <a:pt x="1586" y="20"/>
                      <a:pt x="1581" y="15"/>
                    </a:cubicBezTo>
                    <a:cubicBezTo>
                      <a:pt x="1576" y="11"/>
                      <a:pt x="1564" y="9"/>
                      <a:pt x="1564" y="9"/>
                    </a:cubicBezTo>
                    <a:cubicBezTo>
                      <a:pt x="1565" y="0"/>
                      <a:pt x="1565" y="0"/>
                      <a:pt x="1565" y="0"/>
                    </a:cubicBezTo>
                    <a:cubicBezTo>
                      <a:pt x="1545" y="5"/>
                      <a:pt x="1545" y="5"/>
                      <a:pt x="1545" y="5"/>
                    </a:cubicBezTo>
                    <a:cubicBezTo>
                      <a:pt x="1541" y="18"/>
                      <a:pt x="1541" y="18"/>
                      <a:pt x="1541" y="18"/>
                    </a:cubicBezTo>
                    <a:cubicBezTo>
                      <a:pt x="1541" y="18"/>
                      <a:pt x="1529" y="26"/>
                      <a:pt x="1523" y="30"/>
                    </a:cubicBezTo>
                    <a:cubicBezTo>
                      <a:pt x="1518" y="34"/>
                      <a:pt x="1531" y="60"/>
                      <a:pt x="1531" y="70"/>
                    </a:cubicBezTo>
                    <a:cubicBezTo>
                      <a:pt x="1530" y="81"/>
                      <a:pt x="1496" y="118"/>
                      <a:pt x="1496" y="118"/>
                    </a:cubicBezTo>
                    <a:cubicBezTo>
                      <a:pt x="1507" y="127"/>
                      <a:pt x="1507" y="127"/>
                      <a:pt x="1507" y="127"/>
                    </a:cubicBezTo>
                    <a:cubicBezTo>
                      <a:pt x="1507" y="127"/>
                      <a:pt x="1492" y="147"/>
                      <a:pt x="1490" y="155"/>
                    </a:cubicBezTo>
                    <a:cubicBezTo>
                      <a:pt x="1488" y="163"/>
                      <a:pt x="1494" y="189"/>
                      <a:pt x="1494" y="189"/>
                    </a:cubicBezTo>
                    <a:cubicBezTo>
                      <a:pt x="1494" y="189"/>
                      <a:pt x="1473" y="273"/>
                      <a:pt x="1472" y="285"/>
                    </a:cubicBezTo>
                    <a:cubicBezTo>
                      <a:pt x="1471" y="296"/>
                      <a:pt x="1444" y="325"/>
                      <a:pt x="1444" y="325"/>
                    </a:cubicBezTo>
                    <a:cubicBezTo>
                      <a:pt x="1444" y="325"/>
                      <a:pt x="1445" y="358"/>
                      <a:pt x="1428" y="366"/>
                    </a:cubicBezTo>
                    <a:cubicBezTo>
                      <a:pt x="1411" y="373"/>
                      <a:pt x="1375" y="381"/>
                      <a:pt x="1375" y="381"/>
                    </a:cubicBezTo>
                    <a:cubicBezTo>
                      <a:pt x="1375" y="381"/>
                      <a:pt x="1354" y="347"/>
                      <a:pt x="1349" y="337"/>
                    </a:cubicBezTo>
                    <a:cubicBezTo>
                      <a:pt x="1344" y="328"/>
                      <a:pt x="1303" y="314"/>
                      <a:pt x="1283" y="306"/>
                    </a:cubicBezTo>
                    <a:cubicBezTo>
                      <a:pt x="1262" y="299"/>
                      <a:pt x="1249" y="266"/>
                      <a:pt x="1246" y="262"/>
                    </a:cubicBezTo>
                    <a:cubicBezTo>
                      <a:pt x="1243" y="259"/>
                      <a:pt x="1223" y="261"/>
                      <a:pt x="1223" y="261"/>
                    </a:cubicBezTo>
                    <a:cubicBezTo>
                      <a:pt x="1207" y="231"/>
                      <a:pt x="1207" y="231"/>
                      <a:pt x="1207" y="231"/>
                    </a:cubicBezTo>
                    <a:cubicBezTo>
                      <a:pt x="1220" y="217"/>
                      <a:pt x="1220" y="217"/>
                      <a:pt x="1220" y="217"/>
                    </a:cubicBezTo>
                    <a:cubicBezTo>
                      <a:pt x="1220" y="217"/>
                      <a:pt x="1213" y="206"/>
                      <a:pt x="1221" y="195"/>
                    </a:cubicBezTo>
                    <a:cubicBezTo>
                      <a:pt x="1229" y="184"/>
                      <a:pt x="1239" y="181"/>
                      <a:pt x="1239" y="181"/>
                    </a:cubicBezTo>
                    <a:cubicBezTo>
                      <a:pt x="1235" y="151"/>
                      <a:pt x="1235" y="151"/>
                      <a:pt x="1235" y="151"/>
                    </a:cubicBezTo>
                    <a:cubicBezTo>
                      <a:pt x="1248" y="139"/>
                      <a:pt x="1248" y="139"/>
                      <a:pt x="1248" y="139"/>
                    </a:cubicBezTo>
                    <a:cubicBezTo>
                      <a:pt x="1248" y="139"/>
                      <a:pt x="1262" y="146"/>
                      <a:pt x="1267" y="144"/>
                    </a:cubicBezTo>
                    <a:cubicBezTo>
                      <a:pt x="1273" y="142"/>
                      <a:pt x="1274" y="119"/>
                      <a:pt x="1274" y="119"/>
                    </a:cubicBezTo>
                    <a:cubicBezTo>
                      <a:pt x="1299" y="95"/>
                      <a:pt x="1299" y="95"/>
                      <a:pt x="1299" y="95"/>
                    </a:cubicBezTo>
                    <a:cubicBezTo>
                      <a:pt x="1299" y="95"/>
                      <a:pt x="1285" y="72"/>
                      <a:pt x="1269" y="69"/>
                    </a:cubicBezTo>
                    <a:cubicBezTo>
                      <a:pt x="1252" y="67"/>
                      <a:pt x="1231" y="92"/>
                      <a:pt x="1231" y="92"/>
                    </a:cubicBezTo>
                    <a:cubicBezTo>
                      <a:pt x="1229" y="78"/>
                      <a:pt x="1229" y="78"/>
                      <a:pt x="1229" y="78"/>
                    </a:cubicBezTo>
                    <a:cubicBezTo>
                      <a:pt x="1209" y="80"/>
                      <a:pt x="1209" y="80"/>
                      <a:pt x="1209" y="80"/>
                    </a:cubicBezTo>
                    <a:cubicBezTo>
                      <a:pt x="1200" y="89"/>
                      <a:pt x="1200" y="89"/>
                      <a:pt x="1200" y="89"/>
                    </a:cubicBezTo>
                    <a:cubicBezTo>
                      <a:pt x="1194" y="78"/>
                      <a:pt x="1194" y="78"/>
                      <a:pt x="1194" y="78"/>
                    </a:cubicBezTo>
                    <a:cubicBezTo>
                      <a:pt x="1170" y="75"/>
                      <a:pt x="1170" y="75"/>
                      <a:pt x="1170" y="75"/>
                    </a:cubicBezTo>
                    <a:cubicBezTo>
                      <a:pt x="1170" y="75"/>
                      <a:pt x="1144" y="56"/>
                      <a:pt x="1139" y="56"/>
                    </a:cubicBezTo>
                    <a:cubicBezTo>
                      <a:pt x="1135" y="57"/>
                      <a:pt x="1101" y="53"/>
                      <a:pt x="1101" y="53"/>
                    </a:cubicBezTo>
                    <a:cubicBezTo>
                      <a:pt x="1101" y="53"/>
                      <a:pt x="1093" y="31"/>
                      <a:pt x="1086" y="28"/>
                    </a:cubicBezTo>
                    <a:cubicBezTo>
                      <a:pt x="1080" y="24"/>
                      <a:pt x="1078" y="38"/>
                      <a:pt x="1078" y="38"/>
                    </a:cubicBezTo>
                    <a:cubicBezTo>
                      <a:pt x="1078" y="38"/>
                      <a:pt x="1053" y="25"/>
                      <a:pt x="1047" y="30"/>
                    </a:cubicBezTo>
                    <a:cubicBezTo>
                      <a:pt x="1041" y="34"/>
                      <a:pt x="1050" y="42"/>
                      <a:pt x="1050" y="42"/>
                    </a:cubicBezTo>
                    <a:cubicBezTo>
                      <a:pt x="1050" y="42"/>
                      <a:pt x="1037" y="41"/>
                      <a:pt x="1035" y="46"/>
                    </a:cubicBezTo>
                    <a:cubicBezTo>
                      <a:pt x="1032" y="52"/>
                      <a:pt x="1049" y="58"/>
                      <a:pt x="1060" y="61"/>
                    </a:cubicBezTo>
                    <a:cubicBezTo>
                      <a:pt x="1071" y="64"/>
                      <a:pt x="1077" y="56"/>
                      <a:pt x="1077" y="56"/>
                    </a:cubicBezTo>
                    <a:cubicBezTo>
                      <a:pt x="1099" y="65"/>
                      <a:pt x="1099" y="65"/>
                      <a:pt x="1099" y="65"/>
                    </a:cubicBezTo>
                    <a:cubicBezTo>
                      <a:pt x="1099" y="65"/>
                      <a:pt x="1077" y="78"/>
                      <a:pt x="1065" y="83"/>
                    </a:cubicBezTo>
                    <a:cubicBezTo>
                      <a:pt x="1054" y="88"/>
                      <a:pt x="1020" y="84"/>
                      <a:pt x="1012" y="86"/>
                    </a:cubicBezTo>
                    <a:cubicBezTo>
                      <a:pt x="1005" y="88"/>
                      <a:pt x="955" y="114"/>
                      <a:pt x="955" y="114"/>
                    </a:cubicBezTo>
                    <a:cubicBezTo>
                      <a:pt x="955" y="114"/>
                      <a:pt x="949" y="131"/>
                      <a:pt x="948" y="142"/>
                    </a:cubicBezTo>
                    <a:cubicBezTo>
                      <a:pt x="947" y="152"/>
                      <a:pt x="968" y="161"/>
                      <a:pt x="968" y="161"/>
                    </a:cubicBezTo>
                    <a:cubicBezTo>
                      <a:pt x="935" y="163"/>
                      <a:pt x="935" y="163"/>
                      <a:pt x="935" y="163"/>
                    </a:cubicBezTo>
                    <a:cubicBezTo>
                      <a:pt x="912" y="185"/>
                      <a:pt x="912" y="185"/>
                      <a:pt x="912" y="185"/>
                    </a:cubicBezTo>
                    <a:cubicBezTo>
                      <a:pt x="912" y="185"/>
                      <a:pt x="916" y="205"/>
                      <a:pt x="910" y="212"/>
                    </a:cubicBezTo>
                    <a:cubicBezTo>
                      <a:pt x="904" y="219"/>
                      <a:pt x="927" y="226"/>
                      <a:pt x="936" y="231"/>
                    </a:cubicBezTo>
                    <a:cubicBezTo>
                      <a:pt x="946" y="235"/>
                      <a:pt x="942" y="256"/>
                      <a:pt x="942" y="256"/>
                    </a:cubicBezTo>
                    <a:cubicBezTo>
                      <a:pt x="927" y="242"/>
                      <a:pt x="927" y="242"/>
                      <a:pt x="927" y="242"/>
                    </a:cubicBezTo>
                    <a:cubicBezTo>
                      <a:pt x="907" y="244"/>
                      <a:pt x="907" y="244"/>
                      <a:pt x="907" y="244"/>
                    </a:cubicBezTo>
                    <a:cubicBezTo>
                      <a:pt x="899" y="256"/>
                      <a:pt x="899" y="256"/>
                      <a:pt x="899" y="256"/>
                    </a:cubicBezTo>
                    <a:cubicBezTo>
                      <a:pt x="872" y="235"/>
                      <a:pt x="872" y="235"/>
                      <a:pt x="872" y="235"/>
                    </a:cubicBezTo>
                    <a:cubicBezTo>
                      <a:pt x="869" y="256"/>
                      <a:pt x="869" y="256"/>
                      <a:pt x="869" y="256"/>
                    </a:cubicBezTo>
                    <a:cubicBezTo>
                      <a:pt x="853" y="261"/>
                      <a:pt x="853" y="261"/>
                      <a:pt x="853" y="261"/>
                    </a:cubicBezTo>
                    <a:cubicBezTo>
                      <a:pt x="856" y="279"/>
                      <a:pt x="856" y="279"/>
                      <a:pt x="856" y="279"/>
                    </a:cubicBezTo>
                    <a:cubicBezTo>
                      <a:pt x="837" y="276"/>
                      <a:pt x="837" y="276"/>
                      <a:pt x="837" y="276"/>
                    </a:cubicBezTo>
                    <a:cubicBezTo>
                      <a:pt x="856" y="232"/>
                      <a:pt x="856" y="232"/>
                      <a:pt x="856" y="232"/>
                    </a:cubicBezTo>
                    <a:cubicBezTo>
                      <a:pt x="856" y="232"/>
                      <a:pt x="851" y="226"/>
                      <a:pt x="848" y="215"/>
                    </a:cubicBezTo>
                    <a:cubicBezTo>
                      <a:pt x="846" y="203"/>
                      <a:pt x="827" y="205"/>
                      <a:pt x="827" y="205"/>
                    </a:cubicBezTo>
                    <a:cubicBezTo>
                      <a:pt x="816" y="187"/>
                      <a:pt x="816" y="187"/>
                      <a:pt x="816" y="187"/>
                    </a:cubicBezTo>
                    <a:cubicBezTo>
                      <a:pt x="816" y="187"/>
                      <a:pt x="825" y="167"/>
                      <a:pt x="814" y="159"/>
                    </a:cubicBezTo>
                    <a:cubicBezTo>
                      <a:pt x="802" y="151"/>
                      <a:pt x="787" y="162"/>
                      <a:pt x="787" y="169"/>
                    </a:cubicBezTo>
                    <a:cubicBezTo>
                      <a:pt x="786" y="176"/>
                      <a:pt x="792" y="176"/>
                      <a:pt x="792" y="176"/>
                    </a:cubicBezTo>
                    <a:cubicBezTo>
                      <a:pt x="788" y="185"/>
                      <a:pt x="788" y="185"/>
                      <a:pt x="788" y="185"/>
                    </a:cubicBezTo>
                    <a:cubicBezTo>
                      <a:pt x="768" y="184"/>
                      <a:pt x="768" y="184"/>
                      <a:pt x="768" y="184"/>
                    </a:cubicBezTo>
                    <a:cubicBezTo>
                      <a:pt x="771" y="202"/>
                      <a:pt x="771" y="202"/>
                      <a:pt x="771" y="202"/>
                    </a:cubicBezTo>
                    <a:cubicBezTo>
                      <a:pt x="758" y="196"/>
                      <a:pt x="758" y="196"/>
                      <a:pt x="758" y="196"/>
                    </a:cubicBezTo>
                    <a:cubicBezTo>
                      <a:pt x="746" y="201"/>
                      <a:pt x="746" y="201"/>
                      <a:pt x="746" y="201"/>
                    </a:cubicBezTo>
                    <a:cubicBezTo>
                      <a:pt x="746" y="201"/>
                      <a:pt x="751" y="209"/>
                      <a:pt x="749" y="219"/>
                    </a:cubicBezTo>
                    <a:cubicBezTo>
                      <a:pt x="747" y="230"/>
                      <a:pt x="731" y="238"/>
                      <a:pt x="731" y="238"/>
                    </a:cubicBezTo>
                    <a:cubicBezTo>
                      <a:pt x="736" y="214"/>
                      <a:pt x="736" y="214"/>
                      <a:pt x="736" y="214"/>
                    </a:cubicBezTo>
                    <a:cubicBezTo>
                      <a:pt x="724" y="229"/>
                      <a:pt x="724" y="229"/>
                      <a:pt x="724" y="229"/>
                    </a:cubicBezTo>
                    <a:cubicBezTo>
                      <a:pt x="724" y="229"/>
                      <a:pt x="713" y="227"/>
                      <a:pt x="706" y="237"/>
                    </a:cubicBezTo>
                    <a:cubicBezTo>
                      <a:pt x="699" y="247"/>
                      <a:pt x="710" y="268"/>
                      <a:pt x="710" y="268"/>
                    </a:cubicBezTo>
                    <a:cubicBezTo>
                      <a:pt x="679" y="255"/>
                      <a:pt x="679" y="255"/>
                      <a:pt x="679" y="255"/>
                    </a:cubicBezTo>
                    <a:cubicBezTo>
                      <a:pt x="676" y="279"/>
                      <a:pt x="676" y="279"/>
                      <a:pt x="676" y="279"/>
                    </a:cubicBezTo>
                    <a:cubicBezTo>
                      <a:pt x="665" y="281"/>
                      <a:pt x="665" y="281"/>
                      <a:pt x="665" y="281"/>
                    </a:cubicBezTo>
                    <a:cubicBezTo>
                      <a:pt x="676" y="298"/>
                      <a:pt x="676" y="298"/>
                      <a:pt x="676" y="298"/>
                    </a:cubicBezTo>
                    <a:cubicBezTo>
                      <a:pt x="688" y="297"/>
                      <a:pt x="688" y="297"/>
                      <a:pt x="688" y="297"/>
                    </a:cubicBezTo>
                    <a:cubicBezTo>
                      <a:pt x="685" y="308"/>
                      <a:pt x="685" y="308"/>
                      <a:pt x="685" y="308"/>
                    </a:cubicBezTo>
                    <a:cubicBezTo>
                      <a:pt x="638" y="312"/>
                      <a:pt x="638" y="312"/>
                      <a:pt x="638" y="312"/>
                    </a:cubicBezTo>
                    <a:cubicBezTo>
                      <a:pt x="638" y="312"/>
                      <a:pt x="624" y="302"/>
                      <a:pt x="614" y="310"/>
                    </a:cubicBezTo>
                    <a:cubicBezTo>
                      <a:pt x="604" y="319"/>
                      <a:pt x="620" y="337"/>
                      <a:pt x="620" y="337"/>
                    </a:cubicBezTo>
                    <a:cubicBezTo>
                      <a:pt x="622" y="359"/>
                      <a:pt x="622" y="359"/>
                      <a:pt x="622" y="359"/>
                    </a:cubicBezTo>
                    <a:cubicBezTo>
                      <a:pt x="616" y="373"/>
                      <a:pt x="616" y="373"/>
                      <a:pt x="616" y="373"/>
                    </a:cubicBezTo>
                    <a:cubicBezTo>
                      <a:pt x="620" y="399"/>
                      <a:pt x="620" y="399"/>
                      <a:pt x="620" y="399"/>
                    </a:cubicBezTo>
                    <a:cubicBezTo>
                      <a:pt x="609" y="400"/>
                      <a:pt x="609" y="400"/>
                      <a:pt x="609" y="400"/>
                    </a:cubicBezTo>
                    <a:cubicBezTo>
                      <a:pt x="606" y="348"/>
                      <a:pt x="606" y="348"/>
                      <a:pt x="606" y="348"/>
                    </a:cubicBezTo>
                    <a:cubicBezTo>
                      <a:pt x="595" y="337"/>
                      <a:pt x="595" y="337"/>
                      <a:pt x="595" y="337"/>
                    </a:cubicBezTo>
                    <a:cubicBezTo>
                      <a:pt x="593" y="316"/>
                      <a:pt x="593" y="316"/>
                      <a:pt x="593" y="316"/>
                    </a:cubicBezTo>
                    <a:cubicBezTo>
                      <a:pt x="580" y="317"/>
                      <a:pt x="580" y="317"/>
                      <a:pt x="580" y="317"/>
                    </a:cubicBezTo>
                    <a:cubicBezTo>
                      <a:pt x="569" y="333"/>
                      <a:pt x="569" y="333"/>
                      <a:pt x="569" y="333"/>
                    </a:cubicBezTo>
                    <a:cubicBezTo>
                      <a:pt x="569" y="333"/>
                      <a:pt x="556" y="344"/>
                      <a:pt x="537" y="360"/>
                    </a:cubicBezTo>
                    <a:cubicBezTo>
                      <a:pt x="519" y="376"/>
                      <a:pt x="531" y="409"/>
                      <a:pt x="531" y="409"/>
                    </a:cubicBezTo>
                    <a:cubicBezTo>
                      <a:pt x="531" y="409"/>
                      <a:pt x="548" y="414"/>
                      <a:pt x="546" y="423"/>
                    </a:cubicBezTo>
                    <a:cubicBezTo>
                      <a:pt x="543" y="433"/>
                      <a:pt x="510" y="445"/>
                      <a:pt x="504" y="448"/>
                    </a:cubicBezTo>
                    <a:cubicBezTo>
                      <a:pt x="498" y="451"/>
                      <a:pt x="501" y="461"/>
                      <a:pt x="501" y="461"/>
                    </a:cubicBezTo>
                    <a:cubicBezTo>
                      <a:pt x="501" y="461"/>
                      <a:pt x="480" y="480"/>
                      <a:pt x="463" y="494"/>
                    </a:cubicBezTo>
                    <a:cubicBezTo>
                      <a:pt x="445" y="507"/>
                      <a:pt x="393" y="512"/>
                      <a:pt x="393" y="512"/>
                    </a:cubicBezTo>
                    <a:cubicBezTo>
                      <a:pt x="359" y="505"/>
                      <a:pt x="359" y="505"/>
                      <a:pt x="359" y="505"/>
                    </a:cubicBezTo>
                    <a:cubicBezTo>
                      <a:pt x="332" y="519"/>
                      <a:pt x="332" y="519"/>
                      <a:pt x="332" y="519"/>
                    </a:cubicBezTo>
                    <a:cubicBezTo>
                      <a:pt x="295" y="524"/>
                      <a:pt x="295" y="524"/>
                      <a:pt x="295" y="524"/>
                    </a:cubicBezTo>
                    <a:cubicBezTo>
                      <a:pt x="290" y="529"/>
                      <a:pt x="290" y="529"/>
                      <a:pt x="290" y="529"/>
                    </a:cubicBezTo>
                    <a:cubicBezTo>
                      <a:pt x="290" y="529"/>
                      <a:pt x="280" y="529"/>
                      <a:pt x="271" y="534"/>
                    </a:cubicBezTo>
                    <a:cubicBezTo>
                      <a:pt x="262" y="538"/>
                      <a:pt x="251" y="549"/>
                      <a:pt x="251" y="549"/>
                    </a:cubicBezTo>
                    <a:cubicBezTo>
                      <a:pt x="251" y="549"/>
                      <a:pt x="232" y="550"/>
                      <a:pt x="218" y="554"/>
                    </a:cubicBezTo>
                    <a:cubicBezTo>
                      <a:pt x="204" y="558"/>
                      <a:pt x="188" y="587"/>
                      <a:pt x="188" y="587"/>
                    </a:cubicBezTo>
                    <a:cubicBezTo>
                      <a:pt x="188" y="587"/>
                      <a:pt x="153" y="595"/>
                      <a:pt x="146" y="599"/>
                    </a:cubicBezTo>
                    <a:cubicBezTo>
                      <a:pt x="138" y="604"/>
                      <a:pt x="103" y="649"/>
                      <a:pt x="103" y="649"/>
                    </a:cubicBezTo>
                    <a:cubicBezTo>
                      <a:pt x="109" y="605"/>
                      <a:pt x="109" y="605"/>
                      <a:pt x="109" y="605"/>
                    </a:cubicBezTo>
                    <a:cubicBezTo>
                      <a:pt x="97" y="612"/>
                      <a:pt x="97" y="612"/>
                      <a:pt x="97" y="612"/>
                    </a:cubicBezTo>
                    <a:cubicBezTo>
                      <a:pt x="83" y="649"/>
                      <a:pt x="83" y="649"/>
                      <a:pt x="83" y="649"/>
                    </a:cubicBezTo>
                    <a:cubicBezTo>
                      <a:pt x="83" y="649"/>
                      <a:pt x="69" y="675"/>
                      <a:pt x="62" y="690"/>
                    </a:cubicBezTo>
                    <a:cubicBezTo>
                      <a:pt x="56" y="705"/>
                      <a:pt x="79" y="711"/>
                      <a:pt x="79" y="711"/>
                    </a:cubicBezTo>
                    <a:cubicBezTo>
                      <a:pt x="79" y="711"/>
                      <a:pt x="59" y="732"/>
                      <a:pt x="49" y="741"/>
                    </a:cubicBezTo>
                    <a:cubicBezTo>
                      <a:pt x="38" y="750"/>
                      <a:pt x="58" y="789"/>
                      <a:pt x="59" y="795"/>
                    </a:cubicBezTo>
                    <a:cubicBezTo>
                      <a:pt x="59" y="802"/>
                      <a:pt x="84" y="845"/>
                      <a:pt x="78" y="849"/>
                    </a:cubicBezTo>
                    <a:cubicBezTo>
                      <a:pt x="72" y="854"/>
                      <a:pt x="48" y="813"/>
                      <a:pt x="48" y="813"/>
                    </a:cubicBezTo>
                    <a:cubicBezTo>
                      <a:pt x="36" y="811"/>
                      <a:pt x="36" y="811"/>
                      <a:pt x="36" y="811"/>
                    </a:cubicBezTo>
                    <a:cubicBezTo>
                      <a:pt x="46" y="841"/>
                      <a:pt x="46" y="841"/>
                      <a:pt x="46" y="841"/>
                    </a:cubicBezTo>
                    <a:cubicBezTo>
                      <a:pt x="23" y="821"/>
                      <a:pt x="23" y="821"/>
                      <a:pt x="23" y="821"/>
                    </a:cubicBezTo>
                    <a:cubicBezTo>
                      <a:pt x="23" y="821"/>
                      <a:pt x="19" y="844"/>
                      <a:pt x="22" y="858"/>
                    </a:cubicBezTo>
                    <a:cubicBezTo>
                      <a:pt x="25" y="872"/>
                      <a:pt x="48" y="907"/>
                      <a:pt x="48" y="907"/>
                    </a:cubicBezTo>
                    <a:cubicBezTo>
                      <a:pt x="48" y="907"/>
                      <a:pt x="37" y="929"/>
                      <a:pt x="35" y="937"/>
                    </a:cubicBezTo>
                    <a:cubicBezTo>
                      <a:pt x="33" y="945"/>
                      <a:pt x="63" y="968"/>
                      <a:pt x="64" y="974"/>
                    </a:cubicBezTo>
                    <a:cubicBezTo>
                      <a:pt x="65" y="981"/>
                      <a:pt x="66" y="1003"/>
                      <a:pt x="60" y="1011"/>
                    </a:cubicBezTo>
                    <a:cubicBezTo>
                      <a:pt x="55" y="1019"/>
                      <a:pt x="68" y="1065"/>
                      <a:pt x="68" y="1065"/>
                    </a:cubicBezTo>
                    <a:cubicBezTo>
                      <a:pt x="68" y="1065"/>
                      <a:pt x="64" y="1067"/>
                      <a:pt x="56" y="1073"/>
                    </a:cubicBezTo>
                    <a:cubicBezTo>
                      <a:pt x="49" y="1079"/>
                      <a:pt x="65" y="1115"/>
                      <a:pt x="65" y="1115"/>
                    </a:cubicBezTo>
                    <a:cubicBezTo>
                      <a:pt x="65" y="1115"/>
                      <a:pt x="85" y="1124"/>
                      <a:pt x="87" y="1141"/>
                    </a:cubicBezTo>
                    <a:cubicBezTo>
                      <a:pt x="89" y="1157"/>
                      <a:pt x="60" y="1186"/>
                      <a:pt x="60" y="1186"/>
                    </a:cubicBezTo>
                    <a:cubicBezTo>
                      <a:pt x="60" y="1186"/>
                      <a:pt x="69" y="1219"/>
                      <a:pt x="52" y="1236"/>
                    </a:cubicBezTo>
                    <a:cubicBezTo>
                      <a:pt x="35" y="1252"/>
                      <a:pt x="4" y="1244"/>
                      <a:pt x="4" y="1244"/>
                    </a:cubicBezTo>
                    <a:cubicBezTo>
                      <a:pt x="0" y="1276"/>
                      <a:pt x="0" y="1276"/>
                      <a:pt x="0" y="1276"/>
                    </a:cubicBezTo>
                    <a:cubicBezTo>
                      <a:pt x="0" y="1276"/>
                      <a:pt x="32" y="1284"/>
                      <a:pt x="41" y="1289"/>
                    </a:cubicBezTo>
                    <a:cubicBezTo>
                      <a:pt x="50" y="1295"/>
                      <a:pt x="56" y="1305"/>
                      <a:pt x="56" y="1305"/>
                    </a:cubicBezTo>
                    <a:cubicBezTo>
                      <a:pt x="73" y="1303"/>
                      <a:pt x="73" y="1303"/>
                      <a:pt x="73" y="1303"/>
                    </a:cubicBezTo>
                    <a:cubicBezTo>
                      <a:pt x="73" y="1303"/>
                      <a:pt x="82" y="1312"/>
                      <a:pt x="96" y="1317"/>
                    </a:cubicBezTo>
                    <a:cubicBezTo>
                      <a:pt x="109" y="1322"/>
                      <a:pt x="140" y="1312"/>
                      <a:pt x="153" y="1311"/>
                    </a:cubicBezTo>
                    <a:cubicBezTo>
                      <a:pt x="165" y="1311"/>
                      <a:pt x="155" y="1295"/>
                      <a:pt x="155" y="1295"/>
                    </a:cubicBezTo>
                    <a:cubicBezTo>
                      <a:pt x="180" y="1297"/>
                      <a:pt x="180" y="1297"/>
                      <a:pt x="180" y="1297"/>
                    </a:cubicBezTo>
                    <a:cubicBezTo>
                      <a:pt x="186" y="1285"/>
                      <a:pt x="186" y="1285"/>
                      <a:pt x="186" y="1285"/>
                    </a:cubicBezTo>
                    <a:cubicBezTo>
                      <a:pt x="213" y="1281"/>
                      <a:pt x="213" y="1281"/>
                      <a:pt x="213" y="1281"/>
                    </a:cubicBezTo>
                    <a:cubicBezTo>
                      <a:pt x="213" y="1281"/>
                      <a:pt x="237" y="1256"/>
                      <a:pt x="250" y="1255"/>
                    </a:cubicBezTo>
                    <a:cubicBezTo>
                      <a:pt x="262" y="1255"/>
                      <a:pt x="274" y="1270"/>
                      <a:pt x="281" y="1268"/>
                    </a:cubicBezTo>
                    <a:cubicBezTo>
                      <a:pt x="289" y="1266"/>
                      <a:pt x="326" y="1248"/>
                      <a:pt x="326" y="1248"/>
                    </a:cubicBezTo>
                    <a:cubicBezTo>
                      <a:pt x="326" y="1248"/>
                      <a:pt x="348" y="1258"/>
                      <a:pt x="359" y="1256"/>
                    </a:cubicBezTo>
                    <a:cubicBezTo>
                      <a:pt x="370" y="1255"/>
                      <a:pt x="377" y="1245"/>
                      <a:pt x="384" y="1244"/>
                    </a:cubicBezTo>
                    <a:cubicBezTo>
                      <a:pt x="392" y="1244"/>
                      <a:pt x="411" y="1256"/>
                      <a:pt x="426" y="1253"/>
                    </a:cubicBezTo>
                    <a:cubicBezTo>
                      <a:pt x="441" y="1250"/>
                      <a:pt x="438" y="1231"/>
                      <a:pt x="438" y="1231"/>
                    </a:cubicBezTo>
                    <a:cubicBezTo>
                      <a:pt x="438" y="1231"/>
                      <a:pt x="450" y="1228"/>
                      <a:pt x="454" y="1225"/>
                    </a:cubicBezTo>
                    <a:cubicBezTo>
                      <a:pt x="459" y="1222"/>
                      <a:pt x="465" y="1195"/>
                      <a:pt x="478" y="1183"/>
                    </a:cubicBezTo>
                    <a:cubicBezTo>
                      <a:pt x="491" y="1171"/>
                      <a:pt x="524" y="1179"/>
                      <a:pt x="535" y="1176"/>
                    </a:cubicBezTo>
                    <a:cubicBezTo>
                      <a:pt x="545" y="1174"/>
                      <a:pt x="579" y="1155"/>
                      <a:pt x="594" y="1153"/>
                    </a:cubicBezTo>
                    <a:cubicBezTo>
                      <a:pt x="610" y="1151"/>
                      <a:pt x="612" y="1158"/>
                      <a:pt x="631" y="1161"/>
                    </a:cubicBezTo>
                    <a:cubicBezTo>
                      <a:pt x="650" y="1164"/>
                      <a:pt x="697" y="1131"/>
                      <a:pt x="716" y="1125"/>
                    </a:cubicBezTo>
                    <a:cubicBezTo>
                      <a:pt x="736" y="1119"/>
                      <a:pt x="819" y="1113"/>
                      <a:pt x="819" y="1113"/>
                    </a:cubicBezTo>
                    <a:cubicBezTo>
                      <a:pt x="826" y="1106"/>
                      <a:pt x="826" y="1106"/>
                      <a:pt x="826" y="1106"/>
                    </a:cubicBezTo>
                    <a:cubicBezTo>
                      <a:pt x="826" y="1106"/>
                      <a:pt x="854" y="1131"/>
                      <a:pt x="872" y="1138"/>
                    </a:cubicBezTo>
                    <a:cubicBezTo>
                      <a:pt x="889" y="1145"/>
                      <a:pt x="896" y="1136"/>
                      <a:pt x="896" y="1136"/>
                    </a:cubicBezTo>
                    <a:cubicBezTo>
                      <a:pt x="896" y="1136"/>
                      <a:pt x="899" y="1153"/>
                      <a:pt x="907" y="1156"/>
                    </a:cubicBezTo>
                    <a:cubicBezTo>
                      <a:pt x="915" y="1159"/>
                      <a:pt x="920" y="1152"/>
                      <a:pt x="920" y="1152"/>
                    </a:cubicBezTo>
                    <a:cubicBezTo>
                      <a:pt x="923" y="1167"/>
                      <a:pt x="923" y="1167"/>
                      <a:pt x="923" y="1167"/>
                    </a:cubicBezTo>
                    <a:cubicBezTo>
                      <a:pt x="923" y="1167"/>
                      <a:pt x="935" y="1165"/>
                      <a:pt x="936" y="1174"/>
                    </a:cubicBezTo>
                    <a:cubicBezTo>
                      <a:pt x="937" y="1182"/>
                      <a:pt x="918" y="1206"/>
                      <a:pt x="918" y="1206"/>
                    </a:cubicBezTo>
                    <a:cubicBezTo>
                      <a:pt x="932" y="1225"/>
                      <a:pt x="932" y="1225"/>
                      <a:pt x="932" y="1225"/>
                    </a:cubicBezTo>
                    <a:cubicBezTo>
                      <a:pt x="941" y="1216"/>
                      <a:pt x="941" y="1216"/>
                      <a:pt x="941" y="1216"/>
                    </a:cubicBezTo>
                    <a:cubicBezTo>
                      <a:pt x="954" y="1243"/>
                      <a:pt x="954" y="1243"/>
                      <a:pt x="954" y="1243"/>
                    </a:cubicBezTo>
                    <a:cubicBezTo>
                      <a:pt x="954" y="1243"/>
                      <a:pt x="963" y="1270"/>
                      <a:pt x="964" y="1279"/>
                    </a:cubicBezTo>
                    <a:cubicBezTo>
                      <a:pt x="965" y="1287"/>
                      <a:pt x="937" y="1280"/>
                      <a:pt x="937" y="1280"/>
                    </a:cubicBezTo>
                    <a:cubicBezTo>
                      <a:pt x="944" y="1303"/>
                      <a:pt x="944" y="1303"/>
                      <a:pt x="944" y="1303"/>
                    </a:cubicBezTo>
                    <a:cubicBezTo>
                      <a:pt x="944" y="1303"/>
                      <a:pt x="953" y="1303"/>
                      <a:pt x="962" y="1304"/>
                    </a:cubicBezTo>
                    <a:cubicBezTo>
                      <a:pt x="971" y="1304"/>
                      <a:pt x="970" y="1311"/>
                      <a:pt x="970" y="1311"/>
                    </a:cubicBezTo>
                    <a:cubicBezTo>
                      <a:pt x="983" y="1308"/>
                      <a:pt x="983" y="1308"/>
                      <a:pt x="983" y="1308"/>
                    </a:cubicBezTo>
                    <a:cubicBezTo>
                      <a:pt x="983" y="1308"/>
                      <a:pt x="979" y="1294"/>
                      <a:pt x="979" y="1283"/>
                    </a:cubicBezTo>
                    <a:cubicBezTo>
                      <a:pt x="980" y="1272"/>
                      <a:pt x="998" y="1263"/>
                      <a:pt x="1010" y="1261"/>
                    </a:cubicBezTo>
                    <a:cubicBezTo>
                      <a:pt x="1022" y="1258"/>
                      <a:pt x="1045" y="1222"/>
                      <a:pt x="1045" y="1222"/>
                    </a:cubicBezTo>
                    <a:cubicBezTo>
                      <a:pt x="1060" y="1224"/>
                      <a:pt x="1060" y="1224"/>
                      <a:pt x="1060" y="1224"/>
                    </a:cubicBezTo>
                    <a:cubicBezTo>
                      <a:pt x="1074" y="1191"/>
                      <a:pt x="1074" y="1191"/>
                      <a:pt x="1074" y="1191"/>
                    </a:cubicBezTo>
                    <a:cubicBezTo>
                      <a:pt x="1074" y="1191"/>
                      <a:pt x="1093" y="1188"/>
                      <a:pt x="1102" y="1187"/>
                    </a:cubicBezTo>
                    <a:cubicBezTo>
                      <a:pt x="1110" y="1186"/>
                      <a:pt x="1115" y="1156"/>
                      <a:pt x="1115" y="1156"/>
                    </a:cubicBezTo>
                    <a:cubicBezTo>
                      <a:pt x="1115" y="1156"/>
                      <a:pt x="1120" y="1180"/>
                      <a:pt x="1121" y="1187"/>
                    </a:cubicBezTo>
                    <a:cubicBezTo>
                      <a:pt x="1122" y="1195"/>
                      <a:pt x="1093" y="1209"/>
                      <a:pt x="1093" y="1209"/>
                    </a:cubicBezTo>
                    <a:cubicBezTo>
                      <a:pt x="1083" y="1210"/>
                      <a:pt x="1083" y="1210"/>
                      <a:pt x="1083" y="1210"/>
                    </a:cubicBezTo>
                    <a:cubicBezTo>
                      <a:pt x="1078" y="1217"/>
                      <a:pt x="1078" y="1217"/>
                      <a:pt x="1078" y="1217"/>
                    </a:cubicBezTo>
                    <a:cubicBezTo>
                      <a:pt x="1089" y="1240"/>
                      <a:pt x="1089" y="1240"/>
                      <a:pt x="1089" y="1240"/>
                    </a:cubicBezTo>
                    <a:cubicBezTo>
                      <a:pt x="1089" y="1240"/>
                      <a:pt x="1079" y="1244"/>
                      <a:pt x="1072" y="1248"/>
                    </a:cubicBezTo>
                    <a:cubicBezTo>
                      <a:pt x="1065" y="1253"/>
                      <a:pt x="1047" y="1276"/>
                      <a:pt x="1047" y="1276"/>
                    </a:cubicBezTo>
                    <a:cubicBezTo>
                      <a:pt x="1047" y="1276"/>
                      <a:pt x="1042" y="1295"/>
                      <a:pt x="1035" y="1299"/>
                    </a:cubicBezTo>
                    <a:cubicBezTo>
                      <a:pt x="1028" y="1304"/>
                      <a:pt x="1004" y="1313"/>
                      <a:pt x="1011" y="1319"/>
                    </a:cubicBezTo>
                    <a:cubicBezTo>
                      <a:pt x="1018" y="1326"/>
                      <a:pt x="1045" y="1316"/>
                      <a:pt x="1054" y="1313"/>
                    </a:cubicBezTo>
                    <a:cubicBezTo>
                      <a:pt x="1062" y="1309"/>
                      <a:pt x="1063" y="1296"/>
                      <a:pt x="1069" y="1287"/>
                    </a:cubicBezTo>
                    <a:cubicBezTo>
                      <a:pt x="1076" y="1277"/>
                      <a:pt x="1090" y="1267"/>
                      <a:pt x="1090" y="1267"/>
                    </a:cubicBezTo>
                    <a:cubicBezTo>
                      <a:pt x="1090" y="1267"/>
                      <a:pt x="1093" y="1292"/>
                      <a:pt x="1095" y="1298"/>
                    </a:cubicBezTo>
                    <a:cubicBezTo>
                      <a:pt x="1097" y="1304"/>
                      <a:pt x="1084" y="1315"/>
                      <a:pt x="1075" y="1320"/>
                    </a:cubicBezTo>
                    <a:cubicBezTo>
                      <a:pt x="1067" y="1325"/>
                      <a:pt x="1066" y="1333"/>
                      <a:pt x="1072" y="1339"/>
                    </a:cubicBezTo>
                    <a:cubicBezTo>
                      <a:pt x="1079" y="1344"/>
                      <a:pt x="1110" y="1344"/>
                      <a:pt x="1110" y="1344"/>
                    </a:cubicBezTo>
                    <a:cubicBezTo>
                      <a:pt x="1115" y="1351"/>
                      <a:pt x="1115" y="1351"/>
                      <a:pt x="1115" y="1351"/>
                    </a:cubicBezTo>
                    <a:cubicBezTo>
                      <a:pt x="1100" y="1364"/>
                      <a:pt x="1100" y="1364"/>
                      <a:pt x="1100" y="1364"/>
                    </a:cubicBezTo>
                    <a:cubicBezTo>
                      <a:pt x="1100" y="1364"/>
                      <a:pt x="1116" y="1393"/>
                      <a:pt x="1118" y="1403"/>
                    </a:cubicBezTo>
                    <a:cubicBezTo>
                      <a:pt x="1121" y="1414"/>
                      <a:pt x="1097" y="1430"/>
                      <a:pt x="1088" y="1441"/>
                    </a:cubicBezTo>
                    <a:cubicBezTo>
                      <a:pt x="1078" y="1452"/>
                      <a:pt x="1110" y="1474"/>
                      <a:pt x="1118" y="1477"/>
                    </a:cubicBezTo>
                    <a:cubicBezTo>
                      <a:pt x="1125" y="1480"/>
                      <a:pt x="1139" y="1500"/>
                      <a:pt x="1154" y="1505"/>
                    </a:cubicBezTo>
                    <a:cubicBezTo>
                      <a:pt x="1169" y="1510"/>
                      <a:pt x="1180" y="1501"/>
                      <a:pt x="1194" y="1504"/>
                    </a:cubicBezTo>
                    <a:cubicBezTo>
                      <a:pt x="1207" y="1507"/>
                      <a:pt x="1210" y="1524"/>
                      <a:pt x="1229" y="1527"/>
                    </a:cubicBezTo>
                    <a:cubicBezTo>
                      <a:pt x="1249" y="1531"/>
                      <a:pt x="1297" y="1498"/>
                      <a:pt x="1297" y="1498"/>
                    </a:cubicBezTo>
                    <a:cubicBezTo>
                      <a:pt x="1297" y="1498"/>
                      <a:pt x="1290" y="1484"/>
                      <a:pt x="1305" y="1475"/>
                    </a:cubicBezTo>
                    <a:cubicBezTo>
                      <a:pt x="1320" y="1466"/>
                      <a:pt x="1319" y="1502"/>
                      <a:pt x="1319" y="1502"/>
                    </a:cubicBezTo>
                    <a:cubicBezTo>
                      <a:pt x="1330" y="1501"/>
                      <a:pt x="1330" y="1501"/>
                      <a:pt x="1330" y="1501"/>
                    </a:cubicBezTo>
                    <a:cubicBezTo>
                      <a:pt x="1320" y="1517"/>
                      <a:pt x="1320" y="1517"/>
                      <a:pt x="1320" y="1517"/>
                    </a:cubicBezTo>
                    <a:cubicBezTo>
                      <a:pt x="1333" y="1518"/>
                      <a:pt x="1333" y="1518"/>
                      <a:pt x="1333" y="1518"/>
                    </a:cubicBezTo>
                    <a:cubicBezTo>
                      <a:pt x="1333" y="1518"/>
                      <a:pt x="1334" y="1530"/>
                      <a:pt x="1341" y="1539"/>
                    </a:cubicBezTo>
                    <a:cubicBezTo>
                      <a:pt x="1347" y="1547"/>
                      <a:pt x="1354" y="1543"/>
                      <a:pt x="1354" y="1543"/>
                    </a:cubicBezTo>
                    <a:cubicBezTo>
                      <a:pt x="1360" y="1532"/>
                      <a:pt x="1360" y="1532"/>
                      <a:pt x="1360" y="1532"/>
                    </a:cubicBezTo>
                    <a:cubicBezTo>
                      <a:pt x="1360" y="1532"/>
                      <a:pt x="1378" y="1530"/>
                      <a:pt x="1388" y="1521"/>
                    </a:cubicBezTo>
                    <a:cubicBezTo>
                      <a:pt x="1399" y="1513"/>
                      <a:pt x="1443" y="1482"/>
                      <a:pt x="1443" y="1482"/>
                    </a:cubicBezTo>
                    <a:cubicBezTo>
                      <a:pt x="1438" y="1472"/>
                      <a:pt x="1438" y="1472"/>
                      <a:pt x="1438" y="1472"/>
                    </a:cubicBezTo>
                    <a:cubicBezTo>
                      <a:pt x="1462" y="1468"/>
                      <a:pt x="1462" y="1468"/>
                      <a:pt x="1462" y="1468"/>
                    </a:cubicBezTo>
                    <a:cubicBezTo>
                      <a:pt x="1471" y="1476"/>
                      <a:pt x="1471" y="1476"/>
                      <a:pt x="1471" y="1476"/>
                    </a:cubicBezTo>
                    <a:cubicBezTo>
                      <a:pt x="1471" y="1476"/>
                      <a:pt x="1510" y="1469"/>
                      <a:pt x="1533" y="1461"/>
                    </a:cubicBezTo>
                    <a:cubicBezTo>
                      <a:pt x="1555" y="1452"/>
                      <a:pt x="1557" y="1408"/>
                      <a:pt x="1560" y="1396"/>
                    </a:cubicBezTo>
                    <a:cubicBezTo>
                      <a:pt x="1564" y="1385"/>
                      <a:pt x="1590" y="1370"/>
                      <a:pt x="1590" y="1370"/>
                    </a:cubicBezTo>
                    <a:cubicBezTo>
                      <a:pt x="1590" y="1355"/>
                      <a:pt x="1590" y="1355"/>
                      <a:pt x="1590" y="1355"/>
                    </a:cubicBezTo>
                    <a:cubicBezTo>
                      <a:pt x="1590" y="1355"/>
                      <a:pt x="1605" y="1349"/>
                      <a:pt x="1613" y="1338"/>
                    </a:cubicBezTo>
                    <a:cubicBezTo>
                      <a:pt x="1620" y="1328"/>
                      <a:pt x="1631" y="1314"/>
                      <a:pt x="1631" y="1314"/>
                    </a:cubicBezTo>
                    <a:cubicBezTo>
                      <a:pt x="1631" y="1314"/>
                      <a:pt x="1633" y="1285"/>
                      <a:pt x="1641" y="1275"/>
                    </a:cubicBezTo>
                    <a:cubicBezTo>
                      <a:pt x="1648" y="1266"/>
                      <a:pt x="1682" y="1228"/>
                      <a:pt x="1695" y="1222"/>
                    </a:cubicBezTo>
                    <a:cubicBezTo>
                      <a:pt x="1707" y="1216"/>
                      <a:pt x="1709" y="1185"/>
                      <a:pt x="1709" y="1185"/>
                    </a:cubicBezTo>
                    <a:cubicBezTo>
                      <a:pt x="1709" y="1185"/>
                      <a:pt x="1732" y="1189"/>
                      <a:pt x="1741" y="1179"/>
                    </a:cubicBezTo>
                    <a:cubicBezTo>
                      <a:pt x="1750" y="1170"/>
                      <a:pt x="1797" y="1111"/>
                      <a:pt x="1800" y="1104"/>
                    </a:cubicBezTo>
                    <a:cubicBezTo>
                      <a:pt x="1804" y="1098"/>
                      <a:pt x="1803" y="1067"/>
                      <a:pt x="1813" y="1060"/>
                    </a:cubicBezTo>
                    <a:cubicBezTo>
                      <a:pt x="1822" y="1053"/>
                      <a:pt x="1864" y="971"/>
                      <a:pt x="1874" y="952"/>
                    </a:cubicBezTo>
                    <a:cubicBezTo>
                      <a:pt x="1884" y="933"/>
                      <a:pt x="1872" y="920"/>
                      <a:pt x="1871" y="907"/>
                    </a:cubicBezTo>
                    <a:cubicBezTo>
                      <a:pt x="1870" y="894"/>
                      <a:pt x="1880" y="873"/>
                      <a:pt x="1889" y="859"/>
                    </a:cubicBezTo>
                    <a:cubicBezTo>
                      <a:pt x="1898" y="845"/>
                      <a:pt x="1888" y="783"/>
                      <a:pt x="1888" y="783"/>
                    </a:cubicBezTo>
                    <a:lnTo>
                      <a:pt x="1869" y="774"/>
                    </a:lnTo>
                    <a:close/>
                    <a:moveTo>
                      <a:pt x="1347" y="1624"/>
                    </a:moveTo>
                    <a:cubicBezTo>
                      <a:pt x="1349" y="1631"/>
                      <a:pt x="1373" y="1619"/>
                      <a:pt x="1364" y="1612"/>
                    </a:cubicBezTo>
                    <a:cubicBezTo>
                      <a:pt x="1355" y="1605"/>
                      <a:pt x="1347" y="1624"/>
                      <a:pt x="1347" y="1624"/>
                    </a:cubicBezTo>
                    <a:close/>
                    <a:moveTo>
                      <a:pt x="1332" y="1632"/>
                    </a:moveTo>
                    <a:cubicBezTo>
                      <a:pt x="1323" y="1626"/>
                      <a:pt x="1312" y="1646"/>
                      <a:pt x="1312" y="1646"/>
                    </a:cubicBezTo>
                    <a:cubicBezTo>
                      <a:pt x="1312" y="1646"/>
                      <a:pt x="1308" y="1640"/>
                      <a:pt x="1304" y="1640"/>
                    </a:cubicBezTo>
                    <a:cubicBezTo>
                      <a:pt x="1300" y="1639"/>
                      <a:pt x="1277" y="1643"/>
                      <a:pt x="1277" y="1643"/>
                    </a:cubicBezTo>
                    <a:cubicBezTo>
                      <a:pt x="1274" y="1651"/>
                      <a:pt x="1274" y="1651"/>
                      <a:pt x="1274" y="1651"/>
                    </a:cubicBezTo>
                    <a:cubicBezTo>
                      <a:pt x="1261" y="1640"/>
                      <a:pt x="1261" y="1640"/>
                      <a:pt x="1261" y="1640"/>
                    </a:cubicBezTo>
                    <a:cubicBezTo>
                      <a:pt x="1236" y="1638"/>
                      <a:pt x="1236" y="1638"/>
                      <a:pt x="1236" y="1638"/>
                    </a:cubicBezTo>
                    <a:cubicBezTo>
                      <a:pt x="1221" y="1620"/>
                      <a:pt x="1221" y="1620"/>
                      <a:pt x="1221" y="1620"/>
                    </a:cubicBezTo>
                    <a:cubicBezTo>
                      <a:pt x="1221" y="1620"/>
                      <a:pt x="1216" y="1623"/>
                      <a:pt x="1210" y="1624"/>
                    </a:cubicBezTo>
                    <a:cubicBezTo>
                      <a:pt x="1205" y="1625"/>
                      <a:pt x="1188" y="1605"/>
                      <a:pt x="1188" y="1605"/>
                    </a:cubicBezTo>
                    <a:cubicBezTo>
                      <a:pt x="1184" y="1616"/>
                      <a:pt x="1184" y="1616"/>
                      <a:pt x="1184" y="1616"/>
                    </a:cubicBezTo>
                    <a:cubicBezTo>
                      <a:pt x="1188" y="1629"/>
                      <a:pt x="1188" y="1629"/>
                      <a:pt x="1188" y="1629"/>
                    </a:cubicBezTo>
                    <a:cubicBezTo>
                      <a:pt x="1188" y="1629"/>
                      <a:pt x="1189" y="1645"/>
                      <a:pt x="1187" y="1650"/>
                    </a:cubicBezTo>
                    <a:cubicBezTo>
                      <a:pt x="1185" y="1655"/>
                      <a:pt x="1179" y="1663"/>
                      <a:pt x="1185" y="1674"/>
                    </a:cubicBezTo>
                    <a:cubicBezTo>
                      <a:pt x="1191" y="1685"/>
                      <a:pt x="1184" y="1691"/>
                      <a:pt x="1176" y="1694"/>
                    </a:cubicBezTo>
                    <a:cubicBezTo>
                      <a:pt x="1167" y="1696"/>
                      <a:pt x="1160" y="1686"/>
                      <a:pt x="1160" y="1686"/>
                    </a:cubicBezTo>
                    <a:cubicBezTo>
                      <a:pt x="1160" y="1686"/>
                      <a:pt x="1156" y="1700"/>
                      <a:pt x="1155" y="1713"/>
                    </a:cubicBezTo>
                    <a:cubicBezTo>
                      <a:pt x="1154" y="1727"/>
                      <a:pt x="1166" y="1748"/>
                      <a:pt x="1166" y="1748"/>
                    </a:cubicBezTo>
                    <a:cubicBezTo>
                      <a:pt x="1181" y="1750"/>
                      <a:pt x="1181" y="1750"/>
                      <a:pt x="1181" y="1750"/>
                    </a:cubicBezTo>
                    <a:cubicBezTo>
                      <a:pt x="1168" y="1757"/>
                      <a:pt x="1168" y="1757"/>
                      <a:pt x="1168" y="1757"/>
                    </a:cubicBezTo>
                    <a:cubicBezTo>
                      <a:pt x="1173" y="1774"/>
                      <a:pt x="1173" y="1774"/>
                      <a:pt x="1173" y="1774"/>
                    </a:cubicBezTo>
                    <a:cubicBezTo>
                      <a:pt x="1173" y="1774"/>
                      <a:pt x="1185" y="1769"/>
                      <a:pt x="1191" y="1766"/>
                    </a:cubicBezTo>
                    <a:cubicBezTo>
                      <a:pt x="1198" y="1763"/>
                      <a:pt x="1203" y="1773"/>
                      <a:pt x="1214" y="1769"/>
                    </a:cubicBezTo>
                    <a:cubicBezTo>
                      <a:pt x="1225" y="1764"/>
                      <a:pt x="1232" y="1748"/>
                      <a:pt x="1239" y="1752"/>
                    </a:cubicBezTo>
                    <a:cubicBezTo>
                      <a:pt x="1247" y="1757"/>
                      <a:pt x="1236" y="1768"/>
                      <a:pt x="1236" y="1768"/>
                    </a:cubicBezTo>
                    <a:cubicBezTo>
                      <a:pt x="1247" y="1772"/>
                      <a:pt x="1247" y="1772"/>
                      <a:pt x="1247" y="1772"/>
                    </a:cubicBezTo>
                    <a:cubicBezTo>
                      <a:pt x="1247" y="1772"/>
                      <a:pt x="1268" y="1744"/>
                      <a:pt x="1277" y="1738"/>
                    </a:cubicBezTo>
                    <a:cubicBezTo>
                      <a:pt x="1285" y="1733"/>
                      <a:pt x="1268" y="1726"/>
                      <a:pt x="1268" y="1726"/>
                    </a:cubicBezTo>
                    <a:cubicBezTo>
                      <a:pt x="1282" y="1706"/>
                      <a:pt x="1282" y="1706"/>
                      <a:pt x="1282" y="1706"/>
                    </a:cubicBezTo>
                    <a:cubicBezTo>
                      <a:pt x="1282" y="1706"/>
                      <a:pt x="1292" y="1710"/>
                      <a:pt x="1303" y="1704"/>
                    </a:cubicBezTo>
                    <a:cubicBezTo>
                      <a:pt x="1314" y="1699"/>
                      <a:pt x="1305" y="1678"/>
                      <a:pt x="1315" y="1667"/>
                    </a:cubicBezTo>
                    <a:cubicBezTo>
                      <a:pt x="1326" y="1656"/>
                      <a:pt x="1340" y="1638"/>
                      <a:pt x="1332" y="1632"/>
                    </a:cubicBezTo>
                    <a:close/>
                    <a:moveTo>
                      <a:pt x="1269" y="162"/>
                    </a:moveTo>
                    <a:cubicBezTo>
                      <a:pt x="1263" y="162"/>
                      <a:pt x="1259" y="193"/>
                      <a:pt x="1259" y="193"/>
                    </a:cubicBezTo>
                    <a:cubicBezTo>
                      <a:pt x="1269" y="207"/>
                      <a:pt x="1290" y="195"/>
                      <a:pt x="1290" y="195"/>
                    </a:cubicBezTo>
                    <a:cubicBezTo>
                      <a:pt x="1286" y="186"/>
                      <a:pt x="1286" y="186"/>
                      <a:pt x="1286" y="186"/>
                    </a:cubicBezTo>
                    <a:cubicBezTo>
                      <a:pt x="1290" y="167"/>
                      <a:pt x="1290" y="167"/>
                      <a:pt x="1290" y="167"/>
                    </a:cubicBezTo>
                    <a:cubicBezTo>
                      <a:pt x="1290" y="167"/>
                      <a:pt x="1274" y="162"/>
                      <a:pt x="1269" y="162"/>
                    </a:cubicBezTo>
                    <a:close/>
                    <a:moveTo>
                      <a:pt x="1182" y="1554"/>
                    </a:moveTo>
                    <a:cubicBezTo>
                      <a:pt x="1175" y="1581"/>
                      <a:pt x="1175" y="1581"/>
                      <a:pt x="1175" y="1581"/>
                    </a:cubicBezTo>
                    <a:cubicBezTo>
                      <a:pt x="1209" y="1549"/>
                      <a:pt x="1209" y="1549"/>
                      <a:pt x="1209" y="1549"/>
                    </a:cubicBezTo>
                    <a:lnTo>
                      <a:pt x="1182" y="1554"/>
                    </a:lnTo>
                    <a:close/>
                    <a:moveTo>
                      <a:pt x="1357" y="1597"/>
                    </a:moveTo>
                    <a:cubicBezTo>
                      <a:pt x="1345" y="1572"/>
                      <a:pt x="1345" y="1572"/>
                      <a:pt x="1345" y="1572"/>
                    </a:cubicBezTo>
                    <a:cubicBezTo>
                      <a:pt x="1345" y="1572"/>
                      <a:pt x="1333" y="1579"/>
                      <a:pt x="1332" y="1587"/>
                    </a:cubicBezTo>
                    <a:cubicBezTo>
                      <a:pt x="1332" y="1594"/>
                      <a:pt x="1334" y="1597"/>
                      <a:pt x="1343" y="1600"/>
                    </a:cubicBezTo>
                    <a:cubicBezTo>
                      <a:pt x="1352" y="1603"/>
                      <a:pt x="1357" y="1597"/>
                      <a:pt x="1357" y="1597"/>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grpSp>
        <p:grpSp>
          <p:nvGrpSpPr>
            <p:cNvPr id="209" name="Asia and Middle East">
              <a:extLst>
                <a:ext uri="{FF2B5EF4-FFF2-40B4-BE49-F238E27FC236}">
                  <a16:creationId xmlns:a16="http://schemas.microsoft.com/office/drawing/2014/main" id="{83B4FDA5-6A7D-4FC8-A05F-BF1DE0F087D1}"/>
                </a:ext>
              </a:extLst>
            </p:cNvPr>
            <p:cNvGrpSpPr>
              <a:grpSpLocks/>
            </p:cNvGrpSpPr>
            <p:nvPr/>
          </p:nvGrpSpPr>
          <p:grpSpPr bwMode="gray">
            <a:xfrm>
              <a:off x="6289675" y="1431470"/>
              <a:ext cx="4898015" cy="3400266"/>
              <a:chOff x="6097295" y="1770048"/>
              <a:chExt cx="3807485" cy="2643551"/>
            </a:xfrm>
            <a:grpFill/>
          </p:grpSpPr>
          <p:sp>
            <p:nvSpPr>
              <p:cNvPr id="264" name="Yemen">
                <a:extLst>
                  <a:ext uri="{FF2B5EF4-FFF2-40B4-BE49-F238E27FC236}">
                    <a16:creationId xmlns:a16="http://schemas.microsoft.com/office/drawing/2014/main" id="{8D8908C3-F974-4E96-B173-43B9410D0D31}"/>
                  </a:ext>
                </a:extLst>
              </p:cNvPr>
              <p:cNvSpPr>
                <a:spLocks/>
              </p:cNvSpPr>
              <p:nvPr/>
            </p:nvSpPr>
            <p:spPr bwMode="gray">
              <a:xfrm>
                <a:off x="6737169" y="3512317"/>
                <a:ext cx="273097" cy="184065"/>
              </a:xfrm>
              <a:custGeom>
                <a:avLst/>
                <a:gdLst>
                  <a:gd name="T0" fmla="*/ 311 w 487"/>
                  <a:gd name="T1" fmla="*/ 13 h 330"/>
                  <a:gd name="T2" fmla="*/ 247 w 487"/>
                  <a:gd name="T3" fmla="*/ 45 h 330"/>
                  <a:gd name="T4" fmla="*/ 222 w 487"/>
                  <a:gd name="T5" fmla="*/ 82 h 330"/>
                  <a:gd name="T6" fmla="*/ 222 w 487"/>
                  <a:gd name="T7" fmla="*/ 94 h 330"/>
                  <a:gd name="T8" fmla="*/ 210 w 487"/>
                  <a:gd name="T9" fmla="*/ 106 h 330"/>
                  <a:gd name="T10" fmla="*/ 187 w 487"/>
                  <a:gd name="T11" fmla="*/ 89 h 330"/>
                  <a:gd name="T12" fmla="*/ 143 w 487"/>
                  <a:gd name="T13" fmla="*/ 89 h 330"/>
                  <a:gd name="T14" fmla="*/ 116 w 487"/>
                  <a:gd name="T15" fmla="*/ 81 h 330"/>
                  <a:gd name="T16" fmla="*/ 76 w 487"/>
                  <a:gd name="T17" fmla="*/ 82 h 330"/>
                  <a:gd name="T18" fmla="*/ 64 w 487"/>
                  <a:gd name="T19" fmla="*/ 88 h 330"/>
                  <a:gd name="T20" fmla="*/ 46 w 487"/>
                  <a:gd name="T21" fmla="*/ 89 h 330"/>
                  <a:gd name="T22" fmla="*/ 31 w 487"/>
                  <a:gd name="T23" fmla="*/ 80 h 330"/>
                  <a:gd name="T24" fmla="*/ 22 w 487"/>
                  <a:gd name="T25" fmla="*/ 114 h 330"/>
                  <a:gd name="T26" fmla="*/ 21 w 487"/>
                  <a:gd name="T27" fmla="*/ 127 h 330"/>
                  <a:gd name="T28" fmla="*/ 8 w 487"/>
                  <a:gd name="T29" fmla="*/ 141 h 330"/>
                  <a:gd name="T30" fmla="*/ 2 w 487"/>
                  <a:gd name="T31" fmla="*/ 164 h 330"/>
                  <a:gd name="T32" fmla="*/ 24 w 487"/>
                  <a:gd name="T33" fmla="*/ 193 h 330"/>
                  <a:gd name="T34" fmla="*/ 15 w 487"/>
                  <a:gd name="T35" fmla="*/ 270 h 330"/>
                  <a:gd name="T36" fmla="*/ 36 w 487"/>
                  <a:gd name="T37" fmla="*/ 292 h 330"/>
                  <a:gd name="T38" fmla="*/ 60 w 487"/>
                  <a:gd name="T39" fmla="*/ 325 h 330"/>
                  <a:gd name="T40" fmla="*/ 106 w 487"/>
                  <a:gd name="T41" fmla="*/ 321 h 330"/>
                  <a:gd name="T42" fmla="*/ 133 w 487"/>
                  <a:gd name="T43" fmla="*/ 287 h 330"/>
                  <a:gd name="T44" fmla="*/ 182 w 487"/>
                  <a:gd name="T45" fmla="*/ 290 h 330"/>
                  <a:gd name="T46" fmla="*/ 243 w 487"/>
                  <a:gd name="T47" fmla="*/ 282 h 330"/>
                  <a:gd name="T48" fmla="*/ 292 w 487"/>
                  <a:gd name="T49" fmla="*/ 243 h 330"/>
                  <a:gd name="T50" fmla="*/ 334 w 487"/>
                  <a:gd name="T51" fmla="*/ 213 h 330"/>
                  <a:gd name="T52" fmla="*/ 397 w 487"/>
                  <a:gd name="T53" fmla="*/ 181 h 330"/>
                  <a:gd name="T54" fmla="*/ 446 w 487"/>
                  <a:gd name="T55" fmla="*/ 180 h 330"/>
                  <a:gd name="T56" fmla="*/ 479 w 487"/>
                  <a:gd name="T57" fmla="*/ 125 h 330"/>
                  <a:gd name="T58" fmla="*/ 487 w 487"/>
                  <a:gd name="T59" fmla="*/ 120 h 330"/>
                  <a:gd name="T60" fmla="*/ 433 w 487"/>
                  <a:gd name="T61" fmla="*/ 0 h 330"/>
                  <a:gd name="T62" fmla="*/ 311 w 487"/>
                  <a:gd name="T63" fmla="*/ 1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7" h="330">
                    <a:moveTo>
                      <a:pt x="311" y="13"/>
                    </a:moveTo>
                    <a:cubicBezTo>
                      <a:pt x="299" y="13"/>
                      <a:pt x="257" y="32"/>
                      <a:pt x="247" y="45"/>
                    </a:cubicBezTo>
                    <a:cubicBezTo>
                      <a:pt x="237" y="58"/>
                      <a:pt x="222" y="82"/>
                      <a:pt x="222" y="82"/>
                    </a:cubicBezTo>
                    <a:cubicBezTo>
                      <a:pt x="222" y="94"/>
                      <a:pt x="222" y="94"/>
                      <a:pt x="222" y="94"/>
                    </a:cubicBezTo>
                    <a:cubicBezTo>
                      <a:pt x="222" y="94"/>
                      <a:pt x="215" y="106"/>
                      <a:pt x="210" y="106"/>
                    </a:cubicBezTo>
                    <a:cubicBezTo>
                      <a:pt x="205" y="106"/>
                      <a:pt x="191" y="91"/>
                      <a:pt x="187" y="89"/>
                    </a:cubicBezTo>
                    <a:cubicBezTo>
                      <a:pt x="183" y="87"/>
                      <a:pt x="143" y="89"/>
                      <a:pt x="143" y="89"/>
                    </a:cubicBezTo>
                    <a:cubicBezTo>
                      <a:pt x="143" y="89"/>
                      <a:pt x="132" y="81"/>
                      <a:pt x="116" y="81"/>
                    </a:cubicBezTo>
                    <a:cubicBezTo>
                      <a:pt x="100" y="81"/>
                      <a:pt x="81" y="82"/>
                      <a:pt x="76" y="82"/>
                    </a:cubicBezTo>
                    <a:cubicBezTo>
                      <a:pt x="71" y="82"/>
                      <a:pt x="64" y="88"/>
                      <a:pt x="64" y="88"/>
                    </a:cubicBezTo>
                    <a:cubicBezTo>
                      <a:pt x="46" y="89"/>
                      <a:pt x="46" y="89"/>
                      <a:pt x="46" y="89"/>
                    </a:cubicBezTo>
                    <a:cubicBezTo>
                      <a:pt x="46" y="89"/>
                      <a:pt x="41" y="75"/>
                      <a:pt x="31" y="80"/>
                    </a:cubicBezTo>
                    <a:cubicBezTo>
                      <a:pt x="21" y="85"/>
                      <a:pt x="22" y="114"/>
                      <a:pt x="22" y="114"/>
                    </a:cubicBezTo>
                    <a:cubicBezTo>
                      <a:pt x="22" y="114"/>
                      <a:pt x="28" y="116"/>
                      <a:pt x="21" y="127"/>
                    </a:cubicBezTo>
                    <a:cubicBezTo>
                      <a:pt x="17" y="134"/>
                      <a:pt x="12" y="138"/>
                      <a:pt x="8" y="141"/>
                    </a:cubicBezTo>
                    <a:cubicBezTo>
                      <a:pt x="6" y="150"/>
                      <a:pt x="3" y="159"/>
                      <a:pt x="2" y="164"/>
                    </a:cubicBezTo>
                    <a:cubicBezTo>
                      <a:pt x="0" y="174"/>
                      <a:pt x="24" y="193"/>
                      <a:pt x="24" y="193"/>
                    </a:cubicBezTo>
                    <a:cubicBezTo>
                      <a:pt x="15" y="270"/>
                      <a:pt x="15" y="270"/>
                      <a:pt x="15" y="270"/>
                    </a:cubicBezTo>
                    <a:cubicBezTo>
                      <a:pt x="36" y="292"/>
                      <a:pt x="36" y="292"/>
                      <a:pt x="36" y="292"/>
                    </a:cubicBezTo>
                    <a:cubicBezTo>
                      <a:pt x="36" y="292"/>
                      <a:pt x="41" y="321"/>
                      <a:pt x="60" y="325"/>
                    </a:cubicBezTo>
                    <a:cubicBezTo>
                      <a:pt x="79" y="330"/>
                      <a:pt x="94" y="329"/>
                      <a:pt x="106" y="321"/>
                    </a:cubicBezTo>
                    <a:cubicBezTo>
                      <a:pt x="118" y="313"/>
                      <a:pt x="122" y="287"/>
                      <a:pt x="133" y="287"/>
                    </a:cubicBezTo>
                    <a:cubicBezTo>
                      <a:pt x="145" y="286"/>
                      <a:pt x="160" y="293"/>
                      <a:pt x="182" y="290"/>
                    </a:cubicBezTo>
                    <a:cubicBezTo>
                      <a:pt x="204" y="287"/>
                      <a:pt x="230" y="282"/>
                      <a:pt x="243" y="282"/>
                    </a:cubicBezTo>
                    <a:cubicBezTo>
                      <a:pt x="256" y="283"/>
                      <a:pt x="277" y="249"/>
                      <a:pt x="292" y="243"/>
                    </a:cubicBezTo>
                    <a:cubicBezTo>
                      <a:pt x="308" y="238"/>
                      <a:pt x="316" y="218"/>
                      <a:pt x="334" y="213"/>
                    </a:cubicBezTo>
                    <a:cubicBezTo>
                      <a:pt x="352" y="207"/>
                      <a:pt x="397" y="181"/>
                      <a:pt x="397" y="181"/>
                    </a:cubicBezTo>
                    <a:cubicBezTo>
                      <a:pt x="446" y="180"/>
                      <a:pt x="446" y="180"/>
                      <a:pt x="446" y="180"/>
                    </a:cubicBezTo>
                    <a:cubicBezTo>
                      <a:pt x="446" y="180"/>
                      <a:pt x="466" y="135"/>
                      <a:pt x="479" y="125"/>
                    </a:cubicBezTo>
                    <a:cubicBezTo>
                      <a:pt x="480" y="123"/>
                      <a:pt x="483" y="122"/>
                      <a:pt x="487" y="120"/>
                    </a:cubicBezTo>
                    <a:cubicBezTo>
                      <a:pt x="433" y="0"/>
                      <a:pt x="433" y="0"/>
                      <a:pt x="433" y="0"/>
                    </a:cubicBezTo>
                    <a:cubicBezTo>
                      <a:pt x="433" y="0"/>
                      <a:pt x="323" y="13"/>
                      <a:pt x="311" y="13"/>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65" name="Vietnam">
                <a:extLst>
                  <a:ext uri="{FF2B5EF4-FFF2-40B4-BE49-F238E27FC236}">
                    <a16:creationId xmlns:a16="http://schemas.microsoft.com/office/drawing/2014/main" id="{73355344-5D44-49B6-804F-A1ECB21DF1BA}"/>
                  </a:ext>
                </a:extLst>
              </p:cNvPr>
              <p:cNvSpPr>
                <a:spLocks/>
              </p:cNvSpPr>
              <p:nvPr/>
            </p:nvSpPr>
            <p:spPr bwMode="gray">
              <a:xfrm>
                <a:off x="8277310" y="3380615"/>
                <a:ext cx="228640" cy="444294"/>
              </a:xfrm>
              <a:custGeom>
                <a:avLst/>
                <a:gdLst>
                  <a:gd name="T0" fmla="*/ 6 w 407"/>
                  <a:gd name="T1" fmla="*/ 62 h 795"/>
                  <a:gd name="T2" fmla="*/ 37 w 407"/>
                  <a:gd name="T3" fmla="*/ 84 h 795"/>
                  <a:gd name="T4" fmla="*/ 61 w 407"/>
                  <a:gd name="T5" fmla="*/ 137 h 795"/>
                  <a:gd name="T6" fmla="*/ 82 w 407"/>
                  <a:gd name="T7" fmla="*/ 145 h 795"/>
                  <a:gd name="T8" fmla="*/ 124 w 407"/>
                  <a:gd name="T9" fmla="*/ 145 h 795"/>
                  <a:gd name="T10" fmla="*/ 153 w 407"/>
                  <a:gd name="T11" fmla="*/ 179 h 795"/>
                  <a:gd name="T12" fmla="*/ 101 w 407"/>
                  <a:gd name="T13" fmla="*/ 199 h 795"/>
                  <a:gd name="T14" fmla="*/ 142 w 407"/>
                  <a:gd name="T15" fmla="*/ 240 h 795"/>
                  <a:gd name="T16" fmla="*/ 169 w 407"/>
                  <a:gd name="T17" fmla="*/ 271 h 795"/>
                  <a:gd name="T18" fmla="*/ 205 w 407"/>
                  <a:gd name="T19" fmla="*/ 314 h 795"/>
                  <a:gd name="T20" fmla="*/ 230 w 407"/>
                  <a:gd name="T21" fmla="*/ 347 h 795"/>
                  <a:gd name="T22" fmla="*/ 254 w 407"/>
                  <a:gd name="T23" fmla="*/ 370 h 795"/>
                  <a:gd name="T24" fmla="*/ 287 w 407"/>
                  <a:gd name="T25" fmla="*/ 397 h 795"/>
                  <a:gd name="T26" fmla="*/ 312 w 407"/>
                  <a:gd name="T27" fmla="*/ 436 h 795"/>
                  <a:gd name="T28" fmla="*/ 310 w 407"/>
                  <a:gd name="T29" fmla="*/ 470 h 795"/>
                  <a:gd name="T30" fmla="*/ 300 w 407"/>
                  <a:gd name="T31" fmla="*/ 505 h 795"/>
                  <a:gd name="T32" fmla="*/ 306 w 407"/>
                  <a:gd name="T33" fmla="*/ 545 h 795"/>
                  <a:gd name="T34" fmla="*/ 314 w 407"/>
                  <a:gd name="T35" fmla="*/ 598 h 795"/>
                  <a:gd name="T36" fmla="*/ 291 w 407"/>
                  <a:gd name="T37" fmla="*/ 610 h 795"/>
                  <a:gd name="T38" fmla="*/ 273 w 407"/>
                  <a:gd name="T39" fmla="*/ 625 h 795"/>
                  <a:gd name="T40" fmla="*/ 252 w 407"/>
                  <a:gd name="T41" fmla="*/ 659 h 795"/>
                  <a:gd name="T42" fmla="*/ 238 w 407"/>
                  <a:gd name="T43" fmla="*/ 663 h 795"/>
                  <a:gd name="T44" fmla="*/ 204 w 407"/>
                  <a:gd name="T45" fmla="*/ 670 h 795"/>
                  <a:gd name="T46" fmla="*/ 180 w 407"/>
                  <a:gd name="T47" fmla="*/ 703 h 795"/>
                  <a:gd name="T48" fmla="*/ 196 w 407"/>
                  <a:gd name="T49" fmla="*/ 734 h 795"/>
                  <a:gd name="T50" fmla="*/ 194 w 407"/>
                  <a:gd name="T51" fmla="*/ 789 h 795"/>
                  <a:gd name="T52" fmla="*/ 228 w 407"/>
                  <a:gd name="T53" fmla="*/ 783 h 795"/>
                  <a:gd name="T54" fmla="*/ 255 w 407"/>
                  <a:gd name="T55" fmla="*/ 752 h 795"/>
                  <a:gd name="T56" fmla="*/ 285 w 407"/>
                  <a:gd name="T57" fmla="*/ 735 h 795"/>
                  <a:gd name="T58" fmla="*/ 300 w 407"/>
                  <a:gd name="T59" fmla="*/ 693 h 795"/>
                  <a:gd name="T60" fmla="*/ 391 w 407"/>
                  <a:gd name="T61" fmla="*/ 639 h 795"/>
                  <a:gd name="T62" fmla="*/ 385 w 407"/>
                  <a:gd name="T63" fmla="*/ 539 h 795"/>
                  <a:gd name="T64" fmla="*/ 390 w 407"/>
                  <a:gd name="T65" fmla="*/ 485 h 795"/>
                  <a:gd name="T66" fmla="*/ 363 w 407"/>
                  <a:gd name="T67" fmla="*/ 418 h 795"/>
                  <a:gd name="T68" fmla="*/ 256 w 407"/>
                  <a:gd name="T69" fmla="*/ 332 h 795"/>
                  <a:gd name="T70" fmla="*/ 193 w 407"/>
                  <a:gd name="T71" fmla="*/ 235 h 795"/>
                  <a:gd name="T72" fmla="*/ 197 w 407"/>
                  <a:gd name="T73" fmla="*/ 160 h 795"/>
                  <a:gd name="T74" fmla="*/ 229 w 407"/>
                  <a:gd name="T75" fmla="*/ 129 h 795"/>
                  <a:gd name="T76" fmla="*/ 259 w 407"/>
                  <a:gd name="T77" fmla="*/ 100 h 795"/>
                  <a:gd name="T78" fmla="*/ 257 w 407"/>
                  <a:gd name="T79" fmla="*/ 92 h 795"/>
                  <a:gd name="T80" fmla="*/ 218 w 407"/>
                  <a:gd name="T81" fmla="*/ 75 h 795"/>
                  <a:gd name="T82" fmla="*/ 207 w 407"/>
                  <a:gd name="T83" fmla="*/ 61 h 795"/>
                  <a:gd name="T84" fmla="*/ 196 w 407"/>
                  <a:gd name="T85" fmla="*/ 47 h 795"/>
                  <a:gd name="T86" fmla="*/ 182 w 407"/>
                  <a:gd name="T87" fmla="*/ 25 h 795"/>
                  <a:gd name="T88" fmla="*/ 156 w 407"/>
                  <a:gd name="T89" fmla="*/ 22 h 795"/>
                  <a:gd name="T90" fmla="*/ 115 w 407"/>
                  <a:gd name="T91" fmla="*/ 9 h 795"/>
                  <a:gd name="T92" fmla="*/ 95 w 407"/>
                  <a:gd name="T93" fmla="*/ 36 h 795"/>
                  <a:gd name="T94" fmla="*/ 80 w 407"/>
                  <a:gd name="T95" fmla="*/ 29 h 795"/>
                  <a:gd name="T96" fmla="*/ 72 w 407"/>
                  <a:gd name="T97" fmla="*/ 42 h 795"/>
                  <a:gd name="T98" fmla="*/ 58 w 407"/>
                  <a:gd name="T99" fmla="*/ 30 h 795"/>
                  <a:gd name="T100" fmla="*/ 48 w 407"/>
                  <a:gd name="T101" fmla="*/ 31 h 795"/>
                  <a:gd name="T102" fmla="*/ 4 w 407"/>
                  <a:gd name="T103" fmla="*/ 3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7" h="795">
                    <a:moveTo>
                      <a:pt x="4" y="32"/>
                    </a:moveTo>
                    <a:cubicBezTo>
                      <a:pt x="0" y="40"/>
                      <a:pt x="0" y="55"/>
                      <a:pt x="6" y="62"/>
                    </a:cubicBezTo>
                    <a:cubicBezTo>
                      <a:pt x="12" y="69"/>
                      <a:pt x="28" y="87"/>
                      <a:pt x="28" y="87"/>
                    </a:cubicBezTo>
                    <a:cubicBezTo>
                      <a:pt x="28" y="87"/>
                      <a:pt x="33" y="80"/>
                      <a:pt x="37" y="84"/>
                    </a:cubicBezTo>
                    <a:cubicBezTo>
                      <a:pt x="41" y="88"/>
                      <a:pt x="28" y="97"/>
                      <a:pt x="38" y="110"/>
                    </a:cubicBezTo>
                    <a:cubicBezTo>
                      <a:pt x="48" y="123"/>
                      <a:pt x="61" y="137"/>
                      <a:pt x="61" y="137"/>
                    </a:cubicBezTo>
                    <a:cubicBezTo>
                      <a:pt x="70" y="137"/>
                      <a:pt x="70" y="137"/>
                      <a:pt x="70" y="137"/>
                    </a:cubicBezTo>
                    <a:cubicBezTo>
                      <a:pt x="70" y="137"/>
                      <a:pt x="75" y="153"/>
                      <a:pt x="82" y="145"/>
                    </a:cubicBezTo>
                    <a:cubicBezTo>
                      <a:pt x="89" y="137"/>
                      <a:pt x="86" y="125"/>
                      <a:pt x="94" y="126"/>
                    </a:cubicBezTo>
                    <a:cubicBezTo>
                      <a:pt x="102" y="127"/>
                      <a:pt x="124" y="145"/>
                      <a:pt x="124" y="145"/>
                    </a:cubicBezTo>
                    <a:cubicBezTo>
                      <a:pt x="124" y="145"/>
                      <a:pt x="104" y="151"/>
                      <a:pt x="122" y="159"/>
                    </a:cubicBezTo>
                    <a:cubicBezTo>
                      <a:pt x="140" y="167"/>
                      <a:pt x="159" y="169"/>
                      <a:pt x="153" y="179"/>
                    </a:cubicBezTo>
                    <a:cubicBezTo>
                      <a:pt x="147" y="189"/>
                      <a:pt x="128" y="203"/>
                      <a:pt x="128" y="203"/>
                    </a:cubicBezTo>
                    <a:cubicBezTo>
                      <a:pt x="128" y="203"/>
                      <a:pt x="99" y="195"/>
                      <a:pt x="101" y="199"/>
                    </a:cubicBezTo>
                    <a:cubicBezTo>
                      <a:pt x="103" y="203"/>
                      <a:pt x="103" y="215"/>
                      <a:pt x="103" y="215"/>
                    </a:cubicBezTo>
                    <a:cubicBezTo>
                      <a:pt x="103" y="215"/>
                      <a:pt x="136" y="235"/>
                      <a:pt x="142" y="240"/>
                    </a:cubicBezTo>
                    <a:cubicBezTo>
                      <a:pt x="148" y="245"/>
                      <a:pt x="166" y="250"/>
                      <a:pt x="166" y="250"/>
                    </a:cubicBezTo>
                    <a:cubicBezTo>
                      <a:pt x="166" y="250"/>
                      <a:pt x="165" y="267"/>
                      <a:pt x="169" y="271"/>
                    </a:cubicBezTo>
                    <a:cubicBezTo>
                      <a:pt x="173" y="275"/>
                      <a:pt x="195" y="283"/>
                      <a:pt x="195" y="283"/>
                    </a:cubicBezTo>
                    <a:cubicBezTo>
                      <a:pt x="195" y="283"/>
                      <a:pt x="192" y="303"/>
                      <a:pt x="205" y="314"/>
                    </a:cubicBezTo>
                    <a:cubicBezTo>
                      <a:pt x="218" y="325"/>
                      <a:pt x="229" y="336"/>
                      <a:pt x="229" y="336"/>
                    </a:cubicBezTo>
                    <a:cubicBezTo>
                      <a:pt x="230" y="347"/>
                      <a:pt x="230" y="347"/>
                      <a:pt x="230" y="347"/>
                    </a:cubicBezTo>
                    <a:cubicBezTo>
                      <a:pt x="244" y="346"/>
                      <a:pt x="244" y="346"/>
                      <a:pt x="244" y="346"/>
                    </a:cubicBezTo>
                    <a:cubicBezTo>
                      <a:pt x="244" y="346"/>
                      <a:pt x="247" y="363"/>
                      <a:pt x="254" y="370"/>
                    </a:cubicBezTo>
                    <a:cubicBezTo>
                      <a:pt x="261" y="377"/>
                      <a:pt x="271" y="378"/>
                      <a:pt x="271" y="378"/>
                    </a:cubicBezTo>
                    <a:cubicBezTo>
                      <a:pt x="271" y="378"/>
                      <a:pt x="295" y="392"/>
                      <a:pt x="287" y="397"/>
                    </a:cubicBezTo>
                    <a:cubicBezTo>
                      <a:pt x="279" y="402"/>
                      <a:pt x="265" y="405"/>
                      <a:pt x="279" y="416"/>
                    </a:cubicBezTo>
                    <a:cubicBezTo>
                      <a:pt x="293" y="427"/>
                      <a:pt x="312" y="436"/>
                      <a:pt x="312" y="436"/>
                    </a:cubicBezTo>
                    <a:cubicBezTo>
                      <a:pt x="301" y="457"/>
                      <a:pt x="301" y="457"/>
                      <a:pt x="301" y="457"/>
                    </a:cubicBezTo>
                    <a:cubicBezTo>
                      <a:pt x="301" y="457"/>
                      <a:pt x="314" y="462"/>
                      <a:pt x="310" y="470"/>
                    </a:cubicBezTo>
                    <a:cubicBezTo>
                      <a:pt x="306" y="478"/>
                      <a:pt x="300" y="477"/>
                      <a:pt x="300" y="477"/>
                    </a:cubicBezTo>
                    <a:cubicBezTo>
                      <a:pt x="300" y="505"/>
                      <a:pt x="300" y="505"/>
                      <a:pt x="300" y="505"/>
                    </a:cubicBezTo>
                    <a:cubicBezTo>
                      <a:pt x="300" y="505"/>
                      <a:pt x="321" y="516"/>
                      <a:pt x="321" y="529"/>
                    </a:cubicBezTo>
                    <a:cubicBezTo>
                      <a:pt x="321" y="542"/>
                      <a:pt x="305" y="542"/>
                      <a:pt x="306" y="545"/>
                    </a:cubicBezTo>
                    <a:cubicBezTo>
                      <a:pt x="307" y="548"/>
                      <a:pt x="317" y="584"/>
                      <a:pt x="317" y="584"/>
                    </a:cubicBezTo>
                    <a:cubicBezTo>
                      <a:pt x="314" y="598"/>
                      <a:pt x="314" y="598"/>
                      <a:pt x="314" y="598"/>
                    </a:cubicBezTo>
                    <a:cubicBezTo>
                      <a:pt x="314" y="598"/>
                      <a:pt x="302" y="593"/>
                      <a:pt x="297" y="596"/>
                    </a:cubicBezTo>
                    <a:cubicBezTo>
                      <a:pt x="292" y="599"/>
                      <a:pt x="291" y="610"/>
                      <a:pt x="291" y="610"/>
                    </a:cubicBezTo>
                    <a:cubicBezTo>
                      <a:pt x="270" y="611"/>
                      <a:pt x="270" y="611"/>
                      <a:pt x="270" y="611"/>
                    </a:cubicBezTo>
                    <a:cubicBezTo>
                      <a:pt x="273" y="625"/>
                      <a:pt x="273" y="625"/>
                      <a:pt x="273" y="625"/>
                    </a:cubicBezTo>
                    <a:cubicBezTo>
                      <a:pt x="273" y="625"/>
                      <a:pt x="246" y="621"/>
                      <a:pt x="244" y="627"/>
                    </a:cubicBezTo>
                    <a:cubicBezTo>
                      <a:pt x="242" y="633"/>
                      <a:pt x="242" y="651"/>
                      <a:pt x="252" y="659"/>
                    </a:cubicBezTo>
                    <a:cubicBezTo>
                      <a:pt x="262" y="667"/>
                      <a:pt x="269" y="677"/>
                      <a:pt x="262" y="678"/>
                    </a:cubicBezTo>
                    <a:cubicBezTo>
                      <a:pt x="255" y="679"/>
                      <a:pt x="248" y="663"/>
                      <a:pt x="238" y="663"/>
                    </a:cubicBezTo>
                    <a:cubicBezTo>
                      <a:pt x="228" y="663"/>
                      <a:pt x="226" y="670"/>
                      <a:pt x="222" y="670"/>
                    </a:cubicBezTo>
                    <a:cubicBezTo>
                      <a:pt x="218" y="670"/>
                      <a:pt x="204" y="670"/>
                      <a:pt x="204" y="670"/>
                    </a:cubicBezTo>
                    <a:cubicBezTo>
                      <a:pt x="204" y="670"/>
                      <a:pt x="228" y="684"/>
                      <a:pt x="208" y="686"/>
                    </a:cubicBezTo>
                    <a:cubicBezTo>
                      <a:pt x="188" y="688"/>
                      <a:pt x="174" y="695"/>
                      <a:pt x="180" y="703"/>
                    </a:cubicBezTo>
                    <a:cubicBezTo>
                      <a:pt x="186" y="711"/>
                      <a:pt x="209" y="723"/>
                      <a:pt x="209" y="723"/>
                    </a:cubicBezTo>
                    <a:cubicBezTo>
                      <a:pt x="196" y="734"/>
                      <a:pt x="196" y="734"/>
                      <a:pt x="196" y="734"/>
                    </a:cubicBezTo>
                    <a:cubicBezTo>
                      <a:pt x="196" y="734"/>
                      <a:pt x="210" y="769"/>
                      <a:pt x="203" y="775"/>
                    </a:cubicBezTo>
                    <a:cubicBezTo>
                      <a:pt x="199" y="778"/>
                      <a:pt x="196" y="784"/>
                      <a:pt x="194" y="789"/>
                    </a:cubicBezTo>
                    <a:cubicBezTo>
                      <a:pt x="195" y="789"/>
                      <a:pt x="195" y="789"/>
                      <a:pt x="195" y="789"/>
                    </a:cubicBezTo>
                    <a:cubicBezTo>
                      <a:pt x="204" y="795"/>
                      <a:pt x="218" y="795"/>
                      <a:pt x="228" y="783"/>
                    </a:cubicBezTo>
                    <a:cubicBezTo>
                      <a:pt x="239" y="772"/>
                      <a:pt x="252" y="768"/>
                      <a:pt x="252" y="768"/>
                    </a:cubicBezTo>
                    <a:cubicBezTo>
                      <a:pt x="255" y="752"/>
                      <a:pt x="255" y="752"/>
                      <a:pt x="255" y="752"/>
                    </a:cubicBezTo>
                    <a:cubicBezTo>
                      <a:pt x="255" y="736"/>
                      <a:pt x="255" y="736"/>
                      <a:pt x="255" y="736"/>
                    </a:cubicBezTo>
                    <a:cubicBezTo>
                      <a:pt x="255" y="736"/>
                      <a:pt x="280" y="747"/>
                      <a:pt x="285" y="735"/>
                    </a:cubicBezTo>
                    <a:cubicBezTo>
                      <a:pt x="289" y="723"/>
                      <a:pt x="269" y="711"/>
                      <a:pt x="273" y="708"/>
                    </a:cubicBezTo>
                    <a:cubicBezTo>
                      <a:pt x="277" y="704"/>
                      <a:pt x="300" y="693"/>
                      <a:pt x="300" y="693"/>
                    </a:cubicBezTo>
                    <a:cubicBezTo>
                      <a:pt x="300" y="693"/>
                      <a:pt x="311" y="702"/>
                      <a:pt x="334" y="690"/>
                    </a:cubicBezTo>
                    <a:cubicBezTo>
                      <a:pt x="356" y="679"/>
                      <a:pt x="387" y="656"/>
                      <a:pt x="391" y="639"/>
                    </a:cubicBezTo>
                    <a:cubicBezTo>
                      <a:pt x="394" y="622"/>
                      <a:pt x="407" y="577"/>
                      <a:pt x="405" y="567"/>
                    </a:cubicBezTo>
                    <a:cubicBezTo>
                      <a:pt x="403" y="557"/>
                      <a:pt x="385" y="539"/>
                      <a:pt x="385" y="539"/>
                    </a:cubicBezTo>
                    <a:cubicBezTo>
                      <a:pt x="395" y="535"/>
                      <a:pt x="395" y="535"/>
                      <a:pt x="395" y="535"/>
                    </a:cubicBezTo>
                    <a:cubicBezTo>
                      <a:pt x="395" y="535"/>
                      <a:pt x="395" y="498"/>
                      <a:pt x="390" y="485"/>
                    </a:cubicBezTo>
                    <a:cubicBezTo>
                      <a:pt x="384" y="471"/>
                      <a:pt x="368" y="448"/>
                      <a:pt x="368" y="448"/>
                    </a:cubicBezTo>
                    <a:cubicBezTo>
                      <a:pt x="368" y="448"/>
                      <a:pt x="379" y="434"/>
                      <a:pt x="363" y="418"/>
                    </a:cubicBezTo>
                    <a:cubicBezTo>
                      <a:pt x="347" y="403"/>
                      <a:pt x="302" y="361"/>
                      <a:pt x="288" y="354"/>
                    </a:cubicBezTo>
                    <a:cubicBezTo>
                      <a:pt x="274" y="348"/>
                      <a:pt x="259" y="340"/>
                      <a:pt x="256" y="332"/>
                    </a:cubicBezTo>
                    <a:cubicBezTo>
                      <a:pt x="252" y="325"/>
                      <a:pt x="260" y="319"/>
                      <a:pt x="254" y="309"/>
                    </a:cubicBezTo>
                    <a:cubicBezTo>
                      <a:pt x="248" y="299"/>
                      <a:pt x="200" y="258"/>
                      <a:pt x="193" y="235"/>
                    </a:cubicBezTo>
                    <a:cubicBezTo>
                      <a:pt x="187" y="211"/>
                      <a:pt x="182" y="185"/>
                      <a:pt x="188" y="180"/>
                    </a:cubicBezTo>
                    <a:cubicBezTo>
                      <a:pt x="195" y="176"/>
                      <a:pt x="197" y="160"/>
                      <a:pt x="197" y="160"/>
                    </a:cubicBezTo>
                    <a:cubicBezTo>
                      <a:pt x="197" y="160"/>
                      <a:pt x="215" y="147"/>
                      <a:pt x="220" y="143"/>
                    </a:cubicBezTo>
                    <a:cubicBezTo>
                      <a:pt x="226" y="140"/>
                      <a:pt x="229" y="129"/>
                      <a:pt x="229" y="129"/>
                    </a:cubicBezTo>
                    <a:cubicBezTo>
                      <a:pt x="229" y="129"/>
                      <a:pt x="248" y="132"/>
                      <a:pt x="254" y="127"/>
                    </a:cubicBezTo>
                    <a:cubicBezTo>
                      <a:pt x="259" y="122"/>
                      <a:pt x="259" y="100"/>
                      <a:pt x="259" y="100"/>
                    </a:cubicBezTo>
                    <a:cubicBezTo>
                      <a:pt x="266" y="95"/>
                      <a:pt x="266" y="95"/>
                      <a:pt x="266" y="95"/>
                    </a:cubicBezTo>
                    <a:cubicBezTo>
                      <a:pt x="264" y="94"/>
                      <a:pt x="261" y="92"/>
                      <a:pt x="257" y="92"/>
                    </a:cubicBezTo>
                    <a:cubicBezTo>
                      <a:pt x="249" y="91"/>
                      <a:pt x="236" y="94"/>
                      <a:pt x="229" y="87"/>
                    </a:cubicBezTo>
                    <a:cubicBezTo>
                      <a:pt x="222" y="80"/>
                      <a:pt x="218" y="75"/>
                      <a:pt x="218" y="75"/>
                    </a:cubicBezTo>
                    <a:cubicBezTo>
                      <a:pt x="207" y="74"/>
                      <a:pt x="207" y="74"/>
                      <a:pt x="207" y="74"/>
                    </a:cubicBezTo>
                    <a:cubicBezTo>
                      <a:pt x="207" y="61"/>
                      <a:pt x="207" y="61"/>
                      <a:pt x="207" y="61"/>
                    </a:cubicBezTo>
                    <a:cubicBezTo>
                      <a:pt x="200" y="57"/>
                      <a:pt x="200" y="57"/>
                      <a:pt x="200" y="57"/>
                    </a:cubicBezTo>
                    <a:cubicBezTo>
                      <a:pt x="196" y="47"/>
                      <a:pt x="196" y="47"/>
                      <a:pt x="196" y="47"/>
                    </a:cubicBezTo>
                    <a:cubicBezTo>
                      <a:pt x="196" y="47"/>
                      <a:pt x="212" y="40"/>
                      <a:pt x="207" y="32"/>
                    </a:cubicBezTo>
                    <a:cubicBezTo>
                      <a:pt x="202" y="24"/>
                      <a:pt x="182" y="25"/>
                      <a:pt x="182" y="25"/>
                    </a:cubicBezTo>
                    <a:cubicBezTo>
                      <a:pt x="177" y="17"/>
                      <a:pt x="177" y="17"/>
                      <a:pt x="177" y="17"/>
                    </a:cubicBezTo>
                    <a:cubicBezTo>
                      <a:pt x="156" y="22"/>
                      <a:pt x="156" y="22"/>
                      <a:pt x="156" y="22"/>
                    </a:cubicBezTo>
                    <a:cubicBezTo>
                      <a:pt x="134" y="0"/>
                      <a:pt x="134" y="0"/>
                      <a:pt x="134" y="0"/>
                    </a:cubicBezTo>
                    <a:cubicBezTo>
                      <a:pt x="134" y="0"/>
                      <a:pt x="119" y="4"/>
                      <a:pt x="115" y="9"/>
                    </a:cubicBezTo>
                    <a:cubicBezTo>
                      <a:pt x="111" y="14"/>
                      <a:pt x="117" y="28"/>
                      <a:pt x="110" y="30"/>
                    </a:cubicBezTo>
                    <a:cubicBezTo>
                      <a:pt x="103" y="32"/>
                      <a:pt x="95" y="36"/>
                      <a:pt x="95" y="36"/>
                    </a:cubicBezTo>
                    <a:cubicBezTo>
                      <a:pt x="91" y="29"/>
                      <a:pt x="91" y="29"/>
                      <a:pt x="91" y="29"/>
                    </a:cubicBezTo>
                    <a:cubicBezTo>
                      <a:pt x="80" y="29"/>
                      <a:pt x="80" y="29"/>
                      <a:pt x="80" y="29"/>
                    </a:cubicBezTo>
                    <a:cubicBezTo>
                      <a:pt x="80" y="29"/>
                      <a:pt x="97" y="45"/>
                      <a:pt x="84" y="46"/>
                    </a:cubicBezTo>
                    <a:cubicBezTo>
                      <a:pt x="71" y="47"/>
                      <a:pt x="72" y="42"/>
                      <a:pt x="72" y="42"/>
                    </a:cubicBezTo>
                    <a:cubicBezTo>
                      <a:pt x="63" y="29"/>
                      <a:pt x="63" y="29"/>
                      <a:pt x="63" y="29"/>
                    </a:cubicBezTo>
                    <a:cubicBezTo>
                      <a:pt x="58" y="30"/>
                      <a:pt x="58" y="30"/>
                      <a:pt x="58" y="30"/>
                    </a:cubicBezTo>
                    <a:cubicBezTo>
                      <a:pt x="59" y="43"/>
                      <a:pt x="59" y="43"/>
                      <a:pt x="59" y="43"/>
                    </a:cubicBezTo>
                    <a:cubicBezTo>
                      <a:pt x="48" y="31"/>
                      <a:pt x="48" y="31"/>
                      <a:pt x="48" y="31"/>
                    </a:cubicBezTo>
                    <a:cubicBezTo>
                      <a:pt x="48" y="31"/>
                      <a:pt x="39" y="47"/>
                      <a:pt x="33" y="47"/>
                    </a:cubicBezTo>
                    <a:cubicBezTo>
                      <a:pt x="27" y="47"/>
                      <a:pt x="8" y="24"/>
                      <a:pt x="4" y="32"/>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66" name="Vanuatu">
                <a:extLst>
                  <a:ext uri="{FF2B5EF4-FFF2-40B4-BE49-F238E27FC236}">
                    <a16:creationId xmlns:a16="http://schemas.microsoft.com/office/drawing/2014/main" id="{2803A1BD-0A24-4B19-9E50-E50E4350FD68}"/>
                  </a:ext>
                </a:extLst>
              </p:cNvPr>
              <p:cNvSpPr>
                <a:spLocks noEditPoints="1"/>
              </p:cNvSpPr>
              <p:nvPr/>
            </p:nvSpPr>
            <p:spPr bwMode="gray">
              <a:xfrm>
                <a:off x="9766644" y="4281897"/>
                <a:ext cx="138136" cy="131702"/>
              </a:xfrm>
              <a:custGeom>
                <a:avLst/>
                <a:gdLst>
                  <a:gd name="T0" fmla="*/ 21 w 247"/>
                  <a:gd name="T1" fmla="*/ 14 h 235"/>
                  <a:gd name="T2" fmla="*/ 9 w 247"/>
                  <a:gd name="T3" fmla="*/ 0 h 235"/>
                  <a:gd name="T4" fmla="*/ 2 w 247"/>
                  <a:gd name="T5" fmla="*/ 16 h 235"/>
                  <a:gd name="T6" fmla="*/ 15 w 247"/>
                  <a:gd name="T7" fmla="*/ 32 h 235"/>
                  <a:gd name="T8" fmla="*/ 21 w 247"/>
                  <a:gd name="T9" fmla="*/ 14 h 235"/>
                  <a:gd name="T10" fmla="*/ 0 w 247"/>
                  <a:gd name="T11" fmla="*/ 84 h 235"/>
                  <a:gd name="T12" fmla="*/ 13 w 247"/>
                  <a:gd name="T13" fmla="*/ 89 h 235"/>
                  <a:gd name="T14" fmla="*/ 22 w 247"/>
                  <a:gd name="T15" fmla="*/ 67 h 235"/>
                  <a:gd name="T16" fmla="*/ 0 w 247"/>
                  <a:gd name="T17" fmla="*/ 70 h 235"/>
                  <a:gd name="T18" fmla="*/ 0 w 247"/>
                  <a:gd name="T19" fmla="*/ 84 h 235"/>
                  <a:gd name="T20" fmla="*/ 51 w 247"/>
                  <a:gd name="T21" fmla="*/ 81 h 235"/>
                  <a:gd name="T22" fmla="*/ 25 w 247"/>
                  <a:gd name="T23" fmla="*/ 81 h 235"/>
                  <a:gd name="T24" fmla="*/ 26 w 247"/>
                  <a:gd name="T25" fmla="*/ 97 h 235"/>
                  <a:gd name="T26" fmla="*/ 53 w 247"/>
                  <a:gd name="T27" fmla="*/ 91 h 235"/>
                  <a:gd name="T28" fmla="*/ 51 w 247"/>
                  <a:gd name="T29" fmla="*/ 81 h 235"/>
                  <a:gd name="T30" fmla="*/ 39 w 247"/>
                  <a:gd name="T31" fmla="*/ 126 h 235"/>
                  <a:gd name="T32" fmla="*/ 64 w 247"/>
                  <a:gd name="T33" fmla="*/ 123 h 235"/>
                  <a:gd name="T34" fmla="*/ 32 w 247"/>
                  <a:gd name="T35" fmla="*/ 103 h 235"/>
                  <a:gd name="T36" fmla="*/ 39 w 247"/>
                  <a:gd name="T37" fmla="*/ 126 h 235"/>
                  <a:gd name="T38" fmla="*/ 163 w 247"/>
                  <a:gd name="T39" fmla="*/ 149 h 235"/>
                  <a:gd name="T40" fmla="*/ 128 w 247"/>
                  <a:gd name="T41" fmla="*/ 142 h 235"/>
                  <a:gd name="T42" fmla="*/ 142 w 247"/>
                  <a:gd name="T43" fmla="*/ 169 h 235"/>
                  <a:gd name="T44" fmla="*/ 183 w 247"/>
                  <a:gd name="T45" fmla="*/ 172 h 235"/>
                  <a:gd name="T46" fmla="*/ 163 w 247"/>
                  <a:gd name="T47" fmla="*/ 149 h 235"/>
                  <a:gd name="T48" fmla="*/ 205 w 247"/>
                  <a:gd name="T49" fmla="*/ 193 h 235"/>
                  <a:gd name="T50" fmla="*/ 238 w 247"/>
                  <a:gd name="T51" fmla="*/ 235 h 235"/>
                  <a:gd name="T52" fmla="*/ 247 w 247"/>
                  <a:gd name="T53" fmla="*/ 215 h 235"/>
                  <a:gd name="T54" fmla="*/ 205 w 247"/>
                  <a:gd name="T55" fmla="*/ 193 h 235"/>
                  <a:gd name="T56" fmla="*/ 189 w 247"/>
                  <a:gd name="T57" fmla="*/ 84 h 235"/>
                  <a:gd name="T58" fmla="*/ 184 w 247"/>
                  <a:gd name="T59" fmla="*/ 130 h 235"/>
                  <a:gd name="T60" fmla="*/ 218 w 247"/>
                  <a:gd name="T61" fmla="*/ 160 h 235"/>
                  <a:gd name="T62" fmla="*/ 189 w 247"/>
                  <a:gd name="T63" fmla="*/ 84 h 235"/>
                  <a:gd name="T64" fmla="*/ 81 w 247"/>
                  <a:gd name="T65" fmla="*/ 41 h 235"/>
                  <a:gd name="T66" fmla="*/ 138 w 247"/>
                  <a:gd name="T67" fmla="*/ 102 h 235"/>
                  <a:gd name="T68" fmla="*/ 81 w 247"/>
                  <a:gd name="T69"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7" h="235">
                    <a:moveTo>
                      <a:pt x="21" y="14"/>
                    </a:moveTo>
                    <a:cubicBezTo>
                      <a:pt x="9" y="0"/>
                      <a:pt x="9" y="0"/>
                      <a:pt x="9" y="0"/>
                    </a:cubicBezTo>
                    <a:cubicBezTo>
                      <a:pt x="2" y="16"/>
                      <a:pt x="2" y="16"/>
                      <a:pt x="2" y="16"/>
                    </a:cubicBezTo>
                    <a:cubicBezTo>
                      <a:pt x="15" y="32"/>
                      <a:pt x="15" y="32"/>
                      <a:pt x="15" y="32"/>
                    </a:cubicBezTo>
                    <a:lnTo>
                      <a:pt x="21" y="14"/>
                    </a:lnTo>
                    <a:close/>
                    <a:moveTo>
                      <a:pt x="0" y="84"/>
                    </a:moveTo>
                    <a:cubicBezTo>
                      <a:pt x="13" y="89"/>
                      <a:pt x="13" y="89"/>
                      <a:pt x="13" y="89"/>
                    </a:cubicBezTo>
                    <a:cubicBezTo>
                      <a:pt x="22" y="67"/>
                      <a:pt x="22" y="67"/>
                      <a:pt x="22" y="67"/>
                    </a:cubicBezTo>
                    <a:cubicBezTo>
                      <a:pt x="0" y="70"/>
                      <a:pt x="0" y="70"/>
                      <a:pt x="0" y="70"/>
                    </a:cubicBezTo>
                    <a:lnTo>
                      <a:pt x="0" y="84"/>
                    </a:lnTo>
                    <a:close/>
                    <a:moveTo>
                      <a:pt x="51" y="81"/>
                    </a:moveTo>
                    <a:cubicBezTo>
                      <a:pt x="25" y="81"/>
                      <a:pt x="25" y="81"/>
                      <a:pt x="25" y="81"/>
                    </a:cubicBezTo>
                    <a:cubicBezTo>
                      <a:pt x="26" y="97"/>
                      <a:pt x="26" y="97"/>
                      <a:pt x="26" y="97"/>
                    </a:cubicBezTo>
                    <a:cubicBezTo>
                      <a:pt x="53" y="91"/>
                      <a:pt x="53" y="91"/>
                      <a:pt x="53" y="91"/>
                    </a:cubicBezTo>
                    <a:lnTo>
                      <a:pt x="51" y="81"/>
                    </a:lnTo>
                    <a:close/>
                    <a:moveTo>
                      <a:pt x="39" y="126"/>
                    </a:moveTo>
                    <a:cubicBezTo>
                      <a:pt x="64" y="123"/>
                      <a:pt x="64" y="123"/>
                      <a:pt x="64" y="123"/>
                    </a:cubicBezTo>
                    <a:cubicBezTo>
                      <a:pt x="32" y="103"/>
                      <a:pt x="32" y="103"/>
                      <a:pt x="32" y="103"/>
                    </a:cubicBezTo>
                    <a:lnTo>
                      <a:pt x="39" y="126"/>
                    </a:lnTo>
                    <a:close/>
                    <a:moveTo>
                      <a:pt x="163" y="149"/>
                    </a:moveTo>
                    <a:cubicBezTo>
                      <a:pt x="145" y="139"/>
                      <a:pt x="128" y="142"/>
                      <a:pt x="128" y="142"/>
                    </a:cubicBezTo>
                    <a:cubicBezTo>
                      <a:pt x="128" y="142"/>
                      <a:pt x="124" y="161"/>
                      <a:pt x="142" y="169"/>
                    </a:cubicBezTo>
                    <a:cubicBezTo>
                      <a:pt x="168" y="180"/>
                      <a:pt x="183" y="172"/>
                      <a:pt x="183" y="172"/>
                    </a:cubicBezTo>
                    <a:cubicBezTo>
                      <a:pt x="183" y="172"/>
                      <a:pt x="182" y="160"/>
                      <a:pt x="163" y="149"/>
                    </a:cubicBezTo>
                    <a:close/>
                    <a:moveTo>
                      <a:pt x="205" y="193"/>
                    </a:moveTo>
                    <a:cubicBezTo>
                      <a:pt x="238" y="235"/>
                      <a:pt x="238" y="235"/>
                      <a:pt x="238" y="235"/>
                    </a:cubicBezTo>
                    <a:cubicBezTo>
                      <a:pt x="247" y="215"/>
                      <a:pt x="247" y="215"/>
                      <a:pt x="247" y="215"/>
                    </a:cubicBezTo>
                    <a:lnTo>
                      <a:pt x="205" y="193"/>
                    </a:lnTo>
                    <a:close/>
                    <a:moveTo>
                      <a:pt x="189" y="84"/>
                    </a:moveTo>
                    <a:cubicBezTo>
                      <a:pt x="189" y="84"/>
                      <a:pt x="178" y="119"/>
                      <a:pt x="184" y="130"/>
                    </a:cubicBezTo>
                    <a:cubicBezTo>
                      <a:pt x="191" y="140"/>
                      <a:pt x="218" y="160"/>
                      <a:pt x="218" y="160"/>
                    </a:cubicBezTo>
                    <a:lnTo>
                      <a:pt x="189" y="84"/>
                    </a:lnTo>
                    <a:close/>
                    <a:moveTo>
                      <a:pt x="81" y="41"/>
                    </a:moveTo>
                    <a:cubicBezTo>
                      <a:pt x="75" y="51"/>
                      <a:pt x="130" y="104"/>
                      <a:pt x="138" y="102"/>
                    </a:cubicBezTo>
                    <a:cubicBezTo>
                      <a:pt x="154" y="100"/>
                      <a:pt x="86" y="30"/>
                      <a:pt x="81" y="4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67" name="Uzbekistan">
                <a:extLst>
                  <a:ext uri="{FF2B5EF4-FFF2-40B4-BE49-F238E27FC236}">
                    <a16:creationId xmlns:a16="http://schemas.microsoft.com/office/drawing/2014/main" id="{167A8F11-961F-4DEB-AFBF-47CA96D8ECA1}"/>
                  </a:ext>
                </a:extLst>
              </p:cNvPr>
              <p:cNvSpPr>
                <a:spLocks/>
              </p:cNvSpPr>
              <p:nvPr/>
            </p:nvSpPr>
            <p:spPr bwMode="gray">
              <a:xfrm>
                <a:off x="6975334" y="2715761"/>
                <a:ext cx="446164" cy="250709"/>
              </a:xfrm>
              <a:custGeom>
                <a:avLst/>
                <a:gdLst>
                  <a:gd name="T0" fmla="*/ 764 w 798"/>
                  <a:gd name="T1" fmla="*/ 243 h 447"/>
                  <a:gd name="T2" fmla="*/ 745 w 798"/>
                  <a:gd name="T3" fmla="*/ 230 h 447"/>
                  <a:gd name="T4" fmla="*/ 721 w 798"/>
                  <a:gd name="T5" fmla="*/ 212 h 447"/>
                  <a:gd name="T6" fmla="*/ 712 w 798"/>
                  <a:gd name="T7" fmla="*/ 222 h 447"/>
                  <a:gd name="T8" fmla="*/ 689 w 798"/>
                  <a:gd name="T9" fmla="*/ 229 h 447"/>
                  <a:gd name="T10" fmla="*/ 660 w 798"/>
                  <a:gd name="T11" fmla="*/ 212 h 447"/>
                  <a:gd name="T12" fmla="*/ 690 w 798"/>
                  <a:gd name="T13" fmla="*/ 175 h 447"/>
                  <a:gd name="T14" fmla="*/ 653 w 798"/>
                  <a:gd name="T15" fmla="*/ 185 h 447"/>
                  <a:gd name="T16" fmla="*/ 623 w 798"/>
                  <a:gd name="T17" fmla="*/ 208 h 447"/>
                  <a:gd name="T18" fmla="*/ 596 w 798"/>
                  <a:gd name="T19" fmla="*/ 236 h 447"/>
                  <a:gd name="T20" fmla="*/ 573 w 798"/>
                  <a:gd name="T21" fmla="*/ 259 h 447"/>
                  <a:gd name="T22" fmla="*/ 509 w 798"/>
                  <a:gd name="T23" fmla="*/ 228 h 447"/>
                  <a:gd name="T24" fmla="*/ 469 w 798"/>
                  <a:gd name="T25" fmla="*/ 188 h 447"/>
                  <a:gd name="T26" fmla="*/ 441 w 798"/>
                  <a:gd name="T27" fmla="*/ 136 h 447"/>
                  <a:gd name="T28" fmla="*/ 379 w 798"/>
                  <a:gd name="T29" fmla="*/ 105 h 447"/>
                  <a:gd name="T30" fmla="*/ 272 w 798"/>
                  <a:gd name="T31" fmla="*/ 108 h 447"/>
                  <a:gd name="T32" fmla="*/ 177 w 798"/>
                  <a:gd name="T33" fmla="*/ 38 h 447"/>
                  <a:gd name="T34" fmla="*/ 174 w 798"/>
                  <a:gd name="T35" fmla="*/ 75 h 447"/>
                  <a:gd name="T36" fmla="*/ 149 w 798"/>
                  <a:gd name="T37" fmla="*/ 55 h 447"/>
                  <a:gd name="T38" fmla="*/ 145 w 798"/>
                  <a:gd name="T39" fmla="*/ 23 h 447"/>
                  <a:gd name="T40" fmla="*/ 106 w 798"/>
                  <a:gd name="T41" fmla="*/ 20 h 447"/>
                  <a:gd name="T42" fmla="*/ 116 w 798"/>
                  <a:gd name="T43" fmla="*/ 45 h 447"/>
                  <a:gd name="T44" fmla="*/ 92 w 798"/>
                  <a:gd name="T45" fmla="*/ 37 h 447"/>
                  <a:gd name="T46" fmla="*/ 103 w 798"/>
                  <a:gd name="T47" fmla="*/ 3 h 447"/>
                  <a:gd name="T48" fmla="*/ 0 w 798"/>
                  <a:gd name="T49" fmla="*/ 31 h 447"/>
                  <a:gd name="T50" fmla="*/ 37 w 798"/>
                  <a:gd name="T51" fmla="*/ 217 h 447"/>
                  <a:gd name="T52" fmla="*/ 92 w 798"/>
                  <a:gd name="T53" fmla="*/ 224 h 447"/>
                  <a:gd name="T54" fmla="*/ 112 w 798"/>
                  <a:gd name="T55" fmla="*/ 175 h 447"/>
                  <a:gd name="T56" fmla="*/ 139 w 798"/>
                  <a:gd name="T57" fmla="*/ 169 h 447"/>
                  <a:gd name="T58" fmla="*/ 139 w 798"/>
                  <a:gd name="T59" fmla="*/ 152 h 447"/>
                  <a:gd name="T60" fmla="*/ 155 w 798"/>
                  <a:gd name="T61" fmla="*/ 161 h 447"/>
                  <a:gd name="T62" fmla="*/ 169 w 798"/>
                  <a:gd name="T63" fmla="*/ 168 h 447"/>
                  <a:gd name="T64" fmla="*/ 201 w 798"/>
                  <a:gd name="T65" fmla="*/ 173 h 447"/>
                  <a:gd name="T66" fmla="*/ 219 w 798"/>
                  <a:gd name="T67" fmla="*/ 197 h 447"/>
                  <a:gd name="T68" fmla="*/ 243 w 798"/>
                  <a:gd name="T69" fmla="*/ 227 h 447"/>
                  <a:gd name="T70" fmla="*/ 279 w 798"/>
                  <a:gd name="T71" fmla="*/ 225 h 447"/>
                  <a:gd name="T72" fmla="*/ 312 w 798"/>
                  <a:gd name="T73" fmla="*/ 256 h 447"/>
                  <a:gd name="T74" fmla="*/ 336 w 798"/>
                  <a:gd name="T75" fmla="*/ 293 h 447"/>
                  <a:gd name="T76" fmla="*/ 381 w 798"/>
                  <a:gd name="T77" fmla="*/ 319 h 447"/>
                  <a:gd name="T78" fmla="*/ 417 w 798"/>
                  <a:gd name="T79" fmla="*/ 348 h 447"/>
                  <a:gd name="T80" fmla="*/ 444 w 798"/>
                  <a:gd name="T81" fmla="*/ 357 h 447"/>
                  <a:gd name="T82" fmla="*/ 476 w 798"/>
                  <a:gd name="T83" fmla="*/ 376 h 447"/>
                  <a:gd name="T84" fmla="*/ 516 w 798"/>
                  <a:gd name="T85" fmla="*/ 387 h 447"/>
                  <a:gd name="T86" fmla="*/ 548 w 798"/>
                  <a:gd name="T87" fmla="*/ 425 h 447"/>
                  <a:gd name="T88" fmla="*/ 563 w 798"/>
                  <a:gd name="T89" fmla="*/ 437 h 447"/>
                  <a:gd name="T90" fmla="*/ 580 w 798"/>
                  <a:gd name="T91" fmla="*/ 445 h 447"/>
                  <a:gd name="T92" fmla="*/ 596 w 798"/>
                  <a:gd name="T93" fmla="*/ 440 h 447"/>
                  <a:gd name="T94" fmla="*/ 603 w 798"/>
                  <a:gd name="T95" fmla="*/ 445 h 447"/>
                  <a:gd name="T96" fmla="*/ 622 w 798"/>
                  <a:gd name="T97" fmla="*/ 397 h 447"/>
                  <a:gd name="T98" fmla="*/ 603 w 798"/>
                  <a:gd name="T99" fmla="*/ 353 h 447"/>
                  <a:gd name="T100" fmla="*/ 575 w 798"/>
                  <a:gd name="T101" fmla="*/ 339 h 447"/>
                  <a:gd name="T102" fmla="*/ 567 w 798"/>
                  <a:gd name="T103" fmla="*/ 321 h 447"/>
                  <a:gd name="T104" fmla="*/ 610 w 798"/>
                  <a:gd name="T105" fmla="*/ 305 h 447"/>
                  <a:gd name="T106" fmla="*/ 607 w 798"/>
                  <a:gd name="T107" fmla="*/ 282 h 447"/>
                  <a:gd name="T108" fmla="*/ 626 w 798"/>
                  <a:gd name="T109" fmla="*/ 264 h 447"/>
                  <a:gd name="T110" fmla="*/ 652 w 798"/>
                  <a:gd name="T111" fmla="*/ 260 h 447"/>
                  <a:gd name="T112" fmla="*/ 694 w 798"/>
                  <a:gd name="T113" fmla="*/ 251 h 447"/>
                  <a:gd name="T114" fmla="*/ 701 w 798"/>
                  <a:gd name="T115" fmla="*/ 283 h 447"/>
                  <a:gd name="T116" fmla="*/ 741 w 798"/>
                  <a:gd name="T117" fmla="*/ 286 h 447"/>
                  <a:gd name="T118" fmla="*/ 766 w 798"/>
                  <a:gd name="T119" fmla="*/ 271 h 447"/>
                  <a:gd name="T120" fmla="*/ 788 w 798"/>
                  <a:gd name="T121" fmla="*/ 254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8" h="447">
                    <a:moveTo>
                      <a:pt x="769" y="248"/>
                    </a:moveTo>
                    <a:cubicBezTo>
                      <a:pt x="764" y="243"/>
                      <a:pt x="764" y="243"/>
                      <a:pt x="764" y="243"/>
                    </a:cubicBezTo>
                    <a:cubicBezTo>
                      <a:pt x="751" y="241"/>
                      <a:pt x="751" y="241"/>
                      <a:pt x="751" y="241"/>
                    </a:cubicBezTo>
                    <a:cubicBezTo>
                      <a:pt x="745" y="230"/>
                      <a:pt x="745" y="230"/>
                      <a:pt x="745" y="230"/>
                    </a:cubicBezTo>
                    <a:cubicBezTo>
                      <a:pt x="732" y="230"/>
                      <a:pt x="732" y="230"/>
                      <a:pt x="732" y="230"/>
                    </a:cubicBezTo>
                    <a:cubicBezTo>
                      <a:pt x="721" y="212"/>
                      <a:pt x="721" y="212"/>
                      <a:pt x="721" y="212"/>
                    </a:cubicBezTo>
                    <a:cubicBezTo>
                      <a:pt x="721" y="222"/>
                      <a:pt x="721" y="222"/>
                      <a:pt x="721" y="222"/>
                    </a:cubicBezTo>
                    <a:cubicBezTo>
                      <a:pt x="712" y="222"/>
                      <a:pt x="712" y="222"/>
                      <a:pt x="712" y="222"/>
                    </a:cubicBezTo>
                    <a:cubicBezTo>
                      <a:pt x="713" y="231"/>
                      <a:pt x="713" y="231"/>
                      <a:pt x="713" y="231"/>
                    </a:cubicBezTo>
                    <a:cubicBezTo>
                      <a:pt x="713" y="231"/>
                      <a:pt x="694" y="233"/>
                      <a:pt x="689" y="229"/>
                    </a:cubicBezTo>
                    <a:cubicBezTo>
                      <a:pt x="684" y="225"/>
                      <a:pt x="683" y="220"/>
                      <a:pt x="683" y="220"/>
                    </a:cubicBezTo>
                    <a:cubicBezTo>
                      <a:pt x="660" y="212"/>
                      <a:pt x="660" y="212"/>
                      <a:pt x="660" y="212"/>
                    </a:cubicBezTo>
                    <a:cubicBezTo>
                      <a:pt x="660" y="212"/>
                      <a:pt x="696" y="183"/>
                      <a:pt x="694" y="178"/>
                    </a:cubicBezTo>
                    <a:cubicBezTo>
                      <a:pt x="693" y="177"/>
                      <a:pt x="692" y="176"/>
                      <a:pt x="690" y="175"/>
                    </a:cubicBezTo>
                    <a:cubicBezTo>
                      <a:pt x="671" y="184"/>
                      <a:pt x="671" y="184"/>
                      <a:pt x="671" y="184"/>
                    </a:cubicBezTo>
                    <a:cubicBezTo>
                      <a:pt x="653" y="185"/>
                      <a:pt x="653" y="185"/>
                      <a:pt x="653" y="185"/>
                    </a:cubicBezTo>
                    <a:cubicBezTo>
                      <a:pt x="645" y="203"/>
                      <a:pt x="645" y="203"/>
                      <a:pt x="645" y="203"/>
                    </a:cubicBezTo>
                    <a:cubicBezTo>
                      <a:pt x="645" y="203"/>
                      <a:pt x="633" y="205"/>
                      <a:pt x="623" y="208"/>
                    </a:cubicBezTo>
                    <a:cubicBezTo>
                      <a:pt x="612" y="211"/>
                      <a:pt x="613" y="229"/>
                      <a:pt x="613" y="229"/>
                    </a:cubicBezTo>
                    <a:cubicBezTo>
                      <a:pt x="613" y="229"/>
                      <a:pt x="605" y="229"/>
                      <a:pt x="596" y="236"/>
                    </a:cubicBezTo>
                    <a:cubicBezTo>
                      <a:pt x="587" y="243"/>
                      <a:pt x="595" y="267"/>
                      <a:pt x="595" y="267"/>
                    </a:cubicBezTo>
                    <a:cubicBezTo>
                      <a:pt x="595" y="267"/>
                      <a:pt x="584" y="261"/>
                      <a:pt x="573" y="259"/>
                    </a:cubicBezTo>
                    <a:cubicBezTo>
                      <a:pt x="563" y="256"/>
                      <a:pt x="580" y="243"/>
                      <a:pt x="573" y="233"/>
                    </a:cubicBezTo>
                    <a:cubicBezTo>
                      <a:pt x="567" y="224"/>
                      <a:pt x="520" y="233"/>
                      <a:pt x="509" y="228"/>
                    </a:cubicBezTo>
                    <a:cubicBezTo>
                      <a:pt x="499" y="223"/>
                      <a:pt x="497" y="199"/>
                      <a:pt x="488" y="188"/>
                    </a:cubicBezTo>
                    <a:cubicBezTo>
                      <a:pt x="479" y="177"/>
                      <a:pt x="479" y="191"/>
                      <a:pt x="469" y="188"/>
                    </a:cubicBezTo>
                    <a:cubicBezTo>
                      <a:pt x="460" y="185"/>
                      <a:pt x="467" y="137"/>
                      <a:pt x="461" y="136"/>
                    </a:cubicBezTo>
                    <a:cubicBezTo>
                      <a:pt x="456" y="135"/>
                      <a:pt x="441" y="136"/>
                      <a:pt x="441" y="136"/>
                    </a:cubicBezTo>
                    <a:cubicBezTo>
                      <a:pt x="441" y="136"/>
                      <a:pt x="411" y="93"/>
                      <a:pt x="404" y="93"/>
                    </a:cubicBezTo>
                    <a:cubicBezTo>
                      <a:pt x="397" y="93"/>
                      <a:pt x="379" y="105"/>
                      <a:pt x="379" y="105"/>
                    </a:cubicBezTo>
                    <a:cubicBezTo>
                      <a:pt x="379" y="105"/>
                      <a:pt x="341" y="101"/>
                      <a:pt x="325" y="101"/>
                    </a:cubicBezTo>
                    <a:cubicBezTo>
                      <a:pt x="309" y="101"/>
                      <a:pt x="272" y="108"/>
                      <a:pt x="272" y="108"/>
                    </a:cubicBezTo>
                    <a:cubicBezTo>
                      <a:pt x="223" y="60"/>
                      <a:pt x="223" y="60"/>
                      <a:pt x="223" y="60"/>
                    </a:cubicBezTo>
                    <a:cubicBezTo>
                      <a:pt x="177" y="38"/>
                      <a:pt x="177" y="38"/>
                      <a:pt x="177" y="38"/>
                    </a:cubicBezTo>
                    <a:cubicBezTo>
                      <a:pt x="181" y="47"/>
                      <a:pt x="186" y="56"/>
                      <a:pt x="183" y="61"/>
                    </a:cubicBezTo>
                    <a:cubicBezTo>
                      <a:pt x="178" y="70"/>
                      <a:pt x="174" y="75"/>
                      <a:pt x="174" y="75"/>
                    </a:cubicBezTo>
                    <a:cubicBezTo>
                      <a:pt x="174" y="75"/>
                      <a:pt x="162" y="76"/>
                      <a:pt x="154" y="70"/>
                    </a:cubicBezTo>
                    <a:cubicBezTo>
                      <a:pt x="146" y="64"/>
                      <a:pt x="149" y="55"/>
                      <a:pt x="149" y="55"/>
                    </a:cubicBezTo>
                    <a:cubicBezTo>
                      <a:pt x="142" y="36"/>
                      <a:pt x="142" y="36"/>
                      <a:pt x="142" y="36"/>
                    </a:cubicBezTo>
                    <a:cubicBezTo>
                      <a:pt x="145" y="23"/>
                      <a:pt x="145" y="23"/>
                      <a:pt x="145" y="23"/>
                    </a:cubicBezTo>
                    <a:cubicBezTo>
                      <a:pt x="112" y="7"/>
                      <a:pt x="112" y="7"/>
                      <a:pt x="112" y="7"/>
                    </a:cubicBezTo>
                    <a:cubicBezTo>
                      <a:pt x="106" y="20"/>
                      <a:pt x="106" y="20"/>
                      <a:pt x="106" y="20"/>
                    </a:cubicBezTo>
                    <a:cubicBezTo>
                      <a:pt x="106" y="20"/>
                      <a:pt x="119" y="28"/>
                      <a:pt x="119" y="37"/>
                    </a:cubicBezTo>
                    <a:cubicBezTo>
                      <a:pt x="119" y="46"/>
                      <a:pt x="116" y="45"/>
                      <a:pt x="116" y="45"/>
                    </a:cubicBezTo>
                    <a:cubicBezTo>
                      <a:pt x="116" y="45"/>
                      <a:pt x="117" y="55"/>
                      <a:pt x="106" y="57"/>
                    </a:cubicBezTo>
                    <a:cubicBezTo>
                      <a:pt x="95" y="59"/>
                      <a:pt x="98" y="39"/>
                      <a:pt x="92" y="37"/>
                    </a:cubicBezTo>
                    <a:cubicBezTo>
                      <a:pt x="86" y="35"/>
                      <a:pt x="99" y="21"/>
                      <a:pt x="99" y="21"/>
                    </a:cubicBezTo>
                    <a:cubicBezTo>
                      <a:pt x="103" y="3"/>
                      <a:pt x="103" y="3"/>
                      <a:pt x="103" y="3"/>
                    </a:cubicBezTo>
                    <a:cubicBezTo>
                      <a:pt x="96" y="0"/>
                      <a:pt x="96" y="0"/>
                      <a:pt x="96" y="0"/>
                    </a:cubicBezTo>
                    <a:cubicBezTo>
                      <a:pt x="0" y="31"/>
                      <a:pt x="0" y="31"/>
                      <a:pt x="0" y="31"/>
                    </a:cubicBezTo>
                    <a:cubicBezTo>
                      <a:pt x="35" y="218"/>
                      <a:pt x="35" y="218"/>
                      <a:pt x="35" y="218"/>
                    </a:cubicBezTo>
                    <a:cubicBezTo>
                      <a:pt x="36" y="218"/>
                      <a:pt x="36" y="217"/>
                      <a:pt x="37" y="217"/>
                    </a:cubicBezTo>
                    <a:cubicBezTo>
                      <a:pt x="44" y="217"/>
                      <a:pt x="48" y="224"/>
                      <a:pt x="48" y="224"/>
                    </a:cubicBezTo>
                    <a:cubicBezTo>
                      <a:pt x="92" y="224"/>
                      <a:pt x="92" y="224"/>
                      <a:pt x="92" y="224"/>
                    </a:cubicBezTo>
                    <a:cubicBezTo>
                      <a:pt x="92" y="224"/>
                      <a:pt x="77" y="208"/>
                      <a:pt x="79" y="195"/>
                    </a:cubicBezTo>
                    <a:cubicBezTo>
                      <a:pt x="80" y="181"/>
                      <a:pt x="112" y="175"/>
                      <a:pt x="112" y="175"/>
                    </a:cubicBezTo>
                    <a:cubicBezTo>
                      <a:pt x="112" y="175"/>
                      <a:pt x="112" y="164"/>
                      <a:pt x="116" y="163"/>
                    </a:cubicBezTo>
                    <a:cubicBezTo>
                      <a:pt x="120" y="161"/>
                      <a:pt x="139" y="169"/>
                      <a:pt x="139" y="169"/>
                    </a:cubicBezTo>
                    <a:cubicBezTo>
                      <a:pt x="119" y="151"/>
                      <a:pt x="119" y="151"/>
                      <a:pt x="119" y="151"/>
                    </a:cubicBezTo>
                    <a:cubicBezTo>
                      <a:pt x="139" y="152"/>
                      <a:pt x="139" y="152"/>
                      <a:pt x="139" y="152"/>
                    </a:cubicBezTo>
                    <a:cubicBezTo>
                      <a:pt x="143" y="145"/>
                      <a:pt x="143" y="145"/>
                      <a:pt x="143" y="145"/>
                    </a:cubicBezTo>
                    <a:cubicBezTo>
                      <a:pt x="155" y="161"/>
                      <a:pt x="155" y="161"/>
                      <a:pt x="155" y="161"/>
                    </a:cubicBezTo>
                    <a:cubicBezTo>
                      <a:pt x="171" y="160"/>
                      <a:pt x="171" y="160"/>
                      <a:pt x="171" y="160"/>
                    </a:cubicBezTo>
                    <a:cubicBezTo>
                      <a:pt x="169" y="168"/>
                      <a:pt x="169" y="168"/>
                      <a:pt x="169" y="168"/>
                    </a:cubicBezTo>
                    <a:cubicBezTo>
                      <a:pt x="179" y="172"/>
                      <a:pt x="179" y="172"/>
                      <a:pt x="179" y="172"/>
                    </a:cubicBezTo>
                    <a:cubicBezTo>
                      <a:pt x="179" y="172"/>
                      <a:pt x="192" y="169"/>
                      <a:pt x="201" y="173"/>
                    </a:cubicBezTo>
                    <a:cubicBezTo>
                      <a:pt x="211" y="177"/>
                      <a:pt x="209" y="192"/>
                      <a:pt x="209" y="192"/>
                    </a:cubicBezTo>
                    <a:cubicBezTo>
                      <a:pt x="219" y="197"/>
                      <a:pt x="219" y="197"/>
                      <a:pt x="219" y="197"/>
                    </a:cubicBezTo>
                    <a:cubicBezTo>
                      <a:pt x="219" y="197"/>
                      <a:pt x="207" y="209"/>
                      <a:pt x="212" y="219"/>
                    </a:cubicBezTo>
                    <a:cubicBezTo>
                      <a:pt x="217" y="228"/>
                      <a:pt x="243" y="227"/>
                      <a:pt x="243" y="227"/>
                    </a:cubicBezTo>
                    <a:cubicBezTo>
                      <a:pt x="279" y="231"/>
                      <a:pt x="279" y="231"/>
                      <a:pt x="279" y="231"/>
                    </a:cubicBezTo>
                    <a:cubicBezTo>
                      <a:pt x="279" y="225"/>
                      <a:pt x="279" y="225"/>
                      <a:pt x="279" y="225"/>
                    </a:cubicBezTo>
                    <a:cubicBezTo>
                      <a:pt x="303" y="237"/>
                      <a:pt x="303" y="237"/>
                      <a:pt x="303" y="237"/>
                    </a:cubicBezTo>
                    <a:cubicBezTo>
                      <a:pt x="312" y="256"/>
                      <a:pt x="312" y="256"/>
                      <a:pt x="312" y="256"/>
                    </a:cubicBezTo>
                    <a:cubicBezTo>
                      <a:pt x="325" y="271"/>
                      <a:pt x="325" y="271"/>
                      <a:pt x="325" y="271"/>
                    </a:cubicBezTo>
                    <a:cubicBezTo>
                      <a:pt x="325" y="271"/>
                      <a:pt x="333" y="283"/>
                      <a:pt x="336" y="293"/>
                    </a:cubicBezTo>
                    <a:cubicBezTo>
                      <a:pt x="339" y="304"/>
                      <a:pt x="351" y="309"/>
                      <a:pt x="357" y="312"/>
                    </a:cubicBezTo>
                    <a:cubicBezTo>
                      <a:pt x="364" y="315"/>
                      <a:pt x="377" y="317"/>
                      <a:pt x="381" y="319"/>
                    </a:cubicBezTo>
                    <a:cubicBezTo>
                      <a:pt x="385" y="320"/>
                      <a:pt x="397" y="336"/>
                      <a:pt x="397" y="336"/>
                    </a:cubicBezTo>
                    <a:cubicBezTo>
                      <a:pt x="417" y="348"/>
                      <a:pt x="417" y="348"/>
                      <a:pt x="417" y="348"/>
                    </a:cubicBezTo>
                    <a:cubicBezTo>
                      <a:pt x="435" y="349"/>
                      <a:pt x="435" y="349"/>
                      <a:pt x="435" y="349"/>
                    </a:cubicBezTo>
                    <a:cubicBezTo>
                      <a:pt x="444" y="357"/>
                      <a:pt x="444" y="357"/>
                      <a:pt x="444" y="357"/>
                    </a:cubicBezTo>
                    <a:cubicBezTo>
                      <a:pt x="455" y="360"/>
                      <a:pt x="455" y="360"/>
                      <a:pt x="455" y="360"/>
                    </a:cubicBezTo>
                    <a:cubicBezTo>
                      <a:pt x="455" y="360"/>
                      <a:pt x="469" y="371"/>
                      <a:pt x="476" y="376"/>
                    </a:cubicBezTo>
                    <a:cubicBezTo>
                      <a:pt x="483" y="381"/>
                      <a:pt x="501" y="389"/>
                      <a:pt x="501" y="389"/>
                    </a:cubicBezTo>
                    <a:cubicBezTo>
                      <a:pt x="516" y="387"/>
                      <a:pt x="516" y="387"/>
                      <a:pt x="516" y="387"/>
                    </a:cubicBezTo>
                    <a:cubicBezTo>
                      <a:pt x="549" y="405"/>
                      <a:pt x="549" y="405"/>
                      <a:pt x="549" y="405"/>
                    </a:cubicBezTo>
                    <a:cubicBezTo>
                      <a:pt x="549" y="405"/>
                      <a:pt x="537" y="417"/>
                      <a:pt x="548" y="425"/>
                    </a:cubicBezTo>
                    <a:cubicBezTo>
                      <a:pt x="554" y="430"/>
                      <a:pt x="555" y="434"/>
                      <a:pt x="555" y="437"/>
                    </a:cubicBezTo>
                    <a:cubicBezTo>
                      <a:pt x="563" y="437"/>
                      <a:pt x="563" y="437"/>
                      <a:pt x="563" y="437"/>
                    </a:cubicBezTo>
                    <a:cubicBezTo>
                      <a:pt x="571" y="431"/>
                      <a:pt x="571" y="431"/>
                      <a:pt x="571" y="431"/>
                    </a:cubicBezTo>
                    <a:cubicBezTo>
                      <a:pt x="580" y="445"/>
                      <a:pt x="580" y="445"/>
                      <a:pt x="580" y="445"/>
                    </a:cubicBezTo>
                    <a:cubicBezTo>
                      <a:pt x="591" y="440"/>
                      <a:pt x="591" y="440"/>
                      <a:pt x="591" y="440"/>
                    </a:cubicBezTo>
                    <a:cubicBezTo>
                      <a:pt x="596" y="440"/>
                      <a:pt x="596" y="440"/>
                      <a:pt x="596" y="440"/>
                    </a:cubicBezTo>
                    <a:cubicBezTo>
                      <a:pt x="596" y="440"/>
                      <a:pt x="600" y="443"/>
                      <a:pt x="605" y="447"/>
                    </a:cubicBezTo>
                    <a:cubicBezTo>
                      <a:pt x="604" y="446"/>
                      <a:pt x="603" y="446"/>
                      <a:pt x="603" y="445"/>
                    </a:cubicBezTo>
                    <a:cubicBezTo>
                      <a:pt x="602" y="439"/>
                      <a:pt x="601" y="430"/>
                      <a:pt x="605" y="426"/>
                    </a:cubicBezTo>
                    <a:cubicBezTo>
                      <a:pt x="612" y="418"/>
                      <a:pt x="622" y="408"/>
                      <a:pt x="622" y="397"/>
                    </a:cubicBezTo>
                    <a:cubicBezTo>
                      <a:pt x="622" y="386"/>
                      <a:pt x="609" y="387"/>
                      <a:pt x="603" y="377"/>
                    </a:cubicBezTo>
                    <a:cubicBezTo>
                      <a:pt x="597" y="367"/>
                      <a:pt x="608" y="358"/>
                      <a:pt x="603" y="353"/>
                    </a:cubicBezTo>
                    <a:cubicBezTo>
                      <a:pt x="598" y="348"/>
                      <a:pt x="582" y="347"/>
                      <a:pt x="582" y="347"/>
                    </a:cubicBezTo>
                    <a:cubicBezTo>
                      <a:pt x="575" y="339"/>
                      <a:pt x="575" y="339"/>
                      <a:pt x="575" y="339"/>
                    </a:cubicBezTo>
                    <a:cubicBezTo>
                      <a:pt x="561" y="336"/>
                      <a:pt x="561" y="336"/>
                      <a:pt x="561" y="336"/>
                    </a:cubicBezTo>
                    <a:cubicBezTo>
                      <a:pt x="561" y="336"/>
                      <a:pt x="561" y="326"/>
                      <a:pt x="567" y="321"/>
                    </a:cubicBezTo>
                    <a:cubicBezTo>
                      <a:pt x="573" y="316"/>
                      <a:pt x="592" y="328"/>
                      <a:pt x="607" y="319"/>
                    </a:cubicBezTo>
                    <a:cubicBezTo>
                      <a:pt x="622" y="310"/>
                      <a:pt x="610" y="305"/>
                      <a:pt x="610" y="305"/>
                    </a:cubicBezTo>
                    <a:cubicBezTo>
                      <a:pt x="620" y="296"/>
                      <a:pt x="620" y="296"/>
                      <a:pt x="620" y="296"/>
                    </a:cubicBezTo>
                    <a:cubicBezTo>
                      <a:pt x="607" y="282"/>
                      <a:pt x="607" y="282"/>
                      <a:pt x="607" y="282"/>
                    </a:cubicBezTo>
                    <a:cubicBezTo>
                      <a:pt x="607" y="282"/>
                      <a:pt x="626" y="287"/>
                      <a:pt x="632" y="281"/>
                    </a:cubicBezTo>
                    <a:cubicBezTo>
                      <a:pt x="638" y="275"/>
                      <a:pt x="625" y="268"/>
                      <a:pt x="626" y="264"/>
                    </a:cubicBezTo>
                    <a:cubicBezTo>
                      <a:pt x="627" y="260"/>
                      <a:pt x="629" y="251"/>
                      <a:pt x="635" y="251"/>
                    </a:cubicBezTo>
                    <a:cubicBezTo>
                      <a:pt x="641" y="251"/>
                      <a:pt x="644" y="265"/>
                      <a:pt x="652" y="260"/>
                    </a:cubicBezTo>
                    <a:cubicBezTo>
                      <a:pt x="660" y="255"/>
                      <a:pt x="671" y="243"/>
                      <a:pt x="675" y="241"/>
                    </a:cubicBezTo>
                    <a:cubicBezTo>
                      <a:pt x="679" y="239"/>
                      <a:pt x="694" y="251"/>
                      <a:pt x="694" y="251"/>
                    </a:cubicBezTo>
                    <a:cubicBezTo>
                      <a:pt x="678" y="272"/>
                      <a:pt x="678" y="272"/>
                      <a:pt x="678" y="272"/>
                    </a:cubicBezTo>
                    <a:cubicBezTo>
                      <a:pt x="678" y="272"/>
                      <a:pt x="698" y="278"/>
                      <a:pt x="701" y="283"/>
                    </a:cubicBezTo>
                    <a:cubicBezTo>
                      <a:pt x="708" y="280"/>
                      <a:pt x="717" y="277"/>
                      <a:pt x="721" y="276"/>
                    </a:cubicBezTo>
                    <a:cubicBezTo>
                      <a:pt x="728" y="274"/>
                      <a:pt x="732" y="290"/>
                      <a:pt x="741" y="286"/>
                    </a:cubicBezTo>
                    <a:cubicBezTo>
                      <a:pt x="750" y="282"/>
                      <a:pt x="752" y="273"/>
                      <a:pt x="752" y="273"/>
                    </a:cubicBezTo>
                    <a:cubicBezTo>
                      <a:pt x="766" y="271"/>
                      <a:pt x="766" y="271"/>
                      <a:pt x="766" y="271"/>
                    </a:cubicBezTo>
                    <a:cubicBezTo>
                      <a:pt x="766" y="265"/>
                      <a:pt x="766" y="265"/>
                      <a:pt x="766" y="265"/>
                    </a:cubicBezTo>
                    <a:cubicBezTo>
                      <a:pt x="766" y="265"/>
                      <a:pt x="778" y="266"/>
                      <a:pt x="788" y="254"/>
                    </a:cubicBezTo>
                    <a:cubicBezTo>
                      <a:pt x="798" y="242"/>
                      <a:pt x="769" y="248"/>
                      <a:pt x="769" y="248"/>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68" name="United Arab Emirates">
                <a:extLst>
                  <a:ext uri="{FF2B5EF4-FFF2-40B4-BE49-F238E27FC236}">
                    <a16:creationId xmlns:a16="http://schemas.microsoft.com/office/drawing/2014/main" id="{1AD71E18-1E6A-46D2-AE2C-3D10B99CDA01}"/>
                  </a:ext>
                </a:extLst>
              </p:cNvPr>
              <p:cNvSpPr>
                <a:spLocks/>
              </p:cNvSpPr>
              <p:nvPr/>
            </p:nvSpPr>
            <p:spPr bwMode="gray">
              <a:xfrm>
                <a:off x="6956281" y="3283822"/>
                <a:ext cx="125434" cy="119008"/>
              </a:xfrm>
              <a:custGeom>
                <a:avLst/>
                <a:gdLst>
                  <a:gd name="T0" fmla="*/ 198 w 224"/>
                  <a:gd name="T1" fmla="*/ 84 h 215"/>
                  <a:gd name="T2" fmla="*/ 208 w 224"/>
                  <a:gd name="T3" fmla="*/ 97 h 215"/>
                  <a:gd name="T4" fmla="*/ 224 w 224"/>
                  <a:gd name="T5" fmla="*/ 91 h 215"/>
                  <a:gd name="T6" fmla="*/ 214 w 224"/>
                  <a:gd name="T7" fmla="*/ 51 h 215"/>
                  <a:gd name="T8" fmla="*/ 215 w 224"/>
                  <a:gd name="T9" fmla="*/ 3 h 215"/>
                  <a:gd name="T10" fmla="*/ 186 w 224"/>
                  <a:gd name="T11" fmla="*/ 51 h 215"/>
                  <a:gd name="T12" fmla="*/ 166 w 224"/>
                  <a:gd name="T13" fmla="*/ 61 h 215"/>
                  <a:gd name="T14" fmla="*/ 131 w 224"/>
                  <a:gd name="T15" fmla="*/ 102 h 215"/>
                  <a:gd name="T16" fmla="*/ 122 w 224"/>
                  <a:gd name="T17" fmla="*/ 131 h 215"/>
                  <a:gd name="T18" fmla="*/ 62 w 224"/>
                  <a:gd name="T19" fmla="*/ 127 h 215"/>
                  <a:gd name="T20" fmla="*/ 16 w 224"/>
                  <a:gd name="T21" fmla="*/ 140 h 215"/>
                  <a:gd name="T22" fmla="*/ 1 w 224"/>
                  <a:gd name="T23" fmla="*/ 127 h 215"/>
                  <a:gd name="T24" fmla="*/ 5 w 224"/>
                  <a:gd name="T25" fmla="*/ 145 h 215"/>
                  <a:gd name="T26" fmla="*/ 52 w 224"/>
                  <a:gd name="T27" fmla="*/ 200 h 215"/>
                  <a:gd name="T28" fmla="*/ 177 w 224"/>
                  <a:gd name="T29" fmla="*/ 215 h 215"/>
                  <a:gd name="T30" fmla="*/ 168 w 224"/>
                  <a:gd name="T31" fmla="*/ 192 h 215"/>
                  <a:gd name="T32" fmla="*/ 181 w 224"/>
                  <a:gd name="T33" fmla="*/ 163 h 215"/>
                  <a:gd name="T34" fmla="*/ 189 w 224"/>
                  <a:gd name="T35" fmla="*/ 136 h 215"/>
                  <a:gd name="T36" fmla="*/ 201 w 224"/>
                  <a:gd name="T37" fmla="*/ 135 h 215"/>
                  <a:gd name="T38" fmla="*/ 191 w 224"/>
                  <a:gd name="T39" fmla="*/ 118 h 215"/>
                  <a:gd name="T40" fmla="*/ 198 w 224"/>
                  <a:gd name="T41" fmla="*/ 8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15">
                    <a:moveTo>
                      <a:pt x="198" y="84"/>
                    </a:moveTo>
                    <a:cubicBezTo>
                      <a:pt x="202" y="84"/>
                      <a:pt x="208" y="97"/>
                      <a:pt x="208" y="97"/>
                    </a:cubicBezTo>
                    <a:cubicBezTo>
                      <a:pt x="224" y="91"/>
                      <a:pt x="224" y="91"/>
                      <a:pt x="224" y="91"/>
                    </a:cubicBezTo>
                    <a:cubicBezTo>
                      <a:pt x="219" y="78"/>
                      <a:pt x="212" y="63"/>
                      <a:pt x="214" y="51"/>
                    </a:cubicBezTo>
                    <a:cubicBezTo>
                      <a:pt x="217" y="34"/>
                      <a:pt x="222" y="6"/>
                      <a:pt x="215" y="3"/>
                    </a:cubicBezTo>
                    <a:cubicBezTo>
                      <a:pt x="207" y="0"/>
                      <a:pt x="186" y="51"/>
                      <a:pt x="186" y="51"/>
                    </a:cubicBezTo>
                    <a:cubicBezTo>
                      <a:pt x="186" y="51"/>
                      <a:pt x="172" y="53"/>
                      <a:pt x="166" y="61"/>
                    </a:cubicBezTo>
                    <a:cubicBezTo>
                      <a:pt x="161" y="70"/>
                      <a:pt x="131" y="102"/>
                      <a:pt x="131" y="102"/>
                    </a:cubicBezTo>
                    <a:cubicBezTo>
                      <a:pt x="131" y="102"/>
                      <a:pt x="131" y="130"/>
                      <a:pt x="122" y="131"/>
                    </a:cubicBezTo>
                    <a:cubicBezTo>
                      <a:pt x="113" y="132"/>
                      <a:pt x="69" y="127"/>
                      <a:pt x="62" y="127"/>
                    </a:cubicBezTo>
                    <a:cubicBezTo>
                      <a:pt x="56" y="127"/>
                      <a:pt x="25" y="144"/>
                      <a:pt x="16" y="140"/>
                    </a:cubicBezTo>
                    <a:cubicBezTo>
                      <a:pt x="11" y="138"/>
                      <a:pt x="5" y="132"/>
                      <a:pt x="1" y="127"/>
                    </a:cubicBezTo>
                    <a:cubicBezTo>
                      <a:pt x="0" y="132"/>
                      <a:pt x="0" y="140"/>
                      <a:pt x="5" y="145"/>
                    </a:cubicBezTo>
                    <a:cubicBezTo>
                      <a:pt x="12" y="152"/>
                      <a:pt x="49" y="200"/>
                      <a:pt x="52" y="200"/>
                    </a:cubicBezTo>
                    <a:cubicBezTo>
                      <a:pt x="54" y="200"/>
                      <a:pt x="143" y="211"/>
                      <a:pt x="177" y="215"/>
                    </a:cubicBezTo>
                    <a:cubicBezTo>
                      <a:pt x="173" y="207"/>
                      <a:pt x="168" y="196"/>
                      <a:pt x="168" y="192"/>
                    </a:cubicBezTo>
                    <a:cubicBezTo>
                      <a:pt x="168" y="186"/>
                      <a:pt x="181" y="163"/>
                      <a:pt x="181" y="163"/>
                    </a:cubicBezTo>
                    <a:cubicBezTo>
                      <a:pt x="181" y="163"/>
                      <a:pt x="187" y="143"/>
                      <a:pt x="189" y="136"/>
                    </a:cubicBezTo>
                    <a:cubicBezTo>
                      <a:pt x="191" y="129"/>
                      <a:pt x="197" y="137"/>
                      <a:pt x="201" y="135"/>
                    </a:cubicBezTo>
                    <a:cubicBezTo>
                      <a:pt x="205" y="133"/>
                      <a:pt x="195" y="122"/>
                      <a:pt x="191" y="118"/>
                    </a:cubicBezTo>
                    <a:cubicBezTo>
                      <a:pt x="187" y="114"/>
                      <a:pt x="194" y="84"/>
                      <a:pt x="198" y="84"/>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69" name="Turkmenistan">
                <a:extLst>
                  <a:ext uri="{FF2B5EF4-FFF2-40B4-BE49-F238E27FC236}">
                    <a16:creationId xmlns:a16="http://schemas.microsoft.com/office/drawing/2014/main" id="{9ACDDD9E-CB6A-4205-9E86-0C2673AA2BBD}"/>
                  </a:ext>
                </a:extLst>
              </p:cNvPr>
              <p:cNvSpPr>
                <a:spLocks/>
              </p:cNvSpPr>
              <p:nvPr/>
            </p:nvSpPr>
            <p:spPr bwMode="gray">
              <a:xfrm>
                <a:off x="6908648" y="2796685"/>
                <a:ext cx="377891" cy="226908"/>
              </a:xfrm>
              <a:custGeom>
                <a:avLst/>
                <a:gdLst>
                  <a:gd name="T0" fmla="*/ 24 w 674"/>
                  <a:gd name="T1" fmla="*/ 120 h 406"/>
                  <a:gd name="T2" fmla="*/ 60 w 674"/>
                  <a:gd name="T3" fmla="*/ 148 h 406"/>
                  <a:gd name="T4" fmla="*/ 75 w 674"/>
                  <a:gd name="T5" fmla="*/ 172 h 406"/>
                  <a:gd name="T6" fmla="*/ 71 w 674"/>
                  <a:gd name="T7" fmla="*/ 187 h 406"/>
                  <a:gd name="T8" fmla="*/ 94 w 674"/>
                  <a:gd name="T9" fmla="*/ 238 h 406"/>
                  <a:gd name="T10" fmla="*/ 96 w 674"/>
                  <a:gd name="T11" fmla="*/ 262 h 406"/>
                  <a:gd name="T12" fmla="*/ 126 w 674"/>
                  <a:gd name="T13" fmla="*/ 291 h 406"/>
                  <a:gd name="T14" fmla="*/ 141 w 674"/>
                  <a:gd name="T15" fmla="*/ 273 h 406"/>
                  <a:gd name="T16" fmla="*/ 205 w 674"/>
                  <a:gd name="T17" fmla="*/ 251 h 406"/>
                  <a:gd name="T18" fmla="*/ 234 w 674"/>
                  <a:gd name="T19" fmla="*/ 244 h 406"/>
                  <a:gd name="T20" fmla="*/ 256 w 674"/>
                  <a:gd name="T21" fmla="*/ 261 h 406"/>
                  <a:gd name="T22" fmla="*/ 299 w 674"/>
                  <a:gd name="T23" fmla="*/ 278 h 406"/>
                  <a:gd name="T24" fmla="*/ 345 w 674"/>
                  <a:gd name="T25" fmla="*/ 279 h 406"/>
                  <a:gd name="T26" fmla="*/ 377 w 674"/>
                  <a:gd name="T27" fmla="*/ 307 h 406"/>
                  <a:gd name="T28" fmla="*/ 439 w 674"/>
                  <a:gd name="T29" fmla="*/ 325 h 406"/>
                  <a:gd name="T30" fmla="*/ 447 w 674"/>
                  <a:gd name="T31" fmla="*/ 350 h 406"/>
                  <a:gd name="T32" fmla="*/ 453 w 674"/>
                  <a:gd name="T33" fmla="*/ 383 h 406"/>
                  <a:gd name="T34" fmla="*/ 484 w 674"/>
                  <a:gd name="T35" fmla="*/ 390 h 406"/>
                  <a:gd name="T36" fmla="*/ 530 w 674"/>
                  <a:gd name="T37" fmla="*/ 396 h 406"/>
                  <a:gd name="T38" fmla="*/ 560 w 674"/>
                  <a:gd name="T39" fmla="*/ 365 h 406"/>
                  <a:gd name="T40" fmla="*/ 589 w 674"/>
                  <a:gd name="T41" fmla="*/ 345 h 406"/>
                  <a:gd name="T42" fmla="*/ 623 w 674"/>
                  <a:gd name="T43" fmla="*/ 296 h 406"/>
                  <a:gd name="T44" fmla="*/ 652 w 674"/>
                  <a:gd name="T45" fmla="*/ 292 h 406"/>
                  <a:gd name="T46" fmla="*/ 667 w 674"/>
                  <a:gd name="T47" fmla="*/ 280 h 406"/>
                  <a:gd name="T48" fmla="*/ 635 w 674"/>
                  <a:gd name="T49" fmla="*/ 242 h 406"/>
                  <a:gd name="T50" fmla="*/ 595 w 674"/>
                  <a:gd name="T51" fmla="*/ 231 h 406"/>
                  <a:gd name="T52" fmla="*/ 563 w 674"/>
                  <a:gd name="T53" fmla="*/ 212 h 406"/>
                  <a:gd name="T54" fmla="*/ 536 w 674"/>
                  <a:gd name="T55" fmla="*/ 203 h 406"/>
                  <a:gd name="T56" fmla="*/ 500 w 674"/>
                  <a:gd name="T57" fmla="*/ 174 h 406"/>
                  <a:gd name="T58" fmla="*/ 455 w 674"/>
                  <a:gd name="T59" fmla="*/ 148 h 406"/>
                  <a:gd name="T60" fmla="*/ 431 w 674"/>
                  <a:gd name="T61" fmla="*/ 111 h 406"/>
                  <a:gd name="T62" fmla="*/ 398 w 674"/>
                  <a:gd name="T63" fmla="*/ 80 h 406"/>
                  <a:gd name="T64" fmla="*/ 362 w 674"/>
                  <a:gd name="T65" fmla="*/ 82 h 406"/>
                  <a:gd name="T66" fmla="*/ 338 w 674"/>
                  <a:gd name="T67" fmla="*/ 52 h 406"/>
                  <a:gd name="T68" fmla="*/ 320 w 674"/>
                  <a:gd name="T69" fmla="*/ 28 h 406"/>
                  <a:gd name="T70" fmla="*/ 288 w 674"/>
                  <a:gd name="T71" fmla="*/ 23 h 406"/>
                  <a:gd name="T72" fmla="*/ 274 w 674"/>
                  <a:gd name="T73" fmla="*/ 16 h 406"/>
                  <a:gd name="T74" fmla="*/ 258 w 674"/>
                  <a:gd name="T75" fmla="*/ 7 h 406"/>
                  <a:gd name="T76" fmla="*/ 258 w 674"/>
                  <a:gd name="T77" fmla="*/ 24 h 406"/>
                  <a:gd name="T78" fmla="*/ 231 w 674"/>
                  <a:gd name="T79" fmla="*/ 30 h 406"/>
                  <a:gd name="T80" fmla="*/ 211 w 674"/>
                  <a:gd name="T81" fmla="*/ 79 h 406"/>
                  <a:gd name="T82" fmla="*/ 156 w 674"/>
                  <a:gd name="T83" fmla="*/ 72 h 406"/>
                  <a:gd name="T84" fmla="*/ 112 w 674"/>
                  <a:gd name="T85" fmla="*/ 51 h 406"/>
                  <a:gd name="T86" fmla="*/ 51 w 674"/>
                  <a:gd name="T87" fmla="*/ 22 h 406"/>
                  <a:gd name="T88" fmla="*/ 60 w 674"/>
                  <a:gd name="T89" fmla="*/ 42 h 406"/>
                  <a:gd name="T90" fmla="*/ 110 w 674"/>
                  <a:gd name="T91" fmla="*/ 90 h 406"/>
                  <a:gd name="T92" fmla="*/ 82 w 674"/>
                  <a:gd name="T93" fmla="*/ 94 h 406"/>
                  <a:gd name="T94" fmla="*/ 52 w 674"/>
                  <a:gd name="T95" fmla="*/ 108 h 406"/>
                  <a:gd name="T96" fmla="*/ 40 w 674"/>
                  <a:gd name="T97" fmla="*/ 100 h 406"/>
                  <a:gd name="T98" fmla="*/ 19 w 674"/>
                  <a:gd name="T99" fmla="*/ 55 h 406"/>
                  <a:gd name="T100" fmla="*/ 14 w 674"/>
                  <a:gd name="T101" fmla="*/ 7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4" h="406">
                    <a:moveTo>
                      <a:pt x="34" y="100"/>
                    </a:moveTo>
                    <a:cubicBezTo>
                      <a:pt x="34" y="104"/>
                      <a:pt x="24" y="115"/>
                      <a:pt x="24" y="120"/>
                    </a:cubicBezTo>
                    <a:cubicBezTo>
                      <a:pt x="24" y="126"/>
                      <a:pt x="40" y="151"/>
                      <a:pt x="40" y="151"/>
                    </a:cubicBezTo>
                    <a:cubicBezTo>
                      <a:pt x="60" y="148"/>
                      <a:pt x="60" y="148"/>
                      <a:pt x="60" y="148"/>
                    </a:cubicBezTo>
                    <a:cubicBezTo>
                      <a:pt x="62" y="166"/>
                      <a:pt x="62" y="166"/>
                      <a:pt x="62" y="166"/>
                    </a:cubicBezTo>
                    <a:cubicBezTo>
                      <a:pt x="75" y="172"/>
                      <a:pt x="75" y="172"/>
                      <a:pt x="75" y="172"/>
                    </a:cubicBezTo>
                    <a:cubicBezTo>
                      <a:pt x="75" y="172"/>
                      <a:pt x="46" y="171"/>
                      <a:pt x="50" y="180"/>
                    </a:cubicBezTo>
                    <a:cubicBezTo>
                      <a:pt x="54" y="190"/>
                      <a:pt x="64" y="184"/>
                      <a:pt x="71" y="187"/>
                    </a:cubicBezTo>
                    <a:cubicBezTo>
                      <a:pt x="78" y="190"/>
                      <a:pt x="90" y="203"/>
                      <a:pt x="90" y="203"/>
                    </a:cubicBezTo>
                    <a:cubicBezTo>
                      <a:pt x="94" y="238"/>
                      <a:pt x="94" y="238"/>
                      <a:pt x="94" y="238"/>
                    </a:cubicBezTo>
                    <a:cubicBezTo>
                      <a:pt x="99" y="240"/>
                      <a:pt x="99" y="240"/>
                      <a:pt x="99" y="240"/>
                    </a:cubicBezTo>
                    <a:cubicBezTo>
                      <a:pt x="99" y="240"/>
                      <a:pt x="96" y="254"/>
                      <a:pt x="96" y="262"/>
                    </a:cubicBezTo>
                    <a:cubicBezTo>
                      <a:pt x="96" y="270"/>
                      <a:pt x="106" y="291"/>
                      <a:pt x="106" y="291"/>
                    </a:cubicBezTo>
                    <a:cubicBezTo>
                      <a:pt x="106" y="291"/>
                      <a:pt x="122" y="292"/>
                      <a:pt x="126" y="291"/>
                    </a:cubicBezTo>
                    <a:cubicBezTo>
                      <a:pt x="130" y="290"/>
                      <a:pt x="141" y="281"/>
                      <a:pt x="141" y="281"/>
                    </a:cubicBezTo>
                    <a:cubicBezTo>
                      <a:pt x="141" y="273"/>
                      <a:pt x="141" y="273"/>
                      <a:pt x="141" y="273"/>
                    </a:cubicBezTo>
                    <a:cubicBezTo>
                      <a:pt x="141" y="273"/>
                      <a:pt x="167" y="250"/>
                      <a:pt x="178" y="248"/>
                    </a:cubicBezTo>
                    <a:cubicBezTo>
                      <a:pt x="189" y="246"/>
                      <a:pt x="205" y="251"/>
                      <a:pt x="205" y="251"/>
                    </a:cubicBezTo>
                    <a:cubicBezTo>
                      <a:pt x="205" y="251"/>
                      <a:pt x="207" y="245"/>
                      <a:pt x="210" y="243"/>
                    </a:cubicBezTo>
                    <a:cubicBezTo>
                      <a:pt x="213" y="241"/>
                      <a:pt x="234" y="244"/>
                      <a:pt x="234" y="244"/>
                    </a:cubicBezTo>
                    <a:cubicBezTo>
                      <a:pt x="234" y="244"/>
                      <a:pt x="243" y="239"/>
                      <a:pt x="249" y="243"/>
                    </a:cubicBezTo>
                    <a:cubicBezTo>
                      <a:pt x="255" y="247"/>
                      <a:pt x="256" y="261"/>
                      <a:pt x="256" y="261"/>
                    </a:cubicBezTo>
                    <a:cubicBezTo>
                      <a:pt x="256" y="261"/>
                      <a:pt x="268" y="261"/>
                      <a:pt x="273" y="261"/>
                    </a:cubicBezTo>
                    <a:cubicBezTo>
                      <a:pt x="278" y="261"/>
                      <a:pt x="299" y="278"/>
                      <a:pt x="299" y="278"/>
                    </a:cubicBezTo>
                    <a:cubicBezTo>
                      <a:pt x="302" y="274"/>
                      <a:pt x="302" y="274"/>
                      <a:pt x="302" y="274"/>
                    </a:cubicBezTo>
                    <a:cubicBezTo>
                      <a:pt x="302" y="274"/>
                      <a:pt x="340" y="275"/>
                      <a:pt x="345" y="279"/>
                    </a:cubicBezTo>
                    <a:cubicBezTo>
                      <a:pt x="350" y="283"/>
                      <a:pt x="358" y="301"/>
                      <a:pt x="358" y="301"/>
                    </a:cubicBezTo>
                    <a:cubicBezTo>
                      <a:pt x="358" y="301"/>
                      <a:pt x="371" y="303"/>
                      <a:pt x="377" y="307"/>
                    </a:cubicBezTo>
                    <a:cubicBezTo>
                      <a:pt x="383" y="311"/>
                      <a:pt x="397" y="327"/>
                      <a:pt x="397" y="327"/>
                    </a:cubicBezTo>
                    <a:cubicBezTo>
                      <a:pt x="439" y="325"/>
                      <a:pt x="439" y="325"/>
                      <a:pt x="439" y="325"/>
                    </a:cubicBezTo>
                    <a:cubicBezTo>
                      <a:pt x="440" y="347"/>
                      <a:pt x="440" y="347"/>
                      <a:pt x="440" y="347"/>
                    </a:cubicBezTo>
                    <a:cubicBezTo>
                      <a:pt x="447" y="350"/>
                      <a:pt x="447" y="350"/>
                      <a:pt x="447" y="350"/>
                    </a:cubicBezTo>
                    <a:cubicBezTo>
                      <a:pt x="446" y="365"/>
                      <a:pt x="446" y="365"/>
                      <a:pt x="446" y="365"/>
                    </a:cubicBezTo>
                    <a:cubicBezTo>
                      <a:pt x="453" y="383"/>
                      <a:pt x="453" y="383"/>
                      <a:pt x="453" y="383"/>
                    </a:cubicBezTo>
                    <a:cubicBezTo>
                      <a:pt x="453" y="383"/>
                      <a:pt x="467" y="393"/>
                      <a:pt x="472" y="393"/>
                    </a:cubicBezTo>
                    <a:cubicBezTo>
                      <a:pt x="477" y="393"/>
                      <a:pt x="484" y="390"/>
                      <a:pt x="484" y="390"/>
                    </a:cubicBezTo>
                    <a:cubicBezTo>
                      <a:pt x="500" y="406"/>
                      <a:pt x="500" y="406"/>
                      <a:pt x="500" y="406"/>
                    </a:cubicBezTo>
                    <a:cubicBezTo>
                      <a:pt x="500" y="406"/>
                      <a:pt x="525" y="405"/>
                      <a:pt x="530" y="396"/>
                    </a:cubicBezTo>
                    <a:cubicBezTo>
                      <a:pt x="535" y="387"/>
                      <a:pt x="535" y="371"/>
                      <a:pt x="535" y="371"/>
                    </a:cubicBezTo>
                    <a:cubicBezTo>
                      <a:pt x="535" y="371"/>
                      <a:pt x="553" y="372"/>
                      <a:pt x="560" y="365"/>
                    </a:cubicBezTo>
                    <a:cubicBezTo>
                      <a:pt x="567" y="358"/>
                      <a:pt x="580" y="349"/>
                      <a:pt x="580" y="349"/>
                    </a:cubicBezTo>
                    <a:cubicBezTo>
                      <a:pt x="580" y="349"/>
                      <a:pt x="589" y="351"/>
                      <a:pt x="589" y="345"/>
                    </a:cubicBezTo>
                    <a:cubicBezTo>
                      <a:pt x="589" y="339"/>
                      <a:pt x="584" y="311"/>
                      <a:pt x="594" y="301"/>
                    </a:cubicBezTo>
                    <a:cubicBezTo>
                      <a:pt x="604" y="291"/>
                      <a:pt x="623" y="296"/>
                      <a:pt x="623" y="296"/>
                    </a:cubicBezTo>
                    <a:cubicBezTo>
                      <a:pt x="623" y="296"/>
                      <a:pt x="622" y="279"/>
                      <a:pt x="630" y="279"/>
                    </a:cubicBezTo>
                    <a:cubicBezTo>
                      <a:pt x="638" y="279"/>
                      <a:pt x="652" y="292"/>
                      <a:pt x="652" y="292"/>
                    </a:cubicBezTo>
                    <a:cubicBezTo>
                      <a:pt x="674" y="292"/>
                      <a:pt x="674" y="292"/>
                      <a:pt x="674" y="292"/>
                    </a:cubicBezTo>
                    <a:cubicBezTo>
                      <a:pt x="674" y="289"/>
                      <a:pt x="673" y="285"/>
                      <a:pt x="667" y="280"/>
                    </a:cubicBezTo>
                    <a:cubicBezTo>
                      <a:pt x="656" y="272"/>
                      <a:pt x="668" y="260"/>
                      <a:pt x="668" y="260"/>
                    </a:cubicBezTo>
                    <a:cubicBezTo>
                      <a:pt x="635" y="242"/>
                      <a:pt x="635" y="242"/>
                      <a:pt x="635" y="242"/>
                    </a:cubicBezTo>
                    <a:cubicBezTo>
                      <a:pt x="620" y="244"/>
                      <a:pt x="620" y="244"/>
                      <a:pt x="620" y="244"/>
                    </a:cubicBezTo>
                    <a:cubicBezTo>
                      <a:pt x="620" y="244"/>
                      <a:pt x="602" y="236"/>
                      <a:pt x="595" y="231"/>
                    </a:cubicBezTo>
                    <a:cubicBezTo>
                      <a:pt x="588" y="226"/>
                      <a:pt x="574" y="215"/>
                      <a:pt x="574" y="215"/>
                    </a:cubicBezTo>
                    <a:cubicBezTo>
                      <a:pt x="563" y="212"/>
                      <a:pt x="563" y="212"/>
                      <a:pt x="563" y="212"/>
                    </a:cubicBezTo>
                    <a:cubicBezTo>
                      <a:pt x="554" y="204"/>
                      <a:pt x="554" y="204"/>
                      <a:pt x="554" y="204"/>
                    </a:cubicBezTo>
                    <a:cubicBezTo>
                      <a:pt x="536" y="203"/>
                      <a:pt x="536" y="203"/>
                      <a:pt x="536" y="203"/>
                    </a:cubicBezTo>
                    <a:cubicBezTo>
                      <a:pt x="516" y="191"/>
                      <a:pt x="516" y="191"/>
                      <a:pt x="516" y="191"/>
                    </a:cubicBezTo>
                    <a:cubicBezTo>
                      <a:pt x="516" y="191"/>
                      <a:pt x="504" y="175"/>
                      <a:pt x="500" y="174"/>
                    </a:cubicBezTo>
                    <a:cubicBezTo>
                      <a:pt x="496" y="172"/>
                      <a:pt x="483" y="170"/>
                      <a:pt x="476" y="167"/>
                    </a:cubicBezTo>
                    <a:cubicBezTo>
                      <a:pt x="470" y="164"/>
                      <a:pt x="458" y="159"/>
                      <a:pt x="455" y="148"/>
                    </a:cubicBezTo>
                    <a:cubicBezTo>
                      <a:pt x="452" y="138"/>
                      <a:pt x="444" y="126"/>
                      <a:pt x="444" y="126"/>
                    </a:cubicBezTo>
                    <a:cubicBezTo>
                      <a:pt x="431" y="111"/>
                      <a:pt x="431" y="111"/>
                      <a:pt x="431" y="111"/>
                    </a:cubicBezTo>
                    <a:cubicBezTo>
                      <a:pt x="422" y="92"/>
                      <a:pt x="422" y="92"/>
                      <a:pt x="422" y="92"/>
                    </a:cubicBezTo>
                    <a:cubicBezTo>
                      <a:pt x="398" y="80"/>
                      <a:pt x="398" y="80"/>
                      <a:pt x="398" y="80"/>
                    </a:cubicBezTo>
                    <a:cubicBezTo>
                      <a:pt x="398" y="86"/>
                      <a:pt x="398" y="86"/>
                      <a:pt x="398" y="86"/>
                    </a:cubicBezTo>
                    <a:cubicBezTo>
                      <a:pt x="362" y="82"/>
                      <a:pt x="362" y="82"/>
                      <a:pt x="362" y="82"/>
                    </a:cubicBezTo>
                    <a:cubicBezTo>
                      <a:pt x="362" y="82"/>
                      <a:pt x="336" y="83"/>
                      <a:pt x="331" y="74"/>
                    </a:cubicBezTo>
                    <a:cubicBezTo>
                      <a:pt x="326" y="64"/>
                      <a:pt x="338" y="52"/>
                      <a:pt x="338" y="52"/>
                    </a:cubicBezTo>
                    <a:cubicBezTo>
                      <a:pt x="328" y="47"/>
                      <a:pt x="328" y="47"/>
                      <a:pt x="328" y="47"/>
                    </a:cubicBezTo>
                    <a:cubicBezTo>
                      <a:pt x="328" y="47"/>
                      <a:pt x="330" y="32"/>
                      <a:pt x="320" y="28"/>
                    </a:cubicBezTo>
                    <a:cubicBezTo>
                      <a:pt x="311" y="24"/>
                      <a:pt x="298" y="27"/>
                      <a:pt x="298" y="27"/>
                    </a:cubicBezTo>
                    <a:cubicBezTo>
                      <a:pt x="288" y="23"/>
                      <a:pt x="288" y="23"/>
                      <a:pt x="288" y="23"/>
                    </a:cubicBezTo>
                    <a:cubicBezTo>
                      <a:pt x="290" y="15"/>
                      <a:pt x="290" y="15"/>
                      <a:pt x="290" y="15"/>
                    </a:cubicBezTo>
                    <a:cubicBezTo>
                      <a:pt x="274" y="16"/>
                      <a:pt x="274" y="16"/>
                      <a:pt x="274" y="16"/>
                    </a:cubicBezTo>
                    <a:cubicBezTo>
                      <a:pt x="262" y="0"/>
                      <a:pt x="262" y="0"/>
                      <a:pt x="262" y="0"/>
                    </a:cubicBezTo>
                    <a:cubicBezTo>
                      <a:pt x="258" y="7"/>
                      <a:pt x="258" y="7"/>
                      <a:pt x="258" y="7"/>
                    </a:cubicBezTo>
                    <a:cubicBezTo>
                      <a:pt x="238" y="6"/>
                      <a:pt x="238" y="6"/>
                      <a:pt x="238" y="6"/>
                    </a:cubicBezTo>
                    <a:cubicBezTo>
                      <a:pt x="258" y="24"/>
                      <a:pt x="258" y="24"/>
                      <a:pt x="258" y="24"/>
                    </a:cubicBezTo>
                    <a:cubicBezTo>
                      <a:pt x="258" y="24"/>
                      <a:pt x="239" y="16"/>
                      <a:pt x="235" y="18"/>
                    </a:cubicBezTo>
                    <a:cubicBezTo>
                      <a:pt x="231" y="19"/>
                      <a:pt x="231" y="30"/>
                      <a:pt x="231" y="30"/>
                    </a:cubicBezTo>
                    <a:cubicBezTo>
                      <a:pt x="231" y="30"/>
                      <a:pt x="199" y="36"/>
                      <a:pt x="198" y="50"/>
                    </a:cubicBezTo>
                    <a:cubicBezTo>
                      <a:pt x="196" y="63"/>
                      <a:pt x="211" y="79"/>
                      <a:pt x="211" y="79"/>
                    </a:cubicBezTo>
                    <a:cubicBezTo>
                      <a:pt x="167" y="79"/>
                      <a:pt x="167" y="79"/>
                      <a:pt x="167" y="79"/>
                    </a:cubicBezTo>
                    <a:cubicBezTo>
                      <a:pt x="167" y="79"/>
                      <a:pt x="163" y="72"/>
                      <a:pt x="156" y="72"/>
                    </a:cubicBezTo>
                    <a:cubicBezTo>
                      <a:pt x="150" y="72"/>
                      <a:pt x="151" y="87"/>
                      <a:pt x="140" y="82"/>
                    </a:cubicBezTo>
                    <a:cubicBezTo>
                      <a:pt x="130" y="76"/>
                      <a:pt x="112" y="51"/>
                      <a:pt x="112" y="51"/>
                    </a:cubicBezTo>
                    <a:cubicBezTo>
                      <a:pt x="112" y="51"/>
                      <a:pt x="102" y="38"/>
                      <a:pt x="94" y="34"/>
                    </a:cubicBezTo>
                    <a:cubicBezTo>
                      <a:pt x="86" y="30"/>
                      <a:pt x="54" y="18"/>
                      <a:pt x="51" y="22"/>
                    </a:cubicBezTo>
                    <a:cubicBezTo>
                      <a:pt x="48" y="26"/>
                      <a:pt x="50" y="32"/>
                      <a:pt x="50" y="32"/>
                    </a:cubicBezTo>
                    <a:cubicBezTo>
                      <a:pt x="50" y="32"/>
                      <a:pt x="60" y="38"/>
                      <a:pt x="60" y="42"/>
                    </a:cubicBezTo>
                    <a:cubicBezTo>
                      <a:pt x="60" y="46"/>
                      <a:pt x="63" y="46"/>
                      <a:pt x="70" y="58"/>
                    </a:cubicBezTo>
                    <a:cubicBezTo>
                      <a:pt x="76" y="70"/>
                      <a:pt x="112" y="79"/>
                      <a:pt x="110" y="90"/>
                    </a:cubicBezTo>
                    <a:cubicBezTo>
                      <a:pt x="107" y="100"/>
                      <a:pt x="107" y="106"/>
                      <a:pt x="100" y="104"/>
                    </a:cubicBezTo>
                    <a:cubicBezTo>
                      <a:pt x="94" y="103"/>
                      <a:pt x="79" y="90"/>
                      <a:pt x="82" y="94"/>
                    </a:cubicBezTo>
                    <a:cubicBezTo>
                      <a:pt x="84" y="98"/>
                      <a:pt x="79" y="107"/>
                      <a:pt x="79" y="107"/>
                    </a:cubicBezTo>
                    <a:cubicBezTo>
                      <a:pt x="52" y="108"/>
                      <a:pt x="52" y="108"/>
                      <a:pt x="52" y="108"/>
                    </a:cubicBezTo>
                    <a:cubicBezTo>
                      <a:pt x="44" y="95"/>
                      <a:pt x="44" y="95"/>
                      <a:pt x="44" y="95"/>
                    </a:cubicBezTo>
                    <a:cubicBezTo>
                      <a:pt x="40" y="100"/>
                      <a:pt x="40" y="100"/>
                      <a:pt x="40" y="100"/>
                    </a:cubicBezTo>
                    <a:cubicBezTo>
                      <a:pt x="40" y="100"/>
                      <a:pt x="30" y="90"/>
                      <a:pt x="24" y="80"/>
                    </a:cubicBezTo>
                    <a:cubicBezTo>
                      <a:pt x="19" y="71"/>
                      <a:pt x="23" y="56"/>
                      <a:pt x="19" y="55"/>
                    </a:cubicBezTo>
                    <a:cubicBezTo>
                      <a:pt x="15" y="54"/>
                      <a:pt x="3" y="47"/>
                      <a:pt x="2" y="52"/>
                    </a:cubicBezTo>
                    <a:cubicBezTo>
                      <a:pt x="0" y="58"/>
                      <a:pt x="14" y="72"/>
                      <a:pt x="14" y="72"/>
                    </a:cubicBezTo>
                    <a:cubicBezTo>
                      <a:pt x="14" y="72"/>
                      <a:pt x="34" y="96"/>
                      <a:pt x="34" y="100"/>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70" name="Turkey">
                <a:extLst>
                  <a:ext uri="{FF2B5EF4-FFF2-40B4-BE49-F238E27FC236}">
                    <a16:creationId xmlns:a16="http://schemas.microsoft.com/office/drawing/2014/main" id="{D0AA1925-1589-4BB7-9E07-F4B246D026BE}"/>
                  </a:ext>
                </a:extLst>
              </p:cNvPr>
              <p:cNvSpPr>
                <a:spLocks noEditPoints="1"/>
              </p:cNvSpPr>
              <p:nvPr/>
            </p:nvSpPr>
            <p:spPr bwMode="gray">
              <a:xfrm>
                <a:off x="6248133" y="2815726"/>
                <a:ext cx="496973" cy="190412"/>
              </a:xfrm>
              <a:custGeom>
                <a:avLst/>
                <a:gdLst>
                  <a:gd name="T0" fmla="*/ 20 w 888"/>
                  <a:gd name="T1" fmla="*/ 116 h 340"/>
                  <a:gd name="T2" fmla="*/ 27 w 888"/>
                  <a:gd name="T3" fmla="*/ 107 h 340"/>
                  <a:gd name="T4" fmla="*/ 63 w 888"/>
                  <a:gd name="T5" fmla="*/ 93 h 340"/>
                  <a:gd name="T6" fmla="*/ 52 w 888"/>
                  <a:gd name="T7" fmla="*/ 101 h 340"/>
                  <a:gd name="T8" fmla="*/ 887 w 888"/>
                  <a:gd name="T9" fmla="*/ 259 h 340"/>
                  <a:gd name="T10" fmla="*/ 850 w 888"/>
                  <a:gd name="T11" fmla="*/ 224 h 340"/>
                  <a:gd name="T12" fmla="*/ 845 w 888"/>
                  <a:gd name="T13" fmla="*/ 165 h 340"/>
                  <a:gd name="T14" fmla="*/ 853 w 888"/>
                  <a:gd name="T15" fmla="*/ 137 h 340"/>
                  <a:gd name="T16" fmla="*/ 802 w 888"/>
                  <a:gd name="T17" fmla="*/ 73 h 340"/>
                  <a:gd name="T18" fmla="*/ 761 w 888"/>
                  <a:gd name="T19" fmla="*/ 32 h 340"/>
                  <a:gd name="T20" fmla="*/ 678 w 888"/>
                  <a:gd name="T21" fmla="*/ 63 h 340"/>
                  <a:gd name="T22" fmla="*/ 542 w 888"/>
                  <a:gd name="T23" fmla="*/ 57 h 340"/>
                  <a:gd name="T24" fmla="*/ 491 w 888"/>
                  <a:gd name="T25" fmla="*/ 51 h 340"/>
                  <a:gd name="T26" fmla="*/ 442 w 888"/>
                  <a:gd name="T27" fmla="*/ 30 h 340"/>
                  <a:gd name="T28" fmla="*/ 385 w 888"/>
                  <a:gd name="T29" fmla="*/ 16 h 340"/>
                  <a:gd name="T30" fmla="*/ 272 w 888"/>
                  <a:gd name="T31" fmla="*/ 42 h 340"/>
                  <a:gd name="T32" fmla="*/ 203 w 888"/>
                  <a:gd name="T33" fmla="*/ 53 h 340"/>
                  <a:gd name="T34" fmla="*/ 120 w 888"/>
                  <a:gd name="T35" fmla="*/ 14 h 340"/>
                  <a:gd name="T36" fmla="*/ 79 w 888"/>
                  <a:gd name="T37" fmla="*/ 10 h 340"/>
                  <a:gd name="T38" fmla="*/ 52 w 888"/>
                  <a:gd name="T39" fmla="*/ 28 h 340"/>
                  <a:gd name="T40" fmla="*/ 50 w 888"/>
                  <a:gd name="T41" fmla="*/ 47 h 340"/>
                  <a:gd name="T42" fmla="*/ 50 w 888"/>
                  <a:gd name="T43" fmla="*/ 86 h 340"/>
                  <a:gd name="T44" fmla="*/ 107 w 888"/>
                  <a:gd name="T45" fmla="*/ 65 h 340"/>
                  <a:gd name="T46" fmla="*/ 165 w 888"/>
                  <a:gd name="T47" fmla="*/ 81 h 340"/>
                  <a:gd name="T48" fmla="*/ 92 w 888"/>
                  <a:gd name="T49" fmla="*/ 91 h 340"/>
                  <a:gd name="T50" fmla="*/ 76 w 888"/>
                  <a:gd name="T51" fmla="*/ 142 h 340"/>
                  <a:gd name="T52" fmla="*/ 83 w 888"/>
                  <a:gd name="T53" fmla="*/ 186 h 340"/>
                  <a:gd name="T54" fmla="*/ 108 w 888"/>
                  <a:gd name="T55" fmla="*/ 234 h 340"/>
                  <a:gd name="T56" fmla="*/ 146 w 888"/>
                  <a:gd name="T57" fmla="*/ 297 h 340"/>
                  <a:gd name="T58" fmla="*/ 250 w 888"/>
                  <a:gd name="T59" fmla="*/ 310 h 340"/>
                  <a:gd name="T60" fmla="*/ 359 w 888"/>
                  <a:gd name="T61" fmla="*/ 325 h 340"/>
                  <a:gd name="T62" fmla="*/ 477 w 888"/>
                  <a:gd name="T63" fmla="*/ 298 h 340"/>
                  <a:gd name="T64" fmla="*/ 495 w 888"/>
                  <a:gd name="T65" fmla="*/ 329 h 340"/>
                  <a:gd name="T66" fmla="*/ 515 w 888"/>
                  <a:gd name="T67" fmla="*/ 330 h 340"/>
                  <a:gd name="T68" fmla="*/ 525 w 888"/>
                  <a:gd name="T69" fmla="*/ 308 h 340"/>
                  <a:gd name="T70" fmla="*/ 546 w 888"/>
                  <a:gd name="T71" fmla="*/ 296 h 340"/>
                  <a:gd name="T72" fmla="*/ 622 w 888"/>
                  <a:gd name="T73" fmla="*/ 290 h 340"/>
                  <a:gd name="T74" fmla="*/ 699 w 888"/>
                  <a:gd name="T75" fmla="*/ 271 h 340"/>
                  <a:gd name="T76" fmla="*/ 746 w 888"/>
                  <a:gd name="T77" fmla="*/ 270 h 340"/>
                  <a:gd name="T78" fmla="*/ 781 w 888"/>
                  <a:gd name="T79" fmla="*/ 274 h 340"/>
                  <a:gd name="T80" fmla="*/ 835 w 888"/>
                  <a:gd name="T81" fmla="*/ 267 h 340"/>
                  <a:gd name="T82" fmla="*/ 888 w 888"/>
                  <a:gd name="T83" fmla="*/ 265 h 340"/>
                  <a:gd name="T84" fmla="*/ 81 w 888"/>
                  <a:gd name="T85" fmla="*/ 204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8" h="340">
                    <a:moveTo>
                      <a:pt x="3" y="126"/>
                    </a:moveTo>
                    <a:cubicBezTo>
                      <a:pt x="17" y="125"/>
                      <a:pt x="17" y="125"/>
                      <a:pt x="17" y="125"/>
                    </a:cubicBezTo>
                    <a:cubicBezTo>
                      <a:pt x="20" y="116"/>
                      <a:pt x="20" y="116"/>
                      <a:pt x="20" y="116"/>
                    </a:cubicBezTo>
                    <a:cubicBezTo>
                      <a:pt x="0" y="116"/>
                      <a:pt x="0" y="116"/>
                      <a:pt x="0" y="116"/>
                    </a:cubicBezTo>
                    <a:lnTo>
                      <a:pt x="3" y="126"/>
                    </a:lnTo>
                    <a:close/>
                    <a:moveTo>
                      <a:pt x="27" y="107"/>
                    </a:moveTo>
                    <a:cubicBezTo>
                      <a:pt x="30" y="116"/>
                      <a:pt x="40" y="122"/>
                      <a:pt x="39" y="106"/>
                    </a:cubicBezTo>
                    <a:cubicBezTo>
                      <a:pt x="38" y="90"/>
                      <a:pt x="27" y="107"/>
                      <a:pt x="27" y="107"/>
                    </a:cubicBezTo>
                    <a:close/>
                    <a:moveTo>
                      <a:pt x="63" y="93"/>
                    </a:moveTo>
                    <a:cubicBezTo>
                      <a:pt x="45" y="93"/>
                      <a:pt x="45" y="93"/>
                      <a:pt x="45" y="93"/>
                    </a:cubicBezTo>
                    <a:cubicBezTo>
                      <a:pt x="45" y="114"/>
                      <a:pt x="45" y="114"/>
                      <a:pt x="45" y="114"/>
                    </a:cubicBezTo>
                    <a:cubicBezTo>
                      <a:pt x="52" y="101"/>
                      <a:pt x="52" y="101"/>
                      <a:pt x="52" y="101"/>
                    </a:cubicBezTo>
                    <a:lnTo>
                      <a:pt x="63" y="93"/>
                    </a:lnTo>
                    <a:close/>
                    <a:moveTo>
                      <a:pt x="888" y="265"/>
                    </a:moveTo>
                    <a:cubicBezTo>
                      <a:pt x="887" y="261"/>
                      <a:pt x="887" y="259"/>
                      <a:pt x="887" y="259"/>
                    </a:cubicBezTo>
                    <a:cubicBezTo>
                      <a:pt x="871" y="254"/>
                      <a:pt x="871" y="254"/>
                      <a:pt x="871" y="254"/>
                    </a:cubicBezTo>
                    <a:cubicBezTo>
                      <a:pt x="871" y="236"/>
                      <a:pt x="871" y="236"/>
                      <a:pt x="871" y="236"/>
                    </a:cubicBezTo>
                    <a:cubicBezTo>
                      <a:pt x="850" y="224"/>
                      <a:pt x="850" y="224"/>
                      <a:pt x="850" y="224"/>
                    </a:cubicBezTo>
                    <a:cubicBezTo>
                      <a:pt x="850" y="224"/>
                      <a:pt x="863" y="205"/>
                      <a:pt x="858" y="203"/>
                    </a:cubicBezTo>
                    <a:cubicBezTo>
                      <a:pt x="853" y="201"/>
                      <a:pt x="846" y="180"/>
                      <a:pt x="846" y="180"/>
                    </a:cubicBezTo>
                    <a:cubicBezTo>
                      <a:pt x="845" y="165"/>
                      <a:pt x="845" y="165"/>
                      <a:pt x="845" y="165"/>
                    </a:cubicBezTo>
                    <a:cubicBezTo>
                      <a:pt x="834" y="149"/>
                      <a:pt x="834" y="149"/>
                      <a:pt x="834" y="149"/>
                    </a:cubicBezTo>
                    <a:cubicBezTo>
                      <a:pt x="850" y="147"/>
                      <a:pt x="850" y="147"/>
                      <a:pt x="850" y="147"/>
                    </a:cubicBezTo>
                    <a:cubicBezTo>
                      <a:pt x="850" y="147"/>
                      <a:pt x="851" y="142"/>
                      <a:pt x="853" y="137"/>
                    </a:cubicBezTo>
                    <a:cubicBezTo>
                      <a:pt x="850" y="127"/>
                      <a:pt x="846" y="116"/>
                      <a:pt x="843" y="116"/>
                    </a:cubicBezTo>
                    <a:cubicBezTo>
                      <a:pt x="838" y="115"/>
                      <a:pt x="822" y="124"/>
                      <a:pt x="814" y="113"/>
                    </a:cubicBezTo>
                    <a:cubicBezTo>
                      <a:pt x="806" y="102"/>
                      <a:pt x="808" y="88"/>
                      <a:pt x="802" y="73"/>
                    </a:cubicBezTo>
                    <a:cubicBezTo>
                      <a:pt x="796" y="58"/>
                      <a:pt x="794" y="50"/>
                      <a:pt x="794" y="50"/>
                    </a:cubicBezTo>
                    <a:cubicBezTo>
                      <a:pt x="777" y="50"/>
                      <a:pt x="777" y="50"/>
                      <a:pt x="777" y="50"/>
                    </a:cubicBezTo>
                    <a:cubicBezTo>
                      <a:pt x="777" y="50"/>
                      <a:pt x="775" y="35"/>
                      <a:pt x="761" y="32"/>
                    </a:cubicBezTo>
                    <a:cubicBezTo>
                      <a:pt x="747" y="29"/>
                      <a:pt x="741" y="39"/>
                      <a:pt x="741" y="39"/>
                    </a:cubicBezTo>
                    <a:cubicBezTo>
                      <a:pt x="715" y="34"/>
                      <a:pt x="715" y="34"/>
                      <a:pt x="715" y="34"/>
                    </a:cubicBezTo>
                    <a:cubicBezTo>
                      <a:pt x="706" y="43"/>
                      <a:pt x="688" y="59"/>
                      <a:pt x="678" y="63"/>
                    </a:cubicBezTo>
                    <a:cubicBezTo>
                      <a:pt x="665" y="68"/>
                      <a:pt x="621" y="62"/>
                      <a:pt x="621" y="62"/>
                    </a:cubicBezTo>
                    <a:cubicBezTo>
                      <a:pt x="585" y="72"/>
                      <a:pt x="585" y="72"/>
                      <a:pt x="585" y="72"/>
                    </a:cubicBezTo>
                    <a:cubicBezTo>
                      <a:pt x="542" y="57"/>
                      <a:pt x="542" y="57"/>
                      <a:pt x="542" y="57"/>
                    </a:cubicBezTo>
                    <a:cubicBezTo>
                      <a:pt x="525" y="63"/>
                      <a:pt x="525" y="63"/>
                      <a:pt x="525" y="63"/>
                    </a:cubicBezTo>
                    <a:cubicBezTo>
                      <a:pt x="525" y="63"/>
                      <a:pt x="516" y="40"/>
                      <a:pt x="508" y="42"/>
                    </a:cubicBezTo>
                    <a:cubicBezTo>
                      <a:pt x="500" y="44"/>
                      <a:pt x="491" y="51"/>
                      <a:pt x="491" y="51"/>
                    </a:cubicBezTo>
                    <a:cubicBezTo>
                      <a:pt x="475" y="40"/>
                      <a:pt x="475" y="40"/>
                      <a:pt x="475" y="40"/>
                    </a:cubicBezTo>
                    <a:cubicBezTo>
                      <a:pt x="472" y="25"/>
                      <a:pt x="472" y="25"/>
                      <a:pt x="472" y="25"/>
                    </a:cubicBezTo>
                    <a:cubicBezTo>
                      <a:pt x="442" y="30"/>
                      <a:pt x="442" y="30"/>
                      <a:pt x="442" y="30"/>
                    </a:cubicBezTo>
                    <a:cubicBezTo>
                      <a:pt x="424" y="20"/>
                      <a:pt x="424" y="20"/>
                      <a:pt x="424" y="20"/>
                    </a:cubicBezTo>
                    <a:cubicBezTo>
                      <a:pt x="421" y="6"/>
                      <a:pt x="421" y="6"/>
                      <a:pt x="421" y="6"/>
                    </a:cubicBezTo>
                    <a:cubicBezTo>
                      <a:pt x="421" y="6"/>
                      <a:pt x="398" y="16"/>
                      <a:pt x="385" y="16"/>
                    </a:cubicBezTo>
                    <a:cubicBezTo>
                      <a:pt x="373" y="16"/>
                      <a:pt x="355" y="10"/>
                      <a:pt x="343" y="11"/>
                    </a:cubicBezTo>
                    <a:cubicBezTo>
                      <a:pt x="332" y="12"/>
                      <a:pt x="297" y="26"/>
                      <a:pt x="291" y="32"/>
                    </a:cubicBezTo>
                    <a:cubicBezTo>
                      <a:pt x="286" y="39"/>
                      <a:pt x="272" y="42"/>
                      <a:pt x="272" y="42"/>
                    </a:cubicBezTo>
                    <a:cubicBezTo>
                      <a:pt x="266" y="58"/>
                      <a:pt x="266" y="58"/>
                      <a:pt x="266" y="58"/>
                    </a:cubicBezTo>
                    <a:cubicBezTo>
                      <a:pt x="266" y="58"/>
                      <a:pt x="266" y="62"/>
                      <a:pt x="252" y="59"/>
                    </a:cubicBezTo>
                    <a:cubicBezTo>
                      <a:pt x="239" y="56"/>
                      <a:pt x="216" y="53"/>
                      <a:pt x="203" y="53"/>
                    </a:cubicBezTo>
                    <a:cubicBezTo>
                      <a:pt x="191" y="53"/>
                      <a:pt x="151" y="44"/>
                      <a:pt x="151" y="44"/>
                    </a:cubicBezTo>
                    <a:cubicBezTo>
                      <a:pt x="151" y="44"/>
                      <a:pt x="127" y="47"/>
                      <a:pt x="124" y="33"/>
                    </a:cubicBezTo>
                    <a:cubicBezTo>
                      <a:pt x="122" y="26"/>
                      <a:pt x="121" y="19"/>
                      <a:pt x="120" y="14"/>
                    </a:cubicBezTo>
                    <a:cubicBezTo>
                      <a:pt x="111" y="15"/>
                      <a:pt x="97" y="13"/>
                      <a:pt x="97" y="13"/>
                    </a:cubicBezTo>
                    <a:cubicBezTo>
                      <a:pt x="87" y="0"/>
                      <a:pt x="87" y="0"/>
                      <a:pt x="87" y="0"/>
                    </a:cubicBezTo>
                    <a:cubicBezTo>
                      <a:pt x="79" y="10"/>
                      <a:pt x="79" y="10"/>
                      <a:pt x="79" y="10"/>
                    </a:cubicBezTo>
                    <a:cubicBezTo>
                      <a:pt x="59" y="8"/>
                      <a:pt x="59" y="8"/>
                      <a:pt x="59" y="8"/>
                    </a:cubicBezTo>
                    <a:cubicBezTo>
                      <a:pt x="50" y="23"/>
                      <a:pt x="50" y="23"/>
                      <a:pt x="50" y="23"/>
                    </a:cubicBezTo>
                    <a:cubicBezTo>
                      <a:pt x="52" y="28"/>
                      <a:pt x="52" y="28"/>
                      <a:pt x="52" y="28"/>
                    </a:cubicBezTo>
                    <a:cubicBezTo>
                      <a:pt x="52" y="28"/>
                      <a:pt x="59" y="27"/>
                      <a:pt x="62" y="32"/>
                    </a:cubicBezTo>
                    <a:cubicBezTo>
                      <a:pt x="65" y="37"/>
                      <a:pt x="64" y="45"/>
                      <a:pt x="64" y="45"/>
                    </a:cubicBezTo>
                    <a:cubicBezTo>
                      <a:pt x="64" y="45"/>
                      <a:pt x="51" y="41"/>
                      <a:pt x="50" y="47"/>
                    </a:cubicBezTo>
                    <a:cubicBezTo>
                      <a:pt x="49" y="53"/>
                      <a:pt x="54" y="56"/>
                      <a:pt x="52" y="63"/>
                    </a:cubicBezTo>
                    <a:cubicBezTo>
                      <a:pt x="50" y="70"/>
                      <a:pt x="47" y="75"/>
                      <a:pt x="47" y="75"/>
                    </a:cubicBezTo>
                    <a:cubicBezTo>
                      <a:pt x="47" y="75"/>
                      <a:pt x="35" y="87"/>
                      <a:pt x="50" y="86"/>
                    </a:cubicBezTo>
                    <a:cubicBezTo>
                      <a:pt x="65" y="85"/>
                      <a:pt x="76" y="80"/>
                      <a:pt x="76" y="80"/>
                    </a:cubicBezTo>
                    <a:cubicBezTo>
                      <a:pt x="76" y="80"/>
                      <a:pt x="72" y="90"/>
                      <a:pt x="80" y="87"/>
                    </a:cubicBezTo>
                    <a:cubicBezTo>
                      <a:pt x="88" y="84"/>
                      <a:pt x="107" y="65"/>
                      <a:pt x="107" y="65"/>
                    </a:cubicBezTo>
                    <a:cubicBezTo>
                      <a:pt x="107" y="65"/>
                      <a:pt x="141" y="53"/>
                      <a:pt x="152" y="61"/>
                    </a:cubicBezTo>
                    <a:cubicBezTo>
                      <a:pt x="163" y="69"/>
                      <a:pt x="197" y="74"/>
                      <a:pt x="197" y="74"/>
                    </a:cubicBezTo>
                    <a:cubicBezTo>
                      <a:pt x="197" y="74"/>
                      <a:pt x="166" y="78"/>
                      <a:pt x="165" y="81"/>
                    </a:cubicBezTo>
                    <a:cubicBezTo>
                      <a:pt x="164" y="84"/>
                      <a:pt x="159" y="93"/>
                      <a:pt x="159" y="93"/>
                    </a:cubicBezTo>
                    <a:cubicBezTo>
                      <a:pt x="126" y="94"/>
                      <a:pt x="126" y="94"/>
                      <a:pt x="126" y="94"/>
                    </a:cubicBezTo>
                    <a:cubicBezTo>
                      <a:pt x="92" y="91"/>
                      <a:pt x="92" y="91"/>
                      <a:pt x="92" y="91"/>
                    </a:cubicBezTo>
                    <a:cubicBezTo>
                      <a:pt x="92" y="91"/>
                      <a:pt x="66" y="97"/>
                      <a:pt x="62" y="105"/>
                    </a:cubicBezTo>
                    <a:cubicBezTo>
                      <a:pt x="58" y="113"/>
                      <a:pt x="49" y="143"/>
                      <a:pt x="49" y="143"/>
                    </a:cubicBezTo>
                    <a:cubicBezTo>
                      <a:pt x="76" y="142"/>
                      <a:pt x="76" y="142"/>
                      <a:pt x="76" y="142"/>
                    </a:cubicBezTo>
                    <a:cubicBezTo>
                      <a:pt x="76" y="142"/>
                      <a:pt x="72" y="151"/>
                      <a:pt x="77" y="159"/>
                    </a:cubicBezTo>
                    <a:cubicBezTo>
                      <a:pt x="82" y="167"/>
                      <a:pt x="88" y="175"/>
                      <a:pt x="88" y="175"/>
                    </a:cubicBezTo>
                    <a:cubicBezTo>
                      <a:pt x="83" y="186"/>
                      <a:pt x="83" y="186"/>
                      <a:pt x="83" y="186"/>
                    </a:cubicBezTo>
                    <a:cubicBezTo>
                      <a:pt x="93" y="201"/>
                      <a:pt x="93" y="201"/>
                      <a:pt x="93" y="201"/>
                    </a:cubicBezTo>
                    <a:cubicBezTo>
                      <a:pt x="84" y="212"/>
                      <a:pt x="84" y="212"/>
                      <a:pt x="84" y="212"/>
                    </a:cubicBezTo>
                    <a:cubicBezTo>
                      <a:pt x="108" y="234"/>
                      <a:pt x="108" y="234"/>
                      <a:pt x="108" y="234"/>
                    </a:cubicBezTo>
                    <a:cubicBezTo>
                      <a:pt x="106" y="258"/>
                      <a:pt x="106" y="258"/>
                      <a:pt x="106" y="258"/>
                    </a:cubicBezTo>
                    <a:cubicBezTo>
                      <a:pt x="140" y="275"/>
                      <a:pt x="140" y="275"/>
                      <a:pt x="140" y="275"/>
                    </a:cubicBezTo>
                    <a:cubicBezTo>
                      <a:pt x="146" y="297"/>
                      <a:pt x="146" y="297"/>
                      <a:pt x="146" y="297"/>
                    </a:cubicBezTo>
                    <a:cubicBezTo>
                      <a:pt x="146" y="297"/>
                      <a:pt x="143" y="285"/>
                      <a:pt x="162" y="290"/>
                    </a:cubicBezTo>
                    <a:cubicBezTo>
                      <a:pt x="181" y="295"/>
                      <a:pt x="178" y="312"/>
                      <a:pt x="208" y="315"/>
                    </a:cubicBezTo>
                    <a:cubicBezTo>
                      <a:pt x="238" y="318"/>
                      <a:pt x="250" y="317"/>
                      <a:pt x="250" y="310"/>
                    </a:cubicBezTo>
                    <a:cubicBezTo>
                      <a:pt x="250" y="303"/>
                      <a:pt x="252" y="284"/>
                      <a:pt x="262" y="283"/>
                    </a:cubicBezTo>
                    <a:cubicBezTo>
                      <a:pt x="272" y="282"/>
                      <a:pt x="299" y="289"/>
                      <a:pt x="313" y="294"/>
                    </a:cubicBezTo>
                    <a:cubicBezTo>
                      <a:pt x="327" y="299"/>
                      <a:pt x="313" y="326"/>
                      <a:pt x="359" y="325"/>
                    </a:cubicBezTo>
                    <a:cubicBezTo>
                      <a:pt x="405" y="324"/>
                      <a:pt x="406" y="299"/>
                      <a:pt x="422" y="294"/>
                    </a:cubicBezTo>
                    <a:cubicBezTo>
                      <a:pt x="438" y="289"/>
                      <a:pt x="450" y="285"/>
                      <a:pt x="457" y="291"/>
                    </a:cubicBezTo>
                    <a:cubicBezTo>
                      <a:pt x="464" y="297"/>
                      <a:pt x="466" y="303"/>
                      <a:pt x="477" y="298"/>
                    </a:cubicBezTo>
                    <a:cubicBezTo>
                      <a:pt x="488" y="293"/>
                      <a:pt x="495" y="277"/>
                      <a:pt x="502" y="284"/>
                    </a:cubicBezTo>
                    <a:cubicBezTo>
                      <a:pt x="509" y="291"/>
                      <a:pt x="501" y="300"/>
                      <a:pt x="498" y="306"/>
                    </a:cubicBezTo>
                    <a:cubicBezTo>
                      <a:pt x="495" y="312"/>
                      <a:pt x="488" y="324"/>
                      <a:pt x="495" y="329"/>
                    </a:cubicBezTo>
                    <a:cubicBezTo>
                      <a:pt x="496" y="330"/>
                      <a:pt x="497" y="331"/>
                      <a:pt x="496" y="333"/>
                    </a:cubicBezTo>
                    <a:cubicBezTo>
                      <a:pt x="499" y="335"/>
                      <a:pt x="506" y="340"/>
                      <a:pt x="509" y="339"/>
                    </a:cubicBezTo>
                    <a:cubicBezTo>
                      <a:pt x="513" y="338"/>
                      <a:pt x="515" y="330"/>
                      <a:pt x="515" y="330"/>
                    </a:cubicBezTo>
                    <a:cubicBezTo>
                      <a:pt x="515" y="321"/>
                      <a:pt x="515" y="321"/>
                      <a:pt x="515" y="321"/>
                    </a:cubicBezTo>
                    <a:cubicBezTo>
                      <a:pt x="515" y="321"/>
                      <a:pt x="529" y="327"/>
                      <a:pt x="530" y="319"/>
                    </a:cubicBezTo>
                    <a:cubicBezTo>
                      <a:pt x="532" y="306"/>
                      <a:pt x="525" y="308"/>
                      <a:pt x="525" y="308"/>
                    </a:cubicBezTo>
                    <a:cubicBezTo>
                      <a:pt x="524" y="287"/>
                      <a:pt x="524" y="287"/>
                      <a:pt x="524" y="287"/>
                    </a:cubicBezTo>
                    <a:cubicBezTo>
                      <a:pt x="524" y="287"/>
                      <a:pt x="538" y="282"/>
                      <a:pt x="540" y="286"/>
                    </a:cubicBezTo>
                    <a:cubicBezTo>
                      <a:pt x="542" y="290"/>
                      <a:pt x="525" y="296"/>
                      <a:pt x="546" y="296"/>
                    </a:cubicBezTo>
                    <a:cubicBezTo>
                      <a:pt x="567" y="296"/>
                      <a:pt x="582" y="288"/>
                      <a:pt x="582" y="288"/>
                    </a:cubicBezTo>
                    <a:cubicBezTo>
                      <a:pt x="582" y="288"/>
                      <a:pt x="593" y="276"/>
                      <a:pt x="596" y="277"/>
                    </a:cubicBezTo>
                    <a:cubicBezTo>
                      <a:pt x="599" y="278"/>
                      <a:pt x="622" y="290"/>
                      <a:pt x="622" y="290"/>
                    </a:cubicBezTo>
                    <a:cubicBezTo>
                      <a:pt x="622" y="290"/>
                      <a:pt x="634" y="295"/>
                      <a:pt x="645" y="294"/>
                    </a:cubicBezTo>
                    <a:cubicBezTo>
                      <a:pt x="656" y="293"/>
                      <a:pt x="661" y="290"/>
                      <a:pt x="670" y="287"/>
                    </a:cubicBezTo>
                    <a:cubicBezTo>
                      <a:pt x="679" y="284"/>
                      <a:pt x="686" y="272"/>
                      <a:pt x="699" y="271"/>
                    </a:cubicBezTo>
                    <a:cubicBezTo>
                      <a:pt x="712" y="270"/>
                      <a:pt x="718" y="269"/>
                      <a:pt x="723" y="271"/>
                    </a:cubicBezTo>
                    <a:cubicBezTo>
                      <a:pt x="728" y="273"/>
                      <a:pt x="723" y="278"/>
                      <a:pt x="732" y="277"/>
                    </a:cubicBezTo>
                    <a:cubicBezTo>
                      <a:pt x="741" y="276"/>
                      <a:pt x="746" y="270"/>
                      <a:pt x="746" y="270"/>
                    </a:cubicBezTo>
                    <a:cubicBezTo>
                      <a:pt x="746" y="270"/>
                      <a:pt x="751" y="268"/>
                      <a:pt x="759" y="267"/>
                    </a:cubicBezTo>
                    <a:cubicBezTo>
                      <a:pt x="767" y="266"/>
                      <a:pt x="769" y="255"/>
                      <a:pt x="772" y="257"/>
                    </a:cubicBezTo>
                    <a:cubicBezTo>
                      <a:pt x="775" y="259"/>
                      <a:pt x="769" y="277"/>
                      <a:pt x="781" y="274"/>
                    </a:cubicBezTo>
                    <a:cubicBezTo>
                      <a:pt x="793" y="271"/>
                      <a:pt x="792" y="258"/>
                      <a:pt x="792" y="258"/>
                    </a:cubicBezTo>
                    <a:cubicBezTo>
                      <a:pt x="818" y="258"/>
                      <a:pt x="818" y="258"/>
                      <a:pt x="818" y="258"/>
                    </a:cubicBezTo>
                    <a:cubicBezTo>
                      <a:pt x="818" y="258"/>
                      <a:pt x="827" y="269"/>
                      <a:pt x="835" y="267"/>
                    </a:cubicBezTo>
                    <a:cubicBezTo>
                      <a:pt x="843" y="265"/>
                      <a:pt x="835" y="257"/>
                      <a:pt x="849" y="258"/>
                    </a:cubicBezTo>
                    <a:cubicBezTo>
                      <a:pt x="863" y="259"/>
                      <a:pt x="861" y="276"/>
                      <a:pt x="861" y="276"/>
                    </a:cubicBezTo>
                    <a:lnTo>
                      <a:pt x="888" y="265"/>
                    </a:lnTo>
                    <a:close/>
                    <a:moveTo>
                      <a:pt x="67" y="189"/>
                    </a:moveTo>
                    <a:cubicBezTo>
                      <a:pt x="63" y="185"/>
                      <a:pt x="61" y="207"/>
                      <a:pt x="67" y="217"/>
                    </a:cubicBezTo>
                    <a:cubicBezTo>
                      <a:pt x="72" y="226"/>
                      <a:pt x="79" y="208"/>
                      <a:pt x="81" y="204"/>
                    </a:cubicBezTo>
                    <a:cubicBezTo>
                      <a:pt x="83" y="200"/>
                      <a:pt x="71" y="193"/>
                      <a:pt x="67" y="189"/>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71" name="Timor-Leste">
                <a:extLst>
                  <a:ext uri="{FF2B5EF4-FFF2-40B4-BE49-F238E27FC236}">
                    <a16:creationId xmlns:a16="http://schemas.microsoft.com/office/drawing/2014/main" id="{344732B1-9120-4D4A-97B1-6D87DD2499AA}"/>
                  </a:ext>
                </a:extLst>
              </p:cNvPr>
              <p:cNvSpPr>
                <a:spLocks noEditPoints="1"/>
              </p:cNvSpPr>
              <p:nvPr/>
            </p:nvSpPr>
            <p:spPr bwMode="gray">
              <a:xfrm>
                <a:off x="8896544" y="4331087"/>
                <a:ext cx="95267" cy="42843"/>
              </a:xfrm>
              <a:custGeom>
                <a:avLst/>
                <a:gdLst>
                  <a:gd name="T0" fmla="*/ 53 w 168"/>
                  <a:gd name="T1" fmla="*/ 33 h 77"/>
                  <a:gd name="T2" fmla="*/ 53 w 168"/>
                  <a:gd name="T3" fmla="*/ 33 h 77"/>
                  <a:gd name="T4" fmla="*/ 53 w 168"/>
                  <a:gd name="T5" fmla="*/ 33 h 77"/>
                  <a:gd name="T6" fmla="*/ 53 w 168"/>
                  <a:gd name="T7" fmla="*/ 33 h 77"/>
                  <a:gd name="T8" fmla="*/ 152 w 168"/>
                  <a:gd name="T9" fmla="*/ 0 h 77"/>
                  <a:gd name="T10" fmla="*/ 139 w 168"/>
                  <a:gd name="T11" fmla="*/ 14 h 77"/>
                  <a:gd name="T12" fmla="*/ 84 w 168"/>
                  <a:gd name="T13" fmla="*/ 15 h 77"/>
                  <a:gd name="T14" fmla="*/ 67 w 168"/>
                  <a:gd name="T15" fmla="*/ 33 h 77"/>
                  <a:gd name="T16" fmla="*/ 53 w 168"/>
                  <a:gd name="T17" fmla="*/ 33 h 77"/>
                  <a:gd name="T18" fmla="*/ 60 w 168"/>
                  <a:gd name="T19" fmla="*/ 47 h 77"/>
                  <a:gd name="T20" fmla="*/ 50 w 168"/>
                  <a:gd name="T21" fmla="*/ 66 h 77"/>
                  <a:gd name="T22" fmla="*/ 52 w 168"/>
                  <a:gd name="T23" fmla="*/ 77 h 77"/>
                  <a:gd name="T24" fmla="*/ 57 w 168"/>
                  <a:gd name="T25" fmla="*/ 72 h 77"/>
                  <a:gd name="T26" fmla="*/ 67 w 168"/>
                  <a:gd name="T27" fmla="*/ 69 h 77"/>
                  <a:gd name="T28" fmla="*/ 89 w 168"/>
                  <a:gd name="T29" fmla="*/ 53 h 77"/>
                  <a:gd name="T30" fmla="*/ 111 w 168"/>
                  <a:gd name="T31" fmla="*/ 59 h 77"/>
                  <a:gd name="T32" fmla="*/ 168 w 168"/>
                  <a:gd name="T33" fmla="*/ 9 h 77"/>
                  <a:gd name="T34" fmla="*/ 152 w 168"/>
                  <a:gd name="T35" fmla="*/ 0 h 77"/>
                  <a:gd name="T36" fmla="*/ 0 w 168"/>
                  <a:gd name="T37" fmla="*/ 58 h 77"/>
                  <a:gd name="T38" fmla="*/ 4 w 168"/>
                  <a:gd name="T39" fmla="*/ 67 h 77"/>
                  <a:gd name="T40" fmla="*/ 24 w 168"/>
                  <a:gd name="T41" fmla="*/ 61 h 77"/>
                  <a:gd name="T42" fmla="*/ 28 w 168"/>
                  <a:gd name="T43" fmla="*/ 48 h 77"/>
                  <a:gd name="T44" fmla="*/ 11 w 168"/>
                  <a:gd name="T45" fmla="*/ 47 h 77"/>
                  <a:gd name="T46" fmla="*/ 0 w 168"/>
                  <a:gd name="T47" fmla="*/ 5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8" h="77">
                    <a:moveTo>
                      <a:pt x="53" y="33"/>
                    </a:moveTo>
                    <a:cubicBezTo>
                      <a:pt x="53" y="33"/>
                      <a:pt x="53" y="33"/>
                      <a:pt x="53" y="33"/>
                    </a:cubicBezTo>
                    <a:cubicBezTo>
                      <a:pt x="53" y="33"/>
                      <a:pt x="53" y="33"/>
                      <a:pt x="53" y="33"/>
                    </a:cubicBezTo>
                    <a:cubicBezTo>
                      <a:pt x="53" y="33"/>
                      <a:pt x="53" y="33"/>
                      <a:pt x="53" y="33"/>
                    </a:cubicBezTo>
                    <a:close/>
                    <a:moveTo>
                      <a:pt x="152" y="0"/>
                    </a:moveTo>
                    <a:cubicBezTo>
                      <a:pt x="139" y="14"/>
                      <a:pt x="139" y="14"/>
                      <a:pt x="139" y="14"/>
                    </a:cubicBezTo>
                    <a:cubicBezTo>
                      <a:pt x="139" y="14"/>
                      <a:pt x="96" y="15"/>
                      <a:pt x="84" y="15"/>
                    </a:cubicBezTo>
                    <a:cubicBezTo>
                      <a:pt x="73" y="15"/>
                      <a:pt x="67" y="33"/>
                      <a:pt x="67" y="33"/>
                    </a:cubicBezTo>
                    <a:cubicBezTo>
                      <a:pt x="67" y="33"/>
                      <a:pt x="61" y="32"/>
                      <a:pt x="53" y="33"/>
                    </a:cubicBezTo>
                    <a:cubicBezTo>
                      <a:pt x="60" y="47"/>
                      <a:pt x="60" y="47"/>
                      <a:pt x="60" y="47"/>
                    </a:cubicBezTo>
                    <a:cubicBezTo>
                      <a:pt x="60" y="47"/>
                      <a:pt x="56" y="54"/>
                      <a:pt x="50" y="66"/>
                    </a:cubicBezTo>
                    <a:cubicBezTo>
                      <a:pt x="46" y="72"/>
                      <a:pt x="49" y="76"/>
                      <a:pt x="52" y="77"/>
                    </a:cubicBezTo>
                    <a:cubicBezTo>
                      <a:pt x="55" y="74"/>
                      <a:pt x="57" y="72"/>
                      <a:pt x="57" y="72"/>
                    </a:cubicBezTo>
                    <a:cubicBezTo>
                      <a:pt x="67" y="69"/>
                      <a:pt x="67" y="69"/>
                      <a:pt x="67" y="69"/>
                    </a:cubicBezTo>
                    <a:cubicBezTo>
                      <a:pt x="89" y="53"/>
                      <a:pt x="89" y="53"/>
                      <a:pt x="89" y="53"/>
                    </a:cubicBezTo>
                    <a:cubicBezTo>
                      <a:pt x="89" y="53"/>
                      <a:pt x="98" y="62"/>
                      <a:pt x="111" y="59"/>
                    </a:cubicBezTo>
                    <a:cubicBezTo>
                      <a:pt x="124" y="56"/>
                      <a:pt x="168" y="9"/>
                      <a:pt x="168" y="9"/>
                    </a:cubicBezTo>
                    <a:lnTo>
                      <a:pt x="152" y="0"/>
                    </a:lnTo>
                    <a:close/>
                    <a:moveTo>
                      <a:pt x="0" y="58"/>
                    </a:moveTo>
                    <a:cubicBezTo>
                      <a:pt x="4" y="67"/>
                      <a:pt x="4" y="67"/>
                      <a:pt x="4" y="67"/>
                    </a:cubicBezTo>
                    <a:cubicBezTo>
                      <a:pt x="15" y="58"/>
                      <a:pt x="24" y="61"/>
                      <a:pt x="24" y="61"/>
                    </a:cubicBezTo>
                    <a:cubicBezTo>
                      <a:pt x="24" y="61"/>
                      <a:pt x="24" y="54"/>
                      <a:pt x="28" y="48"/>
                    </a:cubicBezTo>
                    <a:cubicBezTo>
                      <a:pt x="11" y="47"/>
                      <a:pt x="11" y="47"/>
                      <a:pt x="11" y="47"/>
                    </a:cubicBezTo>
                    <a:lnTo>
                      <a:pt x="0" y="58"/>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72" name="Thailand">
                <a:extLst>
                  <a:ext uri="{FF2B5EF4-FFF2-40B4-BE49-F238E27FC236}">
                    <a16:creationId xmlns:a16="http://schemas.microsoft.com/office/drawing/2014/main" id="{B6A57434-D582-45E2-9AED-11917BBF68CF}"/>
                  </a:ext>
                </a:extLst>
              </p:cNvPr>
              <p:cNvSpPr>
                <a:spLocks/>
              </p:cNvSpPr>
              <p:nvPr/>
            </p:nvSpPr>
            <p:spPr bwMode="gray">
              <a:xfrm>
                <a:off x="8166167" y="3467887"/>
                <a:ext cx="234991" cy="447468"/>
              </a:xfrm>
              <a:custGeom>
                <a:avLst/>
                <a:gdLst>
                  <a:gd name="T0" fmla="*/ 402 w 420"/>
                  <a:gd name="T1" fmla="*/ 258 h 800"/>
                  <a:gd name="T2" fmla="*/ 391 w 420"/>
                  <a:gd name="T3" fmla="*/ 238 h 800"/>
                  <a:gd name="T4" fmla="*/ 356 w 420"/>
                  <a:gd name="T5" fmla="*/ 189 h 800"/>
                  <a:gd name="T6" fmla="*/ 323 w 420"/>
                  <a:gd name="T7" fmla="*/ 138 h 800"/>
                  <a:gd name="T8" fmla="*/ 295 w 420"/>
                  <a:gd name="T9" fmla="*/ 119 h 800"/>
                  <a:gd name="T10" fmla="*/ 251 w 420"/>
                  <a:gd name="T11" fmla="*/ 136 h 800"/>
                  <a:gd name="T12" fmla="*/ 196 w 420"/>
                  <a:gd name="T13" fmla="*/ 145 h 800"/>
                  <a:gd name="T14" fmla="*/ 181 w 420"/>
                  <a:gd name="T15" fmla="*/ 115 h 800"/>
                  <a:gd name="T16" fmla="*/ 182 w 420"/>
                  <a:gd name="T17" fmla="*/ 87 h 800"/>
                  <a:gd name="T18" fmla="*/ 176 w 420"/>
                  <a:gd name="T19" fmla="*/ 51 h 800"/>
                  <a:gd name="T20" fmla="*/ 155 w 420"/>
                  <a:gd name="T21" fmla="*/ 54 h 800"/>
                  <a:gd name="T22" fmla="*/ 136 w 420"/>
                  <a:gd name="T23" fmla="*/ 15 h 800"/>
                  <a:gd name="T24" fmla="*/ 110 w 420"/>
                  <a:gd name="T25" fmla="*/ 1 h 800"/>
                  <a:gd name="T26" fmla="*/ 82 w 420"/>
                  <a:gd name="T27" fmla="*/ 21 h 800"/>
                  <a:gd name="T28" fmla="*/ 53 w 420"/>
                  <a:gd name="T29" fmla="*/ 43 h 800"/>
                  <a:gd name="T30" fmla="*/ 19 w 420"/>
                  <a:gd name="T31" fmla="*/ 64 h 800"/>
                  <a:gd name="T32" fmla="*/ 17 w 420"/>
                  <a:gd name="T33" fmla="*/ 102 h 800"/>
                  <a:gd name="T34" fmla="*/ 8 w 420"/>
                  <a:gd name="T35" fmla="*/ 120 h 800"/>
                  <a:gd name="T36" fmla="*/ 22 w 420"/>
                  <a:gd name="T37" fmla="*/ 145 h 800"/>
                  <a:gd name="T38" fmla="*/ 67 w 420"/>
                  <a:gd name="T39" fmla="*/ 188 h 800"/>
                  <a:gd name="T40" fmla="*/ 79 w 420"/>
                  <a:gd name="T41" fmla="*/ 219 h 800"/>
                  <a:gd name="T42" fmla="*/ 73 w 420"/>
                  <a:gd name="T43" fmla="*/ 236 h 800"/>
                  <a:gd name="T44" fmla="*/ 65 w 420"/>
                  <a:gd name="T45" fmla="*/ 279 h 800"/>
                  <a:gd name="T46" fmla="*/ 79 w 420"/>
                  <a:gd name="T47" fmla="*/ 326 h 800"/>
                  <a:gd name="T48" fmla="*/ 112 w 420"/>
                  <a:gd name="T49" fmla="*/ 409 h 800"/>
                  <a:gd name="T50" fmla="*/ 133 w 420"/>
                  <a:gd name="T51" fmla="*/ 450 h 800"/>
                  <a:gd name="T52" fmla="*/ 110 w 420"/>
                  <a:gd name="T53" fmla="*/ 522 h 800"/>
                  <a:gd name="T54" fmla="*/ 98 w 420"/>
                  <a:gd name="T55" fmla="*/ 567 h 800"/>
                  <a:gd name="T56" fmla="*/ 84 w 420"/>
                  <a:gd name="T57" fmla="*/ 676 h 800"/>
                  <a:gd name="T58" fmla="*/ 101 w 420"/>
                  <a:gd name="T59" fmla="*/ 653 h 800"/>
                  <a:gd name="T60" fmla="*/ 132 w 420"/>
                  <a:gd name="T61" fmla="*/ 698 h 800"/>
                  <a:gd name="T62" fmla="*/ 159 w 420"/>
                  <a:gd name="T63" fmla="*/ 743 h 800"/>
                  <a:gd name="T64" fmla="*/ 184 w 420"/>
                  <a:gd name="T65" fmla="*/ 754 h 800"/>
                  <a:gd name="T66" fmla="*/ 198 w 420"/>
                  <a:gd name="T67" fmla="*/ 749 h 800"/>
                  <a:gd name="T68" fmla="*/ 222 w 420"/>
                  <a:gd name="T69" fmla="*/ 765 h 800"/>
                  <a:gd name="T70" fmla="*/ 226 w 420"/>
                  <a:gd name="T71" fmla="*/ 791 h 800"/>
                  <a:gd name="T72" fmla="*/ 268 w 420"/>
                  <a:gd name="T73" fmla="*/ 792 h 800"/>
                  <a:gd name="T74" fmla="*/ 261 w 420"/>
                  <a:gd name="T75" fmla="*/ 755 h 800"/>
                  <a:gd name="T76" fmla="*/ 215 w 420"/>
                  <a:gd name="T77" fmla="*/ 727 h 800"/>
                  <a:gd name="T78" fmla="*/ 190 w 420"/>
                  <a:gd name="T79" fmla="*/ 705 h 800"/>
                  <a:gd name="T80" fmla="*/ 190 w 420"/>
                  <a:gd name="T81" fmla="*/ 679 h 800"/>
                  <a:gd name="T82" fmla="*/ 165 w 420"/>
                  <a:gd name="T83" fmla="*/ 635 h 800"/>
                  <a:gd name="T84" fmla="*/ 131 w 420"/>
                  <a:gd name="T85" fmla="*/ 608 h 800"/>
                  <a:gd name="T86" fmla="*/ 120 w 420"/>
                  <a:gd name="T87" fmla="*/ 524 h 800"/>
                  <a:gd name="T88" fmla="*/ 138 w 420"/>
                  <a:gd name="T89" fmla="*/ 456 h 800"/>
                  <a:gd name="T90" fmla="*/ 147 w 420"/>
                  <a:gd name="T91" fmla="*/ 396 h 800"/>
                  <a:gd name="T92" fmla="*/ 158 w 420"/>
                  <a:gd name="T93" fmla="*/ 374 h 800"/>
                  <a:gd name="T94" fmla="*/ 201 w 420"/>
                  <a:gd name="T95" fmla="*/ 381 h 800"/>
                  <a:gd name="T96" fmla="*/ 199 w 420"/>
                  <a:gd name="T97" fmla="*/ 419 h 800"/>
                  <a:gd name="T98" fmla="*/ 265 w 420"/>
                  <a:gd name="T99" fmla="*/ 457 h 800"/>
                  <a:gd name="T100" fmla="*/ 287 w 420"/>
                  <a:gd name="T101" fmla="*/ 431 h 800"/>
                  <a:gd name="T102" fmla="*/ 276 w 420"/>
                  <a:gd name="T103" fmla="*/ 402 h 800"/>
                  <a:gd name="T104" fmla="*/ 267 w 420"/>
                  <a:gd name="T105" fmla="*/ 371 h 800"/>
                  <a:gd name="T106" fmla="*/ 313 w 420"/>
                  <a:gd name="T107" fmla="*/ 327 h 800"/>
                  <a:gd name="T108" fmla="*/ 368 w 420"/>
                  <a:gd name="T109" fmla="*/ 325 h 800"/>
                  <a:gd name="T110" fmla="*/ 410 w 420"/>
                  <a:gd name="T111" fmla="*/ 31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800">
                    <a:moveTo>
                      <a:pt x="395" y="285"/>
                    </a:moveTo>
                    <a:cubicBezTo>
                      <a:pt x="393" y="281"/>
                      <a:pt x="408" y="268"/>
                      <a:pt x="402" y="258"/>
                    </a:cubicBezTo>
                    <a:cubicBezTo>
                      <a:pt x="396" y="248"/>
                      <a:pt x="393" y="255"/>
                      <a:pt x="393" y="255"/>
                    </a:cubicBezTo>
                    <a:cubicBezTo>
                      <a:pt x="393" y="255"/>
                      <a:pt x="391" y="242"/>
                      <a:pt x="391" y="238"/>
                    </a:cubicBezTo>
                    <a:cubicBezTo>
                      <a:pt x="391" y="234"/>
                      <a:pt x="373" y="227"/>
                      <a:pt x="368" y="218"/>
                    </a:cubicBezTo>
                    <a:cubicBezTo>
                      <a:pt x="363" y="209"/>
                      <a:pt x="356" y="189"/>
                      <a:pt x="356" y="189"/>
                    </a:cubicBezTo>
                    <a:cubicBezTo>
                      <a:pt x="355" y="161"/>
                      <a:pt x="355" y="161"/>
                      <a:pt x="355" y="161"/>
                    </a:cubicBezTo>
                    <a:cubicBezTo>
                      <a:pt x="355" y="161"/>
                      <a:pt x="341" y="149"/>
                      <a:pt x="323" y="138"/>
                    </a:cubicBezTo>
                    <a:cubicBezTo>
                      <a:pt x="305" y="127"/>
                      <a:pt x="318" y="121"/>
                      <a:pt x="310" y="119"/>
                    </a:cubicBezTo>
                    <a:cubicBezTo>
                      <a:pt x="302" y="117"/>
                      <a:pt x="295" y="119"/>
                      <a:pt x="295" y="119"/>
                    </a:cubicBezTo>
                    <a:cubicBezTo>
                      <a:pt x="295" y="119"/>
                      <a:pt x="282" y="110"/>
                      <a:pt x="272" y="111"/>
                    </a:cubicBezTo>
                    <a:cubicBezTo>
                      <a:pt x="262" y="112"/>
                      <a:pt x="265" y="137"/>
                      <a:pt x="251" y="136"/>
                    </a:cubicBezTo>
                    <a:cubicBezTo>
                      <a:pt x="237" y="135"/>
                      <a:pt x="223" y="124"/>
                      <a:pt x="216" y="122"/>
                    </a:cubicBezTo>
                    <a:cubicBezTo>
                      <a:pt x="209" y="120"/>
                      <a:pt x="196" y="145"/>
                      <a:pt x="196" y="145"/>
                    </a:cubicBezTo>
                    <a:cubicBezTo>
                      <a:pt x="196" y="145"/>
                      <a:pt x="177" y="161"/>
                      <a:pt x="167" y="158"/>
                    </a:cubicBezTo>
                    <a:cubicBezTo>
                      <a:pt x="157" y="155"/>
                      <a:pt x="181" y="124"/>
                      <a:pt x="181" y="115"/>
                    </a:cubicBezTo>
                    <a:cubicBezTo>
                      <a:pt x="181" y="106"/>
                      <a:pt x="168" y="107"/>
                      <a:pt x="168" y="107"/>
                    </a:cubicBezTo>
                    <a:cubicBezTo>
                      <a:pt x="168" y="107"/>
                      <a:pt x="182" y="96"/>
                      <a:pt x="182" y="87"/>
                    </a:cubicBezTo>
                    <a:cubicBezTo>
                      <a:pt x="182" y="78"/>
                      <a:pt x="174" y="71"/>
                      <a:pt x="174" y="71"/>
                    </a:cubicBezTo>
                    <a:cubicBezTo>
                      <a:pt x="174" y="71"/>
                      <a:pt x="176" y="65"/>
                      <a:pt x="176" y="51"/>
                    </a:cubicBezTo>
                    <a:cubicBezTo>
                      <a:pt x="176" y="37"/>
                      <a:pt x="153" y="46"/>
                      <a:pt x="153" y="46"/>
                    </a:cubicBezTo>
                    <a:cubicBezTo>
                      <a:pt x="155" y="54"/>
                      <a:pt x="155" y="54"/>
                      <a:pt x="155" y="54"/>
                    </a:cubicBezTo>
                    <a:cubicBezTo>
                      <a:pt x="155" y="54"/>
                      <a:pt x="142" y="54"/>
                      <a:pt x="136" y="49"/>
                    </a:cubicBezTo>
                    <a:cubicBezTo>
                      <a:pt x="130" y="44"/>
                      <a:pt x="137" y="23"/>
                      <a:pt x="136" y="15"/>
                    </a:cubicBezTo>
                    <a:cubicBezTo>
                      <a:pt x="135" y="7"/>
                      <a:pt x="125" y="12"/>
                      <a:pt x="125" y="12"/>
                    </a:cubicBezTo>
                    <a:cubicBezTo>
                      <a:pt x="125" y="12"/>
                      <a:pt x="114" y="2"/>
                      <a:pt x="110" y="1"/>
                    </a:cubicBezTo>
                    <a:cubicBezTo>
                      <a:pt x="106" y="0"/>
                      <a:pt x="87" y="6"/>
                      <a:pt x="87" y="6"/>
                    </a:cubicBezTo>
                    <a:cubicBezTo>
                      <a:pt x="82" y="21"/>
                      <a:pt x="82" y="21"/>
                      <a:pt x="82" y="21"/>
                    </a:cubicBezTo>
                    <a:cubicBezTo>
                      <a:pt x="65" y="22"/>
                      <a:pt x="65" y="22"/>
                      <a:pt x="65" y="22"/>
                    </a:cubicBezTo>
                    <a:cubicBezTo>
                      <a:pt x="65" y="22"/>
                      <a:pt x="63" y="40"/>
                      <a:pt x="53" y="43"/>
                    </a:cubicBezTo>
                    <a:cubicBezTo>
                      <a:pt x="43" y="46"/>
                      <a:pt x="34" y="35"/>
                      <a:pt x="23" y="37"/>
                    </a:cubicBezTo>
                    <a:cubicBezTo>
                      <a:pt x="12" y="39"/>
                      <a:pt x="20" y="55"/>
                      <a:pt x="19" y="64"/>
                    </a:cubicBezTo>
                    <a:cubicBezTo>
                      <a:pt x="18" y="73"/>
                      <a:pt x="8" y="74"/>
                      <a:pt x="7" y="78"/>
                    </a:cubicBezTo>
                    <a:cubicBezTo>
                      <a:pt x="6" y="82"/>
                      <a:pt x="17" y="93"/>
                      <a:pt x="17" y="102"/>
                    </a:cubicBezTo>
                    <a:cubicBezTo>
                      <a:pt x="17" y="111"/>
                      <a:pt x="6" y="105"/>
                      <a:pt x="3" y="108"/>
                    </a:cubicBezTo>
                    <a:cubicBezTo>
                      <a:pt x="0" y="111"/>
                      <a:pt x="3" y="116"/>
                      <a:pt x="8" y="120"/>
                    </a:cubicBezTo>
                    <a:cubicBezTo>
                      <a:pt x="13" y="124"/>
                      <a:pt x="26" y="130"/>
                      <a:pt x="26" y="130"/>
                    </a:cubicBezTo>
                    <a:cubicBezTo>
                      <a:pt x="22" y="145"/>
                      <a:pt x="22" y="145"/>
                      <a:pt x="22" y="145"/>
                    </a:cubicBezTo>
                    <a:cubicBezTo>
                      <a:pt x="22" y="145"/>
                      <a:pt x="27" y="148"/>
                      <a:pt x="30" y="158"/>
                    </a:cubicBezTo>
                    <a:cubicBezTo>
                      <a:pt x="33" y="168"/>
                      <a:pt x="59" y="177"/>
                      <a:pt x="67" y="188"/>
                    </a:cubicBezTo>
                    <a:cubicBezTo>
                      <a:pt x="75" y="199"/>
                      <a:pt x="61" y="194"/>
                      <a:pt x="66" y="206"/>
                    </a:cubicBezTo>
                    <a:cubicBezTo>
                      <a:pt x="71" y="218"/>
                      <a:pt x="79" y="219"/>
                      <a:pt x="79" y="219"/>
                    </a:cubicBezTo>
                    <a:cubicBezTo>
                      <a:pt x="79" y="219"/>
                      <a:pt x="85" y="211"/>
                      <a:pt x="85" y="224"/>
                    </a:cubicBezTo>
                    <a:cubicBezTo>
                      <a:pt x="85" y="237"/>
                      <a:pt x="73" y="236"/>
                      <a:pt x="73" y="236"/>
                    </a:cubicBezTo>
                    <a:cubicBezTo>
                      <a:pt x="73" y="236"/>
                      <a:pt x="76" y="247"/>
                      <a:pt x="76" y="253"/>
                    </a:cubicBezTo>
                    <a:cubicBezTo>
                      <a:pt x="76" y="259"/>
                      <a:pt x="75" y="269"/>
                      <a:pt x="65" y="279"/>
                    </a:cubicBezTo>
                    <a:cubicBezTo>
                      <a:pt x="55" y="289"/>
                      <a:pt x="63" y="302"/>
                      <a:pt x="63" y="302"/>
                    </a:cubicBezTo>
                    <a:cubicBezTo>
                      <a:pt x="63" y="302"/>
                      <a:pt x="75" y="316"/>
                      <a:pt x="79" y="326"/>
                    </a:cubicBezTo>
                    <a:cubicBezTo>
                      <a:pt x="83" y="336"/>
                      <a:pt x="105" y="349"/>
                      <a:pt x="109" y="364"/>
                    </a:cubicBezTo>
                    <a:cubicBezTo>
                      <a:pt x="113" y="379"/>
                      <a:pt x="108" y="403"/>
                      <a:pt x="112" y="409"/>
                    </a:cubicBezTo>
                    <a:cubicBezTo>
                      <a:pt x="116" y="415"/>
                      <a:pt x="131" y="427"/>
                      <a:pt x="131" y="427"/>
                    </a:cubicBezTo>
                    <a:cubicBezTo>
                      <a:pt x="131" y="427"/>
                      <a:pt x="129" y="437"/>
                      <a:pt x="133" y="450"/>
                    </a:cubicBezTo>
                    <a:cubicBezTo>
                      <a:pt x="137" y="463"/>
                      <a:pt x="130" y="488"/>
                      <a:pt x="127" y="498"/>
                    </a:cubicBezTo>
                    <a:cubicBezTo>
                      <a:pt x="124" y="508"/>
                      <a:pt x="119" y="515"/>
                      <a:pt x="110" y="522"/>
                    </a:cubicBezTo>
                    <a:cubicBezTo>
                      <a:pt x="101" y="529"/>
                      <a:pt x="109" y="536"/>
                      <a:pt x="108" y="545"/>
                    </a:cubicBezTo>
                    <a:cubicBezTo>
                      <a:pt x="107" y="554"/>
                      <a:pt x="98" y="567"/>
                      <a:pt x="98" y="567"/>
                    </a:cubicBezTo>
                    <a:cubicBezTo>
                      <a:pt x="98" y="567"/>
                      <a:pt x="86" y="599"/>
                      <a:pt x="84" y="615"/>
                    </a:cubicBezTo>
                    <a:cubicBezTo>
                      <a:pt x="82" y="631"/>
                      <a:pt x="84" y="676"/>
                      <a:pt x="84" y="676"/>
                    </a:cubicBezTo>
                    <a:cubicBezTo>
                      <a:pt x="84" y="676"/>
                      <a:pt x="94" y="686"/>
                      <a:pt x="96" y="676"/>
                    </a:cubicBezTo>
                    <a:cubicBezTo>
                      <a:pt x="97" y="666"/>
                      <a:pt x="97" y="642"/>
                      <a:pt x="101" y="653"/>
                    </a:cubicBezTo>
                    <a:cubicBezTo>
                      <a:pt x="104" y="665"/>
                      <a:pt x="96" y="665"/>
                      <a:pt x="110" y="667"/>
                    </a:cubicBezTo>
                    <a:cubicBezTo>
                      <a:pt x="124" y="668"/>
                      <a:pt x="132" y="698"/>
                      <a:pt x="132" y="698"/>
                    </a:cubicBezTo>
                    <a:cubicBezTo>
                      <a:pt x="155" y="718"/>
                      <a:pt x="155" y="718"/>
                      <a:pt x="155" y="718"/>
                    </a:cubicBezTo>
                    <a:cubicBezTo>
                      <a:pt x="155" y="718"/>
                      <a:pt x="150" y="729"/>
                      <a:pt x="159" y="743"/>
                    </a:cubicBezTo>
                    <a:cubicBezTo>
                      <a:pt x="165" y="754"/>
                      <a:pt x="173" y="762"/>
                      <a:pt x="177" y="766"/>
                    </a:cubicBezTo>
                    <a:cubicBezTo>
                      <a:pt x="181" y="762"/>
                      <a:pt x="184" y="758"/>
                      <a:pt x="184" y="754"/>
                    </a:cubicBezTo>
                    <a:cubicBezTo>
                      <a:pt x="183" y="745"/>
                      <a:pt x="182" y="739"/>
                      <a:pt x="189" y="738"/>
                    </a:cubicBezTo>
                    <a:cubicBezTo>
                      <a:pt x="196" y="737"/>
                      <a:pt x="198" y="749"/>
                      <a:pt x="198" y="749"/>
                    </a:cubicBezTo>
                    <a:cubicBezTo>
                      <a:pt x="198" y="749"/>
                      <a:pt x="209" y="749"/>
                      <a:pt x="216" y="753"/>
                    </a:cubicBezTo>
                    <a:cubicBezTo>
                      <a:pt x="223" y="757"/>
                      <a:pt x="222" y="765"/>
                      <a:pt x="222" y="765"/>
                    </a:cubicBezTo>
                    <a:cubicBezTo>
                      <a:pt x="222" y="765"/>
                      <a:pt x="229" y="763"/>
                      <a:pt x="229" y="769"/>
                    </a:cubicBezTo>
                    <a:cubicBezTo>
                      <a:pt x="229" y="775"/>
                      <a:pt x="213" y="787"/>
                      <a:pt x="226" y="791"/>
                    </a:cubicBezTo>
                    <a:cubicBezTo>
                      <a:pt x="239" y="795"/>
                      <a:pt x="238" y="785"/>
                      <a:pt x="249" y="784"/>
                    </a:cubicBezTo>
                    <a:cubicBezTo>
                      <a:pt x="260" y="783"/>
                      <a:pt x="262" y="800"/>
                      <a:pt x="268" y="792"/>
                    </a:cubicBezTo>
                    <a:cubicBezTo>
                      <a:pt x="272" y="787"/>
                      <a:pt x="277" y="776"/>
                      <a:pt x="280" y="768"/>
                    </a:cubicBezTo>
                    <a:cubicBezTo>
                      <a:pt x="271" y="761"/>
                      <a:pt x="261" y="755"/>
                      <a:pt x="261" y="755"/>
                    </a:cubicBezTo>
                    <a:cubicBezTo>
                      <a:pt x="261" y="755"/>
                      <a:pt x="256" y="731"/>
                      <a:pt x="253" y="721"/>
                    </a:cubicBezTo>
                    <a:cubicBezTo>
                      <a:pt x="250" y="711"/>
                      <a:pt x="223" y="731"/>
                      <a:pt x="215" y="727"/>
                    </a:cubicBezTo>
                    <a:cubicBezTo>
                      <a:pt x="208" y="723"/>
                      <a:pt x="201" y="686"/>
                      <a:pt x="196" y="689"/>
                    </a:cubicBezTo>
                    <a:cubicBezTo>
                      <a:pt x="191" y="693"/>
                      <a:pt x="196" y="704"/>
                      <a:pt x="190" y="705"/>
                    </a:cubicBezTo>
                    <a:cubicBezTo>
                      <a:pt x="184" y="706"/>
                      <a:pt x="169" y="683"/>
                      <a:pt x="177" y="675"/>
                    </a:cubicBezTo>
                    <a:cubicBezTo>
                      <a:pt x="185" y="667"/>
                      <a:pt x="182" y="682"/>
                      <a:pt x="190" y="679"/>
                    </a:cubicBezTo>
                    <a:cubicBezTo>
                      <a:pt x="198" y="676"/>
                      <a:pt x="180" y="645"/>
                      <a:pt x="178" y="639"/>
                    </a:cubicBezTo>
                    <a:cubicBezTo>
                      <a:pt x="176" y="633"/>
                      <a:pt x="165" y="635"/>
                      <a:pt x="165" y="635"/>
                    </a:cubicBezTo>
                    <a:cubicBezTo>
                      <a:pt x="166" y="598"/>
                      <a:pt x="166" y="598"/>
                      <a:pt x="166" y="598"/>
                    </a:cubicBezTo>
                    <a:cubicBezTo>
                      <a:pt x="131" y="608"/>
                      <a:pt x="131" y="608"/>
                      <a:pt x="131" y="608"/>
                    </a:cubicBezTo>
                    <a:cubicBezTo>
                      <a:pt x="131" y="608"/>
                      <a:pt x="127" y="549"/>
                      <a:pt x="126" y="542"/>
                    </a:cubicBezTo>
                    <a:cubicBezTo>
                      <a:pt x="125" y="534"/>
                      <a:pt x="120" y="524"/>
                      <a:pt x="120" y="524"/>
                    </a:cubicBezTo>
                    <a:cubicBezTo>
                      <a:pt x="120" y="524"/>
                      <a:pt x="136" y="516"/>
                      <a:pt x="137" y="498"/>
                    </a:cubicBezTo>
                    <a:cubicBezTo>
                      <a:pt x="138" y="479"/>
                      <a:pt x="138" y="456"/>
                      <a:pt x="138" y="456"/>
                    </a:cubicBezTo>
                    <a:cubicBezTo>
                      <a:pt x="138" y="456"/>
                      <a:pt x="152" y="449"/>
                      <a:pt x="153" y="425"/>
                    </a:cubicBezTo>
                    <a:cubicBezTo>
                      <a:pt x="154" y="400"/>
                      <a:pt x="147" y="396"/>
                      <a:pt x="147" y="396"/>
                    </a:cubicBezTo>
                    <a:cubicBezTo>
                      <a:pt x="151" y="374"/>
                      <a:pt x="151" y="374"/>
                      <a:pt x="151" y="374"/>
                    </a:cubicBezTo>
                    <a:cubicBezTo>
                      <a:pt x="158" y="374"/>
                      <a:pt x="158" y="374"/>
                      <a:pt x="158" y="374"/>
                    </a:cubicBezTo>
                    <a:cubicBezTo>
                      <a:pt x="158" y="374"/>
                      <a:pt x="159" y="366"/>
                      <a:pt x="171" y="367"/>
                    </a:cubicBezTo>
                    <a:cubicBezTo>
                      <a:pt x="182" y="367"/>
                      <a:pt x="201" y="381"/>
                      <a:pt x="201" y="381"/>
                    </a:cubicBezTo>
                    <a:cubicBezTo>
                      <a:pt x="193" y="387"/>
                      <a:pt x="193" y="387"/>
                      <a:pt x="193" y="387"/>
                    </a:cubicBezTo>
                    <a:cubicBezTo>
                      <a:pt x="193" y="387"/>
                      <a:pt x="188" y="419"/>
                      <a:pt x="199" y="419"/>
                    </a:cubicBezTo>
                    <a:cubicBezTo>
                      <a:pt x="211" y="420"/>
                      <a:pt x="247" y="403"/>
                      <a:pt x="247" y="403"/>
                    </a:cubicBezTo>
                    <a:cubicBezTo>
                      <a:pt x="265" y="457"/>
                      <a:pt x="265" y="457"/>
                      <a:pt x="265" y="457"/>
                    </a:cubicBezTo>
                    <a:cubicBezTo>
                      <a:pt x="265" y="457"/>
                      <a:pt x="273" y="445"/>
                      <a:pt x="284" y="450"/>
                    </a:cubicBezTo>
                    <a:cubicBezTo>
                      <a:pt x="287" y="431"/>
                      <a:pt x="287" y="431"/>
                      <a:pt x="287" y="431"/>
                    </a:cubicBezTo>
                    <a:cubicBezTo>
                      <a:pt x="276" y="421"/>
                      <a:pt x="276" y="421"/>
                      <a:pt x="276" y="421"/>
                    </a:cubicBezTo>
                    <a:cubicBezTo>
                      <a:pt x="276" y="402"/>
                      <a:pt x="276" y="402"/>
                      <a:pt x="276" y="402"/>
                    </a:cubicBezTo>
                    <a:cubicBezTo>
                      <a:pt x="269" y="396"/>
                      <a:pt x="269" y="396"/>
                      <a:pt x="269" y="396"/>
                    </a:cubicBezTo>
                    <a:cubicBezTo>
                      <a:pt x="267" y="371"/>
                      <a:pt x="267" y="371"/>
                      <a:pt x="267" y="371"/>
                    </a:cubicBezTo>
                    <a:cubicBezTo>
                      <a:pt x="286" y="351"/>
                      <a:pt x="286" y="351"/>
                      <a:pt x="286" y="351"/>
                    </a:cubicBezTo>
                    <a:cubicBezTo>
                      <a:pt x="286" y="351"/>
                      <a:pt x="286" y="332"/>
                      <a:pt x="313" y="327"/>
                    </a:cubicBezTo>
                    <a:cubicBezTo>
                      <a:pt x="340" y="322"/>
                      <a:pt x="341" y="332"/>
                      <a:pt x="341" y="332"/>
                    </a:cubicBezTo>
                    <a:cubicBezTo>
                      <a:pt x="341" y="332"/>
                      <a:pt x="363" y="326"/>
                      <a:pt x="368" y="325"/>
                    </a:cubicBezTo>
                    <a:cubicBezTo>
                      <a:pt x="373" y="324"/>
                      <a:pt x="390" y="333"/>
                      <a:pt x="390" y="333"/>
                    </a:cubicBezTo>
                    <a:cubicBezTo>
                      <a:pt x="390" y="333"/>
                      <a:pt x="400" y="328"/>
                      <a:pt x="410" y="316"/>
                    </a:cubicBezTo>
                    <a:cubicBezTo>
                      <a:pt x="420" y="304"/>
                      <a:pt x="397" y="289"/>
                      <a:pt x="395" y="285"/>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73" name="Tajikistan">
                <a:extLst>
                  <a:ext uri="{FF2B5EF4-FFF2-40B4-BE49-F238E27FC236}">
                    <a16:creationId xmlns:a16="http://schemas.microsoft.com/office/drawing/2014/main" id="{F19A6BFC-A7BB-4A5D-ACB9-C8A2E089F4CF}"/>
                  </a:ext>
                </a:extLst>
              </p:cNvPr>
              <p:cNvSpPr>
                <a:spLocks/>
              </p:cNvSpPr>
              <p:nvPr/>
            </p:nvSpPr>
            <p:spPr bwMode="gray">
              <a:xfrm>
                <a:off x="7289714" y="2849049"/>
                <a:ext cx="207998" cy="133288"/>
              </a:xfrm>
              <a:custGeom>
                <a:avLst/>
                <a:gdLst>
                  <a:gd name="T0" fmla="*/ 345 w 372"/>
                  <a:gd name="T1" fmla="*/ 142 h 238"/>
                  <a:gd name="T2" fmla="*/ 291 w 372"/>
                  <a:gd name="T3" fmla="*/ 132 h 238"/>
                  <a:gd name="T4" fmla="*/ 275 w 372"/>
                  <a:gd name="T5" fmla="*/ 99 h 238"/>
                  <a:gd name="T6" fmla="*/ 266 w 372"/>
                  <a:gd name="T7" fmla="*/ 79 h 238"/>
                  <a:gd name="T8" fmla="*/ 230 w 372"/>
                  <a:gd name="T9" fmla="*/ 87 h 238"/>
                  <a:gd name="T10" fmla="*/ 210 w 372"/>
                  <a:gd name="T11" fmla="*/ 90 h 238"/>
                  <a:gd name="T12" fmla="*/ 176 w 372"/>
                  <a:gd name="T13" fmla="*/ 76 h 238"/>
                  <a:gd name="T14" fmla="*/ 142 w 372"/>
                  <a:gd name="T15" fmla="*/ 77 h 238"/>
                  <a:gd name="T16" fmla="*/ 108 w 372"/>
                  <a:gd name="T17" fmla="*/ 75 h 238"/>
                  <a:gd name="T18" fmla="*/ 76 w 372"/>
                  <a:gd name="T19" fmla="*/ 62 h 238"/>
                  <a:gd name="T20" fmla="*/ 101 w 372"/>
                  <a:gd name="T21" fmla="*/ 43 h 238"/>
                  <a:gd name="T22" fmla="*/ 141 w 372"/>
                  <a:gd name="T23" fmla="*/ 45 h 238"/>
                  <a:gd name="T24" fmla="*/ 133 w 372"/>
                  <a:gd name="T25" fmla="*/ 12 h 238"/>
                  <a:gd name="T26" fmla="*/ 91 w 372"/>
                  <a:gd name="T27" fmla="*/ 21 h 238"/>
                  <a:gd name="T28" fmla="*/ 65 w 372"/>
                  <a:gd name="T29" fmla="*/ 25 h 238"/>
                  <a:gd name="T30" fmla="*/ 46 w 372"/>
                  <a:gd name="T31" fmla="*/ 43 h 238"/>
                  <a:gd name="T32" fmla="*/ 49 w 372"/>
                  <a:gd name="T33" fmla="*/ 66 h 238"/>
                  <a:gd name="T34" fmla="*/ 6 w 372"/>
                  <a:gd name="T35" fmla="*/ 82 h 238"/>
                  <a:gd name="T36" fmla="*/ 14 w 372"/>
                  <a:gd name="T37" fmla="*/ 100 h 238"/>
                  <a:gd name="T38" fmla="*/ 42 w 372"/>
                  <a:gd name="T39" fmla="*/ 114 h 238"/>
                  <a:gd name="T40" fmla="*/ 61 w 372"/>
                  <a:gd name="T41" fmla="*/ 158 h 238"/>
                  <a:gd name="T42" fmla="*/ 42 w 372"/>
                  <a:gd name="T43" fmla="*/ 206 h 238"/>
                  <a:gd name="T44" fmla="*/ 89 w 372"/>
                  <a:gd name="T45" fmla="*/ 199 h 238"/>
                  <a:gd name="T46" fmla="*/ 111 w 372"/>
                  <a:gd name="T47" fmla="*/ 189 h 238"/>
                  <a:gd name="T48" fmla="*/ 145 w 372"/>
                  <a:gd name="T49" fmla="*/ 189 h 238"/>
                  <a:gd name="T50" fmla="*/ 142 w 372"/>
                  <a:gd name="T51" fmla="*/ 168 h 238"/>
                  <a:gd name="T52" fmla="*/ 164 w 372"/>
                  <a:gd name="T53" fmla="*/ 135 h 238"/>
                  <a:gd name="T54" fmla="*/ 184 w 372"/>
                  <a:gd name="T55" fmla="*/ 168 h 238"/>
                  <a:gd name="T56" fmla="*/ 205 w 372"/>
                  <a:gd name="T57" fmla="*/ 210 h 238"/>
                  <a:gd name="T58" fmla="*/ 249 w 372"/>
                  <a:gd name="T59" fmla="*/ 216 h 238"/>
                  <a:gd name="T60" fmla="*/ 273 w 372"/>
                  <a:gd name="T61" fmla="*/ 197 h 238"/>
                  <a:gd name="T62" fmla="*/ 306 w 372"/>
                  <a:gd name="T63" fmla="*/ 202 h 238"/>
                  <a:gd name="T64" fmla="*/ 343 w 372"/>
                  <a:gd name="T65" fmla="*/ 194 h 238"/>
                  <a:gd name="T66" fmla="*/ 364 w 372"/>
                  <a:gd name="T67" fmla="*/ 19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38">
                    <a:moveTo>
                      <a:pt x="353" y="181"/>
                    </a:moveTo>
                    <a:cubicBezTo>
                      <a:pt x="346" y="174"/>
                      <a:pt x="345" y="152"/>
                      <a:pt x="345" y="142"/>
                    </a:cubicBezTo>
                    <a:cubicBezTo>
                      <a:pt x="345" y="132"/>
                      <a:pt x="333" y="129"/>
                      <a:pt x="319" y="125"/>
                    </a:cubicBezTo>
                    <a:cubicBezTo>
                      <a:pt x="305" y="121"/>
                      <a:pt x="301" y="136"/>
                      <a:pt x="291" y="132"/>
                    </a:cubicBezTo>
                    <a:cubicBezTo>
                      <a:pt x="281" y="128"/>
                      <a:pt x="289" y="110"/>
                      <a:pt x="289" y="103"/>
                    </a:cubicBezTo>
                    <a:cubicBezTo>
                      <a:pt x="289" y="96"/>
                      <a:pt x="275" y="99"/>
                      <a:pt x="275" y="99"/>
                    </a:cubicBezTo>
                    <a:cubicBezTo>
                      <a:pt x="275" y="82"/>
                      <a:pt x="275" y="82"/>
                      <a:pt x="275" y="82"/>
                    </a:cubicBezTo>
                    <a:cubicBezTo>
                      <a:pt x="266" y="79"/>
                      <a:pt x="266" y="79"/>
                      <a:pt x="266" y="79"/>
                    </a:cubicBezTo>
                    <a:cubicBezTo>
                      <a:pt x="258" y="88"/>
                      <a:pt x="258" y="88"/>
                      <a:pt x="258" y="88"/>
                    </a:cubicBezTo>
                    <a:cubicBezTo>
                      <a:pt x="230" y="87"/>
                      <a:pt x="230" y="87"/>
                      <a:pt x="230" y="87"/>
                    </a:cubicBezTo>
                    <a:cubicBezTo>
                      <a:pt x="230" y="87"/>
                      <a:pt x="226" y="90"/>
                      <a:pt x="216" y="93"/>
                    </a:cubicBezTo>
                    <a:cubicBezTo>
                      <a:pt x="206" y="96"/>
                      <a:pt x="210" y="90"/>
                      <a:pt x="210" y="90"/>
                    </a:cubicBezTo>
                    <a:cubicBezTo>
                      <a:pt x="210" y="90"/>
                      <a:pt x="198" y="93"/>
                      <a:pt x="195" y="93"/>
                    </a:cubicBezTo>
                    <a:cubicBezTo>
                      <a:pt x="192" y="93"/>
                      <a:pt x="181" y="75"/>
                      <a:pt x="176" y="76"/>
                    </a:cubicBezTo>
                    <a:cubicBezTo>
                      <a:pt x="171" y="77"/>
                      <a:pt x="160" y="85"/>
                      <a:pt x="154" y="86"/>
                    </a:cubicBezTo>
                    <a:cubicBezTo>
                      <a:pt x="148" y="87"/>
                      <a:pt x="142" y="77"/>
                      <a:pt x="142" y="77"/>
                    </a:cubicBezTo>
                    <a:cubicBezTo>
                      <a:pt x="142" y="77"/>
                      <a:pt x="135" y="76"/>
                      <a:pt x="130" y="78"/>
                    </a:cubicBezTo>
                    <a:cubicBezTo>
                      <a:pt x="125" y="80"/>
                      <a:pt x="108" y="75"/>
                      <a:pt x="108" y="75"/>
                    </a:cubicBezTo>
                    <a:cubicBezTo>
                      <a:pt x="108" y="75"/>
                      <a:pt x="93" y="80"/>
                      <a:pt x="86" y="81"/>
                    </a:cubicBezTo>
                    <a:cubicBezTo>
                      <a:pt x="79" y="82"/>
                      <a:pt x="76" y="62"/>
                      <a:pt x="76" y="62"/>
                    </a:cubicBezTo>
                    <a:cubicBezTo>
                      <a:pt x="85" y="59"/>
                      <a:pt x="85" y="59"/>
                      <a:pt x="85" y="59"/>
                    </a:cubicBezTo>
                    <a:cubicBezTo>
                      <a:pt x="85" y="59"/>
                      <a:pt x="88" y="44"/>
                      <a:pt x="101" y="43"/>
                    </a:cubicBezTo>
                    <a:cubicBezTo>
                      <a:pt x="114" y="42"/>
                      <a:pt x="124" y="52"/>
                      <a:pt x="131" y="56"/>
                    </a:cubicBezTo>
                    <a:cubicBezTo>
                      <a:pt x="138" y="60"/>
                      <a:pt x="140" y="49"/>
                      <a:pt x="141" y="45"/>
                    </a:cubicBezTo>
                    <a:cubicBezTo>
                      <a:pt x="142" y="41"/>
                      <a:pt x="117" y="33"/>
                      <a:pt x="117" y="33"/>
                    </a:cubicBezTo>
                    <a:cubicBezTo>
                      <a:pt x="133" y="12"/>
                      <a:pt x="133" y="12"/>
                      <a:pt x="133" y="12"/>
                    </a:cubicBezTo>
                    <a:cubicBezTo>
                      <a:pt x="133" y="12"/>
                      <a:pt x="118" y="0"/>
                      <a:pt x="114" y="2"/>
                    </a:cubicBezTo>
                    <a:cubicBezTo>
                      <a:pt x="110" y="4"/>
                      <a:pt x="99" y="16"/>
                      <a:pt x="91" y="21"/>
                    </a:cubicBezTo>
                    <a:cubicBezTo>
                      <a:pt x="83" y="26"/>
                      <a:pt x="80" y="12"/>
                      <a:pt x="74" y="12"/>
                    </a:cubicBezTo>
                    <a:cubicBezTo>
                      <a:pt x="68" y="12"/>
                      <a:pt x="66" y="21"/>
                      <a:pt x="65" y="25"/>
                    </a:cubicBezTo>
                    <a:cubicBezTo>
                      <a:pt x="64" y="29"/>
                      <a:pt x="77" y="36"/>
                      <a:pt x="71" y="42"/>
                    </a:cubicBezTo>
                    <a:cubicBezTo>
                      <a:pt x="65" y="48"/>
                      <a:pt x="46" y="43"/>
                      <a:pt x="46" y="43"/>
                    </a:cubicBezTo>
                    <a:cubicBezTo>
                      <a:pt x="59" y="57"/>
                      <a:pt x="59" y="57"/>
                      <a:pt x="59" y="57"/>
                    </a:cubicBezTo>
                    <a:cubicBezTo>
                      <a:pt x="49" y="66"/>
                      <a:pt x="49" y="66"/>
                      <a:pt x="49" y="66"/>
                    </a:cubicBezTo>
                    <a:cubicBezTo>
                      <a:pt x="49" y="66"/>
                      <a:pt x="61" y="71"/>
                      <a:pt x="46" y="80"/>
                    </a:cubicBezTo>
                    <a:cubicBezTo>
                      <a:pt x="31" y="89"/>
                      <a:pt x="12" y="77"/>
                      <a:pt x="6" y="82"/>
                    </a:cubicBezTo>
                    <a:cubicBezTo>
                      <a:pt x="0" y="87"/>
                      <a:pt x="0" y="97"/>
                      <a:pt x="0" y="97"/>
                    </a:cubicBezTo>
                    <a:cubicBezTo>
                      <a:pt x="14" y="100"/>
                      <a:pt x="14" y="100"/>
                      <a:pt x="14" y="100"/>
                    </a:cubicBezTo>
                    <a:cubicBezTo>
                      <a:pt x="21" y="108"/>
                      <a:pt x="21" y="108"/>
                      <a:pt x="21" y="108"/>
                    </a:cubicBezTo>
                    <a:cubicBezTo>
                      <a:pt x="21" y="108"/>
                      <a:pt x="37" y="109"/>
                      <a:pt x="42" y="114"/>
                    </a:cubicBezTo>
                    <a:cubicBezTo>
                      <a:pt x="47" y="119"/>
                      <a:pt x="36" y="128"/>
                      <a:pt x="42" y="138"/>
                    </a:cubicBezTo>
                    <a:cubicBezTo>
                      <a:pt x="48" y="148"/>
                      <a:pt x="61" y="147"/>
                      <a:pt x="61" y="158"/>
                    </a:cubicBezTo>
                    <a:cubicBezTo>
                      <a:pt x="61" y="169"/>
                      <a:pt x="51" y="179"/>
                      <a:pt x="44" y="187"/>
                    </a:cubicBezTo>
                    <a:cubicBezTo>
                      <a:pt x="40" y="191"/>
                      <a:pt x="41" y="200"/>
                      <a:pt x="42" y="206"/>
                    </a:cubicBezTo>
                    <a:cubicBezTo>
                      <a:pt x="48" y="211"/>
                      <a:pt x="56" y="217"/>
                      <a:pt x="58" y="218"/>
                    </a:cubicBezTo>
                    <a:cubicBezTo>
                      <a:pt x="61" y="219"/>
                      <a:pt x="86" y="199"/>
                      <a:pt x="89" y="199"/>
                    </a:cubicBezTo>
                    <a:cubicBezTo>
                      <a:pt x="92" y="199"/>
                      <a:pt x="103" y="216"/>
                      <a:pt x="107" y="214"/>
                    </a:cubicBezTo>
                    <a:cubicBezTo>
                      <a:pt x="111" y="212"/>
                      <a:pt x="106" y="194"/>
                      <a:pt x="111" y="189"/>
                    </a:cubicBezTo>
                    <a:cubicBezTo>
                      <a:pt x="116" y="184"/>
                      <a:pt x="138" y="183"/>
                      <a:pt x="138" y="183"/>
                    </a:cubicBezTo>
                    <a:cubicBezTo>
                      <a:pt x="145" y="189"/>
                      <a:pt x="145" y="189"/>
                      <a:pt x="145" y="189"/>
                    </a:cubicBezTo>
                    <a:cubicBezTo>
                      <a:pt x="150" y="175"/>
                      <a:pt x="150" y="175"/>
                      <a:pt x="150" y="175"/>
                    </a:cubicBezTo>
                    <a:cubicBezTo>
                      <a:pt x="150" y="175"/>
                      <a:pt x="142" y="175"/>
                      <a:pt x="142" y="168"/>
                    </a:cubicBezTo>
                    <a:cubicBezTo>
                      <a:pt x="142" y="161"/>
                      <a:pt x="156" y="158"/>
                      <a:pt x="156" y="154"/>
                    </a:cubicBezTo>
                    <a:cubicBezTo>
                      <a:pt x="156" y="150"/>
                      <a:pt x="155" y="135"/>
                      <a:pt x="164" y="135"/>
                    </a:cubicBezTo>
                    <a:cubicBezTo>
                      <a:pt x="173" y="135"/>
                      <a:pt x="184" y="144"/>
                      <a:pt x="184" y="149"/>
                    </a:cubicBezTo>
                    <a:cubicBezTo>
                      <a:pt x="184" y="154"/>
                      <a:pt x="184" y="168"/>
                      <a:pt x="184" y="168"/>
                    </a:cubicBezTo>
                    <a:cubicBezTo>
                      <a:pt x="198" y="168"/>
                      <a:pt x="198" y="168"/>
                      <a:pt x="198" y="168"/>
                    </a:cubicBezTo>
                    <a:cubicBezTo>
                      <a:pt x="205" y="210"/>
                      <a:pt x="205" y="210"/>
                      <a:pt x="205" y="210"/>
                    </a:cubicBezTo>
                    <a:cubicBezTo>
                      <a:pt x="205" y="210"/>
                      <a:pt x="221" y="238"/>
                      <a:pt x="228" y="235"/>
                    </a:cubicBezTo>
                    <a:cubicBezTo>
                      <a:pt x="235" y="232"/>
                      <a:pt x="249" y="216"/>
                      <a:pt x="249" y="216"/>
                    </a:cubicBezTo>
                    <a:cubicBezTo>
                      <a:pt x="259" y="216"/>
                      <a:pt x="259" y="216"/>
                      <a:pt x="259" y="216"/>
                    </a:cubicBezTo>
                    <a:cubicBezTo>
                      <a:pt x="259" y="216"/>
                      <a:pt x="266" y="205"/>
                      <a:pt x="273" y="197"/>
                    </a:cubicBezTo>
                    <a:cubicBezTo>
                      <a:pt x="280" y="189"/>
                      <a:pt x="304" y="192"/>
                      <a:pt x="304" y="192"/>
                    </a:cubicBezTo>
                    <a:cubicBezTo>
                      <a:pt x="306" y="202"/>
                      <a:pt x="306" y="202"/>
                      <a:pt x="306" y="202"/>
                    </a:cubicBezTo>
                    <a:cubicBezTo>
                      <a:pt x="330" y="194"/>
                      <a:pt x="330" y="194"/>
                      <a:pt x="330" y="194"/>
                    </a:cubicBezTo>
                    <a:cubicBezTo>
                      <a:pt x="343" y="194"/>
                      <a:pt x="343" y="194"/>
                      <a:pt x="343" y="194"/>
                    </a:cubicBezTo>
                    <a:cubicBezTo>
                      <a:pt x="350" y="199"/>
                      <a:pt x="350" y="199"/>
                      <a:pt x="350" y="199"/>
                    </a:cubicBezTo>
                    <a:cubicBezTo>
                      <a:pt x="355" y="199"/>
                      <a:pt x="361" y="199"/>
                      <a:pt x="364" y="197"/>
                    </a:cubicBezTo>
                    <a:cubicBezTo>
                      <a:pt x="372" y="191"/>
                      <a:pt x="360" y="188"/>
                      <a:pt x="353" y="18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74" name="Taiwan">
                <a:extLst>
                  <a:ext uri="{FF2B5EF4-FFF2-40B4-BE49-F238E27FC236}">
                    <a16:creationId xmlns:a16="http://schemas.microsoft.com/office/drawing/2014/main" id="{53EF44F6-0A9B-46E9-BF9A-F68C1C7ED903}"/>
                  </a:ext>
                </a:extLst>
              </p:cNvPr>
              <p:cNvSpPr>
                <a:spLocks/>
              </p:cNvSpPr>
              <p:nvPr/>
            </p:nvSpPr>
            <p:spPr bwMode="gray">
              <a:xfrm>
                <a:off x="8728239" y="3320318"/>
                <a:ext cx="47633" cy="101553"/>
              </a:xfrm>
              <a:custGeom>
                <a:avLst/>
                <a:gdLst>
                  <a:gd name="T0" fmla="*/ 62 w 85"/>
                  <a:gd name="T1" fmla="*/ 181 h 181"/>
                  <a:gd name="T2" fmla="*/ 62 w 85"/>
                  <a:gd name="T3" fmla="*/ 148 h 181"/>
                  <a:gd name="T4" fmla="*/ 75 w 85"/>
                  <a:gd name="T5" fmla="*/ 118 h 181"/>
                  <a:gd name="T6" fmla="*/ 75 w 85"/>
                  <a:gd name="T7" fmla="*/ 68 h 181"/>
                  <a:gd name="T8" fmla="*/ 84 w 85"/>
                  <a:gd name="T9" fmla="*/ 43 h 181"/>
                  <a:gd name="T10" fmla="*/ 85 w 85"/>
                  <a:gd name="T11" fmla="*/ 17 h 181"/>
                  <a:gd name="T12" fmla="*/ 56 w 85"/>
                  <a:gd name="T13" fmla="*/ 0 h 181"/>
                  <a:gd name="T14" fmla="*/ 39 w 85"/>
                  <a:gd name="T15" fmla="*/ 20 h 181"/>
                  <a:gd name="T16" fmla="*/ 8 w 85"/>
                  <a:gd name="T17" fmla="*/ 114 h 181"/>
                  <a:gd name="T18" fmla="*/ 34 w 85"/>
                  <a:gd name="T19" fmla="*/ 147 h 181"/>
                  <a:gd name="T20" fmla="*/ 62 w 85"/>
                  <a:gd name="T21"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81">
                    <a:moveTo>
                      <a:pt x="62" y="181"/>
                    </a:moveTo>
                    <a:cubicBezTo>
                      <a:pt x="62" y="148"/>
                      <a:pt x="62" y="148"/>
                      <a:pt x="62" y="148"/>
                    </a:cubicBezTo>
                    <a:cubicBezTo>
                      <a:pt x="62" y="148"/>
                      <a:pt x="75" y="139"/>
                      <a:pt x="75" y="118"/>
                    </a:cubicBezTo>
                    <a:cubicBezTo>
                      <a:pt x="75" y="97"/>
                      <a:pt x="75" y="68"/>
                      <a:pt x="75" y="68"/>
                    </a:cubicBezTo>
                    <a:cubicBezTo>
                      <a:pt x="75" y="68"/>
                      <a:pt x="85" y="55"/>
                      <a:pt x="84" y="43"/>
                    </a:cubicBezTo>
                    <a:cubicBezTo>
                      <a:pt x="83" y="31"/>
                      <a:pt x="85" y="17"/>
                      <a:pt x="85" y="17"/>
                    </a:cubicBezTo>
                    <a:cubicBezTo>
                      <a:pt x="56" y="0"/>
                      <a:pt x="56" y="0"/>
                      <a:pt x="56" y="0"/>
                    </a:cubicBezTo>
                    <a:cubicBezTo>
                      <a:pt x="39" y="20"/>
                      <a:pt x="39" y="20"/>
                      <a:pt x="39" y="20"/>
                    </a:cubicBezTo>
                    <a:cubicBezTo>
                      <a:pt x="39" y="20"/>
                      <a:pt x="0" y="102"/>
                      <a:pt x="8" y="114"/>
                    </a:cubicBezTo>
                    <a:cubicBezTo>
                      <a:pt x="16" y="126"/>
                      <a:pt x="34" y="147"/>
                      <a:pt x="34" y="147"/>
                    </a:cubicBezTo>
                    <a:cubicBezTo>
                      <a:pt x="34" y="147"/>
                      <a:pt x="47" y="181"/>
                      <a:pt x="62" y="18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75" name="Syria">
                <a:extLst>
                  <a:ext uri="{FF2B5EF4-FFF2-40B4-BE49-F238E27FC236}">
                    <a16:creationId xmlns:a16="http://schemas.microsoft.com/office/drawing/2014/main" id="{029C2F60-E376-48A1-BAED-E3C9C3D9019C}"/>
                  </a:ext>
                </a:extLst>
              </p:cNvPr>
              <p:cNvSpPr>
                <a:spLocks/>
              </p:cNvSpPr>
              <p:nvPr/>
            </p:nvSpPr>
            <p:spPr bwMode="gray">
              <a:xfrm>
                <a:off x="6518056" y="2958536"/>
                <a:ext cx="166716" cy="153917"/>
              </a:xfrm>
              <a:custGeom>
                <a:avLst/>
                <a:gdLst>
                  <a:gd name="T0" fmla="*/ 281 w 297"/>
                  <a:gd name="T1" fmla="*/ 39 h 275"/>
                  <a:gd name="T2" fmla="*/ 297 w 297"/>
                  <a:gd name="T3" fmla="*/ 19 h 275"/>
                  <a:gd name="T4" fmla="*/ 290 w 297"/>
                  <a:gd name="T5" fmla="*/ 2 h 275"/>
                  <a:gd name="T6" fmla="*/ 277 w 297"/>
                  <a:gd name="T7" fmla="*/ 12 h 275"/>
                  <a:gd name="T8" fmla="*/ 264 w 297"/>
                  <a:gd name="T9" fmla="*/ 15 h 275"/>
                  <a:gd name="T10" fmla="*/ 250 w 297"/>
                  <a:gd name="T11" fmla="*/ 22 h 275"/>
                  <a:gd name="T12" fmla="*/ 241 w 297"/>
                  <a:gd name="T13" fmla="*/ 16 h 275"/>
                  <a:gd name="T14" fmla="*/ 217 w 297"/>
                  <a:gd name="T15" fmla="*/ 16 h 275"/>
                  <a:gd name="T16" fmla="*/ 188 w 297"/>
                  <a:gd name="T17" fmla="*/ 32 h 275"/>
                  <a:gd name="T18" fmla="*/ 163 w 297"/>
                  <a:gd name="T19" fmla="*/ 39 h 275"/>
                  <a:gd name="T20" fmla="*/ 140 w 297"/>
                  <a:gd name="T21" fmla="*/ 35 h 275"/>
                  <a:gd name="T22" fmla="*/ 114 w 297"/>
                  <a:gd name="T23" fmla="*/ 22 h 275"/>
                  <a:gd name="T24" fmla="*/ 100 w 297"/>
                  <a:gd name="T25" fmla="*/ 33 h 275"/>
                  <a:gd name="T26" fmla="*/ 64 w 297"/>
                  <a:gd name="T27" fmla="*/ 41 h 275"/>
                  <a:gd name="T28" fmla="*/ 58 w 297"/>
                  <a:gd name="T29" fmla="*/ 31 h 275"/>
                  <a:gd name="T30" fmla="*/ 42 w 297"/>
                  <a:gd name="T31" fmla="*/ 32 h 275"/>
                  <a:gd name="T32" fmla="*/ 43 w 297"/>
                  <a:gd name="T33" fmla="*/ 53 h 275"/>
                  <a:gd name="T34" fmla="*/ 48 w 297"/>
                  <a:gd name="T35" fmla="*/ 64 h 275"/>
                  <a:gd name="T36" fmla="*/ 33 w 297"/>
                  <a:gd name="T37" fmla="*/ 66 h 275"/>
                  <a:gd name="T38" fmla="*/ 33 w 297"/>
                  <a:gd name="T39" fmla="*/ 75 h 275"/>
                  <a:gd name="T40" fmla="*/ 27 w 297"/>
                  <a:gd name="T41" fmla="*/ 84 h 275"/>
                  <a:gd name="T42" fmla="*/ 14 w 297"/>
                  <a:gd name="T43" fmla="*/ 78 h 275"/>
                  <a:gd name="T44" fmla="*/ 5 w 297"/>
                  <a:gd name="T45" fmla="*/ 98 h 275"/>
                  <a:gd name="T46" fmla="*/ 1 w 297"/>
                  <a:gd name="T47" fmla="*/ 99 h 275"/>
                  <a:gd name="T48" fmla="*/ 0 w 297"/>
                  <a:gd name="T49" fmla="*/ 131 h 275"/>
                  <a:gd name="T50" fmla="*/ 17 w 297"/>
                  <a:gd name="T51" fmla="*/ 147 h 275"/>
                  <a:gd name="T52" fmla="*/ 20 w 297"/>
                  <a:gd name="T53" fmla="*/ 147 h 275"/>
                  <a:gd name="T54" fmla="*/ 45 w 297"/>
                  <a:gd name="T55" fmla="*/ 147 h 275"/>
                  <a:gd name="T56" fmla="*/ 44 w 297"/>
                  <a:gd name="T57" fmla="*/ 157 h 275"/>
                  <a:gd name="T58" fmla="*/ 51 w 297"/>
                  <a:gd name="T59" fmla="*/ 181 h 275"/>
                  <a:gd name="T60" fmla="*/ 30 w 297"/>
                  <a:gd name="T61" fmla="*/ 193 h 275"/>
                  <a:gd name="T62" fmla="*/ 26 w 297"/>
                  <a:gd name="T63" fmla="*/ 213 h 275"/>
                  <a:gd name="T64" fmla="*/ 16 w 297"/>
                  <a:gd name="T65" fmla="*/ 224 h 275"/>
                  <a:gd name="T66" fmla="*/ 19 w 297"/>
                  <a:gd name="T67" fmla="*/ 254 h 275"/>
                  <a:gd name="T68" fmla="*/ 23 w 297"/>
                  <a:gd name="T69" fmla="*/ 251 h 275"/>
                  <a:gd name="T70" fmla="*/ 45 w 297"/>
                  <a:gd name="T71" fmla="*/ 263 h 275"/>
                  <a:gd name="T72" fmla="*/ 73 w 297"/>
                  <a:gd name="T73" fmla="*/ 275 h 275"/>
                  <a:gd name="T74" fmla="*/ 157 w 297"/>
                  <a:gd name="T75" fmla="*/ 218 h 275"/>
                  <a:gd name="T76" fmla="*/ 200 w 297"/>
                  <a:gd name="T77" fmla="*/ 183 h 275"/>
                  <a:gd name="T78" fmla="*/ 261 w 297"/>
                  <a:gd name="T79" fmla="*/ 156 h 275"/>
                  <a:gd name="T80" fmla="*/ 255 w 297"/>
                  <a:gd name="T81" fmla="*/ 131 h 275"/>
                  <a:gd name="T82" fmla="*/ 264 w 297"/>
                  <a:gd name="T83" fmla="*/ 112 h 275"/>
                  <a:gd name="T84" fmla="*/ 260 w 297"/>
                  <a:gd name="T85" fmla="*/ 77 h 275"/>
                  <a:gd name="T86" fmla="*/ 249 w 297"/>
                  <a:gd name="T87" fmla="*/ 55 h 275"/>
                  <a:gd name="T88" fmla="*/ 281 w 297"/>
                  <a:gd name="T89" fmla="*/ 3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275">
                    <a:moveTo>
                      <a:pt x="281" y="39"/>
                    </a:moveTo>
                    <a:cubicBezTo>
                      <a:pt x="290" y="35"/>
                      <a:pt x="295" y="26"/>
                      <a:pt x="297" y="19"/>
                    </a:cubicBezTo>
                    <a:cubicBezTo>
                      <a:pt x="288" y="20"/>
                      <a:pt x="293" y="4"/>
                      <a:pt x="290" y="2"/>
                    </a:cubicBezTo>
                    <a:cubicBezTo>
                      <a:pt x="287" y="0"/>
                      <a:pt x="285" y="11"/>
                      <a:pt x="277" y="12"/>
                    </a:cubicBezTo>
                    <a:cubicBezTo>
                      <a:pt x="269" y="13"/>
                      <a:pt x="264" y="15"/>
                      <a:pt x="264" y="15"/>
                    </a:cubicBezTo>
                    <a:cubicBezTo>
                      <a:pt x="264" y="15"/>
                      <a:pt x="259" y="21"/>
                      <a:pt x="250" y="22"/>
                    </a:cubicBezTo>
                    <a:cubicBezTo>
                      <a:pt x="241" y="23"/>
                      <a:pt x="246" y="18"/>
                      <a:pt x="241" y="16"/>
                    </a:cubicBezTo>
                    <a:cubicBezTo>
                      <a:pt x="236" y="14"/>
                      <a:pt x="230" y="15"/>
                      <a:pt x="217" y="16"/>
                    </a:cubicBezTo>
                    <a:cubicBezTo>
                      <a:pt x="204" y="17"/>
                      <a:pt x="197" y="29"/>
                      <a:pt x="188" y="32"/>
                    </a:cubicBezTo>
                    <a:cubicBezTo>
                      <a:pt x="179" y="35"/>
                      <a:pt x="174" y="38"/>
                      <a:pt x="163" y="39"/>
                    </a:cubicBezTo>
                    <a:cubicBezTo>
                      <a:pt x="152" y="40"/>
                      <a:pt x="140" y="35"/>
                      <a:pt x="140" y="35"/>
                    </a:cubicBezTo>
                    <a:cubicBezTo>
                      <a:pt x="140" y="35"/>
                      <a:pt x="117" y="23"/>
                      <a:pt x="114" y="22"/>
                    </a:cubicBezTo>
                    <a:cubicBezTo>
                      <a:pt x="111" y="21"/>
                      <a:pt x="100" y="33"/>
                      <a:pt x="100" y="33"/>
                    </a:cubicBezTo>
                    <a:cubicBezTo>
                      <a:pt x="100" y="33"/>
                      <a:pt x="85" y="41"/>
                      <a:pt x="64" y="41"/>
                    </a:cubicBezTo>
                    <a:cubicBezTo>
                      <a:pt x="43" y="41"/>
                      <a:pt x="60" y="35"/>
                      <a:pt x="58" y="31"/>
                    </a:cubicBezTo>
                    <a:cubicBezTo>
                      <a:pt x="56" y="27"/>
                      <a:pt x="42" y="32"/>
                      <a:pt x="42" y="32"/>
                    </a:cubicBezTo>
                    <a:cubicBezTo>
                      <a:pt x="43" y="53"/>
                      <a:pt x="43" y="53"/>
                      <a:pt x="43" y="53"/>
                    </a:cubicBezTo>
                    <a:cubicBezTo>
                      <a:pt x="43" y="53"/>
                      <a:pt x="50" y="51"/>
                      <a:pt x="48" y="64"/>
                    </a:cubicBezTo>
                    <a:cubicBezTo>
                      <a:pt x="47" y="72"/>
                      <a:pt x="33" y="66"/>
                      <a:pt x="33" y="66"/>
                    </a:cubicBezTo>
                    <a:cubicBezTo>
                      <a:pt x="33" y="75"/>
                      <a:pt x="33" y="75"/>
                      <a:pt x="33" y="75"/>
                    </a:cubicBezTo>
                    <a:cubicBezTo>
                      <a:pt x="33" y="75"/>
                      <a:pt x="31" y="83"/>
                      <a:pt x="27" y="84"/>
                    </a:cubicBezTo>
                    <a:cubicBezTo>
                      <a:pt x="24" y="85"/>
                      <a:pt x="17" y="80"/>
                      <a:pt x="14" y="78"/>
                    </a:cubicBezTo>
                    <a:cubicBezTo>
                      <a:pt x="12" y="83"/>
                      <a:pt x="2" y="91"/>
                      <a:pt x="5" y="98"/>
                    </a:cubicBezTo>
                    <a:cubicBezTo>
                      <a:pt x="1" y="99"/>
                      <a:pt x="1" y="99"/>
                      <a:pt x="1" y="99"/>
                    </a:cubicBezTo>
                    <a:cubicBezTo>
                      <a:pt x="0" y="131"/>
                      <a:pt x="0" y="131"/>
                      <a:pt x="0" y="131"/>
                    </a:cubicBezTo>
                    <a:cubicBezTo>
                      <a:pt x="0" y="131"/>
                      <a:pt x="14" y="139"/>
                      <a:pt x="17" y="147"/>
                    </a:cubicBezTo>
                    <a:cubicBezTo>
                      <a:pt x="20" y="147"/>
                      <a:pt x="20" y="147"/>
                      <a:pt x="20" y="147"/>
                    </a:cubicBezTo>
                    <a:cubicBezTo>
                      <a:pt x="45" y="147"/>
                      <a:pt x="45" y="147"/>
                      <a:pt x="45" y="147"/>
                    </a:cubicBezTo>
                    <a:cubicBezTo>
                      <a:pt x="44" y="157"/>
                      <a:pt x="44" y="157"/>
                      <a:pt x="44" y="157"/>
                    </a:cubicBezTo>
                    <a:cubicBezTo>
                      <a:pt x="44" y="157"/>
                      <a:pt x="56" y="169"/>
                      <a:pt x="51" y="181"/>
                    </a:cubicBezTo>
                    <a:cubicBezTo>
                      <a:pt x="46" y="193"/>
                      <a:pt x="39" y="190"/>
                      <a:pt x="30" y="193"/>
                    </a:cubicBezTo>
                    <a:cubicBezTo>
                      <a:pt x="21" y="196"/>
                      <a:pt x="26" y="213"/>
                      <a:pt x="26" y="213"/>
                    </a:cubicBezTo>
                    <a:cubicBezTo>
                      <a:pt x="16" y="224"/>
                      <a:pt x="16" y="224"/>
                      <a:pt x="16" y="224"/>
                    </a:cubicBezTo>
                    <a:cubicBezTo>
                      <a:pt x="19" y="254"/>
                      <a:pt x="19" y="254"/>
                      <a:pt x="19" y="254"/>
                    </a:cubicBezTo>
                    <a:cubicBezTo>
                      <a:pt x="23" y="251"/>
                      <a:pt x="23" y="251"/>
                      <a:pt x="23" y="251"/>
                    </a:cubicBezTo>
                    <a:cubicBezTo>
                      <a:pt x="45" y="263"/>
                      <a:pt x="45" y="263"/>
                      <a:pt x="45" y="263"/>
                    </a:cubicBezTo>
                    <a:cubicBezTo>
                      <a:pt x="45" y="263"/>
                      <a:pt x="52" y="275"/>
                      <a:pt x="73" y="275"/>
                    </a:cubicBezTo>
                    <a:cubicBezTo>
                      <a:pt x="94" y="275"/>
                      <a:pt x="157" y="218"/>
                      <a:pt x="157" y="218"/>
                    </a:cubicBezTo>
                    <a:cubicBezTo>
                      <a:pt x="200" y="183"/>
                      <a:pt x="200" y="183"/>
                      <a:pt x="200" y="183"/>
                    </a:cubicBezTo>
                    <a:cubicBezTo>
                      <a:pt x="200" y="183"/>
                      <a:pt x="249" y="165"/>
                      <a:pt x="261" y="156"/>
                    </a:cubicBezTo>
                    <a:cubicBezTo>
                      <a:pt x="273" y="147"/>
                      <a:pt x="256" y="138"/>
                      <a:pt x="255" y="131"/>
                    </a:cubicBezTo>
                    <a:cubicBezTo>
                      <a:pt x="254" y="124"/>
                      <a:pt x="260" y="117"/>
                      <a:pt x="264" y="112"/>
                    </a:cubicBezTo>
                    <a:cubicBezTo>
                      <a:pt x="268" y="107"/>
                      <a:pt x="260" y="77"/>
                      <a:pt x="260" y="77"/>
                    </a:cubicBezTo>
                    <a:cubicBezTo>
                      <a:pt x="260" y="77"/>
                      <a:pt x="245" y="69"/>
                      <a:pt x="249" y="55"/>
                    </a:cubicBezTo>
                    <a:cubicBezTo>
                      <a:pt x="253" y="41"/>
                      <a:pt x="265" y="46"/>
                      <a:pt x="281" y="39"/>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76" name="Sri Lanka">
                <a:extLst>
                  <a:ext uri="{FF2B5EF4-FFF2-40B4-BE49-F238E27FC236}">
                    <a16:creationId xmlns:a16="http://schemas.microsoft.com/office/drawing/2014/main" id="{BE90F1F7-E5E6-4C0E-8519-6DF8CA34284E}"/>
                  </a:ext>
                </a:extLst>
              </p:cNvPr>
              <p:cNvSpPr>
                <a:spLocks/>
              </p:cNvSpPr>
              <p:nvPr/>
            </p:nvSpPr>
            <p:spPr bwMode="gray">
              <a:xfrm>
                <a:off x="7723177" y="3788414"/>
                <a:ext cx="76213" cy="128528"/>
              </a:xfrm>
              <a:custGeom>
                <a:avLst/>
                <a:gdLst>
                  <a:gd name="T0" fmla="*/ 19 w 136"/>
                  <a:gd name="T1" fmla="*/ 9 h 228"/>
                  <a:gd name="T2" fmla="*/ 62 w 136"/>
                  <a:gd name="T3" fmla="*/ 29 h 228"/>
                  <a:gd name="T4" fmla="*/ 91 w 136"/>
                  <a:gd name="T5" fmla="*/ 65 h 228"/>
                  <a:gd name="T6" fmla="*/ 87 w 136"/>
                  <a:gd name="T7" fmla="*/ 86 h 228"/>
                  <a:gd name="T8" fmla="*/ 104 w 136"/>
                  <a:gd name="T9" fmla="*/ 82 h 228"/>
                  <a:gd name="T10" fmla="*/ 105 w 136"/>
                  <a:gd name="T11" fmla="*/ 120 h 228"/>
                  <a:gd name="T12" fmla="*/ 105 w 136"/>
                  <a:gd name="T13" fmla="*/ 190 h 228"/>
                  <a:gd name="T14" fmla="*/ 19 w 136"/>
                  <a:gd name="T15" fmla="*/ 194 h 228"/>
                  <a:gd name="T16" fmla="*/ 10 w 136"/>
                  <a:gd name="T17" fmla="*/ 99 h 228"/>
                  <a:gd name="T18" fmla="*/ 25 w 136"/>
                  <a:gd name="T19" fmla="*/ 59 h 228"/>
                  <a:gd name="T20" fmla="*/ 5 w 136"/>
                  <a:gd name="T21" fmla="*/ 32 h 228"/>
                  <a:gd name="T22" fmla="*/ 18 w 136"/>
                  <a:gd name="T23" fmla="*/ 32 h 228"/>
                  <a:gd name="T24" fmla="*/ 19 w 136"/>
                  <a:gd name="T25" fmla="*/ 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77" name="South Korea">
                <a:extLst>
                  <a:ext uri="{FF2B5EF4-FFF2-40B4-BE49-F238E27FC236}">
                    <a16:creationId xmlns:a16="http://schemas.microsoft.com/office/drawing/2014/main" id="{7C066B6C-6D52-4516-9028-1524F92B35DE}"/>
                  </a:ext>
                </a:extLst>
              </p:cNvPr>
              <p:cNvSpPr>
                <a:spLocks noEditPoints="1"/>
              </p:cNvSpPr>
              <p:nvPr/>
            </p:nvSpPr>
            <p:spPr bwMode="gray">
              <a:xfrm>
                <a:off x="8763171" y="2925214"/>
                <a:ext cx="106380" cy="158677"/>
              </a:xfrm>
              <a:custGeom>
                <a:avLst/>
                <a:gdLst>
                  <a:gd name="T0" fmla="*/ 100 w 191"/>
                  <a:gd name="T1" fmla="*/ 267 h 284"/>
                  <a:gd name="T2" fmla="*/ 101 w 191"/>
                  <a:gd name="T3" fmla="*/ 284 h 284"/>
                  <a:gd name="T4" fmla="*/ 100 w 191"/>
                  <a:gd name="T5" fmla="*/ 267 h 284"/>
                  <a:gd name="T6" fmla="*/ 185 w 191"/>
                  <a:gd name="T7" fmla="*/ 165 h 284"/>
                  <a:gd name="T8" fmla="*/ 166 w 191"/>
                  <a:gd name="T9" fmla="*/ 132 h 284"/>
                  <a:gd name="T10" fmla="*/ 162 w 191"/>
                  <a:gd name="T11" fmla="*/ 101 h 284"/>
                  <a:gd name="T12" fmla="*/ 111 w 191"/>
                  <a:gd name="T13" fmla="*/ 50 h 284"/>
                  <a:gd name="T14" fmla="*/ 98 w 191"/>
                  <a:gd name="T15" fmla="*/ 45 h 284"/>
                  <a:gd name="T16" fmla="*/ 82 w 191"/>
                  <a:gd name="T17" fmla="*/ 21 h 284"/>
                  <a:gd name="T18" fmla="*/ 64 w 191"/>
                  <a:gd name="T19" fmla="*/ 0 h 284"/>
                  <a:gd name="T20" fmla="*/ 54 w 191"/>
                  <a:gd name="T21" fmla="*/ 10 h 284"/>
                  <a:gd name="T22" fmla="*/ 16 w 191"/>
                  <a:gd name="T23" fmla="*/ 16 h 284"/>
                  <a:gd name="T24" fmla="*/ 13 w 191"/>
                  <a:gd name="T25" fmla="*/ 29 h 284"/>
                  <a:gd name="T26" fmla="*/ 0 w 191"/>
                  <a:gd name="T27" fmla="*/ 39 h 284"/>
                  <a:gd name="T28" fmla="*/ 8 w 191"/>
                  <a:gd name="T29" fmla="*/ 56 h 284"/>
                  <a:gd name="T30" fmla="*/ 30 w 191"/>
                  <a:gd name="T31" fmla="*/ 64 h 284"/>
                  <a:gd name="T32" fmla="*/ 41 w 191"/>
                  <a:gd name="T33" fmla="*/ 89 h 284"/>
                  <a:gd name="T34" fmla="*/ 6 w 191"/>
                  <a:gd name="T35" fmla="*/ 82 h 284"/>
                  <a:gd name="T36" fmla="*/ 27 w 191"/>
                  <a:gd name="T37" fmla="*/ 102 h 284"/>
                  <a:gd name="T38" fmla="*/ 37 w 191"/>
                  <a:gd name="T39" fmla="*/ 130 h 284"/>
                  <a:gd name="T40" fmla="*/ 60 w 191"/>
                  <a:gd name="T41" fmla="*/ 134 h 284"/>
                  <a:gd name="T42" fmla="*/ 60 w 191"/>
                  <a:gd name="T43" fmla="*/ 153 h 284"/>
                  <a:gd name="T44" fmla="*/ 54 w 191"/>
                  <a:gd name="T45" fmla="*/ 180 h 284"/>
                  <a:gd name="T46" fmla="*/ 74 w 191"/>
                  <a:gd name="T47" fmla="*/ 199 h 284"/>
                  <a:gd name="T48" fmla="*/ 80 w 191"/>
                  <a:gd name="T49" fmla="*/ 222 h 284"/>
                  <a:gd name="T50" fmla="*/ 100 w 191"/>
                  <a:gd name="T51" fmla="*/ 203 h 284"/>
                  <a:gd name="T52" fmla="*/ 133 w 191"/>
                  <a:gd name="T53" fmla="*/ 188 h 284"/>
                  <a:gd name="T54" fmla="*/ 150 w 191"/>
                  <a:gd name="T55" fmla="*/ 193 h 284"/>
                  <a:gd name="T56" fmla="*/ 155 w 191"/>
                  <a:gd name="T57" fmla="*/ 181 h 284"/>
                  <a:gd name="T58" fmla="*/ 185 w 191"/>
                  <a:gd name="T59" fmla="*/ 16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1" h="284">
                    <a:moveTo>
                      <a:pt x="100" y="267"/>
                    </a:moveTo>
                    <a:cubicBezTo>
                      <a:pt x="76" y="275"/>
                      <a:pt x="86" y="284"/>
                      <a:pt x="101" y="284"/>
                    </a:cubicBezTo>
                    <a:cubicBezTo>
                      <a:pt x="120" y="284"/>
                      <a:pt x="124" y="259"/>
                      <a:pt x="100" y="267"/>
                    </a:cubicBezTo>
                    <a:close/>
                    <a:moveTo>
                      <a:pt x="185" y="165"/>
                    </a:moveTo>
                    <a:cubicBezTo>
                      <a:pt x="179" y="146"/>
                      <a:pt x="166" y="132"/>
                      <a:pt x="166" y="132"/>
                    </a:cubicBezTo>
                    <a:cubicBezTo>
                      <a:pt x="166" y="132"/>
                      <a:pt x="171" y="115"/>
                      <a:pt x="162" y="101"/>
                    </a:cubicBezTo>
                    <a:cubicBezTo>
                      <a:pt x="153" y="87"/>
                      <a:pt x="111" y="50"/>
                      <a:pt x="111" y="50"/>
                    </a:cubicBezTo>
                    <a:cubicBezTo>
                      <a:pt x="98" y="45"/>
                      <a:pt x="98" y="45"/>
                      <a:pt x="98" y="45"/>
                    </a:cubicBezTo>
                    <a:cubicBezTo>
                      <a:pt x="98" y="45"/>
                      <a:pt x="94" y="34"/>
                      <a:pt x="82" y="21"/>
                    </a:cubicBezTo>
                    <a:cubicBezTo>
                      <a:pt x="76" y="14"/>
                      <a:pt x="69" y="6"/>
                      <a:pt x="64" y="0"/>
                    </a:cubicBezTo>
                    <a:cubicBezTo>
                      <a:pt x="54" y="10"/>
                      <a:pt x="54" y="10"/>
                      <a:pt x="54" y="10"/>
                    </a:cubicBezTo>
                    <a:cubicBezTo>
                      <a:pt x="54" y="10"/>
                      <a:pt x="30" y="9"/>
                      <a:pt x="16" y="16"/>
                    </a:cubicBezTo>
                    <a:cubicBezTo>
                      <a:pt x="2" y="24"/>
                      <a:pt x="14" y="26"/>
                      <a:pt x="13" y="29"/>
                    </a:cubicBezTo>
                    <a:cubicBezTo>
                      <a:pt x="12" y="32"/>
                      <a:pt x="0" y="39"/>
                      <a:pt x="0" y="39"/>
                    </a:cubicBezTo>
                    <a:cubicBezTo>
                      <a:pt x="0" y="39"/>
                      <a:pt x="1" y="50"/>
                      <a:pt x="8" y="56"/>
                    </a:cubicBezTo>
                    <a:cubicBezTo>
                      <a:pt x="15" y="62"/>
                      <a:pt x="30" y="64"/>
                      <a:pt x="30" y="64"/>
                    </a:cubicBezTo>
                    <a:cubicBezTo>
                      <a:pt x="41" y="89"/>
                      <a:pt x="41" y="89"/>
                      <a:pt x="41" y="89"/>
                    </a:cubicBezTo>
                    <a:cubicBezTo>
                      <a:pt x="41" y="89"/>
                      <a:pt x="7" y="75"/>
                      <a:pt x="6" y="82"/>
                    </a:cubicBezTo>
                    <a:cubicBezTo>
                      <a:pt x="5" y="89"/>
                      <a:pt x="27" y="102"/>
                      <a:pt x="27" y="102"/>
                    </a:cubicBezTo>
                    <a:cubicBezTo>
                      <a:pt x="37" y="130"/>
                      <a:pt x="37" y="130"/>
                      <a:pt x="37" y="130"/>
                    </a:cubicBezTo>
                    <a:cubicBezTo>
                      <a:pt x="60" y="134"/>
                      <a:pt x="60" y="134"/>
                      <a:pt x="60" y="134"/>
                    </a:cubicBezTo>
                    <a:cubicBezTo>
                      <a:pt x="60" y="153"/>
                      <a:pt x="60" y="153"/>
                      <a:pt x="60" y="153"/>
                    </a:cubicBezTo>
                    <a:cubicBezTo>
                      <a:pt x="60" y="153"/>
                      <a:pt x="49" y="161"/>
                      <a:pt x="54" y="180"/>
                    </a:cubicBezTo>
                    <a:cubicBezTo>
                      <a:pt x="59" y="199"/>
                      <a:pt x="74" y="199"/>
                      <a:pt x="74" y="199"/>
                    </a:cubicBezTo>
                    <a:cubicBezTo>
                      <a:pt x="74" y="199"/>
                      <a:pt x="61" y="225"/>
                      <a:pt x="80" y="222"/>
                    </a:cubicBezTo>
                    <a:cubicBezTo>
                      <a:pt x="99" y="219"/>
                      <a:pt x="100" y="203"/>
                      <a:pt x="100" y="203"/>
                    </a:cubicBezTo>
                    <a:cubicBezTo>
                      <a:pt x="133" y="188"/>
                      <a:pt x="133" y="188"/>
                      <a:pt x="133" y="188"/>
                    </a:cubicBezTo>
                    <a:cubicBezTo>
                      <a:pt x="150" y="193"/>
                      <a:pt x="150" y="193"/>
                      <a:pt x="150" y="193"/>
                    </a:cubicBezTo>
                    <a:cubicBezTo>
                      <a:pt x="155" y="181"/>
                      <a:pt x="155" y="181"/>
                      <a:pt x="155" y="181"/>
                    </a:cubicBezTo>
                    <a:cubicBezTo>
                      <a:pt x="155" y="181"/>
                      <a:pt x="191" y="184"/>
                      <a:pt x="185" y="165"/>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78" name="Saudi Arabia">
                <a:extLst>
                  <a:ext uri="{FF2B5EF4-FFF2-40B4-BE49-F238E27FC236}">
                    <a16:creationId xmlns:a16="http://schemas.microsoft.com/office/drawing/2014/main" id="{CA0F2394-21B4-4DD6-A062-325D1F79DBAF}"/>
                  </a:ext>
                </a:extLst>
              </p:cNvPr>
              <p:cNvSpPr>
                <a:spLocks/>
              </p:cNvSpPr>
              <p:nvPr/>
            </p:nvSpPr>
            <p:spPr bwMode="gray">
              <a:xfrm>
                <a:off x="6510117" y="3115625"/>
                <a:ext cx="558897" cy="476030"/>
              </a:xfrm>
              <a:custGeom>
                <a:avLst/>
                <a:gdLst>
                  <a:gd name="T0" fmla="*/ 976 w 998"/>
                  <a:gd name="T1" fmla="*/ 516 h 851"/>
                  <a:gd name="T2" fmla="*/ 804 w 998"/>
                  <a:gd name="T3" fmla="*/ 446 h 851"/>
                  <a:gd name="T4" fmla="*/ 794 w 998"/>
                  <a:gd name="T5" fmla="*/ 413 h 851"/>
                  <a:gd name="T6" fmla="*/ 780 w 998"/>
                  <a:gd name="T7" fmla="*/ 407 h 851"/>
                  <a:gd name="T8" fmla="*/ 764 w 998"/>
                  <a:gd name="T9" fmla="*/ 400 h 851"/>
                  <a:gd name="T10" fmla="*/ 719 w 998"/>
                  <a:gd name="T11" fmla="*/ 332 h 851"/>
                  <a:gd name="T12" fmla="*/ 669 w 998"/>
                  <a:gd name="T13" fmla="*/ 265 h 851"/>
                  <a:gd name="T14" fmla="*/ 646 w 998"/>
                  <a:gd name="T15" fmla="*/ 218 h 851"/>
                  <a:gd name="T16" fmla="*/ 637 w 998"/>
                  <a:gd name="T17" fmla="*/ 195 h 851"/>
                  <a:gd name="T18" fmla="*/ 588 w 998"/>
                  <a:gd name="T19" fmla="*/ 170 h 851"/>
                  <a:gd name="T20" fmla="*/ 332 w 998"/>
                  <a:gd name="T21" fmla="*/ 63 h 851"/>
                  <a:gd name="T22" fmla="*/ 250 w 998"/>
                  <a:gd name="T23" fmla="*/ 9 h 851"/>
                  <a:gd name="T24" fmla="*/ 200 w 998"/>
                  <a:gd name="T25" fmla="*/ 0 h 851"/>
                  <a:gd name="T26" fmla="*/ 147 w 998"/>
                  <a:gd name="T27" fmla="*/ 18 h 851"/>
                  <a:gd name="T28" fmla="*/ 111 w 998"/>
                  <a:gd name="T29" fmla="*/ 32 h 851"/>
                  <a:gd name="T30" fmla="*/ 111 w 998"/>
                  <a:gd name="T31" fmla="*/ 46 h 851"/>
                  <a:gd name="T32" fmla="*/ 123 w 998"/>
                  <a:gd name="T33" fmla="*/ 118 h 851"/>
                  <a:gd name="T34" fmla="*/ 70 w 998"/>
                  <a:gd name="T35" fmla="*/ 163 h 851"/>
                  <a:gd name="T36" fmla="*/ 12 w 998"/>
                  <a:gd name="T37" fmla="*/ 161 h 851"/>
                  <a:gd name="T38" fmla="*/ 12 w 998"/>
                  <a:gd name="T39" fmla="*/ 249 h 851"/>
                  <a:gd name="T40" fmla="*/ 85 w 998"/>
                  <a:gd name="T41" fmla="*/ 334 h 851"/>
                  <a:gd name="T42" fmla="*/ 145 w 998"/>
                  <a:gd name="T43" fmla="*/ 433 h 851"/>
                  <a:gd name="T44" fmla="*/ 232 w 998"/>
                  <a:gd name="T45" fmla="*/ 560 h 851"/>
                  <a:gd name="T46" fmla="*/ 300 w 998"/>
                  <a:gd name="T47" fmla="*/ 631 h 851"/>
                  <a:gd name="T48" fmla="*/ 419 w 998"/>
                  <a:gd name="T49" fmla="*/ 826 h 851"/>
                  <a:gd name="T50" fmla="*/ 427 w 998"/>
                  <a:gd name="T51" fmla="*/ 837 h 851"/>
                  <a:gd name="T52" fmla="*/ 437 w 998"/>
                  <a:gd name="T53" fmla="*/ 790 h 851"/>
                  <a:gd name="T54" fmla="*/ 470 w 998"/>
                  <a:gd name="T55" fmla="*/ 798 h 851"/>
                  <a:gd name="T56" fmla="*/ 522 w 998"/>
                  <a:gd name="T57" fmla="*/ 791 h 851"/>
                  <a:gd name="T58" fmla="*/ 593 w 998"/>
                  <a:gd name="T59" fmla="*/ 799 h 851"/>
                  <a:gd name="T60" fmla="*/ 628 w 998"/>
                  <a:gd name="T61" fmla="*/ 804 h 851"/>
                  <a:gd name="T62" fmla="*/ 653 w 998"/>
                  <a:gd name="T63" fmla="*/ 755 h 851"/>
                  <a:gd name="T64" fmla="*/ 839 w 998"/>
                  <a:gd name="T65" fmla="*/ 710 h 851"/>
                  <a:gd name="T66" fmla="*/ 998 w 998"/>
                  <a:gd name="T67" fmla="*/ 54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8" h="851">
                    <a:moveTo>
                      <a:pt x="980" y="527"/>
                    </a:moveTo>
                    <a:cubicBezTo>
                      <a:pt x="980" y="525"/>
                      <a:pt x="978" y="521"/>
                      <a:pt x="976" y="516"/>
                    </a:cubicBezTo>
                    <a:cubicBezTo>
                      <a:pt x="942" y="512"/>
                      <a:pt x="853" y="501"/>
                      <a:pt x="851" y="501"/>
                    </a:cubicBezTo>
                    <a:cubicBezTo>
                      <a:pt x="848" y="501"/>
                      <a:pt x="811" y="453"/>
                      <a:pt x="804" y="446"/>
                    </a:cubicBezTo>
                    <a:cubicBezTo>
                      <a:pt x="799" y="441"/>
                      <a:pt x="799" y="433"/>
                      <a:pt x="800" y="428"/>
                    </a:cubicBezTo>
                    <a:cubicBezTo>
                      <a:pt x="796" y="423"/>
                      <a:pt x="793" y="417"/>
                      <a:pt x="794" y="413"/>
                    </a:cubicBezTo>
                    <a:cubicBezTo>
                      <a:pt x="788" y="415"/>
                      <a:pt x="788" y="415"/>
                      <a:pt x="788" y="415"/>
                    </a:cubicBezTo>
                    <a:cubicBezTo>
                      <a:pt x="780" y="407"/>
                      <a:pt x="780" y="407"/>
                      <a:pt x="780" y="407"/>
                    </a:cubicBezTo>
                    <a:cubicBezTo>
                      <a:pt x="770" y="410"/>
                      <a:pt x="770" y="410"/>
                      <a:pt x="770" y="410"/>
                    </a:cubicBezTo>
                    <a:cubicBezTo>
                      <a:pt x="764" y="400"/>
                      <a:pt x="764" y="400"/>
                      <a:pt x="764" y="400"/>
                    </a:cubicBezTo>
                    <a:cubicBezTo>
                      <a:pt x="757" y="398"/>
                      <a:pt x="750" y="359"/>
                      <a:pt x="744" y="354"/>
                    </a:cubicBezTo>
                    <a:cubicBezTo>
                      <a:pt x="738" y="349"/>
                      <a:pt x="722" y="346"/>
                      <a:pt x="719" y="332"/>
                    </a:cubicBezTo>
                    <a:cubicBezTo>
                      <a:pt x="715" y="318"/>
                      <a:pt x="720" y="296"/>
                      <a:pt x="707" y="286"/>
                    </a:cubicBezTo>
                    <a:cubicBezTo>
                      <a:pt x="693" y="275"/>
                      <a:pt x="675" y="277"/>
                      <a:pt x="669" y="265"/>
                    </a:cubicBezTo>
                    <a:cubicBezTo>
                      <a:pt x="663" y="252"/>
                      <a:pt x="670" y="239"/>
                      <a:pt x="664" y="235"/>
                    </a:cubicBezTo>
                    <a:cubicBezTo>
                      <a:pt x="658" y="231"/>
                      <a:pt x="646" y="218"/>
                      <a:pt x="646" y="218"/>
                    </a:cubicBezTo>
                    <a:cubicBezTo>
                      <a:pt x="645" y="201"/>
                      <a:pt x="645" y="201"/>
                      <a:pt x="645" y="201"/>
                    </a:cubicBezTo>
                    <a:cubicBezTo>
                      <a:pt x="645" y="201"/>
                      <a:pt x="642" y="198"/>
                      <a:pt x="637" y="195"/>
                    </a:cubicBezTo>
                    <a:cubicBezTo>
                      <a:pt x="624" y="196"/>
                      <a:pt x="606" y="196"/>
                      <a:pt x="598" y="196"/>
                    </a:cubicBezTo>
                    <a:cubicBezTo>
                      <a:pt x="584" y="195"/>
                      <a:pt x="594" y="177"/>
                      <a:pt x="588" y="170"/>
                    </a:cubicBezTo>
                    <a:cubicBezTo>
                      <a:pt x="582" y="163"/>
                      <a:pt x="460" y="160"/>
                      <a:pt x="460" y="160"/>
                    </a:cubicBezTo>
                    <a:cubicBezTo>
                      <a:pt x="332" y="63"/>
                      <a:pt x="332" y="63"/>
                      <a:pt x="332" y="63"/>
                    </a:cubicBezTo>
                    <a:cubicBezTo>
                      <a:pt x="332" y="63"/>
                      <a:pt x="311" y="49"/>
                      <a:pt x="299" y="43"/>
                    </a:cubicBezTo>
                    <a:cubicBezTo>
                      <a:pt x="287" y="37"/>
                      <a:pt x="250" y="9"/>
                      <a:pt x="250" y="9"/>
                    </a:cubicBezTo>
                    <a:cubicBezTo>
                      <a:pt x="250" y="9"/>
                      <a:pt x="225" y="8"/>
                      <a:pt x="216" y="9"/>
                    </a:cubicBezTo>
                    <a:cubicBezTo>
                      <a:pt x="207" y="10"/>
                      <a:pt x="200" y="0"/>
                      <a:pt x="200" y="0"/>
                    </a:cubicBezTo>
                    <a:cubicBezTo>
                      <a:pt x="200" y="0"/>
                      <a:pt x="187" y="8"/>
                      <a:pt x="181" y="14"/>
                    </a:cubicBezTo>
                    <a:cubicBezTo>
                      <a:pt x="175" y="20"/>
                      <a:pt x="147" y="18"/>
                      <a:pt x="147" y="18"/>
                    </a:cubicBezTo>
                    <a:cubicBezTo>
                      <a:pt x="139" y="32"/>
                      <a:pt x="139" y="32"/>
                      <a:pt x="139" y="32"/>
                    </a:cubicBezTo>
                    <a:cubicBezTo>
                      <a:pt x="111" y="32"/>
                      <a:pt x="111" y="32"/>
                      <a:pt x="111" y="32"/>
                    </a:cubicBezTo>
                    <a:cubicBezTo>
                      <a:pt x="111" y="32"/>
                      <a:pt x="86" y="31"/>
                      <a:pt x="79" y="38"/>
                    </a:cubicBezTo>
                    <a:cubicBezTo>
                      <a:pt x="72" y="45"/>
                      <a:pt x="104" y="42"/>
                      <a:pt x="111" y="46"/>
                    </a:cubicBezTo>
                    <a:cubicBezTo>
                      <a:pt x="118" y="50"/>
                      <a:pt x="137" y="85"/>
                      <a:pt x="137" y="85"/>
                    </a:cubicBezTo>
                    <a:cubicBezTo>
                      <a:pt x="137" y="85"/>
                      <a:pt x="131" y="111"/>
                      <a:pt x="123" y="118"/>
                    </a:cubicBezTo>
                    <a:cubicBezTo>
                      <a:pt x="115" y="125"/>
                      <a:pt x="98" y="121"/>
                      <a:pt x="92" y="123"/>
                    </a:cubicBezTo>
                    <a:cubicBezTo>
                      <a:pt x="86" y="125"/>
                      <a:pt x="84" y="152"/>
                      <a:pt x="70" y="163"/>
                    </a:cubicBezTo>
                    <a:cubicBezTo>
                      <a:pt x="56" y="174"/>
                      <a:pt x="25" y="154"/>
                      <a:pt x="18" y="155"/>
                    </a:cubicBezTo>
                    <a:cubicBezTo>
                      <a:pt x="12" y="156"/>
                      <a:pt x="12" y="160"/>
                      <a:pt x="12" y="161"/>
                    </a:cubicBezTo>
                    <a:cubicBezTo>
                      <a:pt x="12" y="161"/>
                      <a:pt x="12" y="161"/>
                      <a:pt x="12" y="161"/>
                    </a:cubicBezTo>
                    <a:cubicBezTo>
                      <a:pt x="12" y="170"/>
                      <a:pt x="0" y="237"/>
                      <a:pt x="12" y="249"/>
                    </a:cubicBezTo>
                    <a:cubicBezTo>
                      <a:pt x="24" y="260"/>
                      <a:pt x="49" y="260"/>
                      <a:pt x="54" y="274"/>
                    </a:cubicBezTo>
                    <a:cubicBezTo>
                      <a:pt x="60" y="288"/>
                      <a:pt x="76" y="325"/>
                      <a:pt x="85" y="334"/>
                    </a:cubicBezTo>
                    <a:cubicBezTo>
                      <a:pt x="94" y="343"/>
                      <a:pt x="113" y="358"/>
                      <a:pt x="120" y="370"/>
                    </a:cubicBezTo>
                    <a:cubicBezTo>
                      <a:pt x="128" y="383"/>
                      <a:pt x="132" y="421"/>
                      <a:pt x="145" y="433"/>
                    </a:cubicBezTo>
                    <a:cubicBezTo>
                      <a:pt x="157" y="445"/>
                      <a:pt x="184" y="434"/>
                      <a:pt x="201" y="453"/>
                    </a:cubicBezTo>
                    <a:cubicBezTo>
                      <a:pt x="218" y="472"/>
                      <a:pt x="232" y="531"/>
                      <a:pt x="232" y="560"/>
                    </a:cubicBezTo>
                    <a:cubicBezTo>
                      <a:pt x="232" y="590"/>
                      <a:pt x="267" y="626"/>
                      <a:pt x="267" y="626"/>
                    </a:cubicBezTo>
                    <a:cubicBezTo>
                      <a:pt x="267" y="626"/>
                      <a:pt x="291" y="623"/>
                      <a:pt x="300" y="631"/>
                    </a:cubicBezTo>
                    <a:cubicBezTo>
                      <a:pt x="308" y="639"/>
                      <a:pt x="344" y="704"/>
                      <a:pt x="358" y="728"/>
                    </a:cubicBezTo>
                    <a:cubicBezTo>
                      <a:pt x="372" y="752"/>
                      <a:pt x="420" y="810"/>
                      <a:pt x="419" y="826"/>
                    </a:cubicBezTo>
                    <a:cubicBezTo>
                      <a:pt x="419" y="833"/>
                      <a:pt x="417" y="842"/>
                      <a:pt x="414" y="851"/>
                    </a:cubicBezTo>
                    <a:cubicBezTo>
                      <a:pt x="418" y="848"/>
                      <a:pt x="423" y="844"/>
                      <a:pt x="427" y="837"/>
                    </a:cubicBezTo>
                    <a:cubicBezTo>
                      <a:pt x="434" y="826"/>
                      <a:pt x="428" y="824"/>
                      <a:pt x="428" y="824"/>
                    </a:cubicBezTo>
                    <a:cubicBezTo>
                      <a:pt x="428" y="824"/>
                      <a:pt x="427" y="795"/>
                      <a:pt x="437" y="790"/>
                    </a:cubicBezTo>
                    <a:cubicBezTo>
                      <a:pt x="447" y="785"/>
                      <a:pt x="452" y="799"/>
                      <a:pt x="452" y="799"/>
                    </a:cubicBezTo>
                    <a:cubicBezTo>
                      <a:pt x="470" y="798"/>
                      <a:pt x="470" y="798"/>
                      <a:pt x="470" y="798"/>
                    </a:cubicBezTo>
                    <a:cubicBezTo>
                      <a:pt x="470" y="798"/>
                      <a:pt x="477" y="792"/>
                      <a:pt x="482" y="792"/>
                    </a:cubicBezTo>
                    <a:cubicBezTo>
                      <a:pt x="487" y="792"/>
                      <a:pt x="506" y="791"/>
                      <a:pt x="522" y="791"/>
                    </a:cubicBezTo>
                    <a:cubicBezTo>
                      <a:pt x="538" y="791"/>
                      <a:pt x="549" y="799"/>
                      <a:pt x="549" y="799"/>
                    </a:cubicBezTo>
                    <a:cubicBezTo>
                      <a:pt x="549" y="799"/>
                      <a:pt x="589" y="797"/>
                      <a:pt x="593" y="799"/>
                    </a:cubicBezTo>
                    <a:cubicBezTo>
                      <a:pt x="597" y="801"/>
                      <a:pt x="611" y="816"/>
                      <a:pt x="616" y="816"/>
                    </a:cubicBezTo>
                    <a:cubicBezTo>
                      <a:pt x="621" y="816"/>
                      <a:pt x="628" y="804"/>
                      <a:pt x="628" y="804"/>
                    </a:cubicBezTo>
                    <a:cubicBezTo>
                      <a:pt x="628" y="792"/>
                      <a:pt x="628" y="792"/>
                      <a:pt x="628" y="792"/>
                    </a:cubicBezTo>
                    <a:cubicBezTo>
                      <a:pt x="628" y="792"/>
                      <a:pt x="643" y="768"/>
                      <a:pt x="653" y="755"/>
                    </a:cubicBezTo>
                    <a:cubicBezTo>
                      <a:pt x="663" y="742"/>
                      <a:pt x="705" y="723"/>
                      <a:pt x="717" y="723"/>
                    </a:cubicBezTo>
                    <a:cubicBezTo>
                      <a:pt x="729" y="723"/>
                      <a:pt x="839" y="710"/>
                      <a:pt x="839" y="710"/>
                    </a:cubicBezTo>
                    <a:cubicBezTo>
                      <a:pt x="972" y="661"/>
                      <a:pt x="972" y="661"/>
                      <a:pt x="972" y="661"/>
                    </a:cubicBezTo>
                    <a:cubicBezTo>
                      <a:pt x="998" y="546"/>
                      <a:pt x="998" y="546"/>
                      <a:pt x="998" y="546"/>
                    </a:cubicBezTo>
                    <a:cubicBezTo>
                      <a:pt x="998" y="546"/>
                      <a:pt x="980" y="531"/>
                      <a:pt x="980" y="527"/>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79" name="Russia">
                <a:extLst>
                  <a:ext uri="{FF2B5EF4-FFF2-40B4-BE49-F238E27FC236}">
                    <a16:creationId xmlns:a16="http://schemas.microsoft.com/office/drawing/2014/main" id="{B7BB7CED-407E-4CC9-867F-56FAB5D94C48}"/>
                  </a:ext>
                </a:extLst>
              </p:cNvPr>
              <p:cNvSpPr>
                <a:spLocks noEditPoints="1"/>
              </p:cNvSpPr>
              <p:nvPr/>
            </p:nvSpPr>
            <p:spPr bwMode="gray">
              <a:xfrm>
                <a:off x="9128359" y="2323829"/>
                <a:ext cx="111144" cy="444294"/>
              </a:xfrm>
              <a:custGeom>
                <a:avLst/>
                <a:gdLst>
                  <a:gd name="T0" fmla="*/ 0 w 199"/>
                  <a:gd name="T1" fmla="*/ 794 h 794"/>
                  <a:gd name="T2" fmla="*/ 9 w 199"/>
                  <a:gd name="T3" fmla="*/ 791 h 794"/>
                  <a:gd name="T4" fmla="*/ 25 w 199"/>
                  <a:gd name="T5" fmla="*/ 764 h 794"/>
                  <a:gd name="T6" fmla="*/ 12 w 199"/>
                  <a:gd name="T7" fmla="*/ 755 h 794"/>
                  <a:gd name="T8" fmla="*/ 0 w 199"/>
                  <a:gd name="T9" fmla="*/ 794 h 794"/>
                  <a:gd name="T10" fmla="*/ 76 w 199"/>
                  <a:gd name="T11" fmla="*/ 712 h 794"/>
                  <a:gd name="T12" fmla="*/ 49 w 199"/>
                  <a:gd name="T13" fmla="*/ 708 h 794"/>
                  <a:gd name="T14" fmla="*/ 36 w 199"/>
                  <a:gd name="T15" fmla="*/ 755 h 794"/>
                  <a:gd name="T16" fmla="*/ 43 w 199"/>
                  <a:gd name="T17" fmla="*/ 757 h 794"/>
                  <a:gd name="T18" fmla="*/ 55 w 199"/>
                  <a:gd name="T19" fmla="*/ 733 h 794"/>
                  <a:gd name="T20" fmla="*/ 88 w 199"/>
                  <a:gd name="T21" fmla="*/ 715 h 794"/>
                  <a:gd name="T22" fmla="*/ 79 w 199"/>
                  <a:gd name="T23" fmla="*/ 699 h 794"/>
                  <a:gd name="T24" fmla="*/ 76 w 199"/>
                  <a:gd name="T25" fmla="*/ 712 h 794"/>
                  <a:gd name="T26" fmla="*/ 128 w 199"/>
                  <a:gd name="T27" fmla="*/ 672 h 794"/>
                  <a:gd name="T28" fmla="*/ 117 w 199"/>
                  <a:gd name="T29" fmla="*/ 697 h 794"/>
                  <a:gd name="T30" fmla="*/ 128 w 199"/>
                  <a:gd name="T31" fmla="*/ 672 h 794"/>
                  <a:gd name="T32" fmla="*/ 189 w 199"/>
                  <a:gd name="T33" fmla="*/ 423 h 794"/>
                  <a:gd name="T34" fmla="*/ 177 w 199"/>
                  <a:gd name="T35" fmla="*/ 434 h 794"/>
                  <a:gd name="T36" fmla="*/ 185 w 199"/>
                  <a:gd name="T37" fmla="*/ 449 h 794"/>
                  <a:gd name="T38" fmla="*/ 173 w 199"/>
                  <a:gd name="T39" fmla="*/ 449 h 794"/>
                  <a:gd name="T40" fmla="*/ 173 w 199"/>
                  <a:gd name="T41" fmla="*/ 469 h 794"/>
                  <a:gd name="T42" fmla="*/ 189 w 199"/>
                  <a:gd name="T43" fmla="*/ 467 h 794"/>
                  <a:gd name="T44" fmla="*/ 198 w 199"/>
                  <a:gd name="T45" fmla="*/ 456 h 794"/>
                  <a:gd name="T46" fmla="*/ 189 w 199"/>
                  <a:gd name="T47" fmla="*/ 437 h 794"/>
                  <a:gd name="T48" fmla="*/ 199 w 199"/>
                  <a:gd name="T49" fmla="*/ 435 h 794"/>
                  <a:gd name="T50" fmla="*/ 189 w 199"/>
                  <a:gd name="T51" fmla="*/ 423 h 794"/>
                  <a:gd name="T52" fmla="*/ 184 w 199"/>
                  <a:gd name="T53" fmla="*/ 513 h 794"/>
                  <a:gd name="T54" fmla="*/ 195 w 199"/>
                  <a:gd name="T55" fmla="*/ 499 h 794"/>
                  <a:gd name="T56" fmla="*/ 178 w 199"/>
                  <a:gd name="T57" fmla="*/ 485 h 794"/>
                  <a:gd name="T58" fmla="*/ 184 w 199"/>
                  <a:gd name="T59" fmla="*/ 513 h 794"/>
                  <a:gd name="T60" fmla="*/ 170 w 199"/>
                  <a:gd name="T61" fmla="*/ 636 h 794"/>
                  <a:gd name="T62" fmla="*/ 171 w 199"/>
                  <a:gd name="T63" fmla="*/ 615 h 794"/>
                  <a:gd name="T64" fmla="*/ 162 w 199"/>
                  <a:gd name="T65" fmla="*/ 632 h 794"/>
                  <a:gd name="T66" fmla="*/ 170 w 199"/>
                  <a:gd name="T67" fmla="*/ 636 h 794"/>
                  <a:gd name="T68" fmla="*/ 169 w 199"/>
                  <a:gd name="T69" fmla="*/ 573 h 794"/>
                  <a:gd name="T70" fmla="*/ 181 w 199"/>
                  <a:gd name="T71" fmla="*/ 571 h 794"/>
                  <a:gd name="T72" fmla="*/ 169 w 199"/>
                  <a:gd name="T73" fmla="*/ 559 h 794"/>
                  <a:gd name="T74" fmla="*/ 169 w 199"/>
                  <a:gd name="T75" fmla="*/ 573 h 794"/>
                  <a:gd name="T76" fmla="*/ 82 w 199"/>
                  <a:gd name="T77" fmla="*/ 14 h 794"/>
                  <a:gd name="T78" fmla="*/ 94 w 199"/>
                  <a:gd name="T79" fmla="*/ 38 h 794"/>
                  <a:gd name="T80" fmla="*/ 114 w 199"/>
                  <a:gd name="T81" fmla="*/ 14 h 794"/>
                  <a:gd name="T82" fmla="*/ 106 w 199"/>
                  <a:gd name="T83" fmla="*/ 0 h 794"/>
                  <a:gd name="T84" fmla="*/ 82 w 199"/>
                  <a:gd name="T85" fmla="*/ 14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9" h="794">
                    <a:moveTo>
                      <a:pt x="0" y="794"/>
                    </a:moveTo>
                    <a:cubicBezTo>
                      <a:pt x="9" y="791"/>
                      <a:pt x="9" y="791"/>
                      <a:pt x="9" y="791"/>
                    </a:cubicBezTo>
                    <a:cubicBezTo>
                      <a:pt x="25" y="764"/>
                      <a:pt x="25" y="764"/>
                      <a:pt x="25" y="764"/>
                    </a:cubicBezTo>
                    <a:cubicBezTo>
                      <a:pt x="12" y="755"/>
                      <a:pt x="12" y="755"/>
                      <a:pt x="12" y="755"/>
                    </a:cubicBezTo>
                    <a:lnTo>
                      <a:pt x="0" y="794"/>
                    </a:lnTo>
                    <a:close/>
                    <a:moveTo>
                      <a:pt x="76" y="712"/>
                    </a:moveTo>
                    <a:cubicBezTo>
                      <a:pt x="49" y="708"/>
                      <a:pt x="49" y="708"/>
                      <a:pt x="49" y="708"/>
                    </a:cubicBezTo>
                    <a:cubicBezTo>
                      <a:pt x="36" y="755"/>
                      <a:pt x="36" y="755"/>
                      <a:pt x="36" y="755"/>
                    </a:cubicBezTo>
                    <a:cubicBezTo>
                      <a:pt x="43" y="757"/>
                      <a:pt x="43" y="757"/>
                      <a:pt x="43" y="757"/>
                    </a:cubicBezTo>
                    <a:cubicBezTo>
                      <a:pt x="55" y="733"/>
                      <a:pt x="55" y="733"/>
                      <a:pt x="55" y="733"/>
                    </a:cubicBezTo>
                    <a:cubicBezTo>
                      <a:pt x="88" y="715"/>
                      <a:pt x="88" y="715"/>
                      <a:pt x="88" y="715"/>
                    </a:cubicBezTo>
                    <a:cubicBezTo>
                      <a:pt x="79" y="699"/>
                      <a:pt x="79" y="699"/>
                      <a:pt x="79" y="699"/>
                    </a:cubicBezTo>
                    <a:lnTo>
                      <a:pt x="76" y="712"/>
                    </a:lnTo>
                    <a:close/>
                    <a:moveTo>
                      <a:pt x="128" y="672"/>
                    </a:moveTo>
                    <a:cubicBezTo>
                      <a:pt x="119" y="670"/>
                      <a:pt x="109" y="694"/>
                      <a:pt x="117" y="697"/>
                    </a:cubicBezTo>
                    <a:cubicBezTo>
                      <a:pt x="128" y="701"/>
                      <a:pt x="138" y="675"/>
                      <a:pt x="128" y="672"/>
                    </a:cubicBezTo>
                    <a:close/>
                    <a:moveTo>
                      <a:pt x="189" y="423"/>
                    </a:moveTo>
                    <a:cubicBezTo>
                      <a:pt x="177" y="434"/>
                      <a:pt x="177" y="434"/>
                      <a:pt x="177" y="434"/>
                    </a:cubicBezTo>
                    <a:cubicBezTo>
                      <a:pt x="185" y="449"/>
                      <a:pt x="185" y="449"/>
                      <a:pt x="185" y="449"/>
                    </a:cubicBezTo>
                    <a:cubicBezTo>
                      <a:pt x="173" y="449"/>
                      <a:pt x="173" y="449"/>
                      <a:pt x="173" y="449"/>
                    </a:cubicBezTo>
                    <a:cubicBezTo>
                      <a:pt x="173" y="469"/>
                      <a:pt x="173" y="469"/>
                      <a:pt x="173" y="469"/>
                    </a:cubicBezTo>
                    <a:cubicBezTo>
                      <a:pt x="189" y="467"/>
                      <a:pt x="189" y="467"/>
                      <a:pt x="189" y="467"/>
                    </a:cubicBezTo>
                    <a:cubicBezTo>
                      <a:pt x="198" y="456"/>
                      <a:pt x="198" y="456"/>
                      <a:pt x="198" y="456"/>
                    </a:cubicBezTo>
                    <a:cubicBezTo>
                      <a:pt x="189" y="437"/>
                      <a:pt x="189" y="437"/>
                      <a:pt x="189" y="437"/>
                    </a:cubicBezTo>
                    <a:cubicBezTo>
                      <a:pt x="199" y="435"/>
                      <a:pt x="199" y="435"/>
                      <a:pt x="199" y="435"/>
                    </a:cubicBezTo>
                    <a:lnTo>
                      <a:pt x="189" y="423"/>
                    </a:lnTo>
                    <a:close/>
                    <a:moveTo>
                      <a:pt x="184" y="513"/>
                    </a:moveTo>
                    <a:cubicBezTo>
                      <a:pt x="195" y="499"/>
                      <a:pt x="195" y="499"/>
                      <a:pt x="195" y="499"/>
                    </a:cubicBezTo>
                    <a:cubicBezTo>
                      <a:pt x="178" y="485"/>
                      <a:pt x="178" y="485"/>
                      <a:pt x="178" y="485"/>
                    </a:cubicBezTo>
                    <a:lnTo>
                      <a:pt x="184" y="513"/>
                    </a:lnTo>
                    <a:close/>
                    <a:moveTo>
                      <a:pt x="170" y="636"/>
                    </a:moveTo>
                    <a:cubicBezTo>
                      <a:pt x="171" y="615"/>
                      <a:pt x="171" y="615"/>
                      <a:pt x="171" y="615"/>
                    </a:cubicBezTo>
                    <a:cubicBezTo>
                      <a:pt x="162" y="632"/>
                      <a:pt x="162" y="632"/>
                      <a:pt x="162" y="632"/>
                    </a:cubicBezTo>
                    <a:lnTo>
                      <a:pt x="170" y="636"/>
                    </a:lnTo>
                    <a:close/>
                    <a:moveTo>
                      <a:pt x="169" y="573"/>
                    </a:moveTo>
                    <a:cubicBezTo>
                      <a:pt x="181" y="571"/>
                      <a:pt x="181" y="571"/>
                      <a:pt x="181" y="571"/>
                    </a:cubicBezTo>
                    <a:cubicBezTo>
                      <a:pt x="169" y="559"/>
                      <a:pt x="169" y="559"/>
                      <a:pt x="169" y="559"/>
                    </a:cubicBezTo>
                    <a:lnTo>
                      <a:pt x="169" y="573"/>
                    </a:lnTo>
                    <a:close/>
                    <a:moveTo>
                      <a:pt x="82" y="14"/>
                    </a:moveTo>
                    <a:cubicBezTo>
                      <a:pt x="94" y="38"/>
                      <a:pt x="94" y="38"/>
                      <a:pt x="94" y="38"/>
                    </a:cubicBezTo>
                    <a:cubicBezTo>
                      <a:pt x="114" y="14"/>
                      <a:pt x="114" y="14"/>
                      <a:pt x="114" y="14"/>
                    </a:cubicBezTo>
                    <a:cubicBezTo>
                      <a:pt x="106" y="0"/>
                      <a:pt x="106" y="0"/>
                      <a:pt x="106" y="0"/>
                    </a:cubicBezTo>
                    <a:lnTo>
                      <a:pt x="82" y="14"/>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80" name="Russia">
                <a:extLst>
                  <a:ext uri="{FF2B5EF4-FFF2-40B4-BE49-F238E27FC236}">
                    <a16:creationId xmlns:a16="http://schemas.microsoft.com/office/drawing/2014/main" id="{CABB7051-6587-4F8C-B093-03F350E84334}"/>
                  </a:ext>
                </a:extLst>
              </p:cNvPr>
              <p:cNvSpPr>
                <a:spLocks noEditPoints="1"/>
              </p:cNvSpPr>
              <p:nvPr/>
            </p:nvSpPr>
            <p:spPr bwMode="gray">
              <a:xfrm>
                <a:off x="6097295" y="1770048"/>
                <a:ext cx="3383550" cy="1075828"/>
              </a:xfrm>
              <a:custGeom>
                <a:avLst/>
                <a:gdLst>
                  <a:gd name="T0" fmla="*/ 1604 w 6045"/>
                  <a:gd name="T1" fmla="*/ 319 h 1923"/>
                  <a:gd name="T2" fmla="*/ 1125 w 6045"/>
                  <a:gd name="T3" fmla="*/ 38 h 1923"/>
                  <a:gd name="T4" fmla="*/ 1119 w 6045"/>
                  <a:gd name="T5" fmla="*/ 335 h 1923"/>
                  <a:gd name="T6" fmla="*/ 1136 w 6045"/>
                  <a:gd name="T7" fmla="*/ 227 h 1923"/>
                  <a:gd name="T8" fmla="*/ 1032 w 6045"/>
                  <a:gd name="T9" fmla="*/ 349 h 1923"/>
                  <a:gd name="T10" fmla="*/ 4026 w 6045"/>
                  <a:gd name="T11" fmla="*/ 259 h 1923"/>
                  <a:gd name="T12" fmla="*/ 2394 w 6045"/>
                  <a:gd name="T13" fmla="*/ 103 h 1923"/>
                  <a:gd name="T14" fmla="*/ 3618 w 6045"/>
                  <a:gd name="T15" fmla="*/ 235 h 1923"/>
                  <a:gd name="T16" fmla="*/ 113 w 6045"/>
                  <a:gd name="T17" fmla="*/ 1236 h 1923"/>
                  <a:gd name="T18" fmla="*/ 755 w 6045"/>
                  <a:gd name="T19" fmla="*/ 45 h 1923"/>
                  <a:gd name="T20" fmla="*/ 5033 w 6045"/>
                  <a:gd name="T21" fmla="*/ 1361 h 1923"/>
                  <a:gd name="T22" fmla="*/ 5193 w 6045"/>
                  <a:gd name="T23" fmla="*/ 1629 h 1923"/>
                  <a:gd name="T24" fmla="*/ 5935 w 6045"/>
                  <a:gd name="T25" fmla="*/ 632 h 1923"/>
                  <a:gd name="T26" fmla="*/ 5061 w 6045"/>
                  <a:gd name="T27" fmla="*/ 515 h 1923"/>
                  <a:gd name="T28" fmla="*/ 4321 w 6045"/>
                  <a:gd name="T29" fmla="*/ 409 h 1923"/>
                  <a:gd name="T30" fmla="*/ 3936 w 6045"/>
                  <a:gd name="T31" fmla="*/ 365 h 1923"/>
                  <a:gd name="T32" fmla="*/ 3577 w 6045"/>
                  <a:gd name="T33" fmla="*/ 386 h 1923"/>
                  <a:gd name="T34" fmla="*/ 3251 w 6045"/>
                  <a:gd name="T35" fmla="*/ 351 h 1923"/>
                  <a:gd name="T36" fmla="*/ 2915 w 6045"/>
                  <a:gd name="T37" fmla="*/ 313 h 1923"/>
                  <a:gd name="T38" fmla="*/ 2906 w 6045"/>
                  <a:gd name="T39" fmla="*/ 254 h 1923"/>
                  <a:gd name="T40" fmla="*/ 2423 w 6045"/>
                  <a:gd name="T41" fmla="*/ 210 h 1923"/>
                  <a:gd name="T42" fmla="*/ 2038 w 6045"/>
                  <a:gd name="T43" fmla="*/ 402 h 1923"/>
                  <a:gd name="T44" fmla="*/ 1740 w 6045"/>
                  <a:gd name="T45" fmla="*/ 389 h 1923"/>
                  <a:gd name="T46" fmla="*/ 1845 w 6045"/>
                  <a:gd name="T47" fmla="*/ 542 h 1923"/>
                  <a:gd name="T48" fmla="*/ 1684 w 6045"/>
                  <a:gd name="T49" fmla="*/ 417 h 1923"/>
                  <a:gd name="T50" fmla="*/ 1499 w 6045"/>
                  <a:gd name="T51" fmla="*/ 522 h 1923"/>
                  <a:gd name="T52" fmla="*/ 1060 w 6045"/>
                  <a:gd name="T53" fmla="*/ 545 h 1923"/>
                  <a:gd name="T54" fmla="*/ 795 w 6045"/>
                  <a:gd name="T55" fmla="*/ 644 h 1923"/>
                  <a:gd name="T56" fmla="*/ 508 w 6045"/>
                  <a:gd name="T57" fmla="*/ 670 h 1923"/>
                  <a:gd name="T58" fmla="*/ 357 w 6045"/>
                  <a:gd name="T59" fmla="*/ 475 h 1923"/>
                  <a:gd name="T60" fmla="*/ 323 w 6045"/>
                  <a:gd name="T61" fmla="*/ 703 h 1923"/>
                  <a:gd name="T62" fmla="*/ 303 w 6045"/>
                  <a:gd name="T63" fmla="*/ 980 h 1923"/>
                  <a:gd name="T64" fmla="*/ 382 w 6045"/>
                  <a:gd name="T65" fmla="*/ 1163 h 1923"/>
                  <a:gd name="T66" fmla="*/ 538 w 6045"/>
                  <a:gd name="T67" fmla="*/ 1342 h 1923"/>
                  <a:gd name="T68" fmla="*/ 827 w 6045"/>
                  <a:gd name="T69" fmla="*/ 1472 h 1923"/>
                  <a:gd name="T70" fmla="*/ 752 w 6045"/>
                  <a:gd name="T71" fmla="*/ 1694 h 1923"/>
                  <a:gd name="T72" fmla="*/ 1214 w 6045"/>
                  <a:gd name="T73" fmla="*/ 1892 h 1923"/>
                  <a:gd name="T74" fmla="*/ 1231 w 6045"/>
                  <a:gd name="T75" fmla="*/ 1631 h 1923"/>
                  <a:gd name="T76" fmla="*/ 1419 w 6045"/>
                  <a:gd name="T77" fmla="*/ 1396 h 1923"/>
                  <a:gd name="T78" fmla="*/ 1765 w 6045"/>
                  <a:gd name="T79" fmla="*/ 1244 h 1923"/>
                  <a:gd name="T80" fmla="*/ 2222 w 6045"/>
                  <a:gd name="T81" fmla="*/ 1256 h 1923"/>
                  <a:gd name="T82" fmla="*/ 2847 w 6045"/>
                  <a:gd name="T83" fmla="*/ 1496 h 1923"/>
                  <a:gd name="T84" fmla="*/ 3152 w 6045"/>
                  <a:gd name="T85" fmla="*/ 1456 h 1923"/>
                  <a:gd name="T86" fmla="*/ 3428 w 6045"/>
                  <a:gd name="T87" fmla="*/ 1441 h 1923"/>
                  <a:gd name="T88" fmla="*/ 3929 w 6045"/>
                  <a:gd name="T89" fmla="*/ 1447 h 1923"/>
                  <a:gd name="T90" fmla="*/ 4174 w 6045"/>
                  <a:gd name="T91" fmla="*/ 1268 h 1923"/>
                  <a:gd name="T92" fmla="*/ 4630 w 6045"/>
                  <a:gd name="T93" fmla="*/ 1533 h 1923"/>
                  <a:gd name="T94" fmla="*/ 4843 w 6045"/>
                  <a:gd name="T95" fmla="*/ 1667 h 1923"/>
                  <a:gd name="T96" fmla="*/ 4985 w 6045"/>
                  <a:gd name="T97" fmla="*/ 1754 h 1923"/>
                  <a:gd name="T98" fmla="*/ 4903 w 6045"/>
                  <a:gd name="T99" fmla="*/ 1298 h 1923"/>
                  <a:gd name="T100" fmla="*/ 4580 w 6045"/>
                  <a:gd name="T101" fmla="*/ 1205 h 1923"/>
                  <a:gd name="T102" fmla="*/ 4885 w 6045"/>
                  <a:gd name="T103" fmla="*/ 977 h 1923"/>
                  <a:gd name="T104" fmla="*/ 5110 w 6045"/>
                  <a:gd name="T105" fmla="*/ 890 h 1923"/>
                  <a:gd name="T106" fmla="*/ 5374 w 6045"/>
                  <a:gd name="T107" fmla="*/ 897 h 1923"/>
                  <a:gd name="T108" fmla="*/ 5630 w 6045"/>
                  <a:gd name="T109" fmla="*/ 1386 h 1923"/>
                  <a:gd name="T110" fmla="*/ 5463 w 6045"/>
                  <a:gd name="T111" fmla="*/ 992 h 1923"/>
                  <a:gd name="T112" fmla="*/ 5791 w 6045"/>
                  <a:gd name="T113" fmla="*/ 813 h 1923"/>
                  <a:gd name="T114" fmla="*/ 5719 w 6045"/>
                  <a:gd name="T115" fmla="*/ 660 h 1923"/>
                  <a:gd name="T116" fmla="*/ 3494 w 6045"/>
                  <a:gd name="T117" fmla="*/ 1368 h 1923"/>
                  <a:gd name="T118" fmla="*/ 3579 w 6045"/>
                  <a:gd name="T119" fmla="*/ 1259 h 1923"/>
                  <a:gd name="T120" fmla="*/ 943 w 6045"/>
                  <a:gd name="T121" fmla="*/ 537 h 1923"/>
                  <a:gd name="T122" fmla="*/ 924 w 6045"/>
                  <a:gd name="T123" fmla="*/ 25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45" h="1923">
                    <a:moveTo>
                      <a:pt x="1866" y="364"/>
                    </a:moveTo>
                    <a:cubicBezTo>
                      <a:pt x="1845" y="359"/>
                      <a:pt x="1845" y="359"/>
                      <a:pt x="1845" y="359"/>
                    </a:cubicBezTo>
                    <a:cubicBezTo>
                      <a:pt x="1828" y="373"/>
                      <a:pt x="1828" y="373"/>
                      <a:pt x="1828" y="373"/>
                    </a:cubicBezTo>
                    <a:cubicBezTo>
                      <a:pt x="1854" y="380"/>
                      <a:pt x="1854" y="380"/>
                      <a:pt x="1854" y="380"/>
                    </a:cubicBezTo>
                    <a:lnTo>
                      <a:pt x="1866" y="364"/>
                    </a:lnTo>
                    <a:close/>
                    <a:moveTo>
                      <a:pt x="1894" y="346"/>
                    </a:moveTo>
                    <a:cubicBezTo>
                      <a:pt x="1869" y="329"/>
                      <a:pt x="1876" y="352"/>
                      <a:pt x="1876" y="352"/>
                    </a:cubicBezTo>
                    <a:cubicBezTo>
                      <a:pt x="1901" y="362"/>
                      <a:pt x="1919" y="363"/>
                      <a:pt x="1894" y="346"/>
                    </a:cubicBezTo>
                    <a:close/>
                    <a:moveTo>
                      <a:pt x="1138" y="13"/>
                    </a:moveTo>
                    <a:cubicBezTo>
                      <a:pt x="1148" y="11"/>
                      <a:pt x="1162" y="1"/>
                      <a:pt x="1155" y="1"/>
                    </a:cubicBezTo>
                    <a:cubicBezTo>
                      <a:pt x="1148" y="1"/>
                      <a:pt x="1100" y="1"/>
                      <a:pt x="1100" y="1"/>
                    </a:cubicBezTo>
                    <a:cubicBezTo>
                      <a:pt x="1097" y="10"/>
                      <a:pt x="1097" y="10"/>
                      <a:pt x="1097" y="10"/>
                    </a:cubicBezTo>
                    <a:cubicBezTo>
                      <a:pt x="1124" y="7"/>
                      <a:pt x="1124" y="7"/>
                      <a:pt x="1124" y="7"/>
                    </a:cubicBezTo>
                    <a:cubicBezTo>
                      <a:pt x="1124" y="7"/>
                      <a:pt x="1128" y="14"/>
                      <a:pt x="1138" y="13"/>
                    </a:cubicBezTo>
                    <a:close/>
                    <a:moveTo>
                      <a:pt x="1163" y="39"/>
                    </a:moveTo>
                    <a:cubicBezTo>
                      <a:pt x="1168" y="39"/>
                      <a:pt x="1176" y="34"/>
                      <a:pt x="1176" y="34"/>
                    </a:cubicBezTo>
                    <a:cubicBezTo>
                      <a:pt x="1176" y="34"/>
                      <a:pt x="1203" y="42"/>
                      <a:pt x="1210" y="35"/>
                    </a:cubicBezTo>
                    <a:cubicBezTo>
                      <a:pt x="1217" y="28"/>
                      <a:pt x="1211" y="17"/>
                      <a:pt x="1189" y="17"/>
                    </a:cubicBezTo>
                    <a:cubicBezTo>
                      <a:pt x="1166" y="17"/>
                      <a:pt x="1145" y="34"/>
                      <a:pt x="1145" y="34"/>
                    </a:cubicBezTo>
                    <a:cubicBezTo>
                      <a:pt x="1149" y="39"/>
                      <a:pt x="1159" y="39"/>
                      <a:pt x="1163" y="39"/>
                    </a:cubicBezTo>
                    <a:close/>
                    <a:moveTo>
                      <a:pt x="1590" y="341"/>
                    </a:moveTo>
                    <a:cubicBezTo>
                      <a:pt x="1623" y="333"/>
                      <a:pt x="1612" y="323"/>
                      <a:pt x="1604" y="319"/>
                    </a:cubicBezTo>
                    <a:cubicBezTo>
                      <a:pt x="1596" y="315"/>
                      <a:pt x="1566" y="319"/>
                      <a:pt x="1566" y="319"/>
                    </a:cubicBezTo>
                    <a:cubicBezTo>
                      <a:pt x="1566" y="319"/>
                      <a:pt x="1572" y="345"/>
                      <a:pt x="1590" y="341"/>
                    </a:cubicBezTo>
                    <a:close/>
                    <a:moveTo>
                      <a:pt x="1062" y="20"/>
                    </a:moveTo>
                    <a:cubicBezTo>
                      <a:pt x="1034" y="17"/>
                      <a:pt x="1034" y="17"/>
                      <a:pt x="1034" y="17"/>
                    </a:cubicBezTo>
                    <a:cubicBezTo>
                      <a:pt x="1041" y="25"/>
                      <a:pt x="1041" y="25"/>
                      <a:pt x="1041" y="25"/>
                    </a:cubicBezTo>
                    <a:lnTo>
                      <a:pt x="1062" y="20"/>
                    </a:lnTo>
                    <a:close/>
                    <a:moveTo>
                      <a:pt x="1264" y="465"/>
                    </a:moveTo>
                    <a:cubicBezTo>
                      <a:pt x="1259" y="473"/>
                      <a:pt x="1324" y="507"/>
                      <a:pt x="1330" y="491"/>
                    </a:cubicBezTo>
                    <a:cubicBezTo>
                      <a:pt x="1336" y="475"/>
                      <a:pt x="1270" y="455"/>
                      <a:pt x="1264" y="465"/>
                    </a:cubicBezTo>
                    <a:close/>
                    <a:moveTo>
                      <a:pt x="2074" y="83"/>
                    </a:moveTo>
                    <a:cubicBezTo>
                      <a:pt x="2084" y="73"/>
                      <a:pt x="2084" y="73"/>
                      <a:pt x="2084" y="73"/>
                    </a:cubicBezTo>
                    <a:cubicBezTo>
                      <a:pt x="2024" y="73"/>
                      <a:pt x="2024" y="73"/>
                      <a:pt x="2024" y="73"/>
                    </a:cubicBezTo>
                    <a:lnTo>
                      <a:pt x="2074" y="83"/>
                    </a:lnTo>
                    <a:close/>
                    <a:moveTo>
                      <a:pt x="1044" y="68"/>
                    </a:moveTo>
                    <a:cubicBezTo>
                      <a:pt x="1090" y="66"/>
                      <a:pt x="1090" y="66"/>
                      <a:pt x="1090" y="66"/>
                    </a:cubicBezTo>
                    <a:cubicBezTo>
                      <a:pt x="1075" y="56"/>
                      <a:pt x="1075" y="56"/>
                      <a:pt x="1075" y="56"/>
                    </a:cubicBezTo>
                    <a:lnTo>
                      <a:pt x="1044" y="68"/>
                    </a:lnTo>
                    <a:close/>
                    <a:moveTo>
                      <a:pt x="1051" y="39"/>
                    </a:moveTo>
                    <a:cubicBezTo>
                      <a:pt x="1064" y="48"/>
                      <a:pt x="1066" y="52"/>
                      <a:pt x="1066" y="52"/>
                    </a:cubicBezTo>
                    <a:cubicBezTo>
                      <a:pt x="1083" y="44"/>
                      <a:pt x="1083" y="44"/>
                      <a:pt x="1083" y="44"/>
                    </a:cubicBezTo>
                    <a:cubicBezTo>
                      <a:pt x="1083" y="44"/>
                      <a:pt x="1076" y="49"/>
                      <a:pt x="1090" y="49"/>
                    </a:cubicBezTo>
                    <a:cubicBezTo>
                      <a:pt x="1104" y="49"/>
                      <a:pt x="1125" y="38"/>
                      <a:pt x="1125" y="38"/>
                    </a:cubicBezTo>
                    <a:cubicBezTo>
                      <a:pt x="1089" y="32"/>
                      <a:pt x="1089" y="32"/>
                      <a:pt x="1089" y="32"/>
                    </a:cubicBezTo>
                    <a:cubicBezTo>
                      <a:pt x="1079" y="38"/>
                      <a:pt x="1079" y="38"/>
                      <a:pt x="1079" y="38"/>
                    </a:cubicBezTo>
                    <a:cubicBezTo>
                      <a:pt x="1079" y="38"/>
                      <a:pt x="1065" y="32"/>
                      <a:pt x="1061" y="34"/>
                    </a:cubicBezTo>
                    <a:cubicBezTo>
                      <a:pt x="1057" y="35"/>
                      <a:pt x="1051" y="39"/>
                      <a:pt x="1051" y="39"/>
                    </a:cubicBezTo>
                    <a:close/>
                    <a:moveTo>
                      <a:pt x="1113" y="23"/>
                    </a:moveTo>
                    <a:cubicBezTo>
                      <a:pt x="1071" y="23"/>
                      <a:pt x="1071" y="23"/>
                      <a:pt x="1071" y="23"/>
                    </a:cubicBezTo>
                    <a:cubicBezTo>
                      <a:pt x="1106" y="31"/>
                      <a:pt x="1106" y="31"/>
                      <a:pt x="1106" y="31"/>
                    </a:cubicBezTo>
                    <a:lnTo>
                      <a:pt x="1113" y="23"/>
                    </a:lnTo>
                    <a:close/>
                    <a:moveTo>
                      <a:pt x="1032" y="349"/>
                    </a:moveTo>
                    <a:cubicBezTo>
                      <a:pt x="1002" y="354"/>
                      <a:pt x="1002" y="354"/>
                      <a:pt x="1002" y="354"/>
                    </a:cubicBezTo>
                    <a:cubicBezTo>
                      <a:pt x="1011" y="366"/>
                      <a:pt x="1011" y="366"/>
                      <a:pt x="1011" y="366"/>
                    </a:cubicBezTo>
                    <a:cubicBezTo>
                      <a:pt x="1030" y="357"/>
                      <a:pt x="1030" y="357"/>
                      <a:pt x="1030" y="357"/>
                    </a:cubicBezTo>
                    <a:cubicBezTo>
                      <a:pt x="1020" y="373"/>
                      <a:pt x="1020" y="373"/>
                      <a:pt x="1020" y="373"/>
                    </a:cubicBezTo>
                    <a:cubicBezTo>
                      <a:pt x="1020" y="373"/>
                      <a:pt x="992" y="379"/>
                      <a:pt x="994" y="390"/>
                    </a:cubicBezTo>
                    <a:cubicBezTo>
                      <a:pt x="996" y="401"/>
                      <a:pt x="1023" y="405"/>
                      <a:pt x="1035" y="405"/>
                    </a:cubicBezTo>
                    <a:cubicBezTo>
                      <a:pt x="1048" y="405"/>
                      <a:pt x="1065" y="408"/>
                      <a:pt x="1076" y="414"/>
                    </a:cubicBezTo>
                    <a:cubicBezTo>
                      <a:pt x="1086" y="420"/>
                      <a:pt x="1085" y="437"/>
                      <a:pt x="1088" y="438"/>
                    </a:cubicBezTo>
                    <a:cubicBezTo>
                      <a:pt x="1091" y="440"/>
                      <a:pt x="1140" y="447"/>
                      <a:pt x="1140" y="447"/>
                    </a:cubicBezTo>
                    <a:cubicBezTo>
                      <a:pt x="1214" y="443"/>
                      <a:pt x="1214" y="443"/>
                      <a:pt x="1214" y="443"/>
                    </a:cubicBezTo>
                    <a:cubicBezTo>
                      <a:pt x="1214" y="443"/>
                      <a:pt x="1154" y="437"/>
                      <a:pt x="1138" y="411"/>
                    </a:cubicBezTo>
                    <a:cubicBezTo>
                      <a:pt x="1122" y="385"/>
                      <a:pt x="1106" y="385"/>
                      <a:pt x="1122" y="361"/>
                    </a:cubicBezTo>
                    <a:cubicBezTo>
                      <a:pt x="1138" y="337"/>
                      <a:pt x="1119" y="335"/>
                      <a:pt x="1119" y="335"/>
                    </a:cubicBezTo>
                    <a:cubicBezTo>
                      <a:pt x="1146" y="331"/>
                      <a:pt x="1146" y="331"/>
                      <a:pt x="1146" y="331"/>
                    </a:cubicBezTo>
                    <a:cubicBezTo>
                      <a:pt x="1135" y="319"/>
                      <a:pt x="1135" y="319"/>
                      <a:pt x="1135" y="319"/>
                    </a:cubicBezTo>
                    <a:cubicBezTo>
                      <a:pt x="1158" y="322"/>
                      <a:pt x="1158" y="322"/>
                      <a:pt x="1158" y="322"/>
                    </a:cubicBezTo>
                    <a:cubicBezTo>
                      <a:pt x="1145" y="314"/>
                      <a:pt x="1145" y="314"/>
                      <a:pt x="1145" y="314"/>
                    </a:cubicBezTo>
                    <a:cubicBezTo>
                      <a:pt x="1161" y="316"/>
                      <a:pt x="1161" y="316"/>
                      <a:pt x="1161" y="316"/>
                    </a:cubicBezTo>
                    <a:cubicBezTo>
                      <a:pt x="1165" y="306"/>
                      <a:pt x="1165" y="306"/>
                      <a:pt x="1165" y="306"/>
                    </a:cubicBezTo>
                    <a:cubicBezTo>
                      <a:pt x="1151" y="299"/>
                      <a:pt x="1151" y="299"/>
                      <a:pt x="1151" y="299"/>
                    </a:cubicBezTo>
                    <a:cubicBezTo>
                      <a:pt x="1151" y="299"/>
                      <a:pt x="1178" y="303"/>
                      <a:pt x="1182" y="299"/>
                    </a:cubicBezTo>
                    <a:cubicBezTo>
                      <a:pt x="1186" y="295"/>
                      <a:pt x="1171" y="285"/>
                      <a:pt x="1171" y="285"/>
                    </a:cubicBezTo>
                    <a:cubicBezTo>
                      <a:pt x="1193" y="287"/>
                      <a:pt x="1193" y="287"/>
                      <a:pt x="1193" y="287"/>
                    </a:cubicBezTo>
                    <a:cubicBezTo>
                      <a:pt x="1191" y="268"/>
                      <a:pt x="1191" y="268"/>
                      <a:pt x="1191" y="268"/>
                    </a:cubicBezTo>
                    <a:cubicBezTo>
                      <a:pt x="1191" y="268"/>
                      <a:pt x="1205" y="279"/>
                      <a:pt x="1223" y="271"/>
                    </a:cubicBezTo>
                    <a:cubicBezTo>
                      <a:pt x="1242" y="264"/>
                      <a:pt x="1254" y="250"/>
                      <a:pt x="1254" y="250"/>
                    </a:cubicBezTo>
                    <a:cubicBezTo>
                      <a:pt x="1254" y="250"/>
                      <a:pt x="1399" y="229"/>
                      <a:pt x="1420" y="220"/>
                    </a:cubicBezTo>
                    <a:cubicBezTo>
                      <a:pt x="1442" y="210"/>
                      <a:pt x="1463" y="195"/>
                      <a:pt x="1430" y="184"/>
                    </a:cubicBezTo>
                    <a:cubicBezTo>
                      <a:pt x="1397" y="172"/>
                      <a:pt x="1363" y="188"/>
                      <a:pt x="1348" y="194"/>
                    </a:cubicBezTo>
                    <a:cubicBezTo>
                      <a:pt x="1334" y="200"/>
                      <a:pt x="1290" y="215"/>
                      <a:pt x="1270" y="212"/>
                    </a:cubicBezTo>
                    <a:cubicBezTo>
                      <a:pt x="1249" y="210"/>
                      <a:pt x="1218" y="206"/>
                      <a:pt x="1218" y="206"/>
                    </a:cubicBezTo>
                    <a:cubicBezTo>
                      <a:pt x="1207" y="223"/>
                      <a:pt x="1207" y="223"/>
                      <a:pt x="1207" y="223"/>
                    </a:cubicBezTo>
                    <a:cubicBezTo>
                      <a:pt x="1190" y="214"/>
                      <a:pt x="1190" y="214"/>
                      <a:pt x="1190" y="214"/>
                    </a:cubicBezTo>
                    <a:cubicBezTo>
                      <a:pt x="1155" y="228"/>
                      <a:pt x="1155" y="228"/>
                      <a:pt x="1155" y="228"/>
                    </a:cubicBezTo>
                    <a:cubicBezTo>
                      <a:pt x="1136" y="227"/>
                      <a:pt x="1136" y="227"/>
                      <a:pt x="1136" y="227"/>
                    </a:cubicBezTo>
                    <a:cubicBezTo>
                      <a:pt x="1117" y="242"/>
                      <a:pt x="1117" y="242"/>
                      <a:pt x="1117" y="242"/>
                    </a:cubicBezTo>
                    <a:cubicBezTo>
                      <a:pt x="1131" y="247"/>
                      <a:pt x="1131" y="247"/>
                      <a:pt x="1131" y="247"/>
                    </a:cubicBezTo>
                    <a:cubicBezTo>
                      <a:pt x="1098" y="248"/>
                      <a:pt x="1098" y="248"/>
                      <a:pt x="1098" y="248"/>
                    </a:cubicBezTo>
                    <a:cubicBezTo>
                      <a:pt x="1079" y="254"/>
                      <a:pt x="1079" y="254"/>
                      <a:pt x="1079" y="254"/>
                    </a:cubicBezTo>
                    <a:cubicBezTo>
                      <a:pt x="1080" y="263"/>
                      <a:pt x="1080" y="263"/>
                      <a:pt x="1080" y="263"/>
                    </a:cubicBezTo>
                    <a:cubicBezTo>
                      <a:pt x="1097" y="254"/>
                      <a:pt x="1097" y="254"/>
                      <a:pt x="1097" y="254"/>
                    </a:cubicBezTo>
                    <a:cubicBezTo>
                      <a:pt x="1098" y="263"/>
                      <a:pt x="1098" y="263"/>
                      <a:pt x="1098" y="263"/>
                    </a:cubicBezTo>
                    <a:cubicBezTo>
                      <a:pt x="1117" y="265"/>
                      <a:pt x="1117" y="265"/>
                      <a:pt x="1117" y="265"/>
                    </a:cubicBezTo>
                    <a:cubicBezTo>
                      <a:pt x="1111" y="273"/>
                      <a:pt x="1111" y="273"/>
                      <a:pt x="1111" y="273"/>
                    </a:cubicBezTo>
                    <a:cubicBezTo>
                      <a:pt x="1085" y="273"/>
                      <a:pt x="1085" y="273"/>
                      <a:pt x="1085" y="273"/>
                    </a:cubicBezTo>
                    <a:cubicBezTo>
                      <a:pt x="1081" y="282"/>
                      <a:pt x="1081" y="282"/>
                      <a:pt x="1081" y="282"/>
                    </a:cubicBezTo>
                    <a:cubicBezTo>
                      <a:pt x="1099" y="285"/>
                      <a:pt x="1099" y="285"/>
                      <a:pt x="1099" y="285"/>
                    </a:cubicBezTo>
                    <a:cubicBezTo>
                      <a:pt x="1068" y="287"/>
                      <a:pt x="1068" y="287"/>
                      <a:pt x="1068" y="287"/>
                    </a:cubicBezTo>
                    <a:cubicBezTo>
                      <a:pt x="1090" y="293"/>
                      <a:pt x="1090" y="293"/>
                      <a:pt x="1090" y="293"/>
                    </a:cubicBezTo>
                    <a:cubicBezTo>
                      <a:pt x="1061" y="295"/>
                      <a:pt x="1061" y="295"/>
                      <a:pt x="1061" y="295"/>
                    </a:cubicBezTo>
                    <a:cubicBezTo>
                      <a:pt x="1059" y="309"/>
                      <a:pt x="1059" y="309"/>
                      <a:pt x="1059" y="309"/>
                    </a:cubicBezTo>
                    <a:cubicBezTo>
                      <a:pt x="1039" y="316"/>
                      <a:pt x="1039" y="316"/>
                      <a:pt x="1039" y="316"/>
                    </a:cubicBezTo>
                    <a:cubicBezTo>
                      <a:pt x="1046" y="326"/>
                      <a:pt x="1046" y="326"/>
                      <a:pt x="1046" y="326"/>
                    </a:cubicBezTo>
                    <a:cubicBezTo>
                      <a:pt x="1073" y="314"/>
                      <a:pt x="1073" y="314"/>
                      <a:pt x="1073" y="314"/>
                    </a:cubicBezTo>
                    <a:cubicBezTo>
                      <a:pt x="1062" y="332"/>
                      <a:pt x="1062" y="332"/>
                      <a:pt x="1062" y="332"/>
                    </a:cubicBezTo>
                    <a:cubicBezTo>
                      <a:pt x="1062" y="332"/>
                      <a:pt x="1041" y="327"/>
                      <a:pt x="1033" y="334"/>
                    </a:cubicBezTo>
                    <a:cubicBezTo>
                      <a:pt x="1026" y="341"/>
                      <a:pt x="1032" y="349"/>
                      <a:pt x="1032" y="349"/>
                    </a:cubicBezTo>
                    <a:close/>
                    <a:moveTo>
                      <a:pt x="3856" y="331"/>
                    </a:moveTo>
                    <a:cubicBezTo>
                      <a:pt x="3904" y="325"/>
                      <a:pt x="3904" y="325"/>
                      <a:pt x="3904" y="325"/>
                    </a:cubicBezTo>
                    <a:cubicBezTo>
                      <a:pt x="3976" y="335"/>
                      <a:pt x="3976" y="335"/>
                      <a:pt x="3976" y="335"/>
                    </a:cubicBezTo>
                    <a:cubicBezTo>
                      <a:pt x="3976" y="335"/>
                      <a:pt x="3954" y="311"/>
                      <a:pt x="3938" y="307"/>
                    </a:cubicBezTo>
                    <a:cubicBezTo>
                      <a:pt x="3922" y="303"/>
                      <a:pt x="3866" y="311"/>
                      <a:pt x="3866" y="311"/>
                    </a:cubicBezTo>
                    <a:lnTo>
                      <a:pt x="3856" y="331"/>
                    </a:lnTo>
                    <a:close/>
                    <a:moveTo>
                      <a:pt x="3858" y="253"/>
                    </a:moveTo>
                    <a:cubicBezTo>
                      <a:pt x="3896" y="257"/>
                      <a:pt x="3896" y="257"/>
                      <a:pt x="3896" y="257"/>
                    </a:cubicBezTo>
                    <a:cubicBezTo>
                      <a:pt x="3906" y="247"/>
                      <a:pt x="3904" y="235"/>
                      <a:pt x="3886" y="235"/>
                    </a:cubicBezTo>
                    <a:cubicBezTo>
                      <a:pt x="3868" y="235"/>
                      <a:pt x="3808" y="221"/>
                      <a:pt x="3816" y="233"/>
                    </a:cubicBezTo>
                    <a:cubicBezTo>
                      <a:pt x="3824" y="245"/>
                      <a:pt x="3858" y="253"/>
                      <a:pt x="3858" y="253"/>
                    </a:cubicBezTo>
                    <a:close/>
                    <a:moveTo>
                      <a:pt x="3818" y="289"/>
                    </a:moveTo>
                    <a:cubicBezTo>
                      <a:pt x="3792" y="315"/>
                      <a:pt x="3848" y="313"/>
                      <a:pt x="3856" y="303"/>
                    </a:cubicBezTo>
                    <a:cubicBezTo>
                      <a:pt x="3864" y="293"/>
                      <a:pt x="3825" y="282"/>
                      <a:pt x="3818" y="289"/>
                    </a:cubicBezTo>
                    <a:close/>
                    <a:moveTo>
                      <a:pt x="2050" y="65"/>
                    </a:moveTo>
                    <a:cubicBezTo>
                      <a:pt x="2050" y="65"/>
                      <a:pt x="2106" y="69"/>
                      <a:pt x="2118" y="65"/>
                    </a:cubicBezTo>
                    <a:cubicBezTo>
                      <a:pt x="2130" y="61"/>
                      <a:pt x="2172" y="65"/>
                      <a:pt x="2164" y="49"/>
                    </a:cubicBezTo>
                    <a:cubicBezTo>
                      <a:pt x="2156" y="33"/>
                      <a:pt x="2082" y="11"/>
                      <a:pt x="2082" y="11"/>
                    </a:cubicBezTo>
                    <a:cubicBezTo>
                      <a:pt x="2082" y="11"/>
                      <a:pt x="2026" y="1"/>
                      <a:pt x="2024" y="21"/>
                    </a:cubicBezTo>
                    <a:cubicBezTo>
                      <a:pt x="2022" y="41"/>
                      <a:pt x="2050" y="65"/>
                      <a:pt x="2050" y="65"/>
                    </a:cubicBezTo>
                    <a:close/>
                    <a:moveTo>
                      <a:pt x="4094" y="273"/>
                    </a:moveTo>
                    <a:cubicBezTo>
                      <a:pt x="4122" y="259"/>
                      <a:pt x="4026" y="259"/>
                      <a:pt x="4026" y="259"/>
                    </a:cubicBezTo>
                    <a:cubicBezTo>
                      <a:pt x="4026" y="259"/>
                      <a:pt x="4006" y="241"/>
                      <a:pt x="3998" y="241"/>
                    </a:cubicBezTo>
                    <a:cubicBezTo>
                      <a:pt x="3990" y="241"/>
                      <a:pt x="3966" y="245"/>
                      <a:pt x="3966" y="245"/>
                    </a:cubicBezTo>
                    <a:cubicBezTo>
                      <a:pt x="3942" y="243"/>
                      <a:pt x="3942" y="243"/>
                      <a:pt x="3942" y="243"/>
                    </a:cubicBezTo>
                    <a:cubicBezTo>
                      <a:pt x="3966" y="259"/>
                      <a:pt x="3966" y="259"/>
                      <a:pt x="3966" y="259"/>
                    </a:cubicBezTo>
                    <a:cubicBezTo>
                      <a:pt x="3966" y="259"/>
                      <a:pt x="4066" y="287"/>
                      <a:pt x="4094" y="273"/>
                    </a:cubicBezTo>
                    <a:close/>
                    <a:moveTo>
                      <a:pt x="5070" y="495"/>
                    </a:moveTo>
                    <a:cubicBezTo>
                      <a:pt x="5078" y="485"/>
                      <a:pt x="5004" y="475"/>
                      <a:pt x="5004" y="475"/>
                    </a:cubicBezTo>
                    <a:cubicBezTo>
                      <a:pt x="5004" y="483"/>
                      <a:pt x="5062" y="505"/>
                      <a:pt x="5070" y="495"/>
                    </a:cubicBezTo>
                    <a:close/>
                    <a:moveTo>
                      <a:pt x="2112" y="81"/>
                    </a:moveTo>
                    <a:cubicBezTo>
                      <a:pt x="2112" y="89"/>
                      <a:pt x="2178" y="95"/>
                      <a:pt x="2178" y="95"/>
                    </a:cubicBezTo>
                    <a:cubicBezTo>
                      <a:pt x="2212" y="91"/>
                      <a:pt x="2212" y="91"/>
                      <a:pt x="2212" y="91"/>
                    </a:cubicBezTo>
                    <a:cubicBezTo>
                      <a:pt x="2250" y="105"/>
                      <a:pt x="2250" y="105"/>
                      <a:pt x="2250" y="105"/>
                    </a:cubicBezTo>
                    <a:cubicBezTo>
                      <a:pt x="2292" y="103"/>
                      <a:pt x="2292" y="103"/>
                      <a:pt x="2292" y="103"/>
                    </a:cubicBezTo>
                    <a:cubicBezTo>
                      <a:pt x="2286" y="85"/>
                      <a:pt x="2268" y="59"/>
                      <a:pt x="2250" y="61"/>
                    </a:cubicBezTo>
                    <a:cubicBezTo>
                      <a:pt x="2232" y="63"/>
                      <a:pt x="2214" y="75"/>
                      <a:pt x="2214" y="75"/>
                    </a:cubicBezTo>
                    <a:cubicBezTo>
                      <a:pt x="2200" y="59"/>
                      <a:pt x="2200" y="59"/>
                      <a:pt x="2200" y="59"/>
                    </a:cubicBezTo>
                    <a:cubicBezTo>
                      <a:pt x="2200" y="59"/>
                      <a:pt x="2112" y="73"/>
                      <a:pt x="2112" y="81"/>
                    </a:cubicBezTo>
                    <a:close/>
                    <a:moveTo>
                      <a:pt x="2392" y="133"/>
                    </a:moveTo>
                    <a:cubicBezTo>
                      <a:pt x="2498" y="127"/>
                      <a:pt x="2498" y="127"/>
                      <a:pt x="2498" y="127"/>
                    </a:cubicBezTo>
                    <a:cubicBezTo>
                      <a:pt x="2470" y="111"/>
                      <a:pt x="2470" y="111"/>
                      <a:pt x="2470" y="111"/>
                    </a:cubicBezTo>
                    <a:cubicBezTo>
                      <a:pt x="2470" y="111"/>
                      <a:pt x="2432" y="91"/>
                      <a:pt x="2422" y="91"/>
                    </a:cubicBezTo>
                    <a:cubicBezTo>
                      <a:pt x="2412" y="91"/>
                      <a:pt x="2394" y="103"/>
                      <a:pt x="2394" y="103"/>
                    </a:cubicBezTo>
                    <a:cubicBezTo>
                      <a:pt x="2394" y="103"/>
                      <a:pt x="2388" y="75"/>
                      <a:pt x="2366" y="75"/>
                    </a:cubicBezTo>
                    <a:cubicBezTo>
                      <a:pt x="2344" y="75"/>
                      <a:pt x="2332" y="141"/>
                      <a:pt x="2332" y="141"/>
                    </a:cubicBezTo>
                    <a:cubicBezTo>
                      <a:pt x="2348" y="149"/>
                      <a:pt x="2348" y="149"/>
                      <a:pt x="2348" y="149"/>
                    </a:cubicBezTo>
                    <a:cubicBezTo>
                      <a:pt x="2366" y="145"/>
                      <a:pt x="2392" y="133"/>
                      <a:pt x="2392" y="133"/>
                    </a:cubicBezTo>
                    <a:close/>
                    <a:moveTo>
                      <a:pt x="3752" y="279"/>
                    </a:moveTo>
                    <a:cubicBezTo>
                      <a:pt x="3762" y="261"/>
                      <a:pt x="3762" y="261"/>
                      <a:pt x="3762" y="261"/>
                    </a:cubicBezTo>
                    <a:cubicBezTo>
                      <a:pt x="3762" y="261"/>
                      <a:pt x="3788" y="261"/>
                      <a:pt x="3798" y="261"/>
                    </a:cubicBezTo>
                    <a:cubicBezTo>
                      <a:pt x="3808" y="261"/>
                      <a:pt x="3838" y="259"/>
                      <a:pt x="3838" y="259"/>
                    </a:cubicBezTo>
                    <a:cubicBezTo>
                      <a:pt x="3796" y="239"/>
                      <a:pt x="3796" y="239"/>
                      <a:pt x="3796" y="239"/>
                    </a:cubicBezTo>
                    <a:cubicBezTo>
                      <a:pt x="3804" y="225"/>
                      <a:pt x="3804" y="225"/>
                      <a:pt x="3804" y="225"/>
                    </a:cubicBezTo>
                    <a:cubicBezTo>
                      <a:pt x="3744" y="213"/>
                      <a:pt x="3744" y="213"/>
                      <a:pt x="3744" y="213"/>
                    </a:cubicBezTo>
                    <a:cubicBezTo>
                      <a:pt x="3754" y="231"/>
                      <a:pt x="3754" y="231"/>
                      <a:pt x="3754" y="231"/>
                    </a:cubicBezTo>
                    <a:cubicBezTo>
                      <a:pt x="3754" y="231"/>
                      <a:pt x="3632" y="191"/>
                      <a:pt x="3634" y="221"/>
                    </a:cubicBezTo>
                    <a:cubicBezTo>
                      <a:pt x="3636" y="251"/>
                      <a:pt x="3752" y="279"/>
                      <a:pt x="3752" y="279"/>
                    </a:cubicBezTo>
                    <a:close/>
                    <a:moveTo>
                      <a:pt x="2882" y="289"/>
                    </a:moveTo>
                    <a:cubicBezTo>
                      <a:pt x="2914" y="295"/>
                      <a:pt x="2914" y="295"/>
                      <a:pt x="2914" y="295"/>
                    </a:cubicBezTo>
                    <a:cubicBezTo>
                      <a:pt x="2934" y="297"/>
                      <a:pt x="2954" y="285"/>
                      <a:pt x="2924" y="279"/>
                    </a:cubicBezTo>
                    <a:cubicBezTo>
                      <a:pt x="2894" y="273"/>
                      <a:pt x="2882" y="289"/>
                      <a:pt x="2882" y="289"/>
                    </a:cubicBezTo>
                    <a:close/>
                    <a:moveTo>
                      <a:pt x="3618" y="235"/>
                    </a:moveTo>
                    <a:cubicBezTo>
                      <a:pt x="3582" y="223"/>
                      <a:pt x="3582" y="223"/>
                      <a:pt x="3582" y="223"/>
                    </a:cubicBezTo>
                    <a:cubicBezTo>
                      <a:pt x="3598" y="245"/>
                      <a:pt x="3598" y="245"/>
                      <a:pt x="3598" y="245"/>
                    </a:cubicBezTo>
                    <a:lnTo>
                      <a:pt x="3618" y="235"/>
                    </a:lnTo>
                    <a:close/>
                    <a:moveTo>
                      <a:pt x="5328" y="443"/>
                    </a:moveTo>
                    <a:cubicBezTo>
                      <a:pt x="5340" y="439"/>
                      <a:pt x="5358" y="437"/>
                      <a:pt x="5384" y="437"/>
                    </a:cubicBezTo>
                    <a:cubicBezTo>
                      <a:pt x="5410" y="437"/>
                      <a:pt x="5414" y="421"/>
                      <a:pt x="5396" y="419"/>
                    </a:cubicBezTo>
                    <a:cubicBezTo>
                      <a:pt x="5378" y="417"/>
                      <a:pt x="5346" y="405"/>
                      <a:pt x="5334" y="405"/>
                    </a:cubicBezTo>
                    <a:cubicBezTo>
                      <a:pt x="5322" y="405"/>
                      <a:pt x="5294" y="405"/>
                      <a:pt x="5294" y="427"/>
                    </a:cubicBezTo>
                    <a:cubicBezTo>
                      <a:pt x="5294" y="451"/>
                      <a:pt x="5316" y="447"/>
                      <a:pt x="5328" y="443"/>
                    </a:cubicBezTo>
                    <a:close/>
                    <a:moveTo>
                      <a:pt x="111" y="1194"/>
                    </a:moveTo>
                    <a:cubicBezTo>
                      <a:pt x="103" y="1195"/>
                      <a:pt x="79" y="1198"/>
                      <a:pt x="79" y="1198"/>
                    </a:cubicBezTo>
                    <a:cubicBezTo>
                      <a:pt x="77" y="1192"/>
                      <a:pt x="77" y="1192"/>
                      <a:pt x="77" y="1192"/>
                    </a:cubicBezTo>
                    <a:cubicBezTo>
                      <a:pt x="69" y="1193"/>
                      <a:pt x="69" y="1193"/>
                      <a:pt x="69" y="1193"/>
                    </a:cubicBezTo>
                    <a:cubicBezTo>
                      <a:pt x="66" y="1187"/>
                      <a:pt x="66" y="1187"/>
                      <a:pt x="66" y="1187"/>
                    </a:cubicBezTo>
                    <a:cubicBezTo>
                      <a:pt x="61" y="1187"/>
                      <a:pt x="61" y="1187"/>
                      <a:pt x="61" y="1187"/>
                    </a:cubicBezTo>
                    <a:cubicBezTo>
                      <a:pt x="61" y="1192"/>
                      <a:pt x="53" y="1201"/>
                      <a:pt x="53" y="1201"/>
                    </a:cubicBezTo>
                    <a:cubicBezTo>
                      <a:pt x="53" y="1201"/>
                      <a:pt x="12" y="1196"/>
                      <a:pt x="6" y="1203"/>
                    </a:cubicBezTo>
                    <a:cubicBezTo>
                      <a:pt x="0" y="1210"/>
                      <a:pt x="13" y="1219"/>
                      <a:pt x="13" y="1219"/>
                    </a:cubicBezTo>
                    <a:cubicBezTo>
                      <a:pt x="8" y="1228"/>
                      <a:pt x="8" y="1228"/>
                      <a:pt x="8" y="1228"/>
                    </a:cubicBezTo>
                    <a:cubicBezTo>
                      <a:pt x="8" y="1227"/>
                      <a:pt x="8" y="1227"/>
                      <a:pt x="8" y="1227"/>
                    </a:cubicBezTo>
                    <a:cubicBezTo>
                      <a:pt x="13" y="1232"/>
                      <a:pt x="13" y="1232"/>
                      <a:pt x="13" y="1232"/>
                    </a:cubicBezTo>
                    <a:cubicBezTo>
                      <a:pt x="13" y="1232"/>
                      <a:pt x="25" y="1227"/>
                      <a:pt x="34" y="1229"/>
                    </a:cubicBezTo>
                    <a:cubicBezTo>
                      <a:pt x="43" y="1231"/>
                      <a:pt x="51" y="1236"/>
                      <a:pt x="51" y="1236"/>
                    </a:cubicBezTo>
                    <a:cubicBezTo>
                      <a:pt x="51" y="1236"/>
                      <a:pt x="82" y="1234"/>
                      <a:pt x="90" y="1235"/>
                    </a:cubicBezTo>
                    <a:cubicBezTo>
                      <a:pt x="98" y="1236"/>
                      <a:pt x="113" y="1236"/>
                      <a:pt x="113" y="1236"/>
                    </a:cubicBezTo>
                    <a:cubicBezTo>
                      <a:pt x="113" y="1236"/>
                      <a:pt x="109" y="1230"/>
                      <a:pt x="117" y="1231"/>
                    </a:cubicBezTo>
                    <a:cubicBezTo>
                      <a:pt x="112" y="1221"/>
                      <a:pt x="112" y="1221"/>
                      <a:pt x="112" y="1221"/>
                    </a:cubicBezTo>
                    <a:cubicBezTo>
                      <a:pt x="112" y="1221"/>
                      <a:pt x="120" y="1214"/>
                      <a:pt x="121" y="1209"/>
                    </a:cubicBezTo>
                    <a:cubicBezTo>
                      <a:pt x="122" y="1204"/>
                      <a:pt x="119" y="1193"/>
                      <a:pt x="111" y="1194"/>
                    </a:cubicBezTo>
                    <a:close/>
                    <a:moveTo>
                      <a:pt x="698" y="59"/>
                    </a:moveTo>
                    <a:cubicBezTo>
                      <a:pt x="712" y="49"/>
                      <a:pt x="712" y="49"/>
                      <a:pt x="712" y="49"/>
                    </a:cubicBezTo>
                    <a:cubicBezTo>
                      <a:pt x="712" y="49"/>
                      <a:pt x="677" y="42"/>
                      <a:pt x="698" y="59"/>
                    </a:cubicBezTo>
                    <a:close/>
                    <a:moveTo>
                      <a:pt x="664" y="48"/>
                    </a:moveTo>
                    <a:cubicBezTo>
                      <a:pt x="720" y="35"/>
                      <a:pt x="720" y="35"/>
                      <a:pt x="720" y="35"/>
                    </a:cubicBezTo>
                    <a:cubicBezTo>
                      <a:pt x="702" y="30"/>
                      <a:pt x="702" y="30"/>
                      <a:pt x="702" y="30"/>
                    </a:cubicBezTo>
                    <a:cubicBezTo>
                      <a:pt x="668" y="38"/>
                      <a:pt x="668" y="38"/>
                      <a:pt x="668" y="38"/>
                    </a:cubicBezTo>
                    <a:cubicBezTo>
                      <a:pt x="634" y="37"/>
                      <a:pt x="634" y="37"/>
                      <a:pt x="634" y="37"/>
                    </a:cubicBezTo>
                    <a:cubicBezTo>
                      <a:pt x="650" y="44"/>
                      <a:pt x="650" y="44"/>
                      <a:pt x="650" y="44"/>
                    </a:cubicBezTo>
                    <a:lnTo>
                      <a:pt x="664" y="48"/>
                    </a:lnTo>
                    <a:close/>
                    <a:moveTo>
                      <a:pt x="754" y="61"/>
                    </a:moveTo>
                    <a:cubicBezTo>
                      <a:pt x="757" y="51"/>
                      <a:pt x="757" y="51"/>
                      <a:pt x="757" y="51"/>
                    </a:cubicBezTo>
                    <a:cubicBezTo>
                      <a:pt x="774" y="51"/>
                      <a:pt x="774" y="51"/>
                      <a:pt x="774" y="51"/>
                    </a:cubicBezTo>
                    <a:cubicBezTo>
                      <a:pt x="779" y="45"/>
                      <a:pt x="779" y="45"/>
                      <a:pt x="779" y="45"/>
                    </a:cubicBezTo>
                    <a:cubicBezTo>
                      <a:pt x="779" y="45"/>
                      <a:pt x="806" y="48"/>
                      <a:pt x="816" y="42"/>
                    </a:cubicBezTo>
                    <a:cubicBezTo>
                      <a:pt x="826" y="37"/>
                      <a:pt x="791" y="37"/>
                      <a:pt x="791" y="37"/>
                    </a:cubicBezTo>
                    <a:cubicBezTo>
                      <a:pt x="791" y="37"/>
                      <a:pt x="791" y="27"/>
                      <a:pt x="774" y="27"/>
                    </a:cubicBezTo>
                    <a:cubicBezTo>
                      <a:pt x="757" y="27"/>
                      <a:pt x="755" y="45"/>
                      <a:pt x="755" y="45"/>
                    </a:cubicBezTo>
                    <a:cubicBezTo>
                      <a:pt x="755" y="45"/>
                      <a:pt x="719" y="51"/>
                      <a:pt x="722" y="56"/>
                    </a:cubicBezTo>
                    <a:cubicBezTo>
                      <a:pt x="724" y="62"/>
                      <a:pt x="754" y="61"/>
                      <a:pt x="754" y="61"/>
                    </a:cubicBezTo>
                    <a:close/>
                    <a:moveTo>
                      <a:pt x="786" y="53"/>
                    </a:moveTo>
                    <a:cubicBezTo>
                      <a:pt x="776" y="59"/>
                      <a:pt x="776" y="59"/>
                      <a:pt x="776" y="59"/>
                    </a:cubicBezTo>
                    <a:cubicBezTo>
                      <a:pt x="789" y="66"/>
                      <a:pt x="789" y="66"/>
                      <a:pt x="789" y="66"/>
                    </a:cubicBezTo>
                    <a:cubicBezTo>
                      <a:pt x="802" y="72"/>
                      <a:pt x="802" y="72"/>
                      <a:pt x="802" y="72"/>
                    </a:cubicBezTo>
                    <a:cubicBezTo>
                      <a:pt x="834" y="69"/>
                      <a:pt x="834" y="69"/>
                      <a:pt x="834" y="69"/>
                    </a:cubicBezTo>
                    <a:cubicBezTo>
                      <a:pt x="833" y="61"/>
                      <a:pt x="833" y="61"/>
                      <a:pt x="833" y="61"/>
                    </a:cubicBezTo>
                    <a:cubicBezTo>
                      <a:pt x="810" y="61"/>
                      <a:pt x="810" y="61"/>
                      <a:pt x="810" y="61"/>
                    </a:cubicBezTo>
                    <a:lnTo>
                      <a:pt x="786" y="53"/>
                    </a:lnTo>
                    <a:close/>
                    <a:moveTo>
                      <a:pt x="5213" y="1622"/>
                    </a:moveTo>
                    <a:cubicBezTo>
                      <a:pt x="5191" y="1599"/>
                      <a:pt x="5191" y="1599"/>
                      <a:pt x="5191" y="1599"/>
                    </a:cubicBezTo>
                    <a:cubicBezTo>
                      <a:pt x="5191" y="1599"/>
                      <a:pt x="5169" y="1593"/>
                      <a:pt x="5156" y="1575"/>
                    </a:cubicBezTo>
                    <a:cubicBezTo>
                      <a:pt x="5144" y="1557"/>
                      <a:pt x="5136" y="1516"/>
                      <a:pt x="5136" y="1516"/>
                    </a:cubicBezTo>
                    <a:cubicBezTo>
                      <a:pt x="5136" y="1516"/>
                      <a:pt x="5112" y="1502"/>
                      <a:pt x="5125" y="1495"/>
                    </a:cubicBezTo>
                    <a:cubicBezTo>
                      <a:pt x="5137" y="1488"/>
                      <a:pt x="5213" y="1526"/>
                      <a:pt x="5213" y="1526"/>
                    </a:cubicBezTo>
                    <a:cubicBezTo>
                      <a:pt x="5163" y="1489"/>
                      <a:pt x="5163" y="1489"/>
                      <a:pt x="5163" y="1489"/>
                    </a:cubicBezTo>
                    <a:cubicBezTo>
                      <a:pt x="5163" y="1489"/>
                      <a:pt x="5144" y="1459"/>
                      <a:pt x="5134" y="1452"/>
                    </a:cubicBezTo>
                    <a:cubicBezTo>
                      <a:pt x="5125" y="1445"/>
                      <a:pt x="5109" y="1435"/>
                      <a:pt x="5109" y="1435"/>
                    </a:cubicBezTo>
                    <a:cubicBezTo>
                      <a:pt x="5057" y="1379"/>
                      <a:pt x="5057" y="1379"/>
                      <a:pt x="5057" y="1379"/>
                    </a:cubicBezTo>
                    <a:cubicBezTo>
                      <a:pt x="5040" y="1380"/>
                      <a:pt x="5040" y="1380"/>
                      <a:pt x="5040" y="1380"/>
                    </a:cubicBezTo>
                    <a:cubicBezTo>
                      <a:pt x="5033" y="1361"/>
                      <a:pt x="5033" y="1361"/>
                      <a:pt x="5033" y="1361"/>
                    </a:cubicBezTo>
                    <a:cubicBezTo>
                      <a:pt x="5033" y="1361"/>
                      <a:pt x="5023" y="1363"/>
                      <a:pt x="5011" y="1351"/>
                    </a:cubicBezTo>
                    <a:cubicBezTo>
                      <a:pt x="4999" y="1338"/>
                      <a:pt x="5003" y="1322"/>
                      <a:pt x="5003" y="1322"/>
                    </a:cubicBezTo>
                    <a:cubicBezTo>
                      <a:pt x="4983" y="1297"/>
                      <a:pt x="4983" y="1297"/>
                      <a:pt x="4983" y="1297"/>
                    </a:cubicBezTo>
                    <a:cubicBezTo>
                      <a:pt x="4969" y="1298"/>
                      <a:pt x="4969" y="1298"/>
                      <a:pt x="4969" y="1298"/>
                    </a:cubicBezTo>
                    <a:cubicBezTo>
                      <a:pt x="4960" y="1279"/>
                      <a:pt x="4960" y="1279"/>
                      <a:pt x="4960" y="1279"/>
                    </a:cubicBezTo>
                    <a:cubicBezTo>
                      <a:pt x="4933" y="1259"/>
                      <a:pt x="4933" y="1259"/>
                      <a:pt x="4933" y="1259"/>
                    </a:cubicBezTo>
                    <a:cubicBezTo>
                      <a:pt x="4925" y="1243"/>
                      <a:pt x="4925" y="1243"/>
                      <a:pt x="4925" y="1243"/>
                    </a:cubicBezTo>
                    <a:cubicBezTo>
                      <a:pt x="4925" y="1243"/>
                      <a:pt x="4907" y="1230"/>
                      <a:pt x="4900" y="1235"/>
                    </a:cubicBezTo>
                    <a:cubicBezTo>
                      <a:pt x="4893" y="1239"/>
                      <a:pt x="4939" y="1272"/>
                      <a:pt x="4933" y="1275"/>
                    </a:cubicBezTo>
                    <a:cubicBezTo>
                      <a:pt x="4928" y="1277"/>
                      <a:pt x="4915" y="1262"/>
                      <a:pt x="4913" y="1277"/>
                    </a:cubicBezTo>
                    <a:cubicBezTo>
                      <a:pt x="4910" y="1293"/>
                      <a:pt x="4939" y="1322"/>
                      <a:pt x="4939" y="1322"/>
                    </a:cubicBezTo>
                    <a:cubicBezTo>
                      <a:pt x="4939" y="1322"/>
                      <a:pt x="4946" y="1340"/>
                      <a:pt x="4953" y="1347"/>
                    </a:cubicBezTo>
                    <a:cubicBezTo>
                      <a:pt x="4960" y="1354"/>
                      <a:pt x="5007" y="1384"/>
                      <a:pt x="5018" y="1398"/>
                    </a:cubicBezTo>
                    <a:cubicBezTo>
                      <a:pt x="5029" y="1412"/>
                      <a:pt x="5028" y="1434"/>
                      <a:pt x="5041" y="1445"/>
                    </a:cubicBezTo>
                    <a:cubicBezTo>
                      <a:pt x="5055" y="1456"/>
                      <a:pt x="5087" y="1512"/>
                      <a:pt x="5087" y="1512"/>
                    </a:cubicBezTo>
                    <a:cubicBezTo>
                      <a:pt x="5087" y="1512"/>
                      <a:pt x="5093" y="1535"/>
                      <a:pt x="5100" y="1535"/>
                    </a:cubicBezTo>
                    <a:cubicBezTo>
                      <a:pt x="5107" y="1535"/>
                      <a:pt x="5120" y="1545"/>
                      <a:pt x="5127" y="1555"/>
                    </a:cubicBezTo>
                    <a:cubicBezTo>
                      <a:pt x="5134" y="1564"/>
                      <a:pt x="5134" y="1584"/>
                      <a:pt x="5134" y="1584"/>
                    </a:cubicBezTo>
                    <a:cubicBezTo>
                      <a:pt x="5162" y="1607"/>
                      <a:pt x="5162" y="1607"/>
                      <a:pt x="5162" y="1607"/>
                    </a:cubicBezTo>
                    <a:cubicBezTo>
                      <a:pt x="5172" y="1643"/>
                      <a:pt x="5172" y="1643"/>
                      <a:pt x="5172" y="1643"/>
                    </a:cubicBezTo>
                    <a:cubicBezTo>
                      <a:pt x="5198" y="1671"/>
                      <a:pt x="5198" y="1671"/>
                      <a:pt x="5198" y="1671"/>
                    </a:cubicBezTo>
                    <a:cubicBezTo>
                      <a:pt x="5198" y="1671"/>
                      <a:pt x="5184" y="1632"/>
                      <a:pt x="5193" y="1629"/>
                    </a:cubicBezTo>
                    <a:cubicBezTo>
                      <a:pt x="5201" y="1627"/>
                      <a:pt x="5205" y="1636"/>
                      <a:pt x="5205" y="1636"/>
                    </a:cubicBezTo>
                    <a:cubicBezTo>
                      <a:pt x="5226" y="1636"/>
                      <a:pt x="5226" y="1636"/>
                      <a:pt x="5226" y="1636"/>
                    </a:cubicBezTo>
                    <a:cubicBezTo>
                      <a:pt x="5248" y="1663"/>
                      <a:pt x="5248" y="1663"/>
                      <a:pt x="5248" y="1663"/>
                    </a:cubicBezTo>
                    <a:cubicBezTo>
                      <a:pt x="5249" y="1646"/>
                      <a:pt x="5249" y="1646"/>
                      <a:pt x="5249" y="1646"/>
                    </a:cubicBezTo>
                    <a:cubicBezTo>
                      <a:pt x="5229" y="1621"/>
                      <a:pt x="5229" y="1621"/>
                      <a:pt x="5229" y="1621"/>
                    </a:cubicBezTo>
                    <a:lnTo>
                      <a:pt x="5213" y="1622"/>
                    </a:lnTo>
                    <a:close/>
                    <a:moveTo>
                      <a:pt x="899" y="58"/>
                    </a:moveTo>
                    <a:cubicBezTo>
                      <a:pt x="905" y="46"/>
                      <a:pt x="905" y="46"/>
                      <a:pt x="905" y="46"/>
                    </a:cubicBezTo>
                    <a:cubicBezTo>
                      <a:pt x="876" y="42"/>
                      <a:pt x="876" y="42"/>
                      <a:pt x="876" y="42"/>
                    </a:cubicBezTo>
                    <a:cubicBezTo>
                      <a:pt x="861" y="52"/>
                      <a:pt x="861" y="52"/>
                      <a:pt x="861" y="52"/>
                    </a:cubicBezTo>
                    <a:cubicBezTo>
                      <a:pt x="864" y="61"/>
                      <a:pt x="864" y="61"/>
                      <a:pt x="864" y="61"/>
                    </a:cubicBezTo>
                    <a:lnTo>
                      <a:pt x="899" y="58"/>
                    </a:lnTo>
                    <a:close/>
                    <a:moveTo>
                      <a:pt x="771" y="1607"/>
                    </a:moveTo>
                    <a:cubicBezTo>
                      <a:pt x="771" y="1607"/>
                      <a:pt x="773" y="1608"/>
                      <a:pt x="774" y="1608"/>
                    </a:cubicBezTo>
                    <a:cubicBezTo>
                      <a:pt x="773" y="1608"/>
                      <a:pt x="771" y="1607"/>
                      <a:pt x="771" y="1607"/>
                    </a:cubicBezTo>
                    <a:close/>
                    <a:moveTo>
                      <a:pt x="771" y="1607"/>
                    </a:moveTo>
                    <a:cubicBezTo>
                      <a:pt x="770" y="1607"/>
                      <a:pt x="770" y="1607"/>
                      <a:pt x="770" y="1607"/>
                    </a:cubicBezTo>
                    <a:cubicBezTo>
                      <a:pt x="770" y="1607"/>
                      <a:pt x="770" y="1607"/>
                      <a:pt x="771" y="1607"/>
                    </a:cubicBezTo>
                    <a:close/>
                    <a:moveTo>
                      <a:pt x="6034" y="664"/>
                    </a:moveTo>
                    <a:cubicBezTo>
                      <a:pt x="6023" y="650"/>
                      <a:pt x="5993" y="645"/>
                      <a:pt x="5993" y="645"/>
                    </a:cubicBezTo>
                    <a:cubicBezTo>
                      <a:pt x="5962" y="631"/>
                      <a:pt x="5962" y="631"/>
                      <a:pt x="5962" y="631"/>
                    </a:cubicBezTo>
                    <a:cubicBezTo>
                      <a:pt x="5935" y="632"/>
                      <a:pt x="5935" y="632"/>
                      <a:pt x="5935" y="632"/>
                    </a:cubicBezTo>
                    <a:cubicBezTo>
                      <a:pt x="5915" y="619"/>
                      <a:pt x="5915" y="619"/>
                      <a:pt x="5915" y="619"/>
                    </a:cubicBezTo>
                    <a:cubicBezTo>
                      <a:pt x="5854" y="615"/>
                      <a:pt x="5854" y="615"/>
                      <a:pt x="5854" y="615"/>
                    </a:cubicBezTo>
                    <a:cubicBezTo>
                      <a:pt x="5829" y="603"/>
                      <a:pt x="5829" y="603"/>
                      <a:pt x="5829" y="603"/>
                    </a:cubicBezTo>
                    <a:cubicBezTo>
                      <a:pt x="5805" y="605"/>
                      <a:pt x="5805" y="605"/>
                      <a:pt x="5805" y="605"/>
                    </a:cubicBezTo>
                    <a:cubicBezTo>
                      <a:pt x="5838" y="630"/>
                      <a:pt x="5838" y="630"/>
                      <a:pt x="5838" y="630"/>
                    </a:cubicBezTo>
                    <a:cubicBezTo>
                      <a:pt x="5874" y="646"/>
                      <a:pt x="5874" y="646"/>
                      <a:pt x="5874" y="646"/>
                    </a:cubicBezTo>
                    <a:cubicBezTo>
                      <a:pt x="5874" y="646"/>
                      <a:pt x="5834" y="652"/>
                      <a:pt x="5822" y="642"/>
                    </a:cubicBezTo>
                    <a:cubicBezTo>
                      <a:pt x="5810" y="632"/>
                      <a:pt x="5809" y="610"/>
                      <a:pt x="5756" y="592"/>
                    </a:cubicBezTo>
                    <a:cubicBezTo>
                      <a:pt x="5703" y="574"/>
                      <a:pt x="5687" y="567"/>
                      <a:pt x="5633" y="558"/>
                    </a:cubicBezTo>
                    <a:cubicBezTo>
                      <a:pt x="5579" y="549"/>
                      <a:pt x="5466" y="523"/>
                      <a:pt x="5412" y="510"/>
                    </a:cubicBezTo>
                    <a:cubicBezTo>
                      <a:pt x="5358" y="497"/>
                      <a:pt x="5297" y="488"/>
                      <a:pt x="5297" y="488"/>
                    </a:cubicBezTo>
                    <a:cubicBezTo>
                      <a:pt x="5175" y="490"/>
                      <a:pt x="5175" y="490"/>
                      <a:pt x="5175" y="490"/>
                    </a:cubicBezTo>
                    <a:cubicBezTo>
                      <a:pt x="5166" y="478"/>
                      <a:pt x="5166" y="478"/>
                      <a:pt x="5166" y="478"/>
                    </a:cubicBezTo>
                    <a:cubicBezTo>
                      <a:pt x="5135" y="480"/>
                      <a:pt x="5135" y="480"/>
                      <a:pt x="5135" y="480"/>
                    </a:cubicBezTo>
                    <a:cubicBezTo>
                      <a:pt x="5124" y="472"/>
                      <a:pt x="5124" y="472"/>
                      <a:pt x="5124" y="472"/>
                    </a:cubicBezTo>
                    <a:cubicBezTo>
                      <a:pt x="5088" y="471"/>
                      <a:pt x="5088" y="471"/>
                      <a:pt x="5088" y="471"/>
                    </a:cubicBezTo>
                    <a:cubicBezTo>
                      <a:pt x="5105" y="483"/>
                      <a:pt x="5105" y="483"/>
                      <a:pt x="5105" y="483"/>
                    </a:cubicBezTo>
                    <a:cubicBezTo>
                      <a:pt x="5100" y="497"/>
                      <a:pt x="5100" y="497"/>
                      <a:pt x="5100" y="497"/>
                    </a:cubicBezTo>
                    <a:cubicBezTo>
                      <a:pt x="5100" y="497"/>
                      <a:pt x="5199" y="520"/>
                      <a:pt x="5170" y="533"/>
                    </a:cubicBezTo>
                    <a:cubicBezTo>
                      <a:pt x="5141" y="546"/>
                      <a:pt x="5123" y="529"/>
                      <a:pt x="5123" y="529"/>
                    </a:cubicBezTo>
                    <a:cubicBezTo>
                      <a:pt x="5106" y="515"/>
                      <a:pt x="5106" y="515"/>
                      <a:pt x="5106" y="515"/>
                    </a:cubicBezTo>
                    <a:cubicBezTo>
                      <a:pt x="5061" y="515"/>
                      <a:pt x="5061" y="515"/>
                      <a:pt x="5061" y="515"/>
                    </a:cubicBezTo>
                    <a:cubicBezTo>
                      <a:pt x="5024" y="492"/>
                      <a:pt x="5024" y="492"/>
                      <a:pt x="5024" y="492"/>
                    </a:cubicBezTo>
                    <a:cubicBezTo>
                      <a:pt x="5024" y="492"/>
                      <a:pt x="5006" y="496"/>
                      <a:pt x="5002" y="499"/>
                    </a:cubicBezTo>
                    <a:cubicBezTo>
                      <a:pt x="4998" y="502"/>
                      <a:pt x="4966" y="501"/>
                      <a:pt x="4966" y="501"/>
                    </a:cubicBezTo>
                    <a:cubicBezTo>
                      <a:pt x="4962" y="493"/>
                      <a:pt x="4962" y="493"/>
                      <a:pt x="4962" y="493"/>
                    </a:cubicBezTo>
                    <a:cubicBezTo>
                      <a:pt x="4900" y="496"/>
                      <a:pt x="4900" y="496"/>
                      <a:pt x="4900" y="496"/>
                    </a:cubicBezTo>
                    <a:cubicBezTo>
                      <a:pt x="4884" y="484"/>
                      <a:pt x="4884" y="484"/>
                      <a:pt x="4884" y="484"/>
                    </a:cubicBezTo>
                    <a:cubicBezTo>
                      <a:pt x="4879" y="490"/>
                      <a:pt x="4879" y="490"/>
                      <a:pt x="4879" y="490"/>
                    </a:cubicBezTo>
                    <a:cubicBezTo>
                      <a:pt x="4879" y="490"/>
                      <a:pt x="4801" y="483"/>
                      <a:pt x="4806" y="493"/>
                    </a:cubicBezTo>
                    <a:cubicBezTo>
                      <a:pt x="4811" y="503"/>
                      <a:pt x="4840" y="527"/>
                      <a:pt x="4840" y="527"/>
                    </a:cubicBezTo>
                    <a:cubicBezTo>
                      <a:pt x="4840" y="527"/>
                      <a:pt x="4804" y="506"/>
                      <a:pt x="4799" y="501"/>
                    </a:cubicBezTo>
                    <a:cubicBezTo>
                      <a:pt x="4794" y="496"/>
                      <a:pt x="4728" y="488"/>
                      <a:pt x="4728" y="488"/>
                    </a:cubicBezTo>
                    <a:cubicBezTo>
                      <a:pt x="4728" y="488"/>
                      <a:pt x="4718" y="470"/>
                      <a:pt x="4693" y="457"/>
                    </a:cubicBezTo>
                    <a:cubicBezTo>
                      <a:pt x="4668" y="444"/>
                      <a:pt x="4630" y="438"/>
                      <a:pt x="4613" y="437"/>
                    </a:cubicBezTo>
                    <a:cubicBezTo>
                      <a:pt x="4596" y="436"/>
                      <a:pt x="4561" y="432"/>
                      <a:pt x="4561" y="432"/>
                    </a:cubicBezTo>
                    <a:cubicBezTo>
                      <a:pt x="4527" y="425"/>
                      <a:pt x="4527" y="425"/>
                      <a:pt x="4527" y="425"/>
                    </a:cubicBezTo>
                    <a:cubicBezTo>
                      <a:pt x="4518" y="429"/>
                      <a:pt x="4518" y="429"/>
                      <a:pt x="4518" y="429"/>
                    </a:cubicBezTo>
                    <a:cubicBezTo>
                      <a:pt x="4478" y="427"/>
                      <a:pt x="4478" y="427"/>
                      <a:pt x="4478" y="427"/>
                    </a:cubicBezTo>
                    <a:cubicBezTo>
                      <a:pt x="4478" y="427"/>
                      <a:pt x="4473" y="447"/>
                      <a:pt x="4451" y="444"/>
                    </a:cubicBezTo>
                    <a:cubicBezTo>
                      <a:pt x="4429" y="441"/>
                      <a:pt x="4400" y="439"/>
                      <a:pt x="4400" y="439"/>
                    </a:cubicBezTo>
                    <a:cubicBezTo>
                      <a:pt x="4400" y="439"/>
                      <a:pt x="4370" y="419"/>
                      <a:pt x="4353" y="418"/>
                    </a:cubicBezTo>
                    <a:cubicBezTo>
                      <a:pt x="4336" y="417"/>
                      <a:pt x="4327" y="420"/>
                      <a:pt x="4327" y="420"/>
                    </a:cubicBezTo>
                    <a:cubicBezTo>
                      <a:pt x="4321" y="409"/>
                      <a:pt x="4321" y="409"/>
                      <a:pt x="4321" y="409"/>
                    </a:cubicBezTo>
                    <a:cubicBezTo>
                      <a:pt x="4296" y="407"/>
                      <a:pt x="4296" y="407"/>
                      <a:pt x="4296" y="407"/>
                    </a:cubicBezTo>
                    <a:cubicBezTo>
                      <a:pt x="4253" y="403"/>
                      <a:pt x="4253" y="403"/>
                      <a:pt x="4253" y="403"/>
                    </a:cubicBezTo>
                    <a:cubicBezTo>
                      <a:pt x="4277" y="395"/>
                      <a:pt x="4277" y="395"/>
                      <a:pt x="4277" y="395"/>
                    </a:cubicBezTo>
                    <a:cubicBezTo>
                      <a:pt x="4251" y="382"/>
                      <a:pt x="4251" y="382"/>
                      <a:pt x="4251" y="382"/>
                    </a:cubicBezTo>
                    <a:cubicBezTo>
                      <a:pt x="4251" y="382"/>
                      <a:pt x="4158" y="369"/>
                      <a:pt x="4155" y="375"/>
                    </a:cubicBezTo>
                    <a:cubicBezTo>
                      <a:pt x="4152" y="381"/>
                      <a:pt x="4164" y="400"/>
                      <a:pt x="4149" y="401"/>
                    </a:cubicBezTo>
                    <a:cubicBezTo>
                      <a:pt x="4134" y="402"/>
                      <a:pt x="4114" y="398"/>
                      <a:pt x="4114" y="398"/>
                    </a:cubicBezTo>
                    <a:cubicBezTo>
                      <a:pt x="4126" y="390"/>
                      <a:pt x="4126" y="390"/>
                      <a:pt x="4126" y="390"/>
                    </a:cubicBezTo>
                    <a:cubicBezTo>
                      <a:pt x="4116" y="380"/>
                      <a:pt x="4116" y="380"/>
                      <a:pt x="4116" y="380"/>
                    </a:cubicBezTo>
                    <a:cubicBezTo>
                      <a:pt x="4116" y="380"/>
                      <a:pt x="4110" y="380"/>
                      <a:pt x="4096" y="382"/>
                    </a:cubicBezTo>
                    <a:cubicBezTo>
                      <a:pt x="4082" y="384"/>
                      <a:pt x="4068" y="379"/>
                      <a:pt x="4068" y="379"/>
                    </a:cubicBezTo>
                    <a:cubicBezTo>
                      <a:pt x="4079" y="374"/>
                      <a:pt x="4079" y="374"/>
                      <a:pt x="4079" y="374"/>
                    </a:cubicBezTo>
                    <a:cubicBezTo>
                      <a:pt x="4109" y="371"/>
                      <a:pt x="4109" y="371"/>
                      <a:pt x="4109" y="371"/>
                    </a:cubicBezTo>
                    <a:cubicBezTo>
                      <a:pt x="4147" y="394"/>
                      <a:pt x="4147" y="394"/>
                      <a:pt x="4147" y="394"/>
                    </a:cubicBezTo>
                    <a:cubicBezTo>
                      <a:pt x="4149" y="375"/>
                      <a:pt x="4149" y="375"/>
                      <a:pt x="4149" y="375"/>
                    </a:cubicBezTo>
                    <a:cubicBezTo>
                      <a:pt x="4110" y="362"/>
                      <a:pt x="4110" y="362"/>
                      <a:pt x="4110" y="362"/>
                    </a:cubicBezTo>
                    <a:cubicBezTo>
                      <a:pt x="4037" y="366"/>
                      <a:pt x="4037" y="366"/>
                      <a:pt x="4037" y="366"/>
                    </a:cubicBezTo>
                    <a:cubicBezTo>
                      <a:pt x="4036" y="357"/>
                      <a:pt x="4036" y="357"/>
                      <a:pt x="4036" y="357"/>
                    </a:cubicBezTo>
                    <a:cubicBezTo>
                      <a:pt x="3955" y="362"/>
                      <a:pt x="3955" y="362"/>
                      <a:pt x="3955" y="362"/>
                    </a:cubicBezTo>
                    <a:cubicBezTo>
                      <a:pt x="3924" y="349"/>
                      <a:pt x="3924" y="349"/>
                      <a:pt x="3924" y="349"/>
                    </a:cubicBezTo>
                    <a:cubicBezTo>
                      <a:pt x="3911" y="349"/>
                      <a:pt x="3911" y="349"/>
                      <a:pt x="3911" y="349"/>
                    </a:cubicBezTo>
                    <a:cubicBezTo>
                      <a:pt x="3936" y="365"/>
                      <a:pt x="3936" y="365"/>
                      <a:pt x="3936" y="365"/>
                    </a:cubicBezTo>
                    <a:cubicBezTo>
                      <a:pt x="3936" y="365"/>
                      <a:pt x="3884" y="364"/>
                      <a:pt x="3892" y="372"/>
                    </a:cubicBezTo>
                    <a:cubicBezTo>
                      <a:pt x="3900" y="380"/>
                      <a:pt x="3910" y="385"/>
                      <a:pt x="3910" y="385"/>
                    </a:cubicBezTo>
                    <a:cubicBezTo>
                      <a:pt x="3931" y="383"/>
                      <a:pt x="3931" y="383"/>
                      <a:pt x="3931" y="383"/>
                    </a:cubicBezTo>
                    <a:cubicBezTo>
                      <a:pt x="3931" y="388"/>
                      <a:pt x="3931" y="388"/>
                      <a:pt x="3931" y="388"/>
                    </a:cubicBezTo>
                    <a:cubicBezTo>
                      <a:pt x="3970" y="414"/>
                      <a:pt x="3970" y="414"/>
                      <a:pt x="3970" y="414"/>
                    </a:cubicBezTo>
                    <a:cubicBezTo>
                      <a:pt x="3970" y="414"/>
                      <a:pt x="3964" y="415"/>
                      <a:pt x="3949" y="414"/>
                    </a:cubicBezTo>
                    <a:cubicBezTo>
                      <a:pt x="3934" y="413"/>
                      <a:pt x="3914" y="398"/>
                      <a:pt x="3909" y="403"/>
                    </a:cubicBezTo>
                    <a:cubicBezTo>
                      <a:pt x="3904" y="408"/>
                      <a:pt x="3900" y="411"/>
                      <a:pt x="3900" y="411"/>
                    </a:cubicBezTo>
                    <a:cubicBezTo>
                      <a:pt x="3917" y="425"/>
                      <a:pt x="3917" y="425"/>
                      <a:pt x="3917" y="425"/>
                    </a:cubicBezTo>
                    <a:cubicBezTo>
                      <a:pt x="3881" y="420"/>
                      <a:pt x="3881" y="420"/>
                      <a:pt x="3881" y="420"/>
                    </a:cubicBezTo>
                    <a:cubicBezTo>
                      <a:pt x="3881" y="420"/>
                      <a:pt x="3832" y="404"/>
                      <a:pt x="3824" y="405"/>
                    </a:cubicBezTo>
                    <a:cubicBezTo>
                      <a:pt x="3816" y="406"/>
                      <a:pt x="3788" y="418"/>
                      <a:pt x="3788" y="418"/>
                    </a:cubicBezTo>
                    <a:cubicBezTo>
                      <a:pt x="3743" y="414"/>
                      <a:pt x="3743" y="414"/>
                      <a:pt x="3743" y="414"/>
                    </a:cubicBezTo>
                    <a:cubicBezTo>
                      <a:pt x="3743" y="414"/>
                      <a:pt x="3705" y="396"/>
                      <a:pt x="3702" y="392"/>
                    </a:cubicBezTo>
                    <a:cubicBezTo>
                      <a:pt x="3699" y="388"/>
                      <a:pt x="3692" y="398"/>
                      <a:pt x="3695" y="406"/>
                    </a:cubicBezTo>
                    <a:cubicBezTo>
                      <a:pt x="3698" y="414"/>
                      <a:pt x="3725" y="442"/>
                      <a:pt x="3709" y="443"/>
                    </a:cubicBezTo>
                    <a:cubicBezTo>
                      <a:pt x="3693" y="444"/>
                      <a:pt x="3614" y="415"/>
                      <a:pt x="3611" y="413"/>
                    </a:cubicBezTo>
                    <a:cubicBezTo>
                      <a:pt x="3608" y="411"/>
                      <a:pt x="3589" y="394"/>
                      <a:pt x="3589" y="394"/>
                    </a:cubicBezTo>
                    <a:cubicBezTo>
                      <a:pt x="3587" y="404"/>
                      <a:pt x="3587" y="404"/>
                      <a:pt x="3587" y="404"/>
                    </a:cubicBezTo>
                    <a:cubicBezTo>
                      <a:pt x="3550" y="393"/>
                      <a:pt x="3550" y="393"/>
                      <a:pt x="3550" y="393"/>
                    </a:cubicBezTo>
                    <a:cubicBezTo>
                      <a:pt x="3533" y="381"/>
                      <a:pt x="3533" y="381"/>
                      <a:pt x="3533" y="381"/>
                    </a:cubicBezTo>
                    <a:cubicBezTo>
                      <a:pt x="3533" y="381"/>
                      <a:pt x="3571" y="391"/>
                      <a:pt x="3577" y="386"/>
                    </a:cubicBezTo>
                    <a:cubicBezTo>
                      <a:pt x="3583" y="381"/>
                      <a:pt x="3554" y="367"/>
                      <a:pt x="3554" y="367"/>
                    </a:cubicBezTo>
                    <a:cubicBezTo>
                      <a:pt x="3531" y="367"/>
                      <a:pt x="3531" y="367"/>
                      <a:pt x="3531" y="367"/>
                    </a:cubicBezTo>
                    <a:cubicBezTo>
                      <a:pt x="3531" y="367"/>
                      <a:pt x="3542" y="361"/>
                      <a:pt x="3535" y="356"/>
                    </a:cubicBezTo>
                    <a:cubicBezTo>
                      <a:pt x="3528" y="351"/>
                      <a:pt x="3508" y="351"/>
                      <a:pt x="3508" y="351"/>
                    </a:cubicBezTo>
                    <a:cubicBezTo>
                      <a:pt x="3516" y="342"/>
                      <a:pt x="3516" y="342"/>
                      <a:pt x="3516" y="342"/>
                    </a:cubicBezTo>
                    <a:cubicBezTo>
                      <a:pt x="3516" y="342"/>
                      <a:pt x="3484" y="333"/>
                      <a:pt x="3480" y="333"/>
                    </a:cubicBezTo>
                    <a:cubicBezTo>
                      <a:pt x="3476" y="333"/>
                      <a:pt x="3461" y="323"/>
                      <a:pt x="3461" y="323"/>
                    </a:cubicBezTo>
                    <a:cubicBezTo>
                      <a:pt x="3430" y="323"/>
                      <a:pt x="3430" y="323"/>
                      <a:pt x="3430" y="323"/>
                    </a:cubicBezTo>
                    <a:cubicBezTo>
                      <a:pt x="3430" y="323"/>
                      <a:pt x="3439" y="326"/>
                      <a:pt x="3416" y="327"/>
                    </a:cubicBezTo>
                    <a:cubicBezTo>
                      <a:pt x="3393" y="328"/>
                      <a:pt x="3378" y="320"/>
                      <a:pt x="3378" y="320"/>
                    </a:cubicBezTo>
                    <a:cubicBezTo>
                      <a:pt x="3364" y="326"/>
                      <a:pt x="3364" y="326"/>
                      <a:pt x="3364" y="326"/>
                    </a:cubicBezTo>
                    <a:cubicBezTo>
                      <a:pt x="3362" y="317"/>
                      <a:pt x="3362" y="317"/>
                      <a:pt x="3362" y="317"/>
                    </a:cubicBezTo>
                    <a:cubicBezTo>
                      <a:pt x="3330" y="311"/>
                      <a:pt x="3330" y="311"/>
                      <a:pt x="3330" y="311"/>
                    </a:cubicBezTo>
                    <a:cubicBezTo>
                      <a:pt x="3323" y="305"/>
                      <a:pt x="3323" y="305"/>
                      <a:pt x="3323" y="305"/>
                    </a:cubicBezTo>
                    <a:cubicBezTo>
                      <a:pt x="3318" y="318"/>
                      <a:pt x="3318" y="318"/>
                      <a:pt x="3318" y="318"/>
                    </a:cubicBezTo>
                    <a:cubicBezTo>
                      <a:pt x="3309" y="319"/>
                      <a:pt x="3309" y="319"/>
                      <a:pt x="3309" y="319"/>
                    </a:cubicBezTo>
                    <a:cubicBezTo>
                      <a:pt x="3327" y="334"/>
                      <a:pt x="3327" y="334"/>
                      <a:pt x="3327" y="334"/>
                    </a:cubicBezTo>
                    <a:cubicBezTo>
                      <a:pt x="3344" y="354"/>
                      <a:pt x="3344" y="354"/>
                      <a:pt x="3344" y="354"/>
                    </a:cubicBezTo>
                    <a:cubicBezTo>
                      <a:pt x="3310" y="350"/>
                      <a:pt x="3310" y="350"/>
                      <a:pt x="3310" y="350"/>
                    </a:cubicBezTo>
                    <a:cubicBezTo>
                      <a:pt x="3306" y="344"/>
                      <a:pt x="3306" y="344"/>
                      <a:pt x="3306" y="344"/>
                    </a:cubicBezTo>
                    <a:cubicBezTo>
                      <a:pt x="3262" y="347"/>
                      <a:pt x="3262" y="347"/>
                      <a:pt x="3262" y="347"/>
                    </a:cubicBezTo>
                    <a:cubicBezTo>
                      <a:pt x="3251" y="351"/>
                      <a:pt x="3251" y="351"/>
                      <a:pt x="3251" y="351"/>
                    </a:cubicBezTo>
                    <a:cubicBezTo>
                      <a:pt x="3250" y="343"/>
                      <a:pt x="3250" y="343"/>
                      <a:pt x="3250" y="343"/>
                    </a:cubicBezTo>
                    <a:cubicBezTo>
                      <a:pt x="3221" y="349"/>
                      <a:pt x="3221" y="349"/>
                      <a:pt x="3221" y="349"/>
                    </a:cubicBezTo>
                    <a:cubicBezTo>
                      <a:pt x="3216" y="341"/>
                      <a:pt x="3216" y="341"/>
                      <a:pt x="3216" y="341"/>
                    </a:cubicBezTo>
                    <a:cubicBezTo>
                      <a:pt x="3178" y="342"/>
                      <a:pt x="3178" y="342"/>
                      <a:pt x="3178" y="342"/>
                    </a:cubicBezTo>
                    <a:cubicBezTo>
                      <a:pt x="3156" y="335"/>
                      <a:pt x="3156" y="335"/>
                      <a:pt x="3156" y="335"/>
                    </a:cubicBezTo>
                    <a:cubicBezTo>
                      <a:pt x="3167" y="321"/>
                      <a:pt x="3167" y="321"/>
                      <a:pt x="3167" y="321"/>
                    </a:cubicBezTo>
                    <a:cubicBezTo>
                      <a:pt x="3082" y="320"/>
                      <a:pt x="3082" y="320"/>
                      <a:pt x="3082" y="320"/>
                    </a:cubicBezTo>
                    <a:cubicBezTo>
                      <a:pt x="3077" y="314"/>
                      <a:pt x="3077" y="314"/>
                      <a:pt x="3077" y="314"/>
                    </a:cubicBezTo>
                    <a:cubicBezTo>
                      <a:pt x="3071" y="317"/>
                      <a:pt x="3071" y="317"/>
                      <a:pt x="3071" y="317"/>
                    </a:cubicBezTo>
                    <a:cubicBezTo>
                      <a:pt x="3065" y="313"/>
                      <a:pt x="3065" y="313"/>
                      <a:pt x="3065" y="313"/>
                    </a:cubicBezTo>
                    <a:cubicBezTo>
                      <a:pt x="3030" y="315"/>
                      <a:pt x="3030" y="315"/>
                      <a:pt x="3030" y="315"/>
                    </a:cubicBezTo>
                    <a:cubicBezTo>
                      <a:pt x="3034" y="323"/>
                      <a:pt x="3034" y="323"/>
                      <a:pt x="3034" y="323"/>
                    </a:cubicBezTo>
                    <a:cubicBezTo>
                      <a:pt x="2997" y="319"/>
                      <a:pt x="2997" y="319"/>
                      <a:pt x="2997" y="319"/>
                    </a:cubicBezTo>
                    <a:cubicBezTo>
                      <a:pt x="2987" y="324"/>
                      <a:pt x="2987" y="324"/>
                      <a:pt x="2987" y="324"/>
                    </a:cubicBezTo>
                    <a:cubicBezTo>
                      <a:pt x="3008" y="331"/>
                      <a:pt x="3008" y="331"/>
                      <a:pt x="3008" y="331"/>
                    </a:cubicBezTo>
                    <a:cubicBezTo>
                      <a:pt x="2981" y="330"/>
                      <a:pt x="2981" y="330"/>
                      <a:pt x="2981" y="330"/>
                    </a:cubicBezTo>
                    <a:cubicBezTo>
                      <a:pt x="2978" y="318"/>
                      <a:pt x="2978" y="318"/>
                      <a:pt x="2978" y="318"/>
                    </a:cubicBezTo>
                    <a:cubicBezTo>
                      <a:pt x="2961" y="303"/>
                      <a:pt x="2961" y="303"/>
                      <a:pt x="2961" y="303"/>
                    </a:cubicBezTo>
                    <a:cubicBezTo>
                      <a:pt x="2947" y="303"/>
                      <a:pt x="2947" y="303"/>
                      <a:pt x="2947" y="303"/>
                    </a:cubicBezTo>
                    <a:cubicBezTo>
                      <a:pt x="2954" y="318"/>
                      <a:pt x="2954" y="318"/>
                      <a:pt x="2954" y="318"/>
                    </a:cubicBezTo>
                    <a:cubicBezTo>
                      <a:pt x="2919" y="318"/>
                      <a:pt x="2919" y="318"/>
                      <a:pt x="2919" y="318"/>
                    </a:cubicBezTo>
                    <a:cubicBezTo>
                      <a:pt x="2915" y="313"/>
                      <a:pt x="2915" y="313"/>
                      <a:pt x="2915" y="313"/>
                    </a:cubicBezTo>
                    <a:cubicBezTo>
                      <a:pt x="2906" y="313"/>
                      <a:pt x="2906" y="313"/>
                      <a:pt x="2906" y="313"/>
                    </a:cubicBezTo>
                    <a:cubicBezTo>
                      <a:pt x="2902" y="303"/>
                      <a:pt x="2902" y="303"/>
                      <a:pt x="2902" y="303"/>
                    </a:cubicBezTo>
                    <a:cubicBezTo>
                      <a:pt x="2893" y="303"/>
                      <a:pt x="2893" y="303"/>
                      <a:pt x="2893" y="303"/>
                    </a:cubicBezTo>
                    <a:cubicBezTo>
                      <a:pt x="2882" y="306"/>
                      <a:pt x="2882" y="306"/>
                      <a:pt x="2882" y="306"/>
                    </a:cubicBezTo>
                    <a:cubicBezTo>
                      <a:pt x="2866" y="298"/>
                      <a:pt x="2866" y="298"/>
                      <a:pt x="2866" y="298"/>
                    </a:cubicBezTo>
                    <a:cubicBezTo>
                      <a:pt x="2846" y="312"/>
                      <a:pt x="2846" y="312"/>
                      <a:pt x="2846" y="312"/>
                    </a:cubicBezTo>
                    <a:cubicBezTo>
                      <a:pt x="2882" y="316"/>
                      <a:pt x="2882" y="316"/>
                      <a:pt x="2882" y="316"/>
                    </a:cubicBezTo>
                    <a:cubicBezTo>
                      <a:pt x="2890" y="317"/>
                      <a:pt x="2890" y="317"/>
                      <a:pt x="2890" y="317"/>
                    </a:cubicBezTo>
                    <a:cubicBezTo>
                      <a:pt x="2890" y="317"/>
                      <a:pt x="2877" y="328"/>
                      <a:pt x="2870" y="328"/>
                    </a:cubicBezTo>
                    <a:cubicBezTo>
                      <a:pt x="2863" y="328"/>
                      <a:pt x="2858" y="327"/>
                      <a:pt x="2852" y="329"/>
                    </a:cubicBezTo>
                    <a:cubicBezTo>
                      <a:pt x="2846" y="331"/>
                      <a:pt x="2844" y="337"/>
                      <a:pt x="2839" y="337"/>
                    </a:cubicBezTo>
                    <a:cubicBezTo>
                      <a:pt x="2834" y="337"/>
                      <a:pt x="2790" y="338"/>
                      <a:pt x="2790" y="338"/>
                    </a:cubicBezTo>
                    <a:cubicBezTo>
                      <a:pt x="2768" y="341"/>
                      <a:pt x="2768" y="341"/>
                      <a:pt x="2768" y="341"/>
                    </a:cubicBezTo>
                    <a:cubicBezTo>
                      <a:pt x="2758" y="358"/>
                      <a:pt x="2758" y="358"/>
                      <a:pt x="2758" y="358"/>
                    </a:cubicBezTo>
                    <a:cubicBezTo>
                      <a:pt x="2742" y="354"/>
                      <a:pt x="2742" y="354"/>
                      <a:pt x="2742" y="354"/>
                    </a:cubicBezTo>
                    <a:cubicBezTo>
                      <a:pt x="2742" y="354"/>
                      <a:pt x="2745" y="338"/>
                      <a:pt x="2753" y="334"/>
                    </a:cubicBezTo>
                    <a:cubicBezTo>
                      <a:pt x="2761" y="330"/>
                      <a:pt x="2773" y="330"/>
                      <a:pt x="2773" y="330"/>
                    </a:cubicBezTo>
                    <a:cubicBezTo>
                      <a:pt x="2778" y="319"/>
                      <a:pt x="2778" y="319"/>
                      <a:pt x="2778" y="319"/>
                    </a:cubicBezTo>
                    <a:cubicBezTo>
                      <a:pt x="2806" y="316"/>
                      <a:pt x="2806" y="316"/>
                      <a:pt x="2806" y="316"/>
                    </a:cubicBezTo>
                    <a:cubicBezTo>
                      <a:pt x="2836" y="294"/>
                      <a:pt x="2836" y="294"/>
                      <a:pt x="2836" y="294"/>
                    </a:cubicBezTo>
                    <a:cubicBezTo>
                      <a:pt x="2836" y="294"/>
                      <a:pt x="2835" y="281"/>
                      <a:pt x="2847" y="276"/>
                    </a:cubicBezTo>
                    <a:cubicBezTo>
                      <a:pt x="2859" y="271"/>
                      <a:pt x="2908" y="272"/>
                      <a:pt x="2906" y="254"/>
                    </a:cubicBezTo>
                    <a:cubicBezTo>
                      <a:pt x="2904" y="236"/>
                      <a:pt x="2889" y="232"/>
                      <a:pt x="2889" y="232"/>
                    </a:cubicBezTo>
                    <a:cubicBezTo>
                      <a:pt x="2862" y="234"/>
                      <a:pt x="2862" y="234"/>
                      <a:pt x="2862" y="234"/>
                    </a:cubicBezTo>
                    <a:cubicBezTo>
                      <a:pt x="2885" y="224"/>
                      <a:pt x="2885" y="224"/>
                      <a:pt x="2885" y="224"/>
                    </a:cubicBezTo>
                    <a:cubicBezTo>
                      <a:pt x="2885" y="224"/>
                      <a:pt x="2865" y="209"/>
                      <a:pt x="2860" y="210"/>
                    </a:cubicBezTo>
                    <a:cubicBezTo>
                      <a:pt x="2855" y="211"/>
                      <a:pt x="2838" y="212"/>
                      <a:pt x="2838" y="212"/>
                    </a:cubicBezTo>
                    <a:cubicBezTo>
                      <a:pt x="2838" y="212"/>
                      <a:pt x="2832" y="196"/>
                      <a:pt x="2819" y="196"/>
                    </a:cubicBezTo>
                    <a:cubicBezTo>
                      <a:pt x="2806" y="196"/>
                      <a:pt x="2792" y="201"/>
                      <a:pt x="2792" y="201"/>
                    </a:cubicBezTo>
                    <a:cubicBezTo>
                      <a:pt x="2756" y="192"/>
                      <a:pt x="2756" y="192"/>
                      <a:pt x="2756" y="192"/>
                    </a:cubicBezTo>
                    <a:cubicBezTo>
                      <a:pt x="2662" y="189"/>
                      <a:pt x="2662" y="189"/>
                      <a:pt x="2662" y="189"/>
                    </a:cubicBezTo>
                    <a:cubicBezTo>
                      <a:pt x="2665" y="201"/>
                      <a:pt x="2665" y="201"/>
                      <a:pt x="2665" y="201"/>
                    </a:cubicBezTo>
                    <a:cubicBezTo>
                      <a:pt x="2620" y="201"/>
                      <a:pt x="2620" y="201"/>
                      <a:pt x="2620" y="201"/>
                    </a:cubicBezTo>
                    <a:cubicBezTo>
                      <a:pt x="2620" y="201"/>
                      <a:pt x="2639" y="184"/>
                      <a:pt x="2627" y="179"/>
                    </a:cubicBezTo>
                    <a:cubicBezTo>
                      <a:pt x="2615" y="174"/>
                      <a:pt x="2564" y="180"/>
                      <a:pt x="2564" y="180"/>
                    </a:cubicBezTo>
                    <a:cubicBezTo>
                      <a:pt x="2523" y="176"/>
                      <a:pt x="2523" y="176"/>
                      <a:pt x="2523" y="176"/>
                    </a:cubicBezTo>
                    <a:cubicBezTo>
                      <a:pt x="2523" y="176"/>
                      <a:pt x="2570" y="174"/>
                      <a:pt x="2564" y="165"/>
                    </a:cubicBezTo>
                    <a:cubicBezTo>
                      <a:pt x="2558" y="156"/>
                      <a:pt x="2511" y="155"/>
                      <a:pt x="2511" y="155"/>
                    </a:cubicBezTo>
                    <a:cubicBezTo>
                      <a:pt x="2483" y="151"/>
                      <a:pt x="2483" y="151"/>
                      <a:pt x="2483" y="151"/>
                    </a:cubicBezTo>
                    <a:cubicBezTo>
                      <a:pt x="2480" y="161"/>
                      <a:pt x="2480" y="161"/>
                      <a:pt x="2480" y="161"/>
                    </a:cubicBezTo>
                    <a:cubicBezTo>
                      <a:pt x="2480" y="161"/>
                      <a:pt x="2431" y="159"/>
                      <a:pt x="2435" y="173"/>
                    </a:cubicBezTo>
                    <a:cubicBezTo>
                      <a:pt x="2439" y="187"/>
                      <a:pt x="2485" y="202"/>
                      <a:pt x="2485" y="202"/>
                    </a:cubicBezTo>
                    <a:cubicBezTo>
                      <a:pt x="2389" y="196"/>
                      <a:pt x="2389" y="196"/>
                      <a:pt x="2389" y="196"/>
                    </a:cubicBezTo>
                    <a:cubicBezTo>
                      <a:pt x="2423" y="210"/>
                      <a:pt x="2423" y="210"/>
                      <a:pt x="2423" y="210"/>
                    </a:cubicBezTo>
                    <a:cubicBezTo>
                      <a:pt x="2388" y="215"/>
                      <a:pt x="2388" y="215"/>
                      <a:pt x="2388" y="215"/>
                    </a:cubicBezTo>
                    <a:cubicBezTo>
                      <a:pt x="2388" y="215"/>
                      <a:pt x="2331" y="233"/>
                      <a:pt x="2321" y="227"/>
                    </a:cubicBezTo>
                    <a:cubicBezTo>
                      <a:pt x="2311" y="221"/>
                      <a:pt x="2326" y="209"/>
                      <a:pt x="2326" y="209"/>
                    </a:cubicBezTo>
                    <a:cubicBezTo>
                      <a:pt x="2326" y="209"/>
                      <a:pt x="2278" y="209"/>
                      <a:pt x="2269" y="211"/>
                    </a:cubicBezTo>
                    <a:cubicBezTo>
                      <a:pt x="2260" y="213"/>
                      <a:pt x="2246" y="225"/>
                      <a:pt x="2246" y="225"/>
                    </a:cubicBezTo>
                    <a:cubicBezTo>
                      <a:pt x="2246" y="225"/>
                      <a:pt x="2183" y="230"/>
                      <a:pt x="2168" y="233"/>
                    </a:cubicBezTo>
                    <a:cubicBezTo>
                      <a:pt x="2153" y="236"/>
                      <a:pt x="2120" y="243"/>
                      <a:pt x="2120" y="243"/>
                    </a:cubicBezTo>
                    <a:cubicBezTo>
                      <a:pt x="2091" y="266"/>
                      <a:pt x="2091" y="266"/>
                      <a:pt x="2091" y="266"/>
                    </a:cubicBezTo>
                    <a:cubicBezTo>
                      <a:pt x="2091" y="266"/>
                      <a:pt x="2059" y="264"/>
                      <a:pt x="2073" y="278"/>
                    </a:cubicBezTo>
                    <a:cubicBezTo>
                      <a:pt x="2087" y="292"/>
                      <a:pt x="2112" y="302"/>
                      <a:pt x="2112" y="302"/>
                    </a:cubicBezTo>
                    <a:cubicBezTo>
                      <a:pt x="2082" y="308"/>
                      <a:pt x="2082" y="308"/>
                      <a:pt x="2082" y="308"/>
                    </a:cubicBezTo>
                    <a:cubicBezTo>
                      <a:pt x="2068" y="317"/>
                      <a:pt x="2068" y="317"/>
                      <a:pt x="2068" y="317"/>
                    </a:cubicBezTo>
                    <a:cubicBezTo>
                      <a:pt x="2001" y="315"/>
                      <a:pt x="2001" y="315"/>
                      <a:pt x="2001" y="315"/>
                    </a:cubicBezTo>
                    <a:cubicBezTo>
                      <a:pt x="1996" y="320"/>
                      <a:pt x="1996" y="320"/>
                      <a:pt x="1996" y="320"/>
                    </a:cubicBezTo>
                    <a:cubicBezTo>
                      <a:pt x="1971" y="311"/>
                      <a:pt x="1971" y="311"/>
                      <a:pt x="1971" y="311"/>
                    </a:cubicBezTo>
                    <a:cubicBezTo>
                      <a:pt x="1960" y="318"/>
                      <a:pt x="1960" y="318"/>
                      <a:pt x="1960" y="318"/>
                    </a:cubicBezTo>
                    <a:cubicBezTo>
                      <a:pt x="1960" y="318"/>
                      <a:pt x="1922" y="314"/>
                      <a:pt x="1920" y="322"/>
                    </a:cubicBezTo>
                    <a:cubicBezTo>
                      <a:pt x="1918" y="330"/>
                      <a:pt x="1919" y="345"/>
                      <a:pt x="1930" y="347"/>
                    </a:cubicBezTo>
                    <a:cubicBezTo>
                      <a:pt x="1941" y="349"/>
                      <a:pt x="1947" y="365"/>
                      <a:pt x="1947" y="365"/>
                    </a:cubicBezTo>
                    <a:cubicBezTo>
                      <a:pt x="1947" y="365"/>
                      <a:pt x="1982" y="375"/>
                      <a:pt x="1991" y="375"/>
                    </a:cubicBezTo>
                    <a:cubicBezTo>
                      <a:pt x="2000" y="375"/>
                      <a:pt x="2019" y="380"/>
                      <a:pt x="2026" y="383"/>
                    </a:cubicBezTo>
                    <a:cubicBezTo>
                      <a:pt x="2033" y="386"/>
                      <a:pt x="2049" y="402"/>
                      <a:pt x="2038" y="402"/>
                    </a:cubicBezTo>
                    <a:cubicBezTo>
                      <a:pt x="2027" y="402"/>
                      <a:pt x="2003" y="404"/>
                      <a:pt x="2003" y="404"/>
                    </a:cubicBezTo>
                    <a:cubicBezTo>
                      <a:pt x="2003" y="404"/>
                      <a:pt x="1957" y="384"/>
                      <a:pt x="1941" y="380"/>
                    </a:cubicBezTo>
                    <a:cubicBezTo>
                      <a:pt x="1925" y="376"/>
                      <a:pt x="1901" y="373"/>
                      <a:pt x="1893" y="373"/>
                    </a:cubicBezTo>
                    <a:cubicBezTo>
                      <a:pt x="1885" y="373"/>
                      <a:pt x="1864" y="371"/>
                      <a:pt x="1866" y="379"/>
                    </a:cubicBezTo>
                    <a:cubicBezTo>
                      <a:pt x="1868" y="387"/>
                      <a:pt x="1894" y="397"/>
                      <a:pt x="1877" y="398"/>
                    </a:cubicBezTo>
                    <a:cubicBezTo>
                      <a:pt x="1860" y="399"/>
                      <a:pt x="1854" y="387"/>
                      <a:pt x="1844" y="387"/>
                    </a:cubicBezTo>
                    <a:cubicBezTo>
                      <a:pt x="1834" y="387"/>
                      <a:pt x="1820" y="377"/>
                      <a:pt x="1819" y="390"/>
                    </a:cubicBezTo>
                    <a:cubicBezTo>
                      <a:pt x="1818" y="403"/>
                      <a:pt x="1832" y="416"/>
                      <a:pt x="1847" y="415"/>
                    </a:cubicBezTo>
                    <a:cubicBezTo>
                      <a:pt x="1862" y="414"/>
                      <a:pt x="1885" y="421"/>
                      <a:pt x="1895" y="421"/>
                    </a:cubicBezTo>
                    <a:cubicBezTo>
                      <a:pt x="1905" y="421"/>
                      <a:pt x="1921" y="437"/>
                      <a:pt x="1921" y="437"/>
                    </a:cubicBezTo>
                    <a:cubicBezTo>
                      <a:pt x="1900" y="437"/>
                      <a:pt x="1900" y="437"/>
                      <a:pt x="1900" y="437"/>
                    </a:cubicBezTo>
                    <a:cubicBezTo>
                      <a:pt x="1900" y="437"/>
                      <a:pt x="1894" y="427"/>
                      <a:pt x="1880" y="427"/>
                    </a:cubicBezTo>
                    <a:cubicBezTo>
                      <a:pt x="1866" y="427"/>
                      <a:pt x="1823" y="425"/>
                      <a:pt x="1823" y="425"/>
                    </a:cubicBezTo>
                    <a:cubicBezTo>
                      <a:pt x="1820" y="417"/>
                      <a:pt x="1820" y="417"/>
                      <a:pt x="1820" y="417"/>
                    </a:cubicBezTo>
                    <a:cubicBezTo>
                      <a:pt x="1803" y="417"/>
                      <a:pt x="1803" y="417"/>
                      <a:pt x="1803" y="417"/>
                    </a:cubicBezTo>
                    <a:cubicBezTo>
                      <a:pt x="1800" y="406"/>
                      <a:pt x="1800" y="406"/>
                      <a:pt x="1800" y="406"/>
                    </a:cubicBezTo>
                    <a:cubicBezTo>
                      <a:pt x="1778" y="395"/>
                      <a:pt x="1778" y="395"/>
                      <a:pt x="1778" y="395"/>
                    </a:cubicBezTo>
                    <a:cubicBezTo>
                      <a:pt x="1778" y="395"/>
                      <a:pt x="1803" y="383"/>
                      <a:pt x="1793" y="374"/>
                    </a:cubicBezTo>
                    <a:cubicBezTo>
                      <a:pt x="1783" y="365"/>
                      <a:pt x="1769" y="354"/>
                      <a:pt x="1769" y="354"/>
                    </a:cubicBezTo>
                    <a:cubicBezTo>
                      <a:pt x="1748" y="353"/>
                      <a:pt x="1748" y="353"/>
                      <a:pt x="1748" y="353"/>
                    </a:cubicBezTo>
                    <a:cubicBezTo>
                      <a:pt x="1748" y="353"/>
                      <a:pt x="1778" y="370"/>
                      <a:pt x="1769" y="378"/>
                    </a:cubicBezTo>
                    <a:cubicBezTo>
                      <a:pt x="1760" y="386"/>
                      <a:pt x="1740" y="389"/>
                      <a:pt x="1740" y="389"/>
                    </a:cubicBezTo>
                    <a:cubicBezTo>
                      <a:pt x="1727" y="416"/>
                      <a:pt x="1727" y="416"/>
                      <a:pt x="1727" y="416"/>
                    </a:cubicBezTo>
                    <a:cubicBezTo>
                      <a:pt x="1776" y="441"/>
                      <a:pt x="1776" y="441"/>
                      <a:pt x="1776" y="441"/>
                    </a:cubicBezTo>
                    <a:cubicBezTo>
                      <a:pt x="1776" y="441"/>
                      <a:pt x="1789" y="436"/>
                      <a:pt x="1789" y="442"/>
                    </a:cubicBezTo>
                    <a:cubicBezTo>
                      <a:pt x="1789" y="448"/>
                      <a:pt x="1782" y="479"/>
                      <a:pt x="1782" y="479"/>
                    </a:cubicBezTo>
                    <a:cubicBezTo>
                      <a:pt x="1789" y="492"/>
                      <a:pt x="1789" y="492"/>
                      <a:pt x="1789" y="492"/>
                    </a:cubicBezTo>
                    <a:cubicBezTo>
                      <a:pt x="1813" y="496"/>
                      <a:pt x="1813" y="496"/>
                      <a:pt x="1813" y="496"/>
                    </a:cubicBezTo>
                    <a:cubicBezTo>
                      <a:pt x="1812" y="514"/>
                      <a:pt x="1812" y="514"/>
                      <a:pt x="1812" y="514"/>
                    </a:cubicBezTo>
                    <a:cubicBezTo>
                      <a:pt x="1852" y="522"/>
                      <a:pt x="1852" y="522"/>
                      <a:pt x="1852" y="522"/>
                    </a:cubicBezTo>
                    <a:cubicBezTo>
                      <a:pt x="1852" y="522"/>
                      <a:pt x="1882" y="510"/>
                      <a:pt x="1896" y="511"/>
                    </a:cubicBezTo>
                    <a:cubicBezTo>
                      <a:pt x="1910" y="512"/>
                      <a:pt x="1928" y="524"/>
                      <a:pt x="1928" y="524"/>
                    </a:cubicBezTo>
                    <a:cubicBezTo>
                      <a:pt x="1928" y="524"/>
                      <a:pt x="1957" y="528"/>
                      <a:pt x="1970" y="537"/>
                    </a:cubicBezTo>
                    <a:cubicBezTo>
                      <a:pt x="1983" y="546"/>
                      <a:pt x="1986" y="557"/>
                      <a:pt x="1986" y="557"/>
                    </a:cubicBezTo>
                    <a:cubicBezTo>
                      <a:pt x="1986" y="557"/>
                      <a:pt x="1953" y="561"/>
                      <a:pt x="1966" y="569"/>
                    </a:cubicBezTo>
                    <a:cubicBezTo>
                      <a:pt x="1979" y="577"/>
                      <a:pt x="1993" y="584"/>
                      <a:pt x="1993" y="584"/>
                    </a:cubicBezTo>
                    <a:cubicBezTo>
                      <a:pt x="2021" y="583"/>
                      <a:pt x="2021" y="583"/>
                      <a:pt x="2021" y="583"/>
                    </a:cubicBezTo>
                    <a:cubicBezTo>
                      <a:pt x="2021" y="583"/>
                      <a:pt x="2005" y="591"/>
                      <a:pt x="1992" y="591"/>
                    </a:cubicBezTo>
                    <a:cubicBezTo>
                      <a:pt x="1979" y="591"/>
                      <a:pt x="1963" y="582"/>
                      <a:pt x="1963" y="582"/>
                    </a:cubicBezTo>
                    <a:cubicBezTo>
                      <a:pt x="1963" y="582"/>
                      <a:pt x="1964" y="559"/>
                      <a:pt x="1949" y="550"/>
                    </a:cubicBezTo>
                    <a:cubicBezTo>
                      <a:pt x="1934" y="541"/>
                      <a:pt x="1922" y="536"/>
                      <a:pt x="1922" y="536"/>
                    </a:cubicBezTo>
                    <a:cubicBezTo>
                      <a:pt x="1922" y="536"/>
                      <a:pt x="1918" y="521"/>
                      <a:pt x="1906" y="522"/>
                    </a:cubicBezTo>
                    <a:cubicBezTo>
                      <a:pt x="1894" y="523"/>
                      <a:pt x="1862" y="529"/>
                      <a:pt x="1862" y="529"/>
                    </a:cubicBezTo>
                    <a:cubicBezTo>
                      <a:pt x="1862" y="529"/>
                      <a:pt x="1844" y="531"/>
                      <a:pt x="1845" y="542"/>
                    </a:cubicBezTo>
                    <a:cubicBezTo>
                      <a:pt x="1846" y="553"/>
                      <a:pt x="1878" y="571"/>
                      <a:pt x="1878" y="575"/>
                    </a:cubicBezTo>
                    <a:cubicBezTo>
                      <a:pt x="1878" y="579"/>
                      <a:pt x="1859" y="591"/>
                      <a:pt x="1859" y="591"/>
                    </a:cubicBezTo>
                    <a:cubicBezTo>
                      <a:pt x="1857" y="620"/>
                      <a:pt x="1857" y="620"/>
                      <a:pt x="1857" y="620"/>
                    </a:cubicBezTo>
                    <a:cubicBezTo>
                      <a:pt x="1829" y="634"/>
                      <a:pt x="1829" y="634"/>
                      <a:pt x="1829" y="634"/>
                    </a:cubicBezTo>
                    <a:cubicBezTo>
                      <a:pt x="1829" y="634"/>
                      <a:pt x="1823" y="655"/>
                      <a:pt x="1810" y="649"/>
                    </a:cubicBezTo>
                    <a:cubicBezTo>
                      <a:pt x="1797" y="643"/>
                      <a:pt x="1771" y="645"/>
                      <a:pt x="1771" y="645"/>
                    </a:cubicBezTo>
                    <a:cubicBezTo>
                      <a:pt x="1733" y="641"/>
                      <a:pt x="1733" y="641"/>
                      <a:pt x="1733" y="641"/>
                    </a:cubicBezTo>
                    <a:cubicBezTo>
                      <a:pt x="1733" y="641"/>
                      <a:pt x="1690" y="626"/>
                      <a:pt x="1701" y="625"/>
                    </a:cubicBezTo>
                    <a:cubicBezTo>
                      <a:pt x="1712" y="624"/>
                      <a:pt x="1735" y="623"/>
                      <a:pt x="1735" y="623"/>
                    </a:cubicBezTo>
                    <a:cubicBezTo>
                      <a:pt x="1748" y="627"/>
                      <a:pt x="1748" y="627"/>
                      <a:pt x="1748" y="627"/>
                    </a:cubicBezTo>
                    <a:cubicBezTo>
                      <a:pt x="1763" y="616"/>
                      <a:pt x="1763" y="616"/>
                      <a:pt x="1763" y="616"/>
                    </a:cubicBezTo>
                    <a:cubicBezTo>
                      <a:pt x="1763" y="616"/>
                      <a:pt x="1801" y="625"/>
                      <a:pt x="1801" y="614"/>
                    </a:cubicBezTo>
                    <a:cubicBezTo>
                      <a:pt x="1801" y="603"/>
                      <a:pt x="1803" y="588"/>
                      <a:pt x="1803" y="588"/>
                    </a:cubicBezTo>
                    <a:cubicBezTo>
                      <a:pt x="1819" y="583"/>
                      <a:pt x="1819" y="583"/>
                      <a:pt x="1819" y="583"/>
                    </a:cubicBezTo>
                    <a:cubicBezTo>
                      <a:pt x="1821" y="569"/>
                      <a:pt x="1821" y="569"/>
                      <a:pt x="1821" y="569"/>
                    </a:cubicBezTo>
                    <a:cubicBezTo>
                      <a:pt x="1810" y="567"/>
                      <a:pt x="1810" y="567"/>
                      <a:pt x="1810" y="567"/>
                    </a:cubicBezTo>
                    <a:cubicBezTo>
                      <a:pt x="1810" y="567"/>
                      <a:pt x="1826" y="547"/>
                      <a:pt x="1816" y="543"/>
                    </a:cubicBezTo>
                    <a:cubicBezTo>
                      <a:pt x="1806" y="539"/>
                      <a:pt x="1763" y="541"/>
                      <a:pt x="1761" y="525"/>
                    </a:cubicBezTo>
                    <a:cubicBezTo>
                      <a:pt x="1759" y="509"/>
                      <a:pt x="1761" y="490"/>
                      <a:pt x="1752" y="485"/>
                    </a:cubicBezTo>
                    <a:cubicBezTo>
                      <a:pt x="1743" y="480"/>
                      <a:pt x="1730" y="464"/>
                      <a:pt x="1730" y="464"/>
                    </a:cubicBezTo>
                    <a:cubicBezTo>
                      <a:pt x="1726" y="440"/>
                      <a:pt x="1726" y="440"/>
                      <a:pt x="1726" y="440"/>
                    </a:cubicBezTo>
                    <a:cubicBezTo>
                      <a:pt x="1684" y="417"/>
                      <a:pt x="1684" y="417"/>
                      <a:pt x="1684" y="417"/>
                    </a:cubicBezTo>
                    <a:cubicBezTo>
                      <a:pt x="1684" y="417"/>
                      <a:pt x="1711" y="396"/>
                      <a:pt x="1697" y="376"/>
                    </a:cubicBezTo>
                    <a:cubicBezTo>
                      <a:pt x="1683" y="356"/>
                      <a:pt x="1651" y="356"/>
                      <a:pt x="1651" y="356"/>
                    </a:cubicBezTo>
                    <a:cubicBezTo>
                      <a:pt x="1562" y="348"/>
                      <a:pt x="1562" y="348"/>
                      <a:pt x="1562" y="348"/>
                    </a:cubicBezTo>
                    <a:cubicBezTo>
                      <a:pt x="1555" y="368"/>
                      <a:pt x="1555" y="368"/>
                      <a:pt x="1555" y="368"/>
                    </a:cubicBezTo>
                    <a:cubicBezTo>
                      <a:pt x="1566" y="379"/>
                      <a:pt x="1566" y="379"/>
                      <a:pt x="1566" y="379"/>
                    </a:cubicBezTo>
                    <a:cubicBezTo>
                      <a:pt x="1561" y="402"/>
                      <a:pt x="1561" y="402"/>
                      <a:pt x="1561" y="402"/>
                    </a:cubicBezTo>
                    <a:cubicBezTo>
                      <a:pt x="1523" y="418"/>
                      <a:pt x="1523" y="418"/>
                      <a:pt x="1523" y="418"/>
                    </a:cubicBezTo>
                    <a:cubicBezTo>
                      <a:pt x="1517" y="437"/>
                      <a:pt x="1517" y="437"/>
                      <a:pt x="1517" y="437"/>
                    </a:cubicBezTo>
                    <a:cubicBezTo>
                      <a:pt x="1538" y="439"/>
                      <a:pt x="1538" y="439"/>
                      <a:pt x="1538" y="439"/>
                    </a:cubicBezTo>
                    <a:cubicBezTo>
                      <a:pt x="1561" y="474"/>
                      <a:pt x="1561" y="474"/>
                      <a:pt x="1561" y="474"/>
                    </a:cubicBezTo>
                    <a:cubicBezTo>
                      <a:pt x="1552" y="486"/>
                      <a:pt x="1552" y="486"/>
                      <a:pt x="1552" y="486"/>
                    </a:cubicBezTo>
                    <a:cubicBezTo>
                      <a:pt x="1571" y="501"/>
                      <a:pt x="1571" y="501"/>
                      <a:pt x="1571" y="501"/>
                    </a:cubicBezTo>
                    <a:cubicBezTo>
                      <a:pt x="1594" y="495"/>
                      <a:pt x="1594" y="495"/>
                      <a:pt x="1594" y="495"/>
                    </a:cubicBezTo>
                    <a:cubicBezTo>
                      <a:pt x="1594" y="495"/>
                      <a:pt x="1612" y="516"/>
                      <a:pt x="1625" y="519"/>
                    </a:cubicBezTo>
                    <a:cubicBezTo>
                      <a:pt x="1638" y="522"/>
                      <a:pt x="1651" y="522"/>
                      <a:pt x="1651" y="522"/>
                    </a:cubicBezTo>
                    <a:cubicBezTo>
                      <a:pt x="1648" y="559"/>
                      <a:pt x="1648" y="559"/>
                      <a:pt x="1648" y="559"/>
                    </a:cubicBezTo>
                    <a:cubicBezTo>
                      <a:pt x="1635" y="545"/>
                      <a:pt x="1635" y="545"/>
                      <a:pt x="1635" y="545"/>
                    </a:cubicBezTo>
                    <a:cubicBezTo>
                      <a:pt x="1625" y="551"/>
                      <a:pt x="1625" y="551"/>
                      <a:pt x="1625" y="551"/>
                    </a:cubicBezTo>
                    <a:cubicBezTo>
                      <a:pt x="1625" y="551"/>
                      <a:pt x="1572" y="524"/>
                      <a:pt x="1556" y="521"/>
                    </a:cubicBezTo>
                    <a:cubicBezTo>
                      <a:pt x="1540" y="518"/>
                      <a:pt x="1516" y="520"/>
                      <a:pt x="1516" y="520"/>
                    </a:cubicBezTo>
                    <a:cubicBezTo>
                      <a:pt x="1505" y="508"/>
                      <a:pt x="1505" y="508"/>
                      <a:pt x="1505" y="508"/>
                    </a:cubicBezTo>
                    <a:cubicBezTo>
                      <a:pt x="1499" y="522"/>
                      <a:pt x="1499" y="522"/>
                      <a:pt x="1499" y="522"/>
                    </a:cubicBezTo>
                    <a:cubicBezTo>
                      <a:pt x="1483" y="504"/>
                      <a:pt x="1483" y="504"/>
                      <a:pt x="1483" y="504"/>
                    </a:cubicBezTo>
                    <a:cubicBezTo>
                      <a:pt x="1483" y="504"/>
                      <a:pt x="1441" y="490"/>
                      <a:pt x="1434" y="490"/>
                    </a:cubicBezTo>
                    <a:cubicBezTo>
                      <a:pt x="1427" y="490"/>
                      <a:pt x="1406" y="491"/>
                      <a:pt x="1406" y="491"/>
                    </a:cubicBezTo>
                    <a:cubicBezTo>
                      <a:pt x="1406" y="491"/>
                      <a:pt x="1357" y="485"/>
                      <a:pt x="1353" y="488"/>
                    </a:cubicBezTo>
                    <a:cubicBezTo>
                      <a:pt x="1349" y="491"/>
                      <a:pt x="1340" y="491"/>
                      <a:pt x="1340" y="499"/>
                    </a:cubicBezTo>
                    <a:cubicBezTo>
                      <a:pt x="1340" y="507"/>
                      <a:pt x="1366" y="521"/>
                      <a:pt x="1366" y="521"/>
                    </a:cubicBezTo>
                    <a:cubicBezTo>
                      <a:pt x="1353" y="541"/>
                      <a:pt x="1353" y="541"/>
                      <a:pt x="1353" y="541"/>
                    </a:cubicBezTo>
                    <a:cubicBezTo>
                      <a:pt x="1344" y="534"/>
                      <a:pt x="1344" y="534"/>
                      <a:pt x="1344" y="534"/>
                    </a:cubicBezTo>
                    <a:cubicBezTo>
                      <a:pt x="1344" y="551"/>
                      <a:pt x="1344" y="551"/>
                      <a:pt x="1344" y="551"/>
                    </a:cubicBezTo>
                    <a:cubicBezTo>
                      <a:pt x="1344" y="551"/>
                      <a:pt x="1320" y="550"/>
                      <a:pt x="1320" y="545"/>
                    </a:cubicBezTo>
                    <a:cubicBezTo>
                      <a:pt x="1320" y="540"/>
                      <a:pt x="1325" y="518"/>
                      <a:pt x="1311" y="519"/>
                    </a:cubicBezTo>
                    <a:cubicBezTo>
                      <a:pt x="1297" y="520"/>
                      <a:pt x="1261" y="543"/>
                      <a:pt x="1256" y="546"/>
                    </a:cubicBezTo>
                    <a:cubicBezTo>
                      <a:pt x="1251" y="549"/>
                      <a:pt x="1240" y="535"/>
                      <a:pt x="1219" y="537"/>
                    </a:cubicBezTo>
                    <a:cubicBezTo>
                      <a:pt x="1198" y="539"/>
                      <a:pt x="1174" y="550"/>
                      <a:pt x="1172" y="558"/>
                    </a:cubicBezTo>
                    <a:cubicBezTo>
                      <a:pt x="1170" y="566"/>
                      <a:pt x="1123" y="562"/>
                      <a:pt x="1123" y="562"/>
                    </a:cubicBezTo>
                    <a:cubicBezTo>
                      <a:pt x="1131" y="545"/>
                      <a:pt x="1131" y="545"/>
                      <a:pt x="1131" y="545"/>
                    </a:cubicBezTo>
                    <a:cubicBezTo>
                      <a:pt x="1130" y="521"/>
                      <a:pt x="1130" y="521"/>
                      <a:pt x="1130" y="521"/>
                    </a:cubicBezTo>
                    <a:cubicBezTo>
                      <a:pt x="1130" y="521"/>
                      <a:pt x="1086" y="529"/>
                      <a:pt x="1086" y="538"/>
                    </a:cubicBezTo>
                    <a:cubicBezTo>
                      <a:pt x="1086" y="547"/>
                      <a:pt x="1092" y="554"/>
                      <a:pt x="1092" y="554"/>
                    </a:cubicBezTo>
                    <a:cubicBezTo>
                      <a:pt x="1074" y="555"/>
                      <a:pt x="1074" y="555"/>
                      <a:pt x="1074" y="555"/>
                    </a:cubicBezTo>
                    <a:cubicBezTo>
                      <a:pt x="1074" y="540"/>
                      <a:pt x="1074" y="540"/>
                      <a:pt x="1074" y="540"/>
                    </a:cubicBezTo>
                    <a:cubicBezTo>
                      <a:pt x="1060" y="545"/>
                      <a:pt x="1060" y="545"/>
                      <a:pt x="1060" y="545"/>
                    </a:cubicBezTo>
                    <a:cubicBezTo>
                      <a:pt x="1025" y="548"/>
                      <a:pt x="1025" y="548"/>
                      <a:pt x="1025" y="548"/>
                    </a:cubicBezTo>
                    <a:cubicBezTo>
                      <a:pt x="996" y="568"/>
                      <a:pt x="996" y="568"/>
                      <a:pt x="996" y="568"/>
                    </a:cubicBezTo>
                    <a:cubicBezTo>
                      <a:pt x="963" y="571"/>
                      <a:pt x="963" y="571"/>
                      <a:pt x="963" y="571"/>
                    </a:cubicBezTo>
                    <a:cubicBezTo>
                      <a:pt x="970" y="584"/>
                      <a:pt x="970" y="584"/>
                      <a:pt x="970" y="584"/>
                    </a:cubicBezTo>
                    <a:cubicBezTo>
                      <a:pt x="970" y="584"/>
                      <a:pt x="944" y="578"/>
                      <a:pt x="941" y="589"/>
                    </a:cubicBezTo>
                    <a:cubicBezTo>
                      <a:pt x="938" y="600"/>
                      <a:pt x="941" y="615"/>
                      <a:pt x="941" y="615"/>
                    </a:cubicBezTo>
                    <a:cubicBezTo>
                      <a:pt x="890" y="621"/>
                      <a:pt x="890" y="621"/>
                      <a:pt x="890" y="621"/>
                    </a:cubicBezTo>
                    <a:cubicBezTo>
                      <a:pt x="890" y="621"/>
                      <a:pt x="875" y="610"/>
                      <a:pt x="870" y="609"/>
                    </a:cubicBezTo>
                    <a:cubicBezTo>
                      <a:pt x="865" y="608"/>
                      <a:pt x="843" y="614"/>
                      <a:pt x="843" y="600"/>
                    </a:cubicBezTo>
                    <a:cubicBezTo>
                      <a:pt x="843" y="586"/>
                      <a:pt x="843" y="569"/>
                      <a:pt x="860" y="575"/>
                    </a:cubicBezTo>
                    <a:cubicBezTo>
                      <a:pt x="877" y="581"/>
                      <a:pt x="898" y="575"/>
                      <a:pt x="898" y="575"/>
                    </a:cubicBezTo>
                    <a:cubicBezTo>
                      <a:pt x="898" y="575"/>
                      <a:pt x="860" y="544"/>
                      <a:pt x="854" y="541"/>
                    </a:cubicBezTo>
                    <a:cubicBezTo>
                      <a:pt x="848" y="538"/>
                      <a:pt x="773" y="539"/>
                      <a:pt x="773" y="539"/>
                    </a:cubicBezTo>
                    <a:cubicBezTo>
                      <a:pt x="779" y="548"/>
                      <a:pt x="779" y="548"/>
                      <a:pt x="779" y="548"/>
                    </a:cubicBezTo>
                    <a:cubicBezTo>
                      <a:pt x="779" y="548"/>
                      <a:pt x="810" y="543"/>
                      <a:pt x="805" y="563"/>
                    </a:cubicBezTo>
                    <a:cubicBezTo>
                      <a:pt x="800" y="583"/>
                      <a:pt x="790" y="612"/>
                      <a:pt x="797" y="612"/>
                    </a:cubicBezTo>
                    <a:cubicBezTo>
                      <a:pt x="804" y="612"/>
                      <a:pt x="830" y="620"/>
                      <a:pt x="830" y="620"/>
                    </a:cubicBezTo>
                    <a:cubicBezTo>
                      <a:pt x="828" y="645"/>
                      <a:pt x="828" y="645"/>
                      <a:pt x="828" y="645"/>
                    </a:cubicBezTo>
                    <a:cubicBezTo>
                      <a:pt x="834" y="664"/>
                      <a:pt x="834" y="664"/>
                      <a:pt x="834" y="664"/>
                    </a:cubicBezTo>
                    <a:cubicBezTo>
                      <a:pt x="813" y="650"/>
                      <a:pt x="813" y="650"/>
                      <a:pt x="813" y="650"/>
                    </a:cubicBezTo>
                    <a:cubicBezTo>
                      <a:pt x="798" y="666"/>
                      <a:pt x="798" y="666"/>
                      <a:pt x="798" y="666"/>
                    </a:cubicBezTo>
                    <a:cubicBezTo>
                      <a:pt x="795" y="644"/>
                      <a:pt x="795" y="644"/>
                      <a:pt x="795" y="644"/>
                    </a:cubicBezTo>
                    <a:cubicBezTo>
                      <a:pt x="749" y="632"/>
                      <a:pt x="749" y="632"/>
                      <a:pt x="749" y="632"/>
                    </a:cubicBezTo>
                    <a:cubicBezTo>
                      <a:pt x="729" y="657"/>
                      <a:pt x="729" y="657"/>
                      <a:pt x="729" y="657"/>
                    </a:cubicBezTo>
                    <a:cubicBezTo>
                      <a:pt x="711" y="658"/>
                      <a:pt x="711" y="658"/>
                      <a:pt x="711" y="658"/>
                    </a:cubicBezTo>
                    <a:cubicBezTo>
                      <a:pt x="711" y="658"/>
                      <a:pt x="705" y="669"/>
                      <a:pt x="695" y="673"/>
                    </a:cubicBezTo>
                    <a:cubicBezTo>
                      <a:pt x="685" y="677"/>
                      <a:pt x="665" y="681"/>
                      <a:pt x="673" y="688"/>
                    </a:cubicBezTo>
                    <a:cubicBezTo>
                      <a:pt x="681" y="695"/>
                      <a:pt x="713" y="718"/>
                      <a:pt x="713" y="718"/>
                    </a:cubicBezTo>
                    <a:cubicBezTo>
                      <a:pt x="725" y="735"/>
                      <a:pt x="725" y="735"/>
                      <a:pt x="725" y="735"/>
                    </a:cubicBezTo>
                    <a:cubicBezTo>
                      <a:pt x="705" y="726"/>
                      <a:pt x="705" y="726"/>
                      <a:pt x="705" y="726"/>
                    </a:cubicBezTo>
                    <a:cubicBezTo>
                      <a:pt x="705" y="726"/>
                      <a:pt x="687" y="736"/>
                      <a:pt x="674" y="730"/>
                    </a:cubicBezTo>
                    <a:cubicBezTo>
                      <a:pt x="661" y="724"/>
                      <a:pt x="618" y="717"/>
                      <a:pt x="618" y="717"/>
                    </a:cubicBezTo>
                    <a:cubicBezTo>
                      <a:pt x="618" y="717"/>
                      <a:pt x="612" y="693"/>
                      <a:pt x="597" y="699"/>
                    </a:cubicBezTo>
                    <a:cubicBezTo>
                      <a:pt x="582" y="705"/>
                      <a:pt x="574" y="711"/>
                      <a:pt x="574" y="711"/>
                    </a:cubicBezTo>
                    <a:cubicBezTo>
                      <a:pt x="562" y="712"/>
                      <a:pt x="562" y="712"/>
                      <a:pt x="562" y="712"/>
                    </a:cubicBezTo>
                    <a:cubicBezTo>
                      <a:pt x="592" y="738"/>
                      <a:pt x="592" y="738"/>
                      <a:pt x="592" y="738"/>
                    </a:cubicBezTo>
                    <a:cubicBezTo>
                      <a:pt x="592" y="738"/>
                      <a:pt x="632" y="739"/>
                      <a:pt x="632" y="746"/>
                    </a:cubicBezTo>
                    <a:cubicBezTo>
                      <a:pt x="632" y="753"/>
                      <a:pt x="614" y="764"/>
                      <a:pt x="614" y="764"/>
                    </a:cubicBezTo>
                    <a:cubicBezTo>
                      <a:pt x="572" y="754"/>
                      <a:pt x="572" y="754"/>
                      <a:pt x="572" y="754"/>
                    </a:cubicBezTo>
                    <a:cubicBezTo>
                      <a:pt x="572" y="754"/>
                      <a:pt x="557" y="740"/>
                      <a:pt x="547" y="739"/>
                    </a:cubicBezTo>
                    <a:cubicBezTo>
                      <a:pt x="537" y="738"/>
                      <a:pt x="511" y="749"/>
                      <a:pt x="509" y="735"/>
                    </a:cubicBezTo>
                    <a:cubicBezTo>
                      <a:pt x="507" y="721"/>
                      <a:pt x="508" y="705"/>
                      <a:pt x="508" y="705"/>
                    </a:cubicBezTo>
                    <a:cubicBezTo>
                      <a:pt x="495" y="697"/>
                      <a:pt x="495" y="697"/>
                      <a:pt x="495" y="697"/>
                    </a:cubicBezTo>
                    <a:cubicBezTo>
                      <a:pt x="495" y="697"/>
                      <a:pt x="516" y="679"/>
                      <a:pt x="508" y="670"/>
                    </a:cubicBezTo>
                    <a:cubicBezTo>
                      <a:pt x="500" y="661"/>
                      <a:pt x="444" y="646"/>
                      <a:pt x="444" y="646"/>
                    </a:cubicBezTo>
                    <a:cubicBezTo>
                      <a:pt x="424" y="631"/>
                      <a:pt x="424" y="631"/>
                      <a:pt x="424" y="631"/>
                    </a:cubicBezTo>
                    <a:cubicBezTo>
                      <a:pt x="408" y="620"/>
                      <a:pt x="408" y="620"/>
                      <a:pt x="408" y="620"/>
                    </a:cubicBezTo>
                    <a:cubicBezTo>
                      <a:pt x="398" y="610"/>
                      <a:pt x="398" y="610"/>
                      <a:pt x="398" y="610"/>
                    </a:cubicBezTo>
                    <a:cubicBezTo>
                      <a:pt x="424" y="609"/>
                      <a:pt x="424" y="609"/>
                      <a:pt x="424" y="609"/>
                    </a:cubicBezTo>
                    <a:cubicBezTo>
                      <a:pt x="424" y="609"/>
                      <a:pt x="419" y="618"/>
                      <a:pt x="438" y="622"/>
                    </a:cubicBezTo>
                    <a:cubicBezTo>
                      <a:pt x="457" y="626"/>
                      <a:pt x="482" y="623"/>
                      <a:pt x="482" y="623"/>
                    </a:cubicBezTo>
                    <a:cubicBezTo>
                      <a:pt x="482" y="623"/>
                      <a:pt x="498" y="641"/>
                      <a:pt x="510" y="643"/>
                    </a:cubicBezTo>
                    <a:cubicBezTo>
                      <a:pt x="522" y="645"/>
                      <a:pt x="576" y="650"/>
                      <a:pt x="576" y="650"/>
                    </a:cubicBezTo>
                    <a:cubicBezTo>
                      <a:pt x="576" y="650"/>
                      <a:pt x="613" y="666"/>
                      <a:pt x="656" y="655"/>
                    </a:cubicBezTo>
                    <a:cubicBezTo>
                      <a:pt x="699" y="644"/>
                      <a:pt x="741" y="629"/>
                      <a:pt x="719" y="609"/>
                    </a:cubicBezTo>
                    <a:cubicBezTo>
                      <a:pt x="697" y="589"/>
                      <a:pt x="696" y="576"/>
                      <a:pt x="667" y="570"/>
                    </a:cubicBezTo>
                    <a:cubicBezTo>
                      <a:pt x="638" y="564"/>
                      <a:pt x="598" y="549"/>
                      <a:pt x="579" y="542"/>
                    </a:cubicBezTo>
                    <a:cubicBezTo>
                      <a:pt x="560" y="535"/>
                      <a:pt x="526" y="518"/>
                      <a:pt x="506" y="517"/>
                    </a:cubicBezTo>
                    <a:cubicBezTo>
                      <a:pt x="486" y="516"/>
                      <a:pt x="467" y="516"/>
                      <a:pt x="455" y="516"/>
                    </a:cubicBezTo>
                    <a:cubicBezTo>
                      <a:pt x="443" y="516"/>
                      <a:pt x="421" y="516"/>
                      <a:pt x="421" y="516"/>
                    </a:cubicBezTo>
                    <a:cubicBezTo>
                      <a:pt x="413" y="506"/>
                      <a:pt x="413" y="506"/>
                      <a:pt x="413" y="506"/>
                    </a:cubicBezTo>
                    <a:cubicBezTo>
                      <a:pt x="394" y="507"/>
                      <a:pt x="394" y="507"/>
                      <a:pt x="394" y="507"/>
                    </a:cubicBezTo>
                    <a:cubicBezTo>
                      <a:pt x="373" y="498"/>
                      <a:pt x="373" y="498"/>
                      <a:pt x="373" y="498"/>
                    </a:cubicBezTo>
                    <a:cubicBezTo>
                      <a:pt x="394" y="493"/>
                      <a:pt x="394" y="493"/>
                      <a:pt x="394" y="493"/>
                    </a:cubicBezTo>
                    <a:cubicBezTo>
                      <a:pt x="406" y="485"/>
                      <a:pt x="406" y="485"/>
                      <a:pt x="406" y="485"/>
                    </a:cubicBezTo>
                    <a:cubicBezTo>
                      <a:pt x="406" y="485"/>
                      <a:pt x="363" y="469"/>
                      <a:pt x="357" y="475"/>
                    </a:cubicBezTo>
                    <a:cubicBezTo>
                      <a:pt x="351" y="481"/>
                      <a:pt x="348" y="490"/>
                      <a:pt x="348" y="490"/>
                    </a:cubicBezTo>
                    <a:cubicBezTo>
                      <a:pt x="335" y="490"/>
                      <a:pt x="335" y="490"/>
                      <a:pt x="335" y="490"/>
                    </a:cubicBezTo>
                    <a:cubicBezTo>
                      <a:pt x="333" y="493"/>
                      <a:pt x="329" y="497"/>
                      <a:pt x="321" y="498"/>
                    </a:cubicBezTo>
                    <a:cubicBezTo>
                      <a:pt x="303" y="501"/>
                      <a:pt x="304" y="498"/>
                      <a:pt x="304" y="498"/>
                    </a:cubicBezTo>
                    <a:cubicBezTo>
                      <a:pt x="300" y="506"/>
                      <a:pt x="300" y="506"/>
                      <a:pt x="300" y="506"/>
                    </a:cubicBezTo>
                    <a:cubicBezTo>
                      <a:pt x="285" y="507"/>
                      <a:pt x="285" y="507"/>
                      <a:pt x="285" y="507"/>
                    </a:cubicBezTo>
                    <a:cubicBezTo>
                      <a:pt x="285" y="507"/>
                      <a:pt x="284" y="521"/>
                      <a:pt x="275" y="522"/>
                    </a:cubicBezTo>
                    <a:cubicBezTo>
                      <a:pt x="270" y="522"/>
                      <a:pt x="266" y="521"/>
                      <a:pt x="262" y="519"/>
                    </a:cubicBezTo>
                    <a:cubicBezTo>
                      <a:pt x="261" y="528"/>
                      <a:pt x="261" y="528"/>
                      <a:pt x="261" y="528"/>
                    </a:cubicBezTo>
                    <a:cubicBezTo>
                      <a:pt x="261" y="528"/>
                      <a:pt x="265" y="534"/>
                      <a:pt x="266" y="537"/>
                    </a:cubicBezTo>
                    <a:cubicBezTo>
                      <a:pt x="267" y="540"/>
                      <a:pt x="254" y="542"/>
                      <a:pt x="254" y="542"/>
                    </a:cubicBezTo>
                    <a:cubicBezTo>
                      <a:pt x="254" y="542"/>
                      <a:pt x="257" y="545"/>
                      <a:pt x="259" y="557"/>
                    </a:cubicBezTo>
                    <a:cubicBezTo>
                      <a:pt x="261" y="569"/>
                      <a:pt x="275" y="561"/>
                      <a:pt x="281" y="561"/>
                    </a:cubicBezTo>
                    <a:cubicBezTo>
                      <a:pt x="287" y="561"/>
                      <a:pt x="292" y="568"/>
                      <a:pt x="296" y="573"/>
                    </a:cubicBezTo>
                    <a:cubicBezTo>
                      <a:pt x="300" y="578"/>
                      <a:pt x="306" y="581"/>
                      <a:pt x="315" y="591"/>
                    </a:cubicBezTo>
                    <a:cubicBezTo>
                      <a:pt x="324" y="601"/>
                      <a:pt x="300" y="603"/>
                      <a:pt x="300" y="608"/>
                    </a:cubicBezTo>
                    <a:cubicBezTo>
                      <a:pt x="300" y="613"/>
                      <a:pt x="283" y="620"/>
                      <a:pt x="283" y="620"/>
                    </a:cubicBezTo>
                    <a:cubicBezTo>
                      <a:pt x="296" y="631"/>
                      <a:pt x="296" y="631"/>
                      <a:pt x="296" y="631"/>
                    </a:cubicBezTo>
                    <a:cubicBezTo>
                      <a:pt x="296" y="631"/>
                      <a:pt x="337" y="663"/>
                      <a:pt x="343" y="673"/>
                    </a:cubicBezTo>
                    <a:cubicBezTo>
                      <a:pt x="349" y="683"/>
                      <a:pt x="321" y="677"/>
                      <a:pt x="321" y="677"/>
                    </a:cubicBezTo>
                    <a:cubicBezTo>
                      <a:pt x="316" y="697"/>
                      <a:pt x="316" y="697"/>
                      <a:pt x="316" y="697"/>
                    </a:cubicBezTo>
                    <a:cubicBezTo>
                      <a:pt x="323" y="703"/>
                      <a:pt x="323" y="703"/>
                      <a:pt x="323" y="703"/>
                    </a:cubicBezTo>
                    <a:cubicBezTo>
                      <a:pt x="323" y="713"/>
                      <a:pt x="323" y="713"/>
                      <a:pt x="323" y="713"/>
                    </a:cubicBezTo>
                    <a:cubicBezTo>
                      <a:pt x="323" y="713"/>
                      <a:pt x="342" y="718"/>
                      <a:pt x="343" y="722"/>
                    </a:cubicBezTo>
                    <a:cubicBezTo>
                      <a:pt x="344" y="726"/>
                      <a:pt x="337" y="737"/>
                      <a:pt x="337" y="737"/>
                    </a:cubicBezTo>
                    <a:cubicBezTo>
                      <a:pt x="352" y="740"/>
                      <a:pt x="352" y="740"/>
                      <a:pt x="352" y="740"/>
                    </a:cubicBezTo>
                    <a:cubicBezTo>
                      <a:pt x="352" y="740"/>
                      <a:pt x="363" y="748"/>
                      <a:pt x="364" y="752"/>
                    </a:cubicBezTo>
                    <a:cubicBezTo>
                      <a:pt x="365" y="756"/>
                      <a:pt x="344" y="770"/>
                      <a:pt x="344" y="770"/>
                    </a:cubicBezTo>
                    <a:cubicBezTo>
                      <a:pt x="383" y="788"/>
                      <a:pt x="383" y="788"/>
                      <a:pt x="383" y="788"/>
                    </a:cubicBezTo>
                    <a:cubicBezTo>
                      <a:pt x="383" y="788"/>
                      <a:pt x="406" y="807"/>
                      <a:pt x="405" y="815"/>
                    </a:cubicBezTo>
                    <a:cubicBezTo>
                      <a:pt x="404" y="823"/>
                      <a:pt x="395" y="830"/>
                      <a:pt x="391" y="837"/>
                    </a:cubicBezTo>
                    <a:cubicBezTo>
                      <a:pt x="387" y="844"/>
                      <a:pt x="366" y="856"/>
                      <a:pt x="366" y="856"/>
                    </a:cubicBezTo>
                    <a:cubicBezTo>
                      <a:pt x="366" y="856"/>
                      <a:pt x="338" y="882"/>
                      <a:pt x="334" y="887"/>
                    </a:cubicBezTo>
                    <a:cubicBezTo>
                      <a:pt x="330" y="892"/>
                      <a:pt x="289" y="916"/>
                      <a:pt x="289" y="916"/>
                    </a:cubicBezTo>
                    <a:cubicBezTo>
                      <a:pt x="293" y="923"/>
                      <a:pt x="293" y="923"/>
                      <a:pt x="293" y="923"/>
                    </a:cubicBezTo>
                    <a:cubicBezTo>
                      <a:pt x="313" y="912"/>
                      <a:pt x="313" y="912"/>
                      <a:pt x="313" y="912"/>
                    </a:cubicBezTo>
                    <a:cubicBezTo>
                      <a:pt x="315" y="923"/>
                      <a:pt x="315" y="923"/>
                      <a:pt x="315" y="923"/>
                    </a:cubicBezTo>
                    <a:cubicBezTo>
                      <a:pt x="315" y="923"/>
                      <a:pt x="328" y="936"/>
                      <a:pt x="334" y="939"/>
                    </a:cubicBezTo>
                    <a:cubicBezTo>
                      <a:pt x="340" y="942"/>
                      <a:pt x="367" y="942"/>
                      <a:pt x="367" y="942"/>
                    </a:cubicBezTo>
                    <a:cubicBezTo>
                      <a:pt x="376" y="954"/>
                      <a:pt x="376" y="954"/>
                      <a:pt x="376" y="954"/>
                    </a:cubicBezTo>
                    <a:cubicBezTo>
                      <a:pt x="376" y="954"/>
                      <a:pt x="337" y="945"/>
                      <a:pt x="335" y="951"/>
                    </a:cubicBezTo>
                    <a:cubicBezTo>
                      <a:pt x="333" y="957"/>
                      <a:pt x="333" y="961"/>
                      <a:pt x="333" y="961"/>
                    </a:cubicBezTo>
                    <a:cubicBezTo>
                      <a:pt x="307" y="962"/>
                      <a:pt x="307" y="962"/>
                      <a:pt x="307" y="962"/>
                    </a:cubicBezTo>
                    <a:cubicBezTo>
                      <a:pt x="303" y="980"/>
                      <a:pt x="303" y="980"/>
                      <a:pt x="303" y="980"/>
                    </a:cubicBezTo>
                    <a:cubicBezTo>
                      <a:pt x="303" y="980"/>
                      <a:pt x="300" y="979"/>
                      <a:pt x="295" y="978"/>
                    </a:cubicBezTo>
                    <a:cubicBezTo>
                      <a:pt x="292" y="988"/>
                      <a:pt x="292" y="988"/>
                      <a:pt x="292" y="988"/>
                    </a:cubicBezTo>
                    <a:cubicBezTo>
                      <a:pt x="295" y="997"/>
                      <a:pt x="295" y="997"/>
                      <a:pt x="295" y="997"/>
                    </a:cubicBezTo>
                    <a:cubicBezTo>
                      <a:pt x="295" y="997"/>
                      <a:pt x="288" y="1001"/>
                      <a:pt x="284" y="1003"/>
                    </a:cubicBezTo>
                    <a:cubicBezTo>
                      <a:pt x="280" y="1005"/>
                      <a:pt x="281" y="1019"/>
                      <a:pt x="281" y="1019"/>
                    </a:cubicBezTo>
                    <a:cubicBezTo>
                      <a:pt x="290" y="1023"/>
                      <a:pt x="290" y="1023"/>
                      <a:pt x="290" y="1023"/>
                    </a:cubicBezTo>
                    <a:cubicBezTo>
                      <a:pt x="285" y="1041"/>
                      <a:pt x="285" y="1041"/>
                      <a:pt x="285" y="1041"/>
                    </a:cubicBezTo>
                    <a:cubicBezTo>
                      <a:pt x="292" y="1043"/>
                      <a:pt x="292" y="1043"/>
                      <a:pt x="292" y="1043"/>
                    </a:cubicBezTo>
                    <a:cubicBezTo>
                      <a:pt x="301" y="1055"/>
                      <a:pt x="301" y="1055"/>
                      <a:pt x="301" y="1055"/>
                    </a:cubicBezTo>
                    <a:cubicBezTo>
                      <a:pt x="288" y="1064"/>
                      <a:pt x="288" y="1064"/>
                      <a:pt x="288" y="1064"/>
                    </a:cubicBezTo>
                    <a:cubicBezTo>
                      <a:pt x="288" y="1072"/>
                      <a:pt x="288" y="1072"/>
                      <a:pt x="288" y="1072"/>
                    </a:cubicBezTo>
                    <a:cubicBezTo>
                      <a:pt x="288" y="1072"/>
                      <a:pt x="309" y="1082"/>
                      <a:pt x="310" y="1087"/>
                    </a:cubicBezTo>
                    <a:cubicBezTo>
                      <a:pt x="311" y="1092"/>
                      <a:pt x="298" y="1094"/>
                      <a:pt x="298" y="1094"/>
                    </a:cubicBezTo>
                    <a:cubicBezTo>
                      <a:pt x="297" y="1103"/>
                      <a:pt x="297" y="1103"/>
                      <a:pt x="297" y="1103"/>
                    </a:cubicBezTo>
                    <a:cubicBezTo>
                      <a:pt x="310" y="1107"/>
                      <a:pt x="310" y="1107"/>
                      <a:pt x="310" y="1107"/>
                    </a:cubicBezTo>
                    <a:cubicBezTo>
                      <a:pt x="310" y="1107"/>
                      <a:pt x="315" y="1118"/>
                      <a:pt x="322" y="1124"/>
                    </a:cubicBezTo>
                    <a:cubicBezTo>
                      <a:pt x="328" y="1129"/>
                      <a:pt x="328" y="1139"/>
                      <a:pt x="328" y="1143"/>
                    </a:cubicBezTo>
                    <a:cubicBezTo>
                      <a:pt x="332" y="1144"/>
                      <a:pt x="336" y="1144"/>
                      <a:pt x="339" y="1145"/>
                    </a:cubicBezTo>
                    <a:cubicBezTo>
                      <a:pt x="347" y="1146"/>
                      <a:pt x="348" y="1153"/>
                      <a:pt x="348" y="1153"/>
                    </a:cubicBezTo>
                    <a:cubicBezTo>
                      <a:pt x="354" y="1147"/>
                      <a:pt x="354" y="1147"/>
                      <a:pt x="354" y="1147"/>
                    </a:cubicBezTo>
                    <a:cubicBezTo>
                      <a:pt x="380" y="1153"/>
                      <a:pt x="380" y="1153"/>
                      <a:pt x="380" y="1153"/>
                    </a:cubicBezTo>
                    <a:cubicBezTo>
                      <a:pt x="382" y="1163"/>
                      <a:pt x="382" y="1163"/>
                      <a:pt x="382" y="1163"/>
                    </a:cubicBezTo>
                    <a:cubicBezTo>
                      <a:pt x="404" y="1151"/>
                      <a:pt x="404" y="1151"/>
                      <a:pt x="404" y="1151"/>
                    </a:cubicBezTo>
                    <a:cubicBezTo>
                      <a:pt x="404" y="1151"/>
                      <a:pt x="426" y="1162"/>
                      <a:pt x="437" y="1167"/>
                    </a:cubicBezTo>
                    <a:cubicBezTo>
                      <a:pt x="448" y="1172"/>
                      <a:pt x="434" y="1186"/>
                      <a:pt x="434" y="1186"/>
                    </a:cubicBezTo>
                    <a:cubicBezTo>
                      <a:pt x="442" y="1196"/>
                      <a:pt x="442" y="1196"/>
                      <a:pt x="442" y="1196"/>
                    </a:cubicBezTo>
                    <a:cubicBezTo>
                      <a:pt x="438" y="1208"/>
                      <a:pt x="438" y="1208"/>
                      <a:pt x="438" y="1208"/>
                    </a:cubicBezTo>
                    <a:cubicBezTo>
                      <a:pt x="438" y="1208"/>
                      <a:pt x="443" y="1213"/>
                      <a:pt x="451" y="1215"/>
                    </a:cubicBezTo>
                    <a:cubicBezTo>
                      <a:pt x="459" y="1217"/>
                      <a:pt x="462" y="1238"/>
                      <a:pt x="462" y="1238"/>
                    </a:cubicBezTo>
                    <a:cubicBezTo>
                      <a:pt x="482" y="1245"/>
                      <a:pt x="482" y="1245"/>
                      <a:pt x="482" y="1245"/>
                    </a:cubicBezTo>
                    <a:cubicBezTo>
                      <a:pt x="484" y="1260"/>
                      <a:pt x="484" y="1260"/>
                      <a:pt x="484" y="1260"/>
                    </a:cubicBezTo>
                    <a:cubicBezTo>
                      <a:pt x="484" y="1260"/>
                      <a:pt x="494" y="1258"/>
                      <a:pt x="507" y="1261"/>
                    </a:cubicBezTo>
                    <a:cubicBezTo>
                      <a:pt x="520" y="1264"/>
                      <a:pt x="512" y="1273"/>
                      <a:pt x="512" y="1273"/>
                    </a:cubicBezTo>
                    <a:cubicBezTo>
                      <a:pt x="526" y="1281"/>
                      <a:pt x="526" y="1281"/>
                      <a:pt x="526" y="1281"/>
                    </a:cubicBezTo>
                    <a:cubicBezTo>
                      <a:pt x="526" y="1281"/>
                      <a:pt x="517" y="1290"/>
                      <a:pt x="509" y="1297"/>
                    </a:cubicBezTo>
                    <a:cubicBezTo>
                      <a:pt x="501" y="1304"/>
                      <a:pt x="488" y="1296"/>
                      <a:pt x="488" y="1296"/>
                    </a:cubicBezTo>
                    <a:cubicBezTo>
                      <a:pt x="488" y="1296"/>
                      <a:pt x="486" y="1290"/>
                      <a:pt x="472" y="1293"/>
                    </a:cubicBezTo>
                    <a:cubicBezTo>
                      <a:pt x="458" y="1296"/>
                      <a:pt x="485" y="1318"/>
                      <a:pt x="485" y="1318"/>
                    </a:cubicBezTo>
                    <a:cubicBezTo>
                      <a:pt x="485" y="1318"/>
                      <a:pt x="485" y="1332"/>
                      <a:pt x="488" y="1333"/>
                    </a:cubicBezTo>
                    <a:cubicBezTo>
                      <a:pt x="490" y="1333"/>
                      <a:pt x="490" y="1343"/>
                      <a:pt x="491" y="1351"/>
                    </a:cubicBezTo>
                    <a:cubicBezTo>
                      <a:pt x="486" y="1351"/>
                      <a:pt x="481" y="1350"/>
                      <a:pt x="477" y="1349"/>
                    </a:cubicBezTo>
                    <a:cubicBezTo>
                      <a:pt x="490" y="1351"/>
                      <a:pt x="510" y="1355"/>
                      <a:pt x="516" y="1352"/>
                    </a:cubicBezTo>
                    <a:cubicBezTo>
                      <a:pt x="524" y="1348"/>
                      <a:pt x="520" y="1339"/>
                      <a:pt x="520" y="1339"/>
                    </a:cubicBezTo>
                    <a:cubicBezTo>
                      <a:pt x="538" y="1342"/>
                      <a:pt x="538" y="1342"/>
                      <a:pt x="538" y="1342"/>
                    </a:cubicBezTo>
                    <a:cubicBezTo>
                      <a:pt x="549" y="1337"/>
                      <a:pt x="549" y="1337"/>
                      <a:pt x="549" y="1337"/>
                    </a:cubicBezTo>
                    <a:cubicBezTo>
                      <a:pt x="579" y="1336"/>
                      <a:pt x="579" y="1336"/>
                      <a:pt x="579" y="1336"/>
                    </a:cubicBezTo>
                    <a:cubicBezTo>
                      <a:pt x="585" y="1350"/>
                      <a:pt x="585" y="1350"/>
                      <a:pt x="585" y="1350"/>
                    </a:cubicBezTo>
                    <a:cubicBezTo>
                      <a:pt x="585" y="1350"/>
                      <a:pt x="606" y="1356"/>
                      <a:pt x="604" y="1362"/>
                    </a:cubicBezTo>
                    <a:cubicBezTo>
                      <a:pt x="602" y="1368"/>
                      <a:pt x="594" y="1369"/>
                      <a:pt x="594" y="1369"/>
                    </a:cubicBezTo>
                    <a:cubicBezTo>
                      <a:pt x="599" y="1381"/>
                      <a:pt x="599" y="1381"/>
                      <a:pt x="599" y="1381"/>
                    </a:cubicBezTo>
                    <a:cubicBezTo>
                      <a:pt x="600" y="1392"/>
                      <a:pt x="600" y="1392"/>
                      <a:pt x="600" y="1392"/>
                    </a:cubicBezTo>
                    <a:cubicBezTo>
                      <a:pt x="623" y="1394"/>
                      <a:pt x="623" y="1394"/>
                      <a:pt x="623" y="1394"/>
                    </a:cubicBezTo>
                    <a:cubicBezTo>
                      <a:pt x="651" y="1406"/>
                      <a:pt x="651" y="1406"/>
                      <a:pt x="651" y="1406"/>
                    </a:cubicBezTo>
                    <a:cubicBezTo>
                      <a:pt x="658" y="1435"/>
                      <a:pt x="658" y="1435"/>
                      <a:pt x="658" y="1435"/>
                    </a:cubicBezTo>
                    <a:cubicBezTo>
                      <a:pt x="662" y="1438"/>
                      <a:pt x="662" y="1438"/>
                      <a:pt x="662" y="1438"/>
                    </a:cubicBezTo>
                    <a:cubicBezTo>
                      <a:pt x="680" y="1434"/>
                      <a:pt x="680" y="1434"/>
                      <a:pt x="680" y="1434"/>
                    </a:cubicBezTo>
                    <a:cubicBezTo>
                      <a:pt x="680" y="1434"/>
                      <a:pt x="688" y="1438"/>
                      <a:pt x="696" y="1442"/>
                    </a:cubicBezTo>
                    <a:cubicBezTo>
                      <a:pt x="704" y="1446"/>
                      <a:pt x="702" y="1441"/>
                      <a:pt x="713" y="1440"/>
                    </a:cubicBezTo>
                    <a:cubicBezTo>
                      <a:pt x="724" y="1439"/>
                      <a:pt x="733" y="1445"/>
                      <a:pt x="733" y="1445"/>
                    </a:cubicBezTo>
                    <a:cubicBezTo>
                      <a:pt x="733" y="1445"/>
                      <a:pt x="729" y="1435"/>
                      <a:pt x="738" y="1436"/>
                    </a:cubicBezTo>
                    <a:cubicBezTo>
                      <a:pt x="747" y="1437"/>
                      <a:pt x="749" y="1448"/>
                      <a:pt x="755" y="1452"/>
                    </a:cubicBezTo>
                    <a:cubicBezTo>
                      <a:pt x="761" y="1456"/>
                      <a:pt x="764" y="1461"/>
                      <a:pt x="764" y="1461"/>
                    </a:cubicBezTo>
                    <a:cubicBezTo>
                      <a:pt x="764" y="1461"/>
                      <a:pt x="776" y="1455"/>
                      <a:pt x="780" y="1455"/>
                    </a:cubicBezTo>
                    <a:cubicBezTo>
                      <a:pt x="784" y="1455"/>
                      <a:pt x="797" y="1464"/>
                      <a:pt x="797" y="1464"/>
                    </a:cubicBezTo>
                    <a:cubicBezTo>
                      <a:pt x="797" y="1464"/>
                      <a:pt x="811" y="1462"/>
                      <a:pt x="818" y="1464"/>
                    </a:cubicBezTo>
                    <a:cubicBezTo>
                      <a:pt x="825" y="1466"/>
                      <a:pt x="827" y="1472"/>
                      <a:pt x="827" y="1472"/>
                    </a:cubicBezTo>
                    <a:cubicBezTo>
                      <a:pt x="840" y="1481"/>
                      <a:pt x="840" y="1481"/>
                      <a:pt x="840" y="1481"/>
                    </a:cubicBezTo>
                    <a:cubicBezTo>
                      <a:pt x="840" y="1481"/>
                      <a:pt x="857" y="1475"/>
                      <a:pt x="858" y="1485"/>
                    </a:cubicBezTo>
                    <a:cubicBezTo>
                      <a:pt x="859" y="1495"/>
                      <a:pt x="860" y="1502"/>
                      <a:pt x="860" y="1502"/>
                    </a:cubicBezTo>
                    <a:cubicBezTo>
                      <a:pt x="846" y="1509"/>
                      <a:pt x="846" y="1509"/>
                      <a:pt x="846" y="1509"/>
                    </a:cubicBezTo>
                    <a:cubicBezTo>
                      <a:pt x="846" y="1509"/>
                      <a:pt x="863" y="1512"/>
                      <a:pt x="862" y="1518"/>
                    </a:cubicBezTo>
                    <a:cubicBezTo>
                      <a:pt x="861" y="1524"/>
                      <a:pt x="844" y="1522"/>
                      <a:pt x="845" y="1525"/>
                    </a:cubicBezTo>
                    <a:cubicBezTo>
                      <a:pt x="846" y="1528"/>
                      <a:pt x="858" y="1536"/>
                      <a:pt x="859" y="1542"/>
                    </a:cubicBezTo>
                    <a:cubicBezTo>
                      <a:pt x="860" y="1548"/>
                      <a:pt x="868" y="1561"/>
                      <a:pt x="856" y="1565"/>
                    </a:cubicBezTo>
                    <a:cubicBezTo>
                      <a:pt x="844" y="1569"/>
                      <a:pt x="821" y="1567"/>
                      <a:pt x="821" y="1567"/>
                    </a:cubicBezTo>
                    <a:cubicBezTo>
                      <a:pt x="821" y="1567"/>
                      <a:pt x="813" y="1576"/>
                      <a:pt x="810" y="1580"/>
                    </a:cubicBezTo>
                    <a:cubicBezTo>
                      <a:pt x="807" y="1584"/>
                      <a:pt x="794" y="1584"/>
                      <a:pt x="794" y="1584"/>
                    </a:cubicBezTo>
                    <a:cubicBezTo>
                      <a:pt x="797" y="1609"/>
                      <a:pt x="797" y="1609"/>
                      <a:pt x="797" y="1609"/>
                    </a:cubicBezTo>
                    <a:cubicBezTo>
                      <a:pt x="796" y="1610"/>
                      <a:pt x="795" y="1610"/>
                      <a:pt x="795" y="1610"/>
                    </a:cubicBezTo>
                    <a:cubicBezTo>
                      <a:pt x="796" y="1610"/>
                      <a:pt x="797" y="1609"/>
                      <a:pt x="799" y="1609"/>
                    </a:cubicBezTo>
                    <a:cubicBezTo>
                      <a:pt x="810" y="1603"/>
                      <a:pt x="839" y="1594"/>
                      <a:pt x="840" y="1603"/>
                    </a:cubicBezTo>
                    <a:cubicBezTo>
                      <a:pt x="841" y="1611"/>
                      <a:pt x="819" y="1627"/>
                      <a:pt x="819" y="1627"/>
                    </a:cubicBezTo>
                    <a:cubicBezTo>
                      <a:pt x="786" y="1637"/>
                      <a:pt x="786" y="1637"/>
                      <a:pt x="786" y="1637"/>
                    </a:cubicBezTo>
                    <a:cubicBezTo>
                      <a:pt x="816" y="1660"/>
                      <a:pt x="816" y="1660"/>
                      <a:pt x="816" y="1660"/>
                    </a:cubicBezTo>
                    <a:cubicBezTo>
                      <a:pt x="816" y="1660"/>
                      <a:pt x="792" y="1665"/>
                      <a:pt x="791" y="1675"/>
                    </a:cubicBezTo>
                    <a:cubicBezTo>
                      <a:pt x="790" y="1685"/>
                      <a:pt x="790" y="1696"/>
                      <a:pt x="790" y="1696"/>
                    </a:cubicBezTo>
                    <a:cubicBezTo>
                      <a:pt x="790" y="1696"/>
                      <a:pt x="777" y="1705"/>
                      <a:pt x="772" y="1705"/>
                    </a:cubicBezTo>
                    <a:cubicBezTo>
                      <a:pt x="767" y="1705"/>
                      <a:pt x="752" y="1694"/>
                      <a:pt x="752" y="1694"/>
                    </a:cubicBezTo>
                    <a:cubicBezTo>
                      <a:pt x="748" y="1705"/>
                      <a:pt x="748" y="1705"/>
                      <a:pt x="748" y="1705"/>
                    </a:cubicBezTo>
                    <a:cubicBezTo>
                      <a:pt x="748" y="1705"/>
                      <a:pt x="760" y="1718"/>
                      <a:pt x="763" y="1718"/>
                    </a:cubicBezTo>
                    <a:cubicBezTo>
                      <a:pt x="766" y="1718"/>
                      <a:pt x="775" y="1737"/>
                      <a:pt x="775" y="1737"/>
                    </a:cubicBezTo>
                    <a:cubicBezTo>
                      <a:pt x="800" y="1735"/>
                      <a:pt x="800" y="1735"/>
                      <a:pt x="800" y="1735"/>
                    </a:cubicBezTo>
                    <a:cubicBezTo>
                      <a:pt x="800" y="1735"/>
                      <a:pt x="818" y="1754"/>
                      <a:pt x="824" y="1754"/>
                    </a:cubicBezTo>
                    <a:cubicBezTo>
                      <a:pt x="830" y="1754"/>
                      <a:pt x="842" y="1755"/>
                      <a:pt x="842" y="1755"/>
                    </a:cubicBezTo>
                    <a:cubicBezTo>
                      <a:pt x="842" y="1755"/>
                      <a:pt x="873" y="1792"/>
                      <a:pt x="881" y="1795"/>
                    </a:cubicBezTo>
                    <a:cubicBezTo>
                      <a:pt x="889" y="1798"/>
                      <a:pt x="905" y="1805"/>
                      <a:pt x="905" y="1805"/>
                    </a:cubicBezTo>
                    <a:cubicBezTo>
                      <a:pt x="905" y="1805"/>
                      <a:pt x="904" y="1805"/>
                      <a:pt x="901" y="1804"/>
                    </a:cubicBezTo>
                    <a:cubicBezTo>
                      <a:pt x="914" y="1793"/>
                      <a:pt x="914" y="1793"/>
                      <a:pt x="914" y="1793"/>
                    </a:cubicBezTo>
                    <a:cubicBezTo>
                      <a:pt x="914" y="1793"/>
                      <a:pt x="939" y="1796"/>
                      <a:pt x="955" y="1803"/>
                    </a:cubicBezTo>
                    <a:cubicBezTo>
                      <a:pt x="971" y="1810"/>
                      <a:pt x="983" y="1812"/>
                      <a:pt x="996" y="1811"/>
                    </a:cubicBezTo>
                    <a:cubicBezTo>
                      <a:pt x="1009" y="1810"/>
                      <a:pt x="1029" y="1815"/>
                      <a:pt x="1029" y="1815"/>
                    </a:cubicBezTo>
                    <a:cubicBezTo>
                      <a:pt x="1061" y="1835"/>
                      <a:pt x="1061" y="1835"/>
                      <a:pt x="1061" y="1835"/>
                    </a:cubicBezTo>
                    <a:cubicBezTo>
                      <a:pt x="1061" y="1835"/>
                      <a:pt x="1061" y="1846"/>
                      <a:pt x="1080" y="1846"/>
                    </a:cubicBezTo>
                    <a:cubicBezTo>
                      <a:pt x="1099" y="1846"/>
                      <a:pt x="1091" y="1837"/>
                      <a:pt x="1109" y="1835"/>
                    </a:cubicBezTo>
                    <a:cubicBezTo>
                      <a:pt x="1127" y="1833"/>
                      <a:pt x="1137" y="1848"/>
                      <a:pt x="1137" y="1848"/>
                    </a:cubicBezTo>
                    <a:cubicBezTo>
                      <a:pt x="1157" y="1851"/>
                      <a:pt x="1157" y="1851"/>
                      <a:pt x="1157" y="1851"/>
                    </a:cubicBezTo>
                    <a:cubicBezTo>
                      <a:pt x="1157" y="1851"/>
                      <a:pt x="1152" y="1869"/>
                      <a:pt x="1152" y="1868"/>
                    </a:cubicBezTo>
                    <a:cubicBezTo>
                      <a:pt x="1169" y="1869"/>
                      <a:pt x="1180" y="1879"/>
                      <a:pt x="1187" y="1886"/>
                    </a:cubicBezTo>
                    <a:cubicBezTo>
                      <a:pt x="1187" y="1886"/>
                      <a:pt x="1187" y="1886"/>
                      <a:pt x="1187" y="1886"/>
                    </a:cubicBezTo>
                    <a:cubicBezTo>
                      <a:pt x="1194" y="1885"/>
                      <a:pt x="1205" y="1886"/>
                      <a:pt x="1214" y="1892"/>
                    </a:cubicBezTo>
                    <a:cubicBezTo>
                      <a:pt x="1227" y="1901"/>
                      <a:pt x="1236" y="1923"/>
                      <a:pt x="1252" y="1921"/>
                    </a:cubicBezTo>
                    <a:cubicBezTo>
                      <a:pt x="1268" y="1919"/>
                      <a:pt x="1262" y="1907"/>
                      <a:pt x="1262" y="1907"/>
                    </a:cubicBezTo>
                    <a:cubicBezTo>
                      <a:pt x="1262" y="1907"/>
                      <a:pt x="1278" y="1910"/>
                      <a:pt x="1279" y="1903"/>
                    </a:cubicBezTo>
                    <a:cubicBezTo>
                      <a:pt x="1280" y="1896"/>
                      <a:pt x="1281" y="1885"/>
                      <a:pt x="1281" y="1885"/>
                    </a:cubicBezTo>
                    <a:cubicBezTo>
                      <a:pt x="1274" y="1882"/>
                      <a:pt x="1274" y="1882"/>
                      <a:pt x="1274" y="1882"/>
                    </a:cubicBezTo>
                    <a:cubicBezTo>
                      <a:pt x="1274" y="1882"/>
                      <a:pt x="1269" y="1868"/>
                      <a:pt x="1264" y="1860"/>
                    </a:cubicBezTo>
                    <a:cubicBezTo>
                      <a:pt x="1259" y="1852"/>
                      <a:pt x="1240" y="1848"/>
                      <a:pt x="1240" y="1848"/>
                    </a:cubicBezTo>
                    <a:cubicBezTo>
                      <a:pt x="1240" y="1833"/>
                      <a:pt x="1240" y="1833"/>
                      <a:pt x="1240" y="1833"/>
                    </a:cubicBezTo>
                    <a:cubicBezTo>
                      <a:pt x="1240" y="1833"/>
                      <a:pt x="1232" y="1829"/>
                      <a:pt x="1223" y="1818"/>
                    </a:cubicBezTo>
                    <a:cubicBezTo>
                      <a:pt x="1214" y="1807"/>
                      <a:pt x="1226" y="1793"/>
                      <a:pt x="1221" y="1780"/>
                    </a:cubicBezTo>
                    <a:cubicBezTo>
                      <a:pt x="1216" y="1767"/>
                      <a:pt x="1195" y="1753"/>
                      <a:pt x="1195" y="1753"/>
                    </a:cubicBezTo>
                    <a:cubicBezTo>
                      <a:pt x="1195" y="1753"/>
                      <a:pt x="1186" y="1752"/>
                      <a:pt x="1177" y="1747"/>
                    </a:cubicBezTo>
                    <a:cubicBezTo>
                      <a:pt x="1168" y="1742"/>
                      <a:pt x="1190" y="1721"/>
                      <a:pt x="1190" y="1721"/>
                    </a:cubicBezTo>
                    <a:cubicBezTo>
                      <a:pt x="1190" y="1721"/>
                      <a:pt x="1205" y="1708"/>
                      <a:pt x="1208" y="1701"/>
                    </a:cubicBezTo>
                    <a:cubicBezTo>
                      <a:pt x="1211" y="1694"/>
                      <a:pt x="1197" y="1679"/>
                      <a:pt x="1197" y="1679"/>
                    </a:cubicBezTo>
                    <a:cubicBezTo>
                      <a:pt x="1197" y="1679"/>
                      <a:pt x="1211" y="1685"/>
                      <a:pt x="1214" y="1685"/>
                    </a:cubicBezTo>
                    <a:cubicBezTo>
                      <a:pt x="1217" y="1685"/>
                      <a:pt x="1229" y="1684"/>
                      <a:pt x="1232" y="1678"/>
                    </a:cubicBezTo>
                    <a:cubicBezTo>
                      <a:pt x="1235" y="1672"/>
                      <a:pt x="1238" y="1678"/>
                      <a:pt x="1250" y="1676"/>
                    </a:cubicBezTo>
                    <a:cubicBezTo>
                      <a:pt x="1262" y="1674"/>
                      <a:pt x="1245" y="1661"/>
                      <a:pt x="1245" y="1661"/>
                    </a:cubicBezTo>
                    <a:cubicBezTo>
                      <a:pt x="1245" y="1661"/>
                      <a:pt x="1261" y="1662"/>
                      <a:pt x="1264" y="1662"/>
                    </a:cubicBezTo>
                    <a:cubicBezTo>
                      <a:pt x="1266" y="1662"/>
                      <a:pt x="1265" y="1652"/>
                      <a:pt x="1264" y="1649"/>
                    </a:cubicBezTo>
                    <a:cubicBezTo>
                      <a:pt x="1257" y="1647"/>
                      <a:pt x="1231" y="1638"/>
                      <a:pt x="1231" y="1631"/>
                    </a:cubicBezTo>
                    <a:cubicBezTo>
                      <a:pt x="1231" y="1623"/>
                      <a:pt x="1254" y="1632"/>
                      <a:pt x="1254" y="1624"/>
                    </a:cubicBezTo>
                    <a:cubicBezTo>
                      <a:pt x="1254" y="1616"/>
                      <a:pt x="1215" y="1576"/>
                      <a:pt x="1210" y="1574"/>
                    </a:cubicBezTo>
                    <a:cubicBezTo>
                      <a:pt x="1205" y="1571"/>
                      <a:pt x="1181" y="1580"/>
                      <a:pt x="1169" y="1575"/>
                    </a:cubicBezTo>
                    <a:cubicBezTo>
                      <a:pt x="1157" y="1570"/>
                      <a:pt x="1171" y="1555"/>
                      <a:pt x="1159" y="1550"/>
                    </a:cubicBezTo>
                    <a:cubicBezTo>
                      <a:pt x="1147" y="1544"/>
                      <a:pt x="1137" y="1554"/>
                      <a:pt x="1137" y="1538"/>
                    </a:cubicBezTo>
                    <a:cubicBezTo>
                      <a:pt x="1137" y="1522"/>
                      <a:pt x="1145" y="1510"/>
                      <a:pt x="1145" y="1502"/>
                    </a:cubicBezTo>
                    <a:cubicBezTo>
                      <a:pt x="1145" y="1494"/>
                      <a:pt x="1139" y="1488"/>
                      <a:pt x="1139" y="1488"/>
                    </a:cubicBezTo>
                    <a:cubicBezTo>
                      <a:pt x="1137" y="1464"/>
                      <a:pt x="1137" y="1464"/>
                      <a:pt x="1137" y="1464"/>
                    </a:cubicBezTo>
                    <a:cubicBezTo>
                      <a:pt x="1137" y="1464"/>
                      <a:pt x="1150" y="1467"/>
                      <a:pt x="1150" y="1459"/>
                    </a:cubicBezTo>
                    <a:cubicBezTo>
                      <a:pt x="1150" y="1451"/>
                      <a:pt x="1142" y="1432"/>
                      <a:pt x="1154" y="1431"/>
                    </a:cubicBezTo>
                    <a:cubicBezTo>
                      <a:pt x="1166" y="1430"/>
                      <a:pt x="1194" y="1472"/>
                      <a:pt x="1209" y="1458"/>
                    </a:cubicBezTo>
                    <a:cubicBezTo>
                      <a:pt x="1223" y="1443"/>
                      <a:pt x="1205" y="1428"/>
                      <a:pt x="1205" y="1428"/>
                    </a:cubicBezTo>
                    <a:cubicBezTo>
                      <a:pt x="1223" y="1419"/>
                      <a:pt x="1223" y="1419"/>
                      <a:pt x="1223" y="1419"/>
                    </a:cubicBezTo>
                    <a:cubicBezTo>
                      <a:pt x="1223" y="1404"/>
                      <a:pt x="1223" y="1404"/>
                      <a:pt x="1223" y="1404"/>
                    </a:cubicBezTo>
                    <a:cubicBezTo>
                      <a:pt x="1223" y="1404"/>
                      <a:pt x="1251" y="1399"/>
                      <a:pt x="1259" y="1388"/>
                    </a:cubicBezTo>
                    <a:cubicBezTo>
                      <a:pt x="1267" y="1378"/>
                      <a:pt x="1245" y="1370"/>
                      <a:pt x="1267" y="1368"/>
                    </a:cubicBezTo>
                    <a:cubicBezTo>
                      <a:pt x="1290" y="1367"/>
                      <a:pt x="1282" y="1380"/>
                      <a:pt x="1298" y="1380"/>
                    </a:cubicBezTo>
                    <a:cubicBezTo>
                      <a:pt x="1314" y="1380"/>
                      <a:pt x="1327" y="1367"/>
                      <a:pt x="1334" y="1367"/>
                    </a:cubicBezTo>
                    <a:cubicBezTo>
                      <a:pt x="1341" y="1367"/>
                      <a:pt x="1342" y="1380"/>
                      <a:pt x="1351" y="1382"/>
                    </a:cubicBezTo>
                    <a:cubicBezTo>
                      <a:pt x="1361" y="1383"/>
                      <a:pt x="1385" y="1378"/>
                      <a:pt x="1389" y="1382"/>
                    </a:cubicBezTo>
                    <a:cubicBezTo>
                      <a:pt x="1393" y="1386"/>
                      <a:pt x="1395" y="1398"/>
                      <a:pt x="1395" y="1398"/>
                    </a:cubicBezTo>
                    <a:cubicBezTo>
                      <a:pt x="1419" y="1396"/>
                      <a:pt x="1419" y="1396"/>
                      <a:pt x="1419" y="1396"/>
                    </a:cubicBezTo>
                    <a:cubicBezTo>
                      <a:pt x="1426" y="1416"/>
                      <a:pt x="1426" y="1416"/>
                      <a:pt x="1426" y="1416"/>
                    </a:cubicBezTo>
                    <a:cubicBezTo>
                      <a:pt x="1426" y="1416"/>
                      <a:pt x="1434" y="1436"/>
                      <a:pt x="1442" y="1430"/>
                    </a:cubicBezTo>
                    <a:cubicBezTo>
                      <a:pt x="1450" y="1423"/>
                      <a:pt x="1427" y="1406"/>
                      <a:pt x="1438" y="1403"/>
                    </a:cubicBezTo>
                    <a:cubicBezTo>
                      <a:pt x="1449" y="1400"/>
                      <a:pt x="1490" y="1431"/>
                      <a:pt x="1493" y="1427"/>
                    </a:cubicBezTo>
                    <a:cubicBezTo>
                      <a:pt x="1495" y="1423"/>
                      <a:pt x="1513" y="1403"/>
                      <a:pt x="1522" y="1402"/>
                    </a:cubicBezTo>
                    <a:cubicBezTo>
                      <a:pt x="1531" y="1400"/>
                      <a:pt x="1542" y="1416"/>
                      <a:pt x="1558" y="1412"/>
                    </a:cubicBezTo>
                    <a:cubicBezTo>
                      <a:pt x="1574" y="1408"/>
                      <a:pt x="1585" y="1399"/>
                      <a:pt x="1593" y="1400"/>
                    </a:cubicBezTo>
                    <a:cubicBezTo>
                      <a:pt x="1601" y="1402"/>
                      <a:pt x="1613" y="1423"/>
                      <a:pt x="1623" y="1424"/>
                    </a:cubicBezTo>
                    <a:cubicBezTo>
                      <a:pt x="1634" y="1426"/>
                      <a:pt x="1657" y="1430"/>
                      <a:pt x="1657" y="1430"/>
                    </a:cubicBezTo>
                    <a:cubicBezTo>
                      <a:pt x="1663" y="1414"/>
                      <a:pt x="1663" y="1414"/>
                      <a:pt x="1663" y="1414"/>
                    </a:cubicBezTo>
                    <a:cubicBezTo>
                      <a:pt x="1663" y="1414"/>
                      <a:pt x="1723" y="1444"/>
                      <a:pt x="1719" y="1406"/>
                    </a:cubicBezTo>
                    <a:cubicBezTo>
                      <a:pt x="1715" y="1367"/>
                      <a:pt x="1665" y="1370"/>
                      <a:pt x="1665" y="1370"/>
                    </a:cubicBezTo>
                    <a:cubicBezTo>
                      <a:pt x="1642" y="1350"/>
                      <a:pt x="1642" y="1350"/>
                      <a:pt x="1642" y="1350"/>
                    </a:cubicBezTo>
                    <a:cubicBezTo>
                      <a:pt x="1642" y="1350"/>
                      <a:pt x="1675" y="1344"/>
                      <a:pt x="1677" y="1338"/>
                    </a:cubicBezTo>
                    <a:cubicBezTo>
                      <a:pt x="1678" y="1331"/>
                      <a:pt x="1665" y="1314"/>
                      <a:pt x="1665" y="1314"/>
                    </a:cubicBezTo>
                    <a:cubicBezTo>
                      <a:pt x="1671" y="1303"/>
                      <a:pt x="1671" y="1303"/>
                      <a:pt x="1671" y="1303"/>
                    </a:cubicBezTo>
                    <a:cubicBezTo>
                      <a:pt x="1671" y="1303"/>
                      <a:pt x="1709" y="1310"/>
                      <a:pt x="1709" y="1303"/>
                    </a:cubicBezTo>
                    <a:cubicBezTo>
                      <a:pt x="1709" y="1296"/>
                      <a:pt x="1666" y="1288"/>
                      <a:pt x="1666" y="1288"/>
                    </a:cubicBezTo>
                    <a:cubicBezTo>
                      <a:pt x="1677" y="1276"/>
                      <a:pt x="1677" y="1276"/>
                      <a:pt x="1677" y="1276"/>
                    </a:cubicBezTo>
                    <a:cubicBezTo>
                      <a:pt x="1658" y="1275"/>
                      <a:pt x="1658" y="1275"/>
                      <a:pt x="1658" y="1275"/>
                    </a:cubicBezTo>
                    <a:cubicBezTo>
                      <a:pt x="1658" y="1275"/>
                      <a:pt x="1642" y="1256"/>
                      <a:pt x="1687" y="1250"/>
                    </a:cubicBezTo>
                    <a:cubicBezTo>
                      <a:pt x="1733" y="1243"/>
                      <a:pt x="1765" y="1244"/>
                      <a:pt x="1765" y="1244"/>
                    </a:cubicBezTo>
                    <a:cubicBezTo>
                      <a:pt x="1769" y="1232"/>
                      <a:pt x="1769" y="1232"/>
                      <a:pt x="1769" y="1232"/>
                    </a:cubicBezTo>
                    <a:cubicBezTo>
                      <a:pt x="1811" y="1232"/>
                      <a:pt x="1811" y="1232"/>
                      <a:pt x="1811" y="1232"/>
                    </a:cubicBezTo>
                    <a:cubicBezTo>
                      <a:pt x="1811" y="1232"/>
                      <a:pt x="1811" y="1216"/>
                      <a:pt x="1819" y="1216"/>
                    </a:cubicBezTo>
                    <a:cubicBezTo>
                      <a:pt x="1827" y="1216"/>
                      <a:pt x="1855" y="1220"/>
                      <a:pt x="1877" y="1215"/>
                    </a:cubicBezTo>
                    <a:cubicBezTo>
                      <a:pt x="1898" y="1210"/>
                      <a:pt x="1918" y="1203"/>
                      <a:pt x="1918" y="1203"/>
                    </a:cubicBezTo>
                    <a:cubicBezTo>
                      <a:pt x="1918" y="1203"/>
                      <a:pt x="1915" y="1183"/>
                      <a:pt x="1949" y="1182"/>
                    </a:cubicBezTo>
                    <a:cubicBezTo>
                      <a:pt x="1982" y="1180"/>
                      <a:pt x="1995" y="1191"/>
                      <a:pt x="2001" y="1191"/>
                    </a:cubicBezTo>
                    <a:cubicBezTo>
                      <a:pt x="2006" y="1191"/>
                      <a:pt x="2013" y="1182"/>
                      <a:pt x="2021" y="1187"/>
                    </a:cubicBezTo>
                    <a:cubicBezTo>
                      <a:pt x="2029" y="1192"/>
                      <a:pt x="2034" y="1210"/>
                      <a:pt x="2034" y="1210"/>
                    </a:cubicBezTo>
                    <a:cubicBezTo>
                      <a:pt x="2034" y="1210"/>
                      <a:pt x="2046" y="1210"/>
                      <a:pt x="2046" y="1216"/>
                    </a:cubicBezTo>
                    <a:cubicBezTo>
                      <a:pt x="2046" y="1223"/>
                      <a:pt x="2045" y="1244"/>
                      <a:pt x="2050" y="1244"/>
                    </a:cubicBezTo>
                    <a:cubicBezTo>
                      <a:pt x="2055" y="1244"/>
                      <a:pt x="2083" y="1240"/>
                      <a:pt x="2083" y="1240"/>
                    </a:cubicBezTo>
                    <a:cubicBezTo>
                      <a:pt x="2090" y="1230"/>
                      <a:pt x="2090" y="1230"/>
                      <a:pt x="2090" y="1230"/>
                    </a:cubicBezTo>
                    <a:cubicBezTo>
                      <a:pt x="2109" y="1251"/>
                      <a:pt x="2109" y="1251"/>
                      <a:pt x="2109" y="1251"/>
                    </a:cubicBezTo>
                    <a:cubicBezTo>
                      <a:pt x="2122" y="1243"/>
                      <a:pt x="2122" y="1243"/>
                      <a:pt x="2122" y="1243"/>
                    </a:cubicBezTo>
                    <a:cubicBezTo>
                      <a:pt x="2139" y="1254"/>
                      <a:pt x="2139" y="1254"/>
                      <a:pt x="2139" y="1254"/>
                    </a:cubicBezTo>
                    <a:cubicBezTo>
                      <a:pt x="2139" y="1254"/>
                      <a:pt x="2145" y="1242"/>
                      <a:pt x="2154" y="1251"/>
                    </a:cubicBezTo>
                    <a:cubicBezTo>
                      <a:pt x="2163" y="1260"/>
                      <a:pt x="2142" y="1276"/>
                      <a:pt x="2153" y="1278"/>
                    </a:cubicBezTo>
                    <a:cubicBezTo>
                      <a:pt x="2163" y="1279"/>
                      <a:pt x="2165" y="1266"/>
                      <a:pt x="2171" y="1268"/>
                    </a:cubicBezTo>
                    <a:cubicBezTo>
                      <a:pt x="2178" y="1271"/>
                      <a:pt x="2193" y="1287"/>
                      <a:pt x="2201" y="1280"/>
                    </a:cubicBezTo>
                    <a:cubicBezTo>
                      <a:pt x="2209" y="1274"/>
                      <a:pt x="2201" y="1266"/>
                      <a:pt x="2207" y="1262"/>
                    </a:cubicBezTo>
                    <a:cubicBezTo>
                      <a:pt x="2214" y="1258"/>
                      <a:pt x="2222" y="1256"/>
                      <a:pt x="2222" y="1256"/>
                    </a:cubicBezTo>
                    <a:cubicBezTo>
                      <a:pt x="2231" y="1246"/>
                      <a:pt x="2231" y="1246"/>
                      <a:pt x="2231" y="1246"/>
                    </a:cubicBezTo>
                    <a:cubicBezTo>
                      <a:pt x="2255" y="1238"/>
                      <a:pt x="2255" y="1238"/>
                      <a:pt x="2255" y="1238"/>
                    </a:cubicBezTo>
                    <a:cubicBezTo>
                      <a:pt x="2255" y="1238"/>
                      <a:pt x="2267" y="1216"/>
                      <a:pt x="2275" y="1227"/>
                    </a:cubicBezTo>
                    <a:cubicBezTo>
                      <a:pt x="2283" y="1238"/>
                      <a:pt x="2263" y="1250"/>
                      <a:pt x="2263" y="1250"/>
                    </a:cubicBezTo>
                    <a:cubicBezTo>
                      <a:pt x="2263" y="1250"/>
                      <a:pt x="2331" y="1282"/>
                      <a:pt x="2337" y="1284"/>
                    </a:cubicBezTo>
                    <a:cubicBezTo>
                      <a:pt x="2342" y="1287"/>
                      <a:pt x="2414" y="1354"/>
                      <a:pt x="2429" y="1367"/>
                    </a:cubicBezTo>
                    <a:cubicBezTo>
                      <a:pt x="2443" y="1380"/>
                      <a:pt x="2467" y="1419"/>
                      <a:pt x="2485" y="1416"/>
                    </a:cubicBezTo>
                    <a:cubicBezTo>
                      <a:pt x="2502" y="1414"/>
                      <a:pt x="2498" y="1384"/>
                      <a:pt x="2509" y="1387"/>
                    </a:cubicBezTo>
                    <a:cubicBezTo>
                      <a:pt x="2519" y="1390"/>
                      <a:pt x="2515" y="1406"/>
                      <a:pt x="2519" y="1407"/>
                    </a:cubicBezTo>
                    <a:cubicBezTo>
                      <a:pt x="2523" y="1408"/>
                      <a:pt x="2541" y="1410"/>
                      <a:pt x="2541" y="1410"/>
                    </a:cubicBezTo>
                    <a:cubicBezTo>
                      <a:pt x="2541" y="1410"/>
                      <a:pt x="2555" y="1426"/>
                      <a:pt x="2567" y="1424"/>
                    </a:cubicBezTo>
                    <a:cubicBezTo>
                      <a:pt x="2579" y="1423"/>
                      <a:pt x="2595" y="1402"/>
                      <a:pt x="2618" y="1406"/>
                    </a:cubicBezTo>
                    <a:cubicBezTo>
                      <a:pt x="2641" y="1410"/>
                      <a:pt x="2662" y="1439"/>
                      <a:pt x="2662" y="1439"/>
                    </a:cubicBezTo>
                    <a:cubicBezTo>
                      <a:pt x="2662" y="1439"/>
                      <a:pt x="2697" y="1444"/>
                      <a:pt x="2698" y="1448"/>
                    </a:cubicBezTo>
                    <a:cubicBezTo>
                      <a:pt x="2699" y="1452"/>
                      <a:pt x="2715" y="1480"/>
                      <a:pt x="2715" y="1480"/>
                    </a:cubicBezTo>
                    <a:cubicBezTo>
                      <a:pt x="2762" y="1484"/>
                      <a:pt x="2762" y="1484"/>
                      <a:pt x="2762" y="1484"/>
                    </a:cubicBezTo>
                    <a:cubicBezTo>
                      <a:pt x="2773" y="1462"/>
                      <a:pt x="2773" y="1462"/>
                      <a:pt x="2773" y="1462"/>
                    </a:cubicBezTo>
                    <a:cubicBezTo>
                      <a:pt x="2786" y="1478"/>
                      <a:pt x="2786" y="1478"/>
                      <a:pt x="2786" y="1478"/>
                    </a:cubicBezTo>
                    <a:cubicBezTo>
                      <a:pt x="2810" y="1504"/>
                      <a:pt x="2810" y="1504"/>
                      <a:pt x="2810" y="1504"/>
                    </a:cubicBezTo>
                    <a:cubicBezTo>
                      <a:pt x="2815" y="1505"/>
                      <a:pt x="2819" y="1506"/>
                      <a:pt x="2819" y="1506"/>
                    </a:cubicBezTo>
                    <a:cubicBezTo>
                      <a:pt x="2819" y="1506"/>
                      <a:pt x="2832" y="1499"/>
                      <a:pt x="2840" y="1503"/>
                    </a:cubicBezTo>
                    <a:cubicBezTo>
                      <a:pt x="2847" y="1496"/>
                      <a:pt x="2847" y="1496"/>
                      <a:pt x="2847" y="1496"/>
                    </a:cubicBezTo>
                    <a:cubicBezTo>
                      <a:pt x="2846" y="1484"/>
                      <a:pt x="2846" y="1484"/>
                      <a:pt x="2846" y="1484"/>
                    </a:cubicBezTo>
                    <a:cubicBezTo>
                      <a:pt x="2887" y="1484"/>
                      <a:pt x="2887" y="1484"/>
                      <a:pt x="2887" y="1484"/>
                    </a:cubicBezTo>
                    <a:cubicBezTo>
                      <a:pt x="2885" y="1475"/>
                      <a:pt x="2885" y="1475"/>
                      <a:pt x="2885" y="1475"/>
                    </a:cubicBezTo>
                    <a:cubicBezTo>
                      <a:pt x="2901" y="1475"/>
                      <a:pt x="2901" y="1475"/>
                      <a:pt x="2901" y="1475"/>
                    </a:cubicBezTo>
                    <a:cubicBezTo>
                      <a:pt x="2901" y="1475"/>
                      <a:pt x="2892" y="1473"/>
                      <a:pt x="2901" y="1463"/>
                    </a:cubicBezTo>
                    <a:cubicBezTo>
                      <a:pt x="2910" y="1453"/>
                      <a:pt x="2921" y="1445"/>
                      <a:pt x="2921" y="1445"/>
                    </a:cubicBezTo>
                    <a:cubicBezTo>
                      <a:pt x="2930" y="1446"/>
                      <a:pt x="2930" y="1446"/>
                      <a:pt x="2930" y="1446"/>
                    </a:cubicBezTo>
                    <a:cubicBezTo>
                      <a:pt x="2941" y="1433"/>
                      <a:pt x="2941" y="1433"/>
                      <a:pt x="2941" y="1433"/>
                    </a:cubicBezTo>
                    <a:cubicBezTo>
                      <a:pt x="2957" y="1433"/>
                      <a:pt x="2957" y="1433"/>
                      <a:pt x="2957" y="1433"/>
                    </a:cubicBezTo>
                    <a:cubicBezTo>
                      <a:pt x="2957" y="1433"/>
                      <a:pt x="2958" y="1416"/>
                      <a:pt x="2965" y="1416"/>
                    </a:cubicBezTo>
                    <a:cubicBezTo>
                      <a:pt x="2972" y="1416"/>
                      <a:pt x="2981" y="1422"/>
                      <a:pt x="2981" y="1422"/>
                    </a:cubicBezTo>
                    <a:cubicBezTo>
                      <a:pt x="2993" y="1415"/>
                      <a:pt x="2993" y="1415"/>
                      <a:pt x="2993" y="1415"/>
                    </a:cubicBezTo>
                    <a:cubicBezTo>
                      <a:pt x="2993" y="1415"/>
                      <a:pt x="2993" y="1420"/>
                      <a:pt x="2996" y="1420"/>
                    </a:cubicBezTo>
                    <a:cubicBezTo>
                      <a:pt x="2999" y="1420"/>
                      <a:pt x="3015" y="1420"/>
                      <a:pt x="3015" y="1420"/>
                    </a:cubicBezTo>
                    <a:cubicBezTo>
                      <a:pt x="3020" y="1431"/>
                      <a:pt x="3020" y="1431"/>
                      <a:pt x="3020" y="1431"/>
                    </a:cubicBezTo>
                    <a:cubicBezTo>
                      <a:pt x="3020" y="1431"/>
                      <a:pt x="3064" y="1427"/>
                      <a:pt x="3071" y="1427"/>
                    </a:cubicBezTo>
                    <a:cubicBezTo>
                      <a:pt x="3078" y="1427"/>
                      <a:pt x="3076" y="1440"/>
                      <a:pt x="3085" y="1447"/>
                    </a:cubicBezTo>
                    <a:cubicBezTo>
                      <a:pt x="3094" y="1454"/>
                      <a:pt x="3116" y="1452"/>
                      <a:pt x="3116" y="1452"/>
                    </a:cubicBezTo>
                    <a:cubicBezTo>
                      <a:pt x="3118" y="1461"/>
                      <a:pt x="3118" y="1461"/>
                      <a:pt x="3118" y="1461"/>
                    </a:cubicBezTo>
                    <a:cubicBezTo>
                      <a:pt x="3137" y="1458"/>
                      <a:pt x="3137" y="1458"/>
                      <a:pt x="3137" y="1458"/>
                    </a:cubicBezTo>
                    <a:cubicBezTo>
                      <a:pt x="3139" y="1463"/>
                      <a:pt x="3139" y="1463"/>
                      <a:pt x="3139" y="1463"/>
                    </a:cubicBezTo>
                    <a:cubicBezTo>
                      <a:pt x="3139" y="1463"/>
                      <a:pt x="3141" y="1457"/>
                      <a:pt x="3152" y="1456"/>
                    </a:cubicBezTo>
                    <a:cubicBezTo>
                      <a:pt x="3163" y="1455"/>
                      <a:pt x="3172" y="1456"/>
                      <a:pt x="3172" y="1456"/>
                    </a:cubicBezTo>
                    <a:cubicBezTo>
                      <a:pt x="3173" y="1464"/>
                      <a:pt x="3173" y="1464"/>
                      <a:pt x="3173" y="1464"/>
                    </a:cubicBezTo>
                    <a:cubicBezTo>
                      <a:pt x="3203" y="1462"/>
                      <a:pt x="3203" y="1462"/>
                      <a:pt x="3203" y="1462"/>
                    </a:cubicBezTo>
                    <a:cubicBezTo>
                      <a:pt x="3203" y="1462"/>
                      <a:pt x="3197" y="1478"/>
                      <a:pt x="3214" y="1470"/>
                    </a:cubicBezTo>
                    <a:cubicBezTo>
                      <a:pt x="3231" y="1462"/>
                      <a:pt x="3229" y="1455"/>
                      <a:pt x="3229" y="1455"/>
                    </a:cubicBezTo>
                    <a:cubicBezTo>
                      <a:pt x="3229" y="1455"/>
                      <a:pt x="3241" y="1465"/>
                      <a:pt x="3241" y="1447"/>
                    </a:cubicBezTo>
                    <a:cubicBezTo>
                      <a:pt x="3241" y="1429"/>
                      <a:pt x="3226" y="1429"/>
                      <a:pt x="3226" y="1429"/>
                    </a:cubicBezTo>
                    <a:cubicBezTo>
                      <a:pt x="3210" y="1405"/>
                      <a:pt x="3210" y="1405"/>
                      <a:pt x="3210" y="1405"/>
                    </a:cubicBezTo>
                    <a:cubicBezTo>
                      <a:pt x="3206" y="1391"/>
                      <a:pt x="3206" y="1391"/>
                      <a:pt x="3206" y="1391"/>
                    </a:cubicBezTo>
                    <a:cubicBezTo>
                      <a:pt x="3206" y="1391"/>
                      <a:pt x="3200" y="1388"/>
                      <a:pt x="3200" y="1382"/>
                    </a:cubicBezTo>
                    <a:cubicBezTo>
                      <a:pt x="3200" y="1376"/>
                      <a:pt x="3211" y="1378"/>
                      <a:pt x="3211" y="1378"/>
                    </a:cubicBezTo>
                    <a:cubicBezTo>
                      <a:pt x="3209" y="1367"/>
                      <a:pt x="3209" y="1367"/>
                      <a:pt x="3209" y="1367"/>
                    </a:cubicBezTo>
                    <a:cubicBezTo>
                      <a:pt x="3209" y="1367"/>
                      <a:pt x="3213" y="1369"/>
                      <a:pt x="3218" y="1363"/>
                    </a:cubicBezTo>
                    <a:cubicBezTo>
                      <a:pt x="3223" y="1357"/>
                      <a:pt x="3222" y="1345"/>
                      <a:pt x="3222" y="1345"/>
                    </a:cubicBezTo>
                    <a:cubicBezTo>
                      <a:pt x="3231" y="1347"/>
                      <a:pt x="3231" y="1347"/>
                      <a:pt x="3231" y="1347"/>
                    </a:cubicBezTo>
                    <a:cubicBezTo>
                      <a:pt x="3231" y="1347"/>
                      <a:pt x="3254" y="1364"/>
                      <a:pt x="3272" y="1366"/>
                    </a:cubicBezTo>
                    <a:cubicBezTo>
                      <a:pt x="3290" y="1368"/>
                      <a:pt x="3310" y="1367"/>
                      <a:pt x="3310" y="1367"/>
                    </a:cubicBezTo>
                    <a:cubicBezTo>
                      <a:pt x="3310" y="1367"/>
                      <a:pt x="3329" y="1381"/>
                      <a:pt x="3339" y="1383"/>
                    </a:cubicBezTo>
                    <a:cubicBezTo>
                      <a:pt x="3349" y="1385"/>
                      <a:pt x="3361" y="1372"/>
                      <a:pt x="3370" y="1383"/>
                    </a:cubicBezTo>
                    <a:cubicBezTo>
                      <a:pt x="3379" y="1394"/>
                      <a:pt x="3401" y="1428"/>
                      <a:pt x="3401" y="1428"/>
                    </a:cubicBezTo>
                    <a:cubicBezTo>
                      <a:pt x="3416" y="1425"/>
                      <a:pt x="3416" y="1425"/>
                      <a:pt x="3416" y="1425"/>
                    </a:cubicBezTo>
                    <a:cubicBezTo>
                      <a:pt x="3416" y="1425"/>
                      <a:pt x="3418" y="1441"/>
                      <a:pt x="3428" y="1441"/>
                    </a:cubicBezTo>
                    <a:cubicBezTo>
                      <a:pt x="3438" y="1441"/>
                      <a:pt x="3445" y="1440"/>
                      <a:pt x="3445" y="1440"/>
                    </a:cubicBezTo>
                    <a:cubicBezTo>
                      <a:pt x="3445" y="1440"/>
                      <a:pt x="3462" y="1450"/>
                      <a:pt x="3475" y="1449"/>
                    </a:cubicBezTo>
                    <a:cubicBezTo>
                      <a:pt x="3488" y="1448"/>
                      <a:pt x="3506" y="1430"/>
                      <a:pt x="3535" y="1432"/>
                    </a:cubicBezTo>
                    <a:cubicBezTo>
                      <a:pt x="3564" y="1434"/>
                      <a:pt x="3566" y="1442"/>
                      <a:pt x="3566" y="1442"/>
                    </a:cubicBezTo>
                    <a:cubicBezTo>
                      <a:pt x="3593" y="1439"/>
                      <a:pt x="3593" y="1439"/>
                      <a:pt x="3593" y="1439"/>
                    </a:cubicBezTo>
                    <a:cubicBezTo>
                      <a:pt x="3593" y="1439"/>
                      <a:pt x="3604" y="1458"/>
                      <a:pt x="3616" y="1458"/>
                    </a:cubicBezTo>
                    <a:cubicBezTo>
                      <a:pt x="3628" y="1458"/>
                      <a:pt x="3647" y="1458"/>
                      <a:pt x="3650" y="1459"/>
                    </a:cubicBezTo>
                    <a:cubicBezTo>
                      <a:pt x="3653" y="1460"/>
                      <a:pt x="3661" y="1479"/>
                      <a:pt x="3664" y="1478"/>
                    </a:cubicBezTo>
                    <a:cubicBezTo>
                      <a:pt x="3667" y="1477"/>
                      <a:pt x="3678" y="1480"/>
                      <a:pt x="3678" y="1480"/>
                    </a:cubicBezTo>
                    <a:cubicBezTo>
                      <a:pt x="3678" y="1480"/>
                      <a:pt x="3673" y="1491"/>
                      <a:pt x="3693" y="1493"/>
                    </a:cubicBezTo>
                    <a:cubicBezTo>
                      <a:pt x="3713" y="1495"/>
                      <a:pt x="3723" y="1492"/>
                      <a:pt x="3723" y="1492"/>
                    </a:cubicBezTo>
                    <a:cubicBezTo>
                      <a:pt x="3723" y="1492"/>
                      <a:pt x="3730" y="1495"/>
                      <a:pt x="3733" y="1498"/>
                    </a:cubicBezTo>
                    <a:cubicBezTo>
                      <a:pt x="3736" y="1501"/>
                      <a:pt x="3760" y="1501"/>
                      <a:pt x="3760" y="1501"/>
                    </a:cubicBezTo>
                    <a:cubicBezTo>
                      <a:pt x="3760" y="1501"/>
                      <a:pt x="3772" y="1494"/>
                      <a:pt x="3776" y="1496"/>
                    </a:cubicBezTo>
                    <a:cubicBezTo>
                      <a:pt x="3780" y="1498"/>
                      <a:pt x="3788" y="1507"/>
                      <a:pt x="3793" y="1501"/>
                    </a:cubicBezTo>
                    <a:cubicBezTo>
                      <a:pt x="3798" y="1495"/>
                      <a:pt x="3796" y="1490"/>
                      <a:pt x="3805" y="1488"/>
                    </a:cubicBezTo>
                    <a:cubicBezTo>
                      <a:pt x="3814" y="1486"/>
                      <a:pt x="3831" y="1487"/>
                      <a:pt x="3831" y="1487"/>
                    </a:cubicBezTo>
                    <a:cubicBezTo>
                      <a:pt x="3841" y="1482"/>
                      <a:pt x="3841" y="1482"/>
                      <a:pt x="3841" y="1482"/>
                    </a:cubicBezTo>
                    <a:cubicBezTo>
                      <a:pt x="3841" y="1482"/>
                      <a:pt x="3853" y="1485"/>
                      <a:pt x="3863" y="1481"/>
                    </a:cubicBezTo>
                    <a:cubicBezTo>
                      <a:pt x="3873" y="1477"/>
                      <a:pt x="3870" y="1466"/>
                      <a:pt x="3870" y="1466"/>
                    </a:cubicBezTo>
                    <a:cubicBezTo>
                      <a:pt x="3893" y="1443"/>
                      <a:pt x="3893" y="1443"/>
                      <a:pt x="3893" y="1443"/>
                    </a:cubicBezTo>
                    <a:cubicBezTo>
                      <a:pt x="3893" y="1443"/>
                      <a:pt x="3920" y="1447"/>
                      <a:pt x="3929" y="1447"/>
                    </a:cubicBezTo>
                    <a:cubicBezTo>
                      <a:pt x="3938" y="1447"/>
                      <a:pt x="3948" y="1463"/>
                      <a:pt x="3962" y="1463"/>
                    </a:cubicBezTo>
                    <a:cubicBezTo>
                      <a:pt x="3976" y="1463"/>
                      <a:pt x="3982" y="1456"/>
                      <a:pt x="3982" y="1456"/>
                    </a:cubicBezTo>
                    <a:cubicBezTo>
                      <a:pt x="4000" y="1459"/>
                      <a:pt x="4000" y="1459"/>
                      <a:pt x="4000" y="1459"/>
                    </a:cubicBezTo>
                    <a:cubicBezTo>
                      <a:pt x="4011" y="1462"/>
                      <a:pt x="4011" y="1462"/>
                      <a:pt x="4011" y="1462"/>
                    </a:cubicBezTo>
                    <a:cubicBezTo>
                      <a:pt x="4034" y="1476"/>
                      <a:pt x="4034" y="1476"/>
                      <a:pt x="4034" y="1476"/>
                    </a:cubicBezTo>
                    <a:cubicBezTo>
                      <a:pt x="4058" y="1477"/>
                      <a:pt x="4058" y="1477"/>
                      <a:pt x="4058" y="1477"/>
                    </a:cubicBezTo>
                    <a:cubicBezTo>
                      <a:pt x="4058" y="1477"/>
                      <a:pt x="4061" y="1482"/>
                      <a:pt x="4071" y="1482"/>
                    </a:cubicBezTo>
                    <a:cubicBezTo>
                      <a:pt x="4081" y="1482"/>
                      <a:pt x="4085" y="1460"/>
                      <a:pt x="4085" y="1460"/>
                    </a:cubicBezTo>
                    <a:cubicBezTo>
                      <a:pt x="4085" y="1460"/>
                      <a:pt x="4096" y="1465"/>
                      <a:pt x="4109" y="1457"/>
                    </a:cubicBezTo>
                    <a:cubicBezTo>
                      <a:pt x="4122" y="1449"/>
                      <a:pt x="4098" y="1439"/>
                      <a:pt x="4098" y="1439"/>
                    </a:cubicBezTo>
                    <a:cubicBezTo>
                      <a:pt x="4097" y="1414"/>
                      <a:pt x="4097" y="1414"/>
                      <a:pt x="4097" y="1414"/>
                    </a:cubicBezTo>
                    <a:cubicBezTo>
                      <a:pt x="4097" y="1395"/>
                      <a:pt x="4097" y="1395"/>
                      <a:pt x="4097" y="1395"/>
                    </a:cubicBezTo>
                    <a:cubicBezTo>
                      <a:pt x="4097" y="1395"/>
                      <a:pt x="4092" y="1377"/>
                      <a:pt x="4094" y="1368"/>
                    </a:cubicBezTo>
                    <a:cubicBezTo>
                      <a:pt x="4096" y="1359"/>
                      <a:pt x="4108" y="1354"/>
                      <a:pt x="4109" y="1348"/>
                    </a:cubicBezTo>
                    <a:cubicBezTo>
                      <a:pt x="4110" y="1342"/>
                      <a:pt x="4083" y="1327"/>
                      <a:pt x="4083" y="1327"/>
                    </a:cubicBezTo>
                    <a:cubicBezTo>
                      <a:pt x="4083" y="1327"/>
                      <a:pt x="4071" y="1325"/>
                      <a:pt x="4056" y="1322"/>
                    </a:cubicBezTo>
                    <a:cubicBezTo>
                      <a:pt x="4041" y="1319"/>
                      <a:pt x="4063" y="1304"/>
                      <a:pt x="4063" y="1304"/>
                    </a:cubicBezTo>
                    <a:cubicBezTo>
                      <a:pt x="4083" y="1284"/>
                      <a:pt x="4083" y="1284"/>
                      <a:pt x="4083" y="1284"/>
                    </a:cubicBezTo>
                    <a:cubicBezTo>
                      <a:pt x="4107" y="1281"/>
                      <a:pt x="4107" y="1281"/>
                      <a:pt x="4107" y="1281"/>
                    </a:cubicBezTo>
                    <a:cubicBezTo>
                      <a:pt x="4111" y="1273"/>
                      <a:pt x="4111" y="1273"/>
                      <a:pt x="4111" y="1273"/>
                    </a:cubicBezTo>
                    <a:cubicBezTo>
                      <a:pt x="4139" y="1275"/>
                      <a:pt x="4139" y="1275"/>
                      <a:pt x="4139" y="1275"/>
                    </a:cubicBezTo>
                    <a:cubicBezTo>
                      <a:pt x="4174" y="1268"/>
                      <a:pt x="4174" y="1268"/>
                      <a:pt x="4174" y="1268"/>
                    </a:cubicBezTo>
                    <a:cubicBezTo>
                      <a:pt x="4199" y="1281"/>
                      <a:pt x="4199" y="1281"/>
                      <a:pt x="4199" y="1281"/>
                    </a:cubicBezTo>
                    <a:cubicBezTo>
                      <a:pt x="4225" y="1298"/>
                      <a:pt x="4225" y="1298"/>
                      <a:pt x="4225" y="1298"/>
                    </a:cubicBezTo>
                    <a:cubicBezTo>
                      <a:pt x="4240" y="1295"/>
                      <a:pt x="4240" y="1295"/>
                      <a:pt x="4240" y="1295"/>
                    </a:cubicBezTo>
                    <a:cubicBezTo>
                      <a:pt x="4240" y="1295"/>
                      <a:pt x="4259" y="1296"/>
                      <a:pt x="4266" y="1297"/>
                    </a:cubicBezTo>
                    <a:cubicBezTo>
                      <a:pt x="4273" y="1298"/>
                      <a:pt x="4294" y="1312"/>
                      <a:pt x="4294" y="1312"/>
                    </a:cubicBezTo>
                    <a:cubicBezTo>
                      <a:pt x="4296" y="1321"/>
                      <a:pt x="4296" y="1321"/>
                      <a:pt x="4296" y="1321"/>
                    </a:cubicBezTo>
                    <a:cubicBezTo>
                      <a:pt x="4296" y="1321"/>
                      <a:pt x="4314" y="1331"/>
                      <a:pt x="4319" y="1335"/>
                    </a:cubicBezTo>
                    <a:cubicBezTo>
                      <a:pt x="4324" y="1339"/>
                      <a:pt x="4339" y="1344"/>
                      <a:pt x="4339" y="1344"/>
                    </a:cubicBezTo>
                    <a:cubicBezTo>
                      <a:pt x="4342" y="1363"/>
                      <a:pt x="4342" y="1363"/>
                      <a:pt x="4342" y="1363"/>
                    </a:cubicBezTo>
                    <a:cubicBezTo>
                      <a:pt x="4374" y="1380"/>
                      <a:pt x="4374" y="1380"/>
                      <a:pt x="4374" y="1380"/>
                    </a:cubicBezTo>
                    <a:cubicBezTo>
                      <a:pt x="4385" y="1402"/>
                      <a:pt x="4385" y="1402"/>
                      <a:pt x="4385" y="1402"/>
                    </a:cubicBezTo>
                    <a:cubicBezTo>
                      <a:pt x="4385" y="1402"/>
                      <a:pt x="4406" y="1404"/>
                      <a:pt x="4416" y="1413"/>
                    </a:cubicBezTo>
                    <a:cubicBezTo>
                      <a:pt x="4426" y="1422"/>
                      <a:pt x="4444" y="1446"/>
                      <a:pt x="4444" y="1446"/>
                    </a:cubicBezTo>
                    <a:cubicBezTo>
                      <a:pt x="4451" y="1446"/>
                      <a:pt x="4451" y="1446"/>
                      <a:pt x="4451" y="1446"/>
                    </a:cubicBezTo>
                    <a:cubicBezTo>
                      <a:pt x="4455" y="1462"/>
                      <a:pt x="4455" y="1462"/>
                      <a:pt x="4455" y="1462"/>
                    </a:cubicBezTo>
                    <a:cubicBezTo>
                      <a:pt x="4455" y="1462"/>
                      <a:pt x="4474" y="1472"/>
                      <a:pt x="4482" y="1477"/>
                    </a:cubicBezTo>
                    <a:cubicBezTo>
                      <a:pt x="4490" y="1482"/>
                      <a:pt x="4507" y="1481"/>
                      <a:pt x="4517" y="1479"/>
                    </a:cubicBezTo>
                    <a:cubicBezTo>
                      <a:pt x="4527" y="1477"/>
                      <a:pt x="4543" y="1493"/>
                      <a:pt x="4543" y="1493"/>
                    </a:cubicBezTo>
                    <a:cubicBezTo>
                      <a:pt x="4543" y="1493"/>
                      <a:pt x="4551" y="1486"/>
                      <a:pt x="4555" y="1486"/>
                    </a:cubicBezTo>
                    <a:cubicBezTo>
                      <a:pt x="4559" y="1486"/>
                      <a:pt x="4597" y="1514"/>
                      <a:pt x="4597" y="1514"/>
                    </a:cubicBezTo>
                    <a:cubicBezTo>
                      <a:pt x="4621" y="1514"/>
                      <a:pt x="4621" y="1514"/>
                      <a:pt x="4621" y="1514"/>
                    </a:cubicBezTo>
                    <a:cubicBezTo>
                      <a:pt x="4630" y="1533"/>
                      <a:pt x="4630" y="1533"/>
                      <a:pt x="4630" y="1533"/>
                    </a:cubicBezTo>
                    <a:cubicBezTo>
                      <a:pt x="4630" y="1533"/>
                      <a:pt x="4646" y="1534"/>
                      <a:pt x="4649" y="1541"/>
                    </a:cubicBezTo>
                    <a:cubicBezTo>
                      <a:pt x="4652" y="1548"/>
                      <a:pt x="4653" y="1556"/>
                      <a:pt x="4653" y="1556"/>
                    </a:cubicBezTo>
                    <a:cubicBezTo>
                      <a:pt x="4678" y="1576"/>
                      <a:pt x="4678" y="1576"/>
                      <a:pt x="4678" y="1576"/>
                    </a:cubicBezTo>
                    <a:cubicBezTo>
                      <a:pt x="4695" y="1572"/>
                      <a:pt x="4695" y="1572"/>
                      <a:pt x="4695" y="1572"/>
                    </a:cubicBezTo>
                    <a:cubicBezTo>
                      <a:pt x="4703" y="1582"/>
                      <a:pt x="4703" y="1582"/>
                      <a:pt x="4703" y="1582"/>
                    </a:cubicBezTo>
                    <a:cubicBezTo>
                      <a:pt x="4716" y="1581"/>
                      <a:pt x="4716" y="1581"/>
                      <a:pt x="4716" y="1581"/>
                    </a:cubicBezTo>
                    <a:cubicBezTo>
                      <a:pt x="4716" y="1574"/>
                      <a:pt x="4716" y="1574"/>
                      <a:pt x="4716" y="1574"/>
                    </a:cubicBezTo>
                    <a:cubicBezTo>
                      <a:pt x="4735" y="1576"/>
                      <a:pt x="4735" y="1576"/>
                      <a:pt x="4735" y="1576"/>
                    </a:cubicBezTo>
                    <a:cubicBezTo>
                      <a:pt x="4735" y="1576"/>
                      <a:pt x="4736" y="1565"/>
                      <a:pt x="4739" y="1560"/>
                    </a:cubicBezTo>
                    <a:cubicBezTo>
                      <a:pt x="4742" y="1555"/>
                      <a:pt x="4770" y="1556"/>
                      <a:pt x="4770" y="1556"/>
                    </a:cubicBezTo>
                    <a:cubicBezTo>
                      <a:pt x="4775" y="1542"/>
                      <a:pt x="4775" y="1542"/>
                      <a:pt x="4775" y="1542"/>
                    </a:cubicBezTo>
                    <a:cubicBezTo>
                      <a:pt x="4775" y="1542"/>
                      <a:pt x="4800" y="1536"/>
                      <a:pt x="4810" y="1544"/>
                    </a:cubicBezTo>
                    <a:cubicBezTo>
                      <a:pt x="4820" y="1552"/>
                      <a:pt x="4814" y="1565"/>
                      <a:pt x="4814" y="1565"/>
                    </a:cubicBezTo>
                    <a:cubicBezTo>
                      <a:pt x="4832" y="1573"/>
                      <a:pt x="4832" y="1573"/>
                      <a:pt x="4832" y="1573"/>
                    </a:cubicBezTo>
                    <a:cubicBezTo>
                      <a:pt x="4832" y="1593"/>
                      <a:pt x="4832" y="1593"/>
                      <a:pt x="4832" y="1593"/>
                    </a:cubicBezTo>
                    <a:cubicBezTo>
                      <a:pt x="4820" y="1598"/>
                      <a:pt x="4820" y="1598"/>
                      <a:pt x="4820" y="1598"/>
                    </a:cubicBezTo>
                    <a:cubicBezTo>
                      <a:pt x="4828" y="1608"/>
                      <a:pt x="4828" y="1608"/>
                      <a:pt x="4828" y="1608"/>
                    </a:cubicBezTo>
                    <a:cubicBezTo>
                      <a:pt x="4828" y="1620"/>
                      <a:pt x="4828" y="1620"/>
                      <a:pt x="4828" y="1620"/>
                    </a:cubicBezTo>
                    <a:cubicBezTo>
                      <a:pt x="4835" y="1630"/>
                      <a:pt x="4835" y="1630"/>
                      <a:pt x="4835" y="1630"/>
                    </a:cubicBezTo>
                    <a:cubicBezTo>
                      <a:pt x="4835" y="1643"/>
                      <a:pt x="4835" y="1643"/>
                      <a:pt x="4835" y="1643"/>
                    </a:cubicBezTo>
                    <a:cubicBezTo>
                      <a:pt x="4846" y="1650"/>
                      <a:pt x="4846" y="1650"/>
                      <a:pt x="4846" y="1650"/>
                    </a:cubicBezTo>
                    <a:cubicBezTo>
                      <a:pt x="4843" y="1667"/>
                      <a:pt x="4843" y="1667"/>
                      <a:pt x="4843" y="1667"/>
                    </a:cubicBezTo>
                    <a:cubicBezTo>
                      <a:pt x="4846" y="1684"/>
                      <a:pt x="4846" y="1684"/>
                      <a:pt x="4846" y="1684"/>
                    </a:cubicBezTo>
                    <a:cubicBezTo>
                      <a:pt x="4846" y="1684"/>
                      <a:pt x="4834" y="1688"/>
                      <a:pt x="4839" y="1700"/>
                    </a:cubicBezTo>
                    <a:cubicBezTo>
                      <a:pt x="4844" y="1712"/>
                      <a:pt x="4846" y="1713"/>
                      <a:pt x="4839" y="1719"/>
                    </a:cubicBezTo>
                    <a:cubicBezTo>
                      <a:pt x="4832" y="1725"/>
                      <a:pt x="4796" y="1702"/>
                      <a:pt x="4785" y="1707"/>
                    </a:cubicBezTo>
                    <a:cubicBezTo>
                      <a:pt x="4774" y="1712"/>
                      <a:pt x="4786" y="1718"/>
                      <a:pt x="4784" y="1723"/>
                    </a:cubicBezTo>
                    <a:cubicBezTo>
                      <a:pt x="4782" y="1728"/>
                      <a:pt x="4769" y="1719"/>
                      <a:pt x="4766" y="1729"/>
                    </a:cubicBezTo>
                    <a:cubicBezTo>
                      <a:pt x="4763" y="1739"/>
                      <a:pt x="4778" y="1740"/>
                      <a:pt x="4792" y="1753"/>
                    </a:cubicBezTo>
                    <a:cubicBezTo>
                      <a:pt x="4806" y="1766"/>
                      <a:pt x="4810" y="1785"/>
                      <a:pt x="4812" y="1791"/>
                    </a:cubicBezTo>
                    <a:cubicBezTo>
                      <a:pt x="4814" y="1797"/>
                      <a:pt x="4825" y="1808"/>
                      <a:pt x="4825" y="1808"/>
                    </a:cubicBezTo>
                    <a:cubicBezTo>
                      <a:pt x="4826" y="1831"/>
                      <a:pt x="4826" y="1831"/>
                      <a:pt x="4826" y="1831"/>
                    </a:cubicBezTo>
                    <a:cubicBezTo>
                      <a:pt x="4809" y="1827"/>
                      <a:pt x="4809" y="1827"/>
                      <a:pt x="4809" y="1827"/>
                    </a:cubicBezTo>
                    <a:cubicBezTo>
                      <a:pt x="4802" y="1845"/>
                      <a:pt x="4802" y="1845"/>
                      <a:pt x="4802" y="1845"/>
                    </a:cubicBezTo>
                    <a:cubicBezTo>
                      <a:pt x="4821" y="1851"/>
                      <a:pt x="4821" y="1851"/>
                      <a:pt x="4821" y="1851"/>
                    </a:cubicBezTo>
                    <a:cubicBezTo>
                      <a:pt x="4844" y="1852"/>
                      <a:pt x="4844" y="1852"/>
                      <a:pt x="4844" y="1852"/>
                    </a:cubicBezTo>
                    <a:cubicBezTo>
                      <a:pt x="4844" y="1852"/>
                      <a:pt x="4838" y="1811"/>
                      <a:pt x="4847" y="1807"/>
                    </a:cubicBezTo>
                    <a:cubicBezTo>
                      <a:pt x="4856" y="1803"/>
                      <a:pt x="4863" y="1816"/>
                      <a:pt x="4863" y="1816"/>
                    </a:cubicBezTo>
                    <a:cubicBezTo>
                      <a:pt x="4872" y="1808"/>
                      <a:pt x="4872" y="1808"/>
                      <a:pt x="4872" y="1808"/>
                    </a:cubicBezTo>
                    <a:cubicBezTo>
                      <a:pt x="4872" y="1808"/>
                      <a:pt x="4888" y="1840"/>
                      <a:pt x="4896" y="1838"/>
                    </a:cubicBezTo>
                    <a:cubicBezTo>
                      <a:pt x="4904" y="1836"/>
                      <a:pt x="4923" y="1830"/>
                      <a:pt x="4923" y="1830"/>
                    </a:cubicBezTo>
                    <a:cubicBezTo>
                      <a:pt x="4923" y="1842"/>
                      <a:pt x="4923" y="1842"/>
                      <a:pt x="4923" y="1842"/>
                    </a:cubicBezTo>
                    <a:cubicBezTo>
                      <a:pt x="4923" y="1842"/>
                      <a:pt x="4978" y="1822"/>
                      <a:pt x="4980" y="1802"/>
                    </a:cubicBezTo>
                    <a:cubicBezTo>
                      <a:pt x="4982" y="1782"/>
                      <a:pt x="4985" y="1754"/>
                      <a:pt x="4985" y="1754"/>
                    </a:cubicBezTo>
                    <a:cubicBezTo>
                      <a:pt x="4999" y="1747"/>
                      <a:pt x="4999" y="1747"/>
                      <a:pt x="4999" y="1747"/>
                    </a:cubicBezTo>
                    <a:cubicBezTo>
                      <a:pt x="4999" y="1747"/>
                      <a:pt x="4997" y="1704"/>
                      <a:pt x="5006" y="1697"/>
                    </a:cubicBezTo>
                    <a:cubicBezTo>
                      <a:pt x="5015" y="1690"/>
                      <a:pt x="5017" y="1666"/>
                      <a:pt x="5019" y="1650"/>
                    </a:cubicBezTo>
                    <a:cubicBezTo>
                      <a:pt x="5021" y="1634"/>
                      <a:pt x="5010" y="1607"/>
                      <a:pt x="5010" y="1607"/>
                    </a:cubicBezTo>
                    <a:cubicBezTo>
                      <a:pt x="5010" y="1607"/>
                      <a:pt x="5024" y="1585"/>
                      <a:pt x="5024" y="1580"/>
                    </a:cubicBezTo>
                    <a:cubicBezTo>
                      <a:pt x="5024" y="1575"/>
                      <a:pt x="5016" y="1565"/>
                      <a:pt x="5016" y="1565"/>
                    </a:cubicBezTo>
                    <a:cubicBezTo>
                      <a:pt x="5016" y="1565"/>
                      <a:pt x="5033" y="1541"/>
                      <a:pt x="5029" y="1532"/>
                    </a:cubicBezTo>
                    <a:cubicBezTo>
                      <a:pt x="5025" y="1523"/>
                      <a:pt x="5013" y="1496"/>
                      <a:pt x="5013" y="1496"/>
                    </a:cubicBezTo>
                    <a:cubicBezTo>
                      <a:pt x="5013" y="1496"/>
                      <a:pt x="5005" y="1468"/>
                      <a:pt x="4998" y="1465"/>
                    </a:cubicBezTo>
                    <a:cubicBezTo>
                      <a:pt x="4991" y="1462"/>
                      <a:pt x="4986" y="1458"/>
                      <a:pt x="4986" y="1458"/>
                    </a:cubicBezTo>
                    <a:cubicBezTo>
                      <a:pt x="4990" y="1451"/>
                      <a:pt x="4990" y="1451"/>
                      <a:pt x="4990" y="1451"/>
                    </a:cubicBezTo>
                    <a:cubicBezTo>
                      <a:pt x="4990" y="1451"/>
                      <a:pt x="4971" y="1443"/>
                      <a:pt x="4965" y="1428"/>
                    </a:cubicBezTo>
                    <a:cubicBezTo>
                      <a:pt x="4959" y="1413"/>
                      <a:pt x="4957" y="1401"/>
                      <a:pt x="4957" y="1401"/>
                    </a:cubicBezTo>
                    <a:cubicBezTo>
                      <a:pt x="4948" y="1395"/>
                      <a:pt x="4948" y="1395"/>
                      <a:pt x="4948" y="1395"/>
                    </a:cubicBezTo>
                    <a:cubicBezTo>
                      <a:pt x="4948" y="1395"/>
                      <a:pt x="4955" y="1365"/>
                      <a:pt x="4948" y="1356"/>
                    </a:cubicBezTo>
                    <a:cubicBezTo>
                      <a:pt x="4941" y="1347"/>
                      <a:pt x="4936" y="1340"/>
                      <a:pt x="4936" y="1340"/>
                    </a:cubicBezTo>
                    <a:cubicBezTo>
                      <a:pt x="4924" y="1336"/>
                      <a:pt x="4924" y="1336"/>
                      <a:pt x="4924" y="1336"/>
                    </a:cubicBezTo>
                    <a:cubicBezTo>
                      <a:pt x="4924" y="1336"/>
                      <a:pt x="4920" y="1322"/>
                      <a:pt x="4913" y="1317"/>
                    </a:cubicBezTo>
                    <a:cubicBezTo>
                      <a:pt x="4906" y="1312"/>
                      <a:pt x="4889" y="1304"/>
                      <a:pt x="4889" y="1304"/>
                    </a:cubicBezTo>
                    <a:cubicBezTo>
                      <a:pt x="4875" y="1300"/>
                      <a:pt x="4875" y="1300"/>
                      <a:pt x="4875" y="1300"/>
                    </a:cubicBezTo>
                    <a:cubicBezTo>
                      <a:pt x="4872" y="1291"/>
                      <a:pt x="4872" y="1291"/>
                      <a:pt x="4872" y="1291"/>
                    </a:cubicBezTo>
                    <a:cubicBezTo>
                      <a:pt x="4872" y="1291"/>
                      <a:pt x="4900" y="1304"/>
                      <a:pt x="4903" y="1298"/>
                    </a:cubicBezTo>
                    <a:cubicBezTo>
                      <a:pt x="4906" y="1292"/>
                      <a:pt x="4885" y="1286"/>
                      <a:pt x="4885" y="1286"/>
                    </a:cubicBezTo>
                    <a:cubicBezTo>
                      <a:pt x="4830" y="1260"/>
                      <a:pt x="4830" y="1260"/>
                      <a:pt x="4830" y="1260"/>
                    </a:cubicBezTo>
                    <a:cubicBezTo>
                      <a:pt x="4830" y="1260"/>
                      <a:pt x="4802" y="1243"/>
                      <a:pt x="4794" y="1238"/>
                    </a:cubicBezTo>
                    <a:cubicBezTo>
                      <a:pt x="4786" y="1233"/>
                      <a:pt x="4772" y="1243"/>
                      <a:pt x="4772" y="1243"/>
                    </a:cubicBezTo>
                    <a:cubicBezTo>
                      <a:pt x="4746" y="1236"/>
                      <a:pt x="4746" y="1236"/>
                      <a:pt x="4746" y="1236"/>
                    </a:cubicBezTo>
                    <a:cubicBezTo>
                      <a:pt x="4771" y="1264"/>
                      <a:pt x="4771" y="1264"/>
                      <a:pt x="4771" y="1264"/>
                    </a:cubicBezTo>
                    <a:cubicBezTo>
                      <a:pt x="4767" y="1281"/>
                      <a:pt x="4767" y="1281"/>
                      <a:pt x="4767" y="1281"/>
                    </a:cubicBezTo>
                    <a:cubicBezTo>
                      <a:pt x="4759" y="1279"/>
                      <a:pt x="4759" y="1279"/>
                      <a:pt x="4759" y="1279"/>
                    </a:cubicBezTo>
                    <a:cubicBezTo>
                      <a:pt x="4758" y="1259"/>
                      <a:pt x="4758" y="1259"/>
                      <a:pt x="4758" y="1259"/>
                    </a:cubicBezTo>
                    <a:cubicBezTo>
                      <a:pt x="4748" y="1252"/>
                      <a:pt x="4748" y="1252"/>
                      <a:pt x="4748" y="1252"/>
                    </a:cubicBezTo>
                    <a:cubicBezTo>
                      <a:pt x="4746" y="1271"/>
                      <a:pt x="4746" y="1271"/>
                      <a:pt x="4746" y="1271"/>
                    </a:cubicBezTo>
                    <a:cubicBezTo>
                      <a:pt x="4717" y="1273"/>
                      <a:pt x="4717" y="1273"/>
                      <a:pt x="4717" y="1273"/>
                    </a:cubicBezTo>
                    <a:cubicBezTo>
                      <a:pt x="4717" y="1273"/>
                      <a:pt x="4724" y="1263"/>
                      <a:pt x="4719" y="1257"/>
                    </a:cubicBezTo>
                    <a:cubicBezTo>
                      <a:pt x="4714" y="1251"/>
                      <a:pt x="4701" y="1253"/>
                      <a:pt x="4701" y="1253"/>
                    </a:cubicBezTo>
                    <a:cubicBezTo>
                      <a:pt x="4696" y="1260"/>
                      <a:pt x="4696" y="1260"/>
                      <a:pt x="4696" y="1260"/>
                    </a:cubicBezTo>
                    <a:cubicBezTo>
                      <a:pt x="4681" y="1261"/>
                      <a:pt x="4681" y="1261"/>
                      <a:pt x="4681" y="1261"/>
                    </a:cubicBezTo>
                    <a:cubicBezTo>
                      <a:pt x="4672" y="1236"/>
                      <a:pt x="4672" y="1236"/>
                      <a:pt x="4672" y="1236"/>
                    </a:cubicBezTo>
                    <a:cubicBezTo>
                      <a:pt x="4668" y="1235"/>
                      <a:pt x="4668" y="1235"/>
                      <a:pt x="4668" y="1235"/>
                    </a:cubicBezTo>
                    <a:cubicBezTo>
                      <a:pt x="4660" y="1222"/>
                      <a:pt x="4660" y="1222"/>
                      <a:pt x="4660" y="1222"/>
                    </a:cubicBezTo>
                    <a:cubicBezTo>
                      <a:pt x="4612" y="1224"/>
                      <a:pt x="4612" y="1224"/>
                      <a:pt x="4612" y="1224"/>
                    </a:cubicBezTo>
                    <a:cubicBezTo>
                      <a:pt x="4606" y="1218"/>
                      <a:pt x="4606" y="1218"/>
                      <a:pt x="4606" y="1218"/>
                    </a:cubicBezTo>
                    <a:cubicBezTo>
                      <a:pt x="4606" y="1218"/>
                      <a:pt x="4580" y="1222"/>
                      <a:pt x="4580" y="1205"/>
                    </a:cubicBezTo>
                    <a:cubicBezTo>
                      <a:pt x="4580" y="1188"/>
                      <a:pt x="4602" y="1186"/>
                      <a:pt x="4602" y="1186"/>
                    </a:cubicBezTo>
                    <a:cubicBezTo>
                      <a:pt x="4602" y="1170"/>
                      <a:pt x="4602" y="1170"/>
                      <a:pt x="4602" y="1170"/>
                    </a:cubicBezTo>
                    <a:cubicBezTo>
                      <a:pt x="4602" y="1170"/>
                      <a:pt x="4621" y="1169"/>
                      <a:pt x="4622" y="1158"/>
                    </a:cubicBezTo>
                    <a:cubicBezTo>
                      <a:pt x="4623" y="1147"/>
                      <a:pt x="4633" y="1132"/>
                      <a:pt x="4633" y="1132"/>
                    </a:cubicBezTo>
                    <a:cubicBezTo>
                      <a:pt x="4623" y="1123"/>
                      <a:pt x="4623" y="1123"/>
                      <a:pt x="4623" y="1123"/>
                    </a:cubicBezTo>
                    <a:cubicBezTo>
                      <a:pt x="4630" y="1110"/>
                      <a:pt x="4630" y="1110"/>
                      <a:pt x="4630" y="1110"/>
                    </a:cubicBezTo>
                    <a:cubicBezTo>
                      <a:pt x="4623" y="1100"/>
                      <a:pt x="4623" y="1100"/>
                      <a:pt x="4623" y="1100"/>
                    </a:cubicBezTo>
                    <a:cubicBezTo>
                      <a:pt x="4637" y="1089"/>
                      <a:pt x="4637" y="1089"/>
                      <a:pt x="4637" y="1089"/>
                    </a:cubicBezTo>
                    <a:cubicBezTo>
                      <a:pt x="4651" y="1086"/>
                      <a:pt x="4651" y="1086"/>
                      <a:pt x="4651" y="1086"/>
                    </a:cubicBezTo>
                    <a:cubicBezTo>
                      <a:pt x="4645" y="1064"/>
                      <a:pt x="4645" y="1064"/>
                      <a:pt x="4645" y="1064"/>
                    </a:cubicBezTo>
                    <a:cubicBezTo>
                      <a:pt x="4660" y="1059"/>
                      <a:pt x="4660" y="1059"/>
                      <a:pt x="4660" y="1059"/>
                    </a:cubicBezTo>
                    <a:cubicBezTo>
                      <a:pt x="4642" y="1036"/>
                      <a:pt x="4642" y="1036"/>
                      <a:pt x="4642" y="1036"/>
                    </a:cubicBezTo>
                    <a:cubicBezTo>
                      <a:pt x="4664" y="1027"/>
                      <a:pt x="4664" y="1027"/>
                      <a:pt x="4664" y="1027"/>
                    </a:cubicBezTo>
                    <a:cubicBezTo>
                      <a:pt x="4664" y="1027"/>
                      <a:pt x="4657" y="997"/>
                      <a:pt x="4673" y="987"/>
                    </a:cubicBezTo>
                    <a:cubicBezTo>
                      <a:pt x="4689" y="977"/>
                      <a:pt x="4695" y="976"/>
                      <a:pt x="4695" y="976"/>
                    </a:cubicBezTo>
                    <a:cubicBezTo>
                      <a:pt x="4695" y="976"/>
                      <a:pt x="4720" y="980"/>
                      <a:pt x="4732" y="979"/>
                    </a:cubicBezTo>
                    <a:cubicBezTo>
                      <a:pt x="4744" y="978"/>
                      <a:pt x="4796" y="982"/>
                      <a:pt x="4796" y="982"/>
                    </a:cubicBezTo>
                    <a:cubicBezTo>
                      <a:pt x="4807" y="993"/>
                      <a:pt x="4807" y="993"/>
                      <a:pt x="4807" y="993"/>
                    </a:cubicBezTo>
                    <a:cubicBezTo>
                      <a:pt x="4820" y="988"/>
                      <a:pt x="4820" y="988"/>
                      <a:pt x="4820" y="988"/>
                    </a:cubicBezTo>
                    <a:cubicBezTo>
                      <a:pt x="4815" y="976"/>
                      <a:pt x="4815" y="976"/>
                      <a:pt x="4815" y="976"/>
                    </a:cubicBezTo>
                    <a:cubicBezTo>
                      <a:pt x="4865" y="989"/>
                      <a:pt x="4865" y="989"/>
                      <a:pt x="4865" y="989"/>
                    </a:cubicBezTo>
                    <a:cubicBezTo>
                      <a:pt x="4885" y="977"/>
                      <a:pt x="4885" y="977"/>
                      <a:pt x="4885" y="977"/>
                    </a:cubicBezTo>
                    <a:cubicBezTo>
                      <a:pt x="4904" y="992"/>
                      <a:pt x="4904" y="992"/>
                      <a:pt x="4904" y="992"/>
                    </a:cubicBezTo>
                    <a:cubicBezTo>
                      <a:pt x="4909" y="968"/>
                      <a:pt x="4909" y="968"/>
                      <a:pt x="4909" y="968"/>
                    </a:cubicBezTo>
                    <a:cubicBezTo>
                      <a:pt x="4909" y="968"/>
                      <a:pt x="4932" y="966"/>
                      <a:pt x="4948" y="967"/>
                    </a:cubicBezTo>
                    <a:cubicBezTo>
                      <a:pt x="4964" y="968"/>
                      <a:pt x="4970" y="982"/>
                      <a:pt x="4976" y="980"/>
                    </a:cubicBezTo>
                    <a:cubicBezTo>
                      <a:pt x="4982" y="978"/>
                      <a:pt x="5000" y="967"/>
                      <a:pt x="5000" y="967"/>
                    </a:cubicBezTo>
                    <a:cubicBezTo>
                      <a:pt x="5016" y="981"/>
                      <a:pt x="5016" y="981"/>
                      <a:pt x="5016" y="981"/>
                    </a:cubicBezTo>
                    <a:cubicBezTo>
                      <a:pt x="5044" y="986"/>
                      <a:pt x="5044" y="986"/>
                      <a:pt x="5044" y="986"/>
                    </a:cubicBezTo>
                    <a:cubicBezTo>
                      <a:pt x="5008" y="993"/>
                      <a:pt x="5008" y="993"/>
                      <a:pt x="5008" y="993"/>
                    </a:cubicBezTo>
                    <a:cubicBezTo>
                      <a:pt x="5008" y="993"/>
                      <a:pt x="5019" y="1014"/>
                      <a:pt x="5030" y="1009"/>
                    </a:cubicBezTo>
                    <a:cubicBezTo>
                      <a:pt x="5041" y="1004"/>
                      <a:pt x="5061" y="996"/>
                      <a:pt x="5061" y="996"/>
                    </a:cubicBezTo>
                    <a:cubicBezTo>
                      <a:pt x="5079" y="1005"/>
                      <a:pt x="5079" y="1005"/>
                      <a:pt x="5079" y="1005"/>
                    </a:cubicBezTo>
                    <a:cubicBezTo>
                      <a:pt x="5094" y="993"/>
                      <a:pt x="5094" y="993"/>
                      <a:pt x="5094" y="993"/>
                    </a:cubicBezTo>
                    <a:cubicBezTo>
                      <a:pt x="5094" y="993"/>
                      <a:pt x="5121" y="1002"/>
                      <a:pt x="5129" y="998"/>
                    </a:cubicBezTo>
                    <a:cubicBezTo>
                      <a:pt x="5137" y="994"/>
                      <a:pt x="5131" y="986"/>
                      <a:pt x="5131" y="986"/>
                    </a:cubicBezTo>
                    <a:cubicBezTo>
                      <a:pt x="5155" y="988"/>
                      <a:pt x="5155" y="988"/>
                      <a:pt x="5155" y="988"/>
                    </a:cubicBezTo>
                    <a:cubicBezTo>
                      <a:pt x="5122" y="970"/>
                      <a:pt x="5122" y="970"/>
                      <a:pt x="5122" y="970"/>
                    </a:cubicBezTo>
                    <a:cubicBezTo>
                      <a:pt x="5104" y="977"/>
                      <a:pt x="5104" y="977"/>
                      <a:pt x="5104" y="977"/>
                    </a:cubicBezTo>
                    <a:cubicBezTo>
                      <a:pt x="5099" y="965"/>
                      <a:pt x="5099" y="965"/>
                      <a:pt x="5099" y="965"/>
                    </a:cubicBezTo>
                    <a:cubicBezTo>
                      <a:pt x="5099" y="965"/>
                      <a:pt x="5084" y="942"/>
                      <a:pt x="5086" y="937"/>
                    </a:cubicBezTo>
                    <a:cubicBezTo>
                      <a:pt x="5088" y="932"/>
                      <a:pt x="5105" y="918"/>
                      <a:pt x="5105" y="918"/>
                    </a:cubicBezTo>
                    <a:cubicBezTo>
                      <a:pt x="5101" y="898"/>
                      <a:pt x="5101" y="898"/>
                      <a:pt x="5101" y="898"/>
                    </a:cubicBezTo>
                    <a:cubicBezTo>
                      <a:pt x="5110" y="890"/>
                      <a:pt x="5110" y="890"/>
                      <a:pt x="5110" y="890"/>
                    </a:cubicBezTo>
                    <a:cubicBezTo>
                      <a:pt x="5110" y="890"/>
                      <a:pt x="5084" y="877"/>
                      <a:pt x="5101" y="866"/>
                    </a:cubicBezTo>
                    <a:cubicBezTo>
                      <a:pt x="5118" y="855"/>
                      <a:pt x="5154" y="866"/>
                      <a:pt x="5154" y="866"/>
                    </a:cubicBezTo>
                    <a:cubicBezTo>
                      <a:pt x="5168" y="852"/>
                      <a:pt x="5168" y="852"/>
                      <a:pt x="5168" y="852"/>
                    </a:cubicBezTo>
                    <a:cubicBezTo>
                      <a:pt x="5190" y="871"/>
                      <a:pt x="5190" y="871"/>
                      <a:pt x="5190" y="871"/>
                    </a:cubicBezTo>
                    <a:cubicBezTo>
                      <a:pt x="5209" y="860"/>
                      <a:pt x="5209" y="860"/>
                      <a:pt x="5209" y="860"/>
                    </a:cubicBezTo>
                    <a:cubicBezTo>
                      <a:pt x="5209" y="860"/>
                      <a:pt x="5222" y="893"/>
                      <a:pt x="5229" y="896"/>
                    </a:cubicBezTo>
                    <a:cubicBezTo>
                      <a:pt x="5236" y="899"/>
                      <a:pt x="5257" y="895"/>
                      <a:pt x="5257" y="895"/>
                    </a:cubicBezTo>
                    <a:cubicBezTo>
                      <a:pt x="5257" y="895"/>
                      <a:pt x="5257" y="926"/>
                      <a:pt x="5268" y="922"/>
                    </a:cubicBezTo>
                    <a:cubicBezTo>
                      <a:pt x="5279" y="918"/>
                      <a:pt x="5294" y="878"/>
                      <a:pt x="5294" y="878"/>
                    </a:cubicBezTo>
                    <a:cubicBezTo>
                      <a:pt x="5310" y="869"/>
                      <a:pt x="5310" y="869"/>
                      <a:pt x="5310" y="869"/>
                    </a:cubicBezTo>
                    <a:cubicBezTo>
                      <a:pt x="5330" y="876"/>
                      <a:pt x="5330" y="876"/>
                      <a:pt x="5330" y="876"/>
                    </a:cubicBezTo>
                    <a:cubicBezTo>
                      <a:pt x="5329" y="867"/>
                      <a:pt x="5329" y="867"/>
                      <a:pt x="5329" y="867"/>
                    </a:cubicBezTo>
                    <a:cubicBezTo>
                      <a:pt x="5310" y="857"/>
                      <a:pt x="5310" y="857"/>
                      <a:pt x="5310" y="857"/>
                    </a:cubicBezTo>
                    <a:cubicBezTo>
                      <a:pt x="5310" y="857"/>
                      <a:pt x="5263" y="823"/>
                      <a:pt x="5274" y="822"/>
                    </a:cubicBezTo>
                    <a:cubicBezTo>
                      <a:pt x="5285" y="821"/>
                      <a:pt x="5339" y="823"/>
                      <a:pt x="5339" y="823"/>
                    </a:cubicBezTo>
                    <a:cubicBezTo>
                      <a:pt x="5373" y="823"/>
                      <a:pt x="5373" y="823"/>
                      <a:pt x="5373" y="823"/>
                    </a:cubicBezTo>
                    <a:cubicBezTo>
                      <a:pt x="5373" y="823"/>
                      <a:pt x="5376" y="837"/>
                      <a:pt x="5372" y="836"/>
                    </a:cubicBezTo>
                    <a:cubicBezTo>
                      <a:pt x="5368" y="835"/>
                      <a:pt x="5329" y="823"/>
                      <a:pt x="5331" y="837"/>
                    </a:cubicBezTo>
                    <a:cubicBezTo>
                      <a:pt x="5333" y="851"/>
                      <a:pt x="5356" y="864"/>
                      <a:pt x="5356" y="864"/>
                    </a:cubicBezTo>
                    <a:cubicBezTo>
                      <a:pt x="5358" y="881"/>
                      <a:pt x="5358" y="881"/>
                      <a:pt x="5358" y="881"/>
                    </a:cubicBezTo>
                    <a:cubicBezTo>
                      <a:pt x="5378" y="884"/>
                      <a:pt x="5378" y="884"/>
                      <a:pt x="5378" y="884"/>
                    </a:cubicBezTo>
                    <a:cubicBezTo>
                      <a:pt x="5374" y="897"/>
                      <a:pt x="5374" y="897"/>
                      <a:pt x="5374" y="897"/>
                    </a:cubicBezTo>
                    <a:cubicBezTo>
                      <a:pt x="5387" y="908"/>
                      <a:pt x="5387" y="908"/>
                      <a:pt x="5387" y="908"/>
                    </a:cubicBezTo>
                    <a:cubicBezTo>
                      <a:pt x="5369" y="911"/>
                      <a:pt x="5369" y="911"/>
                      <a:pt x="5369" y="911"/>
                    </a:cubicBezTo>
                    <a:cubicBezTo>
                      <a:pt x="5364" y="922"/>
                      <a:pt x="5364" y="922"/>
                      <a:pt x="5364" y="922"/>
                    </a:cubicBezTo>
                    <a:cubicBezTo>
                      <a:pt x="5352" y="926"/>
                      <a:pt x="5352" y="926"/>
                      <a:pt x="5352" y="926"/>
                    </a:cubicBezTo>
                    <a:cubicBezTo>
                      <a:pt x="5352" y="926"/>
                      <a:pt x="5365" y="948"/>
                      <a:pt x="5358" y="960"/>
                    </a:cubicBezTo>
                    <a:cubicBezTo>
                      <a:pt x="5351" y="972"/>
                      <a:pt x="5340" y="992"/>
                      <a:pt x="5340" y="999"/>
                    </a:cubicBezTo>
                    <a:cubicBezTo>
                      <a:pt x="5340" y="1006"/>
                      <a:pt x="5358" y="1012"/>
                      <a:pt x="5345" y="1029"/>
                    </a:cubicBezTo>
                    <a:cubicBezTo>
                      <a:pt x="5332" y="1046"/>
                      <a:pt x="5310" y="1051"/>
                      <a:pt x="5310" y="1051"/>
                    </a:cubicBezTo>
                    <a:cubicBezTo>
                      <a:pt x="5313" y="1063"/>
                      <a:pt x="5313" y="1063"/>
                      <a:pt x="5313" y="1063"/>
                    </a:cubicBezTo>
                    <a:cubicBezTo>
                      <a:pt x="5300" y="1063"/>
                      <a:pt x="5300" y="1063"/>
                      <a:pt x="5300" y="1063"/>
                    </a:cubicBezTo>
                    <a:cubicBezTo>
                      <a:pt x="5300" y="1063"/>
                      <a:pt x="5324" y="1073"/>
                      <a:pt x="5322" y="1090"/>
                    </a:cubicBezTo>
                    <a:cubicBezTo>
                      <a:pt x="5320" y="1107"/>
                      <a:pt x="5313" y="1118"/>
                      <a:pt x="5320" y="1135"/>
                    </a:cubicBezTo>
                    <a:cubicBezTo>
                      <a:pt x="5327" y="1152"/>
                      <a:pt x="5392" y="1206"/>
                      <a:pt x="5392" y="1206"/>
                    </a:cubicBezTo>
                    <a:cubicBezTo>
                      <a:pt x="5432" y="1247"/>
                      <a:pt x="5432" y="1247"/>
                      <a:pt x="5432" y="1247"/>
                    </a:cubicBezTo>
                    <a:cubicBezTo>
                      <a:pt x="5441" y="1244"/>
                      <a:pt x="5441" y="1244"/>
                      <a:pt x="5441" y="1244"/>
                    </a:cubicBezTo>
                    <a:cubicBezTo>
                      <a:pt x="5494" y="1308"/>
                      <a:pt x="5494" y="1308"/>
                      <a:pt x="5494" y="1308"/>
                    </a:cubicBezTo>
                    <a:cubicBezTo>
                      <a:pt x="5529" y="1319"/>
                      <a:pt x="5529" y="1319"/>
                      <a:pt x="5529" y="1319"/>
                    </a:cubicBezTo>
                    <a:cubicBezTo>
                      <a:pt x="5544" y="1337"/>
                      <a:pt x="5544" y="1337"/>
                      <a:pt x="5544" y="1337"/>
                    </a:cubicBezTo>
                    <a:cubicBezTo>
                      <a:pt x="5544" y="1337"/>
                      <a:pt x="5583" y="1385"/>
                      <a:pt x="5590" y="1389"/>
                    </a:cubicBezTo>
                    <a:cubicBezTo>
                      <a:pt x="5597" y="1393"/>
                      <a:pt x="5608" y="1393"/>
                      <a:pt x="5608" y="1393"/>
                    </a:cubicBezTo>
                    <a:cubicBezTo>
                      <a:pt x="5608" y="1393"/>
                      <a:pt x="5602" y="1411"/>
                      <a:pt x="5617" y="1405"/>
                    </a:cubicBezTo>
                    <a:cubicBezTo>
                      <a:pt x="5632" y="1399"/>
                      <a:pt x="5630" y="1386"/>
                      <a:pt x="5630" y="1386"/>
                    </a:cubicBezTo>
                    <a:cubicBezTo>
                      <a:pt x="5623" y="1378"/>
                      <a:pt x="5623" y="1378"/>
                      <a:pt x="5623" y="1378"/>
                    </a:cubicBezTo>
                    <a:cubicBezTo>
                      <a:pt x="5623" y="1378"/>
                      <a:pt x="5638" y="1358"/>
                      <a:pt x="5635" y="1349"/>
                    </a:cubicBezTo>
                    <a:cubicBezTo>
                      <a:pt x="5632" y="1340"/>
                      <a:pt x="5601" y="1323"/>
                      <a:pt x="5608" y="1310"/>
                    </a:cubicBezTo>
                    <a:cubicBezTo>
                      <a:pt x="5615" y="1297"/>
                      <a:pt x="5624" y="1289"/>
                      <a:pt x="5627" y="1288"/>
                    </a:cubicBezTo>
                    <a:cubicBezTo>
                      <a:pt x="5630" y="1287"/>
                      <a:pt x="5650" y="1295"/>
                      <a:pt x="5650" y="1295"/>
                    </a:cubicBezTo>
                    <a:cubicBezTo>
                      <a:pt x="5650" y="1295"/>
                      <a:pt x="5628" y="1269"/>
                      <a:pt x="5622" y="1265"/>
                    </a:cubicBezTo>
                    <a:cubicBezTo>
                      <a:pt x="5616" y="1261"/>
                      <a:pt x="5601" y="1255"/>
                      <a:pt x="5604" y="1240"/>
                    </a:cubicBezTo>
                    <a:cubicBezTo>
                      <a:pt x="5607" y="1225"/>
                      <a:pt x="5625" y="1220"/>
                      <a:pt x="5625" y="1220"/>
                    </a:cubicBezTo>
                    <a:cubicBezTo>
                      <a:pt x="5625" y="1220"/>
                      <a:pt x="5654" y="1232"/>
                      <a:pt x="5652" y="1217"/>
                    </a:cubicBezTo>
                    <a:cubicBezTo>
                      <a:pt x="5650" y="1202"/>
                      <a:pt x="5637" y="1198"/>
                      <a:pt x="5621" y="1190"/>
                    </a:cubicBezTo>
                    <a:cubicBezTo>
                      <a:pt x="5605" y="1182"/>
                      <a:pt x="5591" y="1163"/>
                      <a:pt x="5590" y="1152"/>
                    </a:cubicBezTo>
                    <a:cubicBezTo>
                      <a:pt x="5589" y="1141"/>
                      <a:pt x="5583" y="1129"/>
                      <a:pt x="5583" y="1129"/>
                    </a:cubicBezTo>
                    <a:cubicBezTo>
                      <a:pt x="5590" y="1126"/>
                      <a:pt x="5590" y="1126"/>
                      <a:pt x="5590" y="1126"/>
                    </a:cubicBezTo>
                    <a:cubicBezTo>
                      <a:pt x="5590" y="1126"/>
                      <a:pt x="5616" y="1151"/>
                      <a:pt x="5622" y="1146"/>
                    </a:cubicBezTo>
                    <a:cubicBezTo>
                      <a:pt x="5628" y="1141"/>
                      <a:pt x="5604" y="1114"/>
                      <a:pt x="5604" y="1114"/>
                    </a:cubicBezTo>
                    <a:cubicBezTo>
                      <a:pt x="5581" y="1111"/>
                      <a:pt x="5581" y="1111"/>
                      <a:pt x="5581" y="1111"/>
                    </a:cubicBezTo>
                    <a:cubicBezTo>
                      <a:pt x="5548" y="1083"/>
                      <a:pt x="5548" y="1083"/>
                      <a:pt x="5548" y="1083"/>
                    </a:cubicBezTo>
                    <a:cubicBezTo>
                      <a:pt x="5548" y="1083"/>
                      <a:pt x="5552" y="1062"/>
                      <a:pt x="5536" y="1055"/>
                    </a:cubicBezTo>
                    <a:cubicBezTo>
                      <a:pt x="5520" y="1048"/>
                      <a:pt x="5508" y="1048"/>
                      <a:pt x="5508" y="1048"/>
                    </a:cubicBezTo>
                    <a:cubicBezTo>
                      <a:pt x="5509" y="1060"/>
                      <a:pt x="5509" y="1060"/>
                      <a:pt x="5509" y="1060"/>
                    </a:cubicBezTo>
                    <a:cubicBezTo>
                      <a:pt x="5509" y="1060"/>
                      <a:pt x="5465" y="1050"/>
                      <a:pt x="5464" y="1034"/>
                    </a:cubicBezTo>
                    <a:cubicBezTo>
                      <a:pt x="5463" y="1018"/>
                      <a:pt x="5471" y="1007"/>
                      <a:pt x="5463" y="992"/>
                    </a:cubicBezTo>
                    <a:cubicBezTo>
                      <a:pt x="5455" y="977"/>
                      <a:pt x="5439" y="969"/>
                      <a:pt x="5439" y="969"/>
                    </a:cubicBezTo>
                    <a:cubicBezTo>
                      <a:pt x="5439" y="969"/>
                      <a:pt x="5441" y="953"/>
                      <a:pt x="5445" y="951"/>
                    </a:cubicBezTo>
                    <a:cubicBezTo>
                      <a:pt x="5449" y="949"/>
                      <a:pt x="5458" y="956"/>
                      <a:pt x="5458" y="956"/>
                    </a:cubicBezTo>
                    <a:cubicBezTo>
                      <a:pt x="5467" y="945"/>
                      <a:pt x="5467" y="945"/>
                      <a:pt x="5467" y="945"/>
                    </a:cubicBezTo>
                    <a:cubicBezTo>
                      <a:pt x="5492" y="964"/>
                      <a:pt x="5492" y="964"/>
                      <a:pt x="5492" y="964"/>
                    </a:cubicBezTo>
                    <a:cubicBezTo>
                      <a:pt x="5497" y="959"/>
                      <a:pt x="5497" y="959"/>
                      <a:pt x="5497" y="959"/>
                    </a:cubicBezTo>
                    <a:cubicBezTo>
                      <a:pt x="5489" y="951"/>
                      <a:pt x="5489" y="951"/>
                      <a:pt x="5489" y="951"/>
                    </a:cubicBezTo>
                    <a:cubicBezTo>
                      <a:pt x="5489" y="951"/>
                      <a:pt x="5495" y="919"/>
                      <a:pt x="5506" y="925"/>
                    </a:cubicBezTo>
                    <a:cubicBezTo>
                      <a:pt x="5517" y="931"/>
                      <a:pt x="5544" y="964"/>
                      <a:pt x="5544" y="964"/>
                    </a:cubicBezTo>
                    <a:cubicBezTo>
                      <a:pt x="5551" y="931"/>
                      <a:pt x="5551" y="931"/>
                      <a:pt x="5551" y="931"/>
                    </a:cubicBezTo>
                    <a:cubicBezTo>
                      <a:pt x="5551" y="931"/>
                      <a:pt x="5608" y="924"/>
                      <a:pt x="5617" y="924"/>
                    </a:cubicBezTo>
                    <a:cubicBezTo>
                      <a:pt x="5626" y="924"/>
                      <a:pt x="5663" y="944"/>
                      <a:pt x="5663" y="944"/>
                    </a:cubicBezTo>
                    <a:cubicBezTo>
                      <a:pt x="5691" y="955"/>
                      <a:pt x="5691" y="955"/>
                      <a:pt x="5691" y="955"/>
                    </a:cubicBezTo>
                    <a:cubicBezTo>
                      <a:pt x="5671" y="915"/>
                      <a:pt x="5671" y="915"/>
                      <a:pt x="5671" y="915"/>
                    </a:cubicBezTo>
                    <a:cubicBezTo>
                      <a:pt x="5671" y="915"/>
                      <a:pt x="5703" y="916"/>
                      <a:pt x="5705" y="905"/>
                    </a:cubicBezTo>
                    <a:cubicBezTo>
                      <a:pt x="5707" y="894"/>
                      <a:pt x="5697" y="876"/>
                      <a:pt x="5697" y="876"/>
                    </a:cubicBezTo>
                    <a:cubicBezTo>
                      <a:pt x="5710" y="877"/>
                      <a:pt x="5710" y="877"/>
                      <a:pt x="5710" y="877"/>
                    </a:cubicBezTo>
                    <a:cubicBezTo>
                      <a:pt x="5713" y="861"/>
                      <a:pt x="5713" y="861"/>
                      <a:pt x="5713" y="861"/>
                    </a:cubicBezTo>
                    <a:cubicBezTo>
                      <a:pt x="5713" y="861"/>
                      <a:pt x="5752" y="870"/>
                      <a:pt x="5758" y="855"/>
                    </a:cubicBezTo>
                    <a:cubicBezTo>
                      <a:pt x="5764" y="840"/>
                      <a:pt x="5784" y="828"/>
                      <a:pt x="5784" y="828"/>
                    </a:cubicBezTo>
                    <a:cubicBezTo>
                      <a:pt x="5770" y="811"/>
                      <a:pt x="5770" y="811"/>
                      <a:pt x="5770" y="811"/>
                    </a:cubicBezTo>
                    <a:cubicBezTo>
                      <a:pt x="5791" y="813"/>
                      <a:pt x="5791" y="813"/>
                      <a:pt x="5791" y="813"/>
                    </a:cubicBezTo>
                    <a:cubicBezTo>
                      <a:pt x="5794" y="825"/>
                      <a:pt x="5794" y="825"/>
                      <a:pt x="5794" y="825"/>
                    </a:cubicBezTo>
                    <a:cubicBezTo>
                      <a:pt x="5835" y="828"/>
                      <a:pt x="5835" y="828"/>
                      <a:pt x="5835" y="828"/>
                    </a:cubicBezTo>
                    <a:cubicBezTo>
                      <a:pt x="5835" y="828"/>
                      <a:pt x="5877" y="838"/>
                      <a:pt x="5877" y="832"/>
                    </a:cubicBezTo>
                    <a:cubicBezTo>
                      <a:pt x="5877" y="826"/>
                      <a:pt x="5873" y="814"/>
                      <a:pt x="5873" y="814"/>
                    </a:cubicBezTo>
                    <a:cubicBezTo>
                      <a:pt x="5848" y="811"/>
                      <a:pt x="5848" y="811"/>
                      <a:pt x="5848" y="811"/>
                    </a:cubicBezTo>
                    <a:cubicBezTo>
                      <a:pt x="5844" y="797"/>
                      <a:pt x="5844" y="797"/>
                      <a:pt x="5844" y="797"/>
                    </a:cubicBezTo>
                    <a:cubicBezTo>
                      <a:pt x="5844" y="797"/>
                      <a:pt x="5807" y="784"/>
                      <a:pt x="5795" y="780"/>
                    </a:cubicBezTo>
                    <a:cubicBezTo>
                      <a:pt x="5783" y="776"/>
                      <a:pt x="5774" y="782"/>
                      <a:pt x="5774" y="782"/>
                    </a:cubicBezTo>
                    <a:cubicBezTo>
                      <a:pt x="5778" y="770"/>
                      <a:pt x="5778" y="770"/>
                      <a:pt x="5778" y="770"/>
                    </a:cubicBezTo>
                    <a:cubicBezTo>
                      <a:pt x="5730" y="736"/>
                      <a:pt x="5730" y="736"/>
                      <a:pt x="5730" y="736"/>
                    </a:cubicBezTo>
                    <a:cubicBezTo>
                      <a:pt x="5719" y="747"/>
                      <a:pt x="5719" y="747"/>
                      <a:pt x="5719" y="747"/>
                    </a:cubicBezTo>
                    <a:cubicBezTo>
                      <a:pt x="5719" y="747"/>
                      <a:pt x="5699" y="742"/>
                      <a:pt x="5691" y="739"/>
                    </a:cubicBezTo>
                    <a:cubicBezTo>
                      <a:pt x="5683" y="736"/>
                      <a:pt x="5672" y="727"/>
                      <a:pt x="5672" y="727"/>
                    </a:cubicBezTo>
                    <a:cubicBezTo>
                      <a:pt x="5649" y="732"/>
                      <a:pt x="5649" y="732"/>
                      <a:pt x="5649" y="732"/>
                    </a:cubicBezTo>
                    <a:cubicBezTo>
                      <a:pt x="5630" y="730"/>
                      <a:pt x="5630" y="730"/>
                      <a:pt x="5630" y="730"/>
                    </a:cubicBezTo>
                    <a:cubicBezTo>
                      <a:pt x="5630" y="730"/>
                      <a:pt x="5599" y="712"/>
                      <a:pt x="5611" y="709"/>
                    </a:cubicBezTo>
                    <a:cubicBezTo>
                      <a:pt x="5623" y="706"/>
                      <a:pt x="5635" y="713"/>
                      <a:pt x="5644" y="715"/>
                    </a:cubicBezTo>
                    <a:cubicBezTo>
                      <a:pt x="5653" y="717"/>
                      <a:pt x="5697" y="724"/>
                      <a:pt x="5697" y="724"/>
                    </a:cubicBezTo>
                    <a:cubicBezTo>
                      <a:pt x="5697" y="724"/>
                      <a:pt x="5749" y="709"/>
                      <a:pt x="5749" y="702"/>
                    </a:cubicBezTo>
                    <a:cubicBezTo>
                      <a:pt x="5749" y="695"/>
                      <a:pt x="5719" y="679"/>
                      <a:pt x="5716" y="677"/>
                    </a:cubicBezTo>
                    <a:cubicBezTo>
                      <a:pt x="5713" y="675"/>
                      <a:pt x="5664" y="658"/>
                      <a:pt x="5679" y="649"/>
                    </a:cubicBezTo>
                    <a:cubicBezTo>
                      <a:pt x="5694" y="640"/>
                      <a:pt x="5719" y="660"/>
                      <a:pt x="5719" y="660"/>
                    </a:cubicBezTo>
                    <a:cubicBezTo>
                      <a:pt x="5719" y="660"/>
                      <a:pt x="5766" y="689"/>
                      <a:pt x="5780" y="687"/>
                    </a:cubicBezTo>
                    <a:cubicBezTo>
                      <a:pt x="5794" y="685"/>
                      <a:pt x="5799" y="671"/>
                      <a:pt x="5838" y="684"/>
                    </a:cubicBezTo>
                    <a:cubicBezTo>
                      <a:pt x="5877" y="697"/>
                      <a:pt x="5911" y="711"/>
                      <a:pt x="5922" y="713"/>
                    </a:cubicBezTo>
                    <a:cubicBezTo>
                      <a:pt x="5933" y="715"/>
                      <a:pt x="5976" y="727"/>
                      <a:pt x="5976" y="727"/>
                    </a:cubicBezTo>
                    <a:cubicBezTo>
                      <a:pt x="5976" y="727"/>
                      <a:pt x="6035" y="762"/>
                      <a:pt x="6031" y="744"/>
                    </a:cubicBezTo>
                    <a:cubicBezTo>
                      <a:pt x="6027" y="726"/>
                      <a:pt x="6007" y="715"/>
                      <a:pt x="6007" y="715"/>
                    </a:cubicBezTo>
                    <a:cubicBezTo>
                      <a:pt x="6019" y="706"/>
                      <a:pt x="6019" y="706"/>
                      <a:pt x="6019" y="706"/>
                    </a:cubicBezTo>
                    <a:cubicBezTo>
                      <a:pt x="5989" y="693"/>
                      <a:pt x="5989" y="693"/>
                      <a:pt x="5989" y="693"/>
                    </a:cubicBezTo>
                    <a:cubicBezTo>
                      <a:pt x="5995" y="689"/>
                      <a:pt x="5995" y="689"/>
                      <a:pt x="5995" y="689"/>
                    </a:cubicBezTo>
                    <a:cubicBezTo>
                      <a:pt x="5962" y="672"/>
                      <a:pt x="5962" y="672"/>
                      <a:pt x="5962" y="672"/>
                    </a:cubicBezTo>
                    <a:cubicBezTo>
                      <a:pt x="5998" y="679"/>
                      <a:pt x="5998" y="679"/>
                      <a:pt x="5998" y="679"/>
                    </a:cubicBezTo>
                    <a:cubicBezTo>
                      <a:pt x="5994" y="666"/>
                      <a:pt x="5994" y="666"/>
                      <a:pt x="5994" y="666"/>
                    </a:cubicBezTo>
                    <a:cubicBezTo>
                      <a:pt x="5994" y="666"/>
                      <a:pt x="6045" y="678"/>
                      <a:pt x="6034" y="664"/>
                    </a:cubicBezTo>
                    <a:close/>
                    <a:moveTo>
                      <a:pt x="3574" y="1289"/>
                    </a:moveTo>
                    <a:cubicBezTo>
                      <a:pt x="3574" y="1289"/>
                      <a:pt x="3571" y="1303"/>
                      <a:pt x="3570" y="1306"/>
                    </a:cubicBezTo>
                    <a:cubicBezTo>
                      <a:pt x="3569" y="1309"/>
                      <a:pt x="3556" y="1316"/>
                      <a:pt x="3556" y="1316"/>
                    </a:cubicBezTo>
                    <a:cubicBezTo>
                      <a:pt x="3556" y="1316"/>
                      <a:pt x="3544" y="1322"/>
                      <a:pt x="3540" y="1322"/>
                    </a:cubicBezTo>
                    <a:cubicBezTo>
                      <a:pt x="3535" y="1322"/>
                      <a:pt x="3536" y="1334"/>
                      <a:pt x="3536" y="1334"/>
                    </a:cubicBezTo>
                    <a:cubicBezTo>
                      <a:pt x="3536" y="1334"/>
                      <a:pt x="3534" y="1327"/>
                      <a:pt x="3514" y="1334"/>
                    </a:cubicBezTo>
                    <a:cubicBezTo>
                      <a:pt x="3493" y="1340"/>
                      <a:pt x="3522" y="1350"/>
                      <a:pt x="3522" y="1350"/>
                    </a:cubicBezTo>
                    <a:cubicBezTo>
                      <a:pt x="3522" y="1350"/>
                      <a:pt x="3512" y="1358"/>
                      <a:pt x="3510" y="1367"/>
                    </a:cubicBezTo>
                    <a:cubicBezTo>
                      <a:pt x="3509" y="1377"/>
                      <a:pt x="3494" y="1368"/>
                      <a:pt x="3494" y="1368"/>
                    </a:cubicBezTo>
                    <a:cubicBezTo>
                      <a:pt x="3494" y="1368"/>
                      <a:pt x="3491" y="1382"/>
                      <a:pt x="3471" y="1382"/>
                    </a:cubicBezTo>
                    <a:cubicBezTo>
                      <a:pt x="3450" y="1382"/>
                      <a:pt x="3451" y="1377"/>
                      <a:pt x="3451" y="1377"/>
                    </a:cubicBezTo>
                    <a:cubicBezTo>
                      <a:pt x="3428" y="1371"/>
                      <a:pt x="3428" y="1371"/>
                      <a:pt x="3428" y="1371"/>
                    </a:cubicBezTo>
                    <a:cubicBezTo>
                      <a:pt x="3439" y="1365"/>
                      <a:pt x="3439" y="1365"/>
                      <a:pt x="3439" y="1365"/>
                    </a:cubicBezTo>
                    <a:cubicBezTo>
                      <a:pt x="3461" y="1365"/>
                      <a:pt x="3461" y="1365"/>
                      <a:pt x="3461" y="1365"/>
                    </a:cubicBezTo>
                    <a:cubicBezTo>
                      <a:pt x="3462" y="1360"/>
                      <a:pt x="3462" y="1360"/>
                      <a:pt x="3462" y="1360"/>
                    </a:cubicBezTo>
                    <a:cubicBezTo>
                      <a:pt x="3462" y="1360"/>
                      <a:pt x="3478" y="1360"/>
                      <a:pt x="3485" y="1353"/>
                    </a:cubicBezTo>
                    <a:cubicBezTo>
                      <a:pt x="3491" y="1347"/>
                      <a:pt x="3492" y="1328"/>
                      <a:pt x="3492" y="1328"/>
                    </a:cubicBezTo>
                    <a:cubicBezTo>
                      <a:pt x="3492" y="1328"/>
                      <a:pt x="3496" y="1327"/>
                      <a:pt x="3505" y="1325"/>
                    </a:cubicBezTo>
                    <a:cubicBezTo>
                      <a:pt x="3514" y="1323"/>
                      <a:pt x="3514" y="1307"/>
                      <a:pt x="3514" y="1307"/>
                    </a:cubicBezTo>
                    <a:cubicBezTo>
                      <a:pt x="3514" y="1307"/>
                      <a:pt x="3507" y="1303"/>
                      <a:pt x="3508" y="1297"/>
                    </a:cubicBezTo>
                    <a:cubicBezTo>
                      <a:pt x="3509" y="1292"/>
                      <a:pt x="3528" y="1275"/>
                      <a:pt x="3528" y="1275"/>
                    </a:cubicBezTo>
                    <a:cubicBezTo>
                      <a:pt x="3528" y="1264"/>
                      <a:pt x="3528" y="1264"/>
                      <a:pt x="3528" y="1264"/>
                    </a:cubicBezTo>
                    <a:cubicBezTo>
                      <a:pt x="3542" y="1251"/>
                      <a:pt x="3542" y="1251"/>
                      <a:pt x="3542" y="1251"/>
                    </a:cubicBezTo>
                    <a:cubicBezTo>
                      <a:pt x="3534" y="1240"/>
                      <a:pt x="3534" y="1240"/>
                      <a:pt x="3534" y="1240"/>
                    </a:cubicBezTo>
                    <a:cubicBezTo>
                      <a:pt x="3533" y="1187"/>
                      <a:pt x="3533" y="1187"/>
                      <a:pt x="3533" y="1187"/>
                    </a:cubicBezTo>
                    <a:cubicBezTo>
                      <a:pt x="3533" y="1187"/>
                      <a:pt x="3518" y="1165"/>
                      <a:pt x="3536" y="1160"/>
                    </a:cubicBezTo>
                    <a:cubicBezTo>
                      <a:pt x="3555" y="1156"/>
                      <a:pt x="3551" y="1181"/>
                      <a:pt x="3551" y="1181"/>
                    </a:cubicBezTo>
                    <a:cubicBezTo>
                      <a:pt x="3551" y="1181"/>
                      <a:pt x="3560" y="1188"/>
                      <a:pt x="3564" y="1203"/>
                    </a:cubicBezTo>
                    <a:cubicBezTo>
                      <a:pt x="3569" y="1219"/>
                      <a:pt x="3571" y="1229"/>
                      <a:pt x="3571" y="1229"/>
                    </a:cubicBezTo>
                    <a:cubicBezTo>
                      <a:pt x="3585" y="1248"/>
                      <a:pt x="3585" y="1248"/>
                      <a:pt x="3585" y="1248"/>
                    </a:cubicBezTo>
                    <a:cubicBezTo>
                      <a:pt x="3579" y="1259"/>
                      <a:pt x="3579" y="1259"/>
                      <a:pt x="3579" y="1259"/>
                    </a:cubicBezTo>
                    <a:cubicBezTo>
                      <a:pt x="3579" y="1259"/>
                      <a:pt x="3566" y="1265"/>
                      <a:pt x="3568" y="1272"/>
                    </a:cubicBezTo>
                    <a:cubicBezTo>
                      <a:pt x="3569" y="1280"/>
                      <a:pt x="3585" y="1271"/>
                      <a:pt x="3585" y="1271"/>
                    </a:cubicBezTo>
                    <a:cubicBezTo>
                      <a:pt x="3587" y="1282"/>
                      <a:pt x="3587" y="1282"/>
                      <a:pt x="3587" y="1282"/>
                    </a:cubicBezTo>
                    <a:lnTo>
                      <a:pt x="3574" y="1289"/>
                    </a:lnTo>
                    <a:close/>
                    <a:moveTo>
                      <a:pt x="4656" y="1185"/>
                    </a:moveTo>
                    <a:cubicBezTo>
                      <a:pt x="4650" y="1193"/>
                      <a:pt x="4662" y="1221"/>
                      <a:pt x="4684" y="1223"/>
                    </a:cubicBezTo>
                    <a:cubicBezTo>
                      <a:pt x="4702" y="1225"/>
                      <a:pt x="4662" y="1177"/>
                      <a:pt x="4656" y="1185"/>
                    </a:cubicBezTo>
                    <a:close/>
                    <a:moveTo>
                      <a:pt x="1020" y="0"/>
                    </a:moveTo>
                    <a:cubicBezTo>
                      <a:pt x="986" y="0"/>
                      <a:pt x="986" y="0"/>
                      <a:pt x="986" y="0"/>
                    </a:cubicBezTo>
                    <a:cubicBezTo>
                      <a:pt x="986" y="10"/>
                      <a:pt x="986" y="10"/>
                      <a:pt x="986" y="10"/>
                    </a:cubicBezTo>
                    <a:cubicBezTo>
                      <a:pt x="1007" y="11"/>
                      <a:pt x="1007" y="11"/>
                      <a:pt x="1007" y="11"/>
                    </a:cubicBezTo>
                    <a:cubicBezTo>
                      <a:pt x="1021" y="10"/>
                      <a:pt x="1020" y="0"/>
                      <a:pt x="1020" y="0"/>
                    </a:cubicBezTo>
                    <a:close/>
                    <a:moveTo>
                      <a:pt x="1012" y="37"/>
                    </a:moveTo>
                    <a:cubicBezTo>
                      <a:pt x="1026" y="35"/>
                      <a:pt x="1035" y="23"/>
                      <a:pt x="1017" y="23"/>
                    </a:cubicBezTo>
                    <a:cubicBezTo>
                      <a:pt x="999" y="23"/>
                      <a:pt x="1002" y="38"/>
                      <a:pt x="1012" y="37"/>
                    </a:cubicBezTo>
                    <a:close/>
                    <a:moveTo>
                      <a:pt x="943" y="537"/>
                    </a:moveTo>
                    <a:cubicBezTo>
                      <a:pt x="965" y="542"/>
                      <a:pt x="973" y="535"/>
                      <a:pt x="980" y="531"/>
                    </a:cubicBezTo>
                    <a:cubicBezTo>
                      <a:pt x="987" y="527"/>
                      <a:pt x="993" y="519"/>
                      <a:pt x="993" y="519"/>
                    </a:cubicBezTo>
                    <a:cubicBezTo>
                      <a:pt x="1002" y="518"/>
                      <a:pt x="1002" y="518"/>
                      <a:pt x="1002" y="518"/>
                    </a:cubicBezTo>
                    <a:cubicBezTo>
                      <a:pt x="1002" y="518"/>
                      <a:pt x="994" y="507"/>
                      <a:pt x="968" y="501"/>
                    </a:cubicBezTo>
                    <a:cubicBezTo>
                      <a:pt x="942" y="495"/>
                      <a:pt x="927" y="518"/>
                      <a:pt x="927" y="518"/>
                    </a:cubicBezTo>
                    <a:cubicBezTo>
                      <a:pt x="927" y="521"/>
                      <a:pt x="921" y="533"/>
                      <a:pt x="943" y="537"/>
                    </a:cubicBezTo>
                    <a:close/>
                    <a:moveTo>
                      <a:pt x="996" y="48"/>
                    </a:moveTo>
                    <a:cubicBezTo>
                      <a:pt x="1007" y="61"/>
                      <a:pt x="1000" y="62"/>
                      <a:pt x="1023" y="55"/>
                    </a:cubicBezTo>
                    <a:cubicBezTo>
                      <a:pt x="1045" y="48"/>
                      <a:pt x="1020" y="45"/>
                      <a:pt x="1016" y="45"/>
                    </a:cubicBezTo>
                    <a:cubicBezTo>
                      <a:pt x="1012" y="45"/>
                      <a:pt x="996" y="48"/>
                      <a:pt x="996" y="48"/>
                    </a:cubicBezTo>
                    <a:close/>
                    <a:moveTo>
                      <a:pt x="966" y="65"/>
                    </a:moveTo>
                    <a:cubicBezTo>
                      <a:pt x="976" y="65"/>
                      <a:pt x="1009" y="63"/>
                      <a:pt x="1003" y="62"/>
                    </a:cubicBezTo>
                    <a:cubicBezTo>
                      <a:pt x="997" y="61"/>
                      <a:pt x="985" y="52"/>
                      <a:pt x="985" y="52"/>
                    </a:cubicBezTo>
                    <a:cubicBezTo>
                      <a:pt x="954" y="52"/>
                      <a:pt x="954" y="52"/>
                      <a:pt x="954" y="52"/>
                    </a:cubicBezTo>
                    <a:cubicBezTo>
                      <a:pt x="954" y="52"/>
                      <a:pt x="957" y="65"/>
                      <a:pt x="966" y="65"/>
                    </a:cubicBezTo>
                    <a:close/>
                    <a:moveTo>
                      <a:pt x="893" y="23"/>
                    </a:moveTo>
                    <a:cubicBezTo>
                      <a:pt x="876" y="24"/>
                      <a:pt x="885" y="35"/>
                      <a:pt x="885" y="35"/>
                    </a:cubicBezTo>
                    <a:cubicBezTo>
                      <a:pt x="910" y="30"/>
                      <a:pt x="910" y="21"/>
                      <a:pt x="893" y="23"/>
                    </a:cubicBezTo>
                    <a:close/>
                    <a:moveTo>
                      <a:pt x="940" y="48"/>
                    </a:moveTo>
                    <a:cubicBezTo>
                      <a:pt x="924" y="45"/>
                      <a:pt x="924" y="45"/>
                      <a:pt x="924" y="45"/>
                    </a:cubicBezTo>
                    <a:cubicBezTo>
                      <a:pt x="930" y="61"/>
                      <a:pt x="930" y="61"/>
                      <a:pt x="930" y="61"/>
                    </a:cubicBezTo>
                    <a:lnTo>
                      <a:pt x="940" y="48"/>
                    </a:lnTo>
                    <a:close/>
                    <a:moveTo>
                      <a:pt x="972" y="10"/>
                    </a:moveTo>
                    <a:cubicBezTo>
                      <a:pt x="972" y="27"/>
                      <a:pt x="972" y="27"/>
                      <a:pt x="972" y="27"/>
                    </a:cubicBezTo>
                    <a:cubicBezTo>
                      <a:pt x="995" y="20"/>
                      <a:pt x="995" y="20"/>
                      <a:pt x="995" y="20"/>
                    </a:cubicBezTo>
                    <a:lnTo>
                      <a:pt x="972" y="10"/>
                    </a:lnTo>
                    <a:close/>
                    <a:moveTo>
                      <a:pt x="936" y="31"/>
                    </a:moveTo>
                    <a:cubicBezTo>
                      <a:pt x="936" y="31"/>
                      <a:pt x="931" y="25"/>
                      <a:pt x="924" y="25"/>
                    </a:cubicBezTo>
                    <a:cubicBezTo>
                      <a:pt x="917" y="25"/>
                      <a:pt x="919" y="38"/>
                      <a:pt x="919" y="38"/>
                    </a:cubicBezTo>
                    <a:lnTo>
                      <a:pt x="936" y="31"/>
                    </a:lnTo>
                    <a:close/>
                    <a:moveTo>
                      <a:pt x="957" y="31"/>
                    </a:moveTo>
                    <a:cubicBezTo>
                      <a:pt x="938" y="39"/>
                      <a:pt x="938" y="39"/>
                      <a:pt x="938" y="39"/>
                    </a:cubicBezTo>
                    <a:cubicBezTo>
                      <a:pt x="957" y="39"/>
                      <a:pt x="957" y="39"/>
                      <a:pt x="957" y="39"/>
                    </a:cubicBezTo>
                    <a:lnTo>
                      <a:pt x="957" y="31"/>
                    </a:lnTo>
                    <a:close/>
                    <a:moveTo>
                      <a:pt x="979" y="42"/>
                    </a:moveTo>
                    <a:cubicBezTo>
                      <a:pt x="995" y="47"/>
                      <a:pt x="1009" y="30"/>
                      <a:pt x="990" y="28"/>
                    </a:cubicBezTo>
                    <a:cubicBezTo>
                      <a:pt x="972" y="27"/>
                      <a:pt x="964" y="38"/>
                      <a:pt x="979" y="42"/>
                    </a:cubicBezTo>
                    <a:close/>
                    <a:moveTo>
                      <a:pt x="966" y="23"/>
                    </a:moveTo>
                    <a:cubicBezTo>
                      <a:pt x="965" y="7"/>
                      <a:pt x="965" y="7"/>
                      <a:pt x="965" y="7"/>
                    </a:cubicBezTo>
                    <a:cubicBezTo>
                      <a:pt x="938" y="14"/>
                      <a:pt x="938" y="14"/>
                      <a:pt x="938" y="14"/>
                    </a:cubicBezTo>
                    <a:cubicBezTo>
                      <a:pt x="944" y="24"/>
                      <a:pt x="944" y="24"/>
                      <a:pt x="944" y="24"/>
                    </a:cubicBezTo>
                    <a:lnTo>
                      <a:pt x="966" y="23"/>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81" name="Qatar">
                <a:extLst>
                  <a:ext uri="{FF2B5EF4-FFF2-40B4-BE49-F238E27FC236}">
                    <a16:creationId xmlns:a16="http://schemas.microsoft.com/office/drawing/2014/main" id="{95710F0D-4111-47F3-9B6E-5D66CB3297AE}"/>
                  </a:ext>
                </a:extLst>
              </p:cNvPr>
              <p:cNvSpPr>
                <a:spLocks/>
              </p:cNvSpPr>
              <p:nvPr/>
            </p:nvSpPr>
            <p:spPr bwMode="gray">
              <a:xfrm>
                <a:off x="6937229" y="3291757"/>
                <a:ext cx="26992" cy="55537"/>
              </a:xfrm>
              <a:custGeom>
                <a:avLst/>
                <a:gdLst>
                  <a:gd name="T0" fmla="*/ 16 w 49"/>
                  <a:gd name="T1" fmla="*/ 90 h 98"/>
                  <a:gd name="T2" fmla="*/ 24 w 49"/>
                  <a:gd name="T3" fmla="*/ 98 h 98"/>
                  <a:gd name="T4" fmla="*/ 30 w 49"/>
                  <a:gd name="T5" fmla="*/ 96 h 98"/>
                  <a:gd name="T6" fmla="*/ 30 w 49"/>
                  <a:gd name="T7" fmla="*/ 95 h 98"/>
                  <a:gd name="T8" fmla="*/ 47 w 49"/>
                  <a:gd name="T9" fmla="*/ 35 h 98"/>
                  <a:gd name="T10" fmla="*/ 22 w 49"/>
                  <a:gd name="T11" fmla="*/ 3 h 98"/>
                  <a:gd name="T12" fmla="*/ 9 w 49"/>
                  <a:gd name="T13" fmla="*/ 47 h 98"/>
                  <a:gd name="T14" fmla="*/ 1 w 49"/>
                  <a:gd name="T15" fmla="*/ 84 h 98"/>
                  <a:gd name="T16" fmla="*/ 0 w 49"/>
                  <a:gd name="T17" fmla="*/ 83 h 98"/>
                  <a:gd name="T18" fmla="*/ 6 w 49"/>
                  <a:gd name="T19" fmla="*/ 93 h 98"/>
                  <a:gd name="T20" fmla="*/ 16 w 49"/>
                  <a:gd name="T21"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98">
                    <a:moveTo>
                      <a:pt x="16" y="90"/>
                    </a:moveTo>
                    <a:cubicBezTo>
                      <a:pt x="24" y="98"/>
                      <a:pt x="24" y="98"/>
                      <a:pt x="24" y="98"/>
                    </a:cubicBezTo>
                    <a:cubicBezTo>
                      <a:pt x="30" y="96"/>
                      <a:pt x="30" y="96"/>
                      <a:pt x="30" y="96"/>
                    </a:cubicBezTo>
                    <a:cubicBezTo>
                      <a:pt x="30" y="96"/>
                      <a:pt x="30" y="95"/>
                      <a:pt x="30" y="95"/>
                    </a:cubicBezTo>
                    <a:cubicBezTo>
                      <a:pt x="35" y="86"/>
                      <a:pt x="49" y="56"/>
                      <a:pt x="47" y="35"/>
                    </a:cubicBezTo>
                    <a:cubicBezTo>
                      <a:pt x="45" y="14"/>
                      <a:pt x="31" y="0"/>
                      <a:pt x="22" y="3"/>
                    </a:cubicBezTo>
                    <a:cubicBezTo>
                      <a:pt x="12" y="6"/>
                      <a:pt x="10" y="32"/>
                      <a:pt x="9" y="47"/>
                    </a:cubicBezTo>
                    <a:cubicBezTo>
                      <a:pt x="9" y="62"/>
                      <a:pt x="9" y="83"/>
                      <a:pt x="1" y="84"/>
                    </a:cubicBezTo>
                    <a:cubicBezTo>
                      <a:pt x="1" y="84"/>
                      <a:pt x="1" y="84"/>
                      <a:pt x="0" y="83"/>
                    </a:cubicBezTo>
                    <a:cubicBezTo>
                      <a:pt x="6" y="93"/>
                      <a:pt x="6" y="93"/>
                      <a:pt x="6" y="93"/>
                    </a:cubicBezTo>
                    <a:lnTo>
                      <a:pt x="16" y="90"/>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82" name="Philippines">
                <a:extLst>
                  <a:ext uri="{FF2B5EF4-FFF2-40B4-BE49-F238E27FC236}">
                    <a16:creationId xmlns:a16="http://schemas.microsoft.com/office/drawing/2014/main" id="{E8DE01DC-D553-47A0-A35F-BEE9A9D72461}"/>
                  </a:ext>
                </a:extLst>
              </p:cNvPr>
              <p:cNvSpPr>
                <a:spLocks noEditPoints="1"/>
              </p:cNvSpPr>
              <p:nvPr/>
            </p:nvSpPr>
            <p:spPr bwMode="gray">
              <a:xfrm>
                <a:off x="8712361" y="3518664"/>
                <a:ext cx="273097" cy="449055"/>
              </a:xfrm>
              <a:custGeom>
                <a:avLst/>
                <a:gdLst>
                  <a:gd name="T0" fmla="*/ 475 w 487"/>
                  <a:gd name="T1" fmla="*/ 801 h 801"/>
                  <a:gd name="T2" fmla="*/ 476 w 487"/>
                  <a:gd name="T3" fmla="*/ 763 h 801"/>
                  <a:gd name="T4" fmla="*/ 395 w 487"/>
                  <a:gd name="T5" fmla="*/ 758 h 801"/>
                  <a:gd name="T6" fmla="*/ 187 w 487"/>
                  <a:gd name="T7" fmla="*/ 700 h 801"/>
                  <a:gd name="T8" fmla="*/ 175 w 487"/>
                  <a:gd name="T9" fmla="*/ 693 h 801"/>
                  <a:gd name="T10" fmla="*/ 346 w 487"/>
                  <a:gd name="T11" fmla="*/ 393 h 801"/>
                  <a:gd name="T12" fmla="*/ 408 w 487"/>
                  <a:gd name="T13" fmla="*/ 418 h 801"/>
                  <a:gd name="T14" fmla="*/ 321 w 487"/>
                  <a:gd name="T15" fmla="*/ 337 h 801"/>
                  <a:gd name="T16" fmla="*/ 325 w 487"/>
                  <a:gd name="T17" fmla="*/ 499 h 801"/>
                  <a:gd name="T18" fmla="*/ 301 w 487"/>
                  <a:gd name="T19" fmla="*/ 414 h 801"/>
                  <a:gd name="T20" fmla="*/ 358 w 487"/>
                  <a:gd name="T21" fmla="*/ 492 h 801"/>
                  <a:gd name="T22" fmla="*/ 337 w 487"/>
                  <a:gd name="T23" fmla="*/ 494 h 801"/>
                  <a:gd name="T24" fmla="*/ 360 w 487"/>
                  <a:gd name="T25" fmla="*/ 416 h 801"/>
                  <a:gd name="T26" fmla="*/ 352 w 487"/>
                  <a:gd name="T27" fmla="*/ 436 h 801"/>
                  <a:gd name="T28" fmla="*/ 391 w 487"/>
                  <a:gd name="T29" fmla="*/ 441 h 801"/>
                  <a:gd name="T30" fmla="*/ 103 w 487"/>
                  <a:gd name="T31" fmla="*/ 405 h 801"/>
                  <a:gd name="T32" fmla="*/ 79 w 487"/>
                  <a:gd name="T33" fmla="*/ 472 h 801"/>
                  <a:gd name="T34" fmla="*/ 55 w 487"/>
                  <a:gd name="T35" fmla="*/ 514 h 801"/>
                  <a:gd name="T36" fmla="*/ 31 w 487"/>
                  <a:gd name="T37" fmla="*/ 557 h 801"/>
                  <a:gd name="T38" fmla="*/ 71 w 487"/>
                  <a:gd name="T39" fmla="*/ 503 h 801"/>
                  <a:gd name="T40" fmla="*/ 117 w 487"/>
                  <a:gd name="T41" fmla="*/ 403 h 801"/>
                  <a:gd name="T42" fmla="*/ 259 w 487"/>
                  <a:gd name="T43" fmla="*/ 679 h 801"/>
                  <a:gd name="T44" fmla="*/ 451 w 487"/>
                  <a:gd name="T45" fmla="*/ 560 h 801"/>
                  <a:gd name="T46" fmla="*/ 413 w 487"/>
                  <a:gd name="T47" fmla="*/ 526 h 801"/>
                  <a:gd name="T48" fmla="*/ 362 w 487"/>
                  <a:gd name="T49" fmla="*/ 552 h 801"/>
                  <a:gd name="T50" fmla="*/ 307 w 487"/>
                  <a:gd name="T51" fmla="*/ 568 h 801"/>
                  <a:gd name="T52" fmla="*/ 251 w 487"/>
                  <a:gd name="T53" fmla="*/ 627 h 801"/>
                  <a:gd name="T54" fmla="*/ 287 w 487"/>
                  <a:gd name="T55" fmla="*/ 643 h 801"/>
                  <a:gd name="T56" fmla="*/ 340 w 487"/>
                  <a:gd name="T57" fmla="*/ 657 h 801"/>
                  <a:gd name="T58" fmla="*/ 413 w 487"/>
                  <a:gd name="T59" fmla="*/ 701 h 801"/>
                  <a:gd name="T60" fmla="*/ 430 w 487"/>
                  <a:gd name="T61" fmla="*/ 693 h 801"/>
                  <a:gd name="T62" fmla="*/ 444 w 487"/>
                  <a:gd name="T63" fmla="*/ 676 h 801"/>
                  <a:gd name="T64" fmla="*/ 451 w 487"/>
                  <a:gd name="T65" fmla="*/ 560 h 801"/>
                  <a:gd name="T66" fmla="*/ 286 w 487"/>
                  <a:gd name="T67" fmla="*/ 309 h 801"/>
                  <a:gd name="T68" fmla="*/ 259 w 487"/>
                  <a:gd name="T69" fmla="*/ 240 h 801"/>
                  <a:gd name="T70" fmla="*/ 184 w 487"/>
                  <a:gd name="T71" fmla="*/ 201 h 801"/>
                  <a:gd name="T72" fmla="*/ 193 w 487"/>
                  <a:gd name="T73" fmla="*/ 93 h 801"/>
                  <a:gd name="T74" fmla="*/ 184 w 487"/>
                  <a:gd name="T75" fmla="*/ 16 h 801"/>
                  <a:gd name="T76" fmla="*/ 126 w 487"/>
                  <a:gd name="T77" fmla="*/ 10 h 801"/>
                  <a:gd name="T78" fmla="*/ 100 w 487"/>
                  <a:gd name="T79" fmla="*/ 53 h 801"/>
                  <a:gd name="T80" fmla="*/ 112 w 487"/>
                  <a:gd name="T81" fmla="*/ 109 h 801"/>
                  <a:gd name="T82" fmla="*/ 92 w 487"/>
                  <a:gd name="T83" fmla="*/ 152 h 801"/>
                  <a:gd name="T84" fmla="*/ 135 w 487"/>
                  <a:gd name="T85" fmla="*/ 233 h 801"/>
                  <a:gd name="T86" fmla="*/ 219 w 487"/>
                  <a:gd name="T87" fmla="*/ 274 h 801"/>
                  <a:gd name="T88" fmla="*/ 146 w 487"/>
                  <a:gd name="T89" fmla="*/ 285 h 801"/>
                  <a:gd name="T90" fmla="*/ 197 w 487"/>
                  <a:gd name="T91" fmla="*/ 339 h 801"/>
                  <a:gd name="T92" fmla="*/ 232 w 487"/>
                  <a:gd name="T93" fmla="*/ 434 h 801"/>
                  <a:gd name="T94" fmla="*/ 271 w 487"/>
                  <a:gd name="T95" fmla="*/ 463 h 801"/>
                  <a:gd name="T96" fmla="*/ 273 w 487"/>
                  <a:gd name="T97" fmla="*/ 535 h 801"/>
                  <a:gd name="T98" fmla="*/ 295 w 487"/>
                  <a:gd name="T99" fmla="*/ 431 h 801"/>
                  <a:gd name="T100" fmla="*/ 249 w 487"/>
                  <a:gd name="T101" fmla="*/ 378 h 801"/>
                  <a:gd name="T102" fmla="*/ 232 w 487"/>
                  <a:gd name="T103" fmla="*/ 434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7" h="801">
                    <a:moveTo>
                      <a:pt x="476" y="763"/>
                    </a:moveTo>
                    <a:cubicBezTo>
                      <a:pt x="472" y="782"/>
                      <a:pt x="472" y="782"/>
                      <a:pt x="472" y="782"/>
                    </a:cubicBezTo>
                    <a:cubicBezTo>
                      <a:pt x="475" y="801"/>
                      <a:pt x="475" y="801"/>
                      <a:pt x="475" y="801"/>
                    </a:cubicBezTo>
                    <a:cubicBezTo>
                      <a:pt x="487" y="791"/>
                      <a:pt x="487" y="791"/>
                      <a:pt x="487" y="791"/>
                    </a:cubicBezTo>
                    <a:cubicBezTo>
                      <a:pt x="487" y="763"/>
                      <a:pt x="487" y="763"/>
                      <a:pt x="487" y="763"/>
                    </a:cubicBezTo>
                    <a:lnTo>
                      <a:pt x="476" y="763"/>
                    </a:lnTo>
                    <a:close/>
                    <a:moveTo>
                      <a:pt x="399" y="785"/>
                    </a:moveTo>
                    <a:cubicBezTo>
                      <a:pt x="410" y="763"/>
                      <a:pt x="410" y="763"/>
                      <a:pt x="410" y="763"/>
                    </a:cubicBezTo>
                    <a:cubicBezTo>
                      <a:pt x="395" y="758"/>
                      <a:pt x="395" y="758"/>
                      <a:pt x="395" y="758"/>
                    </a:cubicBezTo>
                    <a:lnTo>
                      <a:pt x="399" y="785"/>
                    </a:lnTo>
                    <a:close/>
                    <a:moveTo>
                      <a:pt x="175" y="693"/>
                    </a:moveTo>
                    <a:cubicBezTo>
                      <a:pt x="187" y="700"/>
                      <a:pt x="187" y="700"/>
                      <a:pt x="187" y="700"/>
                    </a:cubicBezTo>
                    <a:cubicBezTo>
                      <a:pt x="199" y="682"/>
                      <a:pt x="199" y="682"/>
                      <a:pt x="199" y="682"/>
                    </a:cubicBezTo>
                    <a:cubicBezTo>
                      <a:pt x="182" y="672"/>
                      <a:pt x="182" y="672"/>
                      <a:pt x="182" y="672"/>
                    </a:cubicBezTo>
                    <a:lnTo>
                      <a:pt x="175" y="693"/>
                    </a:lnTo>
                    <a:close/>
                    <a:moveTo>
                      <a:pt x="345" y="372"/>
                    </a:moveTo>
                    <a:cubicBezTo>
                      <a:pt x="370" y="385"/>
                      <a:pt x="370" y="385"/>
                      <a:pt x="370" y="385"/>
                    </a:cubicBezTo>
                    <a:cubicBezTo>
                      <a:pt x="370" y="401"/>
                      <a:pt x="346" y="393"/>
                      <a:pt x="346" y="393"/>
                    </a:cubicBezTo>
                    <a:cubicBezTo>
                      <a:pt x="389" y="427"/>
                      <a:pt x="389" y="427"/>
                      <a:pt x="389" y="427"/>
                    </a:cubicBezTo>
                    <a:cubicBezTo>
                      <a:pt x="391" y="413"/>
                      <a:pt x="391" y="413"/>
                      <a:pt x="391" y="413"/>
                    </a:cubicBezTo>
                    <a:cubicBezTo>
                      <a:pt x="408" y="418"/>
                      <a:pt x="408" y="418"/>
                      <a:pt x="408" y="418"/>
                    </a:cubicBezTo>
                    <a:cubicBezTo>
                      <a:pt x="394" y="395"/>
                      <a:pt x="394" y="395"/>
                      <a:pt x="394" y="395"/>
                    </a:cubicBezTo>
                    <a:cubicBezTo>
                      <a:pt x="394" y="395"/>
                      <a:pt x="391" y="370"/>
                      <a:pt x="379" y="357"/>
                    </a:cubicBezTo>
                    <a:cubicBezTo>
                      <a:pt x="367" y="344"/>
                      <a:pt x="328" y="321"/>
                      <a:pt x="321" y="337"/>
                    </a:cubicBezTo>
                    <a:cubicBezTo>
                      <a:pt x="312" y="357"/>
                      <a:pt x="345" y="372"/>
                      <a:pt x="345" y="372"/>
                    </a:cubicBezTo>
                    <a:close/>
                    <a:moveTo>
                      <a:pt x="318" y="445"/>
                    </a:moveTo>
                    <a:cubicBezTo>
                      <a:pt x="325" y="499"/>
                      <a:pt x="325" y="499"/>
                      <a:pt x="325" y="499"/>
                    </a:cubicBezTo>
                    <a:cubicBezTo>
                      <a:pt x="333" y="449"/>
                      <a:pt x="333" y="449"/>
                      <a:pt x="333" y="449"/>
                    </a:cubicBezTo>
                    <a:cubicBezTo>
                      <a:pt x="316" y="414"/>
                      <a:pt x="316" y="414"/>
                      <a:pt x="316" y="414"/>
                    </a:cubicBezTo>
                    <a:cubicBezTo>
                      <a:pt x="301" y="414"/>
                      <a:pt x="301" y="414"/>
                      <a:pt x="301" y="414"/>
                    </a:cubicBezTo>
                    <a:lnTo>
                      <a:pt x="318" y="445"/>
                    </a:lnTo>
                    <a:close/>
                    <a:moveTo>
                      <a:pt x="337" y="494"/>
                    </a:moveTo>
                    <a:cubicBezTo>
                      <a:pt x="358" y="492"/>
                      <a:pt x="358" y="492"/>
                      <a:pt x="358" y="492"/>
                    </a:cubicBezTo>
                    <a:cubicBezTo>
                      <a:pt x="361" y="475"/>
                      <a:pt x="361" y="475"/>
                      <a:pt x="361" y="475"/>
                    </a:cubicBezTo>
                    <a:cubicBezTo>
                      <a:pt x="343" y="469"/>
                      <a:pt x="343" y="469"/>
                      <a:pt x="343" y="469"/>
                    </a:cubicBezTo>
                    <a:lnTo>
                      <a:pt x="337" y="494"/>
                    </a:lnTo>
                    <a:close/>
                    <a:moveTo>
                      <a:pt x="391" y="441"/>
                    </a:moveTo>
                    <a:cubicBezTo>
                      <a:pt x="372" y="434"/>
                      <a:pt x="372" y="434"/>
                      <a:pt x="372" y="434"/>
                    </a:cubicBezTo>
                    <a:cubicBezTo>
                      <a:pt x="372" y="434"/>
                      <a:pt x="364" y="424"/>
                      <a:pt x="360" y="416"/>
                    </a:cubicBezTo>
                    <a:cubicBezTo>
                      <a:pt x="357" y="408"/>
                      <a:pt x="333" y="413"/>
                      <a:pt x="333" y="413"/>
                    </a:cubicBezTo>
                    <a:cubicBezTo>
                      <a:pt x="336" y="442"/>
                      <a:pt x="336" y="442"/>
                      <a:pt x="336" y="442"/>
                    </a:cubicBezTo>
                    <a:cubicBezTo>
                      <a:pt x="352" y="436"/>
                      <a:pt x="352" y="436"/>
                      <a:pt x="352" y="436"/>
                    </a:cubicBezTo>
                    <a:cubicBezTo>
                      <a:pt x="358" y="452"/>
                      <a:pt x="358" y="452"/>
                      <a:pt x="358" y="452"/>
                    </a:cubicBezTo>
                    <a:cubicBezTo>
                      <a:pt x="391" y="477"/>
                      <a:pt x="391" y="477"/>
                      <a:pt x="391" y="477"/>
                    </a:cubicBezTo>
                    <a:lnTo>
                      <a:pt x="391" y="441"/>
                    </a:lnTo>
                    <a:close/>
                    <a:moveTo>
                      <a:pt x="117" y="403"/>
                    </a:moveTo>
                    <a:cubicBezTo>
                      <a:pt x="107" y="388"/>
                      <a:pt x="107" y="388"/>
                      <a:pt x="107" y="388"/>
                    </a:cubicBezTo>
                    <a:cubicBezTo>
                      <a:pt x="103" y="405"/>
                      <a:pt x="103" y="405"/>
                      <a:pt x="103" y="405"/>
                    </a:cubicBezTo>
                    <a:cubicBezTo>
                      <a:pt x="103" y="405"/>
                      <a:pt x="84" y="421"/>
                      <a:pt x="91" y="436"/>
                    </a:cubicBezTo>
                    <a:cubicBezTo>
                      <a:pt x="98" y="450"/>
                      <a:pt x="115" y="450"/>
                      <a:pt x="105" y="457"/>
                    </a:cubicBezTo>
                    <a:cubicBezTo>
                      <a:pt x="95" y="463"/>
                      <a:pt x="79" y="472"/>
                      <a:pt x="79" y="472"/>
                    </a:cubicBezTo>
                    <a:cubicBezTo>
                      <a:pt x="72" y="490"/>
                      <a:pt x="72" y="490"/>
                      <a:pt x="72" y="490"/>
                    </a:cubicBezTo>
                    <a:cubicBezTo>
                      <a:pt x="57" y="499"/>
                      <a:pt x="57" y="499"/>
                      <a:pt x="57" y="499"/>
                    </a:cubicBezTo>
                    <a:cubicBezTo>
                      <a:pt x="57" y="499"/>
                      <a:pt x="62" y="508"/>
                      <a:pt x="55" y="514"/>
                    </a:cubicBezTo>
                    <a:cubicBezTo>
                      <a:pt x="48" y="521"/>
                      <a:pt x="23" y="532"/>
                      <a:pt x="23" y="532"/>
                    </a:cubicBezTo>
                    <a:cubicBezTo>
                      <a:pt x="23" y="532"/>
                      <a:pt x="0" y="568"/>
                      <a:pt x="11" y="576"/>
                    </a:cubicBezTo>
                    <a:cubicBezTo>
                      <a:pt x="31" y="557"/>
                      <a:pt x="31" y="557"/>
                      <a:pt x="31" y="557"/>
                    </a:cubicBezTo>
                    <a:cubicBezTo>
                      <a:pt x="31" y="557"/>
                      <a:pt x="28" y="542"/>
                      <a:pt x="36" y="542"/>
                    </a:cubicBezTo>
                    <a:cubicBezTo>
                      <a:pt x="45" y="542"/>
                      <a:pt x="55" y="539"/>
                      <a:pt x="62" y="534"/>
                    </a:cubicBezTo>
                    <a:cubicBezTo>
                      <a:pt x="69" y="529"/>
                      <a:pt x="62" y="513"/>
                      <a:pt x="71" y="503"/>
                    </a:cubicBezTo>
                    <a:cubicBezTo>
                      <a:pt x="79" y="493"/>
                      <a:pt x="127" y="478"/>
                      <a:pt x="127" y="467"/>
                    </a:cubicBezTo>
                    <a:cubicBezTo>
                      <a:pt x="127" y="455"/>
                      <a:pt x="117" y="444"/>
                      <a:pt x="115" y="434"/>
                    </a:cubicBezTo>
                    <a:cubicBezTo>
                      <a:pt x="114" y="424"/>
                      <a:pt x="117" y="403"/>
                      <a:pt x="117" y="403"/>
                    </a:cubicBezTo>
                    <a:close/>
                    <a:moveTo>
                      <a:pt x="232" y="684"/>
                    </a:moveTo>
                    <a:cubicBezTo>
                      <a:pt x="257" y="706"/>
                      <a:pt x="257" y="706"/>
                      <a:pt x="257" y="706"/>
                    </a:cubicBezTo>
                    <a:cubicBezTo>
                      <a:pt x="259" y="679"/>
                      <a:pt x="259" y="679"/>
                      <a:pt x="259" y="679"/>
                    </a:cubicBezTo>
                    <a:cubicBezTo>
                      <a:pt x="244" y="668"/>
                      <a:pt x="244" y="668"/>
                      <a:pt x="244" y="668"/>
                    </a:cubicBezTo>
                    <a:lnTo>
                      <a:pt x="232" y="684"/>
                    </a:lnTo>
                    <a:close/>
                    <a:moveTo>
                      <a:pt x="451" y="560"/>
                    </a:moveTo>
                    <a:cubicBezTo>
                      <a:pt x="451" y="560"/>
                      <a:pt x="451" y="529"/>
                      <a:pt x="441" y="524"/>
                    </a:cubicBezTo>
                    <a:cubicBezTo>
                      <a:pt x="430" y="519"/>
                      <a:pt x="405" y="483"/>
                      <a:pt x="396" y="491"/>
                    </a:cubicBezTo>
                    <a:cubicBezTo>
                      <a:pt x="388" y="499"/>
                      <a:pt x="420" y="522"/>
                      <a:pt x="413" y="526"/>
                    </a:cubicBezTo>
                    <a:cubicBezTo>
                      <a:pt x="406" y="529"/>
                      <a:pt x="376" y="532"/>
                      <a:pt x="376" y="532"/>
                    </a:cubicBezTo>
                    <a:cubicBezTo>
                      <a:pt x="376" y="553"/>
                      <a:pt x="376" y="553"/>
                      <a:pt x="376" y="553"/>
                    </a:cubicBezTo>
                    <a:cubicBezTo>
                      <a:pt x="362" y="552"/>
                      <a:pt x="362" y="552"/>
                      <a:pt x="362" y="552"/>
                    </a:cubicBezTo>
                    <a:cubicBezTo>
                      <a:pt x="358" y="567"/>
                      <a:pt x="358" y="567"/>
                      <a:pt x="358" y="567"/>
                    </a:cubicBezTo>
                    <a:cubicBezTo>
                      <a:pt x="341" y="576"/>
                      <a:pt x="341" y="576"/>
                      <a:pt x="341" y="576"/>
                    </a:cubicBezTo>
                    <a:cubicBezTo>
                      <a:pt x="341" y="576"/>
                      <a:pt x="316" y="560"/>
                      <a:pt x="307" y="568"/>
                    </a:cubicBezTo>
                    <a:cubicBezTo>
                      <a:pt x="299" y="576"/>
                      <a:pt x="283" y="604"/>
                      <a:pt x="283" y="604"/>
                    </a:cubicBezTo>
                    <a:cubicBezTo>
                      <a:pt x="283" y="604"/>
                      <a:pt x="273" y="585"/>
                      <a:pt x="268" y="594"/>
                    </a:cubicBezTo>
                    <a:cubicBezTo>
                      <a:pt x="263" y="604"/>
                      <a:pt x="251" y="627"/>
                      <a:pt x="251" y="627"/>
                    </a:cubicBezTo>
                    <a:cubicBezTo>
                      <a:pt x="264" y="640"/>
                      <a:pt x="264" y="640"/>
                      <a:pt x="264" y="640"/>
                    </a:cubicBezTo>
                    <a:cubicBezTo>
                      <a:pt x="278" y="627"/>
                      <a:pt x="278" y="627"/>
                      <a:pt x="278" y="627"/>
                    </a:cubicBezTo>
                    <a:cubicBezTo>
                      <a:pt x="287" y="643"/>
                      <a:pt x="287" y="643"/>
                      <a:pt x="287" y="643"/>
                    </a:cubicBezTo>
                    <a:cubicBezTo>
                      <a:pt x="287" y="643"/>
                      <a:pt x="314" y="621"/>
                      <a:pt x="321" y="621"/>
                    </a:cubicBezTo>
                    <a:cubicBezTo>
                      <a:pt x="328" y="621"/>
                      <a:pt x="350" y="642"/>
                      <a:pt x="350" y="642"/>
                    </a:cubicBezTo>
                    <a:cubicBezTo>
                      <a:pt x="350" y="642"/>
                      <a:pt x="340" y="648"/>
                      <a:pt x="340" y="657"/>
                    </a:cubicBezTo>
                    <a:cubicBezTo>
                      <a:pt x="340" y="665"/>
                      <a:pt x="358" y="701"/>
                      <a:pt x="367" y="704"/>
                    </a:cubicBezTo>
                    <a:cubicBezTo>
                      <a:pt x="376" y="707"/>
                      <a:pt x="400" y="714"/>
                      <a:pt x="400" y="714"/>
                    </a:cubicBezTo>
                    <a:cubicBezTo>
                      <a:pt x="413" y="701"/>
                      <a:pt x="413" y="701"/>
                      <a:pt x="413" y="701"/>
                    </a:cubicBezTo>
                    <a:cubicBezTo>
                      <a:pt x="415" y="717"/>
                      <a:pt x="415" y="717"/>
                      <a:pt x="415" y="717"/>
                    </a:cubicBezTo>
                    <a:cubicBezTo>
                      <a:pt x="429" y="719"/>
                      <a:pt x="429" y="719"/>
                      <a:pt x="429" y="719"/>
                    </a:cubicBezTo>
                    <a:cubicBezTo>
                      <a:pt x="430" y="693"/>
                      <a:pt x="430" y="693"/>
                      <a:pt x="430" y="693"/>
                    </a:cubicBezTo>
                    <a:cubicBezTo>
                      <a:pt x="430" y="693"/>
                      <a:pt x="410" y="671"/>
                      <a:pt x="415" y="658"/>
                    </a:cubicBezTo>
                    <a:cubicBezTo>
                      <a:pt x="420" y="645"/>
                      <a:pt x="427" y="642"/>
                      <a:pt x="427" y="642"/>
                    </a:cubicBezTo>
                    <a:cubicBezTo>
                      <a:pt x="444" y="676"/>
                      <a:pt x="444" y="676"/>
                      <a:pt x="444" y="676"/>
                    </a:cubicBezTo>
                    <a:cubicBezTo>
                      <a:pt x="444" y="676"/>
                      <a:pt x="463" y="650"/>
                      <a:pt x="463" y="634"/>
                    </a:cubicBezTo>
                    <a:cubicBezTo>
                      <a:pt x="463" y="617"/>
                      <a:pt x="451" y="599"/>
                      <a:pt x="451" y="599"/>
                    </a:cubicBezTo>
                    <a:lnTo>
                      <a:pt x="451" y="560"/>
                    </a:lnTo>
                    <a:close/>
                    <a:moveTo>
                      <a:pt x="230" y="258"/>
                    </a:moveTo>
                    <a:cubicBezTo>
                      <a:pt x="248" y="256"/>
                      <a:pt x="255" y="265"/>
                      <a:pt x="259" y="279"/>
                    </a:cubicBezTo>
                    <a:cubicBezTo>
                      <a:pt x="262" y="291"/>
                      <a:pt x="272" y="303"/>
                      <a:pt x="286" y="309"/>
                    </a:cubicBezTo>
                    <a:cubicBezTo>
                      <a:pt x="311" y="322"/>
                      <a:pt x="313" y="261"/>
                      <a:pt x="282" y="264"/>
                    </a:cubicBezTo>
                    <a:cubicBezTo>
                      <a:pt x="281" y="258"/>
                      <a:pt x="286" y="256"/>
                      <a:pt x="288" y="251"/>
                    </a:cubicBezTo>
                    <a:cubicBezTo>
                      <a:pt x="276" y="250"/>
                      <a:pt x="272" y="236"/>
                      <a:pt x="259" y="240"/>
                    </a:cubicBezTo>
                    <a:cubicBezTo>
                      <a:pt x="251" y="257"/>
                      <a:pt x="236" y="236"/>
                      <a:pt x="224" y="236"/>
                    </a:cubicBezTo>
                    <a:cubicBezTo>
                      <a:pt x="208" y="235"/>
                      <a:pt x="201" y="259"/>
                      <a:pt x="188" y="239"/>
                    </a:cubicBezTo>
                    <a:cubicBezTo>
                      <a:pt x="181" y="228"/>
                      <a:pt x="184" y="213"/>
                      <a:pt x="184" y="201"/>
                    </a:cubicBezTo>
                    <a:cubicBezTo>
                      <a:pt x="184" y="189"/>
                      <a:pt x="180" y="170"/>
                      <a:pt x="185" y="159"/>
                    </a:cubicBezTo>
                    <a:cubicBezTo>
                      <a:pt x="192" y="143"/>
                      <a:pt x="203" y="148"/>
                      <a:pt x="202" y="128"/>
                    </a:cubicBezTo>
                    <a:cubicBezTo>
                      <a:pt x="202" y="114"/>
                      <a:pt x="191" y="105"/>
                      <a:pt x="193" y="93"/>
                    </a:cubicBezTo>
                    <a:cubicBezTo>
                      <a:pt x="194" y="80"/>
                      <a:pt x="202" y="64"/>
                      <a:pt x="198" y="50"/>
                    </a:cubicBezTo>
                    <a:cubicBezTo>
                      <a:pt x="195" y="44"/>
                      <a:pt x="188" y="41"/>
                      <a:pt x="185" y="35"/>
                    </a:cubicBezTo>
                    <a:cubicBezTo>
                      <a:pt x="182" y="29"/>
                      <a:pt x="185" y="22"/>
                      <a:pt x="184" y="16"/>
                    </a:cubicBezTo>
                    <a:cubicBezTo>
                      <a:pt x="183" y="11"/>
                      <a:pt x="181" y="0"/>
                      <a:pt x="172" y="0"/>
                    </a:cubicBezTo>
                    <a:cubicBezTo>
                      <a:pt x="167" y="1"/>
                      <a:pt x="165" y="9"/>
                      <a:pt x="162" y="12"/>
                    </a:cubicBezTo>
                    <a:cubicBezTo>
                      <a:pt x="145" y="26"/>
                      <a:pt x="142" y="9"/>
                      <a:pt x="126" y="10"/>
                    </a:cubicBezTo>
                    <a:cubicBezTo>
                      <a:pt x="117" y="13"/>
                      <a:pt x="117" y="13"/>
                      <a:pt x="117" y="13"/>
                    </a:cubicBezTo>
                    <a:cubicBezTo>
                      <a:pt x="114" y="20"/>
                      <a:pt x="117" y="27"/>
                      <a:pt x="115" y="34"/>
                    </a:cubicBezTo>
                    <a:cubicBezTo>
                      <a:pt x="113" y="41"/>
                      <a:pt x="104" y="47"/>
                      <a:pt x="100" y="53"/>
                    </a:cubicBezTo>
                    <a:cubicBezTo>
                      <a:pt x="92" y="65"/>
                      <a:pt x="94" y="57"/>
                      <a:pt x="101" y="69"/>
                    </a:cubicBezTo>
                    <a:cubicBezTo>
                      <a:pt x="104" y="74"/>
                      <a:pt x="108" y="83"/>
                      <a:pt x="110" y="89"/>
                    </a:cubicBezTo>
                    <a:cubicBezTo>
                      <a:pt x="112" y="95"/>
                      <a:pt x="113" y="102"/>
                      <a:pt x="112" y="109"/>
                    </a:cubicBezTo>
                    <a:cubicBezTo>
                      <a:pt x="111" y="116"/>
                      <a:pt x="103" y="122"/>
                      <a:pt x="103" y="127"/>
                    </a:cubicBezTo>
                    <a:cubicBezTo>
                      <a:pt x="103" y="135"/>
                      <a:pt x="114" y="137"/>
                      <a:pt x="110" y="145"/>
                    </a:cubicBezTo>
                    <a:cubicBezTo>
                      <a:pt x="108" y="150"/>
                      <a:pt x="96" y="153"/>
                      <a:pt x="92" y="152"/>
                    </a:cubicBezTo>
                    <a:cubicBezTo>
                      <a:pt x="92" y="146"/>
                      <a:pt x="90" y="140"/>
                      <a:pt x="85" y="138"/>
                    </a:cubicBezTo>
                    <a:cubicBezTo>
                      <a:pt x="84" y="161"/>
                      <a:pt x="87" y="175"/>
                      <a:pt x="103" y="194"/>
                    </a:cubicBezTo>
                    <a:cubicBezTo>
                      <a:pt x="115" y="207"/>
                      <a:pt x="127" y="217"/>
                      <a:pt x="135" y="233"/>
                    </a:cubicBezTo>
                    <a:cubicBezTo>
                      <a:pt x="140" y="245"/>
                      <a:pt x="156" y="275"/>
                      <a:pt x="171" y="274"/>
                    </a:cubicBezTo>
                    <a:cubicBezTo>
                      <a:pt x="181" y="273"/>
                      <a:pt x="185" y="260"/>
                      <a:pt x="196" y="259"/>
                    </a:cubicBezTo>
                    <a:cubicBezTo>
                      <a:pt x="207" y="258"/>
                      <a:pt x="212" y="268"/>
                      <a:pt x="219" y="274"/>
                    </a:cubicBezTo>
                    <a:cubicBezTo>
                      <a:pt x="241" y="293"/>
                      <a:pt x="240" y="275"/>
                      <a:pt x="230" y="258"/>
                    </a:cubicBezTo>
                    <a:close/>
                    <a:moveTo>
                      <a:pt x="182" y="288"/>
                    </a:moveTo>
                    <a:cubicBezTo>
                      <a:pt x="175" y="282"/>
                      <a:pt x="146" y="285"/>
                      <a:pt x="146" y="285"/>
                    </a:cubicBezTo>
                    <a:cubicBezTo>
                      <a:pt x="167" y="313"/>
                      <a:pt x="167" y="313"/>
                      <a:pt x="167" y="313"/>
                    </a:cubicBezTo>
                    <a:cubicBezTo>
                      <a:pt x="180" y="357"/>
                      <a:pt x="180" y="357"/>
                      <a:pt x="180" y="357"/>
                    </a:cubicBezTo>
                    <a:cubicBezTo>
                      <a:pt x="180" y="357"/>
                      <a:pt x="192" y="347"/>
                      <a:pt x="197" y="339"/>
                    </a:cubicBezTo>
                    <a:cubicBezTo>
                      <a:pt x="203" y="331"/>
                      <a:pt x="191" y="315"/>
                      <a:pt x="191" y="315"/>
                    </a:cubicBezTo>
                    <a:cubicBezTo>
                      <a:pt x="191" y="315"/>
                      <a:pt x="189" y="295"/>
                      <a:pt x="182" y="288"/>
                    </a:cubicBezTo>
                    <a:close/>
                    <a:moveTo>
                      <a:pt x="232" y="434"/>
                    </a:moveTo>
                    <a:cubicBezTo>
                      <a:pt x="237" y="444"/>
                      <a:pt x="245" y="454"/>
                      <a:pt x="245" y="454"/>
                    </a:cubicBezTo>
                    <a:cubicBezTo>
                      <a:pt x="245" y="454"/>
                      <a:pt x="261" y="437"/>
                      <a:pt x="266" y="441"/>
                    </a:cubicBezTo>
                    <a:cubicBezTo>
                      <a:pt x="271" y="444"/>
                      <a:pt x="271" y="463"/>
                      <a:pt x="271" y="463"/>
                    </a:cubicBezTo>
                    <a:cubicBezTo>
                      <a:pt x="280" y="472"/>
                      <a:pt x="280" y="472"/>
                      <a:pt x="280" y="472"/>
                    </a:cubicBezTo>
                    <a:cubicBezTo>
                      <a:pt x="280" y="472"/>
                      <a:pt x="257" y="506"/>
                      <a:pt x="257" y="513"/>
                    </a:cubicBezTo>
                    <a:cubicBezTo>
                      <a:pt x="257" y="519"/>
                      <a:pt x="257" y="539"/>
                      <a:pt x="273" y="535"/>
                    </a:cubicBezTo>
                    <a:cubicBezTo>
                      <a:pt x="288" y="532"/>
                      <a:pt x="311" y="527"/>
                      <a:pt x="302" y="513"/>
                    </a:cubicBezTo>
                    <a:cubicBezTo>
                      <a:pt x="293" y="498"/>
                      <a:pt x="292" y="486"/>
                      <a:pt x="300" y="463"/>
                    </a:cubicBezTo>
                    <a:cubicBezTo>
                      <a:pt x="309" y="441"/>
                      <a:pt x="302" y="424"/>
                      <a:pt x="295" y="431"/>
                    </a:cubicBezTo>
                    <a:cubicBezTo>
                      <a:pt x="288" y="437"/>
                      <a:pt x="275" y="445"/>
                      <a:pt x="275" y="437"/>
                    </a:cubicBezTo>
                    <a:cubicBezTo>
                      <a:pt x="275" y="429"/>
                      <a:pt x="295" y="398"/>
                      <a:pt x="283" y="395"/>
                    </a:cubicBezTo>
                    <a:cubicBezTo>
                      <a:pt x="271" y="391"/>
                      <a:pt x="249" y="378"/>
                      <a:pt x="249" y="378"/>
                    </a:cubicBezTo>
                    <a:cubicBezTo>
                      <a:pt x="249" y="378"/>
                      <a:pt x="228" y="373"/>
                      <a:pt x="227" y="380"/>
                    </a:cubicBezTo>
                    <a:cubicBezTo>
                      <a:pt x="225" y="387"/>
                      <a:pt x="239" y="398"/>
                      <a:pt x="239" y="398"/>
                    </a:cubicBezTo>
                    <a:cubicBezTo>
                      <a:pt x="239" y="398"/>
                      <a:pt x="227" y="424"/>
                      <a:pt x="232" y="434"/>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83" name="Papua New Guinea">
                <a:extLst>
                  <a:ext uri="{FF2B5EF4-FFF2-40B4-BE49-F238E27FC236}">
                    <a16:creationId xmlns:a16="http://schemas.microsoft.com/office/drawing/2014/main" id="{9A04704E-400A-46D0-BA1C-F547C1271E51}"/>
                  </a:ext>
                </a:extLst>
              </p:cNvPr>
              <p:cNvSpPr>
                <a:spLocks noEditPoints="1"/>
              </p:cNvSpPr>
              <p:nvPr/>
            </p:nvSpPr>
            <p:spPr bwMode="gray">
              <a:xfrm>
                <a:off x="9339532" y="4134328"/>
                <a:ext cx="409646" cy="274511"/>
              </a:xfrm>
              <a:custGeom>
                <a:avLst/>
                <a:gdLst>
                  <a:gd name="T0" fmla="*/ 296 w 730"/>
                  <a:gd name="T1" fmla="*/ 19 h 491"/>
                  <a:gd name="T2" fmla="*/ 331 w 730"/>
                  <a:gd name="T3" fmla="*/ 7 h 491"/>
                  <a:gd name="T4" fmla="*/ 521 w 730"/>
                  <a:gd name="T5" fmla="*/ 171 h 491"/>
                  <a:gd name="T6" fmla="*/ 476 w 730"/>
                  <a:gd name="T7" fmla="*/ 209 h 491"/>
                  <a:gd name="T8" fmla="*/ 404 w 730"/>
                  <a:gd name="T9" fmla="*/ 228 h 491"/>
                  <a:gd name="T10" fmla="*/ 398 w 730"/>
                  <a:gd name="T11" fmla="*/ 257 h 491"/>
                  <a:gd name="T12" fmla="*/ 474 w 730"/>
                  <a:gd name="T13" fmla="*/ 251 h 491"/>
                  <a:gd name="T14" fmla="*/ 523 w 730"/>
                  <a:gd name="T15" fmla="*/ 228 h 491"/>
                  <a:gd name="T16" fmla="*/ 536 w 730"/>
                  <a:gd name="T17" fmla="*/ 206 h 491"/>
                  <a:gd name="T18" fmla="*/ 555 w 730"/>
                  <a:gd name="T19" fmla="*/ 140 h 491"/>
                  <a:gd name="T20" fmla="*/ 564 w 730"/>
                  <a:gd name="T21" fmla="*/ 94 h 491"/>
                  <a:gd name="T22" fmla="*/ 520 w 730"/>
                  <a:gd name="T23" fmla="*/ 58 h 491"/>
                  <a:gd name="T24" fmla="*/ 494 w 730"/>
                  <a:gd name="T25" fmla="*/ 31 h 491"/>
                  <a:gd name="T26" fmla="*/ 516 w 730"/>
                  <a:gd name="T27" fmla="*/ 69 h 491"/>
                  <a:gd name="T28" fmla="*/ 576 w 730"/>
                  <a:gd name="T29" fmla="*/ 122 h 491"/>
                  <a:gd name="T30" fmla="*/ 599 w 730"/>
                  <a:gd name="T31" fmla="*/ 131 h 491"/>
                  <a:gd name="T32" fmla="*/ 728 w 730"/>
                  <a:gd name="T33" fmla="*/ 249 h 491"/>
                  <a:gd name="T34" fmla="*/ 664 w 730"/>
                  <a:gd name="T35" fmla="*/ 185 h 491"/>
                  <a:gd name="T36" fmla="*/ 670 w 730"/>
                  <a:gd name="T37" fmla="*/ 225 h 491"/>
                  <a:gd name="T38" fmla="*/ 730 w 730"/>
                  <a:gd name="T39" fmla="*/ 300 h 491"/>
                  <a:gd name="T40" fmla="*/ 17 w 730"/>
                  <a:gd name="T41" fmla="*/ 401 h 491"/>
                  <a:gd name="T42" fmla="*/ 17 w 730"/>
                  <a:gd name="T43" fmla="*/ 401 h 491"/>
                  <a:gd name="T44" fmla="*/ 452 w 730"/>
                  <a:gd name="T45" fmla="*/ 453 h 491"/>
                  <a:gd name="T46" fmla="*/ 437 w 730"/>
                  <a:gd name="T47" fmla="*/ 426 h 491"/>
                  <a:gd name="T48" fmla="*/ 408 w 730"/>
                  <a:gd name="T49" fmla="*/ 388 h 491"/>
                  <a:gd name="T50" fmla="*/ 374 w 730"/>
                  <a:gd name="T51" fmla="*/ 375 h 491"/>
                  <a:gd name="T52" fmla="*/ 357 w 730"/>
                  <a:gd name="T53" fmla="*/ 337 h 491"/>
                  <a:gd name="T54" fmla="*/ 304 w 730"/>
                  <a:gd name="T55" fmla="*/ 274 h 491"/>
                  <a:gd name="T56" fmla="*/ 308 w 730"/>
                  <a:gd name="T57" fmla="*/ 220 h 491"/>
                  <a:gd name="T58" fmla="*/ 256 w 730"/>
                  <a:gd name="T59" fmla="*/ 169 h 491"/>
                  <a:gd name="T60" fmla="*/ 200 w 730"/>
                  <a:gd name="T61" fmla="*/ 113 h 491"/>
                  <a:gd name="T62" fmla="*/ 151 w 730"/>
                  <a:gd name="T63" fmla="*/ 91 h 491"/>
                  <a:gd name="T64" fmla="*/ 49 w 730"/>
                  <a:gd name="T65" fmla="*/ 49 h 491"/>
                  <a:gd name="T66" fmla="*/ 6 w 730"/>
                  <a:gd name="T67" fmla="*/ 36 h 491"/>
                  <a:gd name="T68" fmla="*/ 30 w 730"/>
                  <a:gd name="T69" fmla="*/ 155 h 491"/>
                  <a:gd name="T70" fmla="*/ 27 w 730"/>
                  <a:gd name="T71" fmla="*/ 253 h 491"/>
                  <a:gd name="T72" fmla="*/ 26 w 730"/>
                  <a:gd name="T73" fmla="*/ 282 h 491"/>
                  <a:gd name="T74" fmla="*/ 15 w 730"/>
                  <a:gd name="T75" fmla="*/ 353 h 491"/>
                  <a:gd name="T76" fmla="*/ 17 w 730"/>
                  <a:gd name="T77" fmla="*/ 401 h 491"/>
                  <a:gd name="T78" fmla="*/ 88 w 730"/>
                  <a:gd name="T79" fmla="*/ 408 h 491"/>
                  <a:gd name="T80" fmla="*/ 71 w 730"/>
                  <a:gd name="T81" fmla="*/ 347 h 491"/>
                  <a:gd name="T82" fmla="*/ 130 w 730"/>
                  <a:gd name="T83" fmla="*/ 329 h 491"/>
                  <a:gd name="T84" fmla="*/ 146 w 730"/>
                  <a:gd name="T85" fmla="*/ 313 h 491"/>
                  <a:gd name="T86" fmla="*/ 185 w 730"/>
                  <a:gd name="T87" fmla="*/ 311 h 491"/>
                  <a:gd name="T88" fmla="*/ 258 w 730"/>
                  <a:gd name="T89" fmla="*/ 342 h 491"/>
                  <a:gd name="T90" fmla="*/ 302 w 730"/>
                  <a:gd name="T91" fmla="*/ 398 h 491"/>
                  <a:gd name="T92" fmla="*/ 418 w 730"/>
                  <a:gd name="T93" fmla="*/ 464 h 491"/>
                  <a:gd name="T94" fmla="*/ 450 w 730"/>
                  <a:gd name="T95" fmla="*/ 464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0" h="491">
                    <a:moveTo>
                      <a:pt x="331" y="7"/>
                    </a:moveTo>
                    <a:cubicBezTo>
                      <a:pt x="318" y="0"/>
                      <a:pt x="296" y="19"/>
                      <a:pt x="296" y="19"/>
                    </a:cubicBezTo>
                    <a:cubicBezTo>
                      <a:pt x="315" y="31"/>
                      <a:pt x="315" y="31"/>
                      <a:pt x="315" y="31"/>
                    </a:cubicBezTo>
                    <a:cubicBezTo>
                      <a:pt x="333" y="35"/>
                      <a:pt x="344" y="14"/>
                      <a:pt x="331" y="7"/>
                    </a:cubicBezTo>
                    <a:close/>
                    <a:moveTo>
                      <a:pt x="508" y="150"/>
                    </a:moveTo>
                    <a:cubicBezTo>
                      <a:pt x="499" y="159"/>
                      <a:pt x="521" y="171"/>
                      <a:pt x="521" y="171"/>
                    </a:cubicBezTo>
                    <a:cubicBezTo>
                      <a:pt x="523" y="184"/>
                      <a:pt x="523" y="184"/>
                      <a:pt x="523" y="184"/>
                    </a:cubicBezTo>
                    <a:cubicBezTo>
                      <a:pt x="476" y="209"/>
                      <a:pt x="476" y="209"/>
                      <a:pt x="476" y="209"/>
                    </a:cubicBezTo>
                    <a:cubicBezTo>
                      <a:pt x="476" y="209"/>
                      <a:pt x="452" y="207"/>
                      <a:pt x="436" y="210"/>
                    </a:cubicBezTo>
                    <a:cubicBezTo>
                      <a:pt x="420" y="213"/>
                      <a:pt x="414" y="222"/>
                      <a:pt x="404" y="228"/>
                    </a:cubicBezTo>
                    <a:cubicBezTo>
                      <a:pt x="394" y="234"/>
                      <a:pt x="388" y="222"/>
                      <a:pt x="382" y="234"/>
                    </a:cubicBezTo>
                    <a:cubicBezTo>
                      <a:pt x="398" y="257"/>
                      <a:pt x="398" y="257"/>
                      <a:pt x="398" y="257"/>
                    </a:cubicBezTo>
                    <a:cubicBezTo>
                      <a:pt x="463" y="260"/>
                      <a:pt x="463" y="260"/>
                      <a:pt x="463" y="260"/>
                    </a:cubicBezTo>
                    <a:cubicBezTo>
                      <a:pt x="474" y="251"/>
                      <a:pt x="474" y="251"/>
                      <a:pt x="474" y="251"/>
                    </a:cubicBezTo>
                    <a:cubicBezTo>
                      <a:pt x="474" y="251"/>
                      <a:pt x="486" y="251"/>
                      <a:pt x="499" y="250"/>
                    </a:cubicBezTo>
                    <a:cubicBezTo>
                      <a:pt x="513" y="248"/>
                      <a:pt x="523" y="228"/>
                      <a:pt x="523" y="228"/>
                    </a:cubicBezTo>
                    <a:cubicBezTo>
                      <a:pt x="542" y="223"/>
                      <a:pt x="542" y="223"/>
                      <a:pt x="542" y="223"/>
                    </a:cubicBezTo>
                    <a:cubicBezTo>
                      <a:pt x="536" y="206"/>
                      <a:pt x="536" y="206"/>
                      <a:pt x="536" y="206"/>
                    </a:cubicBezTo>
                    <a:cubicBezTo>
                      <a:pt x="554" y="209"/>
                      <a:pt x="554" y="209"/>
                      <a:pt x="554" y="209"/>
                    </a:cubicBezTo>
                    <a:cubicBezTo>
                      <a:pt x="554" y="209"/>
                      <a:pt x="562" y="157"/>
                      <a:pt x="555" y="140"/>
                    </a:cubicBezTo>
                    <a:cubicBezTo>
                      <a:pt x="548" y="122"/>
                      <a:pt x="517" y="141"/>
                      <a:pt x="508" y="150"/>
                    </a:cubicBezTo>
                    <a:close/>
                    <a:moveTo>
                      <a:pt x="564" y="94"/>
                    </a:moveTo>
                    <a:cubicBezTo>
                      <a:pt x="555" y="94"/>
                      <a:pt x="555" y="94"/>
                      <a:pt x="555" y="94"/>
                    </a:cubicBezTo>
                    <a:cubicBezTo>
                      <a:pt x="555" y="94"/>
                      <a:pt x="524" y="60"/>
                      <a:pt x="520" y="58"/>
                    </a:cubicBezTo>
                    <a:cubicBezTo>
                      <a:pt x="516" y="55"/>
                      <a:pt x="508" y="55"/>
                      <a:pt x="508" y="55"/>
                    </a:cubicBezTo>
                    <a:cubicBezTo>
                      <a:pt x="494" y="31"/>
                      <a:pt x="494" y="31"/>
                      <a:pt x="494" y="31"/>
                    </a:cubicBezTo>
                    <a:cubicBezTo>
                      <a:pt x="486" y="63"/>
                      <a:pt x="486" y="63"/>
                      <a:pt x="486" y="63"/>
                    </a:cubicBezTo>
                    <a:cubicBezTo>
                      <a:pt x="516" y="69"/>
                      <a:pt x="516" y="69"/>
                      <a:pt x="516" y="69"/>
                    </a:cubicBezTo>
                    <a:cubicBezTo>
                      <a:pt x="516" y="69"/>
                      <a:pt x="539" y="96"/>
                      <a:pt x="545" y="102"/>
                    </a:cubicBezTo>
                    <a:cubicBezTo>
                      <a:pt x="551" y="107"/>
                      <a:pt x="571" y="109"/>
                      <a:pt x="576" y="122"/>
                    </a:cubicBezTo>
                    <a:cubicBezTo>
                      <a:pt x="580" y="135"/>
                      <a:pt x="562" y="179"/>
                      <a:pt x="589" y="181"/>
                    </a:cubicBezTo>
                    <a:cubicBezTo>
                      <a:pt x="604" y="182"/>
                      <a:pt x="612" y="150"/>
                      <a:pt x="599" y="131"/>
                    </a:cubicBezTo>
                    <a:cubicBezTo>
                      <a:pt x="586" y="112"/>
                      <a:pt x="564" y="94"/>
                      <a:pt x="564" y="94"/>
                    </a:cubicBezTo>
                    <a:close/>
                    <a:moveTo>
                      <a:pt x="728" y="249"/>
                    </a:moveTo>
                    <a:cubicBezTo>
                      <a:pt x="687" y="202"/>
                      <a:pt x="687" y="202"/>
                      <a:pt x="687" y="202"/>
                    </a:cubicBezTo>
                    <a:cubicBezTo>
                      <a:pt x="687" y="202"/>
                      <a:pt x="683" y="177"/>
                      <a:pt x="664" y="185"/>
                    </a:cubicBezTo>
                    <a:cubicBezTo>
                      <a:pt x="653" y="190"/>
                      <a:pt x="659" y="206"/>
                      <a:pt x="659" y="206"/>
                    </a:cubicBezTo>
                    <a:cubicBezTo>
                      <a:pt x="670" y="225"/>
                      <a:pt x="670" y="225"/>
                      <a:pt x="670" y="225"/>
                    </a:cubicBezTo>
                    <a:cubicBezTo>
                      <a:pt x="687" y="257"/>
                      <a:pt x="687" y="257"/>
                      <a:pt x="687" y="257"/>
                    </a:cubicBezTo>
                    <a:cubicBezTo>
                      <a:pt x="730" y="300"/>
                      <a:pt x="730" y="300"/>
                      <a:pt x="730" y="300"/>
                    </a:cubicBezTo>
                    <a:lnTo>
                      <a:pt x="728" y="249"/>
                    </a:lnTo>
                    <a:close/>
                    <a:moveTo>
                      <a:pt x="17" y="401"/>
                    </a:moveTo>
                    <a:cubicBezTo>
                      <a:pt x="17" y="401"/>
                      <a:pt x="17" y="401"/>
                      <a:pt x="17" y="401"/>
                    </a:cubicBezTo>
                    <a:cubicBezTo>
                      <a:pt x="17" y="401"/>
                      <a:pt x="17" y="401"/>
                      <a:pt x="17" y="401"/>
                    </a:cubicBezTo>
                    <a:cubicBezTo>
                      <a:pt x="17" y="401"/>
                      <a:pt x="17" y="401"/>
                      <a:pt x="17" y="401"/>
                    </a:cubicBezTo>
                    <a:close/>
                    <a:moveTo>
                      <a:pt x="452" y="453"/>
                    </a:moveTo>
                    <a:cubicBezTo>
                      <a:pt x="425" y="436"/>
                      <a:pt x="425" y="436"/>
                      <a:pt x="425" y="436"/>
                    </a:cubicBezTo>
                    <a:cubicBezTo>
                      <a:pt x="437" y="426"/>
                      <a:pt x="437" y="426"/>
                      <a:pt x="437" y="426"/>
                    </a:cubicBezTo>
                    <a:cubicBezTo>
                      <a:pt x="437" y="426"/>
                      <a:pt x="413" y="425"/>
                      <a:pt x="406" y="418"/>
                    </a:cubicBezTo>
                    <a:cubicBezTo>
                      <a:pt x="400" y="411"/>
                      <a:pt x="408" y="397"/>
                      <a:pt x="408" y="388"/>
                    </a:cubicBezTo>
                    <a:cubicBezTo>
                      <a:pt x="408" y="379"/>
                      <a:pt x="375" y="396"/>
                      <a:pt x="375" y="396"/>
                    </a:cubicBezTo>
                    <a:cubicBezTo>
                      <a:pt x="374" y="375"/>
                      <a:pt x="374" y="375"/>
                      <a:pt x="374" y="375"/>
                    </a:cubicBezTo>
                    <a:cubicBezTo>
                      <a:pt x="357" y="367"/>
                      <a:pt x="357" y="367"/>
                      <a:pt x="357" y="367"/>
                    </a:cubicBezTo>
                    <a:cubicBezTo>
                      <a:pt x="357" y="337"/>
                      <a:pt x="357" y="337"/>
                      <a:pt x="357" y="337"/>
                    </a:cubicBezTo>
                    <a:cubicBezTo>
                      <a:pt x="321" y="311"/>
                      <a:pt x="321" y="311"/>
                      <a:pt x="321" y="311"/>
                    </a:cubicBezTo>
                    <a:cubicBezTo>
                      <a:pt x="304" y="274"/>
                      <a:pt x="304" y="274"/>
                      <a:pt x="304" y="274"/>
                    </a:cubicBezTo>
                    <a:cubicBezTo>
                      <a:pt x="304" y="274"/>
                      <a:pt x="342" y="261"/>
                      <a:pt x="342" y="245"/>
                    </a:cubicBezTo>
                    <a:cubicBezTo>
                      <a:pt x="342" y="229"/>
                      <a:pt x="308" y="220"/>
                      <a:pt x="308" y="220"/>
                    </a:cubicBezTo>
                    <a:cubicBezTo>
                      <a:pt x="306" y="216"/>
                      <a:pt x="256" y="202"/>
                      <a:pt x="256" y="202"/>
                    </a:cubicBezTo>
                    <a:cubicBezTo>
                      <a:pt x="256" y="202"/>
                      <a:pt x="252" y="189"/>
                      <a:pt x="256" y="169"/>
                    </a:cubicBezTo>
                    <a:cubicBezTo>
                      <a:pt x="260" y="150"/>
                      <a:pt x="232" y="147"/>
                      <a:pt x="232" y="147"/>
                    </a:cubicBezTo>
                    <a:cubicBezTo>
                      <a:pt x="200" y="113"/>
                      <a:pt x="200" y="113"/>
                      <a:pt x="200" y="113"/>
                    </a:cubicBezTo>
                    <a:cubicBezTo>
                      <a:pt x="175" y="114"/>
                      <a:pt x="175" y="114"/>
                      <a:pt x="175" y="114"/>
                    </a:cubicBezTo>
                    <a:cubicBezTo>
                      <a:pt x="151" y="91"/>
                      <a:pt x="151" y="91"/>
                      <a:pt x="151" y="91"/>
                    </a:cubicBezTo>
                    <a:cubicBezTo>
                      <a:pt x="131" y="87"/>
                      <a:pt x="131" y="87"/>
                      <a:pt x="131" y="87"/>
                    </a:cubicBezTo>
                    <a:cubicBezTo>
                      <a:pt x="49" y="49"/>
                      <a:pt x="49" y="49"/>
                      <a:pt x="49" y="49"/>
                    </a:cubicBezTo>
                    <a:cubicBezTo>
                      <a:pt x="33" y="55"/>
                      <a:pt x="33" y="55"/>
                      <a:pt x="33" y="55"/>
                    </a:cubicBezTo>
                    <a:cubicBezTo>
                      <a:pt x="6" y="36"/>
                      <a:pt x="6" y="36"/>
                      <a:pt x="6" y="36"/>
                    </a:cubicBezTo>
                    <a:cubicBezTo>
                      <a:pt x="32" y="55"/>
                      <a:pt x="32" y="55"/>
                      <a:pt x="32" y="55"/>
                    </a:cubicBezTo>
                    <a:cubicBezTo>
                      <a:pt x="32" y="75"/>
                      <a:pt x="30" y="139"/>
                      <a:pt x="30" y="155"/>
                    </a:cubicBezTo>
                    <a:cubicBezTo>
                      <a:pt x="30" y="175"/>
                      <a:pt x="22" y="197"/>
                      <a:pt x="24" y="212"/>
                    </a:cubicBezTo>
                    <a:cubicBezTo>
                      <a:pt x="26" y="227"/>
                      <a:pt x="27" y="253"/>
                      <a:pt x="27" y="253"/>
                    </a:cubicBezTo>
                    <a:cubicBezTo>
                      <a:pt x="27" y="253"/>
                      <a:pt x="0" y="271"/>
                      <a:pt x="11" y="277"/>
                    </a:cubicBezTo>
                    <a:cubicBezTo>
                      <a:pt x="22" y="284"/>
                      <a:pt x="26" y="282"/>
                      <a:pt x="26" y="282"/>
                    </a:cubicBezTo>
                    <a:cubicBezTo>
                      <a:pt x="26" y="282"/>
                      <a:pt x="23" y="319"/>
                      <a:pt x="21" y="327"/>
                    </a:cubicBezTo>
                    <a:cubicBezTo>
                      <a:pt x="19" y="334"/>
                      <a:pt x="15" y="353"/>
                      <a:pt x="15" y="353"/>
                    </a:cubicBezTo>
                    <a:cubicBezTo>
                      <a:pt x="19" y="369"/>
                      <a:pt x="19" y="369"/>
                      <a:pt x="19" y="369"/>
                    </a:cubicBezTo>
                    <a:cubicBezTo>
                      <a:pt x="17" y="401"/>
                      <a:pt x="17" y="401"/>
                      <a:pt x="17" y="401"/>
                    </a:cubicBezTo>
                    <a:cubicBezTo>
                      <a:pt x="34" y="405"/>
                      <a:pt x="75" y="396"/>
                      <a:pt x="75" y="396"/>
                    </a:cubicBezTo>
                    <a:cubicBezTo>
                      <a:pt x="88" y="408"/>
                      <a:pt x="88" y="408"/>
                      <a:pt x="88" y="408"/>
                    </a:cubicBezTo>
                    <a:cubicBezTo>
                      <a:pt x="88" y="408"/>
                      <a:pt x="114" y="398"/>
                      <a:pt x="126" y="388"/>
                    </a:cubicBezTo>
                    <a:cubicBezTo>
                      <a:pt x="138" y="377"/>
                      <a:pt x="71" y="347"/>
                      <a:pt x="71" y="347"/>
                    </a:cubicBezTo>
                    <a:cubicBezTo>
                      <a:pt x="71" y="347"/>
                      <a:pt x="126" y="355"/>
                      <a:pt x="138" y="353"/>
                    </a:cubicBezTo>
                    <a:cubicBezTo>
                      <a:pt x="150" y="350"/>
                      <a:pt x="130" y="329"/>
                      <a:pt x="130" y="329"/>
                    </a:cubicBezTo>
                    <a:cubicBezTo>
                      <a:pt x="130" y="329"/>
                      <a:pt x="146" y="341"/>
                      <a:pt x="151" y="338"/>
                    </a:cubicBezTo>
                    <a:cubicBezTo>
                      <a:pt x="156" y="336"/>
                      <a:pt x="146" y="313"/>
                      <a:pt x="146" y="313"/>
                    </a:cubicBezTo>
                    <a:cubicBezTo>
                      <a:pt x="146" y="313"/>
                      <a:pt x="156" y="322"/>
                      <a:pt x="163" y="324"/>
                    </a:cubicBezTo>
                    <a:cubicBezTo>
                      <a:pt x="169" y="325"/>
                      <a:pt x="179" y="312"/>
                      <a:pt x="185" y="311"/>
                    </a:cubicBezTo>
                    <a:cubicBezTo>
                      <a:pt x="192" y="309"/>
                      <a:pt x="202" y="329"/>
                      <a:pt x="209" y="333"/>
                    </a:cubicBezTo>
                    <a:cubicBezTo>
                      <a:pt x="215" y="337"/>
                      <a:pt x="240" y="332"/>
                      <a:pt x="258" y="342"/>
                    </a:cubicBezTo>
                    <a:cubicBezTo>
                      <a:pt x="277" y="353"/>
                      <a:pt x="270" y="376"/>
                      <a:pt x="277" y="388"/>
                    </a:cubicBezTo>
                    <a:cubicBezTo>
                      <a:pt x="283" y="400"/>
                      <a:pt x="296" y="392"/>
                      <a:pt x="302" y="398"/>
                    </a:cubicBezTo>
                    <a:cubicBezTo>
                      <a:pt x="307" y="405"/>
                      <a:pt x="316" y="446"/>
                      <a:pt x="330" y="456"/>
                    </a:cubicBezTo>
                    <a:cubicBezTo>
                      <a:pt x="345" y="466"/>
                      <a:pt x="409" y="460"/>
                      <a:pt x="418" y="464"/>
                    </a:cubicBezTo>
                    <a:cubicBezTo>
                      <a:pt x="427" y="468"/>
                      <a:pt x="447" y="491"/>
                      <a:pt x="459" y="491"/>
                    </a:cubicBezTo>
                    <a:cubicBezTo>
                      <a:pt x="471" y="491"/>
                      <a:pt x="450" y="464"/>
                      <a:pt x="450" y="464"/>
                    </a:cubicBezTo>
                    <a:lnTo>
                      <a:pt x="452" y="453"/>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84" name="Pakistan">
                <a:extLst>
                  <a:ext uri="{FF2B5EF4-FFF2-40B4-BE49-F238E27FC236}">
                    <a16:creationId xmlns:a16="http://schemas.microsoft.com/office/drawing/2014/main" id="{A713A86A-DB94-49EB-9F3B-F96519AE2ECE}"/>
                  </a:ext>
                </a:extLst>
              </p:cNvPr>
              <p:cNvSpPr>
                <a:spLocks/>
              </p:cNvSpPr>
              <p:nvPr/>
            </p:nvSpPr>
            <p:spPr bwMode="gray">
              <a:xfrm>
                <a:off x="7180158" y="2968056"/>
                <a:ext cx="392180" cy="395105"/>
              </a:xfrm>
              <a:custGeom>
                <a:avLst/>
                <a:gdLst>
                  <a:gd name="T0" fmla="*/ 639 w 701"/>
                  <a:gd name="T1" fmla="*/ 64 h 705"/>
                  <a:gd name="T2" fmla="*/ 584 w 701"/>
                  <a:gd name="T3" fmla="*/ 14 h 705"/>
                  <a:gd name="T4" fmla="*/ 541 w 701"/>
                  <a:gd name="T5" fmla="*/ 0 h 705"/>
                  <a:gd name="T6" fmla="*/ 479 w 701"/>
                  <a:gd name="T7" fmla="*/ 10 h 705"/>
                  <a:gd name="T8" fmla="*/ 408 w 701"/>
                  <a:gd name="T9" fmla="*/ 46 h 705"/>
                  <a:gd name="T10" fmla="*/ 433 w 701"/>
                  <a:gd name="T11" fmla="*/ 110 h 705"/>
                  <a:gd name="T12" fmla="*/ 418 w 701"/>
                  <a:gd name="T13" fmla="*/ 160 h 705"/>
                  <a:gd name="T14" fmla="*/ 395 w 701"/>
                  <a:gd name="T15" fmla="*/ 168 h 705"/>
                  <a:gd name="T16" fmla="*/ 370 w 701"/>
                  <a:gd name="T17" fmla="*/ 171 h 705"/>
                  <a:gd name="T18" fmla="*/ 401 w 701"/>
                  <a:gd name="T19" fmla="*/ 197 h 705"/>
                  <a:gd name="T20" fmla="*/ 363 w 701"/>
                  <a:gd name="T21" fmla="*/ 238 h 705"/>
                  <a:gd name="T22" fmla="*/ 348 w 701"/>
                  <a:gd name="T23" fmla="*/ 293 h 705"/>
                  <a:gd name="T24" fmla="*/ 305 w 701"/>
                  <a:gd name="T25" fmla="*/ 289 h 705"/>
                  <a:gd name="T26" fmla="*/ 266 w 701"/>
                  <a:gd name="T27" fmla="*/ 312 h 705"/>
                  <a:gd name="T28" fmla="*/ 242 w 701"/>
                  <a:gd name="T29" fmla="*/ 355 h 705"/>
                  <a:gd name="T30" fmla="*/ 157 w 701"/>
                  <a:gd name="T31" fmla="*/ 404 h 705"/>
                  <a:gd name="T32" fmla="*/ 100 w 701"/>
                  <a:gd name="T33" fmla="*/ 405 h 705"/>
                  <a:gd name="T34" fmla="*/ 0 w 701"/>
                  <a:gd name="T35" fmla="*/ 389 h 705"/>
                  <a:gd name="T36" fmla="*/ 77 w 701"/>
                  <a:gd name="T37" fmla="*/ 462 h 705"/>
                  <a:gd name="T38" fmla="*/ 98 w 701"/>
                  <a:gd name="T39" fmla="*/ 492 h 705"/>
                  <a:gd name="T40" fmla="*/ 120 w 701"/>
                  <a:gd name="T41" fmla="*/ 529 h 705"/>
                  <a:gd name="T42" fmla="*/ 85 w 701"/>
                  <a:gd name="T43" fmla="*/ 575 h 705"/>
                  <a:gd name="T44" fmla="*/ 60 w 701"/>
                  <a:gd name="T45" fmla="*/ 600 h 705"/>
                  <a:gd name="T46" fmla="*/ 110 w 701"/>
                  <a:gd name="T47" fmla="*/ 635 h 705"/>
                  <a:gd name="T48" fmla="*/ 208 w 701"/>
                  <a:gd name="T49" fmla="*/ 615 h 705"/>
                  <a:gd name="T50" fmla="*/ 299 w 701"/>
                  <a:gd name="T51" fmla="*/ 662 h 705"/>
                  <a:gd name="T52" fmla="*/ 381 w 701"/>
                  <a:gd name="T53" fmla="*/ 705 h 705"/>
                  <a:gd name="T54" fmla="*/ 416 w 701"/>
                  <a:gd name="T55" fmla="*/ 689 h 705"/>
                  <a:gd name="T56" fmla="*/ 467 w 701"/>
                  <a:gd name="T57" fmla="*/ 679 h 705"/>
                  <a:gd name="T58" fmla="*/ 492 w 701"/>
                  <a:gd name="T59" fmla="*/ 654 h 705"/>
                  <a:gd name="T60" fmla="*/ 455 w 701"/>
                  <a:gd name="T61" fmla="*/ 604 h 705"/>
                  <a:gd name="T62" fmla="*/ 447 w 701"/>
                  <a:gd name="T63" fmla="*/ 559 h 705"/>
                  <a:gd name="T64" fmla="*/ 423 w 701"/>
                  <a:gd name="T65" fmla="*/ 522 h 705"/>
                  <a:gd name="T66" fmla="*/ 470 w 701"/>
                  <a:gd name="T67" fmla="*/ 500 h 705"/>
                  <a:gd name="T68" fmla="*/ 518 w 701"/>
                  <a:gd name="T69" fmla="*/ 472 h 705"/>
                  <a:gd name="T70" fmla="*/ 560 w 701"/>
                  <a:gd name="T71" fmla="*/ 425 h 705"/>
                  <a:gd name="T72" fmla="*/ 581 w 701"/>
                  <a:gd name="T73" fmla="*/ 358 h 705"/>
                  <a:gd name="T74" fmla="*/ 604 w 701"/>
                  <a:gd name="T75" fmla="*/ 297 h 705"/>
                  <a:gd name="T76" fmla="*/ 624 w 701"/>
                  <a:gd name="T77" fmla="*/ 248 h 705"/>
                  <a:gd name="T78" fmla="*/ 583 w 701"/>
                  <a:gd name="T79" fmla="*/ 225 h 705"/>
                  <a:gd name="T80" fmla="*/ 567 w 701"/>
                  <a:gd name="T81" fmla="*/ 194 h 705"/>
                  <a:gd name="T82" fmla="*/ 548 w 701"/>
                  <a:gd name="T83" fmla="*/ 161 h 705"/>
                  <a:gd name="T84" fmla="*/ 557 w 701"/>
                  <a:gd name="T85" fmla="*/ 123 h 705"/>
                  <a:gd name="T86" fmla="*/ 643 w 701"/>
                  <a:gd name="T87" fmla="*/ 123 h 705"/>
                  <a:gd name="T88" fmla="*/ 667 w 701"/>
                  <a:gd name="T89" fmla="*/ 122 h 705"/>
                  <a:gd name="T90" fmla="*/ 700 w 701"/>
                  <a:gd name="T91"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1" h="705">
                    <a:moveTo>
                      <a:pt x="671" y="81"/>
                    </a:moveTo>
                    <a:cubicBezTo>
                      <a:pt x="652" y="80"/>
                      <a:pt x="647" y="60"/>
                      <a:pt x="647" y="60"/>
                    </a:cubicBezTo>
                    <a:cubicBezTo>
                      <a:pt x="639" y="64"/>
                      <a:pt x="639" y="64"/>
                      <a:pt x="639" y="64"/>
                    </a:cubicBezTo>
                    <a:cubicBezTo>
                      <a:pt x="618" y="56"/>
                      <a:pt x="618" y="56"/>
                      <a:pt x="618" y="56"/>
                    </a:cubicBezTo>
                    <a:cubicBezTo>
                      <a:pt x="618" y="56"/>
                      <a:pt x="617" y="35"/>
                      <a:pt x="608" y="25"/>
                    </a:cubicBezTo>
                    <a:cubicBezTo>
                      <a:pt x="599" y="15"/>
                      <a:pt x="584" y="14"/>
                      <a:pt x="584" y="14"/>
                    </a:cubicBezTo>
                    <a:cubicBezTo>
                      <a:pt x="581" y="5"/>
                      <a:pt x="581" y="5"/>
                      <a:pt x="581" y="5"/>
                    </a:cubicBezTo>
                    <a:cubicBezTo>
                      <a:pt x="560" y="5"/>
                      <a:pt x="560" y="5"/>
                      <a:pt x="560" y="5"/>
                    </a:cubicBezTo>
                    <a:cubicBezTo>
                      <a:pt x="560" y="5"/>
                      <a:pt x="549" y="4"/>
                      <a:pt x="541" y="0"/>
                    </a:cubicBezTo>
                    <a:cubicBezTo>
                      <a:pt x="535" y="4"/>
                      <a:pt x="526" y="9"/>
                      <a:pt x="523" y="10"/>
                    </a:cubicBezTo>
                    <a:cubicBezTo>
                      <a:pt x="518" y="11"/>
                      <a:pt x="508" y="5"/>
                      <a:pt x="505" y="5"/>
                    </a:cubicBezTo>
                    <a:cubicBezTo>
                      <a:pt x="502" y="5"/>
                      <a:pt x="479" y="10"/>
                      <a:pt x="479" y="10"/>
                    </a:cubicBezTo>
                    <a:cubicBezTo>
                      <a:pt x="479" y="10"/>
                      <a:pt x="462" y="9"/>
                      <a:pt x="455" y="12"/>
                    </a:cubicBezTo>
                    <a:cubicBezTo>
                      <a:pt x="448" y="15"/>
                      <a:pt x="425" y="31"/>
                      <a:pt x="425" y="31"/>
                    </a:cubicBezTo>
                    <a:cubicBezTo>
                      <a:pt x="425" y="31"/>
                      <a:pt x="414" y="34"/>
                      <a:pt x="408" y="46"/>
                    </a:cubicBezTo>
                    <a:cubicBezTo>
                      <a:pt x="402" y="58"/>
                      <a:pt x="407" y="54"/>
                      <a:pt x="418" y="66"/>
                    </a:cubicBezTo>
                    <a:cubicBezTo>
                      <a:pt x="429" y="78"/>
                      <a:pt x="426" y="95"/>
                      <a:pt x="426" y="95"/>
                    </a:cubicBezTo>
                    <a:cubicBezTo>
                      <a:pt x="426" y="95"/>
                      <a:pt x="436" y="103"/>
                      <a:pt x="433" y="110"/>
                    </a:cubicBezTo>
                    <a:cubicBezTo>
                      <a:pt x="430" y="117"/>
                      <a:pt x="413" y="125"/>
                      <a:pt x="412" y="134"/>
                    </a:cubicBezTo>
                    <a:cubicBezTo>
                      <a:pt x="411" y="143"/>
                      <a:pt x="418" y="144"/>
                      <a:pt x="418" y="144"/>
                    </a:cubicBezTo>
                    <a:cubicBezTo>
                      <a:pt x="418" y="144"/>
                      <a:pt x="419" y="153"/>
                      <a:pt x="418" y="160"/>
                    </a:cubicBezTo>
                    <a:cubicBezTo>
                      <a:pt x="417" y="167"/>
                      <a:pt x="406" y="164"/>
                      <a:pt x="406" y="164"/>
                    </a:cubicBezTo>
                    <a:cubicBezTo>
                      <a:pt x="402" y="171"/>
                      <a:pt x="402" y="171"/>
                      <a:pt x="402" y="171"/>
                    </a:cubicBezTo>
                    <a:cubicBezTo>
                      <a:pt x="395" y="168"/>
                      <a:pt x="395" y="168"/>
                      <a:pt x="395" y="168"/>
                    </a:cubicBezTo>
                    <a:cubicBezTo>
                      <a:pt x="384" y="167"/>
                      <a:pt x="384" y="167"/>
                      <a:pt x="384" y="167"/>
                    </a:cubicBezTo>
                    <a:cubicBezTo>
                      <a:pt x="384" y="167"/>
                      <a:pt x="377" y="159"/>
                      <a:pt x="373" y="160"/>
                    </a:cubicBezTo>
                    <a:cubicBezTo>
                      <a:pt x="369" y="161"/>
                      <a:pt x="369" y="166"/>
                      <a:pt x="370" y="171"/>
                    </a:cubicBezTo>
                    <a:cubicBezTo>
                      <a:pt x="371" y="176"/>
                      <a:pt x="386" y="180"/>
                      <a:pt x="386" y="180"/>
                    </a:cubicBezTo>
                    <a:cubicBezTo>
                      <a:pt x="386" y="180"/>
                      <a:pt x="386" y="184"/>
                      <a:pt x="388" y="191"/>
                    </a:cubicBezTo>
                    <a:cubicBezTo>
                      <a:pt x="390" y="198"/>
                      <a:pt x="401" y="197"/>
                      <a:pt x="401" y="197"/>
                    </a:cubicBezTo>
                    <a:cubicBezTo>
                      <a:pt x="381" y="211"/>
                      <a:pt x="381" y="211"/>
                      <a:pt x="381" y="211"/>
                    </a:cubicBezTo>
                    <a:cubicBezTo>
                      <a:pt x="381" y="211"/>
                      <a:pt x="368" y="210"/>
                      <a:pt x="364" y="213"/>
                    </a:cubicBezTo>
                    <a:cubicBezTo>
                      <a:pt x="360" y="216"/>
                      <a:pt x="363" y="238"/>
                      <a:pt x="363" y="238"/>
                    </a:cubicBezTo>
                    <a:cubicBezTo>
                      <a:pt x="363" y="238"/>
                      <a:pt x="357" y="235"/>
                      <a:pt x="356" y="247"/>
                    </a:cubicBezTo>
                    <a:cubicBezTo>
                      <a:pt x="355" y="259"/>
                      <a:pt x="364" y="277"/>
                      <a:pt x="364" y="277"/>
                    </a:cubicBezTo>
                    <a:cubicBezTo>
                      <a:pt x="364" y="277"/>
                      <a:pt x="361" y="286"/>
                      <a:pt x="348" y="293"/>
                    </a:cubicBezTo>
                    <a:cubicBezTo>
                      <a:pt x="335" y="300"/>
                      <a:pt x="338" y="281"/>
                      <a:pt x="338" y="281"/>
                    </a:cubicBezTo>
                    <a:cubicBezTo>
                      <a:pt x="338" y="281"/>
                      <a:pt x="328" y="283"/>
                      <a:pt x="320" y="283"/>
                    </a:cubicBezTo>
                    <a:cubicBezTo>
                      <a:pt x="312" y="283"/>
                      <a:pt x="305" y="289"/>
                      <a:pt x="305" y="289"/>
                    </a:cubicBezTo>
                    <a:cubicBezTo>
                      <a:pt x="305" y="289"/>
                      <a:pt x="291" y="293"/>
                      <a:pt x="287" y="298"/>
                    </a:cubicBezTo>
                    <a:cubicBezTo>
                      <a:pt x="283" y="303"/>
                      <a:pt x="300" y="305"/>
                      <a:pt x="298" y="311"/>
                    </a:cubicBezTo>
                    <a:cubicBezTo>
                      <a:pt x="296" y="317"/>
                      <a:pt x="266" y="312"/>
                      <a:pt x="266" y="312"/>
                    </a:cubicBezTo>
                    <a:cubicBezTo>
                      <a:pt x="266" y="312"/>
                      <a:pt x="270" y="306"/>
                      <a:pt x="262" y="306"/>
                    </a:cubicBezTo>
                    <a:cubicBezTo>
                      <a:pt x="254" y="306"/>
                      <a:pt x="239" y="319"/>
                      <a:pt x="237" y="325"/>
                    </a:cubicBezTo>
                    <a:cubicBezTo>
                      <a:pt x="235" y="331"/>
                      <a:pt x="242" y="355"/>
                      <a:pt x="242" y="355"/>
                    </a:cubicBezTo>
                    <a:cubicBezTo>
                      <a:pt x="242" y="355"/>
                      <a:pt x="248" y="375"/>
                      <a:pt x="246" y="381"/>
                    </a:cubicBezTo>
                    <a:cubicBezTo>
                      <a:pt x="244" y="387"/>
                      <a:pt x="205" y="400"/>
                      <a:pt x="202" y="401"/>
                    </a:cubicBezTo>
                    <a:cubicBezTo>
                      <a:pt x="199" y="402"/>
                      <a:pt x="157" y="404"/>
                      <a:pt x="157" y="404"/>
                    </a:cubicBezTo>
                    <a:cubicBezTo>
                      <a:pt x="157" y="404"/>
                      <a:pt x="156" y="410"/>
                      <a:pt x="144" y="410"/>
                    </a:cubicBezTo>
                    <a:cubicBezTo>
                      <a:pt x="132" y="410"/>
                      <a:pt x="135" y="406"/>
                      <a:pt x="135" y="406"/>
                    </a:cubicBezTo>
                    <a:cubicBezTo>
                      <a:pt x="100" y="405"/>
                      <a:pt x="100" y="405"/>
                      <a:pt x="100" y="405"/>
                    </a:cubicBezTo>
                    <a:cubicBezTo>
                      <a:pt x="100" y="405"/>
                      <a:pt x="102" y="410"/>
                      <a:pt x="81" y="412"/>
                    </a:cubicBezTo>
                    <a:cubicBezTo>
                      <a:pt x="60" y="414"/>
                      <a:pt x="30" y="396"/>
                      <a:pt x="21" y="391"/>
                    </a:cubicBezTo>
                    <a:cubicBezTo>
                      <a:pt x="12" y="386"/>
                      <a:pt x="0" y="389"/>
                      <a:pt x="0" y="389"/>
                    </a:cubicBezTo>
                    <a:cubicBezTo>
                      <a:pt x="0" y="389"/>
                      <a:pt x="20" y="408"/>
                      <a:pt x="26" y="419"/>
                    </a:cubicBezTo>
                    <a:cubicBezTo>
                      <a:pt x="32" y="430"/>
                      <a:pt x="46" y="450"/>
                      <a:pt x="54" y="460"/>
                    </a:cubicBezTo>
                    <a:cubicBezTo>
                      <a:pt x="62" y="470"/>
                      <a:pt x="77" y="462"/>
                      <a:pt x="77" y="462"/>
                    </a:cubicBezTo>
                    <a:cubicBezTo>
                      <a:pt x="86" y="473"/>
                      <a:pt x="86" y="473"/>
                      <a:pt x="86" y="473"/>
                    </a:cubicBezTo>
                    <a:cubicBezTo>
                      <a:pt x="99" y="472"/>
                      <a:pt x="99" y="472"/>
                      <a:pt x="99" y="472"/>
                    </a:cubicBezTo>
                    <a:cubicBezTo>
                      <a:pt x="98" y="492"/>
                      <a:pt x="98" y="492"/>
                      <a:pt x="98" y="492"/>
                    </a:cubicBezTo>
                    <a:cubicBezTo>
                      <a:pt x="101" y="494"/>
                      <a:pt x="101" y="494"/>
                      <a:pt x="101" y="494"/>
                    </a:cubicBezTo>
                    <a:cubicBezTo>
                      <a:pt x="101" y="494"/>
                      <a:pt x="100" y="517"/>
                      <a:pt x="103" y="524"/>
                    </a:cubicBezTo>
                    <a:cubicBezTo>
                      <a:pt x="106" y="531"/>
                      <a:pt x="112" y="518"/>
                      <a:pt x="120" y="529"/>
                    </a:cubicBezTo>
                    <a:cubicBezTo>
                      <a:pt x="128" y="540"/>
                      <a:pt x="129" y="556"/>
                      <a:pt x="125" y="561"/>
                    </a:cubicBezTo>
                    <a:cubicBezTo>
                      <a:pt x="121" y="566"/>
                      <a:pt x="119" y="553"/>
                      <a:pt x="101" y="559"/>
                    </a:cubicBezTo>
                    <a:cubicBezTo>
                      <a:pt x="83" y="565"/>
                      <a:pt x="89" y="569"/>
                      <a:pt x="85" y="575"/>
                    </a:cubicBezTo>
                    <a:cubicBezTo>
                      <a:pt x="81" y="581"/>
                      <a:pt x="72" y="579"/>
                      <a:pt x="72" y="579"/>
                    </a:cubicBezTo>
                    <a:cubicBezTo>
                      <a:pt x="70" y="590"/>
                      <a:pt x="70" y="590"/>
                      <a:pt x="70" y="590"/>
                    </a:cubicBezTo>
                    <a:cubicBezTo>
                      <a:pt x="70" y="590"/>
                      <a:pt x="66" y="597"/>
                      <a:pt x="60" y="600"/>
                    </a:cubicBezTo>
                    <a:cubicBezTo>
                      <a:pt x="55" y="602"/>
                      <a:pt x="59" y="630"/>
                      <a:pt x="60" y="637"/>
                    </a:cubicBezTo>
                    <a:cubicBezTo>
                      <a:pt x="70" y="633"/>
                      <a:pt x="78" y="628"/>
                      <a:pt x="78" y="628"/>
                    </a:cubicBezTo>
                    <a:cubicBezTo>
                      <a:pt x="78" y="628"/>
                      <a:pt x="100" y="635"/>
                      <a:pt x="110" y="635"/>
                    </a:cubicBezTo>
                    <a:cubicBezTo>
                      <a:pt x="120" y="636"/>
                      <a:pt x="149" y="620"/>
                      <a:pt x="149" y="620"/>
                    </a:cubicBezTo>
                    <a:cubicBezTo>
                      <a:pt x="149" y="620"/>
                      <a:pt x="165" y="628"/>
                      <a:pt x="175" y="626"/>
                    </a:cubicBezTo>
                    <a:cubicBezTo>
                      <a:pt x="186" y="624"/>
                      <a:pt x="208" y="615"/>
                      <a:pt x="208" y="615"/>
                    </a:cubicBezTo>
                    <a:cubicBezTo>
                      <a:pt x="234" y="622"/>
                      <a:pt x="234" y="622"/>
                      <a:pt x="234" y="622"/>
                    </a:cubicBezTo>
                    <a:cubicBezTo>
                      <a:pt x="234" y="622"/>
                      <a:pt x="249" y="601"/>
                      <a:pt x="267" y="613"/>
                    </a:cubicBezTo>
                    <a:cubicBezTo>
                      <a:pt x="284" y="624"/>
                      <a:pt x="285" y="659"/>
                      <a:pt x="299" y="662"/>
                    </a:cubicBezTo>
                    <a:cubicBezTo>
                      <a:pt x="313" y="665"/>
                      <a:pt x="339" y="665"/>
                      <a:pt x="348" y="674"/>
                    </a:cubicBezTo>
                    <a:cubicBezTo>
                      <a:pt x="358" y="683"/>
                      <a:pt x="359" y="704"/>
                      <a:pt x="370" y="705"/>
                    </a:cubicBezTo>
                    <a:cubicBezTo>
                      <a:pt x="373" y="705"/>
                      <a:pt x="377" y="705"/>
                      <a:pt x="381" y="705"/>
                    </a:cubicBezTo>
                    <a:cubicBezTo>
                      <a:pt x="394" y="700"/>
                      <a:pt x="394" y="700"/>
                      <a:pt x="394" y="700"/>
                    </a:cubicBezTo>
                    <a:cubicBezTo>
                      <a:pt x="394" y="700"/>
                      <a:pt x="385" y="684"/>
                      <a:pt x="396" y="683"/>
                    </a:cubicBezTo>
                    <a:cubicBezTo>
                      <a:pt x="407" y="682"/>
                      <a:pt x="416" y="689"/>
                      <a:pt x="416" y="689"/>
                    </a:cubicBezTo>
                    <a:cubicBezTo>
                      <a:pt x="433" y="683"/>
                      <a:pt x="433" y="683"/>
                      <a:pt x="433" y="683"/>
                    </a:cubicBezTo>
                    <a:cubicBezTo>
                      <a:pt x="433" y="683"/>
                      <a:pt x="430" y="691"/>
                      <a:pt x="444" y="691"/>
                    </a:cubicBezTo>
                    <a:cubicBezTo>
                      <a:pt x="458" y="691"/>
                      <a:pt x="456" y="681"/>
                      <a:pt x="467" y="679"/>
                    </a:cubicBezTo>
                    <a:cubicBezTo>
                      <a:pt x="478" y="677"/>
                      <a:pt x="468" y="688"/>
                      <a:pt x="479" y="688"/>
                    </a:cubicBezTo>
                    <a:cubicBezTo>
                      <a:pt x="490" y="688"/>
                      <a:pt x="499" y="687"/>
                      <a:pt x="501" y="678"/>
                    </a:cubicBezTo>
                    <a:cubicBezTo>
                      <a:pt x="503" y="669"/>
                      <a:pt x="492" y="654"/>
                      <a:pt x="492" y="654"/>
                    </a:cubicBezTo>
                    <a:cubicBezTo>
                      <a:pt x="478" y="626"/>
                      <a:pt x="478" y="626"/>
                      <a:pt x="478" y="626"/>
                    </a:cubicBezTo>
                    <a:cubicBezTo>
                      <a:pt x="478" y="611"/>
                      <a:pt x="478" y="611"/>
                      <a:pt x="478" y="611"/>
                    </a:cubicBezTo>
                    <a:cubicBezTo>
                      <a:pt x="478" y="611"/>
                      <a:pt x="462" y="611"/>
                      <a:pt x="455" y="604"/>
                    </a:cubicBezTo>
                    <a:cubicBezTo>
                      <a:pt x="448" y="597"/>
                      <a:pt x="446" y="589"/>
                      <a:pt x="446" y="589"/>
                    </a:cubicBezTo>
                    <a:cubicBezTo>
                      <a:pt x="448" y="569"/>
                      <a:pt x="448" y="569"/>
                      <a:pt x="448" y="569"/>
                    </a:cubicBezTo>
                    <a:cubicBezTo>
                      <a:pt x="447" y="559"/>
                      <a:pt x="447" y="559"/>
                      <a:pt x="447" y="559"/>
                    </a:cubicBezTo>
                    <a:cubicBezTo>
                      <a:pt x="429" y="561"/>
                      <a:pt x="429" y="561"/>
                      <a:pt x="429" y="561"/>
                    </a:cubicBezTo>
                    <a:cubicBezTo>
                      <a:pt x="429" y="561"/>
                      <a:pt x="414" y="563"/>
                      <a:pt x="414" y="546"/>
                    </a:cubicBezTo>
                    <a:cubicBezTo>
                      <a:pt x="414" y="529"/>
                      <a:pt x="415" y="529"/>
                      <a:pt x="423" y="522"/>
                    </a:cubicBezTo>
                    <a:cubicBezTo>
                      <a:pt x="431" y="515"/>
                      <a:pt x="438" y="503"/>
                      <a:pt x="438" y="503"/>
                    </a:cubicBezTo>
                    <a:cubicBezTo>
                      <a:pt x="438" y="503"/>
                      <a:pt x="437" y="489"/>
                      <a:pt x="451" y="487"/>
                    </a:cubicBezTo>
                    <a:cubicBezTo>
                      <a:pt x="465" y="485"/>
                      <a:pt x="457" y="502"/>
                      <a:pt x="470" y="500"/>
                    </a:cubicBezTo>
                    <a:cubicBezTo>
                      <a:pt x="483" y="498"/>
                      <a:pt x="488" y="490"/>
                      <a:pt x="488" y="490"/>
                    </a:cubicBezTo>
                    <a:cubicBezTo>
                      <a:pt x="488" y="490"/>
                      <a:pt x="503" y="498"/>
                      <a:pt x="510" y="490"/>
                    </a:cubicBezTo>
                    <a:cubicBezTo>
                      <a:pt x="517" y="482"/>
                      <a:pt x="518" y="472"/>
                      <a:pt x="518" y="472"/>
                    </a:cubicBezTo>
                    <a:cubicBezTo>
                      <a:pt x="527" y="467"/>
                      <a:pt x="527" y="467"/>
                      <a:pt x="527" y="467"/>
                    </a:cubicBezTo>
                    <a:cubicBezTo>
                      <a:pt x="527" y="467"/>
                      <a:pt x="528" y="447"/>
                      <a:pt x="532" y="444"/>
                    </a:cubicBezTo>
                    <a:cubicBezTo>
                      <a:pt x="536" y="441"/>
                      <a:pt x="552" y="438"/>
                      <a:pt x="560" y="425"/>
                    </a:cubicBezTo>
                    <a:cubicBezTo>
                      <a:pt x="568" y="412"/>
                      <a:pt x="565" y="394"/>
                      <a:pt x="569" y="385"/>
                    </a:cubicBezTo>
                    <a:cubicBezTo>
                      <a:pt x="573" y="376"/>
                      <a:pt x="592" y="375"/>
                      <a:pt x="592" y="375"/>
                    </a:cubicBezTo>
                    <a:cubicBezTo>
                      <a:pt x="581" y="358"/>
                      <a:pt x="581" y="358"/>
                      <a:pt x="581" y="358"/>
                    </a:cubicBezTo>
                    <a:cubicBezTo>
                      <a:pt x="598" y="334"/>
                      <a:pt x="598" y="334"/>
                      <a:pt x="598" y="334"/>
                    </a:cubicBezTo>
                    <a:cubicBezTo>
                      <a:pt x="616" y="321"/>
                      <a:pt x="616" y="321"/>
                      <a:pt x="616" y="321"/>
                    </a:cubicBezTo>
                    <a:cubicBezTo>
                      <a:pt x="616" y="321"/>
                      <a:pt x="604" y="301"/>
                      <a:pt x="604" y="297"/>
                    </a:cubicBezTo>
                    <a:cubicBezTo>
                      <a:pt x="604" y="293"/>
                      <a:pt x="601" y="279"/>
                      <a:pt x="605" y="277"/>
                    </a:cubicBezTo>
                    <a:cubicBezTo>
                      <a:pt x="609" y="275"/>
                      <a:pt x="638" y="271"/>
                      <a:pt x="637" y="262"/>
                    </a:cubicBezTo>
                    <a:cubicBezTo>
                      <a:pt x="636" y="253"/>
                      <a:pt x="624" y="248"/>
                      <a:pt x="624" y="248"/>
                    </a:cubicBezTo>
                    <a:cubicBezTo>
                      <a:pt x="600" y="249"/>
                      <a:pt x="600" y="249"/>
                      <a:pt x="600" y="249"/>
                    </a:cubicBezTo>
                    <a:cubicBezTo>
                      <a:pt x="597" y="226"/>
                      <a:pt x="597" y="226"/>
                      <a:pt x="597" y="226"/>
                    </a:cubicBezTo>
                    <a:cubicBezTo>
                      <a:pt x="583" y="225"/>
                      <a:pt x="583" y="225"/>
                      <a:pt x="583" y="225"/>
                    </a:cubicBezTo>
                    <a:cubicBezTo>
                      <a:pt x="575" y="215"/>
                      <a:pt x="575" y="215"/>
                      <a:pt x="575" y="215"/>
                    </a:cubicBezTo>
                    <a:cubicBezTo>
                      <a:pt x="575" y="215"/>
                      <a:pt x="564" y="218"/>
                      <a:pt x="565" y="210"/>
                    </a:cubicBezTo>
                    <a:cubicBezTo>
                      <a:pt x="566" y="202"/>
                      <a:pt x="567" y="194"/>
                      <a:pt x="567" y="194"/>
                    </a:cubicBezTo>
                    <a:cubicBezTo>
                      <a:pt x="567" y="194"/>
                      <a:pt x="553" y="193"/>
                      <a:pt x="556" y="183"/>
                    </a:cubicBezTo>
                    <a:cubicBezTo>
                      <a:pt x="559" y="173"/>
                      <a:pt x="568" y="165"/>
                      <a:pt x="568" y="165"/>
                    </a:cubicBezTo>
                    <a:cubicBezTo>
                      <a:pt x="548" y="161"/>
                      <a:pt x="548" y="161"/>
                      <a:pt x="548" y="161"/>
                    </a:cubicBezTo>
                    <a:cubicBezTo>
                      <a:pt x="552" y="152"/>
                      <a:pt x="552" y="152"/>
                      <a:pt x="552" y="152"/>
                    </a:cubicBezTo>
                    <a:cubicBezTo>
                      <a:pt x="537" y="142"/>
                      <a:pt x="537" y="142"/>
                      <a:pt x="537" y="142"/>
                    </a:cubicBezTo>
                    <a:cubicBezTo>
                      <a:pt x="537" y="142"/>
                      <a:pt x="535" y="126"/>
                      <a:pt x="557" y="123"/>
                    </a:cubicBezTo>
                    <a:cubicBezTo>
                      <a:pt x="579" y="120"/>
                      <a:pt x="608" y="126"/>
                      <a:pt x="608" y="126"/>
                    </a:cubicBezTo>
                    <a:cubicBezTo>
                      <a:pt x="608" y="126"/>
                      <a:pt x="611" y="138"/>
                      <a:pt x="618" y="137"/>
                    </a:cubicBezTo>
                    <a:cubicBezTo>
                      <a:pt x="625" y="136"/>
                      <a:pt x="643" y="123"/>
                      <a:pt x="643" y="123"/>
                    </a:cubicBezTo>
                    <a:cubicBezTo>
                      <a:pt x="647" y="127"/>
                      <a:pt x="647" y="127"/>
                      <a:pt x="647" y="127"/>
                    </a:cubicBezTo>
                    <a:cubicBezTo>
                      <a:pt x="653" y="122"/>
                      <a:pt x="653" y="122"/>
                      <a:pt x="653" y="122"/>
                    </a:cubicBezTo>
                    <a:cubicBezTo>
                      <a:pt x="653" y="122"/>
                      <a:pt x="664" y="123"/>
                      <a:pt x="667" y="122"/>
                    </a:cubicBezTo>
                    <a:cubicBezTo>
                      <a:pt x="670" y="121"/>
                      <a:pt x="670" y="110"/>
                      <a:pt x="670" y="110"/>
                    </a:cubicBezTo>
                    <a:cubicBezTo>
                      <a:pt x="685" y="104"/>
                      <a:pt x="685" y="104"/>
                      <a:pt x="685" y="104"/>
                    </a:cubicBezTo>
                    <a:cubicBezTo>
                      <a:pt x="700" y="82"/>
                      <a:pt x="700" y="82"/>
                      <a:pt x="700" y="82"/>
                    </a:cubicBezTo>
                    <a:cubicBezTo>
                      <a:pt x="701" y="82"/>
                      <a:pt x="701" y="82"/>
                      <a:pt x="701" y="82"/>
                    </a:cubicBezTo>
                    <a:cubicBezTo>
                      <a:pt x="692" y="82"/>
                      <a:pt x="680" y="81"/>
                      <a:pt x="671" y="8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85" name="Oman">
                <a:extLst>
                  <a:ext uri="{FF2B5EF4-FFF2-40B4-BE49-F238E27FC236}">
                    <a16:creationId xmlns:a16="http://schemas.microsoft.com/office/drawing/2014/main" id="{327F0547-8875-4C39-95AE-96F0FEEB812C}"/>
                  </a:ext>
                </a:extLst>
              </p:cNvPr>
              <p:cNvSpPr>
                <a:spLocks/>
              </p:cNvSpPr>
              <p:nvPr/>
            </p:nvSpPr>
            <p:spPr bwMode="gray">
              <a:xfrm>
                <a:off x="6980097" y="3329838"/>
                <a:ext cx="203235" cy="249123"/>
              </a:xfrm>
              <a:custGeom>
                <a:avLst/>
                <a:gdLst>
                  <a:gd name="T0" fmla="*/ 169 w 364"/>
                  <a:gd name="T1" fmla="*/ 375 h 445"/>
                  <a:gd name="T2" fmla="*/ 220 w 364"/>
                  <a:gd name="T3" fmla="*/ 358 h 445"/>
                  <a:gd name="T4" fmla="*/ 228 w 364"/>
                  <a:gd name="T5" fmla="*/ 330 h 445"/>
                  <a:gd name="T6" fmla="*/ 269 w 364"/>
                  <a:gd name="T7" fmla="*/ 304 h 445"/>
                  <a:gd name="T8" fmla="*/ 283 w 364"/>
                  <a:gd name="T9" fmla="*/ 249 h 445"/>
                  <a:gd name="T10" fmla="*/ 312 w 364"/>
                  <a:gd name="T11" fmla="*/ 249 h 445"/>
                  <a:gd name="T12" fmla="*/ 318 w 364"/>
                  <a:gd name="T13" fmla="*/ 218 h 445"/>
                  <a:gd name="T14" fmla="*/ 355 w 364"/>
                  <a:gd name="T15" fmla="*/ 184 h 445"/>
                  <a:gd name="T16" fmla="*/ 359 w 364"/>
                  <a:gd name="T17" fmla="*/ 134 h 445"/>
                  <a:gd name="T18" fmla="*/ 339 w 364"/>
                  <a:gd name="T19" fmla="*/ 127 h 445"/>
                  <a:gd name="T20" fmla="*/ 302 w 364"/>
                  <a:gd name="T21" fmla="*/ 74 h 445"/>
                  <a:gd name="T22" fmla="*/ 237 w 364"/>
                  <a:gd name="T23" fmla="*/ 52 h 445"/>
                  <a:gd name="T24" fmla="*/ 191 w 364"/>
                  <a:gd name="T25" fmla="*/ 23 h 445"/>
                  <a:gd name="T26" fmla="*/ 184 w 364"/>
                  <a:gd name="T27" fmla="*/ 7 h 445"/>
                  <a:gd name="T28" fmla="*/ 168 w 364"/>
                  <a:gd name="T29" fmla="*/ 13 h 445"/>
                  <a:gd name="T30" fmla="*/ 158 w 364"/>
                  <a:gd name="T31" fmla="*/ 0 h 445"/>
                  <a:gd name="T32" fmla="*/ 151 w 364"/>
                  <a:gd name="T33" fmla="*/ 34 h 445"/>
                  <a:gd name="T34" fmla="*/ 161 w 364"/>
                  <a:gd name="T35" fmla="*/ 51 h 445"/>
                  <a:gd name="T36" fmla="*/ 149 w 364"/>
                  <a:gd name="T37" fmla="*/ 52 h 445"/>
                  <a:gd name="T38" fmla="*/ 141 w 364"/>
                  <a:gd name="T39" fmla="*/ 79 h 445"/>
                  <a:gd name="T40" fmla="*/ 128 w 364"/>
                  <a:gd name="T41" fmla="*/ 108 h 445"/>
                  <a:gd name="T42" fmla="*/ 141 w 364"/>
                  <a:gd name="T43" fmla="*/ 142 h 445"/>
                  <a:gd name="T44" fmla="*/ 159 w 364"/>
                  <a:gd name="T45" fmla="*/ 161 h 445"/>
                  <a:gd name="T46" fmla="*/ 133 w 364"/>
                  <a:gd name="T47" fmla="*/ 276 h 445"/>
                  <a:gd name="T48" fmla="*/ 0 w 364"/>
                  <a:gd name="T49" fmla="*/ 325 h 445"/>
                  <a:gd name="T50" fmla="*/ 54 w 364"/>
                  <a:gd name="T51" fmla="*/ 445 h 445"/>
                  <a:gd name="T52" fmla="*/ 162 w 364"/>
                  <a:gd name="T53" fmla="*/ 410 h 445"/>
                  <a:gd name="T54" fmla="*/ 169 w 364"/>
                  <a:gd name="T55" fmla="*/ 37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4" h="445">
                    <a:moveTo>
                      <a:pt x="169" y="375"/>
                    </a:moveTo>
                    <a:cubicBezTo>
                      <a:pt x="169" y="375"/>
                      <a:pt x="211" y="369"/>
                      <a:pt x="220" y="358"/>
                    </a:cubicBezTo>
                    <a:cubicBezTo>
                      <a:pt x="228" y="348"/>
                      <a:pt x="228" y="330"/>
                      <a:pt x="228" y="330"/>
                    </a:cubicBezTo>
                    <a:cubicBezTo>
                      <a:pt x="228" y="330"/>
                      <a:pt x="260" y="319"/>
                      <a:pt x="269" y="304"/>
                    </a:cubicBezTo>
                    <a:cubicBezTo>
                      <a:pt x="279" y="288"/>
                      <a:pt x="274" y="250"/>
                      <a:pt x="283" y="249"/>
                    </a:cubicBezTo>
                    <a:cubicBezTo>
                      <a:pt x="292" y="248"/>
                      <a:pt x="302" y="260"/>
                      <a:pt x="312" y="249"/>
                    </a:cubicBezTo>
                    <a:cubicBezTo>
                      <a:pt x="323" y="238"/>
                      <a:pt x="318" y="218"/>
                      <a:pt x="318" y="218"/>
                    </a:cubicBezTo>
                    <a:cubicBezTo>
                      <a:pt x="355" y="184"/>
                      <a:pt x="355" y="184"/>
                      <a:pt x="355" y="184"/>
                    </a:cubicBezTo>
                    <a:cubicBezTo>
                      <a:pt x="355" y="184"/>
                      <a:pt x="364" y="144"/>
                      <a:pt x="359" y="134"/>
                    </a:cubicBezTo>
                    <a:cubicBezTo>
                      <a:pt x="355" y="124"/>
                      <a:pt x="339" y="127"/>
                      <a:pt x="339" y="127"/>
                    </a:cubicBezTo>
                    <a:cubicBezTo>
                      <a:pt x="339" y="127"/>
                      <a:pt x="317" y="87"/>
                      <a:pt x="302" y="74"/>
                    </a:cubicBezTo>
                    <a:cubicBezTo>
                      <a:pt x="287" y="61"/>
                      <a:pt x="237" y="52"/>
                      <a:pt x="237" y="52"/>
                    </a:cubicBezTo>
                    <a:cubicBezTo>
                      <a:pt x="237" y="52"/>
                      <a:pt x="194" y="38"/>
                      <a:pt x="191" y="23"/>
                    </a:cubicBezTo>
                    <a:cubicBezTo>
                      <a:pt x="190" y="18"/>
                      <a:pt x="187" y="13"/>
                      <a:pt x="184" y="7"/>
                    </a:cubicBezTo>
                    <a:cubicBezTo>
                      <a:pt x="168" y="13"/>
                      <a:pt x="168" y="13"/>
                      <a:pt x="168" y="13"/>
                    </a:cubicBezTo>
                    <a:cubicBezTo>
                      <a:pt x="168" y="13"/>
                      <a:pt x="162" y="0"/>
                      <a:pt x="158" y="0"/>
                    </a:cubicBezTo>
                    <a:cubicBezTo>
                      <a:pt x="154" y="0"/>
                      <a:pt x="147" y="30"/>
                      <a:pt x="151" y="34"/>
                    </a:cubicBezTo>
                    <a:cubicBezTo>
                      <a:pt x="155" y="38"/>
                      <a:pt x="165" y="49"/>
                      <a:pt x="161" y="51"/>
                    </a:cubicBezTo>
                    <a:cubicBezTo>
                      <a:pt x="157" y="53"/>
                      <a:pt x="151" y="45"/>
                      <a:pt x="149" y="52"/>
                    </a:cubicBezTo>
                    <a:cubicBezTo>
                      <a:pt x="147" y="59"/>
                      <a:pt x="141" y="79"/>
                      <a:pt x="141" y="79"/>
                    </a:cubicBezTo>
                    <a:cubicBezTo>
                      <a:pt x="141" y="79"/>
                      <a:pt x="128" y="102"/>
                      <a:pt x="128" y="108"/>
                    </a:cubicBezTo>
                    <a:cubicBezTo>
                      <a:pt x="128" y="114"/>
                      <a:pt x="141" y="138"/>
                      <a:pt x="141" y="142"/>
                    </a:cubicBezTo>
                    <a:cubicBezTo>
                      <a:pt x="141" y="146"/>
                      <a:pt x="159" y="161"/>
                      <a:pt x="159" y="161"/>
                    </a:cubicBezTo>
                    <a:cubicBezTo>
                      <a:pt x="133" y="276"/>
                      <a:pt x="133" y="276"/>
                      <a:pt x="133" y="276"/>
                    </a:cubicBezTo>
                    <a:cubicBezTo>
                      <a:pt x="0" y="325"/>
                      <a:pt x="0" y="325"/>
                      <a:pt x="0" y="325"/>
                    </a:cubicBezTo>
                    <a:cubicBezTo>
                      <a:pt x="54" y="445"/>
                      <a:pt x="54" y="445"/>
                      <a:pt x="54" y="445"/>
                    </a:cubicBezTo>
                    <a:cubicBezTo>
                      <a:pt x="81" y="434"/>
                      <a:pt x="159" y="415"/>
                      <a:pt x="162" y="410"/>
                    </a:cubicBezTo>
                    <a:cubicBezTo>
                      <a:pt x="167" y="404"/>
                      <a:pt x="169" y="375"/>
                      <a:pt x="169" y="375"/>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86" name="North Korea">
                <a:extLst>
                  <a:ext uri="{FF2B5EF4-FFF2-40B4-BE49-F238E27FC236}">
                    <a16:creationId xmlns:a16="http://schemas.microsoft.com/office/drawing/2014/main" id="{C8DF5DB2-22A9-451C-8B98-B61323B7085A}"/>
                  </a:ext>
                </a:extLst>
              </p:cNvPr>
              <p:cNvSpPr>
                <a:spLocks/>
              </p:cNvSpPr>
              <p:nvPr/>
            </p:nvSpPr>
            <p:spPr bwMode="gray">
              <a:xfrm>
                <a:off x="8677430" y="2791925"/>
                <a:ext cx="122258" cy="157090"/>
              </a:xfrm>
              <a:custGeom>
                <a:avLst/>
                <a:gdLst>
                  <a:gd name="T0" fmla="*/ 182 w 220"/>
                  <a:gd name="T1" fmla="*/ 0 h 280"/>
                  <a:gd name="T2" fmla="*/ 160 w 220"/>
                  <a:gd name="T3" fmla="*/ 0 h 280"/>
                  <a:gd name="T4" fmla="*/ 171 w 220"/>
                  <a:gd name="T5" fmla="*/ 27 h 280"/>
                  <a:gd name="T6" fmla="*/ 153 w 220"/>
                  <a:gd name="T7" fmla="*/ 28 h 280"/>
                  <a:gd name="T8" fmla="*/ 153 w 220"/>
                  <a:gd name="T9" fmla="*/ 49 h 280"/>
                  <a:gd name="T10" fmla="*/ 113 w 220"/>
                  <a:gd name="T11" fmla="*/ 50 h 280"/>
                  <a:gd name="T12" fmla="*/ 135 w 220"/>
                  <a:gd name="T13" fmla="*/ 71 h 280"/>
                  <a:gd name="T14" fmla="*/ 134 w 220"/>
                  <a:gd name="T15" fmla="*/ 81 h 280"/>
                  <a:gd name="T16" fmla="*/ 87 w 220"/>
                  <a:gd name="T17" fmla="*/ 77 h 280"/>
                  <a:gd name="T18" fmla="*/ 61 w 220"/>
                  <a:gd name="T19" fmla="*/ 63 h 280"/>
                  <a:gd name="T20" fmla="*/ 47 w 220"/>
                  <a:gd name="T21" fmla="*/ 115 h 280"/>
                  <a:gd name="T22" fmla="*/ 13 w 220"/>
                  <a:gd name="T23" fmla="*/ 138 h 280"/>
                  <a:gd name="T24" fmla="*/ 7 w 220"/>
                  <a:gd name="T25" fmla="*/ 154 h 280"/>
                  <a:gd name="T26" fmla="*/ 0 w 220"/>
                  <a:gd name="T27" fmla="*/ 165 h 280"/>
                  <a:gd name="T28" fmla="*/ 8 w 220"/>
                  <a:gd name="T29" fmla="*/ 152 h 280"/>
                  <a:gd name="T30" fmla="*/ 14 w 220"/>
                  <a:gd name="T31" fmla="*/ 166 h 280"/>
                  <a:gd name="T32" fmla="*/ 26 w 220"/>
                  <a:gd name="T33" fmla="*/ 180 h 280"/>
                  <a:gd name="T34" fmla="*/ 33 w 220"/>
                  <a:gd name="T35" fmla="*/ 168 h 280"/>
                  <a:gd name="T36" fmla="*/ 47 w 220"/>
                  <a:gd name="T37" fmla="*/ 181 h 280"/>
                  <a:gd name="T38" fmla="*/ 64 w 220"/>
                  <a:gd name="T39" fmla="*/ 182 h 280"/>
                  <a:gd name="T40" fmla="*/ 68 w 220"/>
                  <a:gd name="T41" fmla="*/ 223 h 280"/>
                  <a:gd name="T42" fmla="*/ 93 w 220"/>
                  <a:gd name="T43" fmla="*/ 223 h 280"/>
                  <a:gd name="T44" fmla="*/ 96 w 220"/>
                  <a:gd name="T45" fmla="*/ 233 h 280"/>
                  <a:gd name="T46" fmla="*/ 69 w 220"/>
                  <a:gd name="T47" fmla="*/ 234 h 280"/>
                  <a:gd name="T48" fmla="*/ 80 w 220"/>
                  <a:gd name="T49" fmla="*/ 263 h 280"/>
                  <a:gd name="T50" fmla="*/ 87 w 220"/>
                  <a:gd name="T51" fmla="*/ 274 h 280"/>
                  <a:gd name="T52" fmla="*/ 106 w 220"/>
                  <a:gd name="T53" fmla="*/ 266 h 280"/>
                  <a:gd name="T54" fmla="*/ 135 w 220"/>
                  <a:gd name="T55" fmla="*/ 279 h 280"/>
                  <a:gd name="T56" fmla="*/ 153 w 220"/>
                  <a:gd name="T57" fmla="*/ 275 h 280"/>
                  <a:gd name="T58" fmla="*/ 166 w 220"/>
                  <a:gd name="T59" fmla="*/ 265 h 280"/>
                  <a:gd name="T60" fmla="*/ 169 w 220"/>
                  <a:gd name="T61" fmla="*/ 252 h 280"/>
                  <a:gd name="T62" fmla="*/ 207 w 220"/>
                  <a:gd name="T63" fmla="*/ 246 h 280"/>
                  <a:gd name="T64" fmla="*/ 217 w 220"/>
                  <a:gd name="T65" fmla="*/ 236 h 280"/>
                  <a:gd name="T66" fmla="*/ 208 w 220"/>
                  <a:gd name="T67" fmla="*/ 224 h 280"/>
                  <a:gd name="T68" fmla="*/ 177 w 220"/>
                  <a:gd name="T69" fmla="*/ 207 h 280"/>
                  <a:gd name="T70" fmla="*/ 162 w 220"/>
                  <a:gd name="T71" fmla="*/ 202 h 280"/>
                  <a:gd name="T72" fmla="*/ 169 w 220"/>
                  <a:gd name="T73" fmla="*/ 189 h 280"/>
                  <a:gd name="T74" fmla="*/ 154 w 220"/>
                  <a:gd name="T75" fmla="*/ 167 h 280"/>
                  <a:gd name="T76" fmla="*/ 190 w 220"/>
                  <a:gd name="T77" fmla="*/ 146 h 280"/>
                  <a:gd name="T78" fmla="*/ 200 w 220"/>
                  <a:gd name="T79" fmla="*/ 117 h 280"/>
                  <a:gd name="T80" fmla="*/ 216 w 220"/>
                  <a:gd name="T81" fmla="*/ 109 h 280"/>
                  <a:gd name="T82" fmla="*/ 211 w 220"/>
                  <a:gd name="T83" fmla="*/ 88 h 280"/>
                  <a:gd name="T84" fmla="*/ 196 w 220"/>
                  <a:gd name="T85" fmla="*/ 60 h 280"/>
                  <a:gd name="T86" fmla="*/ 220 w 220"/>
                  <a:gd name="T87" fmla="*/ 38 h 280"/>
                  <a:gd name="T88" fmla="*/ 211 w 220"/>
                  <a:gd name="T89" fmla="*/ 23 h 280"/>
                  <a:gd name="T90" fmla="*/ 192 w 220"/>
                  <a:gd name="T91" fmla="*/ 17 h 280"/>
                  <a:gd name="T92" fmla="*/ 182 w 220"/>
                  <a:gd name="T9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0" h="280">
                    <a:moveTo>
                      <a:pt x="182" y="0"/>
                    </a:moveTo>
                    <a:cubicBezTo>
                      <a:pt x="160" y="0"/>
                      <a:pt x="160" y="0"/>
                      <a:pt x="160" y="0"/>
                    </a:cubicBezTo>
                    <a:cubicBezTo>
                      <a:pt x="160" y="0"/>
                      <a:pt x="173" y="22"/>
                      <a:pt x="171" y="27"/>
                    </a:cubicBezTo>
                    <a:cubicBezTo>
                      <a:pt x="169" y="32"/>
                      <a:pt x="153" y="28"/>
                      <a:pt x="153" y="28"/>
                    </a:cubicBezTo>
                    <a:cubicBezTo>
                      <a:pt x="153" y="28"/>
                      <a:pt x="163" y="40"/>
                      <a:pt x="153" y="49"/>
                    </a:cubicBezTo>
                    <a:cubicBezTo>
                      <a:pt x="143" y="58"/>
                      <a:pt x="119" y="42"/>
                      <a:pt x="113" y="50"/>
                    </a:cubicBezTo>
                    <a:cubicBezTo>
                      <a:pt x="107" y="58"/>
                      <a:pt x="135" y="71"/>
                      <a:pt x="135" y="71"/>
                    </a:cubicBezTo>
                    <a:cubicBezTo>
                      <a:pt x="134" y="81"/>
                      <a:pt x="134" y="81"/>
                      <a:pt x="134" y="81"/>
                    </a:cubicBezTo>
                    <a:cubicBezTo>
                      <a:pt x="134" y="81"/>
                      <a:pt x="94" y="82"/>
                      <a:pt x="87" y="77"/>
                    </a:cubicBezTo>
                    <a:cubicBezTo>
                      <a:pt x="80" y="72"/>
                      <a:pt x="65" y="61"/>
                      <a:pt x="61" y="63"/>
                    </a:cubicBezTo>
                    <a:cubicBezTo>
                      <a:pt x="57" y="65"/>
                      <a:pt x="62" y="103"/>
                      <a:pt x="47" y="115"/>
                    </a:cubicBezTo>
                    <a:cubicBezTo>
                      <a:pt x="32" y="127"/>
                      <a:pt x="25" y="128"/>
                      <a:pt x="13" y="138"/>
                    </a:cubicBezTo>
                    <a:cubicBezTo>
                      <a:pt x="3" y="146"/>
                      <a:pt x="5" y="152"/>
                      <a:pt x="7" y="154"/>
                    </a:cubicBezTo>
                    <a:cubicBezTo>
                      <a:pt x="0" y="165"/>
                      <a:pt x="0" y="165"/>
                      <a:pt x="0" y="165"/>
                    </a:cubicBezTo>
                    <a:cubicBezTo>
                      <a:pt x="8" y="152"/>
                      <a:pt x="8" y="152"/>
                      <a:pt x="8" y="152"/>
                    </a:cubicBezTo>
                    <a:cubicBezTo>
                      <a:pt x="14" y="166"/>
                      <a:pt x="14" y="166"/>
                      <a:pt x="14" y="166"/>
                    </a:cubicBezTo>
                    <a:cubicBezTo>
                      <a:pt x="26" y="180"/>
                      <a:pt x="26" y="180"/>
                      <a:pt x="26" y="180"/>
                    </a:cubicBezTo>
                    <a:cubicBezTo>
                      <a:pt x="33" y="168"/>
                      <a:pt x="33" y="168"/>
                      <a:pt x="33" y="168"/>
                    </a:cubicBezTo>
                    <a:cubicBezTo>
                      <a:pt x="33" y="168"/>
                      <a:pt x="42" y="181"/>
                      <a:pt x="47" y="181"/>
                    </a:cubicBezTo>
                    <a:cubicBezTo>
                      <a:pt x="52" y="181"/>
                      <a:pt x="60" y="175"/>
                      <a:pt x="64" y="182"/>
                    </a:cubicBezTo>
                    <a:cubicBezTo>
                      <a:pt x="68" y="189"/>
                      <a:pt x="68" y="223"/>
                      <a:pt x="68" y="223"/>
                    </a:cubicBezTo>
                    <a:cubicBezTo>
                      <a:pt x="93" y="223"/>
                      <a:pt x="93" y="223"/>
                      <a:pt x="93" y="223"/>
                    </a:cubicBezTo>
                    <a:cubicBezTo>
                      <a:pt x="96" y="233"/>
                      <a:pt x="96" y="233"/>
                      <a:pt x="96" y="233"/>
                    </a:cubicBezTo>
                    <a:cubicBezTo>
                      <a:pt x="96" y="233"/>
                      <a:pt x="73" y="221"/>
                      <a:pt x="69" y="234"/>
                    </a:cubicBezTo>
                    <a:cubicBezTo>
                      <a:pt x="65" y="247"/>
                      <a:pt x="80" y="263"/>
                      <a:pt x="80" y="263"/>
                    </a:cubicBezTo>
                    <a:cubicBezTo>
                      <a:pt x="87" y="274"/>
                      <a:pt x="87" y="274"/>
                      <a:pt x="87" y="274"/>
                    </a:cubicBezTo>
                    <a:cubicBezTo>
                      <a:pt x="106" y="266"/>
                      <a:pt x="106" y="266"/>
                      <a:pt x="106" y="266"/>
                    </a:cubicBezTo>
                    <a:cubicBezTo>
                      <a:pt x="106" y="266"/>
                      <a:pt x="126" y="280"/>
                      <a:pt x="135" y="279"/>
                    </a:cubicBezTo>
                    <a:cubicBezTo>
                      <a:pt x="144" y="278"/>
                      <a:pt x="153" y="275"/>
                      <a:pt x="153" y="275"/>
                    </a:cubicBezTo>
                    <a:cubicBezTo>
                      <a:pt x="153" y="275"/>
                      <a:pt x="165" y="268"/>
                      <a:pt x="166" y="265"/>
                    </a:cubicBezTo>
                    <a:cubicBezTo>
                      <a:pt x="167" y="262"/>
                      <a:pt x="155" y="260"/>
                      <a:pt x="169" y="252"/>
                    </a:cubicBezTo>
                    <a:cubicBezTo>
                      <a:pt x="183" y="245"/>
                      <a:pt x="207" y="246"/>
                      <a:pt x="207" y="246"/>
                    </a:cubicBezTo>
                    <a:cubicBezTo>
                      <a:pt x="217" y="236"/>
                      <a:pt x="217" y="236"/>
                      <a:pt x="217" y="236"/>
                    </a:cubicBezTo>
                    <a:cubicBezTo>
                      <a:pt x="212" y="229"/>
                      <a:pt x="208" y="224"/>
                      <a:pt x="208" y="224"/>
                    </a:cubicBezTo>
                    <a:cubicBezTo>
                      <a:pt x="177" y="207"/>
                      <a:pt x="177" y="207"/>
                      <a:pt x="177" y="207"/>
                    </a:cubicBezTo>
                    <a:cubicBezTo>
                      <a:pt x="177" y="207"/>
                      <a:pt x="155" y="215"/>
                      <a:pt x="162" y="202"/>
                    </a:cubicBezTo>
                    <a:cubicBezTo>
                      <a:pt x="169" y="189"/>
                      <a:pt x="169" y="189"/>
                      <a:pt x="169" y="189"/>
                    </a:cubicBezTo>
                    <a:cubicBezTo>
                      <a:pt x="169" y="189"/>
                      <a:pt x="144" y="178"/>
                      <a:pt x="154" y="167"/>
                    </a:cubicBezTo>
                    <a:cubicBezTo>
                      <a:pt x="164" y="156"/>
                      <a:pt x="185" y="160"/>
                      <a:pt x="190" y="146"/>
                    </a:cubicBezTo>
                    <a:cubicBezTo>
                      <a:pt x="195" y="132"/>
                      <a:pt x="200" y="117"/>
                      <a:pt x="200" y="117"/>
                    </a:cubicBezTo>
                    <a:cubicBezTo>
                      <a:pt x="216" y="109"/>
                      <a:pt x="216" y="109"/>
                      <a:pt x="216" y="109"/>
                    </a:cubicBezTo>
                    <a:cubicBezTo>
                      <a:pt x="211" y="88"/>
                      <a:pt x="211" y="88"/>
                      <a:pt x="211" y="88"/>
                    </a:cubicBezTo>
                    <a:cubicBezTo>
                      <a:pt x="211" y="88"/>
                      <a:pt x="195" y="77"/>
                      <a:pt x="196" y="60"/>
                    </a:cubicBezTo>
                    <a:cubicBezTo>
                      <a:pt x="197" y="43"/>
                      <a:pt x="220" y="38"/>
                      <a:pt x="220" y="38"/>
                    </a:cubicBezTo>
                    <a:cubicBezTo>
                      <a:pt x="211" y="23"/>
                      <a:pt x="211" y="23"/>
                      <a:pt x="211" y="23"/>
                    </a:cubicBezTo>
                    <a:cubicBezTo>
                      <a:pt x="192" y="17"/>
                      <a:pt x="192" y="17"/>
                      <a:pt x="192" y="17"/>
                    </a:cubicBezTo>
                    <a:lnTo>
                      <a:pt x="182" y="0"/>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87" name="Nepal">
                <a:extLst>
                  <a:ext uri="{FF2B5EF4-FFF2-40B4-BE49-F238E27FC236}">
                    <a16:creationId xmlns:a16="http://schemas.microsoft.com/office/drawing/2014/main" id="{CB5C94D0-27E3-4BE9-8BC8-663DD64D6069}"/>
                  </a:ext>
                </a:extLst>
              </p:cNvPr>
              <p:cNvSpPr>
                <a:spLocks/>
              </p:cNvSpPr>
              <p:nvPr/>
            </p:nvSpPr>
            <p:spPr bwMode="gray">
              <a:xfrm>
                <a:off x="7669192" y="3161641"/>
                <a:ext cx="223876" cy="130115"/>
              </a:xfrm>
              <a:custGeom>
                <a:avLst/>
                <a:gdLst>
                  <a:gd name="T0" fmla="*/ 203 w 400"/>
                  <a:gd name="T1" fmla="*/ 166 h 233"/>
                  <a:gd name="T2" fmla="*/ 213 w 400"/>
                  <a:gd name="T3" fmla="*/ 179 h 233"/>
                  <a:gd name="T4" fmla="*/ 227 w 400"/>
                  <a:gd name="T5" fmla="*/ 176 h 233"/>
                  <a:gd name="T6" fmla="*/ 244 w 400"/>
                  <a:gd name="T7" fmla="*/ 194 h 233"/>
                  <a:gd name="T8" fmla="*/ 262 w 400"/>
                  <a:gd name="T9" fmla="*/ 213 h 233"/>
                  <a:gd name="T10" fmla="*/ 274 w 400"/>
                  <a:gd name="T11" fmla="*/ 204 h 233"/>
                  <a:gd name="T12" fmla="*/ 296 w 400"/>
                  <a:gd name="T13" fmla="*/ 218 h 233"/>
                  <a:gd name="T14" fmla="*/ 313 w 400"/>
                  <a:gd name="T15" fmla="*/ 213 h 233"/>
                  <a:gd name="T16" fmla="*/ 337 w 400"/>
                  <a:gd name="T17" fmla="*/ 230 h 233"/>
                  <a:gd name="T18" fmla="*/ 351 w 400"/>
                  <a:gd name="T19" fmla="*/ 219 h 233"/>
                  <a:gd name="T20" fmla="*/ 361 w 400"/>
                  <a:gd name="T21" fmla="*/ 229 h 233"/>
                  <a:gd name="T22" fmla="*/ 377 w 400"/>
                  <a:gd name="T23" fmla="*/ 230 h 233"/>
                  <a:gd name="T24" fmla="*/ 399 w 400"/>
                  <a:gd name="T25" fmla="*/ 224 h 233"/>
                  <a:gd name="T26" fmla="*/ 400 w 400"/>
                  <a:gd name="T27" fmla="*/ 206 h 233"/>
                  <a:gd name="T28" fmla="*/ 390 w 400"/>
                  <a:gd name="T29" fmla="*/ 191 h 233"/>
                  <a:gd name="T30" fmla="*/ 390 w 400"/>
                  <a:gd name="T31" fmla="*/ 159 h 233"/>
                  <a:gd name="T32" fmla="*/ 384 w 400"/>
                  <a:gd name="T33" fmla="*/ 144 h 233"/>
                  <a:gd name="T34" fmla="*/ 363 w 400"/>
                  <a:gd name="T35" fmla="*/ 153 h 233"/>
                  <a:gd name="T36" fmla="*/ 316 w 400"/>
                  <a:gd name="T37" fmla="*/ 134 h 233"/>
                  <a:gd name="T38" fmla="*/ 304 w 400"/>
                  <a:gd name="T39" fmla="*/ 143 h 233"/>
                  <a:gd name="T40" fmla="*/ 295 w 400"/>
                  <a:gd name="T41" fmla="*/ 130 h 233"/>
                  <a:gd name="T42" fmla="*/ 284 w 400"/>
                  <a:gd name="T43" fmla="*/ 143 h 233"/>
                  <a:gd name="T44" fmla="*/ 275 w 400"/>
                  <a:gd name="T45" fmla="*/ 124 h 233"/>
                  <a:gd name="T46" fmla="*/ 247 w 400"/>
                  <a:gd name="T47" fmla="*/ 126 h 233"/>
                  <a:gd name="T48" fmla="*/ 243 w 400"/>
                  <a:gd name="T49" fmla="*/ 109 h 233"/>
                  <a:gd name="T50" fmla="*/ 223 w 400"/>
                  <a:gd name="T51" fmla="*/ 113 h 233"/>
                  <a:gd name="T52" fmla="*/ 201 w 400"/>
                  <a:gd name="T53" fmla="*/ 95 h 233"/>
                  <a:gd name="T54" fmla="*/ 187 w 400"/>
                  <a:gd name="T55" fmla="*/ 66 h 233"/>
                  <a:gd name="T56" fmla="*/ 168 w 400"/>
                  <a:gd name="T57" fmla="*/ 83 h 233"/>
                  <a:gd name="T58" fmla="*/ 149 w 400"/>
                  <a:gd name="T59" fmla="*/ 50 h 233"/>
                  <a:gd name="T60" fmla="*/ 118 w 400"/>
                  <a:gd name="T61" fmla="*/ 44 h 233"/>
                  <a:gd name="T62" fmla="*/ 86 w 400"/>
                  <a:gd name="T63" fmla="*/ 15 h 233"/>
                  <a:gd name="T64" fmla="*/ 59 w 400"/>
                  <a:gd name="T65" fmla="*/ 17 h 233"/>
                  <a:gd name="T66" fmla="*/ 44 w 400"/>
                  <a:gd name="T67" fmla="*/ 30 h 233"/>
                  <a:gd name="T68" fmla="*/ 32 w 400"/>
                  <a:gd name="T69" fmla="*/ 19 h 233"/>
                  <a:gd name="T70" fmla="*/ 26 w 400"/>
                  <a:gd name="T71" fmla="*/ 32 h 233"/>
                  <a:gd name="T72" fmla="*/ 11 w 400"/>
                  <a:gd name="T73" fmla="*/ 50 h 233"/>
                  <a:gd name="T74" fmla="*/ 17 w 400"/>
                  <a:gd name="T75" fmla="*/ 59 h 233"/>
                  <a:gd name="T76" fmla="*/ 10 w 400"/>
                  <a:gd name="T77" fmla="*/ 67 h 233"/>
                  <a:gd name="T78" fmla="*/ 19 w 400"/>
                  <a:gd name="T79" fmla="*/ 73 h 233"/>
                  <a:gd name="T80" fmla="*/ 7 w 400"/>
                  <a:gd name="T81" fmla="*/ 91 h 233"/>
                  <a:gd name="T82" fmla="*/ 26 w 400"/>
                  <a:gd name="T83" fmla="*/ 110 h 233"/>
                  <a:gd name="T84" fmla="*/ 36 w 400"/>
                  <a:gd name="T85" fmla="*/ 104 h 233"/>
                  <a:gd name="T86" fmla="*/ 47 w 400"/>
                  <a:gd name="T87" fmla="*/ 122 h 233"/>
                  <a:gd name="T88" fmla="*/ 65 w 400"/>
                  <a:gd name="T89" fmla="*/ 122 h 233"/>
                  <a:gd name="T90" fmla="*/ 72 w 400"/>
                  <a:gd name="T91" fmla="*/ 132 h 233"/>
                  <a:gd name="T92" fmla="*/ 100 w 400"/>
                  <a:gd name="T93" fmla="*/ 147 h 233"/>
                  <a:gd name="T94" fmla="*/ 109 w 400"/>
                  <a:gd name="T95" fmla="*/ 146 h 233"/>
                  <a:gd name="T96" fmla="*/ 124 w 400"/>
                  <a:gd name="T97" fmla="*/ 160 h 233"/>
                  <a:gd name="T98" fmla="*/ 142 w 400"/>
                  <a:gd name="T99" fmla="*/ 159 h 233"/>
                  <a:gd name="T100" fmla="*/ 148 w 400"/>
                  <a:gd name="T101" fmla="*/ 168 h 233"/>
                  <a:gd name="T102" fmla="*/ 168 w 400"/>
                  <a:gd name="T103" fmla="*/ 174 h 233"/>
                  <a:gd name="T104" fmla="*/ 171 w 400"/>
                  <a:gd name="T105" fmla="*/ 181 h 233"/>
                  <a:gd name="T106" fmla="*/ 185 w 400"/>
                  <a:gd name="T107" fmla="*/ 173 h 233"/>
                  <a:gd name="T108" fmla="*/ 195 w 400"/>
                  <a:gd name="T109" fmla="*/ 180 h 233"/>
                  <a:gd name="T110" fmla="*/ 203 w 400"/>
                  <a:gd name="T111" fmla="*/ 16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233">
                    <a:moveTo>
                      <a:pt x="203" y="166"/>
                    </a:moveTo>
                    <a:cubicBezTo>
                      <a:pt x="212" y="171"/>
                      <a:pt x="213" y="179"/>
                      <a:pt x="213" y="179"/>
                    </a:cubicBezTo>
                    <a:cubicBezTo>
                      <a:pt x="227" y="176"/>
                      <a:pt x="227" y="176"/>
                      <a:pt x="227" y="176"/>
                    </a:cubicBezTo>
                    <a:cubicBezTo>
                      <a:pt x="227" y="176"/>
                      <a:pt x="235" y="186"/>
                      <a:pt x="244" y="194"/>
                    </a:cubicBezTo>
                    <a:cubicBezTo>
                      <a:pt x="253" y="202"/>
                      <a:pt x="262" y="213"/>
                      <a:pt x="262" y="213"/>
                    </a:cubicBezTo>
                    <a:cubicBezTo>
                      <a:pt x="274" y="204"/>
                      <a:pt x="274" y="204"/>
                      <a:pt x="274" y="204"/>
                    </a:cubicBezTo>
                    <a:cubicBezTo>
                      <a:pt x="296" y="218"/>
                      <a:pt x="296" y="218"/>
                      <a:pt x="296" y="218"/>
                    </a:cubicBezTo>
                    <a:cubicBezTo>
                      <a:pt x="296" y="218"/>
                      <a:pt x="300" y="209"/>
                      <a:pt x="313" y="213"/>
                    </a:cubicBezTo>
                    <a:cubicBezTo>
                      <a:pt x="326" y="217"/>
                      <a:pt x="337" y="230"/>
                      <a:pt x="337" y="230"/>
                    </a:cubicBezTo>
                    <a:cubicBezTo>
                      <a:pt x="337" y="230"/>
                      <a:pt x="345" y="219"/>
                      <a:pt x="351" y="219"/>
                    </a:cubicBezTo>
                    <a:cubicBezTo>
                      <a:pt x="357" y="219"/>
                      <a:pt x="352" y="229"/>
                      <a:pt x="361" y="229"/>
                    </a:cubicBezTo>
                    <a:cubicBezTo>
                      <a:pt x="370" y="229"/>
                      <a:pt x="377" y="230"/>
                      <a:pt x="377" y="230"/>
                    </a:cubicBezTo>
                    <a:cubicBezTo>
                      <a:pt x="377" y="230"/>
                      <a:pt x="398" y="233"/>
                      <a:pt x="399" y="224"/>
                    </a:cubicBezTo>
                    <a:cubicBezTo>
                      <a:pt x="400" y="215"/>
                      <a:pt x="400" y="206"/>
                      <a:pt x="400" y="206"/>
                    </a:cubicBezTo>
                    <a:cubicBezTo>
                      <a:pt x="390" y="191"/>
                      <a:pt x="390" y="191"/>
                      <a:pt x="390" y="191"/>
                    </a:cubicBezTo>
                    <a:cubicBezTo>
                      <a:pt x="390" y="159"/>
                      <a:pt x="390" y="159"/>
                      <a:pt x="390" y="159"/>
                    </a:cubicBezTo>
                    <a:cubicBezTo>
                      <a:pt x="384" y="144"/>
                      <a:pt x="384" y="144"/>
                      <a:pt x="384" y="144"/>
                    </a:cubicBezTo>
                    <a:cubicBezTo>
                      <a:pt x="376" y="148"/>
                      <a:pt x="369" y="152"/>
                      <a:pt x="363" y="153"/>
                    </a:cubicBezTo>
                    <a:cubicBezTo>
                      <a:pt x="349" y="154"/>
                      <a:pt x="316" y="134"/>
                      <a:pt x="316" y="134"/>
                    </a:cubicBezTo>
                    <a:cubicBezTo>
                      <a:pt x="316" y="134"/>
                      <a:pt x="314" y="142"/>
                      <a:pt x="304" y="143"/>
                    </a:cubicBezTo>
                    <a:cubicBezTo>
                      <a:pt x="294" y="144"/>
                      <a:pt x="295" y="130"/>
                      <a:pt x="295" y="130"/>
                    </a:cubicBezTo>
                    <a:cubicBezTo>
                      <a:pt x="295" y="130"/>
                      <a:pt x="293" y="144"/>
                      <a:pt x="284" y="143"/>
                    </a:cubicBezTo>
                    <a:cubicBezTo>
                      <a:pt x="275" y="142"/>
                      <a:pt x="275" y="124"/>
                      <a:pt x="275" y="124"/>
                    </a:cubicBezTo>
                    <a:cubicBezTo>
                      <a:pt x="275" y="124"/>
                      <a:pt x="263" y="133"/>
                      <a:pt x="247" y="126"/>
                    </a:cubicBezTo>
                    <a:cubicBezTo>
                      <a:pt x="231" y="119"/>
                      <a:pt x="248" y="116"/>
                      <a:pt x="243" y="109"/>
                    </a:cubicBezTo>
                    <a:cubicBezTo>
                      <a:pt x="238" y="102"/>
                      <a:pt x="223" y="113"/>
                      <a:pt x="223" y="113"/>
                    </a:cubicBezTo>
                    <a:cubicBezTo>
                      <a:pt x="223" y="113"/>
                      <a:pt x="209" y="101"/>
                      <a:pt x="201" y="95"/>
                    </a:cubicBezTo>
                    <a:cubicBezTo>
                      <a:pt x="193" y="89"/>
                      <a:pt x="198" y="73"/>
                      <a:pt x="187" y="66"/>
                    </a:cubicBezTo>
                    <a:cubicBezTo>
                      <a:pt x="176" y="59"/>
                      <a:pt x="172" y="84"/>
                      <a:pt x="168" y="83"/>
                    </a:cubicBezTo>
                    <a:cubicBezTo>
                      <a:pt x="164" y="82"/>
                      <a:pt x="149" y="50"/>
                      <a:pt x="149" y="50"/>
                    </a:cubicBezTo>
                    <a:cubicBezTo>
                      <a:pt x="118" y="44"/>
                      <a:pt x="118" y="44"/>
                      <a:pt x="118" y="44"/>
                    </a:cubicBezTo>
                    <a:cubicBezTo>
                      <a:pt x="118" y="44"/>
                      <a:pt x="100" y="30"/>
                      <a:pt x="86" y="15"/>
                    </a:cubicBezTo>
                    <a:cubicBezTo>
                      <a:pt x="72" y="0"/>
                      <a:pt x="59" y="17"/>
                      <a:pt x="59" y="17"/>
                    </a:cubicBezTo>
                    <a:cubicBezTo>
                      <a:pt x="44" y="30"/>
                      <a:pt x="44" y="30"/>
                      <a:pt x="44" y="30"/>
                    </a:cubicBezTo>
                    <a:cubicBezTo>
                      <a:pt x="32" y="19"/>
                      <a:pt x="32" y="19"/>
                      <a:pt x="32" y="19"/>
                    </a:cubicBezTo>
                    <a:cubicBezTo>
                      <a:pt x="26" y="32"/>
                      <a:pt x="26" y="32"/>
                      <a:pt x="26" y="32"/>
                    </a:cubicBezTo>
                    <a:cubicBezTo>
                      <a:pt x="11" y="50"/>
                      <a:pt x="11" y="50"/>
                      <a:pt x="11" y="50"/>
                    </a:cubicBezTo>
                    <a:cubicBezTo>
                      <a:pt x="17" y="59"/>
                      <a:pt x="17" y="59"/>
                      <a:pt x="17" y="59"/>
                    </a:cubicBezTo>
                    <a:cubicBezTo>
                      <a:pt x="17" y="59"/>
                      <a:pt x="6" y="61"/>
                      <a:pt x="10" y="67"/>
                    </a:cubicBezTo>
                    <a:cubicBezTo>
                      <a:pt x="14" y="73"/>
                      <a:pt x="19" y="73"/>
                      <a:pt x="19" y="73"/>
                    </a:cubicBezTo>
                    <a:cubicBezTo>
                      <a:pt x="19" y="73"/>
                      <a:pt x="0" y="83"/>
                      <a:pt x="7" y="91"/>
                    </a:cubicBezTo>
                    <a:cubicBezTo>
                      <a:pt x="14" y="99"/>
                      <a:pt x="26" y="110"/>
                      <a:pt x="26" y="110"/>
                    </a:cubicBezTo>
                    <a:cubicBezTo>
                      <a:pt x="36" y="104"/>
                      <a:pt x="36" y="104"/>
                      <a:pt x="36" y="104"/>
                    </a:cubicBezTo>
                    <a:cubicBezTo>
                      <a:pt x="47" y="122"/>
                      <a:pt x="47" y="122"/>
                      <a:pt x="47" y="122"/>
                    </a:cubicBezTo>
                    <a:cubicBezTo>
                      <a:pt x="65" y="122"/>
                      <a:pt x="65" y="122"/>
                      <a:pt x="65" y="122"/>
                    </a:cubicBezTo>
                    <a:cubicBezTo>
                      <a:pt x="72" y="132"/>
                      <a:pt x="72" y="132"/>
                      <a:pt x="72" y="132"/>
                    </a:cubicBezTo>
                    <a:cubicBezTo>
                      <a:pt x="100" y="147"/>
                      <a:pt x="100" y="147"/>
                      <a:pt x="100" y="147"/>
                    </a:cubicBezTo>
                    <a:cubicBezTo>
                      <a:pt x="109" y="146"/>
                      <a:pt x="109" y="146"/>
                      <a:pt x="109" y="146"/>
                    </a:cubicBezTo>
                    <a:cubicBezTo>
                      <a:pt x="109" y="146"/>
                      <a:pt x="116" y="160"/>
                      <a:pt x="124" y="160"/>
                    </a:cubicBezTo>
                    <a:cubicBezTo>
                      <a:pt x="132" y="160"/>
                      <a:pt x="137" y="157"/>
                      <a:pt x="142" y="159"/>
                    </a:cubicBezTo>
                    <a:cubicBezTo>
                      <a:pt x="147" y="161"/>
                      <a:pt x="135" y="166"/>
                      <a:pt x="148" y="168"/>
                    </a:cubicBezTo>
                    <a:cubicBezTo>
                      <a:pt x="161" y="170"/>
                      <a:pt x="168" y="174"/>
                      <a:pt x="168" y="174"/>
                    </a:cubicBezTo>
                    <a:cubicBezTo>
                      <a:pt x="171" y="181"/>
                      <a:pt x="171" y="181"/>
                      <a:pt x="171" y="181"/>
                    </a:cubicBezTo>
                    <a:cubicBezTo>
                      <a:pt x="171" y="181"/>
                      <a:pt x="176" y="173"/>
                      <a:pt x="185" y="173"/>
                    </a:cubicBezTo>
                    <a:cubicBezTo>
                      <a:pt x="194" y="173"/>
                      <a:pt x="195" y="180"/>
                      <a:pt x="195" y="180"/>
                    </a:cubicBezTo>
                    <a:cubicBezTo>
                      <a:pt x="195" y="180"/>
                      <a:pt x="194" y="161"/>
                      <a:pt x="203" y="166"/>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88" name="Myanmar (Burma)">
                <a:extLst>
                  <a:ext uri="{FF2B5EF4-FFF2-40B4-BE49-F238E27FC236}">
                    <a16:creationId xmlns:a16="http://schemas.microsoft.com/office/drawing/2014/main" id="{3CAC9FC0-014D-4CC8-B1D7-B1CD91A5D6BA}"/>
                  </a:ext>
                </a:extLst>
              </p:cNvPr>
              <p:cNvSpPr>
                <a:spLocks/>
              </p:cNvSpPr>
              <p:nvPr/>
            </p:nvSpPr>
            <p:spPr bwMode="gray">
              <a:xfrm>
                <a:off x="8018502" y="3225112"/>
                <a:ext cx="238166" cy="560129"/>
              </a:xfrm>
              <a:custGeom>
                <a:avLst/>
                <a:gdLst>
                  <a:gd name="T0" fmla="*/ 9 w 426"/>
                  <a:gd name="T1" fmla="*/ 422 h 1001"/>
                  <a:gd name="T2" fmla="*/ 81 w 426"/>
                  <a:gd name="T3" fmla="*/ 465 h 1001"/>
                  <a:gd name="T4" fmla="*/ 132 w 426"/>
                  <a:gd name="T5" fmla="*/ 562 h 1001"/>
                  <a:gd name="T6" fmla="*/ 145 w 426"/>
                  <a:gd name="T7" fmla="*/ 654 h 1001"/>
                  <a:gd name="T8" fmla="*/ 168 w 426"/>
                  <a:gd name="T9" fmla="*/ 671 h 1001"/>
                  <a:gd name="T10" fmla="*/ 240 w 426"/>
                  <a:gd name="T11" fmla="*/ 641 h 1001"/>
                  <a:gd name="T12" fmla="*/ 267 w 426"/>
                  <a:gd name="T13" fmla="*/ 638 h 1001"/>
                  <a:gd name="T14" fmla="*/ 303 w 426"/>
                  <a:gd name="T15" fmla="*/ 745 h 1001"/>
                  <a:gd name="T16" fmla="*/ 350 w 426"/>
                  <a:gd name="T17" fmla="*/ 849 h 1001"/>
                  <a:gd name="T18" fmla="*/ 337 w 426"/>
                  <a:gd name="T19" fmla="*/ 918 h 1001"/>
                  <a:gd name="T20" fmla="*/ 355 w 426"/>
                  <a:gd name="T21" fmla="*/ 970 h 1001"/>
                  <a:gd name="T22" fmla="*/ 375 w 426"/>
                  <a:gd name="T23" fmla="*/ 956 h 1001"/>
                  <a:gd name="T24" fmla="*/ 396 w 426"/>
                  <a:gd name="T25" fmla="*/ 861 h 1001"/>
                  <a:gd name="T26" fmla="*/ 344 w 426"/>
                  <a:gd name="T27" fmla="*/ 760 h 1001"/>
                  <a:gd name="T28" fmla="*/ 341 w 426"/>
                  <a:gd name="T29" fmla="*/ 687 h 1001"/>
                  <a:gd name="T30" fmla="*/ 344 w 426"/>
                  <a:gd name="T31" fmla="*/ 653 h 1001"/>
                  <a:gd name="T32" fmla="*/ 295 w 426"/>
                  <a:gd name="T33" fmla="*/ 592 h 1001"/>
                  <a:gd name="T34" fmla="*/ 273 w 426"/>
                  <a:gd name="T35" fmla="*/ 554 h 1001"/>
                  <a:gd name="T36" fmla="*/ 272 w 426"/>
                  <a:gd name="T37" fmla="*/ 512 h 1001"/>
                  <a:gd name="T38" fmla="*/ 318 w 426"/>
                  <a:gd name="T39" fmla="*/ 477 h 1001"/>
                  <a:gd name="T40" fmla="*/ 352 w 426"/>
                  <a:gd name="T41" fmla="*/ 440 h 1001"/>
                  <a:gd name="T42" fmla="*/ 399 w 426"/>
                  <a:gd name="T43" fmla="*/ 414 h 1001"/>
                  <a:gd name="T44" fmla="*/ 399 w 426"/>
                  <a:gd name="T45" fmla="*/ 392 h 1001"/>
                  <a:gd name="T46" fmla="*/ 397 w 426"/>
                  <a:gd name="T47" fmla="*/ 380 h 1001"/>
                  <a:gd name="T48" fmla="*/ 361 w 426"/>
                  <a:gd name="T49" fmla="*/ 370 h 1001"/>
                  <a:gd name="T50" fmla="*/ 326 w 426"/>
                  <a:gd name="T51" fmla="*/ 329 h 1001"/>
                  <a:gd name="T52" fmla="*/ 301 w 426"/>
                  <a:gd name="T53" fmla="*/ 292 h 1001"/>
                  <a:gd name="T54" fmla="*/ 297 w 426"/>
                  <a:gd name="T55" fmla="*/ 237 h 1001"/>
                  <a:gd name="T56" fmla="*/ 242 w 426"/>
                  <a:gd name="T57" fmla="*/ 235 h 1001"/>
                  <a:gd name="T58" fmla="*/ 233 w 426"/>
                  <a:gd name="T59" fmla="*/ 203 h 1001"/>
                  <a:gd name="T60" fmla="*/ 243 w 426"/>
                  <a:gd name="T61" fmla="*/ 156 h 1001"/>
                  <a:gd name="T62" fmla="*/ 253 w 426"/>
                  <a:gd name="T63" fmla="*/ 133 h 1001"/>
                  <a:gd name="T64" fmla="*/ 255 w 426"/>
                  <a:gd name="T65" fmla="*/ 74 h 1001"/>
                  <a:gd name="T66" fmla="*/ 211 w 426"/>
                  <a:gd name="T67" fmla="*/ 15 h 1001"/>
                  <a:gd name="T68" fmla="*/ 187 w 426"/>
                  <a:gd name="T69" fmla="*/ 32 h 1001"/>
                  <a:gd name="T70" fmla="*/ 159 w 426"/>
                  <a:gd name="T71" fmla="*/ 69 h 1001"/>
                  <a:gd name="T72" fmla="*/ 98 w 426"/>
                  <a:gd name="T73" fmla="*/ 102 h 1001"/>
                  <a:gd name="T74" fmla="*/ 96 w 426"/>
                  <a:gd name="T75" fmla="*/ 158 h 1001"/>
                  <a:gd name="T76" fmla="*/ 80 w 426"/>
                  <a:gd name="T77" fmla="*/ 225 h 1001"/>
                  <a:gd name="T78" fmla="*/ 26 w 426"/>
                  <a:gd name="T79" fmla="*/ 244 h 1001"/>
                  <a:gd name="T80" fmla="*/ 32 w 426"/>
                  <a:gd name="T81" fmla="*/ 301 h 1001"/>
                  <a:gd name="T82" fmla="*/ 31 w 426"/>
                  <a:gd name="T83" fmla="*/ 342 h 1001"/>
                  <a:gd name="T84" fmla="*/ 25 w 426"/>
                  <a:gd name="T85" fmla="*/ 383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6" h="1001">
                    <a:moveTo>
                      <a:pt x="0" y="391"/>
                    </a:moveTo>
                    <a:cubicBezTo>
                      <a:pt x="5" y="391"/>
                      <a:pt x="9" y="391"/>
                      <a:pt x="9" y="391"/>
                    </a:cubicBezTo>
                    <a:cubicBezTo>
                      <a:pt x="9" y="422"/>
                      <a:pt x="9" y="422"/>
                      <a:pt x="9" y="422"/>
                    </a:cubicBezTo>
                    <a:cubicBezTo>
                      <a:pt x="9" y="422"/>
                      <a:pt x="32" y="428"/>
                      <a:pt x="41" y="438"/>
                    </a:cubicBezTo>
                    <a:cubicBezTo>
                      <a:pt x="51" y="448"/>
                      <a:pt x="59" y="470"/>
                      <a:pt x="59" y="470"/>
                    </a:cubicBezTo>
                    <a:cubicBezTo>
                      <a:pt x="81" y="465"/>
                      <a:pt x="81" y="465"/>
                      <a:pt x="81" y="465"/>
                    </a:cubicBezTo>
                    <a:cubicBezTo>
                      <a:pt x="67" y="494"/>
                      <a:pt x="67" y="494"/>
                      <a:pt x="67" y="494"/>
                    </a:cubicBezTo>
                    <a:cubicBezTo>
                      <a:pt x="67" y="494"/>
                      <a:pt x="98" y="501"/>
                      <a:pt x="110" y="510"/>
                    </a:cubicBezTo>
                    <a:cubicBezTo>
                      <a:pt x="122" y="519"/>
                      <a:pt x="130" y="555"/>
                      <a:pt x="132" y="562"/>
                    </a:cubicBezTo>
                    <a:cubicBezTo>
                      <a:pt x="134" y="568"/>
                      <a:pt x="148" y="581"/>
                      <a:pt x="148" y="581"/>
                    </a:cubicBezTo>
                    <a:cubicBezTo>
                      <a:pt x="137" y="593"/>
                      <a:pt x="137" y="593"/>
                      <a:pt x="137" y="593"/>
                    </a:cubicBezTo>
                    <a:cubicBezTo>
                      <a:pt x="145" y="654"/>
                      <a:pt x="145" y="654"/>
                      <a:pt x="145" y="654"/>
                    </a:cubicBezTo>
                    <a:cubicBezTo>
                      <a:pt x="134" y="662"/>
                      <a:pt x="134" y="662"/>
                      <a:pt x="134" y="662"/>
                    </a:cubicBezTo>
                    <a:cubicBezTo>
                      <a:pt x="134" y="662"/>
                      <a:pt x="140" y="681"/>
                      <a:pt x="149" y="680"/>
                    </a:cubicBezTo>
                    <a:cubicBezTo>
                      <a:pt x="158" y="679"/>
                      <a:pt x="168" y="671"/>
                      <a:pt x="168" y="671"/>
                    </a:cubicBezTo>
                    <a:cubicBezTo>
                      <a:pt x="168" y="671"/>
                      <a:pt x="172" y="686"/>
                      <a:pt x="183" y="681"/>
                    </a:cubicBezTo>
                    <a:cubicBezTo>
                      <a:pt x="195" y="677"/>
                      <a:pt x="206" y="654"/>
                      <a:pt x="206" y="654"/>
                    </a:cubicBezTo>
                    <a:cubicBezTo>
                      <a:pt x="206" y="654"/>
                      <a:pt x="228" y="650"/>
                      <a:pt x="240" y="641"/>
                    </a:cubicBezTo>
                    <a:cubicBezTo>
                      <a:pt x="252" y="631"/>
                      <a:pt x="238" y="602"/>
                      <a:pt x="245" y="596"/>
                    </a:cubicBezTo>
                    <a:cubicBezTo>
                      <a:pt x="253" y="590"/>
                      <a:pt x="268" y="617"/>
                      <a:pt x="268" y="617"/>
                    </a:cubicBezTo>
                    <a:cubicBezTo>
                      <a:pt x="267" y="638"/>
                      <a:pt x="267" y="638"/>
                      <a:pt x="267" y="638"/>
                    </a:cubicBezTo>
                    <a:cubicBezTo>
                      <a:pt x="267" y="638"/>
                      <a:pt x="288" y="639"/>
                      <a:pt x="289" y="656"/>
                    </a:cubicBezTo>
                    <a:cubicBezTo>
                      <a:pt x="289" y="673"/>
                      <a:pt x="296" y="685"/>
                      <a:pt x="298" y="698"/>
                    </a:cubicBezTo>
                    <a:cubicBezTo>
                      <a:pt x="300" y="712"/>
                      <a:pt x="303" y="745"/>
                      <a:pt x="303" y="745"/>
                    </a:cubicBezTo>
                    <a:cubicBezTo>
                      <a:pt x="303" y="745"/>
                      <a:pt x="304" y="757"/>
                      <a:pt x="311" y="766"/>
                    </a:cubicBezTo>
                    <a:cubicBezTo>
                      <a:pt x="319" y="775"/>
                      <a:pt x="322" y="788"/>
                      <a:pt x="322" y="788"/>
                    </a:cubicBezTo>
                    <a:cubicBezTo>
                      <a:pt x="350" y="849"/>
                      <a:pt x="350" y="849"/>
                      <a:pt x="350" y="849"/>
                    </a:cubicBezTo>
                    <a:cubicBezTo>
                      <a:pt x="360" y="879"/>
                      <a:pt x="360" y="879"/>
                      <a:pt x="360" y="879"/>
                    </a:cubicBezTo>
                    <a:cubicBezTo>
                      <a:pt x="360" y="879"/>
                      <a:pt x="346" y="876"/>
                      <a:pt x="345" y="884"/>
                    </a:cubicBezTo>
                    <a:cubicBezTo>
                      <a:pt x="343" y="893"/>
                      <a:pt x="337" y="918"/>
                      <a:pt x="337" y="918"/>
                    </a:cubicBezTo>
                    <a:cubicBezTo>
                      <a:pt x="366" y="908"/>
                      <a:pt x="366" y="908"/>
                      <a:pt x="366" y="908"/>
                    </a:cubicBezTo>
                    <a:cubicBezTo>
                      <a:pt x="358" y="945"/>
                      <a:pt x="358" y="945"/>
                      <a:pt x="358" y="945"/>
                    </a:cubicBezTo>
                    <a:cubicBezTo>
                      <a:pt x="358" y="945"/>
                      <a:pt x="354" y="957"/>
                      <a:pt x="355" y="970"/>
                    </a:cubicBezTo>
                    <a:cubicBezTo>
                      <a:pt x="356" y="982"/>
                      <a:pt x="363" y="1001"/>
                      <a:pt x="363" y="1001"/>
                    </a:cubicBezTo>
                    <a:cubicBezTo>
                      <a:pt x="363" y="1001"/>
                      <a:pt x="372" y="988"/>
                      <a:pt x="373" y="979"/>
                    </a:cubicBezTo>
                    <a:cubicBezTo>
                      <a:pt x="374" y="970"/>
                      <a:pt x="366" y="963"/>
                      <a:pt x="375" y="956"/>
                    </a:cubicBezTo>
                    <a:cubicBezTo>
                      <a:pt x="384" y="949"/>
                      <a:pt x="389" y="942"/>
                      <a:pt x="392" y="932"/>
                    </a:cubicBezTo>
                    <a:cubicBezTo>
                      <a:pt x="395" y="922"/>
                      <a:pt x="402" y="897"/>
                      <a:pt x="398" y="884"/>
                    </a:cubicBezTo>
                    <a:cubicBezTo>
                      <a:pt x="394" y="871"/>
                      <a:pt x="396" y="861"/>
                      <a:pt x="396" y="861"/>
                    </a:cubicBezTo>
                    <a:cubicBezTo>
                      <a:pt x="396" y="861"/>
                      <a:pt x="381" y="849"/>
                      <a:pt x="377" y="843"/>
                    </a:cubicBezTo>
                    <a:cubicBezTo>
                      <a:pt x="373" y="837"/>
                      <a:pt x="378" y="813"/>
                      <a:pt x="374" y="798"/>
                    </a:cubicBezTo>
                    <a:cubicBezTo>
                      <a:pt x="370" y="783"/>
                      <a:pt x="348" y="770"/>
                      <a:pt x="344" y="760"/>
                    </a:cubicBezTo>
                    <a:cubicBezTo>
                      <a:pt x="340" y="750"/>
                      <a:pt x="328" y="736"/>
                      <a:pt x="328" y="736"/>
                    </a:cubicBezTo>
                    <a:cubicBezTo>
                      <a:pt x="328" y="736"/>
                      <a:pt x="320" y="723"/>
                      <a:pt x="330" y="713"/>
                    </a:cubicBezTo>
                    <a:cubicBezTo>
                      <a:pt x="340" y="703"/>
                      <a:pt x="341" y="693"/>
                      <a:pt x="341" y="687"/>
                    </a:cubicBezTo>
                    <a:cubicBezTo>
                      <a:pt x="341" y="681"/>
                      <a:pt x="338" y="670"/>
                      <a:pt x="338" y="670"/>
                    </a:cubicBezTo>
                    <a:cubicBezTo>
                      <a:pt x="338" y="670"/>
                      <a:pt x="350" y="671"/>
                      <a:pt x="350" y="658"/>
                    </a:cubicBezTo>
                    <a:cubicBezTo>
                      <a:pt x="350" y="645"/>
                      <a:pt x="344" y="653"/>
                      <a:pt x="344" y="653"/>
                    </a:cubicBezTo>
                    <a:cubicBezTo>
                      <a:pt x="344" y="653"/>
                      <a:pt x="336" y="652"/>
                      <a:pt x="331" y="640"/>
                    </a:cubicBezTo>
                    <a:cubicBezTo>
                      <a:pt x="326" y="628"/>
                      <a:pt x="340" y="633"/>
                      <a:pt x="332" y="622"/>
                    </a:cubicBezTo>
                    <a:cubicBezTo>
                      <a:pt x="324" y="611"/>
                      <a:pt x="298" y="602"/>
                      <a:pt x="295" y="592"/>
                    </a:cubicBezTo>
                    <a:cubicBezTo>
                      <a:pt x="292" y="582"/>
                      <a:pt x="287" y="579"/>
                      <a:pt x="287" y="579"/>
                    </a:cubicBezTo>
                    <a:cubicBezTo>
                      <a:pt x="291" y="564"/>
                      <a:pt x="291" y="564"/>
                      <a:pt x="291" y="564"/>
                    </a:cubicBezTo>
                    <a:cubicBezTo>
                      <a:pt x="291" y="564"/>
                      <a:pt x="278" y="558"/>
                      <a:pt x="273" y="554"/>
                    </a:cubicBezTo>
                    <a:cubicBezTo>
                      <a:pt x="268" y="550"/>
                      <a:pt x="265" y="545"/>
                      <a:pt x="268" y="542"/>
                    </a:cubicBezTo>
                    <a:cubicBezTo>
                      <a:pt x="271" y="539"/>
                      <a:pt x="282" y="545"/>
                      <a:pt x="282" y="536"/>
                    </a:cubicBezTo>
                    <a:cubicBezTo>
                      <a:pt x="282" y="527"/>
                      <a:pt x="271" y="516"/>
                      <a:pt x="272" y="512"/>
                    </a:cubicBezTo>
                    <a:cubicBezTo>
                      <a:pt x="273" y="508"/>
                      <a:pt x="283" y="507"/>
                      <a:pt x="284" y="498"/>
                    </a:cubicBezTo>
                    <a:cubicBezTo>
                      <a:pt x="285" y="489"/>
                      <a:pt x="277" y="473"/>
                      <a:pt x="288" y="471"/>
                    </a:cubicBezTo>
                    <a:cubicBezTo>
                      <a:pt x="299" y="469"/>
                      <a:pt x="308" y="480"/>
                      <a:pt x="318" y="477"/>
                    </a:cubicBezTo>
                    <a:cubicBezTo>
                      <a:pt x="328" y="474"/>
                      <a:pt x="330" y="456"/>
                      <a:pt x="330" y="456"/>
                    </a:cubicBezTo>
                    <a:cubicBezTo>
                      <a:pt x="347" y="455"/>
                      <a:pt x="347" y="455"/>
                      <a:pt x="347" y="455"/>
                    </a:cubicBezTo>
                    <a:cubicBezTo>
                      <a:pt x="352" y="440"/>
                      <a:pt x="352" y="440"/>
                      <a:pt x="352" y="440"/>
                    </a:cubicBezTo>
                    <a:cubicBezTo>
                      <a:pt x="352" y="440"/>
                      <a:pt x="371" y="434"/>
                      <a:pt x="375" y="435"/>
                    </a:cubicBezTo>
                    <a:cubicBezTo>
                      <a:pt x="375" y="435"/>
                      <a:pt x="373" y="423"/>
                      <a:pt x="382" y="420"/>
                    </a:cubicBezTo>
                    <a:cubicBezTo>
                      <a:pt x="391" y="417"/>
                      <a:pt x="399" y="414"/>
                      <a:pt x="399" y="414"/>
                    </a:cubicBezTo>
                    <a:cubicBezTo>
                      <a:pt x="394" y="407"/>
                      <a:pt x="394" y="407"/>
                      <a:pt x="394" y="407"/>
                    </a:cubicBezTo>
                    <a:cubicBezTo>
                      <a:pt x="399" y="399"/>
                      <a:pt x="399" y="399"/>
                      <a:pt x="399" y="399"/>
                    </a:cubicBezTo>
                    <a:cubicBezTo>
                      <a:pt x="399" y="392"/>
                      <a:pt x="399" y="392"/>
                      <a:pt x="399" y="392"/>
                    </a:cubicBezTo>
                    <a:cubicBezTo>
                      <a:pt x="421" y="382"/>
                      <a:pt x="421" y="382"/>
                      <a:pt x="421" y="382"/>
                    </a:cubicBezTo>
                    <a:cubicBezTo>
                      <a:pt x="421" y="382"/>
                      <a:pt x="426" y="364"/>
                      <a:pt x="416" y="363"/>
                    </a:cubicBezTo>
                    <a:cubicBezTo>
                      <a:pt x="406" y="362"/>
                      <a:pt x="397" y="380"/>
                      <a:pt x="397" y="380"/>
                    </a:cubicBezTo>
                    <a:cubicBezTo>
                      <a:pt x="397" y="380"/>
                      <a:pt x="378" y="381"/>
                      <a:pt x="375" y="381"/>
                    </a:cubicBezTo>
                    <a:cubicBezTo>
                      <a:pt x="372" y="381"/>
                      <a:pt x="372" y="369"/>
                      <a:pt x="372" y="369"/>
                    </a:cubicBezTo>
                    <a:cubicBezTo>
                      <a:pt x="361" y="370"/>
                      <a:pt x="361" y="370"/>
                      <a:pt x="361" y="370"/>
                    </a:cubicBezTo>
                    <a:cubicBezTo>
                      <a:pt x="356" y="350"/>
                      <a:pt x="356" y="350"/>
                      <a:pt x="356" y="350"/>
                    </a:cubicBezTo>
                    <a:cubicBezTo>
                      <a:pt x="317" y="346"/>
                      <a:pt x="317" y="346"/>
                      <a:pt x="317" y="346"/>
                    </a:cubicBezTo>
                    <a:cubicBezTo>
                      <a:pt x="317" y="346"/>
                      <a:pt x="323" y="332"/>
                      <a:pt x="326" y="329"/>
                    </a:cubicBezTo>
                    <a:cubicBezTo>
                      <a:pt x="329" y="326"/>
                      <a:pt x="320" y="314"/>
                      <a:pt x="320" y="314"/>
                    </a:cubicBezTo>
                    <a:cubicBezTo>
                      <a:pt x="320" y="314"/>
                      <a:pt x="343" y="305"/>
                      <a:pt x="336" y="299"/>
                    </a:cubicBezTo>
                    <a:cubicBezTo>
                      <a:pt x="329" y="293"/>
                      <a:pt x="301" y="292"/>
                      <a:pt x="301" y="292"/>
                    </a:cubicBezTo>
                    <a:cubicBezTo>
                      <a:pt x="296" y="265"/>
                      <a:pt x="296" y="265"/>
                      <a:pt x="296" y="265"/>
                    </a:cubicBezTo>
                    <a:cubicBezTo>
                      <a:pt x="280" y="252"/>
                      <a:pt x="280" y="252"/>
                      <a:pt x="280" y="252"/>
                    </a:cubicBezTo>
                    <a:cubicBezTo>
                      <a:pt x="297" y="237"/>
                      <a:pt x="297" y="237"/>
                      <a:pt x="297" y="237"/>
                    </a:cubicBezTo>
                    <a:cubicBezTo>
                      <a:pt x="297" y="237"/>
                      <a:pt x="268" y="237"/>
                      <a:pt x="260" y="238"/>
                    </a:cubicBezTo>
                    <a:cubicBezTo>
                      <a:pt x="252" y="239"/>
                      <a:pt x="236" y="249"/>
                      <a:pt x="236" y="249"/>
                    </a:cubicBezTo>
                    <a:cubicBezTo>
                      <a:pt x="242" y="235"/>
                      <a:pt x="242" y="235"/>
                      <a:pt x="242" y="235"/>
                    </a:cubicBezTo>
                    <a:cubicBezTo>
                      <a:pt x="242" y="235"/>
                      <a:pt x="237" y="225"/>
                      <a:pt x="232" y="220"/>
                    </a:cubicBezTo>
                    <a:cubicBezTo>
                      <a:pt x="227" y="215"/>
                      <a:pt x="226" y="206"/>
                      <a:pt x="226" y="206"/>
                    </a:cubicBezTo>
                    <a:cubicBezTo>
                      <a:pt x="233" y="203"/>
                      <a:pt x="233" y="203"/>
                      <a:pt x="233" y="203"/>
                    </a:cubicBezTo>
                    <a:cubicBezTo>
                      <a:pt x="231" y="183"/>
                      <a:pt x="231" y="183"/>
                      <a:pt x="231" y="183"/>
                    </a:cubicBezTo>
                    <a:cubicBezTo>
                      <a:pt x="231" y="183"/>
                      <a:pt x="242" y="187"/>
                      <a:pt x="243" y="176"/>
                    </a:cubicBezTo>
                    <a:cubicBezTo>
                      <a:pt x="244" y="165"/>
                      <a:pt x="243" y="156"/>
                      <a:pt x="243" y="156"/>
                    </a:cubicBezTo>
                    <a:cubicBezTo>
                      <a:pt x="243" y="156"/>
                      <a:pt x="255" y="164"/>
                      <a:pt x="258" y="157"/>
                    </a:cubicBezTo>
                    <a:cubicBezTo>
                      <a:pt x="261" y="150"/>
                      <a:pt x="262" y="144"/>
                      <a:pt x="262" y="144"/>
                    </a:cubicBezTo>
                    <a:cubicBezTo>
                      <a:pt x="262" y="144"/>
                      <a:pt x="246" y="133"/>
                      <a:pt x="253" y="133"/>
                    </a:cubicBezTo>
                    <a:cubicBezTo>
                      <a:pt x="260" y="133"/>
                      <a:pt x="270" y="127"/>
                      <a:pt x="270" y="127"/>
                    </a:cubicBezTo>
                    <a:cubicBezTo>
                      <a:pt x="263" y="90"/>
                      <a:pt x="263" y="90"/>
                      <a:pt x="263" y="90"/>
                    </a:cubicBezTo>
                    <a:cubicBezTo>
                      <a:pt x="255" y="74"/>
                      <a:pt x="255" y="74"/>
                      <a:pt x="255" y="74"/>
                    </a:cubicBezTo>
                    <a:cubicBezTo>
                      <a:pt x="255" y="74"/>
                      <a:pt x="257" y="52"/>
                      <a:pt x="250" y="50"/>
                    </a:cubicBezTo>
                    <a:cubicBezTo>
                      <a:pt x="243" y="48"/>
                      <a:pt x="228" y="50"/>
                      <a:pt x="228" y="50"/>
                    </a:cubicBezTo>
                    <a:cubicBezTo>
                      <a:pt x="228" y="50"/>
                      <a:pt x="219" y="23"/>
                      <a:pt x="211" y="15"/>
                    </a:cubicBezTo>
                    <a:cubicBezTo>
                      <a:pt x="203" y="7"/>
                      <a:pt x="189" y="0"/>
                      <a:pt x="189" y="0"/>
                    </a:cubicBezTo>
                    <a:cubicBezTo>
                      <a:pt x="185" y="13"/>
                      <a:pt x="185" y="13"/>
                      <a:pt x="185" y="13"/>
                    </a:cubicBezTo>
                    <a:cubicBezTo>
                      <a:pt x="187" y="32"/>
                      <a:pt x="187" y="32"/>
                      <a:pt x="187" y="32"/>
                    </a:cubicBezTo>
                    <a:cubicBezTo>
                      <a:pt x="187" y="32"/>
                      <a:pt x="163" y="41"/>
                      <a:pt x="163" y="50"/>
                    </a:cubicBezTo>
                    <a:cubicBezTo>
                      <a:pt x="163" y="59"/>
                      <a:pt x="186" y="69"/>
                      <a:pt x="184" y="73"/>
                    </a:cubicBezTo>
                    <a:cubicBezTo>
                      <a:pt x="182" y="77"/>
                      <a:pt x="159" y="69"/>
                      <a:pt x="159" y="69"/>
                    </a:cubicBezTo>
                    <a:cubicBezTo>
                      <a:pt x="159" y="69"/>
                      <a:pt x="144" y="70"/>
                      <a:pt x="136" y="72"/>
                    </a:cubicBezTo>
                    <a:cubicBezTo>
                      <a:pt x="128" y="74"/>
                      <a:pt x="133" y="89"/>
                      <a:pt x="121" y="93"/>
                    </a:cubicBezTo>
                    <a:cubicBezTo>
                      <a:pt x="109" y="97"/>
                      <a:pt x="98" y="102"/>
                      <a:pt x="98" y="102"/>
                    </a:cubicBezTo>
                    <a:cubicBezTo>
                      <a:pt x="98" y="102"/>
                      <a:pt x="100" y="116"/>
                      <a:pt x="101" y="121"/>
                    </a:cubicBezTo>
                    <a:cubicBezTo>
                      <a:pt x="102" y="126"/>
                      <a:pt x="108" y="137"/>
                      <a:pt x="108" y="137"/>
                    </a:cubicBezTo>
                    <a:cubicBezTo>
                      <a:pt x="96" y="158"/>
                      <a:pt x="96" y="158"/>
                      <a:pt x="96" y="158"/>
                    </a:cubicBezTo>
                    <a:cubicBezTo>
                      <a:pt x="96" y="158"/>
                      <a:pt x="82" y="162"/>
                      <a:pt x="82" y="172"/>
                    </a:cubicBezTo>
                    <a:cubicBezTo>
                      <a:pt x="82" y="182"/>
                      <a:pt x="92" y="190"/>
                      <a:pt x="92" y="190"/>
                    </a:cubicBezTo>
                    <a:cubicBezTo>
                      <a:pt x="80" y="225"/>
                      <a:pt x="80" y="225"/>
                      <a:pt x="80" y="225"/>
                    </a:cubicBezTo>
                    <a:cubicBezTo>
                      <a:pt x="80" y="249"/>
                      <a:pt x="80" y="249"/>
                      <a:pt x="80" y="249"/>
                    </a:cubicBezTo>
                    <a:cubicBezTo>
                      <a:pt x="80" y="249"/>
                      <a:pt x="55" y="245"/>
                      <a:pt x="51" y="244"/>
                    </a:cubicBezTo>
                    <a:cubicBezTo>
                      <a:pt x="47" y="243"/>
                      <a:pt x="22" y="242"/>
                      <a:pt x="26" y="244"/>
                    </a:cubicBezTo>
                    <a:cubicBezTo>
                      <a:pt x="30" y="246"/>
                      <a:pt x="44" y="257"/>
                      <a:pt x="44" y="257"/>
                    </a:cubicBezTo>
                    <a:cubicBezTo>
                      <a:pt x="46" y="290"/>
                      <a:pt x="46" y="290"/>
                      <a:pt x="46" y="290"/>
                    </a:cubicBezTo>
                    <a:cubicBezTo>
                      <a:pt x="46" y="290"/>
                      <a:pt x="29" y="292"/>
                      <a:pt x="32" y="301"/>
                    </a:cubicBezTo>
                    <a:cubicBezTo>
                      <a:pt x="35" y="310"/>
                      <a:pt x="35" y="324"/>
                      <a:pt x="39" y="328"/>
                    </a:cubicBezTo>
                    <a:cubicBezTo>
                      <a:pt x="43" y="332"/>
                      <a:pt x="53" y="344"/>
                      <a:pt x="44" y="346"/>
                    </a:cubicBezTo>
                    <a:cubicBezTo>
                      <a:pt x="35" y="348"/>
                      <a:pt x="31" y="336"/>
                      <a:pt x="31" y="342"/>
                    </a:cubicBezTo>
                    <a:cubicBezTo>
                      <a:pt x="31" y="348"/>
                      <a:pt x="32" y="356"/>
                      <a:pt x="32" y="356"/>
                    </a:cubicBezTo>
                    <a:cubicBezTo>
                      <a:pt x="18" y="344"/>
                      <a:pt x="18" y="344"/>
                      <a:pt x="18" y="344"/>
                    </a:cubicBezTo>
                    <a:cubicBezTo>
                      <a:pt x="25" y="383"/>
                      <a:pt x="25" y="383"/>
                      <a:pt x="25" y="383"/>
                    </a:cubicBezTo>
                    <a:cubicBezTo>
                      <a:pt x="4" y="380"/>
                      <a:pt x="4" y="380"/>
                      <a:pt x="4" y="380"/>
                    </a:cubicBezTo>
                    <a:cubicBezTo>
                      <a:pt x="4" y="380"/>
                      <a:pt x="2" y="384"/>
                      <a:pt x="0" y="39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89" name="Mongolia">
                <a:extLst>
                  <a:ext uri="{FF2B5EF4-FFF2-40B4-BE49-F238E27FC236}">
                    <a16:creationId xmlns:a16="http://schemas.microsoft.com/office/drawing/2014/main" id="{C84810A9-DC3A-44CC-8C8C-E73ADEF15148}"/>
                  </a:ext>
                </a:extLst>
              </p:cNvPr>
              <p:cNvSpPr>
                <a:spLocks/>
              </p:cNvSpPr>
              <p:nvPr/>
            </p:nvSpPr>
            <p:spPr bwMode="gray">
              <a:xfrm>
                <a:off x="7685070" y="2522175"/>
                <a:ext cx="787537" cy="312593"/>
              </a:xfrm>
              <a:custGeom>
                <a:avLst/>
                <a:gdLst>
                  <a:gd name="T0" fmla="*/ 1353 w 1406"/>
                  <a:gd name="T1" fmla="*/ 245 h 558"/>
                  <a:gd name="T2" fmla="*/ 1312 w 1406"/>
                  <a:gd name="T3" fmla="*/ 214 h 558"/>
                  <a:gd name="T4" fmla="*/ 1247 w 1406"/>
                  <a:gd name="T5" fmla="*/ 225 h 558"/>
                  <a:gd name="T6" fmla="*/ 1182 w 1406"/>
                  <a:gd name="T7" fmla="*/ 215 h 558"/>
                  <a:gd name="T8" fmla="*/ 1179 w 1406"/>
                  <a:gd name="T9" fmla="*/ 178 h 558"/>
                  <a:gd name="T10" fmla="*/ 1162 w 1406"/>
                  <a:gd name="T11" fmla="*/ 114 h 558"/>
                  <a:gd name="T12" fmla="*/ 1091 w 1406"/>
                  <a:gd name="T13" fmla="*/ 102 h 558"/>
                  <a:gd name="T14" fmla="*/ 1025 w 1406"/>
                  <a:gd name="T15" fmla="*/ 136 h 558"/>
                  <a:gd name="T16" fmla="*/ 967 w 1406"/>
                  <a:gd name="T17" fmla="*/ 143 h 558"/>
                  <a:gd name="T18" fmla="*/ 922 w 1406"/>
                  <a:gd name="T19" fmla="*/ 156 h 558"/>
                  <a:gd name="T20" fmla="*/ 855 w 1406"/>
                  <a:gd name="T21" fmla="*/ 148 h 558"/>
                  <a:gd name="T22" fmla="*/ 812 w 1406"/>
                  <a:gd name="T23" fmla="*/ 114 h 558"/>
                  <a:gd name="T24" fmla="*/ 728 w 1406"/>
                  <a:gd name="T25" fmla="*/ 97 h 558"/>
                  <a:gd name="T26" fmla="*/ 607 w 1406"/>
                  <a:gd name="T27" fmla="*/ 95 h 558"/>
                  <a:gd name="T28" fmla="*/ 563 w 1406"/>
                  <a:gd name="T29" fmla="*/ 83 h 558"/>
                  <a:gd name="T30" fmla="*/ 472 w 1406"/>
                  <a:gd name="T31" fmla="*/ 22 h 558"/>
                  <a:gd name="T32" fmla="*/ 384 w 1406"/>
                  <a:gd name="T33" fmla="*/ 0 h 558"/>
                  <a:gd name="T34" fmla="*/ 373 w 1406"/>
                  <a:gd name="T35" fmla="*/ 33 h 558"/>
                  <a:gd name="T36" fmla="*/ 372 w 1406"/>
                  <a:gd name="T37" fmla="*/ 60 h 558"/>
                  <a:gd name="T38" fmla="*/ 391 w 1406"/>
                  <a:gd name="T39" fmla="*/ 110 h 558"/>
                  <a:gd name="T40" fmla="*/ 335 w 1406"/>
                  <a:gd name="T41" fmla="*/ 119 h 558"/>
                  <a:gd name="T42" fmla="*/ 301 w 1406"/>
                  <a:gd name="T43" fmla="*/ 118 h 558"/>
                  <a:gd name="T44" fmla="*/ 278 w 1406"/>
                  <a:gd name="T45" fmla="*/ 107 h 558"/>
                  <a:gd name="T46" fmla="*/ 182 w 1406"/>
                  <a:gd name="T47" fmla="*/ 86 h 558"/>
                  <a:gd name="T48" fmla="*/ 155 w 1406"/>
                  <a:gd name="T49" fmla="*/ 70 h 558"/>
                  <a:gd name="T50" fmla="*/ 119 w 1406"/>
                  <a:gd name="T51" fmla="*/ 88 h 558"/>
                  <a:gd name="T52" fmla="*/ 83 w 1406"/>
                  <a:gd name="T53" fmla="*/ 100 h 558"/>
                  <a:gd name="T54" fmla="*/ 47 w 1406"/>
                  <a:gd name="T55" fmla="*/ 130 h 558"/>
                  <a:gd name="T56" fmla="*/ 9 w 1406"/>
                  <a:gd name="T57" fmla="*/ 151 h 558"/>
                  <a:gd name="T58" fmla="*/ 18 w 1406"/>
                  <a:gd name="T59" fmla="*/ 174 h 558"/>
                  <a:gd name="T60" fmla="*/ 54 w 1406"/>
                  <a:gd name="T61" fmla="*/ 203 h 558"/>
                  <a:gd name="T62" fmla="*/ 107 w 1406"/>
                  <a:gd name="T63" fmla="*/ 221 h 558"/>
                  <a:gd name="T64" fmla="*/ 179 w 1406"/>
                  <a:gd name="T65" fmla="*/ 276 h 558"/>
                  <a:gd name="T66" fmla="*/ 192 w 1406"/>
                  <a:gd name="T67" fmla="*/ 326 h 558"/>
                  <a:gd name="T68" fmla="*/ 274 w 1406"/>
                  <a:gd name="T69" fmla="*/ 374 h 558"/>
                  <a:gd name="T70" fmla="*/ 361 w 1406"/>
                  <a:gd name="T71" fmla="*/ 397 h 558"/>
                  <a:gd name="T72" fmla="*/ 430 w 1406"/>
                  <a:gd name="T73" fmla="*/ 429 h 558"/>
                  <a:gd name="T74" fmla="*/ 502 w 1406"/>
                  <a:gd name="T75" fmla="*/ 498 h 558"/>
                  <a:gd name="T76" fmla="*/ 610 w 1406"/>
                  <a:gd name="T77" fmla="*/ 499 h 558"/>
                  <a:gd name="T78" fmla="*/ 679 w 1406"/>
                  <a:gd name="T79" fmla="*/ 501 h 558"/>
                  <a:gd name="T80" fmla="*/ 795 w 1406"/>
                  <a:gd name="T81" fmla="*/ 531 h 558"/>
                  <a:gd name="T82" fmla="*/ 873 w 1406"/>
                  <a:gd name="T83" fmla="*/ 550 h 558"/>
                  <a:gd name="T84" fmla="*/ 1066 w 1406"/>
                  <a:gd name="T85" fmla="*/ 510 h 558"/>
                  <a:gd name="T86" fmla="*/ 1112 w 1406"/>
                  <a:gd name="T87" fmla="*/ 463 h 558"/>
                  <a:gd name="T88" fmla="*/ 1108 w 1406"/>
                  <a:gd name="T89" fmla="*/ 407 h 558"/>
                  <a:gd name="T90" fmla="*/ 1160 w 1406"/>
                  <a:gd name="T91" fmla="*/ 388 h 558"/>
                  <a:gd name="T92" fmla="*/ 1213 w 1406"/>
                  <a:gd name="T93" fmla="*/ 350 h 558"/>
                  <a:gd name="T94" fmla="*/ 1270 w 1406"/>
                  <a:gd name="T95" fmla="*/ 314 h 558"/>
                  <a:gd name="T96" fmla="*/ 1320 w 1406"/>
                  <a:gd name="T97" fmla="*/ 294 h 558"/>
                  <a:gd name="T98" fmla="*/ 1355 w 1406"/>
                  <a:gd name="T99" fmla="*/ 279 h 558"/>
                  <a:gd name="T100" fmla="*/ 1394 w 1406"/>
                  <a:gd name="T101" fmla="*/ 27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 h="558">
                    <a:moveTo>
                      <a:pt x="1394" y="273"/>
                    </a:moveTo>
                    <a:cubicBezTo>
                      <a:pt x="1385" y="267"/>
                      <a:pt x="1380" y="256"/>
                      <a:pt x="1380" y="256"/>
                    </a:cubicBezTo>
                    <a:cubicBezTo>
                      <a:pt x="1380" y="256"/>
                      <a:pt x="1362" y="252"/>
                      <a:pt x="1353" y="245"/>
                    </a:cubicBezTo>
                    <a:cubicBezTo>
                      <a:pt x="1344" y="238"/>
                      <a:pt x="1336" y="231"/>
                      <a:pt x="1336" y="231"/>
                    </a:cubicBezTo>
                    <a:cubicBezTo>
                      <a:pt x="1336" y="231"/>
                      <a:pt x="1333" y="231"/>
                      <a:pt x="1324" y="230"/>
                    </a:cubicBezTo>
                    <a:cubicBezTo>
                      <a:pt x="1315" y="229"/>
                      <a:pt x="1312" y="214"/>
                      <a:pt x="1312" y="214"/>
                    </a:cubicBezTo>
                    <a:cubicBezTo>
                      <a:pt x="1271" y="214"/>
                      <a:pt x="1271" y="214"/>
                      <a:pt x="1271" y="214"/>
                    </a:cubicBezTo>
                    <a:cubicBezTo>
                      <a:pt x="1271" y="214"/>
                      <a:pt x="1270" y="232"/>
                      <a:pt x="1264" y="234"/>
                    </a:cubicBezTo>
                    <a:cubicBezTo>
                      <a:pt x="1258" y="236"/>
                      <a:pt x="1247" y="225"/>
                      <a:pt x="1247" y="225"/>
                    </a:cubicBezTo>
                    <a:cubicBezTo>
                      <a:pt x="1247" y="225"/>
                      <a:pt x="1237" y="221"/>
                      <a:pt x="1218" y="222"/>
                    </a:cubicBezTo>
                    <a:cubicBezTo>
                      <a:pt x="1199" y="223"/>
                      <a:pt x="1215" y="230"/>
                      <a:pt x="1206" y="233"/>
                    </a:cubicBezTo>
                    <a:cubicBezTo>
                      <a:pt x="1197" y="236"/>
                      <a:pt x="1185" y="225"/>
                      <a:pt x="1182" y="215"/>
                    </a:cubicBezTo>
                    <a:cubicBezTo>
                      <a:pt x="1179" y="205"/>
                      <a:pt x="1184" y="202"/>
                      <a:pt x="1184" y="202"/>
                    </a:cubicBezTo>
                    <a:cubicBezTo>
                      <a:pt x="1180" y="196"/>
                      <a:pt x="1180" y="196"/>
                      <a:pt x="1180" y="196"/>
                    </a:cubicBezTo>
                    <a:cubicBezTo>
                      <a:pt x="1179" y="178"/>
                      <a:pt x="1179" y="178"/>
                      <a:pt x="1179" y="178"/>
                    </a:cubicBezTo>
                    <a:cubicBezTo>
                      <a:pt x="1174" y="172"/>
                      <a:pt x="1174" y="172"/>
                      <a:pt x="1174" y="172"/>
                    </a:cubicBezTo>
                    <a:cubicBezTo>
                      <a:pt x="1173" y="117"/>
                      <a:pt x="1173" y="117"/>
                      <a:pt x="1173" y="117"/>
                    </a:cubicBezTo>
                    <a:cubicBezTo>
                      <a:pt x="1162" y="114"/>
                      <a:pt x="1162" y="114"/>
                      <a:pt x="1162" y="114"/>
                    </a:cubicBezTo>
                    <a:cubicBezTo>
                      <a:pt x="1144" y="111"/>
                      <a:pt x="1144" y="111"/>
                      <a:pt x="1144" y="111"/>
                    </a:cubicBezTo>
                    <a:cubicBezTo>
                      <a:pt x="1144" y="111"/>
                      <a:pt x="1138" y="118"/>
                      <a:pt x="1124" y="118"/>
                    </a:cubicBezTo>
                    <a:cubicBezTo>
                      <a:pt x="1110" y="118"/>
                      <a:pt x="1100" y="102"/>
                      <a:pt x="1091" y="102"/>
                    </a:cubicBezTo>
                    <a:cubicBezTo>
                      <a:pt x="1082" y="102"/>
                      <a:pt x="1055" y="98"/>
                      <a:pt x="1055" y="98"/>
                    </a:cubicBezTo>
                    <a:cubicBezTo>
                      <a:pt x="1032" y="121"/>
                      <a:pt x="1032" y="121"/>
                      <a:pt x="1032" y="121"/>
                    </a:cubicBezTo>
                    <a:cubicBezTo>
                      <a:pt x="1032" y="121"/>
                      <a:pt x="1035" y="132"/>
                      <a:pt x="1025" y="136"/>
                    </a:cubicBezTo>
                    <a:cubicBezTo>
                      <a:pt x="1015" y="140"/>
                      <a:pt x="1003" y="137"/>
                      <a:pt x="1003" y="137"/>
                    </a:cubicBezTo>
                    <a:cubicBezTo>
                      <a:pt x="993" y="142"/>
                      <a:pt x="993" y="142"/>
                      <a:pt x="993" y="142"/>
                    </a:cubicBezTo>
                    <a:cubicBezTo>
                      <a:pt x="993" y="142"/>
                      <a:pt x="976" y="141"/>
                      <a:pt x="967" y="143"/>
                    </a:cubicBezTo>
                    <a:cubicBezTo>
                      <a:pt x="958" y="145"/>
                      <a:pt x="960" y="150"/>
                      <a:pt x="955" y="156"/>
                    </a:cubicBezTo>
                    <a:cubicBezTo>
                      <a:pt x="950" y="162"/>
                      <a:pt x="942" y="153"/>
                      <a:pt x="938" y="151"/>
                    </a:cubicBezTo>
                    <a:cubicBezTo>
                      <a:pt x="934" y="149"/>
                      <a:pt x="922" y="156"/>
                      <a:pt x="922" y="156"/>
                    </a:cubicBezTo>
                    <a:cubicBezTo>
                      <a:pt x="922" y="156"/>
                      <a:pt x="898" y="156"/>
                      <a:pt x="895" y="153"/>
                    </a:cubicBezTo>
                    <a:cubicBezTo>
                      <a:pt x="892" y="150"/>
                      <a:pt x="885" y="147"/>
                      <a:pt x="885" y="147"/>
                    </a:cubicBezTo>
                    <a:cubicBezTo>
                      <a:pt x="885" y="147"/>
                      <a:pt x="875" y="150"/>
                      <a:pt x="855" y="148"/>
                    </a:cubicBezTo>
                    <a:cubicBezTo>
                      <a:pt x="835" y="146"/>
                      <a:pt x="840" y="135"/>
                      <a:pt x="840" y="135"/>
                    </a:cubicBezTo>
                    <a:cubicBezTo>
                      <a:pt x="840" y="135"/>
                      <a:pt x="829" y="132"/>
                      <a:pt x="826" y="133"/>
                    </a:cubicBezTo>
                    <a:cubicBezTo>
                      <a:pt x="823" y="134"/>
                      <a:pt x="815" y="115"/>
                      <a:pt x="812" y="114"/>
                    </a:cubicBezTo>
                    <a:cubicBezTo>
                      <a:pt x="809" y="113"/>
                      <a:pt x="790" y="113"/>
                      <a:pt x="778" y="113"/>
                    </a:cubicBezTo>
                    <a:cubicBezTo>
                      <a:pt x="766" y="113"/>
                      <a:pt x="755" y="94"/>
                      <a:pt x="755" y="94"/>
                    </a:cubicBezTo>
                    <a:cubicBezTo>
                      <a:pt x="728" y="97"/>
                      <a:pt x="728" y="97"/>
                      <a:pt x="728" y="97"/>
                    </a:cubicBezTo>
                    <a:cubicBezTo>
                      <a:pt x="728" y="97"/>
                      <a:pt x="726" y="89"/>
                      <a:pt x="697" y="87"/>
                    </a:cubicBezTo>
                    <a:cubicBezTo>
                      <a:pt x="668" y="85"/>
                      <a:pt x="650" y="103"/>
                      <a:pt x="637" y="104"/>
                    </a:cubicBezTo>
                    <a:cubicBezTo>
                      <a:pt x="624" y="105"/>
                      <a:pt x="607" y="95"/>
                      <a:pt x="607" y="95"/>
                    </a:cubicBezTo>
                    <a:cubicBezTo>
                      <a:pt x="607" y="95"/>
                      <a:pt x="600" y="96"/>
                      <a:pt x="590" y="96"/>
                    </a:cubicBezTo>
                    <a:cubicBezTo>
                      <a:pt x="580" y="96"/>
                      <a:pt x="578" y="80"/>
                      <a:pt x="578" y="80"/>
                    </a:cubicBezTo>
                    <a:cubicBezTo>
                      <a:pt x="563" y="83"/>
                      <a:pt x="563" y="83"/>
                      <a:pt x="563" y="83"/>
                    </a:cubicBezTo>
                    <a:cubicBezTo>
                      <a:pt x="563" y="83"/>
                      <a:pt x="541" y="49"/>
                      <a:pt x="532" y="38"/>
                    </a:cubicBezTo>
                    <a:cubicBezTo>
                      <a:pt x="523" y="27"/>
                      <a:pt x="511" y="40"/>
                      <a:pt x="501" y="38"/>
                    </a:cubicBezTo>
                    <a:cubicBezTo>
                      <a:pt x="491" y="36"/>
                      <a:pt x="472" y="22"/>
                      <a:pt x="472" y="22"/>
                    </a:cubicBezTo>
                    <a:cubicBezTo>
                      <a:pt x="472" y="22"/>
                      <a:pt x="452" y="23"/>
                      <a:pt x="434" y="21"/>
                    </a:cubicBezTo>
                    <a:cubicBezTo>
                      <a:pt x="416" y="19"/>
                      <a:pt x="393" y="2"/>
                      <a:pt x="393" y="2"/>
                    </a:cubicBezTo>
                    <a:cubicBezTo>
                      <a:pt x="384" y="0"/>
                      <a:pt x="384" y="0"/>
                      <a:pt x="384" y="0"/>
                    </a:cubicBezTo>
                    <a:cubicBezTo>
                      <a:pt x="384" y="0"/>
                      <a:pt x="385" y="12"/>
                      <a:pt x="380" y="18"/>
                    </a:cubicBezTo>
                    <a:cubicBezTo>
                      <a:pt x="375" y="24"/>
                      <a:pt x="371" y="22"/>
                      <a:pt x="371" y="22"/>
                    </a:cubicBezTo>
                    <a:cubicBezTo>
                      <a:pt x="373" y="33"/>
                      <a:pt x="373" y="33"/>
                      <a:pt x="373" y="33"/>
                    </a:cubicBezTo>
                    <a:cubicBezTo>
                      <a:pt x="373" y="33"/>
                      <a:pt x="362" y="31"/>
                      <a:pt x="362" y="37"/>
                    </a:cubicBezTo>
                    <a:cubicBezTo>
                      <a:pt x="362" y="43"/>
                      <a:pt x="368" y="46"/>
                      <a:pt x="368" y="46"/>
                    </a:cubicBezTo>
                    <a:cubicBezTo>
                      <a:pt x="372" y="60"/>
                      <a:pt x="372" y="60"/>
                      <a:pt x="372" y="60"/>
                    </a:cubicBezTo>
                    <a:cubicBezTo>
                      <a:pt x="388" y="84"/>
                      <a:pt x="388" y="84"/>
                      <a:pt x="388" y="84"/>
                    </a:cubicBezTo>
                    <a:cubicBezTo>
                      <a:pt x="388" y="84"/>
                      <a:pt x="403" y="84"/>
                      <a:pt x="403" y="102"/>
                    </a:cubicBezTo>
                    <a:cubicBezTo>
                      <a:pt x="403" y="120"/>
                      <a:pt x="391" y="110"/>
                      <a:pt x="391" y="110"/>
                    </a:cubicBezTo>
                    <a:cubicBezTo>
                      <a:pt x="391" y="110"/>
                      <a:pt x="393" y="117"/>
                      <a:pt x="376" y="125"/>
                    </a:cubicBezTo>
                    <a:cubicBezTo>
                      <a:pt x="359" y="133"/>
                      <a:pt x="365" y="117"/>
                      <a:pt x="365" y="117"/>
                    </a:cubicBezTo>
                    <a:cubicBezTo>
                      <a:pt x="335" y="119"/>
                      <a:pt x="335" y="119"/>
                      <a:pt x="335" y="119"/>
                    </a:cubicBezTo>
                    <a:cubicBezTo>
                      <a:pt x="334" y="111"/>
                      <a:pt x="334" y="111"/>
                      <a:pt x="334" y="111"/>
                    </a:cubicBezTo>
                    <a:cubicBezTo>
                      <a:pt x="334" y="111"/>
                      <a:pt x="325" y="110"/>
                      <a:pt x="314" y="111"/>
                    </a:cubicBezTo>
                    <a:cubicBezTo>
                      <a:pt x="303" y="112"/>
                      <a:pt x="301" y="118"/>
                      <a:pt x="301" y="118"/>
                    </a:cubicBezTo>
                    <a:cubicBezTo>
                      <a:pt x="299" y="113"/>
                      <a:pt x="299" y="113"/>
                      <a:pt x="299" y="113"/>
                    </a:cubicBezTo>
                    <a:cubicBezTo>
                      <a:pt x="280" y="116"/>
                      <a:pt x="280" y="116"/>
                      <a:pt x="280" y="116"/>
                    </a:cubicBezTo>
                    <a:cubicBezTo>
                      <a:pt x="278" y="107"/>
                      <a:pt x="278" y="107"/>
                      <a:pt x="278" y="107"/>
                    </a:cubicBezTo>
                    <a:cubicBezTo>
                      <a:pt x="278" y="107"/>
                      <a:pt x="256" y="109"/>
                      <a:pt x="247" y="102"/>
                    </a:cubicBezTo>
                    <a:cubicBezTo>
                      <a:pt x="238" y="95"/>
                      <a:pt x="240" y="82"/>
                      <a:pt x="233" y="82"/>
                    </a:cubicBezTo>
                    <a:cubicBezTo>
                      <a:pt x="226" y="82"/>
                      <a:pt x="182" y="86"/>
                      <a:pt x="182" y="86"/>
                    </a:cubicBezTo>
                    <a:cubicBezTo>
                      <a:pt x="177" y="75"/>
                      <a:pt x="177" y="75"/>
                      <a:pt x="177" y="75"/>
                    </a:cubicBezTo>
                    <a:cubicBezTo>
                      <a:pt x="177" y="75"/>
                      <a:pt x="161" y="75"/>
                      <a:pt x="158" y="75"/>
                    </a:cubicBezTo>
                    <a:cubicBezTo>
                      <a:pt x="155" y="75"/>
                      <a:pt x="155" y="70"/>
                      <a:pt x="155" y="70"/>
                    </a:cubicBezTo>
                    <a:cubicBezTo>
                      <a:pt x="143" y="77"/>
                      <a:pt x="143" y="77"/>
                      <a:pt x="143" y="77"/>
                    </a:cubicBezTo>
                    <a:cubicBezTo>
                      <a:pt x="143" y="77"/>
                      <a:pt x="134" y="71"/>
                      <a:pt x="127" y="71"/>
                    </a:cubicBezTo>
                    <a:cubicBezTo>
                      <a:pt x="120" y="71"/>
                      <a:pt x="119" y="88"/>
                      <a:pt x="119" y="88"/>
                    </a:cubicBezTo>
                    <a:cubicBezTo>
                      <a:pt x="103" y="88"/>
                      <a:pt x="103" y="88"/>
                      <a:pt x="103" y="88"/>
                    </a:cubicBezTo>
                    <a:cubicBezTo>
                      <a:pt x="92" y="101"/>
                      <a:pt x="92" y="101"/>
                      <a:pt x="92" y="101"/>
                    </a:cubicBezTo>
                    <a:cubicBezTo>
                      <a:pt x="83" y="100"/>
                      <a:pt x="83" y="100"/>
                      <a:pt x="83" y="100"/>
                    </a:cubicBezTo>
                    <a:cubicBezTo>
                      <a:pt x="83" y="100"/>
                      <a:pt x="72" y="108"/>
                      <a:pt x="63" y="118"/>
                    </a:cubicBezTo>
                    <a:cubicBezTo>
                      <a:pt x="54" y="128"/>
                      <a:pt x="63" y="130"/>
                      <a:pt x="63" y="130"/>
                    </a:cubicBezTo>
                    <a:cubicBezTo>
                      <a:pt x="47" y="130"/>
                      <a:pt x="47" y="130"/>
                      <a:pt x="47" y="130"/>
                    </a:cubicBezTo>
                    <a:cubicBezTo>
                      <a:pt x="49" y="139"/>
                      <a:pt x="49" y="139"/>
                      <a:pt x="49" y="139"/>
                    </a:cubicBezTo>
                    <a:cubicBezTo>
                      <a:pt x="8" y="139"/>
                      <a:pt x="8" y="139"/>
                      <a:pt x="8" y="139"/>
                    </a:cubicBezTo>
                    <a:cubicBezTo>
                      <a:pt x="9" y="151"/>
                      <a:pt x="9" y="151"/>
                      <a:pt x="9" y="151"/>
                    </a:cubicBezTo>
                    <a:cubicBezTo>
                      <a:pt x="2" y="158"/>
                      <a:pt x="2" y="158"/>
                      <a:pt x="2" y="158"/>
                    </a:cubicBezTo>
                    <a:cubicBezTo>
                      <a:pt x="10" y="162"/>
                      <a:pt x="0" y="174"/>
                      <a:pt x="0" y="174"/>
                    </a:cubicBezTo>
                    <a:cubicBezTo>
                      <a:pt x="18" y="174"/>
                      <a:pt x="18" y="174"/>
                      <a:pt x="18" y="174"/>
                    </a:cubicBezTo>
                    <a:cubicBezTo>
                      <a:pt x="18" y="174"/>
                      <a:pt x="14" y="182"/>
                      <a:pt x="19" y="187"/>
                    </a:cubicBezTo>
                    <a:cubicBezTo>
                      <a:pt x="24" y="192"/>
                      <a:pt x="48" y="195"/>
                      <a:pt x="48" y="195"/>
                    </a:cubicBezTo>
                    <a:cubicBezTo>
                      <a:pt x="54" y="203"/>
                      <a:pt x="54" y="203"/>
                      <a:pt x="54" y="203"/>
                    </a:cubicBezTo>
                    <a:cubicBezTo>
                      <a:pt x="71" y="219"/>
                      <a:pt x="71" y="219"/>
                      <a:pt x="71" y="219"/>
                    </a:cubicBezTo>
                    <a:cubicBezTo>
                      <a:pt x="92" y="213"/>
                      <a:pt x="92" y="213"/>
                      <a:pt x="92" y="213"/>
                    </a:cubicBezTo>
                    <a:cubicBezTo>
                      <a:pt x="107" y="221"/>
                      <a:pt x="107" y="221"/>
                      <a:pt x="107" y="221"/>
                    </a:cubicBezTo>
                    <a:cubicBezTo>
                      <a:pt x="107" y="221"/>
                      <a:pt x="113" y="223"/>
                      <a:pt x="127" y="227"/>
                    </a:cubicBezTo>
                    <a:cubicBezTo>
                      <a:pt x="141" y="231"/>
                      <a:pt x="148" y="245"/>
                      <a:pt x="153" y="252"/>
                    </a:cubicBezTo>
                    <a:cubicBezTo>
                      <a:pt x="158" y="259"/>
                      <a:pt x="167" y="268"/>
                      <a:pt x="179" y="276"/>
                    </a:cubicBezTo>
                    <a:cubicBezTo>
                      <a:pt x="191" y="284"/>
                      <a:pt x="188" y="300"/>
                      <a:pt x="188" y="300"/>
                    </a:cubicBezTo>
                    <a:cubicBezTo>
                      <a:pt x="188" y="300"/>
                      <a:pt x="198" y="308"/>
                      <a:pt x="200" y="315"/>
                    </a:cubicBezTo>
                    <a:cubicBezTo>
                      <a:pt x="202" y="322"/>
                      <a:pt x="192" y="326"/>
                      <a:pt x="192" y="326"/>
                    </a:cubicBezTo>
                    <a:cubicBezTo>
                      <a:pt x="192" y="326"/>
                      <a:pt x="193" y="336"/>
                      <a:pt x="198" y="349"/>
                    </a:cubicBezTo>
                    <a:cubicBezTo>
                      <a:pt x="203" y="362"/>
                      <a:pt x="224" y="364"/>
                      <a:pt x="235" y="368"/>
                    </a:cubicBezTo>
                    <a:cubicBezTo>
                      <a:pt x="246" y="372"/>
                      <a:pt x="260" y="375"/>
                      <a:pt x="274" y="374"/>
                    </a:cubicBezTo>
                    <a:cubicBezTo>
                      <a:pt x="288" y="373"/>
                      <a:pt x="322" y="375"/>
                      <a:pt x="322" y="375"/>
                    </a:cubicBezTo>
                    <a:cubicBezTo>
                      <a:pt x="322" y="375"/>
                      <a:pt x="333" y="380"/>
                      <a:pt x="342" y="382"/>
                    </a:cubicBezTo>
                    <a:cubicBezTo>
                      <a:pt x="351" y="384"/>
                      <a:pt x="358" y="396"/>
                      <a:pt x="361" y="397"/>
                    </a:cubicBezTo>
                    <a:cubicBezTo>
                      <a:pt x="364" y="398"/>
                      <a:pt x="401" y="410"/>
                      <a:pt x="401" y="410"/>
                    </a:cubicBezTo>
                    <a:cubicBezTo>
                      <a:pt x="423" y="413"/>
                      <a:pt x="423" y="413"/>
                      <a:pt x="423" y="413"/>
                    </a:cubicBezTo>
                    <a:cubicBezTo>
                      <a:pt x="430" y="429"/>
                      <a:pt x="430" y="429"/>
                      <a:pt x="430" y="429"/>
                    </a:cubicBezTo>
                    <a:cubicBezTo>
                      <a:pt x="430" y="429"/>
                      <a:pt x="439" y="434"/>
                      <a:pt x="443" y="438"/>
                    </a:cubicBezTo>
                    <a:cubicBezTo>
                      <a:pt x="447" y="442"/>
                      <a:pt x="461" y="461"/>
                      <a:pt x="465" y="467"/>
                    </a:cubicBezTo>
                    <a:cubicBezTo>
                      <a:pt x="469" y="473"/>
                      <a:pt x="502" y="498"/>
                      <a:pt x="502" y="498"/>
                    </a:cubicBezTo>
                    <a:cubicBezTo>
                      <a:pt x="540" y="494"/>
                      <a:pt x="540" y="494"/>
                      <a:pt x="540" y="494"/>
                    </a:cubicBezTo>
                    <a:cubicBezTo>
                      <a:pt x="579" y="499"/>
                      <a:pt x="579" y="499"/>
                      <a:pt x="579" y="499"/>
                    </a:cubicBezTo>
                    <a:cubicBezTo>
                      <a:pt x="610" y="499"/>
                      <a:pt x="610" y="499"/>
                      <a:pt x="610" y="499"/>
                    </a:cubicBezTo>
                    <a:cubicBezTo>
                      <a:pt x="635" y="504"/>
                      <a:pt x="635" y="504"/>
                      <a:pt x="635" y="504"/>
                    </a:cubicBezTo>
                    <a:cubicBezTo>
                      <a:pt x="635" y="504"/>
                      <a:pt x="649" y="493"/>
                      <a:pt x="654" y="493"/>
                    </a:cubicBezTo>
                    <a:cubicBezTo>
                      <a:pt x="659" y="493"/>
                      <a:pt x="679" y="501"/>
                      <a:pt x="679" y="501"/>
                    </a:cubicBezTo>
                    <a:cubicBezTo>
                      <a:pt x="679" y="501"/>
                      <a:pt x="718" y="501"/>
                      <a:pt x="728" y="504"/>
                    </a:cubicBezTo>
                    <a:cubicBezTo>
                      <a:pt x="738" y="507"/>
                      <a:pt x="740" y="522"/>
                      <a:pt x="755" y="527"/>
                    </a:cubicBezTo>
                    <a:cubicBezTo>
                      <a:pt x="770" y="532"/>
                      <a:pt x="781" y="530"/>
                      <a:pt x="795" y="531"/>
                    </a:cubicBezTo>
                    <a:cubicBezTo>
                      <a:pt x="809" y="532"/>
                      <a:pt x="837" y="547"/>
                      <a:pt x="837" y="547"/>
                    </a:cubicBezTo>
                    <a:cubicBezTo>
                      <a:pt x="837" y="547"/>
                      <a:pt x="858" y="538"/>
                      <a:pt x="864" y="538"/>
                    </a:cubicBezTo>
                    <a:cubicBezTo>
                      <a:pt x="870" y="538"/>
                      <a:pt x="873" y="550"/>
                      <a:pt x="873" y="550"/>
                    </a:cubicBezTo>
                    <a:cubicBezTo>
                      <a:pt x="873" y="550"/>
                      <a:pt x="893" y="558"/>
                      <a:pt x="899" y="553"/>
                    </a:cubicBezTo>
                    <a:cubicBezTo>
                      <a:pt x="905" y="548"/>
                      <a:pt x="948" y="519"/>
                      <a:pt x="962" y="513"/>
                    </a:cubicBezTo>
                    <a:cubicBezTo>
                      <a:pt x="976" y="507"/>
                      <a:pt x="1066" y="510"/>
                      <a:pt x="1066" y="510"/>
                    </a:cubicBezTo>
                    <a:cubicBezTo>
                      <a:pt x="1078" y="497"/>
                      <a:pt x="1078" y="497"/>
                      <a:pt x="1078" y="497"/>
                    </a:cubicBezTo>
                    <a:cubicBezTo>
                      <a:pt x="1078" y="497"/>
                      <a:pt x="1095" y="499"/>
                      <a:pt x="1103" y="492"/>
                    </a:cubicBezTo>
                    <a:cubicBezTo>
                      <a:pt x="1111" y="485"/>
                      <a:pt x="1109" y="470"/>
                      <a:pt x="1112" y="463"/>
                    </a:cubicBezTo>
                    <a:cubicBezTo>
                      <a:pt x="1115" y="456"/>
                      <a:pt x="1125" y="459"/>
                      <a:pt x="1129" y="459"/>
                    </a:cubicBezTo>
                    <a:cubicBezTo>
                      <a:pt x="1133" y="459"/>
                      <a:pt x="1143" y="444"/>
                      <a:pt x="1144" y="439"/>
                    </a:cubicBezTo>
                    <a:cubicBezTo>
                      <a:pt x="1145" y="434"/>
                      <a:pt x="1114" y="411"/>
                      <a:pt x="1108" y="407"/>
                    </a:cubicBezTo>
                    <a:cubicBezTo>
                      <a:pt x="1102" y="403"/>
                      <a:pt x="1100" y="383"/>
                      <a:pt x="1106" y="373"/>
                    </a:cubicBezTo>
                    <a:cubicBezTo>
                      <a:pt x="1112" y="363"/>
                      <a:pt x="1130" y="369"/>
                      <a:pt x="1134" y="370"/>
                    </a:cubicBezTo>
                    <a:cubicBezTo>
                      <a:pt x="1138" y="371"/>
                      <a:pt x="1160" y="388"/>
                      <a:pt x="1160" y="388"/>
                    </a:cubicBezTo>
                    <a:cubicBezTo>
                      <a:pt x="1160" y="388"/>
                      <a:pt x="1187" y="387"/>
                      <a:pt x="1194" y="385"/>
                    </a:cubicBezTo>
                    <a:cubicBezTo>
                      <a:pt x="1201" y="383"/>
                      <a:pt x="1212" y="369"/>
                      <a:pt x="1212" y="369"/>
                    </a:cubicBezTo>
                    <a:cubicBezTo>
                      <a:pt x="1212" y="369"/>
                      <a:pt x="1210" y="353"/>
                      <a:pt x="1213" y="350"/>
                    </a:cubicBezTo>
                    <a:cubicBezTo>
                      <a:pt x="1216" y="347"/>
                      <a:pt x="1262" y="350"/>
                      <a:pt x="1262" y="350"/>
                    </a:cubicBezTo>
                    <a:cubicBezTo>
                      <a:pt x="1278" y="336"/>
                      <a:pt x="1278" y="336"/>
                      <a:pt x="1278" y="336"/>
                    </a:cubicBezTo>
                    <a:cubicBezTo>
                      <a:pt x="1278" y="336"/>
                      <a:pt x="1263" y="325"/>
                      <a:pt x="1270" y="314"/>
                    </a:cubicBezTo>
                    <a:cubicBezTo>
                      <a:pt x="1277" y="303"/>
                      <a:pt x="1302" y="302"/>
                      <a:pt x="1302" y="302"/>
                    </a:cubicBezTo>
                    <a:cubicBezTo>
                      <a:pt x="1302" y="291"/>
                      <a:pt x="1302" y="291"/>
                      <a:pt x="1302" y="291"/>
                    </a:cubicBezTo>
                    <a:cubicBezTo>
                      <a:pt x="1320" y="294"/>
                      <a:pt x="1320" y="294"/>
                      <a:pt x="1320" y="294"/>
                    </a:cubicBezTo>
                    <a:cubicBezTo>
                      <a:pt x="1326" y="291"/>
                      <a:pt x="1326" y="291"/>
                      <a:pt x="1326" y="291"/>
                    </a:cubicBezTo>
                    <a:cubicBezTo>
                      <a:pt x="1335" y="282"/>
                      <a:pt x="1335" y="282"/>
                      <a:pt x="1335" y="282"/>
                    </a:cubicBezTo>
                    <a:cubicBezTo>
                      <a:pt x="1335" y="282"/>
                      <a:pt x="1346" y="279"/>
                      <a:pt x="1355" y="279"/>
                    </a:cubicBezTo>
                    <a:cubicBezTo>
                      <a:pt x="1364" y="279"/>
                      <a:pt x="1372" y="288"/>
                      <a:pt x="1372" y="288"/>
                    </a:cubicBezTo>
                    <a:cubicBezTo>
                      <a:pt x="1372" y="288"/>
                      <a:pt x="1390" y="287"/>
                      <a:pt x="1398" y="286"/>
                    </a:cubicBezTo>
                    <a:cubicBezTo>
                      <a:pt x="1406" y="285"/>
                      <a:pt x="1403" y="279"/>
                      <a:pt x="1394" y="273"/>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90" name="Malaysia">
                <a:extLst>
                  <a:ext uri="{FF2B5EF4-FFF2-40B4-BE49-F238E27FC236}">
                    <a16:creationId xmlns:a16="http://schemas.microsoft.com/office/drawing/2014/main" id="{CF6772A1-CEB4-439F-9CC8-3FF05BFF7893}"/>
                  </a:ext>
                </a:extLst>
              </p:cNvPr>
              <p:cNvSpPr>
                <a:spLocks/>
              </p:cNvSpPr>
              <p:nvPr/>
            </p:nvSpPr>
            <p:spPr bwMode="gray">
              <a:xfrm>
                <a:off x="8531356" y="3859818"/>
                <a:ext cx="258807" cy="198346"/>
              </a:xfrm>
              <a:custGeom>
                <a:avLst/>
                <a:gdLst>
                  <a:gd name="T0" fmla="*/ 9 w 461"/>
                  <a:gd name="T1" fmla="*/ 338 h 355"/>
                  <a:gd name="T2" fmla="*/ 43 w 461"/>
                  <a:gd name="T3" fmla="*/ 352 h 355"/>
                  <a:gd name="T4" fmla="*/ 61 w 461"/>
                  <a:gd name="T5" fmla="*/ 342 h 355"/>
                  <a:gd name="T6" fmla="*/ 98 w 461"/>
                  <a:gd name="T7" fmla="*/ 345 h 355"/>
                  <a:gd name="T8" fmla="*/ 121 w 461"/>
                  <a:gd name="T9" fmla="*/ 318 h 355"/>
                  <a:gd name="T10" fmla="*/ 150 w 461"/>
                  <a:gd name="T11" fmla="*/ 318 h 355"/>
                  <a:gd name="T12" fmla="*/ 182 w 461"/>
                  <a:gd name="T13" fmla="*/ 335 h 355"/>
                  <a:gd name="T14" fmla="*/ 203 w 461"/>
                  <a:gd name="T15" fmla="*/ 322 h 355"/>
                  <a:gd name="T16" fmla="*/ 219 w 461"/>
                  <a:gd name="T17" fmla="*/ 322 h 355"/>
                  <a:gd name="T18" fmla="*/ 236 w 461"/>
                  <a:gd name="T19" fmla="*/ 299 h 355"/>
                  <a:gd name="T20" fmla="*/ 235 w 461"/>
                  <a:gd name="T21" fmla="*/ 287 h 355"/>
                  <a:gd name="T22" fmla="*/ 257 w 461"/>
                  <a:gd name="T23" fmla="*/ 268 h 355"/>
                  <a:gd name="T24" fmla="*/ 252 w 461"/>
                  <a:gd name="T25" fmla="*/ 243 h 355"/>
                  <a:gd name="T26" fmla="*/ 265 w 461"/>
                  <a:gd name="T27" fmla="*/ 235 h 355"/>
                  <a:gd name="T28" fmla="*/ 275 w 461"/>
                  <a:gd name="T29" fmla="*/ 204 h 355"/>
                  <a:gd name="T30" fmla="*/ 284 w 461"/>
                  <a:gd name="T31" fmla="*/ 165 h 355"/>
                  <a:gd name="T32" fmla="*/ 344 w 461"/>
                  <a:gd name="T33" fmla="*/ 166 h 355"/>
                  <a:gd name="T34" fmla="*/ 375 w 461"/>
                  <a:gd name="T35" fmla="*/ 190 h 355"/>
                  <a:gd name="T36" fmla="*/ 374 w 461"/>
                  <a:gd name="T37" fmla="*/ 189 h 355"/>
                  <a:gd name="T38" fmla="*/ 387 w 461"/>
                  <a:gd name="T39" fmla="*/ 186 h 355"/>
                  <a:gd name="T40" fmla="*/ 378 w 461"/>
                  <a:gd name="T41" fmla="*/ 144 h 355"/>
                  <a:gd name="T42" fmla="*/ 402 w 461"/>
                  <a:gd name="T43" fmla="*/ 162 h 355"/>
                  <a:gd name="T44" fmla="*/ 427 w 461"/>
                  <a:gd name="T45" fmla="*/ 160 h 355"/>
                  <a:gd name="T46" fmla="*/ 408 w 461"/>
                  <a:gd name="T47" fmla="*/ 126 h 355"/>
                  <a:gd name="T48" fmla="*/ 444 w 461"/>
                  <a:gd name="T49" fmla="*/ 131 h 355"/>
                  <a:gd name="T50" fmla="*/ 461 w 461"/>
                  <a:gd name="T51" fmla="*/ 111 h 355"/>
                  <a:gd name="T52" fmla="*/ 444 w 461"/>
                  <a:gd name="T53" fmla="*/ 105 h 355"/>
                  <a:gd name="T54" fmla="*/ 433 w 461"/>
                  <a:gd name="T55" fmla="*/ 88 h 355"/>
                  <a:gd name="T56" fmla="*/ 393 w 461"/>
                  <a:gd name="T57" fmla="*/ 77 h 355"/>
                  <a:gd name="T58" fmla="*/ 380 w 461"/>
                  <a:gd name="T59" fmla="*/ 46 h 355"/>
                  <a:gd name="T60" fmla="*/ 354 w 461"/>
                  <a:gd name="T61" fmla="*/ 42 h 355"/>
                  <a:gd name="T62" fmla="*/ 343 w 461"/>
                  <a:gd name="T63" fmla="*/ 1 h 355"/>
                  <a:gd name="T64" fmla="*/ 339 w 461"/>
                  <a:gd name="T65" fmla="*/ 14 h 355"/>
                  <a:gd name="T66" fmla="*/ 329 w 461"/>
                  <a:gd name="T67" fmla="*/ 0 h 355"/>
                  <a:gd name="T68" fmla="*/ 323 w 461"/>
                  <a:gd name="T69" fmla="*/ 41 h 355"/>
                  <a:gd name="T70" fmla="*/ 301 w 461"/>
                  <a:gd name="T71" fmla="*/ 50 h 355"/>
                  <a:gd name="T72" fmla="*/ 293 w 461"/>
                  <a:gd name="T73" fmla="*/ 77 h 355"/>
                  <a:gd name="T74" fmla="*/ 276 w 461"/>
                  <a:gd name="T75" fmla="*/ 83 h 355"/>
                  <a:gd name="T76" fmla="*/ 283 w 461"/>
                  <a:gd name="T77" fmla="*/ 107 h 355"/>
                  <a:gd name="T78" fmla="*/ 243 w 461"/>
                  <a:gd name="T79" fmla="*/ 101 h 355"/>
                  <a:gd name="T80" fmla="*/ 227 w 461"/>
                  <a:gd name="T81" fmla="*/ 136 h 355"/>
                  <a:gd name="T82" fmla="*/ 200 w 461"/>
                  <a:gd name="T83" fmla="*/ 166 h 355"/>
                  <a:gd name="T84" fmla="*/ 176 w 461"/>
                  <a:gd name="T85" fmla="*/ 213 h 355"/>
                  <a:gd name="T86" fmla="*/ 110 w 461"/>
                  <a:gd name="T87" fmla="*/ 235 h 355"/>
                  <a:gd name="T88" fmla="*/ 69 w 461"/>
                  <a:gd name="T89" fmla="*/ 262 h 355"/>
                  <a:gd name="T90" fmla="*/ 60 w 461"/>
                  <a:gd name="T91" fmla="*/ 285 h 355"/>
                  <a:gd name="T92" fmla="*/ 65 w 461"/>
                  <a:gd name="T93" fmla="*/ 317 h 355"/>
                  <a:gd name="T94" fmla="*/ 23 w 461"/>
                  <a:gd name="T95" fmla="*/ 305 h 355"/>
                  <a:gd name="T96" fmla="*/ 0 w 461"/>
                  <a:gd name="T97" fmla="*/ 322 h 355"/>
                  <a:gd name="T98" fmla="*/ 0 w 461"/>
                  <a:gd name="T99" fmla="*/ 322 h 355"/>
                  <a:gd name="T100" fmla="*/ 9 w 461"/>
                  <a:gd name="T101" fmla="*/ 33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 h="355">
                    <a:moveTo>
                      <a:pt x="9" y="338"/>
                    </a:moveTo>
                    <a:cubicBezTo>
                      <a:pt x="17" y="347"/>
                      <a:pt x="39" y="355"/>
                      <a:pt x="43" y="352"/>
                    </a:cubicBezTo>
                    <a:cubicBezTo>
                      <a:pt x="47" y="350"/>
                      <a:pt x="46" y="342"/>
                      <a:pt x="61" y="342"/>
                    </a:cubicBezTo>
                    <a:cubicBezTo>
                      <a:pt x="75" y="342"/>
                      <a:pt x="88" y="351"/>
                      <a:pt x="98" y="345"/>
                    </a:cubicBezTo>
                    <a:cubicBezTo>
                      <a:pt x="108" y="339"/>
                      <a:pt x="121" y="318"/>
                      <a:pt x="121" y="318"/>
                    </a:cubicBezTo>
                    <a:cubicBezTo>
                      <a:pt x="121" y="318"/>
                      <a:pt x="146" y="315"/>
                      <a:pt x="150" y="318"/>
                    </a:cubicBezTo>
                    <a:cubicBezTo>
                      <a:pt x="154" y="320"/>
                      <a:pt x="179" y="336"/>
                      <a:pt x="182" y="335"/>
                    </a:cubicBezTo>
                    <a:cubicBezTo>
                      <a:pt x="185" y="335"/>
                      <a:pt x="203" y="322"/>
                      <a:pt x="203" y="322"/>
                    </a:cubicBezTo>
                    <a:cubicBezTo>
                      <a:pt x="219" y="322"/>
                      <a:pt x="219" y="322"/>
                      <a:pt x="219" y="322"/>
                    </a:cubicBezTo>
                    <a:cubicBezTo>
                      <a:pt x="236" y="299"/>
                      <a:pt x="236" y="299"/>
                      <a:pt x="236" y="299"/>
                    </a:cubicBezTo>
                    <a:cubicBezTo>
                      <a:pt x="235" y="287"/>
                      <a:pt x="235" y="287"/>
                      <a:pt x="235" y="287"/>
                    </a:cubicBezTo>
                    <a:cubicBezTo>
                      <a:pt x="257" y="268"/>
                      <a:pt x="257" y="268"/>
                      <a:pt x="257" y="268"/>
                    </a:cubicBezTo>
                    <a:cubicBezTo>
                      <a:pt x="257" y="268"/>
                      <a:pt x="245" y="252"/>
                      <a:pt x="252" y="243"/>
                    </a:cubicBezTo>
                    <a:cubicBezTo>
                      <a:pt x="258" y="234"/>
                      <a:pt x="265" y="235"/>
                      <a:pt x="265" y="235"/>
                    </a:cubicBezTo>
                    <a:cubicBezTo>
                      <a:pt x="265" y="235"/>
                      <a:pt x="274" y="220"/>
                      <a:pt x="275" y="204"/>
                    </a:cubicBezTo>
                    <a:cubicBezTo>
                      <a:pt x="277" y="188"/>
                      <a:pt x="270" y="166"/>
                      <a:pt x="284" y="165"/>
                    </a:cubicBezTo>
                    <a:cubicBezTo>
                      <a:pt x="299" y="164"/>
                      <a:pt x="340" y="165"/>
                      <a:pt x="344" y="166"/>
                    </a:cubicBezTo>
                    <a:cubicBezTo>
                      <a:pt x="348" y="166"/>
                      <a:pt x="367" y="183"/>
                      <a:pt x="375" y="190"/>
                    </a:cubicBezTo>
                    <a:cubicBezTo>
                      <a:pt x="374" y="189"/>
                      <a:pt x="374" y="189"/>
                      <a:pt x="374" y="189"/>
                    </a:cubicBezTo>
                    <a:cubicBezTo>
                      <a:pt x="387" y="186"/>
                      <a:pt x="387" y="186"/>
                      <a:pt x="387" y="186"/>
                    </a:cubicBezTo>
                    <a:cubicBezTo>
                      <a:pt x="378" y="144"/>
                      <a:pt x="378" y="144"/>
                      <a:pt x="378" y="144"/>
                    </a:cubicBezTo>
                    <a:cubicBezTo>
                      <a:pt x="378" y="144"/>
                      <a:pt x="393" y="160"/>
                      <a:pt x="402" y="162"/>
                    </a:cubicBezTo>
                    <a:cubicBezTo>
                      <a:pt x="412" y="163"/>
                      <a:pt x="427" y="160"/>
                      <a:pt x="427" y="160"/>
                    </a:cubicBezTo>
                    <a:cubicBezTo>
                      <a:pt x="427" y="160"/>
                      <a:pt x="402" y="136"/>
                      <a:pt x="408" y="126"/>
                    </a:cubicBezTo>
                    <a:cubicBezTo>
                      <a:pt x="413" y="115"/>
                      <a:pt x="444" y="131"/>
                      <a:pt x="444" y="131"/>
                    </a:cubicBezTo>
                    <a:cubicBezTo>
                      <a:pt x="461" y="111"/>
                      <a:pt x="461" y="111"/>
                      <a:pt x="461" y="111"/>
                    </a:cubicBezTo>
                    <a:cubicBezTo>
                      <a:pt x="444" y="105"/>
                      <a:pt x="444" y="105"/>
                      <a:pt x="444" y="105"/>
                    </a:cubicBezTo>
                    <a:cubicBezTo>
                      <a:pt x="444" y="105"/>
                      <a:pt x="441" y="93"/>
                      <a:pt x="433" y="88"/>
                    </a:cubicBezTo>
                    <a:cubicBezTo>
                      <a:pt x="425" y="82"/>
                      <a:pt x="393" y="77"/>
                      <a:pt x="393" y="77"/>
                    </a:cubicBezTo>
                    <a:cubicBezTo>
                      <a:pt x="393" y="77"/>
                      <a:pt x="392" y="58"/>
                      <a:pt x="380" y="46"/>
                    </a:cubicBezTo>
                    <a:cubicBezTo>
                      <a:pt x="367" y="33"/>
                      <a:pt x="354" y="42"/>
                      <a:pt x="354" y="42"/>
                    </a:cubicBezTo>
                    <a:cubicBezTo>
                      <a:pt x="343" y="1"/>
                      <a:pt x="343" y="1"/>
                      <a:pt x="343" y="1"/>
                    </a:cubicBezTo>
                    <a:cubicBezTo>
                      <a:pt x="339" y="14"/>
                      <a:pt x="339" y="14"/>
                      <a:pt x="339" y="14"/>
                    </a:cubicBezTo>
                    <a:cubicBezTo>
                      <a:pt x="329" y="0"/>
                      <a:pt x="329" y="0"/>
                      <a:pt x="329" y="0"/>
                    </a:cubicBezTo>
                    <a:cubicBezTo>
                      <a:pt x="323" y="41"/>
                      <a:pt x="323" y="41"/>
                      <a:pt x="323" y="41"/>
                    </a:cubicBezTo>
                    <a:cubicBezTo>
                      <a:pt x="323" y="41"/>
                      <a:pt x="308" y="45"/>
                      <a:pt x="301" y="50"/>
                    </a:cubicBezTo>
                    <a:cubicBezTo>
                      <a:pt x="294" y="55"/>
                      <a:pt x="293" y="77"/>
                      <a:pt x="293" y="77"/>
                    </a:cubicBezTo>
                    <a:cubicBezTo>
                      <a:pt x="276" y="83"/>
                      <a:pt x="276" y="83"/>
                      <a:pt x="276" y="83"/>
                    </a:cubicBezTo>
                    <a:cubicBezTo>
                      <a:pt x="283" y="107"/>
                      <a:pt x="283" y="107"/>
                      <a:pt x="283" y="107"/>
                    </a:cubicBezTo>
                    <a:cubicBezTo>
                      <a:pt x="283" y="107"/>
                      <a:pt x="259" y="104"/>
                      <a:pt x="243" y="101"/>
                    </a:cubicBezTo>
                    <a:cubicBezTo>
                      <a:pt x="228" y="97"/>
                      <a:pt x="227" y="136"/>
                      <a:pt x="227" y="136"/>
                    </a:cubicBezTo>
                    <a:cubicBezTo>
                      <a:pt x="200" y="166"/>
                      <a:pt x="200" y="166"/>
                      <a:pt x="200" y="166"/>
                    </a:cubicBezTo>
                    <a:cubicBezTo>
                      <a:pt x="200" y="166"/>
                      <a:pt x="192" y="201"/>
                      <a:pt x="176" y="213"/>
                    </a:cubicBezTo>
                    <a:cubicBezTo>
                      <a:pt x="160" y="224"/>
                      <a:pt x="119" y="232"/>
                      <a:pt x="110" y="235"/>
                    </a:cubicBezTo>
                    <a:cubicBezTo>
                      <a:pt x="101" y="237"/>
                      <a:pt x="69" y="262"/>
                      <a:pt x="69" y="262"/>
                    </a:cubicBezTo>
                    <a:cubicBezTo>
                      <a:pt x="60" y="285"/>
                      <a:pt x="60" y="285"/>
                      <a:pt x="60" y="285"/>
                    </a:cubicBezTo>
                    <a:cubicBezTo>
                      <a:pt x="60" y="285"/>
                      <a:pt x="84" y="303"/>
                      <a:pt x="65" y="317"/>
                    </a:cubicBezTo>
                    <a:cubicBezTo>
                      <a:pt x="47" y="331"/>
                      <a:pt x="34" y="308"/>
                      <a:pt x="23" y="305"/>
                    </a:cubicBezTo>
                    <a:cubicBezTo>
                      <a:pt x="13" y="303"/>
                      <a:pt x="0" y="322"/>
                      <a:pt x="0" y="322"/>
                    </a:cubicBezTo>
                    <a:cubicBezTo>
                      <a:pt x="0" y="322"/>
                      <a:pt x="0" y="322"/>
                      <a:pt x="0" y="322"/>
                    </a:cubicBezTo>
                    <a:cubicBezTo>
                      <a:pt x="3" y="328"/>
                      <a:pt x="5" y="334"/>
                      <a:pt x="9" y="338"/>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91" name="Malaysia">
                <a:extLst>
                  <a:ext uri="{FF2B5EF4-FFF2-40B4-BE49-F238E27FC236}">
                    <a16:creationId xmlns:a16="http://schemas.microsoft.com/office/drawing/2014/main" id="{828220DC-92C0-4718-B3A1-47FDA8C3E46C}"/>
                  </a:ext>
                </a:extLst>
              </p:cNvPr>
              <p:cNvSpPr>
                <a:spLocks/>
              </p:cNvSpPr>
              <p:nvPr/>
            </p:nvSpPr>
            <p:spPr bwMode="gray">
              <a:xfrm>
                <a:off x="8266196" y="3880447"/>
                <a:ext cx="115907" cy="163437"/>
              </a:xfrm>
              <a:custGeom>
                <a:avLst/>
                <a:gdLst>
                  <a:gd name="T0" fmla="*/ 1 w 207"/>
                  <a:gd name="T1" fmla="*/ 30 h 293"/>
                  <a:gd name="T2" fmla="*/ 6 w 207"/>
                  <a:gd name="T3" fmla="*/ 91 h 293"/>
                  <a:gd name="T4" fmla="*/ 38 w 207"/>
                  <a:gd name="T5" fmla="*/ 99 h 293"/>
                  <a:gd name="T6" fmla="*/ 39 w 207"/>
                  <a:gd name="T7" fmla="*/ 153 h 293"/>
                  <a:gd name="T8" fmla="*/ 62 w 207"/>
                  <a:gd name="T9" fmla="*/ 153 h 293"/>
                  <a:gd name="T10" fmla="*/ 65 w 207"/>
                  <a:gd name="T11" fmla="*/ 203 h 293"/>
                  <a:gd name="T12" fmla="*/ 114 w 207"/>
                  <a:gd name="T13" fmla="*/ 236 h 293"/>
                  <a:gd name="T14" fmla="*/ 121 w 207"/>
                  <a:gd name="T15" fmla="*/ 258 h 293"/>
                  <a:gd name="T16" fmla="*/ 153 w 207"/>
                  <a:gd name="T17" fmla="*/ 271 h 293"/>
                  <a:gd name="T18" fmla="*/ 169 w 207"/>
                  <a:gd name="T19" fmla="*/ 293 h 293"/>
                  <a:gd name="T20" fmla="*/ 202 w 207"/>
                  <a:gd name="T21" fmla="*/ 290 h 293"/>
                  <a:gd name="T22" fmla="*/ 205 w 207"/>
                  <a:gd name="T23" fmla="*/ 252 h 293"/>
                  <a:gd name="T24" fmla="*/ 172 w 207"/>
                  <a:gd name="T25" fmla="*/ 210 h 293"/>
                  <a:gd name="T26" fmla="*/ 170 w 207"/>
                  <a:gd name="T27" fmla="*/ 184 h 293"/>
                  <a:gd name="T28" fmla="*/ 168 w 207"/>
                  <a:gd name="T29" fmla="*/ 160 h 293"/>
                  <a:gd name="T30" fmla="*/ 167 w 207"/>
                  <a:gd name="T31" fmla="*/ 87 h 293"/>
                  <a:gd name="T32" fmla="*/ 115 w 207"/>
                  <a:gd name="T33" fmla="*/ 41 h 293"/>
                  <a:gd name="T34" fmla="*/ 103 w 207"/>
                  <a:gd name="T35" fmla="*/ 31 h 293"/>
                  <a:gd name="T36" fmla="*/ 91 w 207"/>
                  <a:gd name="T37" fmla="*/ 55 h 293"/>
                  <a:gd name="T38" fmla="*/ 72 w 207"/>
                  <a:gd name="T39" fmla="*/ 47 h 293"/>
                  <a:gd name="T40" fmla="*/ 49 w 207"/>
                  <a:gd name="T41" fmla="*/ 54 h 293"/>
                  <a:gd name="T42" fmla="*/ 52 w 207"/>
                  <a:gd name="T43" fmla="*/ 32 h 293"/>
                  <a:gd name="T44" fmla="*/ 45 w 207"/>
                  <a:gd name="T45" fmla="*/ 28 h 293"/>
                  <a:gd name="T46" fmla="*/ 39 w 207"/>
                  <a:gd name="T47" fmla="*/ 16 h 293"/>
                  <a:gd name="T48" fmla="*/ 21 w 207"/>
                  <a:gd name="T49" fmla="*/ 12 h 293"/>
                  <a:gd name="T50" fmla="*/ 12 w 207"/>
                  <a:gd name="T51" fmla="*/ 1 h 293"/>
                  <a:gd name="T52" fmla="*/ 7 w 207"/>
                  <a:gd name="T53" fmla="*/ 17 h 293"/>
                  <a:gd name="T54" fmla="*/ 0 w 207"/>
                  <a:gd name="T55" fmla="*/ 29 h 293"/>
                  <a:gd name="T56" fmla="*/ 1 w 207"/>
                  <a:gd name="T57" fmla="*/ 3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7" h="293">
                    <a:moveTo>
                      <a:pt x="1" y="30"/>
                    </a:moveTo>
                    <a:cubicBezTo>
                      <a:pt x="6" y="91"/>
                      <a:pt x="6" y="91"/>
                      <a:pt x="6" y="91"/>
                    </a:cubicBezTo>
                    <a:cubicBezTo>
                      <a:pt x="6" y="91"/>
                      <a:pt x="38" y="79"/>
                      <a:pt x="38" y="99"/>
                    </a:cubicBezTo>
                    <a:cubicBezTo>
                      <a:pt x="37" y="119"/>
                      <a:pt x="28" y="141"/>
                      <a:pt x="39" y="153"/>
                    </a:cubicBezTo>
                    <a:cubicBezTo>
                      <a:pt x="50" y="166"/>
                      <a:pt x="62" y="153"/>
                      <a:pt x="62" y="153"/>
                    </a:cubicBezTo>
                    <a:cubicBezTo>
                      <a:pt x="62" y="153"/>
                      <a:pt x="55" y="194"/>
                      <a:pt x="65" y="203"/>
                    </a:cubicBezTo>
                    <a:cubicBezTo>
                      <a:pt x="75" y="212"/>
                      <a:pt x="114" y="236"/>
                      <a:pt x="114" y="236"/>
                    </a:cubicBezTo>
                    <a:cubicBezTo>
                      <a:pt x="114" y="236"/>
                      <a:pt x="116" y="256"/>
                      <a:pt x="121" y="258"/>
                    </a:cubicBezTo>
                    <a:cubicBezTo>
                      <a:pt x="126" y="259"/>
                      <a:pt x="153" y="271"/>
                      <a:pt x="153" y="271"/>
                    </a:cubicBezTo>
                    <a:cubicBezTo>
                      <a:pt x="169" y="293"/>
                      <a:pt x="169" y="293"/>
                      <a:pt x="169" y="293"/>
                    </a:cubicBezTo>
                    <a:cubicBezTo>
                      <a:pt x="202" y="290"/>
                      <a:pt x="202" y="290"/>
                      <a:pt x="202" y="290"/>
                    </a:cubicBezTo>
                    <a:cubicBezTo>
                      <a:pt x="202" y="290"/>
                      <a:pt x="207" y="270"/>
                      <a:pt x="205" y="252"/>
                    </a:cubicBezTo>
                    <a:cubicBezTo>
                      <a:pt x="203" y="235"/>
                      <a:pt x="173" y="215"/>
                      <a:pt x="172" y="210"/>
                    </a:cubicBezTo>
                    <a:cubicBezTo>
                      <a:pt x="171" y="205"/>
                      <a:pt x="177" y="193"/>
                      <a:pt x="170" y="184"/>
                    </a:cubicBezTo>
                    <a:cubicBezTo>
                      <a:pt x="162" y="175"/>
                      <a:pt x="168" y="173"/>
                      <a:pt x="168" y="160"/>
                    </a:cubicBezTo>
                    <a:cubicBezTo>
                      <a:pt x="169" y="148"/>
                      <a:pt x="172" y="109"/>
                      <a:pt x="167" y="87"/>
                    </a:cubicBezTo>
                    <a:cubicBezTo>
                      <a:pt x="163" y="65"/>
                      <a:pt x="121" y="50"/>
                      <a:pt x="115" y="41"/>
                    </a:cubicBezTo>
                    <a:cubicBezTo>
                      <a:pt x="113" y="38"/>
                      <a:pt x="108" y="34"/>
                      <a:pt x="103" y="31"/>
                    </a:cubicBezTo>
                    <a:cubicBezTo>
                      <a:pt x="100" y="39"/>
                      <a:pt x="95" y="50"/>
                      <a:pt x="91" y="55"/>
                    </a:cubicBezTo>
                    <a:cubicBezTo>
                      <a:pt x="85" y="63"/>
                      <a:pt x="83" y="46"/>
                      <a:pt x="72" y="47"/>
                    </a:cubicBezTo>
                    <a:cubicBezTo>
                      <a:pt x="61" y="48"/>
                      <a:pt x="62" y="58"/>
                      <a:pt x="49" y="54"/>
                    </a:cubicBezTo>
                    <a:cubicBezTo>
                      <a:pt x="36" y="50"/>
                      <a:pt x="52" y="38"/>
                      <a:pt x="52" y="32"/>
                    </a:cubicBezTo>
                    <a:cubicBezTo>
                      <a:pt x="52" y="26"/>
                      <a:pt x="45" y="28"/>
                      <a:pt x="45" y="28"/>
                    </a:cubicBezTo>
                    <a:cubicBezTo>
                      <a:pt x="45" y="28"/>
                      <a:pt x="46" y="20"/>
                      <a:pt x="39" y="16"/>
                    </a:cubicBezTo>
                    <a:cubicBezTo>
                      <a:pt x="32" y="12"/>
                      <a:pt x="21" y="12"/>
                      <a:pt x="21" y="12"/>
                    </a:cubicBezTo>
                    <a:cubicBezTo>
                      <a:pt x="21" y="12"/>
                      <a:pt x="19" y="0"/>
                      <a:pt x="12" y="1"/>
                    </a:cubicBezTo>
                    <a:cubicBezTo>
                      <a:pt x="5" y="2"/>
                      <a:pt x="6" y="8"/>
                      <a:pt x="7" y="17"/>
                    </a:cubicBezTo>
                    <a:cubicBezTo>
                      <a:pt x="7" y="21"/>
                      <a:pt x="4" y="25"/>
                      <a:pt x="0" y="29"/>
                    </a:cubicBezTo>
                    <a:cubicBezTo>
                      <a:pt x="1" y="29"/>
                      <a:pt x="1" y="30"/>
                      <a:pt x="1" y="30"/>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92" name="Lebanon">
                <a:extLst>
                  <a:ext uri="{FF2B5EF4-FFF2-40B4-BE49-F238E27FC236}">
                    <a16:creationId xmlns:a16="http://schemas.microsoft.com/office/drawing/2014/main" id="{B1DF3862-3E22-40D1-8794-2666D12A8437}"/>
                  </a:ext>
                </a:extLst>
              </p:cNvPr>
              <p:cNvSpPr>
                <a:spLocks/>
              </p:cNvSpPr>
              <p:nvPr/>
            </p:nvSpPr>
            <p:spPr bwMode="gray">
              <a:xfrm>
                <a:off x="6506940" y="3041047"/>
                <a:ext cx="42869" cy="58711"/>
              </a:xfrm>
              <a:custGeom>
                <a:avLst/>
                <a:gdLst>
                  <a:gd name="T0" fmla="*/ 46 w 76"/>
                  <a:gd name="T1" fmla="*/ 66 h 105"/>
                  <a:gd name="T2" fmla="*/ 50 w 76"/>
                  <a:gd name="T3" fmla="*/ 46 h 105"/>
                  <a:gd name="T4" fmla="*/ 71 w 76"/>
                  <a:gd name="T5" fmla="*/ 34 h 105"/>
                  <a:gd name="T6" fmla="*/ 64 w 76"/>
                  <a:gd name="T7" fmla="*/ 10 h 105"/>
                  <a:gd name="T8" fmla="*/ 65 w 76"/>
                  <a:gd name="T9" fmla="*/ 0 h 105"/>
                  <a:gd name="T10" fmla="*/ 40 w 76"/>
                  <a:gd name="T11" fmla="*/ 0 h 105"/>
                  <a:gd name="T12" fmla="*/ 37 w 76"/>
                  <a:gd name="T13" fmla="*/ 0 h 105"/>
                  <a:gd name="T14" fmla="*/ 36 w 76"/>
                  <a:gd name="T15" fmla="*/ 5 h 105"/>
                  <a:gd name="T16" fmla="*/ 20 w 76"/>
                  <a:gd name="T17" fmla="*/ 21 h 105"/>
                  <a:gd name="T18" fmla="*/ 11 w 76"/>
                  <a:gd name="T19" fmla="*/ 45 h 105"/>
                  <a:gd name="T20" fmla="*/ 0 w 76"/>
                  <a:gd name="T21" fmla="*/ 89 h 105"/>
                  <a:gd name="T22" fmla="*/ 1 w 76"/>
                  <a:gd name="T23" fmla="*/ 105 h 105"/>
                  <a:gd name="T24" fmla="*/ 6 w 76"/>
                  <a:gd name="T25" fmla="*/ 100 h 105"/>
                  <a:gd name="T26" fmla="*/ 13 w 76"/>
                  <a:gd name="T27" fmla="*/ 87 h 105"/>
                  <a:gd name="T28" fmla="*/ 27 w 76"/>
                  <a:gd name="T29" fmla="*/ 86 h 105"/>
                  <a:gd name="T30" fmla="*/ 31 w 76"/>
                  <a:gd name="T31" fmla="*/ 69 h 105"/>
                  <a:gd name="T32" fmla="*/ 46 w 76"/>
                  <a:gd name="T33" fmla="*/ 6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05">
                    <a:moveTo>
                      <a:pt x="46" y="66"/>
                    </a:moveTo>
                    <a:cubicBezTo>
                      <a:pt x="46" y="66"/>
                      <a:pt x="41" y="49"/>
                      <a:pt x="50" y="46"/>
                    </a:cubicBezTo>
                    <a:cubicBezTo>
                      <a:pt x="59" y="43"/>
                      <a:pt x="66" y="46"/>
                      <a:pt x="71" y="34"/>
                    </a:cubicBezTo>
                    <a:cubicBezTo>
                      <a:pt x="76" y="22"/>
                      <a:pt x="64" y="10"/>
                      <a:pt x="64" y="10"/>
                    </a:cubicBezTo>
                    <a:cubicBezTo>
                      <a:pt x="65" y="0"/>
                      <a:pt x="65" y="0"/>
                      <a:pt x="65" y="0"/>
                    </a:cubicBezTo>
                    <a:cubicBezTo>
                      <a:pt x="40" y="0"/>
                      <a:pt x="40" y="0"/>
                      <a:pt x="40" y="0"/>
                    </a:cubicBezTo>
                    <a:cubicBezTo>
                      <a:pt x="37" y="0"/>
                      <a:pt x="37" y="0"/>
                      <a:pt x="37" y="0"/>
                    </a:cubicBezTo>
                    <a:cubicBezTo>
                      <a:pt x="37" y="2"/>
                      <a:pt x="37" y="4"/>
                      <a:pt x="36" y="5"/>
                    </a:cubicBezTo>
                    <a:cubicBezTo>
                      <a:pt x="29" y="15"/>
                      <a:pt x="20" y="21"/>
                      <a:pt x="20" y="21"/>
                    </a:cubicBezTo>
                    <a:cubicBezTo>
                      <a:pt x="11" y="45"/>
                      <a:pt x="11" y="45"/>
                      <a:pt x="11" y="45"/>
                    </a:cubicBezTo>
                    <a:cubicBezTo>
                      <a:pt x="11" y="45"/>
                      <a:pt x="1" y="69"/>
                      <a:pt x="0" y="89"/>
                    </a:cubicBezTo>
                    <a:cubicBezTo>
                      <a:pt x="0" y="94"/>
                      <a:pt x="0" y="100"/>
                      <a:pt x="1" y="105"/>
                    </a:cubicBezTo>
                    <a:cubicBezTo>
                      <a:pt x="6" y="100"/>
                      <a:pt x="6" y="100"/>
                      <a:pt x="6" y="100"/>
                    </a:cubicBezTo>
                    <a:cubicBezTo>
                      <a:pt x="13" y="87"/>
                      <a:pt x="13" y="87"/>
                      <a:pt x="13" y="87"/>
                    </a:cubicBezTo>
                    <a:cubicBezTo>
                      <a:pt x="13" y="87"/>
                      <a:pt x="22" y="93"/>
                      <a:pt x="27" y="86"/>
                    </a:cubicBezTo>
                    <a:cubicBezTo>
                      <a:pt x="32" y="79"/>
                      <a:pt x="31" y="69"/>
                      <a:pt x="31" y="69"/>
                    </a:cubicBezTo>
                    <a:cubicBezTo>
                      <a:pt x="46" y="66"/>
                      <a:pt x="46" y="66"/>
                      <a:pt x="46" y="66"/>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93" name="Laos">
                <a:extLst>
                  <a:ext uri="{FF2B5EF4-FFF2-40B4-BE49-F238E27FC236}">
                    <a16:creationId xmlns:a16="http://schemas.microsoft.com/office/drawing/2014/main" id="{C9FF7721-AEF2-4349-A151-8022C76E65E1}"/>
                  </a:ext>
                </a:extLst>
              </p:cNvPr>
              <p:cNvSpPr>
                <a:spLocks/>
              </p:cNvSpPr>
              <p:nvPr/>
            </p:nvSpPr>
            <p:spPr bwMode="gray">
              <a:xfrm>
                <a:off x="8226503" y="3406003"/>
                <a:ext cx="227051" cy="263403"/>
              </a:xfrm>
              <a:custGeom>
                <a:avLst/>
                <a:gdLst>
                  <a:gd name="T0" fmla="*/ 28 w 404"/>
                  <a:gd name="T1" fmla="*/ 124 h 470"/>
                  <a:gd name="T2" fmla="*/ 47 w 404"/>
                  <a:gd name="T3" fmla="*/ 163 h 470"/>
                  <a:gd name="T4" fmla="*/ 68 w 404"/>
                  <a:gd name="T5" fmla="*/ 160 h 470"/>
                  <a:gd name="T6" fmla="*/ 74 w 404"/>
                  <a:gd name="T7" fmla="*/ 196 h 470"/>
                  <a:gd name="T8" fmla="*/ 73 w 404"/>
                  <a:gd name="T9" fmla="*/ 224 h 470"/>
                  <a:gd name="T10" fmla="*/ 88 w 404"/>
                  <a:gd name="T11" fmla="*/ 254 h 470"/>
                  <a:gd name="T12" fmla="*/ 143 w 404"/>
                  <a:gd name="T13" fmla="*/ 245 h 470"/>
                  <a:gd name="T14" fmla="*/ 187 w 404"/>
                  <a:gd name="T15" fmla="*/ 228 h 470"/>
                  <a:gd name="T16" fmla="*/ 215 w 404"/>
                  <a:gd name="T17" fmla="*/ 247 h 470"/>
                  <a:gd name="T18" fmla="*/ 248 w 404"/>
                  <a:gd name="T19" fmla="*/ 298 h 470"/>
                  <a:gd name="T20" fmla="*/ 283 w 404"/>
                  <a:gd name="T21" fmla="*/ 347 h 470"/>
                  <a:gd name="T22" fmla="*/ 294 w 404"/>
                  <a:gd name="T23" fmla="*/ 367 h 470"/>
                  <a:gd name="T24" fmla="*/ 302 w 404"/>
                  <a:gd name="T25" fmla="*/ 425 h 470"/>
                  <a:gd name="T26" fmla="*/ 290 w 404"/>
                  <a:gd name="T27" fmla="*/ 448 h 470"/>
                  <a:gd name="T28" fmla="*/ 327 w 404"/>
                  <a:gd name="T29" fmla="*/ 462 h 470"/>
                  <a:gd name="T30" fmla="*/ 334 w 404"/>
                  <a:gd name="T31" fmla="*/ 434 h 470"/>
                  <a:gd name="T32" fmla="*/ 365 w 404"/>
                  <a:gd name="T33" fmla="*/ 435 h 470"/>
                  <a:gd name="T34" fmla="*/ 390 w 404"/>
                  <a:gd name="T35" fmla="*/ 430 h 470"/>
                  <a:gd name="T36" fmla="*/ 391 w 404"/>
                  <a:gd name="T37" fmla="*/ 410 h 470"/>
                  <a:gd name="T38" fmla="*/ 369 w 404"/>
                  <a:gd name="T39" fmla="*/ 369 h 470"/>
                  <a:gd name="T40" fmla="*/ 361 w 404"/>
                  <a:gd name="T41" fmla="*/ 331 h 470"/>
                  <a:gd name="T42" fmla="*/ 334 w 404"/>
                  <a:gd name="T43" fmla="*/ 299 h 470"/>
                  <a:gd name="T44" fmla="*/ 319 w 404"/>
                  <a:gd name="T45" fmla="*/ 289 h 470"/>
                  <a:gd name="T46" fmla="*/ 285 w 404"/>
                  <a:gd name="T47" fmla="*/ 236 h 470"/>
                  <a:gd name="T48" fmla="*/ 256 w 404"/>
                  <a:gd name="T49" fmla="*/ 203 h 470"/>
                  <a:gd name="T50" fmla="*/ 193 w 404"/>
                  <a:gd name="T51" fmla="*/ 168 h 470"/>
                  <a:gd name="T52" fmla="*/ 218 w 404"/>
                  <a:gd name="T53" fmla="*/ 156 h 470"/>
                  <a:gd name="T54" fmla="*/ 212 w 404"/>
                  <a:gd name="T55" fmla="*/ 112 h 470"/>
                  <a:gd name="T56" fmla="*/ 184 w 404"/>
                  <a:gd name="T57" fmla="*/ 79 h 470"/>
                  <a:gd name="T58" fmla="*/ 160 w 404"/>
                  <a:gd name="T59" fmla="*/ 90 h 470"/>
                  <a:gd name="T60" fmla="*/ 128 w 404"/>
                  <a:gd name="T61" fmla="*/ 63 h 470"/>
                  <a:gd name="T62" fmla="*/ 118 w 404"/>
                  <a:gd name="T63" fmla="*/ 40 h 470"/>
                  <a:gd name="T64" fmla="*/ 91 w 404"/>
                  <a:gd name="T65" fmla="*/ 2 h 470"/>
                  <a:gd name="T66" fmla="*/ 60 w 404"/>
                  <a:gd name="T67" fmla="*/ 22 h 470"/>
                  <a:gd name="T68" fmla="*/ 79 w 404"/>
                  <a:gd name="T69" fmla="*/ 72 h 470"/>
                  <a:gd name="T70" fmla="*/ 48 w 404"/>
                  <a:gd name="T71" fmla="*/ 57 h 470"/>
                  <a:gd name="T72" fmla="*/ 26 w 404"/>
                  <a:gd name="T73" fmla="*/ 74 h 470"/>
                  <a:gd name="T74" fmla="*/ 26 w 404"/>
                  <a:gd name="T75" fmla="*/ 89 h 470"/>
                  <a:gd name="T76" fmla="*/ 2 w 404"/>
                  <a:gd name="T77" fmla="*/ 11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4" h="470">
                    <a:moveTo>
                      <a:pt x="17" y="121"/>
                    </a:moveTo>
                    <a:cubicBezTo>
                      <a:pt x="17" y="121"/>
                      <a:pt x="27" y="116"/>
                      <a:pt x="28" y="124"/>
                    </a:cubicBezTo>
                    <a:cubicBezTo>
                      <a:pt x="29" y="132"/>
                      <a:pt x="22" y="153"/>
                      <a:pt x="28" y="158"/>
                    </a:cubicBezTo>
                    <a:cubicBezTo>
                      <a:pt x="34" y="163"/>
                      <a:pt x="47" y="163"/>
                      <a:pt x="47" y="163"/>
                    </a:cubicBezTo>
                    <a:cubicBezTo>
                      <a:pt x="45" y="155"/>
                      <a:pt x="45" y="155"/>
                      <a:pt x="45" y="155"/>
                    </a:cubicBezTo>
                    <a:cubicBezTo>
                      <a:pt x="45" y="155"/>
                      <a:pt x="68" y="146"/>
                      <a:pt x="68" y="160"/>
                    </a:cubicBezTo>
                    <a:cubicBezTo>
                      <a:pt x="68" y="174"/>
                      <a:pt x="66" y="180"/>
                      <a:pt x="66" y="180"/>
                    </a:cubicBezTo>
                    <a:cubicBezTo>
                      <a:pt x="66" y="180"/>
                      <a:pt x="74" y="187"/>
                      <a:pt x="74" y="196"/>
                    </a:cubicBezTo>
                    <a:cubicBezTo>
                      <a:pt x="74" y="205"/>
                      <a:pt x="60" y="216"/>
                      <a:pt x="60" y="216"/>
                    </a:cubicBezTo>
                    <a:cubicBezTo>
                      <a:pt x="60" y="216"/>
                      <a:pt x="73" y="215"/>
                      <a:pt x="73" y="224"/>
                    </a:cubicBezTo>
                    <a:cubicBezTo>
                      <a:pt x="73" y="233"/>
                      <a:pt x="49" y="264"/>
                      <a:pt x="59" y="267"/>
                    </a:cubicBezTo>
                    <a:cubicBezTo>
                      <a:pt x="69" y="270"/>
                      <a:pt x="88" y="254"/>
                      <a:pt x="88" y="254"/>
                    </a:cubicBezTo>
                    <a:cubicBezTo>
                      <a:pt x="88" y="254"/>
                      <a:pt x="101" y="229"/>
                      <a:pt x="108" y="231"/>
                    </a:cubicBezTo>
                    <a:cubicBezTo>
                      <a:pt x="115" y="233"/>
                      <a:pt x="129" y="244"/>
                      <a:pt x="143" y="245"/>
                    </a:cubicBezTo>
                    <a:cubicBezTo>
                      <a:pt x="157" y="246"/>
                      <a:pt x="154" y="221"/>
                      <a:pt x="164" y="220"/>
                    </a:cubicBezTo>
                    <a:cubicBezTo>
                      <a:pt x="174" y="219"/>
                      <a:pt x="187" y="228"/>
                      <a:pt x="187" y="228"/>
                    </a:cubicBezTo>
                    <a:cubicBezTo>
                      <a:pt x="187" y="228"/>
                      <a:pt x="194" y="226"/>
                      <a:pt x="202" y="228"/>
                    </a:cubicBezTo>
                    <a:cubicBezTo>
                      <a:pt x="210" y="230"/>
                      <a:pt x="197" y="236"/>
                      <a:pt x="215" y="247"/>
                    </a:cubicBezTo>
                    <a:cubicBezTo>
                      <a:pt x="233" y="258"/>
                      <a:pt x="247" y="270"/>
                      <a:pt x="247" y="270"/>
                    </a:cubicBezTo>
                    <a:cubicBezTo>
                      <a:pt x="248" y="298"/>
                      <a:pt x="248" y="298"/>
                      <a:pt x="248" y="298"/>
                    </a:cubicBezTo>
                    <a:cubicBezTo>
                      <a:pt x="248" y="298"/>
                      <a:pt x="255" y="318"/>
                      <a:pt x="260" y="327"/>
                    </a:cubicBezTo>
                    <a:cubicBezTo>
                      <a:pt x="265" y="336"/>
                      <a:pt x="283" y="343"/>
                      <a:pt x="283" y="347"/>
                    </a:cubicBezTo>
                    <a:cubicBezTo>
                      <a:pt x="283" y="351"/>
                      <a:pt x="285" y="364"/>
                      <a:pt x="285" y="364"/>
                    </a:cubicBezTo>
                    <a:cubicBezTo>
                      <a:pt x="285" y="364"/>
                      <a:pt x="288" y="357"/>
                      <a:pt x="294" y="367"/>
                    </a:cubicBezTo>
                    <a:cubicBezTo>
                      <a:pt x="300" y="377"/>
                      <a:pt x="285" y="390"/>
                      <a:pt x="287" y="394"/>
                    </a:cubicBezTo>
                    <a:cubicBezTo>
                      <a:pt x="289" y="398"/>
                      <a:pt x="312" y="413"/>
                      <a:pt x="302" y="425"/>
                    </a:cubicBezTo>
                    <a:cubicBezTo>
                      <a:pt x="296" y="432"/>
                      <a:pt x="291" y="436"/>
                      <a:pt x="287" y="439"/>
                    </a:cubicBezTo>
                    <a:cubicBezTo>
                      <a:pt x="287" y="442"/>
                      <a:pt x="287" y="447"/>
                      <a:pt x="290" y="448"/>
                    </a:cubicBezTo>
                    <a:cubicBezTo>
                      <a:pt x="294" y="449"/>
                      <a:pt x="310" y="450"/>
                      <a:pt x="310" y="450"/>
                    </a:cubicBezTo>
                    <a:cubicBezTo>
                      <a:pt x="310" y="450"/>
                      <a:pt x="319" y="470"/>
                      <a:pt x="327" y="462"/>
                    </a:cubicBezTo>
                    <a:cubicBezTo>
                      <a:pt x="335" y="454"/>
                      <a:pt x="323" y="442"/>
                      <a:pt x="323" y="442"/>
                    </a:cubicBezTo>
                    <a:cubicBezTo>
                      <a:pt x="334" y="434"/>
                      <a:pt x="334" y="434"/>
                      <a:pt x="334" y="434"/>
                    </a:cubicBezTo>
                    <a:cubicBezTo>
                      <a:pt x="343" y="426"/>
                      <a:pt x="343" y="426"/>
                      <a:pt x="343" y="426"/>
                    </a:cubicBezTo>
                    <a:cubicBezTo>
                      <a:pt x="365" y="435"/>
                      <a:pt x="365" y="435"/>
                      <a:pt x="365" y="435"/>
                    </a:cubicBezTo>
                    <a:cubicBezTo>
                      <a:pt x="373" y="426"/>
                      <a:pt x="373" y="426"/>
                      <a:pt x="373" y="426"/>
                    </a:cubicBezTo>
                    <a:cubicBezTo>
                      <a:pt x="390" y="430"/>
                      <a:pt x="390" y="430"/>
                      <a:pt x="390" y="430"/>
                    </a:cubicBezTo>
                    <a:cubicBezTo>
                      <a:pt x="390" y="430"/>
                      <a:pt x="396" y="431"/>
                      <a:pt x="400" y="423"/>
                    </a:cubicBezTo>
                    <a:cubicBezTo>
                      <a:pt x="404" y="415"/>
                      <a:pt x="391" y="410"/>
                      <a:pt x="391" y="410"/>
                    </a:cubicBezTo>
                    <a:cubicBezTo>
                      <a:pt x="402" y="389"/>
                      <a:pt x="402" y="389"/>
                      <a:pt x="402" y="389"/>
                    </a:cubicBezTo>
                    <a:cubicBezTo>
                      <a:pt x="402" y="389"/>
                      <a:pt x="383" y="380"/>
                      <a:pt x="369" y="369"/>
                    </a:cubicBezTo>
                    <a:cubicBezTo>
                      <a:pt x="355" y="358"/>
                      <a:pt x="369" y="355"/>
                      <a:pt x="377" y="350"/>
                    </a:cubicBezTo>
                    <a:cubicBezTo>
                      <a:pt x="385" y="345"/>
                      <a:pt x="361" y="331"/>
                      <a:pt x="361" y="331"/>
                    </a:cubicBezTo>
                    <a:cubicBezTo>
                      <a:pt x="361" y="331"/>
                      <a:pt x="351" y="330"/>
                      <a:pt x="344" y="323"/>
                    </a:cubicBezTo>
                    <a:cubicBezTo>
                      <a:pt x="337" y="316"/>
                      <a:pt x="334" y="299"/>
                      <a:pt x="334" y="299"/>
                    </a:cubicBezTo>
                    <a:cubicBezTo>
                      <a:pt x="320" y="300"/>
                      <a:pt x="320" y="300"/>
                      <a:pt x="320" y="300"/>
                    </a:cubicBezTo>
                    <a:cubicBezTo>
                      <a:pt x="319" y="289"/>
                      <a:pt x="319" y="289"/>
                      <a:pt x="319" y="289"/>
                    </a:cubicBezTo>
                    <a:cubicBezTo>
                      <a:pt x="319" y="289"/>
                      <a:pt x="308" y="278"/>
                      <a:pt x="295" y="267"/>
                    </a:cubicBezTo>
                    <a:cubicBezTo>
                      <a:pt x="282" y="256"/>
                      <a:pt x="285" y="236"/>
                      <a:pt x="285" y="236"/>
                    </a:cubicBezTo>
                    <a:cubicBezTo>
                      <a:pt x="285" y="236"/>
                      <a:pt x="263" y="228"/>
                      <a:pt x="259" y="224"/>
                    </a:cubicBezTo>
                    <a:cubicBezTo>
                      <a:pt x="255" y="220"/>
                      <a:pt x="256" y="203"/>
                      <a:pt x="256" y="203"/>
                    </a:cubicBezTo>
                    <a:cubicBezTo>
                      <a:pt x="256" y="203"/>
                      <a:pt x="238" y="198"/>
                      <a:pt x="232" y="193"/>
                    </a:cubicBezTo>
                    <a:cubicBezTo>
                      <a:pt x="226" y="188"/>
                      <a:pt x="193" y="168"/>
                      <a:pt x="193" y="168"/>
                    </a:cubicBezTo>
                    <a:cubicBezTo>
                      <a:pt x="193" y="168"/>
                      <a:pt x="193" y="156"/>
                      <a:pt x="191" y="152"/>
                    </a:cubicBezTo>
                    <a:cubicBezTo>
                      <a:pt x="189" y="148"/>
                      <a:pt x="218" y="156"/>
                      <a:pt x="218" y="156"/>
                    </a:cubicBezTo>
                    <a:cubicBezTo>
                      <a:pt x="218" y="156"/>
                      <a:pt x="237" y="142"/>
                      <a:pt x="243" y="132"/>
                    </a:cubicBezTo>
                    <a:cubicBezTo>
                      <a:pt x="249" y="122"/>
                      <a:pt x="230" y="120"/>
                      <a:pt x="212" y="112"/>
                    </a:cubicBezTo>
                    <a:cubicBezTo>
                      <a:pt x="194" y="104"/>
                      <a:pt x="214" y="98"/>
                      <a:pt x="214" y="98"/>
                    </a:cubicBezTo>
                    <a:cubicBezTo>
                      <a:pt x="214" y="98"/>
                      <a:pt x="192" y="80"/>
                      <a:pt x="184" y="79"/>
                    </a:cubicBezTo>
                    <a:cubicBezTo>
                      <a:pt x="176" y="78"/>
                      <a:pt x="179" y="90"/>
                      <a:pt x="172" y="98"/>
                    </a:cubicBezTo>
                    <a:cubicBezTo>
                      <a:pt x="165" y="106"/>
                      <a:pt x="160" y="90"/>
                      <a:pt x="160" y="90"/>
                    </a:cubicBezTo>
                    <a:cubicBezTo>
                      <a:pt x="151" y="90"/>
                      <a:pt x="151" y="90"/>
                      <a:pt x="151" y="90"/>
                    </a:cubicBezTo>
                    <a:cubicBezTo>
                      <a:pt x="151" y="90"/>
                      <a:pt x="138" y="76"/>
                      <a:pt x="128" y="63"/>
                    </a:cubicBezTo>
                    <a:cubicBezTo>
                      <a:pt x="118" y="50"/>
                      <a:pt x="131" y="41"/>
                      <a:pt x="127" y="37"/>
                    </a:cubicBezTo>
                    <a:cubicBezTo>
                      <a:pt x="123" y="33"/>
                      <a:pt x="118" y="40"/>
                      <a:pt x="118" y="40"/>
                    </a:cubicBezTo>
                    <a:cubicBezTo>
                      <a:pt x="118" y="40"/>
                      <a:pt x="102" y="22"/>
                      <a:pt x="96" y="15"/>
                    </a:cubicBezTo>
                    <a:cubicBezTo>
                      <a:pt x="93" y="12"/>
                      <a:pt x="92" y="7"/>
                      <a:pt x="91" y="2"/>
                    </a:cubicBezTo>
                    <a:cubicBezTo>
                      <a:pt x="67" y="0"/>
                      <a:pt x="67" y="0"/>
                      <a:pt x="67" y="0"/>
                    </a:cubicBezTo>
                    <a:cubicBezTo>
                      <a:pt x="67" y="0"/>
                      <a:pt x="59" y="9"/>
                      <a:pt x="60" y="22"/>
                    </a:cubicBezTo>
                    <a:cubicBezTo>
                      <a:pt x="61" y="35"/>
                      <a:pt x="79" y="47"/>
                      <a:pt x="79" y="47"/>
                    </a:cubicBezTo>
                    <a:cubicBezTo>
                      <a:pt x="79" y="72"/>
                      <a:pt x="79" y="72"/>
                      <a:pt x="79" y="72"/>
                    </a:cubicBezTo>
                    <a:cubicBezTo>
                      <a:pt x="50" y="70"/>
                      <a:pt x="50" y="70"/>
                      <a:pt x="50" y="70"/>
                    </a:cubicBezTo>
                    <a:cubicBezTo>
                      <a:pt x="48" y="57"/>
                      <a:pt x="48" y="57"/>
                      <a:pt x="48" y="57"/>
                    </a:cubicBezTo>
                    <a:cubicBezTo>
                      <a:pt x="26" y="67"/>
                      <a:pt x="26" y="67"/>
                      <a:pt x="26" y="67"/>
                    </a:cubicBezTo>
                    <a:cubicBezTo>
                      <a:pt x="26" y="74"/>
                      <a:pt x="26" y="74"/>
                      <a:pt x="26" y="74"/>
                    </a:cubicBezTo>
                    <a:cubicBezTo>
                      <a:pt x="21" y="82"/>
                      <a:pt x="21" y="82"/>
                      <a:pt x="21" y="82"/>
                    </a:cubicBezTo>
                    <a:cubicBezTo>
                      <a:pt x="26" y="89"/>
                      <a:pt x="26" y="89"/>
                      <a:pt x="26" y="89"/>
                    </a:cubicBezTo>
                    <a:cubicBezTo>
                      <a:pt x="26" y="89"/>
                      <a:pt x="18" y="92"/>
                      <a:pt x="9" y="95"/>
                    </a:cubicBezTo>
                    <a:cubicBezTo>
                      <a:pt x="0" y="98"/>
                      <a:pt x="2" y="110"/>
                      <a:pt x="2" y="110"/>
                    </a:cubicBezTo>
                    <a:cubicBezTo>
                      <a:pt x="6" y="111"/>
                      <a:pt x="17" y="121"/>
                      <a:pt x="17" y="12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94" name="Kyrgyzstan">
                <a:extLst>
                  <a:ext uri="{FF2B5EF4-FFF2-40B4-BE49-F238E27FC236}">
                    <a16:creationId xmlns:a16="http://schemas.microsoft.com/office/drawing/2014/main" id="{C907F856-2303-4CEA-84D2-0BA1FE940918}"/>
                  </a:ext>
                </a:extLst>
              </p:cNvPr>
              <p:cNvSpPr>
                <a:spLocks/>
              </p:cNvSpPr>
              <p:nvPr/>
            </p:nvSpPr>
            <p:spPr bwMode="gray">
              <a:xfrm>
                <a:off x="7332583" y="2785579"/>
                <a:ext cx="250869" cy="117421"/>
              </a:xfrm>
              <a:custGeom>
                <a:avLst/>
                <a:gdLst>
                  <a:gd name="T0" fmla="*/ 46 w 449"/>
                  <a:gd name="T1" fmla="*/ 96 h 211"/>
                  <a:gd name="T2" fmla="*/ 76 w 449"/>
                  <a:gd name="T3" fmla="*/ 107 h 211"/>
                  <a:gd name="T4" fmla="*/ 84 w 449"/>
                  <a:gd name="T5" fmla="*/ 98 h 211"/>
                  <a:gd name="T6" fmla="*/ 95 w 449"/>
                  <a:gd name="T7" fmla="*/ 106 h 211"/>
                  <a:gd name="T8" fmla="*/ 114 w 449"/>
                  <a:gd name="T9" fmla="*/ 117 h 211"/>
                  <a:gd name="T10" fmla="*/ 132 w 449"/>
                  <a:gd name="T11" fmla="*/ 124 h 211"/>
                  <a:gd name="T12" fmla="*/ 129 w 449"/>
                  <a:gd name="T13" fmla="*/ 141 h 211"/>
                  <a:gd name="T14" fmla="*/ 115 w 449"/>
                  <a:gd name="T15" fmla="*/ 149 h 211"/>
                  <a:gd name="T16" fmla="*/ 84 w 449"/>
                  <a:gd name="T17" fmla="*/ 152 h 211"/>
                  <a:gd name="T18" fmla="*/ 65 w 449"/>
                  <a:gd name="T19" fmla="*/ 160 h 211"/>
                  <a:gd name="T20" fmla="*/ 25 w 449"/>
                  <a:gd name="T21" fmla="*/ 158 h 211"/>
                  <a:gd name="T22" fmla="*/ 0 w 449"/>
                  <a:gd name="T23" fmla="*/ 177 h 211"/>
                  <a:gd name="T24" fmla="*/ 32 w 449"/>
                  <a:gd name="T25" fmla="*/ 190 h 211"/>
                  <a:gd name="T26" fmla="*/ 66 w 449"/>
                  <a:gd name="T27" fmla="*/ 192 h 211"/>
                  <a:gd name="T28" fmla="*/ 100 w 449"/>
                  <a:gd name="T29" fmla="*/ 191 h 211"/>
                  <a:gd name="T30" fmla="*/ 134 w 449"/>
                  <a:gd name="T31" fmla="*/ 205 h 211"/>
                  <a:gd name="T32" fmla="*/ 154 w 449"/>
                  <a:gd name="T33" fmla="*/ 202 h 211"/>
                  <a:gd name="T34" fmla="*/ 190 w 449"/>
                  <a:gd name="T35" fmla="*/ 194 h 211"/>
                  <a:gd name="T36" fmla="*/ 211 w 449"/>
                  <a:gd name="T37" fmla="*/ 195 h 211"/>
                  <a:gd name="T38" fmla="*/ 231 w 449"/>
                  <a:gd name="T39" fmla="*/ 157 h 211"/>
                  <a:gd name="T40" fmla="*/ 250 w 449"/>
                  <a:gd name="T41" fmla="*/ 145 h 211"/>
                  <a:gd name="T42" fmla="*/ 278 w 449"/>
                  <a:gd name="T43" fmla="*/ 155 h 211"/>
                  <a:gd name="T44" fmla="*/ 304 w 449"/>
                  <a:gd name="T45" fmla="*/ 153 h 211"/>
                  <a:gd name="T46" fmla="*/ 327 w 449"/>
                  <a:gd name="T47" fmla="*/ 112 h 211"/>
                  <a:gd name="T48" fmla="*/ 378 w 449"/>
                  <a:gd name="T49" fmla="*/ 98 h 211"/>
                  <a:gd name="T50" fmla="*/ 429 w 449"/>
                  <a:gd name="T51" fmla="*/ 65 h 211"/>
                  <a:gd name="T52" fmla="*/ 443 w 449"/>
                  <a:gd name="T53" fmla="*/ 46 h 211"/>
                  <a:gd name="T54" fmla="*/ 401 w 449"/>
                  <a:gd name="T55" fmla="*/ 41 h 211"/>
                  <a:gd name="T56" fmla="*/ 372 w 449"/>
                  <a:gd name="T57" fmla="*/ 23 h 211"/>
                  <a:gd name="T58" fmla="*/ 332 w 449"/>
                  <a:gd name="T59" fmla="*/ 16 h 211"/>
                  <a:gd name="T60" fmla="*/ 238 w 449"/>
                  <a:gd name="T61" fmla="*/ 14 h 211"/>
                  <a:gd name="T62" fmla="*/ 194 w 449"/>
                  <a:gd name="T63" fmla="*/ 12 h 211"/>
                  <a:gd name="T64" fmla="*/ 144 w 449"/>
                  <a:gd name="T65" fmla="*/ 5 h 211"/>
                  <a:gd name="T66" fmla="*/ 138 w 449"/>
                  <a:gd name="T67" fmla="*/ 37 h 211"/>
                  <a:gd name="T68" fmla="*/ 61 w 449"/>
                  <a:gd name="T69" fmla="*/ 18 h 211"/>
                  <a:gd name="T70" fmla="*/ 57 w 449"/>
                  <a:gd name="T71" fmla="*/ 5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9" h="211">
                    <a:moveTo>
                      <a:pt x="23" y="88"/>
                    </a:moveTo>
                    <a:cubicBezTo>
                      <a:pt x="46" y="96"/>
                      <a:pt x="46" y="96"/>
                      <a:pt x="46" y="96"/>
                    </a:cubicBezTo>
                    <a:cubicBezTo>
                      <a:pt x="46" y="96"/>
                      <a:pt x="47" y="101"/>
                      <a:pt x="52" y="105"/>
                    </a:cubicBezTo>
                    <a:cubicBezTo>
                      <a:pt x="57" y="109"/>
                      <a:pt x="76" y="107"/>
                      <a:pt x="76" y="107"/>
                    </a:cubicBezTo>
                    <a:cubicBezTo>
                      <a:pt x="75" y="98"/>
                      <a:pt x="75" y="98"/>
                      <a:pt x="75" y="98"/>
                    </a:cubicBezTo>
                    <a:cubicBezTo>
                      <a:pt x="84" y="98"/>
                      <a:pt x="84" y="98"/>
                      <a:pt x="84" y="98"/>
                    </a:cubicBezTo>
                    <a:cubicBezTo>
                      <a:pt x="84" y="88"/>
                      <a:pt x="84" y="88"/>
                      <a:pt x="84" y="88"/>
                    </a:cubicBezTo>
                    <a:cubicBezTo>
                      <a:pt x="95" y="106"/>
                      <a:pt x="95" y="106"/>
                      <a:pt x="95" y="106"/>
                    </a:cubicBezTo>
                    <a:cubicBezTo>
                      <a:pt x="108" y="106"/>
                      <a:pt x="108" y="106"/>
                      <a:pt x="108" y="106"/>
                    </a:cubicBezTo>
                    <a:cubicBezTo>
                      <a:pt x="114" y="117"/>
                      <a:pt x="114" y="117"/>
                      <a:pt x="114" y="117"/>
                    </a:cubicBezTo>
                    <a:cubicBezTo>
                      <a:pt x="127" y="119"/>
                      <a:pt x="127" y="119"/>
                      <a:pt x="127" y="119"/>
                    </a:cubicBezTo>
                    <a:cubicBezTo>
                      <a:pt x="132" y="124"/>
                      <a:pt x="132" y="124"/>
                      <a:pt x="132" y="124"/>
                    </a:cubicBezTo>
                    <a:cubicBezTo>
                      <a:pt x="132" y="124"/>
                      <a:pt x="161" y="118"/>
                      <a:pt x="151" y="130"/>
                    </a:cubicBezTo>
                    <a:cubicBezTo>
                      <a:pt x="141" y="142"/>
                      <a:pt x="129" y="141"/>
                      <a:pt x="129" y="141"/>
                    </a:cubicBezTo>
                    <a:cubicBezTo>
                      <a:pt x="129" y="147"/>
                      <a:pt x="129" y="147"/>
                      <a:pt x="129" y="147"/>
                    </a:cubicBezTo>
                    <a:cubicBezTo>
                      <a:pt x="115" y="149"/>
                      <a:pt x="115" y="149"/>
                      <a:pt x="115" y="149"/>
                    </a:cubicBezTo>
                    <a:cubicBezTo>
                      <a:pt x="115" y="149"/>
                      <a:pt x="113" y="158"/>
                      <a:pt x="104" y="162"/>
                    </a:cubicBezTo>
                    <a:cubicBezTo>
                      <a:pt x="95" y="166"/>
                      <a:pt x="91" y="150"/>
                      <a:pt x="84" y="152"/>
                    </a:cubicBezTo>
                    <a:cubicBezTo>
                      <a:pt x="80" y="153"/>
                      <a:pt x="71" y="156"/>
                      <a:pt x="64" y="159"/>
                    </a:cubicBezTo>
                    <a:cubicBezTo>
                      <a:pt x="65" y="159"/>
                      <a:pt x="65" y="159"/>
                      <a:pt x="65" y="160"/>
                    </a:cubicBezTo>
                    <a:cubicBezTo>
                      <a:pt x="64" y="164"/>
                      <a:pt x="62" y="175"/>
                      <a:pt x="55" y="171"/>
                    </a:cubicBezTo>
                    <a:cubicBezTo>
                      <a:pt x="48" y="167"/>
                      <a:pt x="38" y="157"/>
                      <a:pt x="25" y="158"/>
                    </a:cubicBezTo>
                    <a:cubicBezTo>
                      <a:pt x="12" y="159"/>
                      <a:pt x="9" y="174"/>
                      <a:pt x="9" y="174"/>
                    </a:cubicBezTo>
                    <a:cubicBezTo>
                      <a:pt x="0" y="177"/>
                      <a:pt x="0" y="177"/>
                      <a:pt x="0" y="177"/>
                    </a:cubicBezTo>
                    <a:cubicBezTo>
                      <a:pt x="0" y="177"/>
                      <a:pt x="3" y="197"/>
                      <a:pt x="10" y="196"/>
                    </a:cubicBezTo>
                    <a:cubicBezTo>
                      <a:pt x="17" y="195"/>
                      <a:pt x="32" y="190"/>
                      <a:pt x="32" y="190"/>
                    </a:cubicBezTo>
                    <a:cubicBezTo>
                      <a:pt x="32" y="190"/>
                      <a:pt x="49" y="195"/>
                      <a:pt x="54" y="193"/>
                    </a:cubicBezTo>
                    <a:cubicBezTo>
                      <a:pt x="59" y="191"/>
                      <a:pt x="66" y="192"/>
                      <a:pt x="66" y="192"/>
                    </a:cubicBezTo>
                    <a:cubicBezTo>
                      <a:pt x="66" y="192"/>
                      <a:pt x="72" y="202"/>
                      <a:pt x="78" y="201"/>
                    </a:cubicBezTo>
                    <a:cubicBezTo>
                      <a:pt x="84" y="200"/>
                      <a:pt x="95" y="192"/>
                      <a:pt x="100" y="191"/>
                    </a:cubicBezTo>
                    <a:cubicBezTo>
                      <a:pt x="105" y="190"/>
                      <a:pt x="116" y="208"/>
                      <a:pt x="119" y="208"/>
                    </a:cubicBezTo>
                    <a:cubicBezTo>
                      <a:pt x="122" y="208"/>
                      <a:pt x="134" y="205"/>
                      <a:pt x="134" y="205"/>
                    </a:cubicBezTo>
                    <a:cubicBezTo>
                      <a:pt x="134" y="205"/>
                      <a:pt x="130" y="211"/>
                      <a:pt x="140" y="208"/>
                    </a:cubicBezTo>
                    <a:cubicBezTo>
                      <a:pt x="150" y="205"/>
                      <a:pt x="154" y="202"/>
                      <a:pt x="154" y="202"/>
                    </a:cubicBezTo>
                    <a:cubicBezTo>
                      <a:pt x="182" y="203"/>
                      <a:pt x="182" y="203"/>
                      <a:pt x="182" y="203"/>
                    </a:cubicBezTo>
                    <a:cubicBezTo>
                      <a:pt x="190" y="194"/>
                      <a:pt x="190" y="194"/>
                      <a:pt x="190" y="194"/>
                    </a:cubicBezTo>
                    <a:cubicBezTo>
                      <a:pt x="199" y="197"/>
                      <a:pt x="199" y="197"/>
                      <a:pt x="199" y="197"/>
                    </a:cubicBezTo>
                    <a:cubicBezTo>
                      <a:pt x="199" y="197"/>
                      <a:pt x="211" y="199"/>
                      <a:pt x="211" y="195"/>
                    </a:cubicBezTo>
                    <a:cubicBezTo>
                      <a:pt x="211" y="191"/>
                      <a:pt x="200" y="178"/>
                      <a:pt x="199" y="175"/>
                    </a:cubicBezTo>
                    <a:cubicBezTo>
                      <a:pt x="198" y="172"/>
                      <a:pt x="231" y="157"/>
                      <a:pt x="231" y="157"/>
                    </a:cubicBezTo>
                    <a:cubicBezTo>
                      <a:pt x="231" y="147"/>
                      <a:pt x="231" y="147"/>
                      <a:pt x="231" y="147"/>
                    </a:cubicBezTo>
                    <a:cubicBezTo>
                      <a:pt x="250" y="145"/>
                      <a:pt x="250" y="145"/>
                      <a:pt x="250" y="145"/>
                    </a:cubicBezTo>
                    <a:cubicBezTo>
                      <a:pt x="250" y="145"/>
                      <a:pt x="255" y="136"/>
                      <a:pt x="261" y="136"/>
                    </a:cubicBezTo>
                    <a:cubicBezTo>
                      <a:pt x="267" y="136"/>
                      <a:pt x="278" y="155"/>
                      <a:pt x="278" y="155"/>
                    </a:cubicBezTo>
                    <a:cubicBezTo>
                      <a:pt x="285" y="148"/>
                      <a:pt x="285" y="148"/>
                      <a:pt x="285" y="148"/>
                    </a:cubicBezTo>
                    <a:cubicBezTo>
                      <a:pt x="304" y="153"/>
                      <a:pt x="304" y="153"/>
                      <a:pt x="304" y="153"/>
                    </a:cubicBezTo>
                    <a:cubicBezTo>
                      <a:pt x="304" y="153"/>
                      <a:pt x="309" y="144"/>
                      <a:pt x="310" y="135"/>
                    </a:cubicBezTo>
                    <a:cubicBezTo>
                      <a:pt x="311" y="126"/>
                      <a:pt x="319" y="113"/>
                      <a:pt x="327" y="112"/>
                    </a:cubicBezTo>
                    <a:cubicBezTo>
                      <a:pt x="335" y="111"/>
                      <a:pt x="354" y="119"/>
                      <a:pt x="366" y="119"/>
                    </a:cubicBezTo>
                    <a:cubicBezTo>
                      <a:pt x="378" y="119"/>
                      <a:pt x="378" y="101"/>
                      <a:pt x="378" y="98"/>
                    </a:cubicBezTo>
                    <a:cubicBezTo>
                      <a:pt x="378" y="95"/>
                      <a:pt x="397" y="78"/>
                      <a:pt x="397" y="78"/>
                    </a:cubicBezTo>
                    <a:cubicBezTo>
                      <a:pt x="429" y="65"/>
                      <a:pt x="429" y="65"/>
                      <a:pt x="429" y="65"/>
                    </a:cubicBezTo>
                    <a:cubicBezTo>
                      <a:pt x="429" y="65"/>
                      <a:pt x="443" y="65"/>
                      <a:pt x="446" y="64"/>
                    </a:cubicBezTo>
                    <a:cubicBezTo>
                      <a:pt x="449" y="63"/>
                      <a:pt x="447" y="51"/>
                      <a:pt x="443" y="46"/>
                    </a:cubicBezTo>
                    <a:cubicBezTo>
                      <a:pt x="429" y="41"/>
                      <a:pt x="429" y="41"/>
                      <a:pt x="429" y="41"/>
                    </a:cubicBezTo>
                    <a:cubicBezTo>
                      <a:pt x="401" y="41"/>
                      <a:pt x="401" y="41"/>
                      <a:pt x="401" y="41"/>
                    </a:cubicBezTo>
                    <a:cubicBezTo>
                      <a:pt x="384" y="23"/>
                      <a:pt x="384" y="23"/>
                      <a:pt x="384" y="23"/>
                    </a:cubicBezTo>
                    <a:cubicBezTo>
                      <a:pt x="372" y="23"/>
                      <a:pt x="372" y="23"/>
                      <a:pt x="372" y="23"/>
                    </a:cubicBezTo>
                    <a:cubicBezTo>
                      <a:pt x="364" y="15"/>
                      <a:pt x="364" y="15"/>
                      <a:pt x="364" y="15"/>
                    </a:cubicBezTo>
                    <a:cubicBezTo>
                      <a:pt x="332" y="16"/>
                      <a:pt x="332" y="16"/>
                      <a:pt x="332" y="16"/>
                    </a:cubicBezTo>
                    <a:cubicBezTo>
                      <a:pt x="332" y="16"/>
                      <a:pt x="302" y="12"/>
                      <a:pt x="294" y="13"/>
                    </a:cubicBezTo>
                    <a:cubicBezTo>
                      <a:pt x="286" y="14"/>
                      <a:pt x="238" y="14"/>
                      <a:pt x="238" y="14"/>
                    </a:cubicBezTo>
                    <a:cubicBezTo>
                      <a:pt x="226" y="18"/>
                      <a:pt x="226" y="18"/>
                      <a:pt x="226" y="18"/>
                    </a:cubicBezTo>
                    <a:cubicBezTo>
                      <a:pt x="226" y="18"/>
                      <a:pt x="198" y="12"/>
                      <a:pt x="194" y="12"/>
                    </a:cubicBezTo>
                    <a:cubicBezTo>
                      <a:pt x="190" y="12"/>
                      <a:pt x="180" y="0"/>
                      <a:pt x="170" y="0"/>
                    </a:cubicBezTo>
                    <a:cubicBezTo>
                      <a:pt x="160" y="0"/>
                      <a:pt x="147" y="2"/>
                      <a:pt x="144" y="5"/>
                    </a:cubicBezTo>
                    <a:cubicBezTo>
                      <a:pt x="141" y="8"/>
                      <a:pt x="149" y="43"/>
                      <a:pt x="149" y="43"/>
                    </a:cubicBezTo>
                    <a:cubicBezTo>
                      <a:pt x="138" y="37"/>
                      <a:pt x="138" y="37"/>
                      <a:pt x="138" y="37"/>
                    </a:cubicBezTo>
                    <a:cubicBezTo>
                      <a:pt x="115" y="37"/>
                      <a:pt x="115" y="37"/>
                      <a:pt x="115" y="37"/>
                    </a:cubicBezTo>
                    <a:cubicBezTo>
                      <a:pt x="115" y="37"/>
                      <a:pt x="84" y="17"/>
                      <a:pt x="61" y="18"/>
                    </a:cubicBezTo>
                    <a:cubicBezTo>
                      <a:pt x="38" y="19"/>
                      <a:pt x="37" y="48"/>
                      <a:pt x="37" y="48"/>
                    </a:cubicBezTo>
                    <a:cubicBezTo>
                      <a:pt x="37" y="48"/>
                      <a:pt x="55" y="49"/>
                      <a:pt x="57" y="54"/>
                    </a:cubicBezTo>
                    <a:cubicBezTo>
                      <a:pt x="59" y="59"/>
                      <a:pt x="23" y="88"/>
                      <a:pt x="23" y="88"/>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95" name="Kuwait">
                <a:extLst>
                  <a:ext uri="{FF2B5EF4-FFF2-40B4-BE49-F238E27FC236}">
                    <a16:creationId xmlns:a16="http://schemas.microsoft.com/office/drawing/2014/main" id="{7CACAC6B-F7D9-4DAE-83D8-413D25288E2C}"/>
                  </a:ext>
                </a:extLst>
              </p:cNvPr>
              <p:cNvSpPr>
                <a:spLocks/>
              </p:cNvSpPr>
              <p:nvPr/>
            </p:nvSpPr>
            <p:spPr bwMode="gray">
              <a:xfrm>
                <a:off x="6816557" y="3179097"/>
                <a:ext cx="49221" cy="46017"/>
              </a:xfrm>
              <a:custGeom>
                <a:avLst/>
                <a:gdLst>
                  <a:gd name="T0" fmla="*/ 35 w 89"/>
                  <a:gd name="T1" fmla="*/ 0 h 81"/>
                  <a:gd name="T2" fmla="*/ 20 w 89"/>
                  <a:gd name="T3" fmla="*/ 2 h 81"/>
                  <a:gd name="T4" fmla="*/ 11 w 89"/>
                  <a:gd name="T5" fmla="*/ 29 h 81"/>
                  <a:gd name="T6" fmla="*/ 0 w 89"/>
                  <a:gd name="T7" fmla="*/ 49 h 81"/>
                  <a:gd name="T8" fmla="*/ 40 w 89"/>
                  <a:gd name="T9" fmla="*/ 55 h 81"/>
                  <a:gd name="T10" fmla="*/ 50 w 89"/>
                  <a:gd name="T11" fmla="*/ 81 h 81"/>
                  <a:gd name="T12" fmla="*/ 89 w 89"/>
                  <a:gd name="T13" fmla="*/ 80 h 81"/>
                  <a:gd name="T14" fmla="*/ 64 w 89"/>
                  <a:gd name="T15" fmla="*/ 47 h 81"/>
                  <a:gd name="T16" fmla="*/ 64 w 89"/>
                  <a:gd name="T17" fmla="*/ 46 h 81"/>
                  <a:gd name="T18" fmla="*/ 56 w 89"/>
                  <a:gd name="T19" fmla="*/ 41 h 81"/>
                  <a:gd name="T20" fmla="*/ 55 w 89"/>
                  <a:gd name="T21" fmla="*/ 27 h 81"/>
                  <a:gd name="T22" fmla="*/ 73 w 89"/>
                  <a:gd name="T23" fmla="*/ 25 h 81"/>
                  <a:gd name="T24" fmla="*/ 77 w 89"/>
                  <a:gd name="T25" fmla="*/ 16 h 81"/>
                  <a:gd name="T26" fmla="*/ 68 w 89"/>
                  <a:gd name="T27" fmla="*/ 8 h 81"/>
                  <a:gd name="T28" fmla="*/ 59 w 89"/>
                  <a:gd name="T29" fmla="*/ 13 h 81"/>
                  <a:gd name="T30" fmla="*/ 55 w 89"/>
                  <a:gd name="T31" fmla="*/ 0 h 81"/>
                  <a:gd name="T32" fmla="*/ 35 w 89"/>
                  <a:gd name="T3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81">
                    <a:moveTo>
                      <a:pt x="35" y="0"/>
                    </a:moveTo>
                    <a:cubicBezTo>
                      <a:pt x="20" y="2"/>
                      <a:pt x="20" y="2"/>
                      <a:pt x="20" y="2"/>
                    </a:cubicBezTo>
                    <a:cubicBezTo>
                      <a:pt x="20" y="2"/>
                      <a:pt x="13" y="17"/>
                      <a:pt x="11" y="29"/>
                    </a:cubicBezTo>
                    <a:cubicBezTo>
                      <a:pt x="10" y="38"/>
                      <a:pt x="3" y="45"/>
                      <a:pt x="0" y="49"/>
                    </a:cubicBezTo>
                    <a:cubicBezTo>
                      <a:pt x="21" y="50"/>
                      <a:pt x="38" y="52"/>
                      <a:pt x="40" y="55"/>
                    </a:cubicBezTo>
                    <a:cubicBezTo>
                      <a:pt x="46" y="62"/>
                      <a:pt x="36" y="80"/>
                      <a:pt x="50" y="81"/>
                    </a:cubicBezTo>
                    <a:cubicBezTo>
                      <a:pt x="58" y="81"/>
                      <a:pt x="76" y="81"/>
                      <a:pt x="89" y="80"/>
                    </a:cubicBezTo>
                    <a:cubicBezTo>
                      <a:pt x="79" y="72"/>
                      <a:pt x="63" y="58"/>
                      <a:pt x="64" y="47"/>
                    </a:cubicBezTo>
                    <a:cubicBezTo>
                      <a:pt x="64" y="47"/>
                      <a:pt x="64" y="47"/>
                      <a:pt x="64" y="46"/>
                    </a:cubicBezTo>
                    <a:cubicBezTo>
                      <a:pt x="56" y="41"/>
                      <a:pt x="56" y="41"/>
                      <a:pt x="56" y="41"/>
                    </a:cubicBezTo>
                    <a:cubicBezTo>
                      <a:pt x="55" y="27"/>
                      <a:pt x="55" y="27"/>
                      <a:pt x="55" y="27"/>
                    </a:cubicBezTo>
                    <a:cubicBezTo>
                      <a:pt x="55" y="27"/>
                      <a:pt x="69" y="25"/>
                      <a:pt x="73" y="25"/>
                    </a:cubicBezTo>
                    <a:cubicBezTo>
                      <a:pt x="77" y="25"/>
                      <a:pt x="77" y="16"/>
                      <a:pt x="77" y="16"/>
                    </a:cubicBezTo>
                    <a:cubicBezTo>
                      <a:pt x="77" y="16"/>
                      <a:pt x="77" y="8"/>
                      <a:pt x="68" y="8"/>
                    </a:cubicBezTo>
                    <a:cubicBezTo>
                      <a:pt x="59" y="8"/>
                      <a:pt x="59" y="13"/>
                      <a:pt x="59" y="13"/>
                    </a:cubicBezTo>
                    <a:cubicBezTo>
                      <a:pt x="55" y="0"/>
                      <a:pt x="55" y="0"/>
                      <a:pt x="55" y="0"/>
                    </a:cubicBezTo>
                    <a:lnTo>
                      <a:pt x="35" y="0"/>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96" name="Kazakhstan">
                <a:extLst>
                  <a:ext uri="{FF2B5EF4-FFF2-40B4-BE49-F238E27FC236}">
                    <a16:creationId xmlns:a16="http://schemas.microsoft.com/office/drawing/2014/main" id="{F64CED00-D934-4B54-9C6F-20BE7C8D7FBB}"/>
                  </a:ext>
                </a:extLst>
              </p:cNvPr>
              <p:cNvSpPr>
                <a:spLocks noEditPoints="1"/>
              </p:cNvSpPr>
              <p:nvPr/>
            </p:nvSpPr>
            <p:spPr bwMode="gray">
              <a:xfrm>
                <a:off x="6732404" y="2430141"/>
                <a:ext cx="936788" cy="434773"/>
              </a:xfrm>
              <a:custGeom>
                <a:avLst/>
                <a:gdLst>
                  <a:gd name="T0" fmla="*/ 545 w 1673"/>
                  <a:gd name="T1" fmla="*/ 518 h 778"/>
                  <a:gd name="T2" fmla="*/ 1655 w 1673"/>
                  <a:gd name="T3" fmla="*/ 327 h 778"/>
                  <a:gd name="T4" fmla="*/ 1625 w 1673"/>
                  <a:gd name="T5" fmla="*/ 304 h 778"/>
                  <a:gd name="T6" fmla="*/ 1481 w 1673"/>
                  <a:gd name="T7" fmla="*/ 226 h 778"/>
                  <a:gd name="T8" fmla="*/ 1372 w 1673"/>
                  <a:gd name="T9" fmla="*/ 207 h 778"/>
                  <a:gd name="T10" fmla="*/ 1126 w 1673"/>
                  <a:gd name="T11" fmla="*/ 70 h 778"/>
                  <a:gd name="T12" fmla="*/ 1085 w 1673"/>
                  <a:gd name="T13" fmla="*/ 76 h 778"/>
                  <a:gd name="T14" fmla="*/ 1016 w 1673"/>
                  <a:gd name="T15" fmla="*/ 98 h 778"/>
                  <a:gd name="T16" fmla="*/ 972 w 1673"/>
                  <a:gd name="T17" fmla="*/ 71 h 778"/>
                  <a:gd name="T18" fmla="*/ 909 w 1673"/>
                  <a:gd name="T19" fmla="*/ 36 h 778"/>
                  <a:gd name="T20" fmla="*/ 812 w 1673"/>
                  <a:gd name="T21" fmla="*/ 2 h 778"/>
                  <a:gd name="T22" fmla="*/ 674 w 1673"/>
                  <a:gd name="T23" fmla="*/ 52 h 778"/>
                  <a:gd name="T24" fmla="*/ 521 w 1673"/>
                  <a:gd name="T25" fmla="*/ 95 h 778"/>
                  <a:gd name="T26" fmla="*/ 534 w 1673"/>
                  <a:gd name="T27" fmla="*/ 123 h 778"/>
                  <a:gd name="T28" fmla="*/ 528 w 1673"/>
                  <a:gd name="T29" fmla="*/ 190 h 778"/>
                  <a:gd name="T30" fmla="*/ 486 w 1673"/>
                  <a:gd name="T31" fmla="*/ 244 h 778"/>
                  <a:gd name="T32" fmla="*/ 356 w 1673"/>
                  <a:gd name="T33" fmla="*/ 247 h 778"/>
                  <a:gd name="T34" fmla="*/ 282 w 1673"/>
                  <a:gd name="T35" fmla="*/ 216 h 778"/>
                  <a:gd name="T36" fmla="*/ 197 w 1673"/>
                  <a:gd name="T37" fmla="*/ 187 h 778"/>
                  <a:gd name="T38" fmla="*/ 86 w 1673"/>
                  <a:gd name="T39" fmla="*/ 224 h 778"/>
                  <a:gd name="T40" fmla="*/ 17 w 1673"/>
                  <a:gd name="T41" fmla="*/ 251 h 778"/>
                  <a:gd name="T42" fmla="*/ 8 w 1673"/>
                  <a:gd name="T43" fmla="*/ 322 h 778"/>
                  <a:gd name="T44" fmla="*/ 73 w 1673"/>
                  <a:gd name="T45" fmla="*/ 394 h 778"/>
                  <a:gd name="T46" fmla="*/ 136 w 1673"/>
                  <a:gd name="T47" fmla="*/ 460 h 778"/>
                  <a:gd name="T48" fmla="*/ 289 w 1673"/>
                  <a:gd name="T49" fmla="*/ 455 h 778"/>
                  <a:gd name="T50" fmla="*/ 352 w 1673"/>
                  <a:gd name="T51" fmla="*/ 524 h 778"/>
                  <a:gd name="T52" fmla="*/ 338 w 1673"/>
                  <a:gd name="T53" fmla="*/ 531 h 778"/>
                  <a:gd name="T54" fmla="*/ 218 w 1673"/>
                  <a:gd name="T55" fmla="*/ 544 h 778"/>
                  <a:gd name="T56" fmla="*/ 228 w 1673"/>
                  <a:gd name="T57" fmla="*/ 598 h 778"/>
                  <a:gd name="T58" fmla="*/ 274 w 1673"/>
                  <a:gd name="T59" fmla="*/ 654 h 778"/>
                  <a:gd name="T60" fmla="*/ 328 w 1673"/>
                  <a:gd name="T61" fmla="*/ 709 h 778"/>
                  <a:gd name="T62" fmla="*/ 408 w 1673"/>
                  <a:gd name="T63" fmla="*/ 690 h 778"/>
                  <a:gd name="T64" fmla="*/ 468 w 1673"/>
                  <a:gd name="T65" fmla="*/ 729 h 778"/>
                  <a:gd name="T66" fmla="*/ 536 w 1673"/>
                  <a:gd name="T67" fmla="*/ 513 h 778"/>
                  <a:gd name="T68" fmla="*/ 582 w 1673"/>
                  <a:gd name="T69" fmla="*/ 492 h 778"/>
                  <a:gd name="T70" fmla="*/ 604 w 1673"/>
                  <a:gd name="T71" fmla="*/ 479 h 778"/>
                  <a:gd name="T72" fmla="*/ 584 w 1673"/>
                  <a:gd name="T73" fmla="*/ 460 h 778"/>
                  <a:gd name="T74" fmla="*/ 636 w 1673"/>
                  <a:gd name="T75" fmla="*/ 455 h 778"/>
                  <a:gd name="T76" fmla="*/ 590 w 1673"/>
                  <a:gd name="T77" fmla="*/ 493 h 778"/>
                  <a:gd name="T78" fmla="*/ 610 w 1673"/>
                  <a:gd name="T79" fmla="*/ 549 h 778"/>
                  <a:gd name="T80" fmla="*/ 812 w 1673"/>
                  <a:gd name="T81" fmla="*/ 616 h 778"/>
                  <a:gd name="T82" fmla="*/ 902 w 1673"/>
                  <a:gd name="T83" fmla="*/ 699 h 778"/>
                  <a:gd name="T84" fmla="*/ 1006 w 1673"/>
                  <a:gd name="T85" fmla="*/ 770 h 778"/>
                  <a:gd name="T86" fmla="*/ 1056 w 1673"/>
                  <a:gd name="T87" fmla="*/ 719 h 778"/>
                  <a:gd name="T88" fmla="*/ 1123 w 1673"/>
                  <a:gd name="T89" fmla="*/ 686 h 778"/>
                  <a:gd name="T90" fmla="*/ 1208 w 1673"/>
                  <a:gd name="T91" fmla="*/ 672 h 778"/>
                  <a:gd name="T92" fmla="*/ 1264 w 1673"/>
                  <a:gd name="T93" fmla="*/ 647 h 778"/>
                  <a:gd name="T94" fmla="*/ 1402 w 1673"/>
                  <a:gd name="T95" fmla="*/ 651 h 778"/>
                  <a:gd name="T96" fmla="*/ 1471 w 1673"/>
                  <a:gd name="T97" fmla="*/ 676 h 778"/>
                  <a:gd name="T98" fmla="*/ 1503 w 1673"/>
                  <a:gd name="T99" fmla="*/ 659 h 778"/>
                  <a:gd name="T100" fmla="*/ 1484 w 1673"/>
                  <a:gd name="T101" fmla="*/ 587 h 778"/>
                  <a:gd name="T102" fmla="*/ 1516 w 1673"/>
                  <a:gd name="T103" fmla="*/ 518 h 778"/>
                  <a:gd name="T104" fmla="*/ 1541 w 1673"/>
                  <a:gd name="T105" fmla="*/ 513 h 778"/>
                  <a:gd name="T106" fmla="*/ 1614 w 1673"/>
                  <a:gd name="T107" fmla="*/ 434 h 778"/>
                  <a:gd name="T108" fmla="*/ 1641 w 1673"/>
                  <a:gd name="T109" fmla="*/ 397 h 778"/>
                  <a:gd name="T110" fmla="*/ 1385 w 1673"/>
                  <a:gd name="T111" fmla="*/ 465 h 778"/>
                  <a:gd name="T112" fmla="*/ 1320 w 1673"/>
                  <a:gd name="T113" fmla="*/ 467 h 778"/>
                  <a:gd name="T114" fmla="*/ 1246 w 1673"/>
                  <a:gd name="T115" fmla="*/ 460 h 778"/>
                  <a:gd name="T116" fmla="*/ 1195 w 1673"/>
                  <a:gd name="T117" fmla="*/ 489 h 778"/>
                  <a:gd name="T118" fmla="*/ 1200 w 1673"/>
                  <a:gd name="T119" fmla="*/ 542 h 778"/>
                  <a:gd name="T120" fmla="*/ 1193 w 1673"/>
                  <a:gd name="T121" fmla="*/ 448 h 778"/>
                  <a:gd name="T122" fmla="*/ 1306 w 1673"/>
                  <a:gd name="T123" fmla="*/ 458 h 778"/>
                  <a:gd name="T124" fmla="*/ 1385 w 1673"/>
                  <a:gd name="T125" fmla="*/ 465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73" h="778">
                    <a:moveTo>
                      <a:pt x="565" y="505"/>
                    </a:moveTo>
                    <a:cubicBezTo>
                      <a:pt x="558" y="500"/>
                      <a:pt x="557" y="497"/>
                      <a:pt x="557" y="497"/>
                    </a:cubicBezTo>
                    <a:cubicBezTo>
                      <a:pt x="548" y="511"/>
                      <a:pt x="548" y="511"/>
                      <a:pt x="548" y="511"/>
                    </a:cubicBezTo>
                    <a:cubicBezTo>
                      <a:pt x="545" y="518"/>
                      <a:pt x="545" y="518"/>
                      <a:pt x="545" y="518"/>
                    </a:cubicBezTo>
                    <a:cubicBezTo>
                      <a:pt x="578" y="534"/>
                      <a:pt x="578" y="534"/>
                      <a:pt x="578" y="534"/>
                    </a:cubicBezTo>
                    <a:cubicBezTo>
                      <a:pt x="580" y="525"/>
                      <a:pt x="580" y="525"/>
                      <a:pt x="580" y="525"/>
                    </a:cubicBezTo>
                    <a:cubicBezTo>
                      <a:pt x="580" y="525"/>
                      <a:pt x="572" y="510"/>
                      <a:pt x="565" y="505"/>
                    </a:cubicBezTo>
                    <a:close/>
                    <a:moveTo>
                      <a:pt x="1655" y="327"/>
                    </a:moveTo>
                    <a:cubicBezTo>
                      <a:pt x="1656" y="321"/>
                      <a:pt x="1666" y="322"/>
                      <a:pt x="1673" y="324"/>
                    </a:cubicBezTo>
                    <a:cubicBezTo>
                      <a:pt x="1649" y="298"/>
                      <a:pt x="1649" y="298"/>
                      <a:pt x="1649" y="298"/>
                    </a:cubicBezTo>
                    <a:cubicBezTo>
                      <a:pt x="1636" y="282"/>
                      <a:pt x="1636" y="282"/>
                      <a:pt x="1636" y="282"/>
                    </a:cubicBezTo>
                    <a:cubicBezTo>
                      <a:pt x="1625" y="304"/>
                      <a:pt x="1625" y="304"/>
                      <a:pt x="1625" y="304"/>
                    </a:cubicBezTo>
                    <a:cubicBezTo>
                      <a:pt x="1578" y="300"/>
                      <a:pt x="1578" y="300"/>
                      <a:pt x="1578" y="300"/>
                    </a:cubicBezTo>
                    <a:cubicBezTo>
                      <a:pt x="1578" y="300"/>
                      <a:pt x="1562" y="272"/>
                      <a:pt x="1561" y="268"/>
                    </a:cubicBezTo>
                    <a:cubicBezTo>
                      <a:pt x="1560" y="264"/>
                      <a:pt x="1525" y="259"/>
                      <a:pt x="1525" y="259"/>
                    </a:cubicBezTo>
                    <a:cubicBezTo>
                      <a:pt x="1525" y="259"/>
                      <a:pt x="1504" y="230"/>
                      <a:pt x="1481" y="226"/>
                    </a:cubicBezTo>
                    <a:cubicBezTo>
                      <a:pt x="1458" y="222"/>
                      <a:pt x="1442" y="243"/>
                      <a:pt x="1430" y="244"/>
                    </a:cubicBezTo>
                    <a:cubicBezTo>
                      <a:pt x="1418" y="246"/>
                      <a:pt x="1404" y="230"/>
                      <a:pt x="1404" y="230"/>
                    </a:cubicBezTo>
                    <a:cubicBezTo>
                      <a:pt x="1404" y="230"/>
                      <a:pt x="1386" y="228"/>
                      <a:pt x="1382" y="227"/>
                    </a:cubicBezTo>
                    <a:cubicBezTo>
                      <a:pt x="1378" y="226"/>
                      <a:pt x="1382" y="210"/>
                      <a:pt x="1372" y="207"/>
                    </a:cubicBezTo>
                    <a:cubicBezTo>
                      <a:pt x="1361" y="204"/>
                      <a:pt x="1365" y="234"/>
                      <a:pt x="1348" y="236"/>
                    </a:cubicBezTo>
                    <a:cubicBezTo>
                      <a:pt x="1330" y="239"/>
                      <a:pt x="1306" y="200"/>
                      <a:pt x="1292" y="187"/>
                    </a:cubicBezTo>
                    <a:cubicBezTo>
                      <a:pt x="1277" y="174"/>
                      <a:pt x="1205" y="107"/>
                      <a:pt x="1200" y="104"/>
                    </a:cubicBezTo>
                    <a:cubicBezTo>
                      <a:pt x="1194" y="102"/>
                      <a:pt x="1126" y="70"/>
                      <a:pt x="1126" y="70"/>
                    </a:cubicBezTo>
                    <a:cubicBezTo>
                      <a:pt x="1126" y="70"/>
                      <a:pt x="1146" y="58"/>
                      <a:pt x="1138" y="47"/>
                    </a:cubicBezTo>
                    <a:cubicBezTo>
                      <a:pt x="1130" y="36"/>
                      <a:pt x="1118" y="58"/>
                      <a:pt x="1118" y="58"/>
                    </a:cubicBezTo>
                    <a:cubicBezTo>
                      <a:pt x="1094" y="66"/>
                      <a:pt x="1094" y="66"/>
                      <a:pt x="1094" y="66"/>
                    </a:cubicBezTo>
                    <a:cubicBezTo>
                      <a:pt x="1085" y="76"/>
                      <a:pt x="1085" y="76"/>
                      <a:pt x="1085" y="76"/>
                    </a:cubicBezTo>
                    <a:cubicBezTo>
                      <a:pt x="1085" y="76"/>
                      <a:pt x="1077" y="78"/>
                      <a:pt x="1070" y="82"/>
                    </a:cubicBezTo>
                    <a:cubicBezTo>
                      <a:pt x="1064" y="86"/>
                      <a:pt x="1072" y="94"/>
                      <a:pt x="1064" y="100"/>
                    </a:cubicBezTo>
                    <a:cubicBezTo>
                      <a:pt x="1056" y="107"/>
                      <a:pt x="1041" y="91"/>
                      <a:pt x="1034" y="88"/>
                    </a:cubicBezTo>
                    <a:cubicBezTo>
                      <a:pt x="1028" y="86"/>
                      <a:pt x="1026" y="99"/>
                      <a:pt x="1016" y="98"/>
                    </a:cubicBezTo>
                    <a:cubicBezTo>
                      <a:pt x="1005" y="96"/>
                      <a:pt x="1026" y="80"/>
                      <a:pt x="1017" y="71"/>
                    </a:cubicBezTo>
                    <a:cubicBezTo>
                      <a:pt x="1008" y="62"/>
                      <a:pt x="1002" y="74"/>
                      <a:pt x="1002" y="74"/>
                    </a:cubicBezTo>
                    <a:cubicBezTo>
                      <a:pt x="985" y="63"/>
                      <a:pt x="985" y="63"/>
                      <a:pt x="985" y="63"/>
                    </a:cubicBezTo>
                    <a:cubicBezTo>
                      <a:pt x="972" y="71"/>
                      <a:pt x="972" y="71"/>
                      <a:pt x="972" y="71"/>
                    </a:cubicBezTo>
                    <a:cubicBezTo>
                      <a:pt x="953" y="50"/>
                      <a:pt x="953" y="50"/>
                      <a:pt x="953" y="50"/>
                    </a:cubicBezTo>
                    <a:cubicBezTo>
                      <a:pt x="946" y="60"/>
                      <a:pt x="946" y="60"/>
                      <a:pt x="946" y="60"/>
                    </a:cubicBezTo>
                    <a:cubicBezTo>
                      <a:pt x="946" y="60"/>
                      <a:pt x="918" y="64"/>
                      <a:pt x="913" y="64"/>
                    </a:cubicBezTo>
                    <a:cubicBezTo>
                      <a:pt x="908" y="64"/>
                      <a:pt x="909" y="43"/>
                      <a:pt x="909" y="36"/>
                    </a:cubicBezTo>
                    <a:cubicBezTo>
                      <a:pt x="909" y="30"/>
                      <a:pt x="897" y="30"/>
                      <a:pt x="897" y="30"/>
                    </a:cubicBezTo>
                    <a:cubicBezTo>
                      <a:pt x="897" y="30"/>
                      <a:pt x="892" y="12"/>
                      <a:pt x="884" y="7"/>
                    </a:cubicBezTo>
                    <a:cubicBezTo>
                      <a:pt x="876" y="2"/>
                      <a:pt x="869" y="11"/>
                      <a:pt x="864" y="11"/>
                    </a:cubicBezTo>
                    <a:cubicBezTo>
                      <a:pt x="858" y="11"/>
                      <a:pt x="845" y="0"/>
                      <a:pt x="812" y="2"/>
                    </a:cubicBezTo>
                    <a:cubicBezTo>
                      <a:pt x="778" y="3"/>
                      <a:pt x="781" y="23"/>
                      <a:pt x="781" y="23"/>
                    </a:cubicBezTo>
                    <a:cubicBezTo>
                      <a:pt x="781" y="23"/>
                      <a:pt x="761" y="30"/>
                      <a:pt x="740" y="35"/>
                    </a:cubicBezTo>
                    <a:cubicBezTo>
                      <a:pt x="718" y="40"/>
                      <a:pt x="690" y="36"/>
                      <a:pt x="682" y="36"/>
                    </a:cubicBezTo>
                    <a:cubicBezTo>
                      <a:pt x="674" y="36"/>
                      <a:pt x="674" y="52"/>
                      <a:pt x="674" y="52"/>
                    </a:cubicBezTo>
                    <a:cubicBezTo>
                      <a:pt x="632" y="52"/>
                      <a:pt x="632" y="52"/>
                      <a:pt x="632" y="52"/>
                    </a:cubicBezTo>
                    <a:cubicBezTo>
                      <a:pt x="628" y="64"/>
                      <a:pt x="628" y="64"/>
                      <a:pt x="628" y="64"/>
                    </a:cubicBezTo>
                    <a:cubicBezTo>
                      <a:pt x="628" y="64"/>
                      <a:pt x="596" y="63"/>
                      <a:pt x="550" y="70"/>
                    </a:cubicBezTo>
                    <a:cubicBezTo>
                      <a:pt x="505" y="76"/>
                      <a:pt x="521" y="95"/>
                      <a:pt x="521" y="95"/>
                    </a:cubicBezTo>
                    <a:cubicBezTo>
                      <a:pt x="540" y="96"/>
                      <a:pt x="540" y="96"/>
                      <a:pt x="540" y="96"/>
                    </a:cubicBezTo>
                    <a:cubicBezTo>
                      <a:pt x="529" y="108"/>
                      <a:pt x="529" y="108"/>
                      <a:pt x="529" y="108"/>
                    </a:cubicBezTo>
                    <a:cubicBezTo>
                      <a:pt x="529" y="108"/>
                      <a:pt x="572" y="116"/>
                      <a:pt x="572" y="123"/>
                    </a:cubicBezTo>
                    <a:cubicBezTo>
                      <a:pt x="572" y="130"/>
                      <a:pt x="534" y="123"/>
                      <a:pt x="534" y="123"/>
                    </a:cubicBezTo>
                    <a:cubicBezTo>
                      <a:pt x="528" y="134"/>
                      <a:pt x="528" y="134"/>
                      <a:pt x="528" y="134"/>
                    </a:cubicBezTo>
                    <a:cubicBezTo>
                      <a:pt x="528" y="134"/>
                      <a:pt x="541" y="151"/>
                      <a:pt x="540" y="158"/>
                    </a:cubicBezTo>
                    <a:cubicBezTo>
                      <a:pt x="538" y="164"/>
                      <a:pt x="505" y="170"/>
                      <a:pt x="505" y="170"/>
                    </a:cubicBezTo>
                    <a:cubicBezTo>
                      <a:pt x="528" y="190"/>
                      <a:pt x="528" y="190"/>
                      <a:pt x="528" y="190"/>
                    </a:cubicBezTo>
                    <a:cubicBezTo>
                      <a:pt x="528" y="190"/>
                      <a:pt x="578" y="187"/>
                      <a:pt x="582" y="226"/>
                    </a:cubicBezTo>
                    <a:cubicBezTo>
                      <a:pt x="586" y="264"/>
                      <a:pt x="526" y="234"/>
                      <a:pt x="526" y="234"/>
                    </a:cubicBezTo>
                    <a:cubicBezTo>
                      <a:pt x="520" y="250"/>
                      <a:pt x="520" y="250"/>
                      <a:pt x="520" y="250"/>
                    </a:cubicBezTo>
                    <a:cubicBezTo>
                      <a:pt x="520" y="250"/>
                      <a:pt x="497" y="246"/>
                      <a:pt x="486" y="244"/>
                    </a:cubicBezTo>
                    <a:cubicBezTo>
                      <a:pt x="476" y="243"/>
                      <a:pt x="464" y="222"/>
                      <a:pt x="456" y="220"/>
                    </a:cubicBezTo>
                    <a:cubicBezTo>
                      <a:pt x="448" y="219"/>
                      <a:pt x="437" y="228"/>
                      <a:pt x="421" y="232"/>
                    </a:cubicBezTo>
                    <a:cubicBezTo>
                      <a:pt x="405" y="236"/>
                      <a:pt x="394" y="220"/>
                      <a:pt x="385" y="222"/>
                    </a:cubicBezTo>
                    <a:cubicBezTo>
                      <a:pt x="376" y="223"/>
                      <a:pt x="358" y="243"/>
                      <a:pt x="356" y="247"/>
                    </a:cubicBezTo>
                    <a:cubicBezTo>
                      <a:pt x="353" y="251"/>
                      <a:pt x="312" y="220"/>
                      <a:pt x="301" y="223"/>
                    </a:cubicBezTo>
                    <a:cubicBezTo>
                      <a:pt x="290" y="226"/>
                      <a:pt x="313" y="243"/>
                      <a:pt x="305" y="250"/>
                    </a:cubicBezTo>
                    <a:cubicBezTo>
                      <a:pt x="297" y="256"/>
                      <a:pt x="289" y="236"/>
                      <a:pt x="289" y="236"/>
                    </a:cubicBezTo>
                    <a:cubicBezTo>
                      <a:pt x="282" y="216"/>
                      <a:pt x="282" y="216"/>
                      <a:pt x="282" y="216"/>
                    </a:cubicBezTo>
                    <a:cubicBezTo>
                      <a:pt x="258" y="218"/>
                      <a:pt x="258" y="218"/>
                      <a:pt x="258" y="218"/>
                    </a:cubicBezTo>
                    <a:cubicBezTo>
                      <a:pt x="258" y="218"/>
                      <a:pt x="256" y="206"/>
                      <a:pt x="252" y="202"/>
                    </a:cubicBezTo>
                    <a:cubicBezTo>
                      <a:pt x="248" y="198"/>
                      <a:pt x="224" y="203"/>
                      <a:pt x="214" y="202"/>
                    </a:cubicBezTo>
                    <a:cubicBezTo>
                      <a:pt x="205" y="200"/>
                      <a:pt x="204" y="187"/>
                      <a:pt x="197" y="187"/>
                    </a:cubicBezTo>
                    <a:cubicBezTo>
                      <a:pt x="190" y="187"/>
                      <a:pt x="177" y="200"/>
                      <a:pt x="161" y="200"/>
                    </a:cubicBezTo>
                    <a:cubicBezTo>
                      <a:pt x="145" y="200"/>
                      <a:pt x="153" y="187"/>
                      <a:pt x="130" y="188"/>
                    </a:cubicBezTo>
                    <a:cubicBezTo>
                      <a:pt x="108" y="190"/>
                      <a:pt x="130" y="198"/>
                      <a:pt x="122" y="208"/>
                    </a:cubicBezTo>
                    <a:cubicBezTo>
                      <a:pt x="114" y="219"/>
                      <a:pt x="86" y="224"/>
                      <a:pt x="86" y="224"/>
                    </a:cubicBezTo>
                    <a:cubicBezTo>
                      <a:pt x="86" y="239"/>
                      <a:pt x="86" y="239"/>
                      <a:pt x="86" y="239"/>
                    </a:cubicBezTo>
                    <a:cubicBezTo>
                      <a:pt x="68" y="248"/>
                      <a:pt x="68" y="248"/>
                      <a:pt x="68" y="248"/>
                    </a:cubicBezTo>
                    <a:cubicBezTo>
                      <a:pt x="68" y="248"/>
                      <a:pt x="86" y="263"/>
                      <a:pt x="72" y="278"/>
                    </a:cubicBezTo>
                    <a:cubicBezTo>
                      <a:pt x="57" y="292"/>
                      <a:pt x="29" y="250"/>
                      <a:pt x="17" y="251"/>
                    </a:cubicBezTo>
                    <a:cubicBezTo>
                      <a:pt x="5" y="252"/>
                      <a:pt x="13" y="271"/>
                      <a:pt x="13" y="279"/>
                    </a:cubicBezTo>
                    <a:cubicBezTo>
                      <a:pt x="13" y="287"/>
                      <a:pt x="0" y="284"/>
                      <a:pt x="0" y="284"/>
                    </a:cubicBezTo>
                    <a:cubicBezTo>
                      <a:pt x="2" y="308"/>
                      <a:pt x="2" y="308"/>
                      <a:pt x="2" y="308"/>
                    </a:cubicBezTo>
                    <a:cubicBezTo>
                      <a:pt x="2" y="308"/>
                      <a:pt x="8" y="314"/>
                      <a:pt x="8" y="322"/>
                    </a:cubicBezTo>
                    <a:cubicBezTo>
                      <a:pt x="8" y="330"/>
                      <a:pt x="0" y="342"/>
                      <a:pt x="0" y="358"/>
                    </a:cubicBezTo>
                    <a:cubicBezTo>
                      <a:pt x="0" y="374"/>
                      <a:pt x="10" y="364"/>
                      <a:pt x="22" y="370"/>
                    </a:cubicBezTo>
                    <a:cubicBezTo>
                      <a:pt x="34" y="375"/>
                      <a:pt x="20" y="390"/>
                      <a:pt x="32" y="395"/>
                    </a:cubicBezTo>
                    <a:cubicBezTo>
                      <a:pt x="44" y="400"/>
                      <a:pt x="68" y="391"/>
                      <a:pt x="73" y="394"/>
                    </a:cubicBezTo>
                    <a:cubicBezTo>
                      <a:pt x="78" y="396"/>
                      <a:pt x="117" y="436"/>
                      <a:pt x="117" y="444"/>
                    </a:cubicBezTo>
                    <a:cubicBezTo>
                      <a:pt x="117" y="452"/>
                      <a:pt x="94" y="443"/>
                      <a:pt x="94" y="451"/>
                    </a:cubicBezTo>
                    <a:cubicBezTo>
                      <a:pt x="94" y="459"/>
                      <a:pt x="129" y="470"/>
                      <a:pt x="129" y="470"/>
                    </a:cubicBezTo>
                    <a:cubicBezTo>
                      <a:pt x="136" y="460"/>
                      <a:pt x="136" y="460"/>
                      <a:pt x="136" y="460"/>
                    </a:cubicBezTo>
                    <a:cubicBezTo>
                      <a:pt x="136" y="460"/>
                      <a:pt x="145" y="462"/>
                      <a:pt x="152" y="455"/>
                    </a:cubicBezTo>
                    <a:cubicBezTo>
                      <a:pt x="158" y="448"/>
                      <a:pt x="208" y="427"/>
                      <a:pt x="214" y="430"/>
                    </a:cubicBezTo>
                    <a:cubicBezTo>
                      <a:pt x="221" y="432"/>
                      <a:pt x="242" y="448"/>
                      <a:pt x="252" y="448"/>
                    </a:cubicBezTo>
                    <a:cubicBezTo>
                      <a:pt x="261" y="448"/>
                      <a:pt x="269" y="430"/>
                      <a:pt x="289" y="455"/>
                    </a:cubicBezTo>
                    <a:cubicBezTo>
                      <a:pt x="309" y="480"/>
                      <a:pt x="293" y="488"/>
                      <a:pt x="290" y="496"/>
                    </a:cubicBezTo>
                    <a:cubicBezTo>
                      <a:pt x="288" y="504"/>
                      <a:pt x="309" y="520"/>
                      <a:pt x="316" y="523"/>
                    </a:cubicBezTo>
                    <a:cubicBezTo>
                      <a:pt x="322" y="526"/>
                      <a:pt x="333" y="511"/>
                      <a:pt x="341" y="507"/>
                    </a:cubicBezTo>
                    <a:cubicBezTo>
                      <a:pt x="349" y="503"/>
                      <a:pt x="352" y="516"/>
                      <a:pt x="352" y="524"/>
                    </a:cubicBezTo>
                    <a:cubicBezTo>
                      <a:pt x="352" y="532"/>
                      <a:pt x="364" y="542"/>
                      <a:pt x="364" y="542"/>
                    </a:cubicBezTo>
                    <a:cubicBezTo>
                      <a:pt x="337" y="543"/>
                      <a:pt x="337" y="543"/>
                      <a:pt x="337" y="543"/>
                    </a:cubicBezTo>
                    <a:cubicBezTo>
                      <a:pt x="337" y="543"/>
                      <a:pt x="338" y="563"/>
                      <a:pt x="325" y="554"/>
                    </a:cubicBezTo>
                    <a:cubicBezTo>
                      <a:pt x="312" y="544"/>
                      <a:pt x="338" y="531"/>
                      <a:pt x="338" y="531"/>
                    </a:cubicBezTo>
                    <a:cubicBezTo>
                      <a:pt x="338" y="531"/>
                      <a:pt x="290" y="528"/>
                      <a:pt x="282" y="526"/>
                    </a:cubicBezTo>
                    <a:cubicBezTo>
                      <a:pt x="274" y="523"/>
                      <a:pt x="232" y="515"/>
                      <a:pt x="232" y="515"/>
                    </a:cubicBezTo>
                    <a:cubicBezTo>
                      <a:pt x="240" y="538"/>
                      <a:pt x="240" y="538"/>
                      <a:pt x="240" y="538"/>
                    </a:cubicBezTo>
                    <a:cubicBezTo>
                      <a:pt x="240" y="538"/>
                      <a:pt x="224" y="531"/>
                      <a:pt x="218" y="544"/>
                    </a:cubicBezTo>
                    <a:cubicBezTo>
                      <a:pt x="213" y="558"/>
                      <a:pt x="249" y="559"/>
                      <a:pt x="248" y="567"/>
                    </a:cubicBezTo>
                    <a:cubicBezTo>
                      <a:pt x="246" y="575"/>
                      <a:pt x="198" y="550"/>
                      <a:pt x="193" y="562"/>
                    </a:cubicBezTo>
                    <a:cubicBezTo>
                      <a:pt x="188" y="574"/>
                      <a:pt x="221" y="582"/>
                      <a:pt x="221" y="582"/>
                    </a:cubicBezTo>
                    <a:cubicBezTo>
                      <a:pt x="221" y="582"/>
                      <a:pt x="221" y="590"/>
                      <a:pt x="228" y="598"/>
                    </a:cubicBezTo>
                    <a:cubicBezTo>
                      <a:pt x="234" y="606"/>
                      <a:pt x="248" y="622"/>
                      <a:pt x="248" y="622"/>
                    </a:cubicBezTo>
                    <a:cubicBezTo>
                      <a:pt x="246" y="636"/>
                      <a:pt x="246" y="636"/>
                      <a:pt x="246" y="636"/>
                    </a:cubicBezTo>
                    <a:cubicBezTo>
                      <a:pt x="269" y="639"/>
                      <a:pt x="269" y="639"/>
                      <a:pt x="269" y="639"/>
                    </a:cubicBezTo>
                    <a:cubicBezTo>
                      <a:pt x="274" y="654"/>
                      <a:pt x="274" y="654"/>
                      <a:pt x="274" y="654"/>
                    </a:cubicBezTo>
                    <a:cubicBezTo>
                      <a:pt x="274" y="654"/>
                      <a:pt x="309" y="654"/>
                      <a:pt x="320" y="664"/>
                    </a:cubicBezTo>
                    <a:cubicBezTo>
                      <a:pt x="330" y="675"/>
                      <a:pt x="308" y="686"/>
                      <a:pt x="306" y="696"/>
                    </a:cubicBezTo>
                    <a:cubicBezTo>
                      <a:pt x="305" y="707"/>
                      <a:pt x="316" y="708"/>
                      <a:pt x="316" y="708"/>
                    </a:cubicBezTo>
                    <a:cubicBezTo>
                      <a:pt x="317" y="704"/>
                      <a:pt x="323" y="707"/>
                      <a:pt x="328" y="709"/>
                    </a:cubicBezTo>
                    <a:cubicBezTo>
                      <a:pt x="330" y="703"/>
                      <a:pt x="336" y="683"/>
                      <a:pt x="344" y="682"/>
                    </a:cubicBezTo>
                    <a:cubicBezTo>
                      <a:pt x="349" y="681"/>
                      <a:pt x="357" y="682"/>
                      <a:pt x="363" y="683"/>
                    </a:cubicBezTo>
                    <a:cubicBezTo>
                      <a:pt x="364" y="681"/>
                      <a:pt x="364" y="679"/>
                      <a:pt x="365" y="678"/>
                    </a:cubicBezTo>
                    <a:cubicBezTo>
                      <a:pt x="368" y="674"/>
                      <a:pt x="400" y="686"/>
                      <a:pt x="408" y="690"/>
                    </a:cubicBezTo>
                    <a:cubicBezTo>
                      <a:pt x="416" y="694"/>
                      <a:pt x="426" y="707"/>
                      <a:pt x="426" y="707"/>
                    </a:cubicBezTo>
                    <a:cubicBezTo>
                      <a:pt x="426" y="707"/>
                      <a:pt x="444" y="732"/>
                      <a:pt x="454" y="738"/>
                    </a:cubicBezTo>
                    <a:cubicBezTo>
                      <a:pt x="463" y="742"/>
                      <a:pt x="464" y="732"/>
                      <a:pt x="468" y="729"/>
                    </a:cubicBezTo>
                    <a:cubicBezTo>
                      <a:pt x="468" y="729"/>
                      <a:pt x="468" y="729"/>
                      <a:pt x="468" y="729"/>
                    </a:cubicBezTo>
                    <a:cubicBezTo>
                      <a:pt x="433" y="542"/>
                      <a:pt x="433" y="542"/>
                      <a:pt x="433" y="542"/>
                    </a:cubicBezTo>
                    <a:cubicBezTo>
                      <a:pt x="529" y="511"/>
                      <a:pt x="529" y="511"/>
                      <a:pt x="529" y="511"/>
                    </a:cubicBezTo>
                    <a:cubicBezTo>
                      <a:pt x="536" y="514"/>
                      <a:pt x="536" y="514"/>
                      <a:pt x="536" y="514"/>
                    </a:cubicBezTo>
                    <a:cubicBezTo>
                      <a:pt x="536" y="513"/>
                      <a:pt x="536" y="513"/>
                      <a:pt x="536" y="513"/>
                    </a:cubicBezTo>
                    <a:cubicBezTo>
                      <a:pt x="536" y="513"/>
                      <a:pt x="540" y="501"/>
                      <a:pt x="541" y="491"/>
                    </a:cubicBezTo>
                    <a:cubicBezTo>
                      <a:pt x="542" y="481"/>
                      <a:pt x="561" y="486"/>
                      <a:pt x="561" y="486"/>
                    </a:cubicBezTo>
                    <a:cubicBezTo>
                      <a:pt x="566" y="501"/>
                      <a:pt x="566" y="501"/>
                      <a:pt x="566" y="501"/>
                    </a:cubicBezTo>
                    <a:cubicBezTo>
                      <a:pt x="566" y="501"/>
                      <a:pt x="580" y="495"/>
                      <a:pt x="582" y="492"/>
                    </a:cubicBezTo>
                    <a:cubicBezTo>
                      <a:pt x="584" y="489"/>
                      <a:pt x="568" y="471"/>
                      <a:pt x="568" y="471"/>
                    </a:cubicBezTo>
                    <a:cubicBezTo>
                      <a:pt x="578" y="471"/>
                      <a:pt x="578" y="471"/>
                      <a:pt x="578" y="471"/>
                    </a:cubicBezTo>
                    <a:cubicBezTo>
                      <a:pt x="587" y="480"/>
                      <a:pt x="587" y="480"/>
                      <a:pt x="587" y="480"/>
                    </a:cubicBezTo>
                    <a:cubicBezTo>
                      <a:pt x="604" y="479"/>
                      <a:pt x="604" y="479"/>
                      <a:pt x="604" y="479"/>
                    </a:cubicBezTo>
                    <a:cubicBezTo>
                      <a:pt x="604" y="479"/>
                      <a:pt x="618" y="483"/>
                      <a:pt x="621" y="479"/>
                    </a:cubicBezTo>
                    <a:cubicBezTo>
                      <a:pt x="624" y="475"/>
                      <a:pt x="619" y="471"/>
                      <a:pt x="615" y="471"/>
                    </a:cubicBezTo>
                    <a:cubicBezTo>
                      <a:pt x="611" y="471"/>
                      <a:pt x="603" y="466"/>
                      <a:pt x="603" y="466"/>
                    </a:cubicBezTo>
                    <a:cubicBezTo>
                      <a:pt x="603" y="466"/>
                      <a:pt x="587" y="470"/>
                      <a:pt x="584" y="460"/>
                    </a:cubicBezTo>
                    <a:cubicBezTo>
                      <a:pt x="581" y="450"/>
                      <a:pt x="604" y="452"/>
                      <a:pt x="604" y="452"/>
                    </a:cubicBezTo>
                    <a:cubicBezTo>
                      <a:pt x="613" y="444"/>
                      <a:pt x="613" y="444"/>
                      <a:pt x="613" y="444"/>
                    </a:cubicBezTo>
                    <a:cubicBezTo>
                      <a:pt x="613" y="444"/>
                      <a:pt x="625" y="461"/>
                      <a:pt x="628" y="461"/>
                    </a:cubicBezTo>
                    <a:cubicBezTo>
                      <a:pt x="631" y="461"/>
                      <a:pt x="636" y="455"/>
                      <a:pt x="636" y="455"/>
                    </a:cubicBezTo>
                    <a:cubicBezTo>
                      <a:pt x="636" y="455"/>
                      <a:pt x="645" y="465"/>
                      <a:pt x="642" y="471"/>
                    </a:cubicBezTo>
                    <a:cubicBezTo>
                      <a:pt x="639" y="477"/>
                      <a:pt x="625" y="481"/>
                      <a:pt x="625" y="481"/>
                    </a:cubicBezTo>
                    <a:cubicBezTo>
                      <a:pt x="625" y="481"/>
                      <a:pt x="617" y="488"/>
                      <a:pt x="613" y="492"/>
                    </a:cubicBezTo>
                    <a:cubicBezTo>
                      <a:pt x="609" y="496"/>
                      <a:pt x="593" y="491"/>
                      <a:pt x="590" y="493"/>
                    </a:cubicBezTo>
                    <a:cubicBezTo>
                      <a:pt x="587" y="495"/>
                      <a:pt x="587" y="506"/>
                      <a:pt x="587" y="506"/>
                    </a:cubicBezTo>
                    <a:cubicBezTo>
                      <a:pt x="587" y="506"/>
                      <a:pt x="602" y="512"/>
                      <a:pt x="606" y="513"/>
                    </a:cubicBezTo>
                    <a:cubicBezTo>
                      <a:pt x="610" y="514"/>
                      <a:pt x="613" y="523"/>
                      <a:pt x="607" y="532"/>
                    </a:cubicBezTo>
                    <a:cubicBezTo>
                      <a:pt x="604" y="536"/>
                      <a:pt x="607" y="542"/>
                      <a:pt x="610" y="549"/>
                    </a:cubicBezTo>
                    <a:cubicBezTo>
                      <a:pt x="656" y="571"/>
                      <a:pt x="656" y="571"/>
                      <a:pt x="656" y="571"/>
                    </a:cubicBezTo>
                    <a:cubicBezTo>
                      <a:pt x="705" y="619"/>
                      <a:pt x="705" y="619"/>
                      <a:pt x="705" y="619"/>
                    </a:cubicBezTo>
                    <a:cubicBezTo>
                      <a:pt x="705" y="619"/>
                      <a:pt x="742" y="612"/>
                      <a:pt x="758" y="612"/>
                    </a:cubicBezTo>
                    <a:cubicBezTo>
                      <a:pt x="774" y="612"/>
                      <a:pt x="812" y="616"/>
                      <a:pt x="812" y="616"/>
                    </a:cubicBezTo>
                    <a:cubicBezTo>
                      <a:pt x="812" y="616"/>
                      <a:pt x="830" y="604"/>
                      <a:pt x="837" y="604"/>
                    </a:cubicBezTo>
                    <a:cubicBezTo>
                      <a:pt x="844" y="604"/>
                      <a:pt x="874" y="647"/>
                      <a:pt x="874" y="647"/>
                    </a:cubicBezTo>
                    <a:cubicBezTo>
                      <a:pt x="874" y="647"/>
                      <a:pt x="889" y="646"/>
                      <a:pt x="894" y="647"/>
                    </a:cubicBezTo>
                    <a:cubicBezTo>
                      <a:pt x="900" y="648"/>
                      <a:pt x="893" y="696"/>
                      <a:pt x="902" y="699"/>
                    </a:cubicBezTo>
                    <a:cubicBezTo>
                      <a:pt x="912" y="702"/>
                      <a:pt x="912" y="688"/>
                      <a:pt x="921" y="699"/>
                    </a:cubicBezTo>
                    <a:cubicBezTo>
                      <a:pt x="930" y="710"/>
                      <a:pt x="932" y="734"/>
                      <a:pt x="942" y="739"/>
                    </a:cubicBezTo>
                    <a:cubicBezTo>
                      <a:pt x="953" y="744"/>
                      <a:pt x="1000" y="735"/>
                      <a:pt x="1006" y="744"/>
                    </a:cubicBezTo>
                    <a:cubicBezTo>
                      <a:pt x="1013" y="754"/>
                      <a:pt x="996" y="767"/>
                      <a:pt x="1006" y="770"/>
                    </a:cubicBezTo>
                    <a:cubicBezTo>
                      <a:pt x="1017" y="772"/>
                      <a:pt x="1028" y="778"/>
                      <a:pt x="1028" y="778"/>
                    </a:cubicBezTo>
                    <a:cubicBezTo>
                      <a:pt x="1028" y="778"/>
                      <a:pt x="1020" y="754"/>
                      <a:pt x="1029" y="747"/>
                    </a:cubicBezTo>
                    <a:cubicBezTo>
                      <a:pt x="1038" y="740"/>
                      <a:pt x="1046" y="740"/>
                      <a:pt x="1046" y="740"/>
                    </a:cubicBezTo>
                    <a:cubicBezTo>
                      <a:pt x="1046" y="740"/>
                      <a:pt x="1045" y="722"/>
                      <a:pt x="1056" y="719"/>
                    </a:cubicBezTo>
                    <a:cubicBezTo>
                      <a:pt x="1066" y="716"/>
                      <a:pt x="1078" y="714"/>
                      <a:pt x="1078" y="714"/>
                    </a:cubicBezTo>
                    <a:cubicBezTo>
                      <a:pt x="1086" y="696"/>
                      <a:pt x="1086" y="696"/>
                      <a:pt x="1086" y="696"/>
                    </a:cubicBezTo>
                    <a:cubicBezTo>
                      <a:pt x="1104" y="695"/>
                      <a:pt x="1104" y="695"/>
                      <a:pt x="1104" y="695"/>
                    </a:cubicBezTo>
                    <a:cubicBezTo>
                      <a:pt x="1123" y="686"/>
                      <a:pt x="1123" y="686"/>
                      <a:pt x="1123" y="686"/>
                    </a:cubicBezTo>
                    <a:cubicBezTo>
                      <a:pt x="1117" y="683"/>
                      <a:pt x="1107" y="683"/>
                      <a:pt x="1107" y="683"/>
                    </a:cubicBezTo>
                    <a:cubicBezTo>
                      <a:pt x="1107" y="683"/>
                      <a:pt x="1108" y="654"/>
                      <a:pt x="1131" y="653"/>
                    </a:cubicBezTo>
                    <a:cubicBezTo>
                      <a:pt x="1154" y="652"/>
                      <a:pt x="1185" y="672"/>
                      <a:pt x="1185" y="672"/>
                    </a:cubicBezTo>
                    <a:cubicBezTo>
                      <a:pt x="1208" y="672"/>
                      <a:pt x="1208" y="672"/>
                      <a:pt x="1208" y="672"/>
                    </a:cubicBezTo>
                    <a:cubicBezTo>
                      <a:pt x="1219" y="678"/>
                      <a:pt x="1219" y="678"/>
                      <a:pt x="1219" y="678"/>
                    </a:cubicBezTo>
                    <a:cubicBezTo>
                      <a:pt x="1219" y="678"/>
                      <a:pt x="1211" y="643"/>
                      <a:pt x="1214" y="640"/>
                    </a:cubicBezTo>
                    <a:cubicBezTo>
                      <a:pt x="1217" y="637"/>
                      <a:pt x="1230" y="635"/>
                      <a:pt x="1240" y="635"/>
                    </a:cubicBezTo>
                    <a:cubicBezTo>
                      <a:pt x="1250" y="635"/>
                      <a:pt x="1260" y="647"/>
                      <a:pt x="1264" y="647"/>
                    </a:cubicBezTo>
                    <a:cubicBezTo>
                      <a:pt x="1268" y="647"/>
                      <a:pt x="1296" y="653"/>
                      <a:pt x="1296" y="653"/>
                    </a:cubicBezTo>
                    <a:cubicBezTo>
                      <a:pt x="1308" y="649"/>
                      <a:pt x="1308" y="649"/>
                      <a:pt x="1308" y="649"/>
                    </a:cubicBezTo>
                    <a:cubicBezTo>
                      <a:pt x="1308" y="649"/>
                      <a:pt x="1356" y="649"/>
                      <a:pt x="1364" y="648"/>
                    </a:cubicBezTo>
                    <a:cubicBezTo>
                      <a:pt x="1372" y="647"/>
                      <a:pt x="1402" y="651"/>
                      <a:pt x="1402" y="651"/>
                    </a:cubicBezTo>
                    <a:cubicBezTo>
                      <a:pt x="1434" y="650"/>
                      <a:pt x="1434" y="650"/>
                      <a:pt x="1434" y="650"/>
                    </a:cubicBezTo>
                    <a:cubicBezTo>
                      <a:pt x="1442" y="658"/>
                      <a:pt x="1442" y="658"/>
                      <a:pt x="1442" y="658"/>
                    </a:cubicBezTo>
                    <a:cubicBezTo>
                      <a:pt x="1454" y="658"/>
                      <a:pt x="1454" y="658"/>
                      <a:pt x="1454" y="658"/>
                    </a:cubicBezTo>
                    <a:cubicBezTo>
                      <a:pt x="1471" y="676"/>
                      <a:pt x="1471" y="676"/>
                      <a:pt x="1471" y="676"/>
                    </a:cubicBezTo>
                    <a:cubicBezTo>
                      <a:pt x="1499" y="676"/>
                      <a:pt x="1499" y="676"/>
                      <a:pt x="1499" y="676"/>
                    </a:cubicBezTo>
                    <a:cubicBezTo>
                      <a:pt x="1513" y="681"/>
                      <a:pt x="1513" y="681"/>
                      <a:pt x="1513" y="681"/>
                    </a:cubicBezTo>
                    <a:cubicBezTo>
                      <a:pt x="1512" y="680"/>
                      <a:pt x="1512" y="680"/>
                      <a:pt x="1512" y="680"/>
                    </a:cubicBezTo>
                    <a:cubicBezTo>
                      <a:pt x="1507" y="675"/>
                      <a:pt x="1503" y="664"/>
                      <a:pt x="1503" y="659"/>
                    </a:cubicBezTo>
                    <a:cubicBezTo>
                      <a:pt x="1503" y="654"/>
                      <a:pt x="1517" y="656"/>
                      <a:pt x="1517" y="656"/>
                    </a:cubicBezTo>
                    <a:cubicBezTo>
                      <a:pt x="1517" y="656"/>
                      <a:pt x="1506" y="644"/>
                      <a:pt x="1506" y="641"/>
                    </a:cubicBezTo>
                    <a:cubicBezTo>
                      <a:pt x="1506" y="638"/>
                      <a:pt x="1522" y="641"/>
                      <a:pt x="1522" y="634"/>
                    </a:cubicBezTo>
                    <a:cubicBezTo>
                      <a:pt x="1522" y="627"/>
                      <a:pt x="1492" y="596"/>
                      <a:pt x="1484" y="587"/>
                    </a:cubicBezTo>
                    <a:cubicBezTo>
                      <a:pt x="1476" y="578"/>
                      <a:pt x="1476" y="552"/>
                      <a:pt x="1476" y="552"/>
                    </a:cubicBezTo>
                    <a:cubicBezTo>
                      <a:pt x="1476" y="552"/>
                      <a:pt x="1458" y="555"/>
                      <a:pt x="1451" y="546"/>
                    </a:cubicBezTo>
                    <a:cubicBezTo>
                      <a:pt x="1444" y="537"/>
                      <a:pt x="1475" y="530"/>
                      <a:pt x="1481" y="529"/>
                    </a:cubicBezTo>
                    <a:cubicBezTo>
                      <a:pt x="1487" y="528"/>
                      <a:pt x="1511" y="518"/>
                      <a:pt x="1516" y="518"/>
                    </a:cubicBezTo>
                    <a:cubicBezTo>
                      <a:pt x="1521" y="518"/>
                      <a:pt x="1530" y="532"/>
                      <a:pt x="1530" y="532"/>
                    </a:cubicBezTo>
                    <a:cubicBezTo>
                      <a:pt x="1543" y="525"/>
                      <a:pt x="1543" y="525"/>
                      <a:pt x="1543" y="525"/>
                    </a:cubicBezTo>
                    <a:cubicBezTo>
                      <a:pt x="1543" y="525"/>
                      <a:pt x="1550" y="539"/>
                      <a:pt x="1559" y="528"/>
                    </a:cubicBezTo>
                    <a:cubicBezTo>
                      <a:pt x="1568" y="517"/>
                      <a:pt x="1545" y="515"/>
                      <a:pt x="1541" y="513"/>
                    </a:cubicBezTo>
                    <a:cubicBezTo>
                      <a:pt x="1537" y="511"/>
                      <a:pt x="1541" y="459"/>
                      <a:pt x="1541" y="447"/>
                    </a:cubicBezTo>
                    <a:cubicBezTo>
                      <a:pt x="1541" y="435"/>
                      <a:pt x="1540" y="420"/>
                      <a:pt x="1546" y="420"/>
                    </a:cubicBezTo>
                    <a:cubicBezTo>
                      <a:pt x="1552" y="420"/>
                      <a:pt x="1577" y="432"/>
                      <a:pt x="1585" y="434"/>
                    </a:cubicBezTo>
                    <a:cubicBezTo>
                      <a:pt x="1593" y="436"/>
                      <a:pt x="1614" y="434"/>
                      <a:pt x="1614" y="434"/>
                    </a:cubicBezTo>
                    <a:cubicBezTo>
                      <a:pt x="1623" y="442"/>
                      <a:pt x="1623" y="442"/>
                      <a:pt x="1623" y="442"/>
                    </a:cubicBezTo>
                    <a:cubicBezTo>
                      <a:pt x="1634" y="430"/>
                      <a:pt x="1634" y="430"/>
                      <a:pt x="1634" y="430"/>
                    </a:cubicBezTo>
                    <a:cubicBezTo>
                      <a:pt x="1634" y="430"/>
                      <a:pt x="1642" y="431"/>
                      <a:pt x="1649" y="426"/>
                    </a:cubicBezTo>
                    <a:cubicBezTo>
                      <a:pt x="1656" y="421"/>
                      <a:pt x="1650" y="410"/>
                      <a:pt x="1641" y="397"/>
                    </a:cubicBezTo>
                    <a:cubicBezTo>
                      <a:pt x="1632" y="384"/>
                      <a:pt x="1622" y="375"/>
                      <a:pt x="1627" y="361"/>
                    </a:cubicBezTo>
                    <a:cubicBezTo>
                      <a:pt x="1632" y="347"/>
                      <a:pt x="1661" y="357"/>
                      <a:pt x="1667" y="348"/>
                    </a:cubicBezTo>
                    <a:cubicBezTo>
                      <a:pt x="1673" y="339"/>
                      <a:pt x="1654" y="336"/>
                      <a:pt x="1655" y="327"/>
                    </a:cubicBezTo>
                    <a:close/>
                    <a:moveTo>
                      <a:pt x="1385" y="465"/>
                    </a:moveTo>
                    <a:cubicBezTo>
                      <a:pt x="1380" y="470"/>
                      <a:pt x="1363" y="466"/>
                      <a:pt x="1363" y="466"/>
                    </a:cubicBezTo>
                    <a:cubicBezTo>
                      <a:pt x="1363" y="466"/>
                      <a:pt x="1361" y="472"/>
                      <a:pt x="1356" y="473"/>
                    </a:cubicBezTo>
                    <a:cubicBezTo>
                      <a:pt x="1351" y="474"/>
                      <a:pt x="1340" y="464"/>
                      <a:pt x="1340" y="464"/>
                    </a:cubicBezTo>
                    <a:cubicBezTo>
                      <a:pt x="1320" y="467"/>
                      <a:pt x="1320" y="467"/>
                      <a:pt x="1320" y="467"/>
                    </a:cubicBezTo>
                    <a:cubicBezTo>
                      <a:pt x="1299" y="463"/>
                      <a:pt x="1299" y="463"/>
                      <a:pt x="1299" y="463"/>
                    </a:cubicBezTo>
                    <a:cubicBezTo>
                      <a:pt x="1287" y="464"/>
                      <a:pt x="1287" y="464"/>
                      <a:pt x="1287" y="464"/>
                    </a:cubicBezTo>
                    <a:cubicBezTo>
                      <a:pt x="1270" y="459"/>
                      <a:pt x="1270" y="459"/>
                      <a:pt x="1270" y="459"/>
                    </a:cubicBezTo>
                    <a:cubicBezTo>
                      <a:pt x="1270" y="459"/>
                      <a:pt x="1259" y="460"/>
                      <a:pt x="1246" y="460"/>
                    </a:cubicBezTo>
                    <a:cubicBezTo>
                      <a:pt x="1233" y="460"/>
                      <a:pt x="1236" y="454"/>
                      <a:pt x="1236" y="454"/>
                    </a:cubicBezTo>
                    <a:cubicBezTo>
                      <a:pt x="1236" y="454"/>
                      <a:pt x="1228" y="462"/>
                      <a:pt x="1222" y="464"/>
                    </a:cubicBezTo>
                    <a:cubicBezTo>
                      <a:pt x="1216" y="466"/>
                      <a:pt x="1215" y="476"/>
                      <a:pt x="1209" y="484"/>
                    </a:cubicBezTo>
                    <a:cubicBezTo>
                      <a:pt x="1203" y="492"/>
                      <a:pt x="1195" y="489"/>
                      <a:pt x="1195" y="489"/>
                    </a:cubicBezTo>
                    <a:cubicBezTo>
                      <a:pt x="1199" y="507"/>
                      <a:pt x="1199" y="507"/>
                      <a:pt x="1199" y="507"/>
                    </a:cubicBezTo>
                    <a:cubicBezTo>
                      <a:pt x="1191" y="514"/>
                      <a:pt x="1191" y="514"/>
                      <a:pt x="1191" y="514"/>
                    </a:cubicBezTo>
                    <a:cubicBezTo>
                      <a:pt x="1201" y="525"/>
                      <a:pt x="1201" y="525"/>
                      <a:pt x="1201" y="525"/>
                    </a:cubicBezTo>
                    <a:cubicBezTo>
                      <a:pt x="1200" y="542"/>
                      <a:pt x="1200" y="542"/>
                      <a:pt x="1200" y="542"/>
                    </a:cubicBezTo>
                    <a:cubicBezTo>
                      <a:pt x="1196" y="541"/>
                      <a:pt x="1167" y="507"/>
                      <a:pt x="1167" y="507"/>
                    </a:cubicBezTo>
                    <a:cubicBezTo>
                      <a:pt x="1167" y="507"/>
                      <a:pt x="1163" y="492"/>
                      <a:pt x="1163" y="481"/>
                    </a:cubicBezTo>
                    <a:cubicBezTo>
                      <a:pt x="1163" y="470"/>
                      <a:pt x="1181" y="467"/>
                      <a:pt x="1185" y="466"/>
                    </a:cubicBezTo>
                    <a:cubicBezTo>
                      <a:pt x="1189" y="465"/>
                      <a:pt x="1187" y="454"/>
                      <a:pt x="1193" y="448"/>
                    </a:cubicBezTo>
                    <a:cubicBezTo>
                      <a:pt x="1199" y="442"/>
                      <a:pt x="1224" y="448"/>
                      <a:pt x="1228" y="448"/>
                    </a:cubicBezTo>
                    <a:cubicBezTo>
                      <a:pt x="1232" y="448"/>
                      <a:pt x="1240" y="442"/>
                      <a:pt x="1253" y="443"/>
                    </a:cubicBezTo>
                    <a:cubicBezTo>
                      <a:pt x="1266" y="444"/>
                      <a:pt x="1274" y="451"/>
                      <a:pt x="1281" y="452"/>
                    </a:cubicBezTo>
                    <a:cubicBezTo>
                      <a:pt x="1288" y="453"/>
                      <a:pt x="1293" y="456"/>
                      <a:pt x="1306" y="458"/>
                    </a:cubicBezTo>
                    <a:cubicBezTo>
                      <a:pt x="1319" y="460"/>
                      <a:pt x="1315" y="449"/>
                      <a:pt x="1328" y="449"/>
                    </a:cubicBezTo>
                    <a:cubicBezTo>
                      <a:pt x="1341" y="449"/>
                      <a:pt x="1360" y="454"/>
                      <a:pt x="1360" y="454"/>
                    </a:cubicBezTo>
                    <a:cubicBezTo>
                      <a:pt x="1360" y="454"/>
                      <a:pt x="1370" y="445"/>
                      <a:pt x="1384" y="443"/>
                    </a:cubicBezTo>
                    <a:cubicBezTo>
                      <a:pt x="1398" y="441"/>
                      <a:pt x="1390" y="460"/>
                      <a:pt x="1385" y="465"/>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97" name="Jordan">
                <a:extLst>
                  <a:ext uri="{FF2B5EF4-FFF2-40B4-BE49-F238E27FC236}">
                    <a16:creationId xmlns:a16="http://schemas.microsoft.com/office/drawing/2014/main" id="{266834F0-A4ED-4711-9AF7-1311ADBA1AA4}"/>
                  </a:ext>
                </a:extLst>
              </p:cNvPr>
              <p:cNvSpPr>
                <a:spLocks/>
              </p:cNvSpPr>
              <p:nvPr/>
            </p:nvSpPr>
            <p:spPr bwMode="gray">
              <a:xfrm>
                <a:off x="6518056" y="3080717"/>
                <a:ext cx="104793" cy="131702"/>
              </a:xfrm>
              <a:custGeom>
                <a:avLst/>
                <a:gdLst>
                  <a:gd name="T0" fmla="*/ 169 w 186"/>
                  <a:gd name="T1" fmla="*/ 44 h 236"/>
                  <a:gd name="T2" fmla="*/ 169 w 186"/>
                  <a:gd name="T3" fmla="*/ 30 h 236"/>
                  <a:gd name="T4" fmla="*/ 157 w 186"/>
                  <a:gd name="T5" fmla="*/ 0 h 236"/>
                  <a:gd name="T6" fmla="*/ 73 w 186"/>
                  <a:gd name="T7" fmla="*/ 57 h 236"/>
                  <a:gd name="T8" fmla="*/ 45 w 186"/>
                  <a:gd name="T9" fmla="*/ 45 h 236"/>
                  <a:gd name="T10" fmla="*/ 23 w 186"/>
                  <a:gd name="T11" fmla="*/ 33 h 236"/>
                  <a:gd name="T12" fmla="*/ 19 w 186"/>
                  <a:gd name="T13" fmla="*/ 36 h 236"/>
                  <a:gd name="T14" fmla="*/ 16 w 186"/>
                  <a:gd name="T15" fmla="*/ 45 h 236"/>
                  <a:gd name="T16" fmla="*/ 17 w 186"/>
                  <a:gd name="T17" fmla="*/ 93 h 236"/>
                  <a:gd name="T18" fmla="*/ 10 w 186"/>
                  <a:gd name="T19" fmla="*/ 107 h 236"/>
                  <a:gd name="T20" fmla="*/ 16 w 186"/>
                  <a:gd name="T21" fmla="*/ 115 h 236"/>
                  <a:gd name="T22" fmla="*/ 15 w 186"/>
                  <a:gd name="T23" fmla="*/ 134 h 236"/>
                  <a:gd name="T24" fmla="*/ 4 w 186"/>
                  <a:gd name="T25" fmla="*/ 158 h 236"/>
                  <a:gd name="T26" fmla="*/ 0 w 186"/>
                  <a:gd name="T27" fmla="*/ 211 h 236"/>
                  <a:gd name="T28" fmla="*/ 2 w 186"/>
                  <a:gd name="T29" fmla="*/ 217 h 236"/>
                  <a:gd name="T30" fmla="*/ 3 w 186"/>
                  <a:gd name="T31" fmla="*/ 217 h 236"/>
                  <a:gd name="T32" fmla="*/ 55 w 186"/>
                  <a:gd name="T33" fmla="*/ 225 h 236"/>
                  <a:gd name="T34" fmla="*/ 77 w 186"/>
                  <a:gd name="T35" fmla="*/ 185 h 236"/>
                  <a:gd name="T36" fmla="*/ 108 w 186"/>
                  <a:gd name="T37" fmla="*/ 180 h 236"/>
                  <a:gd name="T38" fmla="*/ 122 w 186"/>
                  <a:gd name="T39" fmla="*/ 147 h 236"/>
                  <a:gd name="T40" fmla="*/ 96 w 186"/>
                  <a:gd name="T41" fmla="*/ 108 h 236"/>
                  <a:gd name="T42" fmla="*/ 64 w 186"/>
                  <a:gd name="T43" fmla="*/ 100 h 236"/>
                  <a:gd name="T44" fmla="*/ 96 w 186"/>
                  <a:gd name="T45" fmla="*/ 94 h 236"/>
                  <a:gd name="T46" fmla="*/ 124 w 186"/>
                  <a:gd name="T47" fmla="*/ 94 h 236"/>
                  <a:gd name="T48" fmla="*/ 132 w 186"/>
                  <a:gd name="T49" fmla="*/ 80 h 236"/>
                  <a:gd name="T50" fmla="*/ 166 w 186"/>
                  <a:gd name="T51" fmla="*/ 76 h 236"/>
                  <a:gd name="T52" fmla="*/ 185 w 186"/>
                  <a:gd name="T53" fmla="*/ 62 h 236"/>
                  <a:gd name="T54" fmla="*/ 186 w 186"/>
                  <a:gd name="T55" fmla="*/ 53 h 236"/>
                  <a:gd name="T56" fmla="*/ 169 w 186"/>
                  <a:gd name="T57"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 h="236">
                    <a:moveTo>
                      <a:pt x="169" y="44"/>
                    </a:moveTo>
                    <a:cubicBezTo>
                      <a:pt x="169" y="30"/>
                      <a:pt x="169" y="30"/>
                      <a:pt x="169" y="30"/>
                    </a:cubicBezTo>
                    <a:cubicBezTo>
                      <a:pt x="157" y="0"/>
                      <a:pt x="157" y="0"/>
                      <a:pt x="157" y="0"/>
                    </a:cubicBezTo>
                    <a:cubicBezTo>
                      <a:pt x="154" y="2"/>
                      <a:pt x="94" y="57"/>
                      <a:pt x="73" y="57"/>
                    </a:cubicBezTo>
                    <a:cubicBezTo>
                      <a:pt x="52" y="57"/>
                      <a:pt x="45" y="45"/>
                      <a:pt x="45" y="45"/>
                    </a:cubicBezTo>
                    <a:cubicBezTo>
                      <a:pt x="23" y="33"/>
                      <a:pt x="23" y="33"/>
                      <a:pt x="23" y="33"/>
                    </a:cubicBezTo>
                    <a:cubicBezTo>
                      <a:pt x="19" y="36"/>
                      <a:pt x="19" y="36"/>
                      <a:pt x="19" y="36"/>
                    </a:cubicBezTo>
                    <a:cubicBezTo>
                      <a:pt x="16" y="45"/>
                      <a:pt x="16" y="45"/>
                      <a:pt x="16" y="45"/>
                    </a:cubicBezTo>
                    <a:cubicBezTo>
                      <a:pt x="17" y="93"/>
                      <a:pt x="17" y="93"/>
                      <a:pt x="17" y="93"/>
                    </a:cubicBezTo>
                    <a:cubicBezTo>
                      <a:pt x="17" y="93"/>
                      <a:pt x="10" y="103"/>
                      <a:pt x="10" y="107"/>
                    </a:cubicBezTo>
                    <a:cubicBezTo>
                      <a:pt x="10" y="111"/>
                      <a:pt x="12" y="111"/>
                      <a:pt x="16" y="115"/>
                    </a:cubicBezTo>
                    <a:cubicBezTo>
                      <a:pt x="20" y="119"/>
                      <a:pt x="18" y="127"/>
                      <a:pt x="15" y="134"/>
                    </a:cubicBezTo>
                    <a:cubicBezTo>
                      <a:pt x="12" y="141"/>
                      <a:pt x="4" y="146"/>
                      <a:pt x="4" y="158"/>
                    </a:cubicBezTo>
                    <a:cubicBezTo>
                      <a:pt x="4" y="170"/>
                      <a:pt x="0" y="211"/>
                      <a:pt x="0" y="211"/>
                    </a:cubicBezTo>
                    <a:cubicBezTo>
                      <a:pt x="2" y="217"/>
                      <a:pt x="2" y="217"/>
                      <a:pt x="2" y="217"/>
                    </a:cubicBezTo>
                    <a:cubicBezTo>
                      <a:pt x="2" y="217"/>
                      <a:pt x="3" y="217"/>
                      <a:pt x="3" y="217"/>
                    </a:cubicBezTo>
                    <a:cubicBezTo>
                      <a:pt x="10" y="216"/>
                      <a:pt x="41" y="236"/>
                      <a:pt x="55" y="225"/>
                    </a:cubicBezTo>
                    <a:cubicBezTo>
                      <a:pt x="69" y="214"/>
                      <a:pt x="71" y="187"/>
                      <a:pt x="77" y="185"/>
                    </a:cubicBezTo>
                    <a:cubicBezTo>
                      <a:pt x="83" y="183"/>
                      <a:pt x="100" y="187"/>
                      <a:pt x="108" y="180"/>
                    </a:cubicBezTo>
                    <a:cubicBezTo>
                      <a:pt x="116" y="173"/>
                      <a:pt x="122" y="147"/>
                      <a:pt x="122" y="147"/>
                    </a:cubicBezTo>
                    <a:cubicBezTo>
                      <a:pt x="122" y="147"/>
                      <a:pt x="103" y="112"/>
                      <a:pt x="96" y="108"/>
                    </a:cubicBezTo>
                    <a:cubicBezTo>
                      <a:pt x="89" y="104"/>
                      <a:pt x="57" y="107"/>
                      <a:pt x="64" y="100"/>
                    </a:cubicBezTo>
                    <a:cubicBezTo>
                      <a:pt x="71" y="93"/>
                      <a:pt x="96" y="94"/>
                      <a:pt x="96" y="94"/>
                    </a:cubicBezTo>
                    <a:cubicBezTo>
                      <a:pt x="124" y="94"/>
                      <a:pt x="124" y="94"/>
                      <a:pt x="124" y="94"/>
                    </a:cubicBezTo>
                    <a:cubicBezTo>
                      <a:pt x="132" y="80"/>
                      <a:pt x="132" y="80"/>
                      <a:pt x="132" y="80"/>
                    </a:cubicBezTo>
                    <a:cubicBezTo>
                      <a:pt x="132" y="80"/>
                      <a:pt x="160" y="82"/>
                      <a:pt x="166" y="76"/>
                    </a:cubicBezTo>
                    <a:cubicBezTo>
                      <a:pt x="172" y="70"/>
                      <a:pt x="185" y="62"/>
                      <a:pt x="185" y="62"/>
                    </a:cubicBezTo>
                    <a:cubicBezTo>
                      <a:pt x="186" y="53"/>
                      <a:pt x="186" y="53"/>
                      <a:pt x="186" y="53"/>
                    </a:cubicBezTo>
                    <a:lnTo>
                      <a:pt x="169" y="44"/>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98" name="Jerusalem">
                <a:extLst>
                  <a:ext uri="{FF2B5EF4-FFF2-40B4-BE49-F238E27FC236}">
                    <a16:creationId xmlns:a16="http://schemas.microsoft.com/office/drawing/2014/main" id="{F2FF6BF4-6858-4BF7-B348-23ABDF2F5A0A}"/>
                  </a:ext>
                </a:extLst>
              </p:cNvPr>
              <p:cNvSpPr>
                <a:spLocks/>
              </p:cNvSpPr>
              <p:nvPr/>
            </p:nvSpPr>
            <p:spPr bwMode="gray">
              <a:xfrm>
                <a:off x="6510117" y="3106105"/>
                <a:ext cx="17465" cy="39670"/>
              </a:xfrm>
              <a:custGeom>
                <a:avLst/>
                <a:gdLst>
                  <a:gd name="T0" fmla="*/ 21 w 32"/>
                  <a:gd name="T1" fmla="*/ 54 h 70"/>
                  <a:gd name="T2" fmla="*/ 27 w 32"/>
                  <a:gd name="T3" fmla="*/ 56 h 70"/>
                  <a:gd name="T4" fmla="*/ 32 w 32"/>
                  <a:gd name="T5" fmla="*/ 47 h 70"/>
                  <a:gd name="T6" fmla="*/ 31 w 32"/>
                  <a:gd name="T7" fmla="*/ 1 h 70"/>
                  <a:gd name="T8" fmla="*/ 13 w 32"/>
                  <a:gd name="T9" fmla="*/ 2 h 70"/>
                  <a:gd name="T10" fmla="*/ 6 w 32"/>
                  <a:gd name="T11" fmla="*/ 21 h 70"/>
                  <a:gd name="T12" fmla="*/ 6 w 32"/>
                  <a:gd name="T13" fmla="*/ 40 h 70"/>
                  <a:gd name="T14" fmla="*/ 7 w 32"/>
                  <a:gd name="T15" fmla="*/ 62 h 70"/>
                  <a:gd name="T16" fmla="*/ 21 w 32"/>
                  <a:gd name="T1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70">
                    <a:moveTo>
                      <a:pt x="21" y="54"/>
                    </a:moveTo>
                    <a:cubicBezTo>
                      <a:pt x="22" y="53"/>
                      <a:pt x="24" y="54"/>
                      <a:pt x="27" y="56"/>
                    </a:cubicBezTo>
                    <a:cubicBezTo>
                      <a:pt x="29" y="51"/>
                      <a:pt x="32" y="47"/>
                      <a:pt x="32" y="47"/>
                    </a:cubicBezTo>
                    <a:cubicBezTo>
                      <a:pt x="31" y="1"/>
                      <a:pt x="31" y="1"/>
                      <a:pt x="31" y="1"/>
                    </a:cubicBezTo>
                    <a:cubicBezTo>
                      <a:pt x="26" y="0"/>
                      <a:pt x="17" y="0"/>
                      <a:pt x="13" y="2"/>
                    </a:cubicBezTo>
                    <a:cubicBezTo>
                      <a:pt x="7" y="6"/>
                      <a:pt x="6" y="21"/>
                      <a:pt x="6" y="21"/>
                    </a:cubicBezTo>
                    <a:cubicBezTo>
                      <a:pt x="6" y="21"/>
                      <a:pt x="7" y="34"/>
                      <a:pt x="6" y="40"/>
                    </a:cubicBezTo>
                    <a:cubicBezTo>
                      <a:pt x="5" y="46"/>
                      <a:pt x="0" y="54"/>
                      <a:pt x="7" y="62"/>
                    </a:cubicBezTo>
                    <a:cubicBezTo>
                      <a:pt x="13" y="70"/>
                      <a:pt x="18" y="55"/>
                      <a:pt x="21" y="54"/>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99" name="Japan">
                <a:extLst>
                  <a:ext uri="{FF2B5EF4-FFF2-40B4-BE49-F238E27FC236}">
                    <a16:creationId xmlns:a16="http://schemas.microsoft.com/office/drawing/2014/main" id="{847C93FC-93C0-4EE1-BB57-38CA357987E6}"/>
                  </a:ext>
                </a:extLst>
              </p:cNvPr>
              <p:cNvSpPr>
                <a:spLocks noEditPoints="1"/>
              </p:cNvSpPr>
              <p:nvPr/>
            </p:nvSpPr>
            <p:spPr bwMode="gray">
              <a:xfrm>
                <a:off x="8817155" y="2711000"/>
                <a:ext cx="331845" cy="644228"/>
              </a:xfrm>
              <a:custGeom>
                <a:avLst/>
                <a:gdLst>
                  <a:gd name="T0" fmla="*/ 529 w 591"/>
                  <a:gd name="T1" fmla="*/ 401 h 1153"/>
                  <a:gd name="T2" fmla="*/ 547 w 591"/>
                  <a:gd name="T3" fmla="*/ 349 h 1153"/>
                  <a:gd name="T4" fmla="*/ 492 w 591"/>
                  <a:gd name="T5" fmla="*/ 276 h 1153"/>
                  <a:gd name="T6" fmla="*/ 448 w 591"/>
                  <a:gd name="T7" fmla="*/ 241 h 1153"/>
                  <a:gd name="T8" fmla="*/ 441 w 591"/>
                  <a:gd name="T9" fmla="*/ 258 h 1153"/>
                  <a:gd name="T10" fmla="*/ 418 w 591"/>
                  <a:gd name="T11" fmla="*/ 264 h 1153"/>
                  <a:gd name="T12" fmla="*/ 456 w 591"/>
                  <a:gd name="T13" fmla="*/ 373 h 1153"/>
                  <a:gd name="T14" fmla="*/ 443 w 591"/>
                  <a:gd name="T15" fmla="*/ 450 h 1153"/>
                  <a:gd name="T16" fmla="*/ 383 w 591"/>
                  <a:gd name="T17" fmla="*/ 448 h 1153"/>
                  <a:gd name="T18" fmla="*/ 367 w 591"/>
                  <a:gd name="T19" fmla="*/ 514 h 1153"/>
                  <a:gd name="T20" fmla="*/ 259 w 591"/>
                  <a:gd name="T21" fmla="*/ 546 h 1153"/>
                  <a:gd name="T22" fmla="*/ 179 w 591"/>
                  <a:gd name="T23" fmla="*/ 601 h 1153"/>
                  <a:gd name="T24" fmla="*/ 241 w 591"/>
                  <a:gd name="T25" fmla="*/ 607 h 1153"/>
                  <a:gd name="T26" fmla="*/ 331 w 591"/>
                  <a:gd name="T27" fmla="*/ 584 h 1153"/>
                  <a:gd name="T28" fmla="*/ 407 w 591"/>
                  <a:gd name="T29" fmla="*/ 654 h 1153"/>
                  <a:gd name="T30" fmla="*/ 415 w 591"/>
                  <a:gd name="T31" fmla="*/ 583 h 1153"/>
                  <a:gd name="T32" fmla="*/ 464 w 591"/>
                  <a:gd name="T33" fmla="*/ 585 h 1153"/>
                  <a:gd name="T34" fmla="*/ 528 w 591"/>
                  <a:gd name="T35" fmla="*/ 556 h 1153"/>
                  <a:gd name="T36" fmla="*/ 578 w 591"/>
                  <a:gd name="T37" fmla="*/ 538 h 1153"/>
                  <a:gd name="T38" fmla="*/ 299 w 591"/>
                  <a:gd name="T39" fmla="*/ 628 h 1153"/>
                  <a:gd name="T40" fmla="*/ 276 w 591"/>
                  <a:gd name="T41" fmla="*/ 674 h 1153"/>
                  <a:gd name="T42" fmla="*/ 358 w 591"/>
                  <a:gd name="T43" fmla="*/ 638 h 1153"/>
                  <a:gd name="T44" fmla="*/ 256 w 591"/>
                  <a:gd name="T45" fmla="*/ 689 h 1153"/>
                  <a:gd name="T46" fmla="*/ 184 w 591"/>
                  <a:gd name="T47" fmla="*/ 634 h 1153"/>
                  <a:gd name="T48" fmla="*/ 174 w 591"/>
                  <a:gd name="T49" fmla="*/ 687 h 1153"/>
                  <a:gd name="T50" fmla="*/ 182 w 591"/>
                  <a:gd name="T51" fmla="*/ 727 h 1153"/>
                  <a:gd name="T52" fmla="*/ 233 w 591"/>
                  <a:gd name="T53" fmla="*/ 780 h 1153"/>
                  <a:gd name="T54" fmla="*/ 172 w 591"/>
                  <a:gd name="T55" fmla="*/ 718 h 1153"/>
                  <a:gd name="T56" fmla="*/ 432 w 591"/>
                  <a:gd name="T57" fmla="*/ 423 h 1153"/>
                  <a:gd name="T58" fmla="*/ 411 w 591"/>
                  <a:gd name="T59" fmla="*/ 400 h 1153"/>
                  <a:gd name="T60" fmla="*/ 374 w 591"/>
                  <a:gd name="T61" fmla="*/ 72 h 1153"/>
                  <a:gd name="T62" fmla="*/ 354 w 591"/>
                  <a:gd name="T63" fmla="*/ 123 h 1153"/>
                  <a:gd name="T64" fmla="*/ 390 w 591"/>
                  <a:gd name="T65" fmla="*/ 198 h 1153"/>
                  <a:gd name="T66" fmla="*/ 437 w 591"/>
                  <a:gd name="T67" fmla="*/ 205 h 1153"/>
                  <a:gd name="T68" fmla="*/ 409 w 591"/>
                  <a:gd name="T69" fmla="*/ 179 h 1153"/>
                  <a:gd name="T70" fmla="*/ 557 w 591"/>
                  <a:gd name="T71" fmla="*/ 147 h 1153"/>
                  <a:gd name="T72" fmla="*/ 523 w 591"/>
                  <a:gd name="T73" fmla="*/ 96 h 1153"/>
                  <a:gd name="T74" fmla="*/ 194 w 591"/>
                  <a:gd name="T75" fmla="*/ 984 h 1153"/>
                  <a:gd name="T76" fmla="*/ 208 w 591"/>
                  <a:gd name="T77" fmla="*/ 933 h 1153"/>
                  <a:gd name="T78" fmla="*/ 208 w 591"/>
                  <a:gd name="T79" fmla="*/ 933 h 1153"/>
                  <a:gd name="T80" fmla="*/ 230 w 591"/>
                  <a:gd name="T81" fmla="*/ 810 h 1153"/>
                  <a:gd name="T82" fmla="*/ 252 w 591"/>
                  <a:gd name="T83" fmla="*/ 792 h 1153"/>
                  <a:gd name="T84" fmla="*/ 252 w 591"/>
                  <a:gd name="T85" fmla="*/ 792 h 1153"/>
                  <a:gd name="T86" fmla="*/ 32 w 591"/>
                  <a:gd name="T87" fmla="*/ 1144 h 1153"/>
                  <a:gd name="T88" fmla="*/ 90 w 591"/>
                  <a:gd name="T89" fmla="*/ 1125 h 1153"/>
                  <a:gd name="T90" fmla="*/ 16 w 591"/>
                  <a:gd name="T91" fmla="*/ 1134 h 1153"/>
                  <a:gd name="T92" fmla="*/ 184 w 591"/>
                  <a:gd name="T93" fmla="*/ 1008 h 1153"/>
                  <a:gd name="T94" fmla="*/ 198 w 591"/>
                  <a:gd name="T95" fmla="*/ 1014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1" h="1153">
                    <a:moveTo>
                      <a:pt x="591" y="531"/>
                    </a:moveTo>
                    <a:cubicBezTo>
                      <a:pt x="591" y="531"/>
                      <a:pt x="559" y="513"/>
                      <a:pt x="560" y="499"/>
                    </a:cubicBezTo>
                    <a:cubicBezTo>
                      <a:pt x="561" y="485"/>
                      <a:pt x="562" y="459"/>
                      <a:pt x="556" y="447"/>
                    </a:cubicBezTo>
                    <a:cubicBezTo>
                      <a:pt x="550" y="435"/>
                      <a:pt x="526" y="418"/>
                      <a:pt x="529" y="401"/>
                    </a:cubicBezTo>
                    <a:cubicBezTo>
                      <a:pt x="532" y="384"/>
                      <a:pt x="548" y="389"/>
                      <a:pt x="548" y="389"/>
                    </a:cubicBezTo>
                    <a:cubicBezTo>
                      <a:pt x="545" y="362"/>
                      <a:pt x="545" y="362"/>
                      <a:pt x="545" y="362"/>
                    </a:cubicBezTo>
                    <a:cubicBezTo>
                      <a:pt x="537" y="356"/>
                      <a:pt x="537" y="356"/>
                      <a:pt x="537" y="356"/>
                    </a:cubicBezTo>
                    <a:cubicBezTo>
                      <a:pt x="547" y="349"/>
                      <a:pt x="547" y="349"/>
                      <a:pt x="547" y="349"/>
                    </a:cubicBezTo>
                    <a:cubicBezTo>
                      <a:pt x="547" y="349"/>
                      <a:pt x="542" y="331"/>
                      <a:pt x="538" y="321"/>
                    </a:cubicBezTo>
                    <a:cubicBezTo>
                      <a:pt x="534" y="311"/>
                      <a:pt x="520" y="303"/>
                      <a:pt x="520" y="303"/>
                    </a:cubicBezTo>
                    <a:cubicBezTo>
                      <a:pt x="516" y="290"/>
                      <a:pt x="516" y="290"/>
                      <a:pt x="516" y="290"/>
                    </a:cubicBezTo>
                    <a:cubicBezTo>
                      <a:pt x="516" y="290"/>
                      <a:pt x="501" y="283"/>
                      <a:pt x="492" y="276"/>
                    </a:cubicBezTo>
                    <a:cubicBezTo>
                      <a:pt x="483" y="269"/>
                      <a:pt x="468" y="253"/>
                      <a:pt x="468" y="244"/>
                    </a:cubicBezTo>
                    <a:cubicBezTo>
                      <a:pt x="468" y="235"/>
                      <a:pt x="465" y="231"/>
                      <a:pt x="465" y="231"/>
                    </a:cubicBezTo>
                    <a:cubicBezTo>
                      <a:pt x="465" y="231"/>
                      <a:pt x="442" y="214"/>
                      <a:pt x="439" y="226"/>
                    </a:cubicBezTo>
                    <a:cubicBezTo>
                      <a:pt x="436" y="238"/>
                      <a:pt x="448" y="241"/>
                      <a:pt x="448" y="241"/>
                    </a:cubicBezTo>
                    <a:cubicBezTo>
                      <a:pt x="455" y="237"/>
                      <a:pt x="455" y="237"/>
                      <a:pt x="455" y="237"/>
                    </a:cubicBezTo>
                    <a:cubicBezTo>
                      <a:pt x="455" y="237"/>
                      <a:pt x="463" y="256"/>
                      <a:pt x="459" y="256"/>
                    </a:cubicBezTo>
                    <a:cubicBezTo>
                      <a:pt x="455" y="256"/>
                      <a:pt x="450" y="249"/>
                      <a:pt x="450" y="249"/>
                    </a:cubicBezTo>
                    <a:cubicBezTo>
                      <a:pt x="441" y="258"/>
                      <a:pt x="441" y="258"/>
                      <a:pt x="441" y="258"/>
                    </a:cubicBezTo>
                    <a:cubicBezTo>
                      <a:pt x="428" y="237"/>
                      <a:pt x="428" y="237"/>
                      <a:pt x="428" y="237"/>
                    </a:cubicBezTo>
                    <a:cubicBezTo>
                      <a:pt x="416" y="237"/>
                      <a:pt x="416" y="237"/>
                      <a:pt x="416" y="237"/>
                    </a:cubicBezTo>
                    <a:cubicBezTo>
                      <a:pt x="430" y="261"/>
                      <a:pt x="430" y="261"/>
                      <a:pt x="430" y="261"/>
                    </a:cubicBezTo>
                    <a:cubicBezTo>
                      <a:pt x="418" y="264"/>
                      <a:pt x="418" y="264"/>
                      <a:pt x="418" y="264"/>
                    </a:cubicBezTo>
                    <a:cubicBezTo>
                      <a:pt x="437" y="296"/>
                      <a:pt x="437" y="296"/>
                      <a:pt x="437" y="296"/>
                    </a:cubicBezTo>
                    <a:cubicBezTo>
                      <a:pt x="430" y="304"/>
                      <a:pt x="430" y="304"/>
                      <a:pt x="430" y="304"/>
                    </a:cubicBezTo>
                    <a:cubicBezTo>
                      <a:pt x="430" y="304"/>
                      <a:pt x="466" y="322"/>
                      <a:pt x="464" y="337"/>
                    </a:cubicBezTo>
                    <a:cubicBezTo>
                      <a:pt x="462" y="352"/>
                      <a:pt x="456" y="373"/>
                      <a:pt x="456" y="373"/>
                    </a:cubicBezTo>
                    <a:cubicBezTo>
                      <a:pt x="454" y="391"/>
                      <a:pt x="454" y="391"/>
                      <a:pt x="454" y="391"/>
                    </a:cubicBezTo>
                    <a:cubicBezTo>
                      <a:pt x="454" y="391"/>
                      <a:pt x="475" y="404"/>
                      <a:pt x="465" y="411"/>
                    </a:cubicBezTo>
                    <a:cubicBezTo>
                      <a:pt x="455" y="418"/>
                      <a:pt x="447" y="414"/>
                      <a:pt x="447" y="414"/>
                    </a:cubicBezTo>
                    <a:cubicBezTo>
                      <a:pt x="447" y="414"/>
                      <a:pt x="454" y="444"/>
                      <a:pt x="443" y="450"/>
                    </a:cubicBezTo>
                    <a:cubicBezTo>
                      <a:pt x="432" y="456"/>
                      <a:pt x="409" y="464"/>
                      <a:pt x="409" y="464"/>
                    </a:cubicBezTo>
                    <a:cubicBezTo>
                      <a:pt x="409" y="473"/>
                      <a:pt x="409" y="473"/>
                      <a:pt x="409" y="473"/>
                    </a:cubicBezTo>
                    <a:cubicBezTo>
                      <a:pt x="409" y="473"/>
                      <a:pt x="398" y="477"/>
                      <a:pt x="389" y="467"/>
                    </a:cubicBezTo>
                    <a:cubicBezTo>
                      <a:pt x="380" y="457"/>
                      <a:pt x="383" y="448"/>
                      <a:pt x="383" y="448"/>
                    </a:cubicBezTo>
                    <a:cubicBezTo>
                      <a:pt x="386" y="435"/>
                      <a:pt x="386" y="435"/>
                      <a:pt x="386" y="435"/>
                    </a:cubicBezTo>
                    <a:cubicBezTo>
                      <a:pt x="386" y="435"/>
                      <a:pt x="360" y="440"/>
                      <a:pt x="364" y="450"/>
                    </a:cubicBezTo>
                    <a:cubicBezTo>
                      <a:pt x="368" y="460"/>
                      <a:pt x="381" y="474"/>
                      <a:pt x="379" y="481"/>
                    </a:cubicBezTo>
                    <a:cubicBezTo>
                      <a:pt x="377" y="488"/>
                      <a:pt x="363" y="504"/>
                      <a:pt x="367" y="514"/>
                    </a:cubicBezTo>
                    <a:cubicBezTo>
                      <a:pt x="371" y="524"/>
                      <a:pt x="384" y="539"/>
                      <a:pt x="374" y="540"/>
                    </a:cubicBezTo>
                    <a:cubicBezTo>
                      <a:pt x="364" y="541"/>
                      <a:pt x="338" y="529"/>
                      <a:pt x="329" y="530"/>
                    </a:cubicBezTo>
                    <a:cubicBezTo>
                      <a:pt x="320" y="531"/>
                      <a:pt x="281" y="546"/>
                      <a:pt x="278" y="546"/>
                    </a:cubicBezTo>
                    <a:cubicBezTo>
                      <a:pt x="275" y="546"/>
                      <a:pt x="259" y="546"/>
                      <a:pt x="259" y="546"/>
                    </a:cubicBezTo>
                    <a:cubicBezTo>
                      <a:pt x="251" y="538"/>
                      <a:pt x="251" y="538"/>
                      <a:pt x="251" y="538"/>
                    </a:cubicBezTo>
                    <a:cubicBezTo>
                      <a:pt x="229" y="555"/>
                      <a:pt x="229" y="555"/>
                      <a:pt x="229" y="555"/>
                    </a:cubicBezTo>
                    <a:cubicBezTo>
                      <a:pt x="229" y="555"/>
                      <a:pt x="202" y="600"/>
                      <a:pt x="198" y="600"/>
                    </a:cubicBezTo>
                    <a:cubicBezTo>
                      <a:pt x="194" y="600"/>
                      <a:pt x="179" y="601"/>
                      <a:pt x="179" y="601"/>
                    </a:cubicBezTo>
                    <a:cubicBezTo>
                      <a:pt x="179" y="601"/>
                      <a:pt x="184" y="625"/>
                      <a:pt x="191" y="625"/>
                    </a:cubicBezTo>
                    <a:cubicBezTo>
                      <a:pt x="198" y="625"/>
                      <a:pt x="210" y="621"/>
                      <a:pt x="210" y="621"/>
                    </a:cubicBezTo>
                    <a:cubicBezTo>
                      <a:pt x="210" y="621"/>
                      <a:pt x="229" y="632"/>
                      <a:pt x="234" y="630"/>
                    </a:cubicBezTo>
                    <a:cubicBezTo>
                      <a:pt x="239" y="628"/>
                      <a:pt x="241" y="607"/>
                      <a:pt x="241" y="607"/>
                    </a:cubicBezTo>
                    <a:cubicBezTo>
                      <a:pt x="256" y="615"/>
                      <a:pt x="256" y="615"/>
                      <a:pt x="256" y="615"/>
                    </a:cubicBezTo>
                    <a:cubicBezTo>
                      <a:pt x="256" y="615"/>
                      <a:pt x="290" y="598"/>
                      <a:pt x="295" y="595"/>
                    </a:cubicBezTo>
                    <a:cubicBezTo>
                      <a:pt x="300" y="592"/>
                      <a:pt x="313" y="601"/>
                      <a:pt x="321" y="600"/>
                    </a:cubicBezTo>
                    <a:cubicBezTo>
                      <a:pt x="329" y="599"/>
                      <a:pt x="314" y="584"/>
                      <a:pt x="331" y="584"/>
                    </a:cubicBezTo>
                    <a:cubicBezTo>
                      <a:pt x="348" y="584"/>
                      <a:pt x="352" y="593"/>
                      <a:pt x="352" y="593"/>
                    </a:cubicBezTo>
                    <a:cubicBezTo>
                      <a:pt x="352" y="593"/>
                      <a:pt x="372" y="580"/>
                      <a:pt x="376" y="588"/>
                    </a:cubicBezTo>
                    <a:cubicBezTo>
                      <a:pt x="380" y="596"/>
                      <a:pt x="367" y="615"/>
                      <a:pt x="367" y="615"/>
                    </a:cubicBezTo>
                    <a:cubicBezTo>
                      <a:pt x="367" y="615"/>
                      <a:pt x="387" y="654"/>
                      <a:pt x="407" y="654"/>
                    </a:cubicBezTo>
                    <a:cubicBezTo>
                      <a:pt x="427" y="654"/>
                      <a:pt x="425" y="616"/>
                      <a:pt x="425" y="616"/>
                    </a:cubicBezTo>
                    <a:cubicBezTo>
                      <a:pt x="447" y="612"/>
                      <a:pt x="447" y="612"/>
                      <a:pt x="447" y="612"/>
                    </a:cubicBezTo>
                    <a:cubicBezTo>
                      <a:pt x="447" y="612"/>
                      <a:pt x="430" y="592"/>
                      <a:pt x="427" y="591"/>
                    </a:cubicBezTo>
                    <a:cubicBezTo>
                      <a:pt x="424" y="590"/>
                      <a:pt x="415" y="583"/>
                      <a:pt x="415" y="583"/>
                    </a:cubicBezTo>
                    <a:cubicBezTo>
                      <a:pt x="426" y="568"/>
                      <a:pt x="426" y="568"/>
                      <a:pt x="426" y="568"/>
                    </a:cubicBezTo>
                    <a:cubicBezTo>
                      <a:pt x="435" y="567"/>
                      <a:pt x="429" y="581"/>
                      <a:pt x="439" y="581"/>
                    </a:cubicBezTo>
                    <a:cubicBezTo>
                      <a:pt x="449" y="581"/>
                      <a:pt x="452" y="594"/>
                      <a:pt x="452" y="594"/>
                    </a:cubicBezTo>
                    <a:cubicBezTo>
                      <a:pt x="464" y="585"/>
                      <a:pt x="464" y="585"/>
                      <a:pt x="464" y="585"/>
                    </a:cubicBezTo>
                    <a:cubicBezTo>
                      <a:pt x="464" y="585"/>
                      <a:pt x="479" y="593"/>
                      <a:pt x="494" y="589"/>
                    </a:cubicBezTo>
                    <a:cubicBezTo>
                      <a:pt x="509" y="585"/>
                      <a:pt x="491" y="564"/>
                      <a:pt x="508" y="566"/>
                    </a:cubicBezTo>
                    <a:cubicBezTo>
                      <a:pt x="525" y="568"/>
                      <a:pt x="516" y="596"/>
                      <a:pt x="527" y="590"/>
                    </a:cubicBezTo>
                    <a:cubicBezTo>
                      <a:pt x="538" y="584"/>
                      <a:pt x="520" y="561"/>
                      <a:pt x="528" y="556"/>
                    </a:cubicBezTo>
                    <a:cubicBezTo>
                      <a:pt x="536" y="551"/>
                      <a:pt x="541" y="553"/>
                      <a:pt x="541" y="553"/>
                    </a:cubicBezTo>
                    <a:cubicBezTo>
                      <a:pt x="541" y="553"/>
                      <a:pt x="543" y="522"/>
                      <a:pt x="555" y="534"/>
                    </a:cubicBezTo>
                    <a:cubicBezTo>
                      <a:pt x="567" y="546"/>
                      <a:pt x="548" y="571"/>
                      <a:pt x="568" y="570"/>
                    </a:cubicBezTo>
                    <a:cubicBezTo>
                      <a:pt x="588" y="569"/>
                      <a:pt x="578" y="538"/>
                      <a:pt x="578" y="538"/>
                    </a:cubicBezTo>
                    <a:lnTo>
                      <a:pt x="591" y="531"/>
                    </a:lnTo>
                    <a:close/>
                    <a:moveTo>
                      <a:pt x="338" y="618"/>
                    </a:moveTo>
                    <a:cubicBezTo>
                      <a:pt x="338" y="618"/>
                      <a:pt x="321" y="605"/>
                      <a:pt x="312" y="606"/>
                    </a:cubicBezTo>
                    <a:cubicBezTo>
                      <a:pt x="292" y="608"/>
                      <a:pt x="299" y="628"/>
                      <a:pt x="299" y="628"/>
                    </a:cubicBezTo>
                    <a:cubicBezTo>
                      <a:pt x="299" y="628"/>
                      <a:pt x="282" y="622"/>
                      <a:pt x="272" y="624"/>
                    </a:cubicBezTo>
                    <a:cubicBezTo>
                      <a:pt x="262" y="626"/>
                      <a:pt x="269" y="648"/>
                      <a:pt x="269" y="648"/>
                    </a:cubicBezTo>
                    <a:cubicBezTo>
                      <a:pt x="257" y="659"/>
                      <a:pt x="257" y="659"/>
                      <a:pt x="257" y="659"/>
                    </a:cubicBezTo>
                    <a:cubicBezTo>
                      <a:pt x="257" y="659"/>
                      <a:pt x="270" y="667"/>
                      <a:pt x="276" y="674"/>
                    </a:cubicBezTo>
                    <a:cubicBezTo>
                      <a:pt x="282" y="681"/>
                      <a:pt x="305" y="695"/>
                      <a:pt x="305" y="695"/>
                    </a:cubicBezTo>
                    <a:cubicBezTo>
                      <a:pt x="305" y="695"/>
                      <a:pt x="299" y="664"/>
                      <a:pt x="314" y="654"/>
                    </a:cubicBezTo>
                    <a:cubicBezTo>
                      <a:pt x="329" y="644"/>
                      <a:pt x="351" y="672"/>
                      <a:pt x="351" y="672"/>
                    </a:cubicBezTo>
                    <a:cubicBezTo>
                      <a:pt x="351" y="672"/>
                      <a:pt x="356" y="650"/>
                      <a:pt x="358" y="638"/>
                    </a:cubicBezTo>
                    <a:cubicBezTo>
                      <a:pt x="360" y="626"/>
                      <a:pt x="351" y="615"/>
                      <a:pt x="351" y="615"/>
                    </a:cubicBezTo>
                    <a:lnTo>
                      <a:pt x="338" y="618"/>
                    </a:lnTo>
                    <a:close/>
                    <a:moveTo>
                      <a:pt x="241" y="709"/>
                    </a:moveTo>
                    <a:cubicBezTo>
                      <a:pt x="241" y="698"/>
                      <a:pt x="256" y="689"/>
                      <a:pt x="256" y="689"/>
                    </a:cubicBezTo>
                    <a:cubicBezTo>
                      <a:pt x="255" y="677"/>
                      <a:pt x="232" y="662"/>
                      <a:pt x="232" y="662"/>
                    </a:cubicBezTo>
                    <a:cubicBezTo>
                      <a:pt x="232" y="662"/>
                      <a:pt x="231" y="652"/>
                      <a:pt x="224" y="649"/>
                    </a:cubicBezTo>
                    <a:cubicBezTo>
                      <a:pt x="217" y="646"/>
                      <a:pt x="212" y="648"/>
                      <a:pt x="212" y="648"/>
                    </a:cubicBezTo>
                    <a:cubicBezTo>
                      <a:pt x="212" y="648"/>
                      <a:pt x="191" y="634"/>
                      <a:pt x="184" y="634"/>
                    </a:cubicBezTo>
                    <a:cubicBezTo>
                      <a:pt x="177" y="634"/>
                      <a:pt x="168" y="646"/>
                      <a:pt x="168" y="646"/>
                    </a:cubicBezTo>
                    <a:cubicBezTo>
                      <a:pt x="143" y="660"/>
                      <a:pt x="143" y="660"/>
                      <a:pt x="143" y="660"/>
                    </a:cubicBezTo>
                    <a:cubicBezTo>
                      <a:pt x="162" y="693"/>
                      <a:pt x="162" y="693"/>
                      <a:pt x="162" y="693"/>
                    </a:cubicBezTo>
                    <a:cubicBezTo>
                      <a:pt x="174" y="687"/>
                      <a:pt x="174" y="687"/>
                      <a:pt x="174" y="687"/>
                    </a:cubicBezTo>
                    <a:cubicBezTo>
                      <a:pt x="174" y="687"/>
                      <a:pt x="167" y="668"/>
                      <a:pt x="175" y="672"/>
                    </a:cubicBezTo>
                    <a:cubicBezTo>
                      <a:pt x="183" y="676"/>
                      <a:pt x="195" y="697"/>
                      <a:pt x="195" y="697"/>
                    </a:cubicBezTo>
                    <a:cubicBezTo>
                      <a:pt x="194" y="722"/>
                      <a:pt x="194" y="722"/>
                      <a:pt x="194" y="722"/>
                    </a:cubicBezTo>
                    <a:cubicBezTo>
                      <a:pt x="182" y="727"/>
                      <a:pt x="182" y="727"/>
                      <a:pt x="182" y="727"/>
                    </a:cubicBezTo>
                    <a:cubicBezTo>
                      <a:pt x="182" y="727"/>
                      <a:pt x="193" y="774"/>
                      <a:pt x="203" y="776"/>
                    </a:cubicBezTo>
                    <a:cubicBezTo>
                      <a:pt x="213" y="778"/>
                      <a:pt x="211" y="746"/>
                      <a:pt x="211" y="746"/>
                    </a:cubicBezTo>
                    <a:cubicBezTo>
                      <a:pt x="232" y="753"/>
                      <a:pt x="232" y="753"/>
                      <a:pt x="232" y="753"/>
                    </a:cubicBezTo>
                    <a:cubicBezTo>
                      <a:pt x="232" y="753"/>
                      <a:pt x="229" y="780"/>
                      <a:pt x="233" y="780"/>
                    </a:cubicBezTo>
                    <a:cubicBezTo>
                      <a:pt x="237" y="780"/>
                      <a:pt x="251" y="756"/>
                      <a:pt x="251" y="756"/>
                    </a:cubicBezTo>
                    <a:cubicBezTo>
                      <a:pt x="251" y="756"/>
                      <a:pt x="241" y="720"/>
                      <a:pt x="241" y="709"/>
                    </a:cubicBezTo>
                    <a:close/>
                    <a:moveTo>
                      <a:pt x="183" y="693"/>
                    </a:moveTo>
                    <a:cubicBezTo>
                      <a:pt x="172" y="718"/>
                      <a:pt x="172" y="718"/>
                      <a:pt x="172" y="718"/>
                    </a:cubicBezTo>
                    <a:cubicBezTo>
                      <a:pt x="184" y="715"/>
                      <a:pt x="184" y="715"/>
                      <a:pt x="184" y="715"/>
                    </a:cubicBezTo>
                    <a:lnTo>
                      <a:pt x="183" y="693"/>
                    </a:lnTo>
                    <a:close/>
                    <a:moveTo>
                      <a:pt x="424" y="424"/>
                    </a:moveTo>
                    <a:cubicBezTo>
                      <a:pt x="432" y="423"/>
                      <a:pt x="432" y="423"/>
                      <a:pt x="432" y="423"/>
                    </a:cubicBezTo>
                    <a:cubicBezTo>
                      <a:pt x="431" y="407"/>
                      <a:pt x="431" y="407"/>
                      <a:pt x="431" y="407"/>
                    </a:cubicBezTo>
                    <a:cubicBezTo>
                      <a:pt x="425" y="405"/>
                      <a:pt x="425" y="405"/>
                      <a:pt x="425" y="405"/>
                    </a:cubicBezTo>
                    <a:cubicBezTo>
                      <a:pt x="415" y="392"/>
                      <a:pt x="415" y="392"/>
                      <a:pt x="415" y="392"/>
                    </a:cubicBezTo>
                    <a:cubicBezTo>
                      <a:pt x="411" y="400"/>
                      <a:pt x="411" y="400"/>
                      <a:pt x="411" y="400"/>
                    </a:cubicBezTo>
                    <a:cubicBezTo>
                      <a:pt x="419" y="409"/>
                      <a:pt x="419" y="409"/>
                      <a:pt x="419" y="409"/>
                    </a:cubicBezTo>
                    <a:lnTo>
                      <a:pt x="424" y="424"/>
                    </a:lnTo>
                    <a:close/>
                    <a:moveTo>
                      <a:pt x="372" y="57"/>
                    </a:moveTo>
                    <a:cubicBezTo>
                      <a:pt x="374" y="72"/>
                      <a:pt x="374" y="72"/>
                      <a:pt x="374" y="72"/>
                    </a:cubicBezTo>
                    <a:cubicBezTo>
                      <a:pt x="374" y="72"/>
                      <a:pt x="391" y="83"/>
                      <a:pt x="391" y="90"/>
                    </a:cubicBezTo>
                    <a:cubicBezTo>
                      <a:pt x="391" y="97"/>
                      <a:pt x="384" y="110"/>
                      <a:pt x="384" y="110"/>
                    </a:cubicBezTo>
                    <a:cubicBezTo>
                      <a:pt x="384" y="110"/>
                      <a:pt x="402" y="132"/>
                      <a:pt x="397" y="133"/>
                    </a:cubicBezTo>
                    <a:cubicBezTo>
                      <a:pt x="391" y="134"/>
                      <a:pt x="359" y="125"/>
                      <a:pt x="354" y="123"/>
                    </a:cubicBezTo>
                    <a:cubicBezTo>
                      <a:pt x="348" y="122"/>
                      <a:pt x="369" y="143"/>
                      <a:pt x="369" y="143"/>
                    </a:cubicBezTo>
                    <a:cubicBezTo>
                      <a:pt x="352" y="161"/>
                      <a:pt x="352" y="161"/>
                      <a:pt x="352" y="161"/>
                    </a:cubicBezTo>
                    <a:cubicBezTo>
                      <a:pt x="352" y="161"/>
                      <a:pt x="358" y="173"/>
                      <a:pt x="361" y="179"/>
                    </a:cubicBezTo>
                    <a:cubicBezTo>
                      <a:pt x="363" y="184"/>
                      <a:pt x="390" y="198"/>
                      <a:pt x="390" y="198"/>
                    </a:cubicBezTo>
                    <a:cubicBezTo>
                      <a:pt x="390" y="198"/>
                      <a:pt x="381" y="231"/>
                      <a:pt x="404" y="230"/>
                    </a:cubicBezTo>
                    <a:cubicBezTo>
                      <a:pt x="414" y="229"/>
                      <a:pt x="398" y="211"/>
                      <a:pt x="410" y="211"/>
                    </a:cubicBezTo>
                    <a:cubicBezTo>
                      <a:pt x="423" y="211"/>
                      <a:pt x="433" y="211"/>
                      <a:pt x="433" y="211"/>
                    </a:cubicBezTo>
                    <a:cubicBezTo>
                      <a:pt x="437" y="205"/>
                      <a:pt x="437" y="205"/>
                      <a:pt x="437" y="205"/>
                    </a:cubicBezTo>
                    <a:cubicBezTo>
                      <a:pt x="412" y="189"/>
                      <a:pt x="412" y="189"/>
                      <a:pt x="412" y="189"/>
                    </a:cubicBezTo>
                    <a:cubicBezTo>
                      <a:pt x="399" y="189"/>
                      <a:pt x="399" y="189"/>
                      <a:pt x="399" y="189"/>
                    </a:cubicBezTo>
                    <a:cubicBezTo>
                      <a:pt x="399" y="189"/>
                      <a:pt x="365" y="176"/>
                      <a:pt x="381" y="169"/>
                    </a:cubicBezTo>
                    <a:cubicBezTo>
                      <a:pt x="398" y="162"/>
                      <a:pt x="409" y="179"/>
                      <a:pt x="409" y="179"/>
                    </a:cubicBezTo>
                    <a:cubicBezTo>
                      <a:pt x="409" y="179"/>
                      <a:pt x="423" y="168"/>
                      <a:pt x="433" y="166"/>
                    </a:cubicBezTo>
                    <a:cubicBezTo>
                      <a:pt x="442" y="165"/>
                      <a:pt x="513" y="202"/>
                      <a:pt x="519" y="198"/>
                    </a:cubicBezTo>
                    <a:cubicBezTo>
                      <a:pt x="524" y="194"/>
                      <a:pt x="505" y="155"/>
                      <a:pt x="523" y="148"/>
                    </a:cubicBezTo>
                    <a:cubicBezTo>
                      <a:pt x="541" y="141"/>
                      <a:pt x="539" y="157"/>
                      <a:pt x="557" y="147"/>
                    </a:cubicBezTo>
                    <a:cubicBezTo>
                      <a:pt x="575" y="137"/>
                      <a:pt x="578" y="130"/>
                      <a:pt x="578" y="130"/>
                    </a:cubicBezTo>
                    <a:cubicBezTo>
                      <a:pt x="542" y="107"/>
                      <a:pt x="542" y="107"/>
                      <a:pt x="542" y="107"/>
                    </a:cubicBezTo>
                    <a:cubicBezTo>
                      <a:pt x="542" y="107"/>
                      <a:pt x="542" y="83"/>
                      <a:pt x="535" y="78"/>
                    </a:cubicBezTo>
                    <a:cubicBezTo>
                      <a:pt x="528" y="72"/>
                      <a:pt x="523" y="96"/>
                      <a:pt x="523" y="96"/>
                    </a:cubicBezTo>
                    <a:cubicBezTo>
                      <a:pt x="523" y="96"/>
                      <a:pt x="455" y="80"/>
                      <a:pt x="440" y="69"/>
                    </a:cubicBezTo>
                    <a:cubicBezTo>
                      <a:pt x="424" y="58"/>
                      <a:pt x="350" y="0"/>
                      <a:pt x="340" y="11"/>
                    </a:cubicBezTo>
                    <a:cubicBezTo>
                      <a:pt x="330" y="22"/>
                      <a:pt x="372" y="57"/>
                      <a:pt x="372" y="57"/>
                    </a:cubicBezTo>
                    <a:close/>
                    <a:moveTo>
                      <a:pt x="194" y="984"/>
                    </a:moveTo>
                    <a:cubicBezTo>
                      <a:pt x="209" y="984"/>
                      <a:pt x="209" y="984"/>
                      <a:pt x="209" y="984"/>
                    </a:cubicBezTo>
                    <a:cubicBezTo>
                      <a:pt x="192" y="972"/>
                      <a:pt x="192" y="972"/>
                      <a:pt x="192" y="972"/>
                    </a:cubicBezTo>
                    <a:lnTo>
                      <a:pt x="194" y="984"/>
                    </a:lnTo>
                    <a:close/>
                    <a:moveTo>
                      <a:pt x="208" y="933"/>
                    </a:moveTo>
                    <a:cubicBezTo>
                      <a:pt x="210" y="942"/>
                      <a:pt x="214" y="942"/>
                      <a:pt x="214" y="942"/>
                    </a:cubicBezTo>
                    <a:cubicBezTo>
                      <a:pt x="224" y="944"/>
                      <a:pt x="225" y="934"/>
                      <a:pt x="225" y="934"/>
                    </a:cubicBezTo>
                    <a:cubicBezTo>
                      <a:pt x="225" y="934"/>
                      <a:pt x="240" y="933"/>
                      <a:pt x="233" y="922"/>
                    </a:cubicBezTo>
                    <a:cubicBezTo>
                      <a:pt x="226" y="912"/>
                      <a:pt x="205" y="924"/>
                      <a:pt x="208" y="933"/>
                    </a:cubicBezTo>
                    <a:close/>
                    <a:moveTo>
                      <a:pt x="214" y="956"/>
                    </a:moveTo>
                    <a:cubicBezTo>
                      <a:pt x="204" y="952"/>
                      <a:pt x="205" y="961"/>
                      <a:pt x="205" y="961"/>
                    </a:cubicBezTo>
                    <a:cubicBezTo>
                      <a:pt x="220" y="968"/>
                      <a:pt x="225" y="960"/>
                      <a:pt x="214" y="956"/>
                    </a:cubicBezTo>
                    <a:close/>
                    <a:moveTo>
                      <a:pt x="230" y="810"/>
                    </a:moveTo>
                    <a:cubicBezTo>
                      <a:pt x="230" y="814"/>
                      <a:pt x="217" y="820"/>
                      <a:pt x="217" y="820"/>
                    </a:cubicBezTo>
                    <a:cubicBezTo>
                      <a:pt x="234" y="829"/>
                      <a:pt x="234" y="829"/>
                      <a:pt x="234" y="829"/>
                    </a:cubicBezTo>
                    <a:cubicBezTo>
                      <a:pt x="234" y="829"/>
                      <a:pt x="230" y="806"/>
                      <a:pt x="230" y="810"/>
                    </a:cubicBezTo>
                    <a:close/>
                    <a:moveTo>
                      <a:pt x="252" y="792"/>
                    </a:moveTo>
                    <a:cubicBezTo>
                      <a:pt x="252" y="796"/>
                      <a:pt x="248" y="805"/>
                      <a:pt x="248" y="805"/>
                    </a:cubicBezTo>
                    <a:cubicBezTo>
                      <a:pt x="257" y="825"/>
                      <a:pt x="257" y="825"/>
                      <a:pt x="257" y="825"/>
                    </a:cubicBezTo>
                    <a:cubicBezTo>
                      <a:pt x="258" y="814"/>
                      <a:pt x="258" y="814"/>
                      <a:pt x="258" y="814"/>
                    </a:cubicBezTo>
                    <a:cubicBezTo>
                      <a:pt x="258" y="814"/>
                      <a:pt x="252" y="788"/>
                      <a:pt x="252" y="792"/>
                    </a:cubicBezTo>
                    <a:close/>
                    <a:moveTo>
                      <a:pt x="32" y="1144"/>
                    </a:moveTo>
                    <a:cubicBezTo>
                      <a:pt x="36" y="1144"/>
                      <a:pt x="54" y="1138"/>
                      <a:pt x="54" y="1138"/>
                    </a:cubicBezTo>
                    <a:cubicBezTo>
                      <a:pt x="36" y="1129"/>
                      <a:pt x="36" y="1129"/>
                      <a:pt x="36" y="1129"/>
                    </a:cubicBezTo>
                    <a:cubicBezTo>
                      <a:pt x="36" y="1129"/>
                      <a:pt x="28" y="1144"/>
                      <a:pt x="32" y="1144"/>
                    </a:cubicBezTo>
                    <a:close/>
                    <a:moveTo>
                      <a:pt x="81" y="1117"/>
                    </a:moveTo>
                    <a:cubicBezTo>
                      <a:pt x="72" y="1100"/>
                      <a:pt x="72" y="1100"/>
                      <a:pt x="72" y="1100"/>
                    </a:cubicBezTo>
                    <a:cubicBezTo>
                      <a:pt x="72" y="1110"/>
                      <a:pt x="72" y="1110"/>
                      <a:pt x="72" y="1110"/>
                    </a:cubicBezTo>
                    <a:cubicBezTo>
                      <a:pt x="70" y="1126"/>
                      <a:pt x="85" y="1133"/>
                      <a:pt x="90" y="1125"/>
                    </a:cubicBezTo>
                    <a:cubicBezTo>
                      <a:pt x="96" y="1117"/>
                      <a:pt x="81" y="1117"/>
                      <a:pt x="81" y="1117"/>
                    </a:cubicBezTo>
                    <a:close/>
                    <a:moveTo>
                      <a:pt x="16" y="1134"/>
                    </a:moveTo>
                    <a:cubicBezTo>
                      <a:pt x="0" y="1133"/>
                      <a:pt x="9" y="1150"/>
                      <a:pt x="9" y="1150"/>
                    </a:cubicBezTo>
                    <a:cubicBezTo>
                      <a:pt x="21" y="1153"/>
                      <a:pt x="32" y="1136"/>
                      <a:pt x="16" y="1134"/>
                    </a:cubicBezTo>
                    <a:close/>
                    <a:moveTo>
                      <a:pt x="118" y="1033"/>
                    </a:moveTo>
                    <a:cubicBezTo>
                      <a:pt x="118" y="1041"/>
                      <a:pt x="129" y="1041"/>
                      <a:pt x="129" y="1041"/>
                    </a:cubicBezTo>
                    <a:cubicBezTo>
                      <a:pt x="136" y="1029"/>
                      <a:pt x="118" y="1025"/>
                      <a:pt x="118" y="1033"/>
                    </a:cubicBezTo>
                    <a:close/>
                    <a:moveTo>
                      <a:pt x="184" y="1008"/>
                    </a:moveTo>
                    <a:cubicBezTo>
                      <a:pt x="174" y="1018"/>
                      <a:pt x="165" y="1050"/>
                      <a:pt x="165" y="1050"/>
                    </a:cubicBezTo>
                    <a:cubicBezTo>
                      <a:pt x="178" y="1053"/>
                      <a:pt x="178" y="1053"/>
                      <a:pt x="178" y="1053"/>
                    </a:cubicBezTo>
                    <a:cubicBezTo>
                      <a:pt x="178" y="1053"/>
                      <a:pt x="190" y="1032"/>
                      <a:pt x="186" y="1032"/>
                    </a:cubicBezTo>
                    <a:cubicBezTo>
                      <a:pt x="182" y="1032"/>
                      <a:pt x="198" y="1014"/>
                      <a:pt x="198" y="1014"/>
                    </a:cubicBezTo>
                    <a:cubicBezTo>
                      <a:pt x="198" y="1014"/>
                      <a:pt x="193" y="997"/>
                      <a:pt x="184" y="1008"/>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00" name="Israel">
                <a:extLst>
                  <a:ext uri="{FF2B5EF4-FFF2-40B4-BE49-F238E27FC236}">
                    <a16:creationId xmlns:a16="http://schemas.microsoft.com/office/drawing/2014/main" id="{625C475D-D164-45DF-BD47-DA9050FE78F9}"/>
                  </a:ext>
                </a:extLst>
              </p:cNvPr>
              <p:cNvSpPr>
                <a:spLocks/>
              </p:cNvSpPr>
              <p:nvPr/>
            </p:nvSpPr>
            <p:spPr bwMode="gray">
              <a:xfrm>
                <a:off x="6495826" y="3077543"/>
                <a:ext cx="36518" cy="120594"/>
              </a:xfrm>
              <a:custGeom>
                <a:avLst/>
                <a:gdLst>
                  <a:gd name="T0" fmla="*/ 0 w 67"/>
                  <a:gd name="T1" fmla="*/ 113 h 216"/>
                  <a:gd name="T2" fmla="*/ 36 w 67"/>
                  <a:gd name="T3" fmla="*/ 206 h 216"/>
                  <a:gd name="T4" fmla="*/ 41 w 67"/>
                  <a:gd name="T5" fmla="*/ 216 h 216"/>
                  <a:gd name="T6" fmla="*/ 45 w 67"/>
                  <a:gd name="T7" fmla="*/ 163 h 216"/>
                  <a:gd name="T8" fmla="*/ 56 w 67"/>
                  <a:gd name="T9" fmla="*/ 139 h 216"/>
                  <a:gd name="T10" fmla="*/ 57 w 67"/>
                  <a:gd name="T11" fmla="*/ 120 h 216"/>
                  <a:gd name="T12" fmla="*/ 51 w 67"/>
                  <a:gd name="T13" fmla="*/ 112 h 216"/>
                  <a:gd name="T14" fmla="*/ 53 w 67"/>
                  <a:gd name="T15" fmla="*/ 107 h 216"/>
                  <a:gd name="T16" fmla="*/ 47 w 67"/>
                  <a:gd name="T17" fmla="*/ 105 h 216"/>
                  <a:gd name="T18" fmla="*/ 33 w 67"/>
                  <a:gd name="T19" fmla="*/ 113 h 216"/>
                  <a:gd name="T20" fmla="*/ 32 w 67"/>
                  <a:gd name="T21" fmla="*/ 91 h 216"/>
                  <a:gd name="T22" fmla="*/ 32 w 67"/>
                  <a:gd name="T23" fmla="*/ 72 h 216"/>
                  <a:gd name="T24" fmla="*/ 39 w 67"/>
                  <a:gd name="T25" fmla="*/ 53 h 216"/>
                  <a:gd name="T26" fmla="*/ 57 w 67"/>
                  <a:gd name="T27" fmla="*/ 52 h 216"/>
                  <a:gd name="T28" fmla="*/ 57 w 67"/>
                  <a:gd name="T29" fmla="*/ 50 h 216"/>
                  <a:gd name="T30" fmla="*/ 60 w 67"/>
                  <a:gd name="T31" fmla="*/ 41 h 216"/>
                  <a:gd name="T32" fmla="*/ 57 w 67"/>
                  <a:gd name="T33" fmla="*/ 11 h 216"/>
                  <a:gd name="T34" fmla="*/ 67 w 67"/>
                  <a:gd name="T35" fmla="*/ 0 h 216"/>
                  <a:gd name="T36" fmla="*/ 52 w 67"/>
                  <a:gd name="T37" fmla="*/ 3 h 216"/>
                  <a:gd name="T38" fmla="*/ 48 w 67"/>
                  <a:gd name="T39" fmla="*/ 20 h 216"/>
                  <a:gd name="T40" fmla="*/ 34 w 67"/>
                  <a:gd name="T41" fmla="*/ 21 h 216"/>
                  <a:gd name="T42" fmla="*/ 27 w 67"/>
                  <a:gd name="T43" fmla="*/ 34 h 216"/>
                  <a:gd name="T44" fmla="*/ 22 w 67"/>
                  <a:gd name="T45" fmla="*/ 39 h 216"/>
                  <a:gd name="T46" fmla="*/ 27 w 67"/>
                  <a:gd name="T47" fmla="*/ 63 h 216"/>
                  <a:gd name="T48" fmla="*/ 13 w 67"/>
                  <a:gd name="T49" fmla="*/ 89 h 216"/>
                  <a:gd name="T50" fmla="*/ 11 w 67"/>
                  <a:gd name="T51" fmla="*/ 105 h 216"/>
                  <a:gd name="T52" fmla="*/ 0 w 67"/>
                  <a:gd name="T53" fmla="*/ 11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 h="216">
                    <a:moveTo>
                      <a:pt x="0" y="113"/>
                    </a:moveTo>
                    <a:cubicBezTo>
                      <a:pt x="36" y="206"/>
                      <a:pt x="36" y="206"/>
                      <a:pt x="36" y="206"/>
                    </a:cubicBezTo>
                    <a:cubicBezTo>
                      <a:pt x="41" y="216"/>
                      <a:pt x="41" y="216"/>
                      <a:pt x="41" y="216"/>
                    </a:cubicBezTo>
                    <a:cubicBezTo>
                      <a:pt x="41" y="216"/>
                      <a:pt x="45" y="175"/>
                      <a:pt x="45" y="163"/>
                    </a:cubicBezTo>
                    <a:cubicBezTo>
                      <a:pt x="45" y="151"/>
                      <a:pt x="53" y="146"/>
                      <a:pt x="56" y="139"/>
                    </a:cubicBezTo>
                    <a:cubicBezTo>
                      <a:pt x="59" y="132"/>
                      <a:pt x="61" y="124"/>
                      <a:pt x="57" y="120"/>
                    </a:cubicBezTo>
                    <a:cubicBezTo>
                      <a:pt x="53" y="116"/>
                      <a:pt x="51" y="116"/>
                      <a:pt x="51" y="112"/>
                    </a:cubicBezTo>
                    <a:cubicBezTo>
                      <a:pt x="51" y="111"/>
                      <a:pt x="52" y="109"/>
                      <a:pt x="53" y="107"/>
                    </a:cubicBezTo>
                    <a:cubicBezTo>
                      <a:pt x="50" y="105"/>
                      <a:pt x="48" y="104"/>
                      <a:pt x="47" y="105"/>
                    </a:cubicBezTo>
                    <a:cubicBezTo>
                      <a:pt x="44" y="106"/>
                      <a:pt x="39" y="121"/>
                      <a:pt x="33" y="113"/>
                    </a:cubicBezTo>
                    <a:cubicBezTo>
                      <a:pt x="26" y="105"/>
                      <a:pt x="31" y="97"/>
                      <a:pt x="32" y="91"/>
                    </a:cubicBezTo>
                    <a:cubicBezTo>
                      <a:pt x="33" y="85"/>
                      <a:pt x="32" y="72"/>
                      <a:pt x="32" y="72"/>
                    </a:cubicBezTo>
                    <a:cubicBezTo>
                      <a:pt x="32" y="72"/>
                      <a:pt x="33" y="57"/>
                      <a:pt x="39" y="53"/>
                    </a:cubicBezTo>
                    <a:cubicBezTo>
                      <a:pt x="43" y="51"/>
                      <a:pt x="52" y="51"/>
                      <a:pt x="57" y="52"/>
                    </a:cubicBezTo>
                    <a:cubicBezTo>
                      <a:pt x="57" y="50"/>
                      <a:pt x="57" y="50"/>
                      <a:pt x="57" y="50"/>
                    </a:cubicBezTo>
                    <a:cubicBezTo>
                      <a:pt x="60" y="41"/>
                      <a:pt x="60" y="41"/>
                      <a:pt x="60" y="41"/>
                    </a:cubicBezTo>
                    <a:cubicBezTo>
                      <a:pt x="57" y="11"/>
                      <a:pt x="57" y="11"/>
                      <a:pt x="57" y="11"/>
                    </a:cubicBezTo>
                    <a:cubicBezTo>
                      <a:pt x="67" y="0"/>
                      <a:pt x="67" y="0"/>
                      <a:pt x="67" y="0"/>
                    </a:cubicBezTo>
                    <a:cubicBezTo>
                      <a:pt x="52" y="3"/>
                      <a:pt x="52" y="3"/>
                      <a:pt x="52" y="3"/>
                    </a:cubicBezTo>
                    <a:cubicBezTo>
                      <a:pt x="52" y="3"/>
                      <a:pt x="53" y="13"/>
                      <a:pt x="48" y="20"/>
                    </a:cubicBezTo>
                    <a:cubicBezTo>
                      <a:pt x="43" y="27"/>
                      <a:pt x="34" y="21"/>
                      <a:pt x="34" y="21"/>
                    </a:cubicBezTo>
                    <a:cubicBezTo>
                      <a:pt x="27" y="34"/>
                      <a:pt x="27" y="34"/>
                      <a:pt x="27" y="34"/>
                    </a:cubicBezTo>
                    <a:cubicBezTo>
                      <a:pt x="22" y="39"/>
                      <a:pt x="22" y="39"/>
                      <a:pt x="22" y="39"/>
                    </a:cubicBezTo>
                    <a:cubicBezTo>
                      <a:pt x="23" y="52"/>
                      <a:pt x="27" y="63"/>
                      <a:pt x="27" y="63"/>
                    </a:cubicBezTo>
                    <a:cubicBezTo>
                      <a:pt x="13" y="89"/>
                      <a:pt x="13" y="89"/>
                      <a:pt x="13" y="89"/>
                    </a:cubicBezTo>
                    <a:cubicBezTo>
                      <a:pt x="11" y="105"/>
                      <a:pt x="11" y="105"/>
                      <a:pt x="11" y="105"/>
                    </a:cubicBezTo>
                    <a:lnTo>
                      <a:pt x="0" y="113"/>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01" name="Iraq">
                <a:extLst>
                  <a:ext uri="{FF2B5EF4-FFF2-40B4-BE49-F238E27FC236}">
                    <a16:creationId xmlns:a16="http://schemas.microsoft.com/office/drawing/2014/main" id="{1A08CED2-BF0E-4AD6-A60B-8D06C96F5C3A}"/>
                  </a:ext>
                </a:extLst>
              </p:cNvPr>
              <p:cNvSpPr>
                <a:spLocks/>
              </p:cNvSpPr>
              <p:nvPr/>
            </p:nvSpPr>
            <p:spPr bwMode="gray">
              <a:xfrm>
                <a:off x="6605383" y="2958536"/>
                <a:ext cx="254044" cy="247535"/>
              </a:xfrm>
              <a:custGeom>
                <a:avLst/>
                <a:gdLst>
                  <a:gd name="T0" fmla="*/ 448 w 454"/>
                  <a:gd name="T1" fmla="*/ 378 h 442"/>
                  <a:gd name="T2" fmla="*/ 432 w 454"/>
                  <a:gd name="T3" fmla="*/ 365 h 442"/>
                  <a:gd name="T4" fmla="*/ 428 w 454"/>
                  <a:gd name="T5" fmla="*/ 346 h 442"/>
                  <a:gd name="T6" fmla="*/ 415 w 454"/>
                  <a:gd name="T7" fmla="*/ 340 h 442"/>
                  <a:gd name="T8" fmla="*/ 415 w 454"/>
                  <a:gd name="T9" fmla="*/ 295 h 442"/>
                  <a:gd name="T10" fmla="*/ 393 w 454"/>
                  <a:gd name="T11" fmla="*/ 270 h 442"/>
                  <a:gd name="T12" fmla="*/ 380 w 454"/>
                  <a:gd name="T13" fmla="*/ 258 h 442"/>
                  <a:gd name="T14" fmla="*/ 348 w 454"/>
                  <a:gd name="T15" fmla="*/ 240 h 442"/>
                  <a:gd name="T16" fmla="*/ 335 w 454"/>
                  <a:gd name="T17" fmla="*/ 239 h 442"/>
                  <a:gd name="T18" fmla="*/ 335 w 454"/>
                  <a:gd name="T19" fmla="*/ 212 h 442"/>
                  <a:gd name="T20" fmla="*/ 291 w 454"/>
                  <a:gd name="T21" fmla="*/ 182 h 442"/>
                  <a:gd name="T22" fmla="*/ 299 w 454"/>
                  <a:gd name="T23" fmla="*/ 168 h 442"/>
                  <a:gd name="T24" fmla="*/ 291 w 454"/>
                  <a:gd name="T25" fmla="*/ 154 h 442"/>
                  <a:gd name="T26" fmla="*/ 305 w 454"/>
                  <a:gd name="T27" fmla="*/ 148 h 442"/>
                  <a:gd name="T28" fmla="*/ 304 w 454"/>
                  <a:gd name="T29" fmla="*/ 135 h 442"/>
                  <a:gd name="T30" fmla="*/ 305 w 454"/>
                  <a:gd name="T31" fmla="*/ 126 h 442"/>
                  <a:gd name="T32" fmla="*/ 318 w 454"/>
                  <a:gd name="T33" fmla="*/ 118 h 442"/>
                  <a:gd name="T34" fmla="*/ 307 w 454"/>
                  <a:gd name="T35" fmla="*/ 97 h 442"/>
                  <a:gd name="T36" fmla="*/ 318 w 454"/>
                  <a:gd name="T37" fmla="*/ 80 h 442"/>
                  <a:gd name="T38" fmla="*/ 299 w 454"/>
                  <a:gd name="T39" fmla="*/ 85 h 442"/>
                  <a:gd name="T40" fmla="*/ 288 w 454"/>
                  <a:gd name="T41" fmla="*/ 73 h 442"/>
                  <a:gd name="T42" fmla="*/ 274 w 454"/>
                  <a:gd name="T43" fmla="*/ 71 h 442"/>
                  <a:gd name="T44" fmla="*/ 265 w 454"/>
                  <a:gd name="T45" fmla="*/ 50 h 442"/>
                  <a:gd name="T46" fmla="*/ 249 w 454"/>
                  <a:gd name="T47" fmla="*/ 8 h 442"/>
                  <a:gd name="T48" fmla="*/ 222 w 454"/>
                  <a:gd name="T49" fmla="*/ 19 h 442"/>
                  <a:gd name="T50" fmla="*/ 210 w 454"/>
                  <a:gd name="T51" fmla="*/ 1 h 442"/>
                  <a:gd name="T52" fmla="*/ 196 w 454"/>
                  <a:gd name="T53" fmla="*/ 10 h 442"/>
                  <a:gd name="T54" fmla="*/ 179 w 454"/>
                  <a:gd name="T55" fmla="*/ 1 h 442"/>
                  <a:gd name="T56" fmla="*/ 153 w 454"/>
                  <a:gd name="T57" fmla="*/ 1 h 442"/>
                  <a:gd name="T58" fmla="*/ 142 w 454"/>
                  <a:gd name="T59" fmla="*/ 17 h 442"/>
                  <a:gd name="T60" fmla="*/ 140 w 454"/>
                  <a:gd name="T61" fmla="*/ 17 h 442"/>
                  <a:gd name="T62" fmla="*/ 124 w 454"/>
                  <a:gd name="T63" fmla="*/ 37 h 442"/>
                  <a:gd name="T64" fmla="*/ 92 w 454"/>
                  <a:gd name="T65" fmla="*/ 53 h 442"/>
                  <a:gd name="T66" fmla="*/ 103 w 454"/>
                  <a:gd name="T67" fmla="*/ 75 h 442"/>
                  <a:gd name="T68" fmla="*/ 107 w 454"/>
                  <a:gd name="T69" fmla="*/ 110 h 442"/>
                  <a:gd name="T70" fmla="*/ 98 w 454"/>
                  <a:gd name="T71" fmla="*/ 129 h 442"/>
                  <a:gd name="T72" fmla="*/ 104 w 454"/>
                  <a:gd name="T73" fmla="*/ 154 h 442"/>
                  <a:gd name="T74" fmla="*/ 43 w 454"/>
                  <a:gd name="T75" fmla="*/ 181 h 442"/>
                  <a:gd name="T76" fmla="*/ 0 w 454"/>
                  <a:gd name="T77" fmla="*/ 216 h 442"/>
                  <a:gd name="T78" fmla="*/ 0 w 454"/>
                  <a:gd name="T79" fmla="*/ 216 h 442"/>
                  <a:gd name="T80" fmla="*/ 12 w 454"/>
                  <a:gd name="T81" fmla="*/ 246 h 442"/>
                  <a:gd name="T82" fmla="*/ 12 w 454"/>
                  <a:gd name="T83" fmla="*/ 260 h 442"/>
                  <a:gd name="T84" fmla="*/ 29 w 454"/>
                  <a:gd name="T85" fmla="*/ 269 h 442"/>
                  <a:gd name="T86" fmla="*/ 28 w 454"/>
                  <a:gd name="T87" fmla="*/ 278 h 442"/>
                  <a:gd name="T88" fmla="*/ 44 w 454"/>
                  <a:gd name="T89" fmla="*/ 287 h 442"/>
                  <a:gd name="T90" fmla="*/ 78 w 454"/>
                  <a:gd name="T91" fmla="*/ 287 h 442"/>
                  <a:gd name="T92" fmla="*/ 127 w 454"/>
                  <a:gd name="T93" fmla="*/ 321 h 442"/>
                  <a:gd name="T94" fmla="*/ 160 w 454"/>
                  <a:gd name="T95" fmla="*/ 341 h 442"/>
                  <a:gd name="T96" fmla="*/ 288 w 454"/>
                  <a:gd name="T97" fmla="*/ 438 h 442"/>
                  <a:gd name="T98" fmla="*/ 376 w 454"/>
                  <a:gd name="T99" fmla="*/ 442 h 442"/>
                  <a:gd name="T100" fmla="*/ 376 w 454"/>
                  <a:gd name="T101" fmla="*/ 442 h 442"/>
                  <a:gd name="T102" fmla="*/ 387 w 454"/>
                  <a:gd name="T103" fmla="*/ 422 h 442"/>
                  <a:gd name="T104" fmla="*/ 396 w 454"/>
                  <a:gd name="T105" fmla="*/ 395 h 442"/>
                  <a:gd name="T106" fmla="*/ 411 w 454"/>
                  <a:gd name="T107" fmla="*/ 393 h 442"/>
                  <a:gd name="T108" fmla="*/ 431 w 454"/>
                  <a:gd name="T109" fmla="*/ 393 h 442"/>
                  <a:gd name="T110" fmla="*/ 433 w 454"/>
                  <a:gd name="T111" fmla="*/ 398 h 442"/>
                  <a:gd name="T112" fmla="*/ 451 w 454"/>
                  <a:gd name="T113" fmla="*/ 392 h 442"/>
                  <a:gd name="T114" fmla="*/ 454 w 454"/>
                  <a:gd name="T115" fmla="*/ 387 h 442"/>
                  <a:gd name="T116" fmla="*/ 448 w 454"/>
                  <a:gd name="T117" fmla="*/ 3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4" h="442">
                    <a:moveTo>
                      <a:pt x="448" y="378"/>
                    </a:moveTo>
                    <a:cubicBezTo>
                      <a:pt x="447" y="369"/>
                      <a:pt x="432" y="365"/>
                      <a:pt x="432" y="365"/>
                    </a:cubicBezTo>
                    <a:cubicBezTo>
                      <a:pt x="428" y="346"/>
                      <a:pt x="428" y="346"/>
                      <a:pt x="428" y="346"/>
                    </a:cubicBezTo>
                    <a:cubicBezTo>
                      <a:pt x="428" y="346"/>
                      <a:pt x="423" y="346"/>
                      <a:pt x="415" y="340"/>
                    </a:cubicBezTo>
                    <a:cubicBezTo>
                      <a:pt x="407" y="334"/>
                      <a:pt x="415" y="295"/>
                      <a:pt x="415" y="295"/>
                    </a:cubicBezTo>
                    <a:cubicBezTo>
                      <a:pt x="393" y="270"/>
                      <a:pt x="393" y="270"/>
                      <a:pt x="393" y="270"/>
                    </a:cubicBezTo>
                    <a:cubicBezTo>
                      <a:pt x="393" y="270"/>
                      <a:pt x="391" y="258"/>
                      <a:pt x="380" y="258"/>
                    </a:cubicBezTo>
                    <a:cubicBezTo>
                      <a:pt x="369" y="258"/>
                      <a:pt x="348" y="240"/>
                      <a:pt x="348" y="240"/>
                    </a:cubicBezTo>
                    <a:cubicBezTo>
                      <a:pt x="335" y="239"/>
                      <a:pt x="335" y="239"/>
                      <a:pt x="335" y="239"/>
                    </a:cubicBezTo>
                    <a:cubicBezTo>
                      <a:pt x="335" y="212"/>
                      <a:pt x="335" y="212"/>
                      <a:pt x="335" y="212"/>
                    </a:cubicBezTo>
                    <a:cubicBezTo>
                      <a:pt x="335" y="212"/>
                      <a:pt x="293" y="191"/>
                      <a:pt x="291" y="182"/>
                    </a:cubicBezTo>
                    <a:cubicBezTo>
                      <a:pt x="289" y="173"/>
                      <a:pt x="299" y="168"/>
                      <a:pt x="299" y="168"/>
                    </a:cubicBezTo>
                    <a:cubicBezTo>
                      <a:pt x="299" y="168"/>
                      <a:pt x="290" y="161"/>
                      <a:pt x="291" y="154"/>
                    </a:cubicBezTo>
                    <a:cubicBezTo>
                      <a:pt x="292" y="147"/>
                      <a:pt x="305" y="148"/>
                      <a:pt x="305" y="148"/>
                    </a:cubicBezTo>
                    <a:cubicBezTo>
                      <a:pt x="304" y="135"/>
                      <a:pt x="304" y="135"/>
                      <a:pt x="304" y="135"/>
                    </a:cubicBezTo>
                    <a:cubicBezTo>
                      <a:pt x="305" y="126"/>
                      <a:pt x="305" y="126"/>
                      <a:pt x="305" y="126"/>
                    </a:cubicBezTo>
                    <a:cubicBezTo>
                      <a:pt x="305" y="126"/>
                      <a:pt x="315" y="126"/>
                      <a:pt x="318" y="118"/>
                    </a:cubicBezTo>
                    <a:cubicBezTo>
                      <a:pt x="321" y="110"/>
                      <a:pt x="307" y="101"/>
                      <a:pt x="307" y="97"/>
                    </a:cubicBezTo>
                    <a:cubicBezTo>
                      <a:pt x="307" y="93"/>
                      <a:pt x="323" y="84"/>
                      <a:pt x="318" y="80"/>
                    </a:cubicBezTo>
                    <a:cubicBezTo>
                      <a:pt x="313" y="76"/>
                      <a:pt x="299" y="85"/>
                      <a:pt x="299" y="85"/>
                    </a:cubicBezTo>
                    <a:cubicBezTo>
                      <a:pt x="288" y="73"/>
                      <a:pt x="288" y="73"/>
                      <a:pt x="288" y="73"/>
                    </a:cubicBezTo>
                    <a:cubicBezTo>
                      <a:pt x="274" y="71"/>
                      <a:pt x="274" y="71"/>
                      <a:pt x="274" y="71"/>
                    </a:cubicBezTo>
                    <a:cubicBezTo>
                      <a:pt x="274" y="71"/>
                      <a:pt x="277" y="61"/>
                      <a:pt x="265" y="50"/>
                    </a:cubicBezTo>
                    <a:cubicBezTo>
                      <a:pt x="256" y="42"/>
                      <a:pt x="251" y="19"/>
                      <a:pt x="249" y="8"/>
                    </a:cubicBezTo>
                    <a:cubicBezTo>
                      <a:pt x="222" y="19"/>
                      <a:pt x="222" y="19"/>
                      <a:pt x="222" y="19"/>
                    </a:cubicBezTo>
                    <a:cubicBezTo>
                      <a:pt x="222" y="19"/>
                      <a:pt x="224" y="2"/>
                      <a:pt x="210" y="1"/>
                    </a:cubicBezTo>
                    <a:cubicBezTo>
                      <a:pt x="196" y="0"/>
                      <a:pt x="204" y="8"/>
                      <a:pt x="196" y="10"/>
                    </a:cubicBezTo>
                    <a:cubicBezTo>
                      <a:pt x="188" y="12"/>
                      <a:pt x="179" y="1"/>
                      <a:pt x="179" y="1"/>
                    </a:cubicBezTo>
                    <a:cubicBezTo>
                      <a:pt x="153" y="1"/>
                      <a:pt x="153" y="1"/>
                      <a:pt x="153" y="1"/>
                    </a:cubicBezTo>
                    <a:cubicBezTo>
                      <a:pt x="153" y="1"/>
                      <a:pt x="154" y="14"/>
                      <a:pt x="142" y="17"/>
                    </a:cubicBezTo>
                    <a:cubicBezTo>
                      <a:pt x="141" y="17"/>
                      <a:pt x="141" y="17"/>
                      <a:pt x="140" y="17"/>
                    </a:cubicBezTo>
                    <a:cubicBezTo>
                      <a:pt x="138" y="24"/>
                      <a:pt x="133" y="33"/>
                      <a:pt x="124" y="37"/>
                    </a:cubicBezTo>
                    <a:cubicBezTo>
                      <a:pt x="108" y="44"/>
                      <a:pt x="96" y="39"/>
                      <a:pt x="92" y="53"/>
                    </a:cubicBezTo>
                    <a:cubicBezTo>
                      <a:pt x="88" y="67"/>
                      <a:pt x="103" y="75"/>
                      <a:pt x="103" y="75"/>
                    </a:cubicBezTo>
                    <a:cubicBezTo>
                      <a:pt x="103" y="75"/>
                      <a:pt x="111" y="105"/>
                      <a:pt x="107" y="110"/>
                    </a:cubicBezTo>
                    <a:cubicBezTo>
                      <a:pt x="103" y="115"/>
                      <a:pt x="97" y="122"/>
                      <a:pt x="98" y="129"/>
                    </a:cubicBezTo>
                    <a:cubicBezTo>
                      <a:pt x="99" y="136"/>
                      <a:pt x="116" y="145"/>
                      <a:pt x="104" y="154"/>
                    </a:cubicBezTo>
                    <a:cubicBezTo>
                      <a:pt x="92" y="163"/>
                      <a:pt x="43" y="181"/>
                      <a:pt x="43" y="181"/>
                    </a:cubicBezTo>
                    <a:cubicBezTo>
                      <a:pt x="0" y="216"/>
                      <a:pt x="0" y="216"/>
                      <a:pt x="0" y="216"/>
                    </a:cubicBezTo>
                    <a:cubicBezTo>
                      <a:pt x="0" y="216"/>
                      <a:pt x="0" y="216"/>
                      <a:pt x="0" y="216"/>
                    </a:cubicBezTo>
                    <a:cubicBezTo>
                      <a:pt x="12" y="246"/>
                      <a:pt x="12" y="246"/>
                      <a:pt x="12" y="246"/>
                    </a:cubicBezTo>
                    <a:cubicBezTo>
                      <a:pt x="12" y="260"/>
                      <a:pt x="12" y="260"/>
                      <a:pt x="12" y="260"/>
                    </a:cubicBezTo>
                    <a:cubicBezTo>
                      <a:pt x="29" y="269"/>
                      <a:pt x="29" y="269"/>
                      <a:pt x="29" y="269"/>
                    </a:cubicBezTo>
                    <a:cubicBezTo>
                      <a:pt x="28" y="278"/>
                      <a:pt x="28" y="278"/>
                      <a:pt x="28" y="278"/>
                    </a:cubicBezTo>
                    <a:cubicBezTo>
                      <a:pt x="28" y="278"/>
                      <a:pt x="35" y="288"/>
                      <a:pt x="44" y="287"/>
                    </a:cubicBezTo>
                    <a:cubicBezTo>
                      <a:pt x="53" y="286"/>
                      <a:pt x="78" y="287"/>
                      <a:pt x="78" y="287"/>
                    </a:cubicBezTo>
                    <a:cubicBezTo>
                      <a:pt x="78" y="287"/>
                      <a:pt x="115" y="315"/>
                      <a:pt x="127" y="321"/>
                    </a:cubicBezTo>
                    <a:cubicBezTo>
                      <a:pt x="139" y="327"/>
                      <a:pt x="160" y="341"/>
                      <a:pt x="160" y="341"/>
                    </a:cubicBezTo>
                    <a:cubicBezTo>
                      <a:pt x="288" y="438"/>
                      <a:pt x="288" y="438"/>
                      <a:pt x="288" y="438"/>
                    </a:cubicBezTo>
                    <a:cubicBezTo>
                      <a:pt x="288" y="438"/>
                      <a:pt x="339" y="439"/>
                      <a:pt x="376" y="442"/>
                    </a:cubicBezTo>
                    <a:cubicBezTo>
                      <a:pt x="376" y="442"/>
                      <a:pt x="376" y="442"/>
                      <a:pt x="376" y="442"/>
                    </a:cubicBezTo>
                    <a:cubicBezTo>
                      <a:pt x="379" y="438"/>
                      <a:pt x="386" y="431"/>
                      <a:pt x="387" y="422"/>
                    </a:cubicBezTo>
                    <a:cubicBezTo>
                      <a:pt x="389" y="410"/>
                      <a:pt x="396" y="395"/>
                      <a:pt x="396" y="395"/>
                    </a:cubicBezTo>
                    <a:cubicBezTo>
                      <a:pt x="411" y="393"/>
                      <a:pt x="411" y="393"/>
                      <a:pt x="411" y="393"/>
                    </a:cubicBezTo>
                    <a:cubicBezTo>
                      <a:pt x="431" y="393"/>
                      <a:pt x="431" y="393"/>
                      <a:pt x="431" y="393"/>
                    </a:cubicBezTo>
                    <a:cubicBezTo>
                      <a:pt x="433" y="398"/>
                      <a:pt x="433" y="398"/>
                      <a:pt x="433" y="398"/>
                    </a:cubicBezTo>
                    <a:cubicBezTo>
                      <a:pt x="451" y="392"/>
                      <a:pt x="451" y="392"/>
                      <a:pt x="451" y="392"/>
                    </a:cubicBezTo>
                    <a:cubicBezTo>
                      <a:pt x="454" y="387"/>
                      <a:pt x="454" y="387"/>
                      <a:pt x="454" y="387"/>
                    </a:cubicBezTo>
                    <a:cubicBezTo>
                      <a:pt x="451" y="384"/>
                      <a:pt x="448" y="381"/>
                      <a:pt x="448" y="378"/>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02" name="Iran">
                <a:extLst>
                  <a:ext uri="{FF2B5EF4-FFF2-40B4-BE49-F238E27FC236}">
                    <a16:creationId xmlns:a16="http://schemas.microsoft.com/office/drawing/2014/main" id="{EBEF59D4-368A-44B4-9E5D-CA010253A658}"/>
                  </a:ext>
                </a:extLst>
              </p:cNvPr>
              <p:cNvSpPr>
                <a:spLocks/>
              </p:cNvSpPr>
              <p:nvPr/>
            </p:nvSpPr>
            <p:spPr bwMode="gray">
              <a:xfrm>
                <a:off x="6714939" y="2885544"/>
                <a:ext cx="536668" cy="441121"/>
              </a:xfrm>
              <a:custGeom>
                <a:avLst/>
                <a:gdLst>
                  <a:gd name="T0" fmla="*/ 900 w 959"/>
                  <a:gd name="T1" fmla="*/ 739 h 789"/>
                  <a:gd name="T2" fmla="*/ 931 w 959"/>
                  <a:gd name="T3" fmla="*/ 708 h 789"/>
                  <a:gd name="T4" fmla="*/ 933 w 959"/>
                  <a:gd name="T5" fmla="*/ 673 h 789"/>
                  <a:gd name="T6" fmla="*/ 929 w 959"/>
                  <a:gd name="T7" fmla="*/ 621 h 789"/>
                  <a:gd name="T8" fmla="*/ 884 w 959"/>
                  <a:gd name="T9" fmla="*/ 609 h 789"/>
                  <a:gd name="T10" fmla="*/ 825 w 959"/>
                  <a:gd name="T11" fmla="*/ 533 h 789"/>
                  <a:gd name="T12" fmla="*/ 839 w 959"/>
                  <a:gd name="T13" fmla="*/ 453 h 789"/>
                  <a:gd name="T14" fmla="*/ 784 w 959"/>
                  <a:gd name="T15" fmla="*/ 364 h 789"/>
                  <a:gd name="T16" fmla="*/ 780 w 959"/>
                  <a:gd name="T17" fmla="*/ 315 h 789"/>
                  <a:gd name="T18" fmla="*/ 784 w 959"/>
                  <a:gd name="T19" fmla="*/ 280 h 789"/>
                  <a:gd name="T20" fmla="*/ 799 w 959"/>
                  <a:gd name="T21" fmla="*/ 225 h 789"/>
                  <a:gd name="T22" fmla="*/ 786 w 959"/>
                  <a:gd name="T23" fmla="*/ 189 h 789"/>
                  <a:gd name="T24" fmla="*/ 723 w 959"/>
                  <a:gd name="T25" fmla="*/ 149 h 789"/>
                  <a:gd name="T26" fmla="*/ 648 w 959"/>
                  <a:gd name="T27" fmla="*/ 116 h 789"/>
                  <a:gd name="T28" fmla="*/ 602 w 959"/>
                  <a:gd name="T29" fmla="*/ 103 h 789"/>
                  <a:gd name="T30" fmla="*/ 556 w 959"/>
                  <a:gd name="T31" fmla="*/ 85 h 789"/>
                  <a:gd name="T32" fmla="*/ 487 w 959"/>
                  <a:gd name="T33" fmla="*/ 115 h 789"/>
                  <a:gd name="T34" fmla="*/ 452 w 959"/>
                  <a:gd name="T35" fmla="*/ 133 h 789"/>
                  <a:gd name="T36" fmla="*/ 399 w 959"/>
                  <a:gd name="T37" fmla="*/ 164 h 789"/>
                  <a:gd name="T38" fmla="*/ 309 w 959"/>
                  <a:gd name="T39" fmla="*/ 155 h 789"/>
                  <a:gd name="T40" fmla="*/ 233 w 959"/>
                  <a:gd name="T41" fmla="*/ 110 h 789"/>
                  <a:gd name="T42" fmla="*/ 199 w 959"/>
                  <a:gd name="T43" fmla="*/ 69 h 789"/>
                  <a:gd name="T44" fmla="*/ 181 w 959"/>
                  <a:gd name="T45" fmla="*/ 33 h 789"/>
                  <a:gd name="T46" fmla="*/ 128 w 959"/>
                  <a:gd name="T47" fmla="*/ 35 h 789"/>
                  <a:gd name="T48" fmla="*/ 45 w 959"/>
                  <a:gd name="T49" fmla="*/ 30 h 789"/>
                  <a:gd name="T50" fmla="*/ 0 w 959"/>
                  <a:gd name="T51" fmla="*/ 24 h 789"/>
                  <a:gd name="T52" fmla="*/ 24 w 959"/>
                  <a:gd name="T53" fmla="*/ 78 h 789"/>
                  <a:gd name="T54" fmla="*/ 37 w 959"/>
                  <a:gd name="T55" fmla="*/ 129 h 789"/>
                  <a:gd name="T56" fmla="*/ 79 w 959"/>
                  <a:gd name="T57" fmla="*/ 203 h 789"/>
                  <a:gd name="T58" fmla="*/ 123 w 959"/>
                  <a:gd name="T59" fmla="*/ 212 h 789"/>
                  <a:gd name="T60" fmla="*/ 110 w 959"/>
                  <a:gd name="T61" fmla="*/ 258 h 789"/>
                  <a:gd name="T62" fmla="*/ 96 w 959"/>
                  <a:gd name="T63" fmla="*/ 286 h 789"/>
                  <a:gd name="T64" fmla="*/ 140 w 959"/>
                  <a:gd name="T65" fmla="*/ 344 h 789"/>
                  <a:gd name="T66" fmla="*/ 185 w 959"/>
                  <a:gd name="T67" fmla="*/ 390 h 789"/>
                  <a:gd name="T68" fmla="*/ 220 w 959"/>
                  <a:gd name="T69" fmla="*/ 472 h 789"/>
                  <a:gd name="T70" fmla="*/ 253 w 959"/>
                  <a:gd name="T71" fmla="*/ 510 h 789"/>
                  <a:gd name="T72" fmla="*/ 298 w 959"/>
                  <a:gd name="T73" fmla="*/ 516 h 789"/>
                  <a:gd name="T74" fmla="*/ 316 w 959"/>
                  <a:gd name="T75" fmla="*/ 524 h 789"/>
                  <a:gd name="T76" fmla="*/ 338 w 959"/>
                  <a:gd name="T77" fmla="*/ 541 h 789"/>
                  <a:gd name="T78" fmla="*/ 371 w 959"/>
                  <a:gd name="T79" fmla="*/ 583 h 789"/>
                  <a:gd name="T80" fmla="*/ 387 w 959"/>
                  <a:gd name="T81" fmla="*/ 600 h 789"/>
                  <a:gd name="T82" fmla="*/ 431 w 959"/>
                  <a:gd name="T83" fmla="*/ 644 h 789"/>
                  <a:gd name="T84" fmla="*/ 526 w 959"/>
                  <a:gd name="T85" fmla="*/ 703 h 789"/>
                  <a:gd name="T86" fmla="*/ 565 w 959"/>
                  <a:gd name="T87" fmla="*/ 715 h 789"/>
                  <a:gd name="T88" fmla="*/ 606 w 959"/>
                  <a:gd name="T89" fmla="*/ 691 h 789"/>
                  <a:gd name="T90" fmla="*/ 641 w 959"/>
                  <a:gd name="T91" fmla="*/ 682 h 789"/>
                  <a:gd name="T92" fmla="*/ 718 w 959"/>
                  <a:gd name="T93" fmla="*/ 752 h 789"/>
                  <a:gd name="T94" fmla="*/ 805 w 959"/>
                  <a:gd name="T95" fmla="*/ 781 h 789"/>
                  <a:gd name="T96" fmla="*/ 889 w 959"/>
                  <a:gd name="T97" fmla="*/ 786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9" h="789">
                    <a:moveTo>
                      <a:pt x="890" y="786"/>
                    </a:moveTo>
                    <a:cubicBezTo>
                      <a:pt x="889" y="779"/>
                      <a:pt x="885" y="751"/>
                      <a:pt x="890" y="749"/>
                    </a:cubicBezTo>
                    <a:cubicBezTo>
                      <a:pt x="896" y="746"/>
                      <a:pt x="900" y="739"/>
                      <a:pt x="900" y="739"/>
                    </a:cubicBezTo>
                    <a:cubicBezTo>
                      <a:pt x="902" y="728"/>
                      <a:pt x="902" y="728"/>
                      <a:pt x="902" y="728"/>
                    </a:cubicBezTo>
                    <a:cubicBezTo>
                      <a:pt x="902" y="728"/>
                      <a:pt x="911" y="730"/>
                      <a:pt x="915" y="724"/>
                    </a:cubicBezTo>
                    <a:cubicBezTo>
                      <a:pt x="919" y="718"/>
                      <a:pt x="913" y="714"/>
                      <a:pt x="931" y="708"/>
                    </a:cubicBezTo>
                    <a:cubicBezTo>
                      <a:pt x="949" y="702"/>
                      <a:pt x="951" y="715"/>
                      <a:pt x="955" y="710"/>
                    </a:cubicBezTo>
                    <a:cubicBezTo>
                      <a:pt x="959" y="705"/>
                      <a:pt x="958" y="689"/>
                      <a:pt x="950" y="678"/>
                    </a:cubicBezTo>
                    <a:cubicBezTo>
                      <a:pt x="942" y="667"/>
                      <a:pt x="936" y="680"/>
                      <a:pt x="933" y="673"/>
                    </a:cubicBezTo>
                    <a:cubicBezTo>
                      <a:pt x="930" y="666"/>
                      <a:pt x="931" y="643"/>
                      <a:pt x="931" y="643"/>
                    </a:cubicBezTo>
                    <a:cubicBezTo>
                      <a:pt x="928" y="641"/>
                      <a:pt x="928" y="641"/>
                      <a:pt x="928" y="641"/>
                    </a:cubicBezTo>
                    <a:cubicBezTo>
                      <a:pt x="929" y="621"/>
                      <a:pt x="929" y="621"/>
                      <a:pt x="929" y="621"/>
                    </a:cubicBezTo>
                    <a:cubicBezTo>
                      <a:pt x="916" y="622"/>
                      <a:pt x="916" y="622"/>
                      <a:pt x="916" y="622"/>
                    </a:cubicBezTo>
                    <a:cubicBezTo>
                      <a:pt x="907" y="611"/>
                      <a:pt x="907" y="611"/>
                      <a:pt x="907" y="611"/>
                    </a:cubicBezTo>
                    <a:cubicBezTo>
                      <a:pt x="907" y="611"/>
                      <a:pt x="892" y="619"/>
                      <a:pt x="884" y="609"/>
                    </a:cubicBezTo>
                    <a:cubicBezTo>
                      <a:pt x="876" y="599"/>
                      <a:pt x="862" y="579"/>
                      <a:pt x="856" y="568"/>
                    </a:cubicBezTo>
                    <a:cubicBezTo>
                      <a:pt x="850" y="557"/>
                      <a:pt x="830" y="538"/>
                      <a:pt x="830" y="538"/>
                    </a:cubicBezTo>
                    <a:cubicBezTo>
                      <a:pt x="830" y="538"/>
                      <a:pt x="825" y="537"/>
                      <a:pt x="825" y="533"/>
                    </a:cubicBezTo>
                    <a:cubicBezTo>
                      <a:pt x="825" y="529"/>
                      <a:pt x="841" y="515"/>
                      <a:pt x="848" y="505"/>
                    </a:cubicBezTo>
                    <a:cubicBezTo>
                      <a:pt x="855" y="495"/>
                      <a:pt x="866" y="482"/>
                      <a:pt x="860" y="465"/>
                    </a:cubicBezTo>
                    <a:cubicBezTo>
                      <a:pt x="854" y="448"/>
                      <a:pt x="839" y="453"/>
                      <a:pt x="839" y="453"/>
                    </a:cubicBezTo>
                    <a:cubicBezTo>
                      <a:pt x="839" y="453"/>
                      <a:pt x="809" y="453"/>
                      <a:pt x="809" y="445"/>
                    </a:cubicBezTo>
                    <a:cubicBezTo>
                      <a:pt x="809" y="437"/>
                      <a:pt x="809" y="423"/>
                      <a:pt x="809" y="412"/>
                    </a:cubicBezTo>
                    <a:cubicBezTo>
                      <a:pt x="809" y="401"/>
                      <a:pt x="782" y="377"/>
                      <a:pt x="784" y="364"/>
                    </a:cubicBezTo>
                    <a:cubicBezTo>
                      <a:pt x="786" y="351"/>
                      <a:pt x="801" y="343"/>
                      <a:pt x="800" y="337"/>
                    </a:cubicBezTo>
                    <a:cubicBezTo>
                      <a:pt x="799" y="331"/>
                      <a:pt x="778" y="334"/>
                      <a:pt x="778" y="334"/>
                    </a:cubicBezTo>
                    <a:cubicBezTo>
                      <a:pt x="780" y="315"/>
                      <a:pt x="780" y="315"/>
                      <a:pt x="780" y="315"/>
                    </a:cubicBezTo>
                    <a:cubicBezTo>
                      <a:pt x="780" y="315"/>
                      <a:pt x="769" y="306"/>
                      <a:pt x="772" y="301"/>
                    </a:cubicBezTo>
                    <a:cubicBezTo>
                      <a:pt x="775" y="296"/>
                      <a:pt x="789" y="291"/>
                      <a:pt x="789" y="291"/>
                    </a:cubicBezTo>
                    <a:cubicBezTo>
                      <a:pt x="784" y="280"/>
                      <a:pt x="784" y="280"/>
                      <a:pt x="784" y="280"/>
                    </a:cubicBezTo>
                    <a:cubicBezTo>
                      <a:pt x="798" y="276"/>
                      <a:pt x="798" y="276"/>
                      <a:pt x="798" y="276"/>
                    </a:cubicBezTo>
                    <a:cubicBezTo>
                      <a:pt x="798" y="276"/>
                      <a:pt x="791" y="246"/>
                      <a:pt x="792" y="239"/>
                    </a:cubicBezTo>
                    <a:cubicBezTo>
                      <a:pt x="793" y="232"/>
                      <a:pt x="799" y="225"/>
                      <a:pt x="799" y="225"/>
                    </a:cubicBezTo>
                    <a:cubicBezTo>
                      <a:pt x="792" y="207"/>
                      <a:pt x="792" y="207"/>
                      <a:pt x="792" y="207"/>
                    </a:cubicBezTo>
                    <a:cubicBezTo>
                      <a:pt x="793" y="192"/>
                      <a:pt x="793" y="192"/>
                      <a:pt x="793" y="192"/>
                    </a:cubicBezTo>
                    <a:cubicBezTo>
                      <a:pt x="786" y="189"/>
                      <a:pt x="786" y="189"/>
                      <a:pt x="786" y="189"/>
                    </a:cubicBezTo>
                    <a:cubicBezTo>
                      <a:pt x="785" y="167"/>
                      <a:pt x="785" y="167"/>
                      <a:pt x="785" y="167"/>
                    </a:cubicBezTo>
                    <a:cubicBezTo>
                      <a:pt x="743" y="169"/>
                      <a:pt x="743" y="169"/>
                      <a:pt x="743" y="169"/>
                    </a:cubicBezTo>
                    <a:cubicBezTo>
                      <a:pt x="743" y="169"/>
                      <a:pt x="729" y="153"/>
                      <a:pt x="723" y="149"/>
                    </a:cubicBezTo>
                    <a:cubicBezTo>
                      <a:pt x="717" y="145"/>
                      <a:pt x="704" y="143"/>
                      <a:pt x="704" y="143"/>
                    </a:cubicBezTo>
                    <a:cubicBezTo>
                      <a:pt x="704" y="143"/>
                      <a:pt x="696" y="125"/>
                      <a:pt x="691" y="121"/>
                    </a:cubicBezTo>
                    <a:cubicBezTo>
                      <a:pt x="686" y="117"/>
                      <a:pt x="648" y="116"/>
                      <a:pt x="648" y="116"/>
                    </a:cubicBezTo>
                    <a:cubicBezTo>
                      <a:pt x="645" y="120"/>
                      <a:pt x="645" y="120"/>
                      <a:pt x="645" y="120"/>
                    </a:cubicBezTo>
                    <a:cubicBezTo>
                      <a:pt x="645" y="120"/>
                      <a:pt x="624" y="103"/>
                      <a:pt x="619" y="103"/>
                    </a:cubicBezTo>
                    <a:cubicBezTo>
                      <a:pt x="614" y="103"/>
                      <a:pt x="602" y="103"/>
                      <a:pt x="602" y="103"/>
                    </a:cubicBezTo>
                    <a:cubicBezTo>
                      <a:pt x="602" y="103"/>
                      <a:pt x="601" y="89"/>
                      <a:pt x="595" y="85"/>
                    </a:cubicBezTo>
                    <a:cubicBezTo>
                      <a:pt x="589" y="81"/>
                      <a:pt x="580" y="86"/>
                      <a:pt x="580" y="86"/>
                    </a:cubicBezTo>
                    <a:cubicBezTo>
                      <a:pt x="580" y="86"/>
                      <a:pt x="559" y="83"/>
                      <a:pt x="556" y="85"/>
                    </a:cubicBezTo>
                    <a:cubicBezTo>
                      <a:pt x="553" y="87"/>
                      <a:pt x="551" y="93"/>
                      <a:pt x="551" y="93"/>
                    </a:cubicBezTo>
                    <a:cubicBezTo>
                      <a:pt x="551" y="93"/>
                      <a:pt x="535" y="88"/>
                      <a:pt x="524" y="90"/>
                    </a:cubicBezTo>
                    <a:cubicBezTo>
                      <a:pt x="513" y="92"/>
                      <a:pt x="487" y="115"/>
                      <a:pt x="487" y="115"/>
                    </a:cubicBezTo>
                    <a:cubicBezTo>
                      <a:pt x="487" y="123"/>
                      <a:pt x="487" y="123"/>
                      <a:pt x="487" y="123"/>
                    </a:cubicBezTo>
                    <a:cubicBezTo>
                      <a:pt x="487" y="123"/>
                      <a:pt x="476" y="132"/>
                      <a:pt x="472" y="133"/>
                    </a:cubicBezTo>
                    <a:cubicBezTo>
                      <a:pt x="468" y="134"/>
                      <a:pt x="452" y="133"/>
                      <a:pt x="452" y="133"/>
                    </a:cubicBezTo>
                    <a:cubicBezTo>
                      <a:pt x="452" y="133"/>
                      <a:pt x="472" y="159"/>
                      <a:pt x="460" y="161"/>
                    </a:cubicBezTo>
                    <a:cubicBezTo>
                      <a:pt x="448" y="163"/>
                      <a:pt x="437" y="156"/>
                      <a:pt x="437" y="156"/>
                    </a:cubicBezTo>
                    <a:cubicBezTo>
                      <a:pt x="437" y="156"/>
                      <a:pt x="412" y="161"/>
                      <a:pt x="399" y="164"/>
                    </a:cubicBezTo>
                    <a:cubicBezTo>
                      <a:pt x="386" y="167"/>
                      <a:pt x="379" y="176"/>
                      <a:pt x="371" y="175"/>
                    </a:cubicBezTo>
                    <a:cubicBezTo>
                      <a:pt x="363" y="174"/>
                      <a:pt x="355" y="165"/>
                      <a:pt x="345" y="165"/>
                    </a:cubicBezTo>
                    <a:cubicBezTo>
                      <a:pt x="335" y="165"/>
                      <a:pt x="323" y="165"/>
                      <a:pt x="309" y="155"/>
                    </a:cubicBezTo>
                    <a:cubicBezTo>
                      <a:pt x="295" y="145"/>
                      <a:pt x="287" y="128"/>
                      <a:pt x="287" y="128"/>
                    </a:cubicBezTo>
                    <a:cubicBezTo>
                      <a:pt x="287" y="128"/>
                      <a:pt x="258" y="125"/>
                      <a:pt x="255" y="125"/>
                    </a:cubicBezTo>
                    <a:cubicBezTo>
                      <a:pt x="252" y="125"/>
                      <a:pt x="240" y="118"/>
                      <a:pt x="233" y="110"/>
                    </a:cubicBezTo>
                    <a:cubicBezTo>
                      <a:pt x="226" y="102"/>
                      <a:pt x="218" y="80"/>
                      <a:pt x="218" y="80"/>
                    </a:cubicBezTo>
                    <a:cubicBezTo>
                      <a:pt x="208" y="78"/>
                      <a:pt x="208" y="78"/>
                      <a:pt x="208" y="78"/>
                    </a:cubicBezTo>
                    <a:cubicBezTo>
                      <a:pt x="208" y="78"/>
                      <a:pt x="205" y="72"/>
                      <a:pt x="199" y="69"/>
                    </a:cubicBezTo>
                    <a:cubicBezTo>
                      <a:pt x="193" y="66"/>
                      <a:pt x="180" y="58"/>
                      <a:pt x="180" y="53"/>
                    </a:cubicBezTo>
                    <a:cubicBezTo>
                      <a:pt x="180" y="48"/>
                      <a:pt x="190" y="52"/>
                      <a:pt x="190" y="46"/>
                    </a:cubicBezTo>
                    <a:cubicBezTo>
                      <a:pt x="190" y="40"/>
                      <a:pt x="181" y="38"/>
                      <a:pt x="181" y="33"/>
                    </a:cubicBezTo>
                    <a:cubicBezTo>
                      <a:pt x="181" y="28"/>
                      <a:pt x="190" y="28"/>
                      <a:pt x="188" y="22"/>
                    </a:cubicBezTo>
                    <a:cubicBezTo>
                      <a:pt x="186" y="16"/>
                      <a:pt x="179" y="4"/>
                      <a:pt x="173" y="4"/>
                    </a:cubicBezTo>
                    <a:cubicBezTo>
                      <a:pt x="167" y="4"/>
                      <a:pt x="131" y="31"/>
                      <a:pt x="128" y="35"/>
                    </a:cubicBezTo>
                    <a:cubicBezTo>
                      <a:pt x="125" y="39"/>
                      <a:pt x="117" y="50"/>
                      <a:pt x="114" y="51"/>
                    </a:cubicBezTo>
                    <a:cubicBezTo>
                      <a:pt x="111" y="52"/>
                      <a:pt x="102" y="52"/>
                      <a:pt x="87" y="52"/>
                    </a:cubicBezTo>
                    <a:cubicBezTo>
                      <a:pt x="72" y="52"/>
                      <a:pt x="55" y="38"/>
                      <a:pt x="45" y="30"/>
                    </a:cubicBezTo>
                    <a:cubicBezTo>
                      <a:pt x="35" y="22"/>
                      <a:pt x="38" y="4"/>
                      <a:pt x="29" y="2"/>
                    </a:cubicBezTo>
                    <a:cubicBezTo>
                      <a:pt x="20" y="0"/>
                      <a:pt x="16" y="22"/>
                      <a:pt x="16" y="22"/>
                    </a:cubicBezTo>
                    <a:cubicBezTo>
                      <a:pt x="0" y="24"/>
                      <a:pt x="0" y="24"/>
                      <a:pt x="0" y="24"/>
                    </a:cubicBezTo>
                    <a:cubicBezTo>
                      <a:pt x="11" y="40"/>
                      <a:pt x="11" y="40"/>
                      <a:pt x="11" y="40"/>
                    </a:cubicBezTo>
                    <a:cubicBezTo>
                      <a:pt x="12" y="55"/>
                      <a:pt x="12" y="55"/>
                      <a:pt x="12" y="55"/>
                    </a:cubicBezTo>
                    <a:cubicBezTo>
                      <a:pt x="12" y="55"/>
                      <a:pt x="19" y="76"/>
                      <a:pt x="24" y="78"/>
                    </a:cubicBezTo>
                    <a:cubicBezTo>
                      <a:pt x="29" y="80"/>
                      <a:pt x="16" y="99"/>
                      <a:pt x="16" y="99"/>
                    </a:cubicBezTo>
                    <a:cubicBezTo>
                      <a:pt x="37" y="111"/>
                      <a:pt x="37" y="111"/>
                      <a:pt x="37" y="111"/>
                    </a:cubicBezTo>
                    <a:cubicBezTo>
                      <a:pt x="37" y="129"/>
                      <a:pt x="37" y="129"/>
                      <a:pt x="37" y="129"/>
                    </a:cubicBezTo>
                    <a:cubicBezTo>
                      <a:pt x="53" y="134"/>
                      <a:pt x="53" y="134"/>
                      <a:pt x="53" y="134"/>
                    </a:cubicBezTo>
                    <a:cubicBezTo>
                      <a:pt x="53" y="134"/>
                      <a:pt x="58" y="171"/>
                      <a:pt x="70" y="182"/>
                    </a:cubicBezTo>
                    <a:cubicBezTo>
                      <a:pt x="82" y="193"/>
                      <a:pt x="79" y="203"/>
                      <a:pt x="79" y="203"/>
                    </a:cubicBezTo>
                    <a:cubicBezTo>
                      <a:pt x="93" y="205"/>
                      <a:pt x="93" y="205"/>
                      <a:pt x="93" y="205"/>
                    </a:cubicBezTo>
                    <a:cubicBezTo>
                      <a:pt x="104" y="217"/>
                      <a:pt x="104" y="217"/>
                      <a:pt x="104" y="217"/>
                    </a:cubicBezTo>
                    <a:cubicBezTo>
                      <a:pt x="104" y="217"/>
                      <a:pt x="118" y="208"/>
                      <a:pt x="123" y="212"/>
                    </a:cubicBezTo>
                    <a:cubicBezTo>
                      <a:pt x="128" y="216"/>
                      <a:pt x="112" y="225"/>
                      <a:pt x="112" y="229"/>
                    </a:cubicBezTo>
                    <a:cubicBezTo>
                      <a:pt x="112" y="233"/>
                      <a:pt x="126" y="242"/>
                      <a:pt x="123" y="250"/>
                    </a:cubicBezTo>
                    <a:cubicBezTo>
                      <a:pt x="120" y="258"/>
                      <a:pt x="110" y="258"/>
                      <a:pt x="110" y="258"/>
                    </a:cubicBezTo>
                    <a:cubicBezTo>
                      <a:pt x="109" y="267"/>
                      <a:pt x="109" y="267"/>
                      <a:pt x="109" y="267"/>
                    </a:cubicBezTo>
                    <a:cubicBezTo>
                      <a:pt x="110" y="280"/>
                      <a:pt x="110" y="280"/>
                      <a:pt x="110" y="280"/>
                    </a:cubicBezTo>
                    <a:cubicBezTo>
                      <a:pt x="110" y="280"/>
                      <a:pt x="97" y="279"/>
                      <a:pt x="96" y="286"/>
                    </a:cubicBezTo>
                    <a:cubicBezTo>
                      <a:pt x="95" y="293"/>
                      <a:pt x="104" y="300"/>
                      <a:pt x="104" y="300"/>
                    </a:cubicBezTo>
                    <a:cubicBezTo>
                      <a:pt x="104" y="300"/>
                      <a:pt x="94" y="305"/>
                      <a:pt x="96" y="314"/>
                    </a:cubicBezTo>
                    <a:cubicBezTo>
                      <a:pt x="98" y="323"/>
                      <a:pt x="140" y="344"/>
                      <a:pt x="140" y="344"/>
                    </a:cubicBezTo>
                    <a:cubicBezTo>
                      <a:pt x="140" y="371"/>
                      <a:pt x="140" y="371"/>
                      <a:pt x="140" y="371"/>
                    </a:cubicBezTo>
                    <a:cubicBezTo>
                      <a:pt x="153" y="372"/>
                      <a:pt x="153" y="372"/>
                      <a:pt x="153" y="372"/>
                    </a:cubicBezTo>
                    <a:cubicBezTo>
                      <a:pt x="153" y="372"/>
                      <a:pt x="174" y="390"/>
                      <a:pt x="185" y="390"/>
                    </a:cubicBezTo>
                    <a:cubicBezTo>
                      <a:pt x="196" y="390"/>
                      <a:pt x="198" y="402"/>
                      <a:pt x="198" y="402"/>
                    </a:cubicBezTo>
                    <a:cubicBezTo>
                      <a:pt x="220" y="427"/>
                      <a:pt x="220" y="427"/>
                      <a:pt x="220" y="427"/>
                    </a:cubicBezTo>
                    <a:cubicBezTo>
                      <a:pt x="220" y="427"/>
                      <a:pt x="212" y="466"/>
                      <a:pt x="220" y="472"/>
                    </a:cubicBezTo>
                    <a:cubicBezTo>
                      <a:pt x="228" y="478"/>
                      <a:pt x="233" y="478"/>
                      <a:pt x="233" y="478"/>
                    </a:cubicBezTo>
                    <a:cubicBezTo>
                      <a:pt x="237" y="497"/>
                      <a:pt x="237" y="497"/>
                      <a:pt x="237" y="497"/>
                    </a:cubicBezTo>
                    <a:cubicBezTo>
                      <a:pt x="237" y="497"/>
                      <a:pt x="252" y="501"/>
                      <a:pt x="253" y="510"/>
                    </a:cubicBezTo>
                    <a:cubicBezTo>
                      <a:pt x="254" y="519"/>
                      <a:pt x="275" y="533"/>
                      <a:pt x="282" y="528"/>
                    </a:cubicBezTo>
                    <a:cubicBezTo>
                      <a:pt x="289" y="523"/>
                      <a:pt x="267" y="512"/>
                      <a:pt x="283" y="505"/>
                    </a:cubicBezTo>
                    <a:cubicBezTo>
                      <a:pt x="299" y="498"/>
                      <a:pt x="298" y="516"/>
                      <a:pt x="298" y="516"/>
                    </a:cubicBezTo>
                    <a:cubicBezTo>
                      <a:pt x="305" y="522"/>
                      <a:pt x="305" y="522"/>
                      <a:pt x="305" y="522"/>
                    </a:cubicBezTo>
                    <a:cubicBezTo>
                      <a:pt x="306" y="521"/>
                      <a:pt x="308" y="521"/>
                      <a:pt x="311" y="522"/>
                    </a:cubicBezTo>
                    <a:cubicBezTo>
                      <a:pt x="313" y="523"/>
                      <a:pt x="314" y="523"/>
                      <a:pt x="316" y="524"/>
                    </a:cubicBezTo>
                    <a:cubicBezTo>
                      <a:pt x="317" y="523"/>
                      <a:pt x="318" y="521"/>
                      <a:pt x="318" y="520"/>
                    </a:cubicBezTo>
                    <a:cubicBezTo>
                      <a:pt x="319" y="516"/>
                      <a:pt x="330" y="513"/>
                      <a:pt x="333" y="515"/>
                    </a:cubicBezTo>
                    <a:cubicBezTo>
                      <a:pt x="336" y="517"/>
                      <a:pt x="331" y="538"/>
                      <a:pt x="338" y="541"/>
                    </a:cubicBezTo>
                    <a:cubicBezTo>
                      <a:pt x="345" y="544"/>
                      <a:pt x="360" y="555"/>
                      <a:pt x="360" y="555"/>
                    </a:cubicBezTo>
                    <a:cubicBezTo>
                      <a:pt x="360" y="555"/>
                      <a:pt x="358" y="560"/>
                      <a:pt x="358" y="565"/>
                    </a:cubicBezTo>
                    <a:cubicBezTo>
                      <a:pt x="363" y="571"/>
                      <a:pt x="368" y="577"/>
                      <a:pt x="371" y="583"/>
                    </a:cubicBezTo>
                    <a:cubicBezTo>
                      <a:pt x="371" y="583"/>
                      <a:pt x="371" y="583"/>
                      <a:pt x="371" y="583"/>
                    </a:cubicBezTo>
                    <a:cubicBezTo>
                      <a:pt x="375" y="585"/>
                      <a:pt x="378" y="587"/>
                      <a:pt x="378" y="587"/>
                    </a:cubicBezTo>
                    <a:cubicBezTo>
                      <a:pt x="387" y="600"/>
                      <a:pt x="387" y="600"/>
                      <a:pt x="387" y="600"/>
                    </a:cubicBezTo>
                    <a:cubicBezTo>
                      <a:pt x="387" y="600"/>
                      <a:pt x="389" y="624"/>
                      <a:pt x="399" y="626"/>
                    </a:cubicBezTo>
                    <a:cubicBezTo>
                      <a:pt x="409" y="628"/>
                      <a:pt x="409" y="644"/>
                      <a:pt x="409" y="644"/>
                    </a:cubicBezTo>
                    <a:cubicBezTo>
                      <a:pt x="431" y="644"/>
                      <a:pt x="431" y="644"/>
                      <a:pt x="431" y="644"/>
                    </a:cubicBezTo>
                    <a:cubicBezTo>
                      <a:pt x="443" y="656"/>
                      <a:pt x="443" y="656"/>
                      <a:pt x="443" y="656"/>
                    </a:cubicBezTo>
                    <a:cubicBezTo>
                      <a:pt x="451" y="654"/>
                      <a:pt x="458" y="652"/>
                      <a:pt x="465" y="656"/>
                    </a:cubicBezTo>
                    <a:cubicBezTo>
                      <a:pt x="475" y="661"/>
                      <a:pt x="504" y="686"/>
                      <a:pt x="526" y="703"/>
                    </a:cubicBezTo>
                    <a:cubicBezTo>
                      <a:pt x="527" y="704"/>
                      <a:pt x="528" y="704"/>
                      <a:pt x="529" y="704"/>
                    </a:cubicBezTo>
                    <a:cubicBezTo>
                      <a:pt x="535" y="704"/>
                      <a:pt x="546" y="706"/>
                      <a:pt x="546" y="706"/>
                    </a:cubicBezTo>
                    <a:cubicBezTo>
                      <a:pt x="546" y="706"/>
                      <a:pt x="549" y="720"/>
                      <a:pt x="565" y="715"/>
                    </a:cubicBezTo>
                    <a:cubicBezTo>
                      <a:pt x="581" y="710"/>
                      <a:pt x="584" y="703"/>
                      <a:pt x="584" y="703"/>
                    </a:cubicBezTo>
                    <a:cubicBezTo>
                      <a:pt x="600" y="705"/>
                      <a:pt x="600" y="705"/>
                      <a:pt x="600" y="705"/>
                    </a:cubicBezTo>
                    <a:cubicBezTo>
                      <a:pt x="606" y="691"/>
                      <a:pt x="606" y="691"/>
                      <a:pt x="606" y="691"/>
                    </a:cubicBezTo>
                    <a:cubicBezTo>
                      <a:pt x="620" y="689"/>
                      <a:pt x="620" y="689"/>
                      <a:pt x="620" y="689"/>
                    </a:cubicBezTo>
                    <a:cubicBezTo>
                      <a:pt x="636" y="674"/>
                      <a:pt x="636" y="674"/>
                      <a:pt x="636" y="674"/>
                    </a:cubicBezTo>
                    <a:cubicBezTo>
                      <a:pt x="641" y="682"/>
                      <a:pt x="641" y="682"/>
                      <a:pt x="641" y="682"/>
                    </a:cubicBezTo>
                    <a:cubicBezTo>
                      <a:pt x="649" y="680"/>
                      <a:pt x="656" y="679"/>
                      <a:pt x="659" y="683"/>
                    </a:cubicBezTo>
                    <a:cubicBezTo>
                      <a:pt x="672" y="694"/>
                      <a:pt x="686" y="717"/>
                      <a:pt x="688" y="735"/>
                    </a:cubicBezTo>
                    <a:cubicBezTo>
                      <a:pt x="690" y="754"/>
                      <a:pt x="718" y="752"/>
                      <a:pt x="718" y="752"/>
                    </a:cubicBezTo>
                    <a:cubicBezTo>
                      <a:pt x="718" y="752"/>
                      <a:pt x="717" y="759"/>
                      <a:pt x="730" y="762"/>
                    </a:cubicBezTo>
                    <a:cubicBezTo>
                      <a:pt x="743" y="765"/>
                      <a:pt x="774" y="761"/>
                      <a:pt x="774" y="761"/>
                    </a:cubicBezTo>
                    <a:cubicBezTo>
                      <a:pt x="774" y="761"/>
                      <a:pt x="800" y="781"/>
                      <a:pt x="805" y="781"/>
                    </a:cubicBezTo>
                    <a:cubicBezTo>
                      <a:pt x="810" y="781"/>
                      <a:pt x="828" y="772"/>
                      <a:pt x="828" y="772"/>
                    </a:cubicBezTo>
                    <a:cubicBezTo>
                      <a:pt x="828" y="772"/>
                      <a:pt x="854" y="788"/>
                      <a:pt x="872" y="789"/>
                    </a:cubicBezTo>
                    <a:cubicBezTo>
                      <a:pt x="878" y="789"/>
                      <a:pt x="884" y="788"/>
                      <a:pt x="889" y="786"/>
                    </a:cubicBezTo>
                    <a:lnTo>
                      <a:pt x="890" y="786"/>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03" name="Indonesia">
                <a:extLst>
                  <a:ext uri="{FF2B5EF4-FFF2-40B4-BE49-F238E27FC236}">
                    <a16:creationId xmlns:a16="http://schemas.microsoft.com/office/drawing/2014/main" id="{BA21BE06-0798-4B24-BED1-0034FC1EC598}"/>
                  </a:ext>
                </a:extLst>
              </p:cNvPr>
              <p:cNvSpPr>
                <a:spLocks noEditPoints="1"/>
              </p:cNvSpPr>
              <p:nvPr/>
            </p:nvSpPr>
            <p:spPr bwMode="gray">
              <a:xfrm>
                <a:off x="8137586" y="3910594"/>
                <a:ext cx="1220999" cy="491897"/>
              </a:xfrm>
              <a:custGeom>
                <a:avLst/>
                <a:gdLst>
                  <a:gd name="T0" fmla="*/ 455 w 2179"/>
                  <a:gd name="T1" fmla="*/ 287 h 879"/>
                  <a:gd name="T2" fmla="*/ 603 w 2179"/>
                  <a:gd name="T3" fmla="*/ 446 h 879"/>
                  <a:gd name="T4" fmla="*/ 558 w 2179"/>
                  <a:gd name="T5" fmla="*/ 443 h 879"/>
                  <a:gd name="T6" fmla="*/ 162 w 2179"/>
                  <a:gd name="T7" fmla="*/ 330 h 879"/>
                  <a:gd name="T8" fmla="*/ 40 w 2179"/>
                  <a:gd name="T9" fmla="*/ 174 h 879"/>
                  <a:gd name="T10" fmla="*/ 1708 w 2179"/>
                  <a:gd name="T11" fmla="*/ 314 h 879"/>
                  <a:gd name="T12" fmla="*/ 1627 w 2179"/>
                  <a:gd name="T13" fmla="*/ 412 h 879"/>
                  <a:gd name="T14" fmla="*/ 1950 w 2179"/>
                  <a:gd name="T15" fmla="*/ 413 h 879"/>
                  <a:gd name="T16" fmla="*/ 1124 w 2179"/>
                  <a:gd name="T17" fmla="*/ 485 h 879"/>
                  <a:gd name="T18" fmla="*/ 1210 w 2179"/>
                  <a:gd name="T19" fmla="*/ 476 h 879"/>
                  <a:gd name="T20" fmla="*/ 1285 w 2179"/>
                  <a:gd name="T21" fmla="*/ 614 h 879"/>
                  <a:gd name="T22" fmla="*/ 1291 w 2179"/>
                  <a:gd name="T23" fmla="*/ 446 h 879"/>
                  <a:gd name="T24" fmla="*/ 1240 w 2179"/>
                  <a:gd name="T25" fmla="*/ 370 h 879"/>
                  <a:gd name="T26" fmla="*/ 1415 w 2179"/>
                  <a:gd name="T27" fmla="*/ 258 h 879"/>
                  <a:gd name="T28" fmla="*/ 1253 w 2179"/>
                  <a:gd name="T29" fmla="*/ 232 h 879"/>
                  <a:gd name="T30" fmla="*/ 1328 w 2179"/>
                  <a:gd name="T31" fmla="*/ 387 h 879"/>
                  <a:gd name="T32" fmla="*/ 1127 w 2179"/>
                  <a:gd name="T33" fmla="*/ 743 h 879"/>
                  <a:gd name="T34" fmla="*/ 1542 w 2179"/>
                  <a:gd name="T35" fmla="*/ 370 h 879"/>
                  <a:gd name="T36" fmla="*/ 1603 w 2179"/>
                  <a:gd name="T37" fmla="*/ 288 h 879"/>
                  <a:gd name="T38" fmla="*/ 1548 w 2179"/>
                  <a:gd name="T39" fmla="*/ 230 h 879"/>
                  <a:gd name="T40" fmla="*/ 1517 w 2179"/>
                  <a:gd name="T41" fmla="*/ 471 h 879"/>
                  <a:gd name="T42" fmla="*/ 1634 w 2179"/>
                  <a:gd name="T43" fmla="*/ 448 h 879"/>
                  <a:gd name="T44" fmla="*/ 1654 w 2179"/>
                  <a:gd name="T45" fmla="*/ 509 h 879"/>
                  <a:gd name="T46" fmla="*/ 2007 w 2179"/>
                  <a:gd name="T47" fmla="*/ 423 h 879"/>
                  <a:gd name="T48" fmla="*/ 1820 w 2179"/>
                  <a:gd name="T49" fmla="*/ 350 h 879"/>
                  <a:gd name="T50" fmla="*/ 1749 w 2179"/>
                  <a:gd name="T51" fmla="*/ 393 h 879"/>
                  <a:gd name="T52" fmla="*/ 1790 w 2179"/>
                  <a:gd name="T53" fmla="*/ 530 h 879"/>
                  <a:gd name="T54" fmla="*/ 1964 w 2179"/>
                  <a:gd name="T55" fmla="*/ 567 h 879"/>
                  <a:gd name="T56" fmla="*/ 2077 w 2179"/>
                  <a:gd name="T57" fmla="*/ 729 h 879"/>
                  <a:gd name="T58" fmla="*/ 2168 w 2179"/>
                  <a:gd name="T59" fmla="*/ 726 h 879"/>
                  <a:gd name="T60" fmla="*/ 258 w 2179"/>
                  <a:gd name="T61" fmla="*/ 478 h 879"/>
                  <a:gd name="T62" fmla="*/ 2037 w 2179"/>
                  <a:gd name="T63" fmla="*/ 711 h 879"/>
                  <a:gd name="T64" fmla="*/ 1860 w 2179"/>
                  <a:gd name="T65" fmla="*/ 679 h 879"/>
                  <a:gd name="T66" fmla="*/ 1427 w 2179"/>
                  <a:gd name="T67" fmla="*/ 403 h 879"/>
                  <a:gd name="T68" fmla="*/ 863 w 2179"/>
                  <a:gd name="T69" fmla="*/ 677 h 879"/>
                  <a:gd name="T70" fmla="*/ 499 w 2179"/>
                  <a:gd name="T71" fmla="*/ 620 h 879"/>
                  <a:gd name="T72" fmla="*/ 450 w 2179"/>
                  <a:gd name="T73" fmla="*/ 413 h 879"/>
                  <a:gd name="T74" fmla="*/ 340 w 2179"/>
                  <a:gd name="T75" fmla="*/ 238 h 879"/>
                  <a:gd name="T76" fmla="*/ 151 w 2179"/>
                  <a:gd name="T77" fmla="*/ 72 h 879"/>
                  <a:gd name="T78" fmla="*/ 119 w 2179"/>
                  <a:gd name="T79" fmla="*/ 154 h 879"/>
                  <a:gd name="T80" fmla="*/ 275 w 2179"/>
                  <a:gd name="T81" fmla="*/ 408 h 879"/>
                  <a:gd name="T82" fmla="*/ 444 w 2179"/>
                  <a:gd name="T83" fmla="*/ 630 h 879"/>
                  <a:gd name="T84" fmla="*/ 1408 w 2179"/>
                  <a:gd name="T85" fmla="*/ 828 h 879"/>
                  <a:gd name="T86" fmla="*/ 778 w 2179"/>
                  <a:gd name="T87" fmla="*/ 674 h 879"/>
                  <a:gd name="T88" fmla="*/ 535 w 2179"/>
                  <a:gd name="T89" fmla="*/ 624 h 879"/>
                  <a:gd name="T90" fmla="*/ 705 w 2179"/>
                  <a:gd name="T91" fmla="*/ 728 h 879"/>
                  <a:gd name="T92" fmla="*/ 1004 w 2179"/>
                  <a:gd name="T93" fmla="*/ 484 h 879"/>
                  <a:gd name="T94" fmla="*/ 1139 w 2179"/>
                  <a:gd name="T95" fmla="*/ 271 h 879"/>
                  <a:gd name="T96" fmla="*/ 1086 w 2179"/>
                  <a:gd name="T97" fmla="*/ 110 h 879"/>
                  <a:gd name="T98" fmla="*/ 939 w 2179"/>
                  <a:gd name="T99" fmla="*/ 208 h 879"/>
                  <a:gd name="T100" fmla="*/ 712 w 2179"/>
                  <a:gd name="T101" fmla="*/ 247 h 879"/>
                  <a:gd name="T102" fmla="*/ 716 w 2179"/>
                  <a:gd name="T103" fmla="*/ 388 h 879"/>
                  <a:gd name="T104" fmla="*/ 822 w 2179"/>
                  <a:gd name="T105" fmla="*/ 472 h 879"/>
                  <a:gd name="T106" fmla="*/ 974 w 2179"/>
                  <a:gd name="T107" fmla="*/ 755 h 879"/>
                  <a:gd name="T108" fmla="*/ 1187 w 2179"/>
                  <a:gd name="T109" fmla="*/ 827 h 879"/>
                  <a:gd name="T110" fmla="*/ 1151 w 2179"/>
                  <a:gd name="T111" fmla="*/ 787 h 879"/>
                  <a:gd name="T112" fmla="*/ 1056 w 2179"/>
                  <a:gd name="T113" fmla="*/ 774 h 879"/>
                  <a:gd name="T114" fmla="*/ 1067 w 2179"/>
                  <a:gd name="T115" fmla="*/ 771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79" h="879">
                    <a:moveTo>
                      <a:pt x="1196" y="656"/>
                    </a:moveTo>
                    <a:cubicBezTo>
                      <a:pt x="1210" y="655"/>
                      <a:pt x="1210" y="655"/>
                      <a:pt x="1210" y="655"/>
                    </a:cubicBezTo>
                    <a:cubicBezTo>
                      <a:pt x="1218" y="637"/>
                      <a:pt x="1218" y="637"/>
                      <a:pt x="1218" y="637"/>
                    </a:cubicBezTo>
                    <a:cubicBezTo>
                      <a:pt x="1215" y="622"/>
                      <a:pt x="1215" y="622"/>
                      <a:pt x="1215" y="622"/>
                    </a:cubicBezTo>
                    <a:lnTo>
                      <a:pt x="1196" y="656"/>
                    </a:lnTo>
                    <a:close/>
                    <a:moveTo>
                      <a:pt x="453" y="310"/>
                    </a:moveTo>
                    <a:cubicBezTo>
                      <a:pt x="472" y="321"/>
                      <a:pt x="472" y="321"/>
                      <a:pt x="472" y="321"/>
                    </a:cubicBezTo>
                    <a:cubicBezTo>
                      <a:pt x="472" y="300"/>
                      <a:pt x="472" y="300"/>
                      <a:pt x="472" y="300"/>
                    </a:cubicBezTo>
                    <a:cubicBezTo>
                      <a:pt x="455" y="287"/>
                      <a:pt x="455" y="287"/>
                      <a:pt x="455" y="287"/>
                    </a:cubicBezTo>
                    <a:lnTo>
                      <a:pt x="453" y="310"/>
                    </a:lnTo>
                    <a:close/>
                    <a:moveTo>
                      <a:pt x="455" y="331"/>
                    </a:moveTo>
                    <a:cubicBezTo>
                      <a:pt x="441" y="344"/>
                      <a:pt x="441" y="344"/>
                      <a:pt x="441" y="344"/>
                    </a:cubicBezTo>
                    <a:cubicBezTo>
                      <a:pt x="458" y="365"/>
                      <a:pt x="458" y="365"/>
                      <a:pt x="458" y="365"/>
                    </a:cubicBezTo>
                    <a:lnTo>
                      <a:pt x="455" y="331"/>
                    </a:lnTo>
                    <a:close/>
                    <a:moveTo>
                      <a:pt x="611" y="478"/>
                    </a:moveTo>
                    <a:cubicBezTo>
                      <a:pt x="624" y="491"/>
                      <a:pt x="624" y="491"/>
                      <a:pt x="624" y="491"/>
                    </a:cubicBezTo>
                    <a:cubicBezTo>
                      <a:pt x="630" y="474"/>
                      <a:pt x="630" y="474"/>
                      <a:pt x="630" y="474"/>
                    </a:cubicBezTo>
                    <a:cubicBezTo>
                      <a:pt x="630" y="474"/>
                      <a:pt x="622" y="444"/>
                      <a:pt x="603" y="446"/>
                    </a:cubicBezTo>
                    <a:cubicBezTo>
                      <a:pt x="584" y="447"/>
                      <a:pt x="590" y="466"/>
                      <a:pt x="596" y="484"/>
                    </a:cubicBezTo>
                    <a:lnTo>
                      <a:pt x="611" y="478"/>
                    </a:lnTo>
                    <a:close/>
                    <a:moveTo>
                      <a:pt x="459" y="249"/>
                    </a:moveTo>
                    <a:cubicBezTo>
                      <a:pt x="454" y="237"/>
                      <a:pt x="440" y="244"/>
                      <a:pt x="450" y="260"/>
                    </a:cubicBezTo>
                    <a:cubicBezTo>
                      <a:pt x="461" y="279"/>
                      <a:pt x="464" y="261"/>
                      <a:pt x="459" y="249"/>
                    </a:cubicBezTo>
                    <a:close/>
                    <a:moveTo>
                      <a:pt x="507" y="418"/>
                    </a:moveTo>
                    <a:cubicBezTo>
                      <a:pt x="507" y="418"/>
                      <a:pt x="512" y="447"/>
                      <a:pt x="523" y="459"/>
                    </a:cubicBezTo>
                    <a:cubicBezTo>
                      <a:pt x="533" y="471"/>
                      <a:pt x="559" y="471"/>
                      <a:pt x="559" y="471"/>
                    </a:cubicBezTo>
                    <a:cubicBezTo>
                      <a:pt x="558" y="443"/>
                      <a:pt x="558" y="443"/>
                      <a:pt x="558" y="443"/>
                    </a:cubicBezTo>
                    <a:cubicBezTo>
                      <a:pt x="546" y="435"/>
                      <a:pt x="546" y="435"/>
                      <a:pt x="546" y="435"/>
                    </a:cubicBezTo>
                    <a:cubicBezTo>
                      <a:pt x="545" y="415"/>
                      <a:pt x="545" y="415"/>
                      <a:pt x="545" y="415"/>
                    </a:cubicBezTo>
                    <a:cubicBezTo>
                      <a:pt x="545" y="415"/>
                      <a:pt x="530" y="390"/>
                      <a:pt x="508" y="384"/>
                    </a:cubicBezTo>
                    <a:cubicBezTo>
                      <a:pt x="486" y="378"/>
                      <a:pt x="487" y="403"/>
                      <a:pt x="487" y="403"/>
                    </a:cubicBezTo>
                    <a:cubicBezTo>
                      <a:pt x="487" y="403"/>
                      <a:pt x="473" y="399"/>
                      <a:pt x="480" y="419"/>
                    </a:cubicBezTo>
                    <a:lnTo>
                      <a:pt x="507" y="418"/>
                    </a:lnTo>
                    <a:close/>
                    <a:moveTo>
                      <a:pt x="169" y="296"/>
                    </a:moveTo>
                    <a:cubicBezTo>
                      <a:pt x="154" y="310"/>
                      <a:pt x="154" y="310"/>
                      <a:pt x="154" y="310"/>
                    </a:cubicBezTo>
                    <a:cubicBezTo>
                      <a:pt x="162" y="330"/>
                      <a:pt x="162" y="330"/>
                      <a:pt x="162" y="330"/>
                    </a:cubicBezTo>
                    <a:cubicBezTo>
                      <a:pt x="162" y="330"/>
                      <a:pt x="152" y="348"/>
                      <a:pt x="164" y="344"/>
                    </a:cubicBezTo>
                    <a:cubicBezTo>
                      <a:pt x="171" y="341"/>
                      <a:pt x="168" y="316"/>
                      <a:pt x="168" y="316"/>
                    </a:cubicBezTo>
                    <a:cubicBezTo>
                      <a:pt x="175" y="307"/>
                      <a:pt x="175" y="307"/>
                      <a:pt x="175" y="307"/>
                    </a:cubicBezTo>
                    <a:lnTo>
                      <a:pt x="169" y="296"/>
                    </a:lnTo>
                    <a:close/>
                    <a:moveTo>
                      <a:pt x="180" y="360"/>
                    </a:moveTo>
                    <a:cubicBezTo>
                      <a:pt x="170" y="372"/>
                      <a:pt x="176" y="414"/>
                      <a:pt x="198" y="410"/>
                    </a:cubicBezTo>
                    <a:cubicBezTo>
                      <a:pt x="207" y="408"/>
                      <a:pt x="191" y="348"/>
                      <a:pt x="180" y="360"/>
                    </a:cubicBezTo>
                    <a:close/>
                    <a:moveTo>
                      <a:pt x="35" y="152"/>
                    </a:moveTo>
                    <a:cubicBezTo>
                      <a:pt x="30" y="157"/>
                      <a:pt x="28" y="173"/>
                      <a:pt x="40" y="174"/>
                    </a:cubicBezTo>
                    <a:cubicBezTo>
                      <a:pt x="52" y="176"/>
                      <a:pt x="55" y="189"/>
                      <a:pt x="66" y="181"/>
                    </a:cubicBezTo>
                    <a:cubicBezTo>
                      <a:pt x="73" y="175"/>
                      <a:pt x="40" y="146"/>
                      <a:pt x="35" y="152"/>
                    </a:cubicBezTo>
                    <a:close/>
                    <a:moveTo>
                      <a:pt x="112" y="221"/>
                    </a:moveTo>
                    <a:cubicBezTo>
                      <a:pt x="104" y="221"/>
                      <a:pt x="94" y="234"/>
                      <a:pt x="106" y="242"/>
                    </a:cubicBezTo>
                    <a:cubicBezTo>
                      <a:pt x="118" y="250"/>
                      <a:pt x="122" y="280"/>
                      <a:pt x="134" y="280"/>
                    </a:cubicBezTo>
                    <a:cubicBezTo>
                      <a:pt x="141" y="280"/>
                      <a:pt x="142" y="249"/>
                      <a:pt x="138" y="245"/>
                    </a:cubicBezTo>
                    <a:cubicBezTo>
                      <a:pt x="134" y="241"/>
                      <a:pt x="120" y="221"/>
                      <a:pt x="112" y="221"/>
                    </a:cubicBezTo>
                    <a:close/>
                    <a:moveTo>
                      <a:pt x="1721" y="328"/>
                    </a:moveTo>
                    <a:cubicBezTo>
                      <a:pt x="1721" y="328"/>
                      <a:pt x="1725" y="316"/>
                      <a:pt x="1708" y="314"/>
                    </a:cubicBezTo>
                    <a:cubicBezTo>
                      <a:pt x="1691" y="311"/>
                      <a:pt x="1680" y="316"/>
                      <a:pt x="1680" y="316"/>
                    </a:cubicBezTo>
                    <a:cubicBezTo>
                      <a:pt x="1684" y="334"/>
                      <a:pt x="1684" y="334"/>
                      <a:pt x="1684" y="334"/>
                    </a:cubicBezTo>
                    <a:cubicBezTo>
                      <a:pt x="1693" y="333"/>
                      <a:pt x="1721" y="328"/>
                      <a:pt x="1721" y="328"/>
                    </a:cubicBezTo>
                    <a:close/>
                    <a:moveTo>
                      <a:pt x="230" y="434"/>
                    </a:moveTo>
                    <a:cubicBezTo>
                      <a:pt x="239" y="433"/>
                      <a:pt x="226" y="413"/>
                      <a:pt x="218" y="418"/>
                    </a:cubicBezTo>
                    <a:cubicBezTo>
                      <a:pt x="211" y="422"/>
                      <a:pt x="220" y="436"/>
                      <a:pt x="230" y="434"/>
                    </a:cubicBezTo>
                    <a:close/>
                    <a:moveTo>
                      <a:pt x="1652" y="438"/>
                    </a:moveTo>
                    <a:cubicBezTo>
                      <a:pt x="1674" y="429"/>
                      <a:pt x="1672" y="413"/>
                      <a:pt x="1672" y="413"/>
                    </a:cubicBezTo>
                    <a:cubicBezTo>
                      <a:pt x="1627" y="412"/>
                      <a:pt x="1627" y="412"/>
                      <a:pt x="1627" y="412"/>
                    </a:cubicBezTo>
                    <a:cubicBezTo>
                      <a:pt x="1627" y="412"/>
                      <a:pt x="1630" y="447"/>
                      <a:pt x="1652" y="438"/>
                    </a:cubicBezTo>
                    <a:close/>
                    <a:moveTo>
                      <a:pt x="1609" y="194"/>
                    </a:moveTo>
                    <a:cubicBezTo>
                      <a:pt x="1624" y="182"/>
                      <a:pt x="1618" y="175"/>
                      <a:pt x="1605" y="171"/>
                    </a:cubicBezTo>
                    <a:cubicBezTo>
                      <a:pt x="1592" y="167"/>
                      <a:pt x="1586" y="172"/>
                      <a:pt x="1586" y="172"/>
                    </a:cubicBezTo>
                    <a:cubicBezTo>
                      <a:pt x="1586" y="172"/>
                      <a:pt x="1601" y="202"/>
                      <a:pt x="1609" y="194"/>
                    </a:cubicBezTo>
                    <a:close/>
                    <a:moveTo>
                      <a:pt x="1918" y="353"/>
                    </a:moveTo>
                    <a:cubicBezTo>
                      <a:pt x="1937" y="362"/>
                      <a:pt x="1945" y="353"/>
                      <a:pt x="1930" y="346"/>
                    </a:cubicBezTo>
                    <a:cubicBezTo>
                      <a:pt x="1916" y="340"/>
                      <a:pt x="1910" y="349"/>
                      <a:pt x="1918" y="353"/>
                    </a:cubicBezTo>
                    <a:close/>
                    <a:moveTo>
                      <a:pt x="1950" y="413"/>
                    </a:moveTo>
                    <a:cubicBezTo>
                      <a:pt x="1959" y="413"/>
                      <a:pt x="1986" y="406"/>
                      <a:pt x="1986" y="406"/>
                    </a:cubicBezTo>
                    <a:cubicBezTo>
                      <a:pt x="1986" y="406"/>
                      <a:pt x="1962" y="396"/>
                      <a:pt x="1957" y="395"/>
                    </a:cubicBezTo>
                    <a:cubicBezTo>
                      <a:pt x="1953" y="394"/>
                      <a:pt x="1924" y="400"/>
                      <a:pt x="1924" y="400"/>
                    </a:cubicBezTo>
                    <a:cubicBezTo>
                      <a:pt x="1924" y="400"/>
                      <a:pt x="1940" y="413"/>
                      <a:pt x="1950" y="413"/>
                    </a:cubicBezTo>
                    <a:close/>
                    <a:moveTo>
                      <a:pt x="1145" y="370"/>
                    </a:moveTo>
                    <a:cubicBezTo>
                      <a:pt x="1142" y="380"/>
                      <a:pt x="1161" y="400"/>
                      <a:pt x="1153" y="409"/>
                    </a:cubicBezTo>
                    <a:cubicBezTo>
                      <a:pt x="1145" y="418"/>
                      <a:pt x="1122" y="424"/>
                      <a:pt x="1120" y="437"/>
                    </a:cubicBezTo>
                    <a:cubicBezTo>
                      <a:pt x="1119" y="451"/>
                      <a:pt x="1130" y="464"/>
                      <a:pt x="1130" y="464"/>
                    </a:cubicBezTo>
                    <a:cubicBezTo>
                      <a:pt x="1130" y="464"/>
                      <a:pt x="1114" y="478"/>
                      <a:pt x="1124" y="485"/>
                    </a:cubicBezTo>
                    <a:cubicBezTo>
                      <a:pt x="1135" y="492"/>
                      <a:pt x="1153" y="477"/>
                      <a:pt x="1157" y="489"/>
                    </a:cubicBezTo>
                    <a:cubicBezTo>
                      <a:pt x="1161" y="501"/>
                      <a:pt x="1153" y="510"/>
                      <a:pt x="1153" y="510"/>
                    </a:cubicBezTo>
                    <a:cubicBezTo>
                      <a:pt x="1164" y="524"/>
                      <a:pt x="1164" y="524"/>
                      <a:pt x="1164" y="524"/>
                    </a:cubicBezTo>
                    <a:cubicBezTo>
                      <a:pt x="1158" y="568"/>
                      <a:pt x="1158" y="568"/>
                      <a:pt x="1158" y="568"/>
                    </a:cubicBezTo>
                    <a:cubicBezTo>
                      <a:pt x="1158" y="568"/>
                      <a:pt x="1134" y="582"/>
                      <a:pt x="1146" y="606"/>
                    </a:cubicBezTo>
                    <a:cubicBezTo>
                      <a:pt x="1157" y="630"/>
                      <a:pt x="1173" y="630"/>
                      <a:pt x="1191" y="612"/>
                    </a:cubicBezTo>
                    <a:cubicBezTo>
                      <a:pt x="1208" y="595"/>
                      <a:pt x="1188" y="566"/>
                      <a:pt x="1188" y="566"/>
                    </a:cubicBezTo>
                    <a:cubicBezTo>
                      <a:pt x="1188" y="566"/>
                      <a:pt x="1209" y="551"/>
                      <a:pt x="1209" y="530"/>
                    </a:cubicBezTo>
                    <a:cubicBezTo>
                      <a:pt x="1208" y="508"/>
                      <a:pt x="1217" y="489"/>
                      <a:pt x="1210" y="476"/>
                    </a:cubicBezTo>
                    <a:cubicBezTo>
                      <a:pt x="1202" y="464"/>
                      <a:pt x="1198" y="439"/>
                      <a:pt x="1200" y="434"/>
                    </a:cubicBezTo>
                    <a:cubicBezTo>
                      <a:pt x="1201" y="429"/>
                      <a:pt x="1207" y="401"/>
                      <a:pt x="1217" y="419"/>
                    </a:cubicBezTo>
                    <a:cubicBezTo>
                      <a:pt x="1228" y="437"/>
                      <a:pt x="1228" y="468"/>
                      <a:pt x="1228" y="468"/>
                    </a:cubicBezTo>
                    <a:cubicBezTo>
                      <a:pt x="1251" y="494"/>
                      <a:pt x="1251" y="494"/>
                      <a:pt x="1251" y="494"/>
                    </a:cubicBezTo>
                    <a:cubicBezTo>
                      <a:pt x="1248" y="529"/>
                      <a:pt x="1248" y="529"/>
                      <a:pt x="1248" y="529"/>
                    </a:cubicBezTo>
                    <a:cubicBezTo>
                      <a:pt x="1265" y="551"/>
                      <a:pt x="1265" y="551"/>
                      <a:pt x="1265" y="551"/>
                    </a:cubicBezTo>
                    <a:cubicBezTo>
                      <a:pt x="1266" y="575"/>
                      <a:pt x="1266" y="575"/>
                      <a:pt x="1266" y="575"/>
                    </a:cubicBezTo>
                    <a:cubicBezTo>
                      <a:pt x="1275" y="624"/>
                      <a:pt x="1275" y="624"/>
                      <a:pt x="1275" y="624"/>
                    </a:cubicBezTo>
                    <a:cubicBezTo>
                      <a:pt x="1285" y="614"/>
                      <a:pt x="1285" y="614"/>
                      <a:pt x="1285" y="614"/>
                    </a:cubicBezTo>
                    <a:cubicBezTo>
                      <a:pt x="1312" y="622"/>
                      <a:pt x="1312" y="622"/>
                      <a:pt x="1312" y="622"/>
                    </a:cubicBezTo>
                    <a:cubicBezTo>
                      <a:pt x="1312" y="622"/>
                      <a:pt x="1314" y="605"/>
                      <a:pt x="1313" y="592"/>
                    </a:cubicBezTo>
                    <a:cubicBezTo>
                      <a:pt x="1312" y="579"/>
                      <a:pt x="1319" y="572"/>
                      <a:pt x="1319" y="572"/>
                    </a:cubicBezTo>
                    <a:cubicBezTo>
                      <a:pt x="1325" y="588"/>
                      <a:pt x="1325" y="588"/>
                      <a:pt x="1325" y="588"/>
                    </a:cubicBezTo>
                    <a:cubicBezTo>
                      <a:pt x="1325" y="588"/>
                      <a:pt x="1342" y="590"/>
                      <a:pt x="1344" y="574"/>
                    </a:cubicBezTo>
                    <a:cubicBezTo>
                      <a:pt x="1345" y="558"/>
                      <a:pt x="1341" y="546"/>
                      <a:pt x="1341" y="546"/>
                    </a:cubicBezTo>
                    <a:cubicBezTo>
                      <a:pt x="1341" y="546"/>
                      <a:pt x="1301" y="514"/>
                      <a:pt x="1303" y="502"/>
                    </a:cubicBezTo>
                    <a:cubicBezTo>
                      <a:pt x="1305" y="490"/>
                      <a:pt x="1324" y="477"/>
                      <a:pt x="1313" y="467"/>
                    </a:cubicBezTo>
                    <a:cubicBezTo>
                      <a:pt x="1301" y="457"/>
                      <a:pt x="1292" y="454"/>
                      <a:pt x="1291" y="446"/>
                    </a:cubicBezTo>
                    <a:cubicBezTo>
                      <a:pt x="1291" y="437"/>
                      <a:pt x="1304" y="418"/>
                      <a:pt x="1290" y="412"/>
                    </a:cubicBezTo>
                    <a:cubicBezTo>
                      <a:pt x="1277" y="407"/>
                      <a:pt x="1257" y="390"/>
                      <a:pt x="1257" y="390"/>
                    </a:cubicBezTo>
                    <a:cubicBezTo>
                      <a:pt x="1257" y="390"/>
                      <a:pt x="1279" y="395"/>
                      <a:pt x="1289" y="385"/>
                    </a:cubicBezTo>
                    <a:cubicBezTo>
                      <a:pt x="1298" y="376"/>
                      <a:pt x="1308" y="354"/>
                      <a:pt x="1308" y="354"/>
                    </a:cubicBezTo>
                    <a:cubicBezTo>
                      <a:pt x="1308" y="354"/>
                      <a:pt x="1347" y="356"/>
                      <a:pt x="1348" y="348"/>
                    </a:cubicBezTo>
                    <a:cubicBezTo>
                      <a:pt x="1349" y="339"/>
                      <a:pt x="1338" y="324"/>
                      <a:pt x="1328" y="323"/>
                    </a:cubicBezTo>
                    <a:cubicBezTo>
                      <a:pt x="1317" y="323"/>
                      <a:pt x="1310" y="341"/>
                      <a:pt x="1310" y="341"/>
                    </a:cubicBezTo>
                    <a:cubicBezTo>
                      <a:pt x="1310" y="341"/>
                      <a:pt x="1281" y="333"/>
                      <a:pt x="1269" y="337"/>
                    </a:cubicBezTo>
                    <a:cubicBezTo>
                      <a:pt x="1258" y="340"/>
                      <a:pt x="1252" y="369"/>
                      <a:pt x="1240" y="370"/>
                    </a:cubicBezTo>
                    <a:cubicBezTo>
                      <a:pt x="1229" y="370"/>
                      <a:pt x="1230" y="350"/>
                      <a:pt x="1213" y="340"/>
                    </a:cubicBezTo>
                    <a:cubicBezTo>
                      <a:pt x="1196" y="330"/>
                      <a:pt x="1188" y="333"/>
                      <a:pt x="1188" y="333"/>
                    </a:cubicBezTo>
                    <a:cubicBezTo>
                      <a:pt x="1188" y="333"/>
                      <a:pt x="1193" y="274"/>
                      <a:pt x="1209" y="273"/>
                    </a:cubicBezTo>
                    <a:cubicBezTo>
                      <a:pt x="1225" y="272"/>
                      <a:pt x="1255" y="283"/>
                      <a:pt x="1269" y="279"/>
                    </a:cubicBezTo>
                    <a:cubicBezTo>
                      <a:pt x="1282" y="276"/>
                      <a:pt x="1273" y="264"/>
                      <a:pt x="1284" y="266"/>
                    </a:cubicBezTo>
                    <a:cubicBezTo>
                      <a:pt x="1296" y="267"/>
                      <a:pt x="1349" y="293"/>
                      <a:pt x="1359" y="294"/>
                    </a:cubicBezTo>
                    <a:cubicBezTo>
                      <a:pt x="1370" y="294"/>
                      <a:pt x="1372" y="285"/>
                      <a:pt x="1379" y="281"/>
                    </a:cubicBezTo>
                    <a:cubicBezTo>
                      <a:pt x="1386" y="277"/>
                      <a:pt x="1399" y="283"/>
                      <a:pt x="1408" y="278"/>
                    </a:cubicBezTo>
                    <a:cubicBezTo>
                      <a:pt x="1417" y="272"/>
                      <a:pt x="1406" y="267"/>
                      <a:pt x="1415" y="258"/>
                    </a:cubicBezTo>
                    <a:cubicBezTo>
                      <a:pt x="1423" y="249"/>
                      <a:pt x="1443" y="240"/>
                      <a:pt x="1443" y="240"/>
                    </a:cubicBezTo>
                    <a:cubicBezTo>
                      <a:pt x="1436" y="220"/>
                      <a:pt x="1436" y="220"/>
                      <a:pt x="1436" y="220"/>
                    </a:cubicBezTo>
                    <a:cubicBezTo>
                      <a:pt x="1384" y="242"/>
                      <a:pt x="1384" y="242"/>
                      <a:pt x="1384" y="242"/>
                    </a:cubicBezTo>
                    <a:cubicBezTo>
                      <a:pt x="1384" y="242"/>
                      <a:pt x="1396" y="255"/>
                      <a:pt x="1381" y="256"/>
                    </a:cubicBezTo>
                    <a:cubicBezTo>
                      <a:pt x="1366" y="257"/>
                      <a:pt x="1353" y="248"/>
                      <a:pt x="1344" y="248"/>
                    </a:cubicBezTo>
                    <a:cubicBezTo>
                      <a:pt x="1336" y="248"/>
                      <a:pt x="1321" y="261"/>
                      <a:pt x="1311" y="259"/>
                    </a:cubicBezTo>
                    <a:cubicBezTo>
                      <a:pt x="1300" y="256"/>
                      <a:pt x="1275" y="244"/>
                      <a:pt x="1268" y="244"/>
                    </a:cubicBezTo>
                    <a:cubicBezTo>
                      <a:pt x="1261" y="244"/>
                      <a:pt x="1245" y="244"/>
                      <a:pt x="1245" y="244"/>
                    </a:cubicBezTo>
                    <a:cubicBezTo>
                      <a:pt x="1253" y="232"/>
                      <a:pt x="1253" y="232"/>
                      <a:pt x="1253" y="232"/>
                    </a:cubicBezTo>
                    <a:cubicBezTo>
                      <a:pt x="1253" y="232"/>
                      <a:pt x="1226" y="225"/>
                      <a:pt x="1223" y="228"/>
                    </a:cubicBezTo>
                    <a:cubicBezTo>
                      <a:pt x="1219" y="232"/>
                      <a:pt x="1224" y="249"/>
                      <a:pt x="1212" y="256"/>
                    </a:cubicBezTo>
                    <a:cubicBezTo>
                      <a:pt x="1201" y="263"/>
                      <a:pt x="1179" y="261"/>
                      <a:pt x="1179" y="267"/>
                    </a:cubicBezTo>
                    <a:cubicBezTo>
                      <a:pt x="1179" y="273"/>
                      <a:pt x="1178" y="287"/>
                      <a:pt x="1178" y="287"/>
                    </a:cubicBezTo>
                    <a:cubicBezTo>
                      <a:pt x="1164" y="289"/>
                      <a:pt x="1164" y="289"/>
                      <a:pt x="1164" y="289"/>
                    </a:cubicBezTo>
                    <a:cubicBezTo>
                      <a:pt x="1174" y="336"/>
                      <a:pt x="1174" y="336"/>
                      <a:pt x="1174" y="336"/>
                    </a:cubicBezTo>
                    <a:cubicBezTo>
                      <a:pt x="1164" y="335"/>
                      <a:pt x="1164" y="335"/>
                      <a:pt x="1164" y="335"/>
                    </a:cubicBezTo>
                    <a:cubicBezTo>
                      <a:pt x="1164" y="335"/>
                      <a:pt x="1147" y="360"/>
                      <a:pt x="1145" y="370"/>
                    </a:cubicBezTo>
                    <a:close/>
                    <a:moveTo>
                      <a:pt x="1328" y="387"/>
                    </a:moveTo>
                    <a:cubicBezTo>
                      <a:pt x="1328" y="400"/>
                      <a:pt x="1328" y="400"/>
                      <a:pt x="1328" y="400"/>
                    </a:cubicBezTo>
                    <a:cubicBezTo>
                      <a:pt x="1328" y="400"/>
                      <a:pt x="1343" y="412"/>
                      <a:pt x="1350" y="395"/>
                    </a:cubicBezTo>
                    <a:cubicBezTo>
                      <a:pt x="1358" y="379"/>
                      <a:pt x="1328" y="387"/>
                      <a:pt x="1328" y="387"/>
                    </a:cubicBezTo>
                    <a:close/>
                    <a:moveTo>
                      <a:pt x="1127" y="743"/>
                    </a:moveTo>
                    <a:cubicBezTo>
                      <a:pt x="1118" y="740"/>
                      <a:pt x="1111" y="746"/>
                      <a:pt x="1111" y="746"/>
                    </a:cubicBezTo>
                    <a:cubicBezTo>
                      <a:pt x="1080" y="739"/>
                      <a:pt x="1080" y="739"/>
                      <a:pt x="1080" y="739"/>
                    </a:cubicBezTo>
                    <a:cubicBezTo>
                      <a:pt x="1099" y="766"/>
                      <a:pt x="1099" y="766"/>
                      <a:pt x="1099" y="766"/>
                    </a:cubicBezTo>
                    <a:cubicBezTo>
                      <a:pt x="1099" y="766"/>
                      <a:pt x="1126" y="793"/>
                      <a:pt x="1132" y="775"/>
                    </a:cubicBezTo>
                    <a:cubicBezTo>
                      <a:pt x="1137" y="758"/>
                      <a:pt x="1136" y="746"/>
                      <a:pt x="1127" y="743"/>
                    </a:cubicBezTo>
                    <a:close/>
                    <a:moveTo>
                      <a:pt x="1400" y="740"/>
                    </a:moveTo>
                    <a:cubicBezTo>
                      <a:pt x="1379" y="754"/>
                      <a:pt x="1379" y="754"/>
                      <a:pt x="1379" y="754"/>
                    </a:cubicBezTo>
                    <a:cubicBezTo>
                      <a:pt x="1400" y="759"/>
                      <a:pt x="1400" y="759"/>
                      <a:pt x="1400" y="759"/>
                    </a:cubicBezTo>
                    <a:lnTo>
                      <a:pt x="1400" y="740"/>
                    </a:lnTo>
                    <a:close/>
                    <a:moveTo>
                      <a:pt x="327" y="200"/>
                    </a:moveTo>
                    <a:cubicBezTo>
                      <a:pt x="315" y="190"/>
                      <a:pt x="304" y="196"/>
                      <a:pt x="310" y="212"/>
                    </a:cubicBezTo>
                    <a:cubicBezTo>
                      <a:pt x="314" y="226"/>
                      <a:pt x="339" y="209"/>
                      <a:pt x="327" y="200"/>
                    </a:cubicBezTo>
                    <a:close/>
                    <a:moveTo>
                      <a:pt x="1569" y="393"/>
                    </a:moveTo>
                    <a:cubicBezTo>
                      <a:pt x="1561" y="383"/>
                      <a:pt x="1542" y="370"/>
                      <a:pt x="1542" y="370"/>
                    </a:cubicBezTo>
                    <a:cubicBezTo>
                      <a:pt x="1540" y="400"/>
                      <a:pt x="1540" y="400"/>
                      <a:pt x="1540" y="400"/>
                    </a:cubicBezTo>
                    <a:cubicBezTo>
                      <a:pt x="1552" y="408"/>
                      <a:pt x="1578" y="404"/>
                      <a:pt x="1569" y="393"/>
                    </a:cubicBezTo>
                    <a:close/>
                    <a:moveTo>
                      <a:pt x="1543" y="318"/>
                    </a:moveTo>
                    <a:cubicBezTo>
                      <a:pt x="1552" y="325"/>
                      <a:pt x="1590" y="359"/>
                      <a:pt x="1599" y="356"/>
                    </a:cubicBezTo>
                    <a:cubicBezTo>
                      <a:pt x="1608" y="353"/>
                      <a:pt x="1598" y="340"/>
                      <a:pt x="1587" y="334"/>
                    </a:cubicBezTo>
                    <a:cubicBezTo>
                      <a:pt x="1577" y="328"/>
                      <a:pt x="1571" y="316"/>
                      <a:pt x="1581" y="306"/>
                    </a:cubicBezTo>
                    <a:cubicBezTo>
                      <a:pt x="1592" y="296"/>
                      <a:pt x="1611" y="306"/>
                      <a:pt x="1611" y="306"/>
                    </a:cubicBezTo>
                    <a:cubicBezTo>
                      <a:pt x="1620" y="299"/>
                      <a:pt x="1620" y="299"/>
                      <a:pt x="1620" y="299"/>
                    </a:cubicBezTo>
                    <a:cubicBezTo>
                      <a:pt x="1603" y="288"/>
                      <a:pt x="1603" y="288"/>
                      <a:pt x="1603" y="288"/>
                    </a:cubicBezTo>
                    <a:cubicBezTo>
                      <a:pt x="1603" y="288"/>
                      <a:pt x="1617" y="281"/>
                      <a:pt x="1620" y="269"/>
                    </a:cubicBezTo>
                    <a:cubicBezTo>
                      <a:pt x="1623" y="258"/>
                      <a:pt x="1608" y="250"/>
                      <a:pt x="1598" y="249"/>
                    </a:cubicBezTo>
                    <a:cubicBezTo>
                      <a:pt x="1587" y="247"/>
                      <a:pt x="1577" y="274"/>
                      <a:pt x="1565" y="275"/>
                    </a:cubicBezTo>
                    <a:cubicBezTo>
                      <a:pt x="1554" y="277"/>
                      <a:pt x="1557" y="250"/>
                      <a:pt x="1557" y="250"/>
                    </a:cubicBezTo>
                    <a:cubicBezTo>
                      <a:pt x="1557" y="250"/>
                      <a:pt x="1567" y="237"/>
                      <a:pt x="1570" y="227"/>
                    </a:cubicBezTo>
                    <a:cubicBezTo>
                      <a:pt x="1573" y="216"/>
                      <a:pt x="1567" y="211"/>
                      <a:pt x="1567" y="211"/>
                    </a:cubicBezTo>
                    <a:cubicBezTo>
                      <a:pt x="1576" y="184"/>
                      <a:pt x="1576" y="184"/>
                      <a:pt x="1576" y="184"/>
                    </a:cubicBezTo>
                    <a:cubicBezTo>
                      <a:pt x="1548" y="211"/>
                      <a:pt x="1548" y="211"/>
                      <a:pt x="1548" y="211"/>
                    </a:cubicBezTo>
                    <a:cubicBezTo>
                      <a:pt x="1548" y="230"/>
                      <a:pt x="1548" y="230"/>
                      <a:pt x="1548" y="230"/>
                    </a:cubicBezTo>
                    <a:cubicBezTo>
                      <a:pt x="1548" y="230"/>
                      <a:pt x="1525" y="240"/>
                      <a:pt x="1527" y="265"/>
                    </a:cubicBezTo>
                    <a:cubicBezTo>
                      <a:pt x="1529" y="281"/>
                      <a:pt x="1540" y="284"/>
                      <a:pt x="1543" y="293"/>
                    </a:cubicBezTo>
                    <a:cubicBezTo>
                      <a:pt x="1546" y="302"/>
                      <a:pt x="1535" y="310"/>
                      <a:pt x="1543" y="318"/>
                    </a:cubicBezTo>
                    <a:close/>
                    <a:moveTo>
                      <a:pt x="1505" y="474"/>
                    </a:moveTo>
                    <a:cubicBezTo>
                      <a:pt x="1496" y="464"/>
                      <a:pt x="1496" y="464"/>
                      <a:pt x="1496" y="464"/>
                    </a:cubicBezTo>
                    <a:cubicBezTo>
                      <a:pt x="1482" y="475"/>
                      <a:pt x="1482" y="475"/>
                      <a:pt x="1482" y="475"/>
                    </a:cubicBezTo>
                    <a:cubicBezTo>
                      <a:pt x="1482" y="475"/>
                      <a:pt x="1475" y="494"/>
                      <a:pt x="1489" y="503"/>
                    </a:cubicBezTo>
                    <a:cubicBezTo>
                      <a:pt x="1502" y="513"/>
                      <a:pt x="1521" y="509"/>
                      <a:pt x="1521" y="509"/>
                    </a:cubicBezTo>
                    <a:cubicBezTo>
                      <a:pt x="1529" y="498"/>
                      <a:pt x="1517" y="471"/>
                      <a:pt x="1517" y="471"/>
                    </a:cubicBezTo>
                    <a:lnTo>
                      <a:pt x="1505" y="474"/>
                    </a:lnTo>
                    <a:close/>
                    <a:moveTo>
                      <a:pt x="1437" y="740"/>
                    </a:moveTo>
                    <a:cubicBezTo>
                      <a:pt x="1487" y="728"/>
                      <a:pt x="1487" y="728"/>
                      <a:pt x="1487" y="728"/>
                    </a:cubicBezTo>
                    <a:cubicBezTo>
                      <a:pt x="1449" y="718"/>
                      <a:pt x="1449" y="718"/>
                      <a:pt x="1449" y="718"/>
                    </a:cubicBezTo>
                    <a:lnTo>
                      <a:pt x="1437" y="740"/>
                    </a:lnTo>
                    <a:close/>
                    <a:moveTo>
                      <a:pt x="1700" y="502"/>
                    </a:moveTo>
                    <a:cubicBezTo>
                      <a:pt x="1686" y="490"/>
                      <a:pt x="1686" y="490"/>
                      <a:pt x="1686" y="490"/>
                    </a:cubicBezTo>
                    <a:cubicBezTo>
                      <a:pt x="1687" y="479"/>
                      <a:pt x="1687" y="479"/>
                      <a:pt x="1687" y="479"/>
                    </a:cubicBezTo>
                    <a:cubicBezTo>
                      <a:pt x="1687" y="479"/>
                      <a:pt x="1681" y="458"/>
                      <a:pt x="1634" y="448"/>
                    </a:cubicBezTo>
                    <a:cubicBezTo>
                      <a:pt x="1618" y="444"/>
                      <a:pt x="1608" y="454"/>
                      <a:pt x="1597" y="459"/>
                    </a:cubicBezTo>
                    <a:cubicBezTo>
                      <a:pt x="1591" y="461"/>
                      <a:pt x="1583" y="457"/>
                      <a:pt x="1579" y="460"/>
                    </a:cubicBezTo>
                    <a:cubicBezTo>
                      <a:pt x="1566" y="468"/>
                      <a:pt x="1562" y="484"/>
                      <a:pt x="1566" y="487"/>
                    </a:cubicBezTo>
                    <a:cubicBezTo>
                      <a:pt x="1573" y="493"/>
                      <a:pt x="1580" y="479"/>
                      <a:pt x="1580" y="479"/>
                    </a:cubicBezTo>
                    <a:cubicBezTo>
                      <a:pt x="1580" y="479"/>
                      <a:pt x="1580" y="495"/>
                      <a:pt x="1591" y="497"/>
                    </a:cubicBezTo>
                    <a:cubicBezTo>
                      <a:pt x="1602" y="498"/>
                      <a:pt x="1604" y="478"/>
                      <a:pt x="1604" y="478"/>
                    </a:cubicBezTo>
                    <a:cubicBezTo>
                      <a:pt x="1604" y="478"/>
                      <a:pt x="1612" y="489"/>
                      <a:pt x="1619" y="489"/>
                    </a:cubicBezTo>
                    <a:cubicBezTo>
                      <a:pt x="1626" y="489"/>
                      <a:pt x="1644" y="474"/>
                      <a:pt x="1644" y="474"/>
                    </a:cubicBezTo>
                    <a:cubicBezTo>
                      <a:pt x="1654" y="509"/>
                      <a:pt x="1654" y="509"/>
                      <a:pt x="1654" y="509"/>
                    </a:cubicBezTo>
                    <a:cubicBezTo>
                      <a:pt x="1673" y="495"/>
                      <a:pt x="1673" y="495"/>
                      <a:pt x="1673" y="495"/>
                    </a:cubicBezTo>
                    <a:cubicBezTo>
                      <a:pt x="1695" y="519"/>
                      <a:pt x="1695" y="519"/>
                      <a:pt x="1695" y="519"/>
                    </a:cubicBezTo>
                    <a:lnTo>
                      <a:pt x="1700" y="502"/>
                    </a:lnTo>
                    <a:close/>
                    <a:moveTo>
                      <a:pt x="2179" y="454"/>
                    </a:moveTo>
                    <a:cubicBezTo>
                      <a:pt x="2153" y="435"/>
                      <a:pt x="2153" y="435"/>
                      <a:pt x="2153" y="435"/>
                    </a:cubicBezTo>
                    <a:cubicBezTo>
                      <a:pt x="2153" y="435"/>
                      <a:pt x="2134" y="437"/>
                      <a:pt x="2124" y="437"/>
                    </a:cubicBezTo>
                    <a:cubicBezTo>
                      <a:pt x="2113" y="437"/>
                      <a:pt x="2045" y="394"/>
                      <a:pt x="2032" y="390"/>
                    </a:cubicBezTo>
                    <a:cubicBezTo>
                      <a:pt x="2019" y="386"/>
                      <a:pt x="1998" y="405"/>
                      <a:pt x="1998" y="405"/>
                    </a:cubicBezTo>
                    <a:cubicBezTo>
                      <a:pt x="2007" y="423"/>
                      <a:pt x="2007" y="423"/>
                      <a:pt x="2007" y="423"/>
                    </a:cubicBezTo>
                    <a:cubicBezTo>
                      <a:pt x="1956" y="428"/>
                      <a:pt x="1956" y="428"/>
                      <a:pt x="1956" y="428"/>
                    </a:cubicBezTo>
                    <a:cubicBezTo>
                      <a:pt x="1960" y="446"/>
                      <a:pt x="1960" y="446"/>
                      <a:pt x="1960" y="446"/>
                    </a:cubicBezTo>
                    <a:cubicBezTo>
                      <a:pt x="1960" y="446"/>
                      <a:pt x="1950" y="477"/>
                      <a:pt x="1913" y="484"/>
                    </a:cubicBezTo>
                    <a:cubicBezTo>
                      <a:pt x="1876" y="492"/>
                      <a:pt x="1886" y="443"/>
                      <a:pt x="1880" y="443"/>
                    </a:cubicBezTo>
                    <a:cubicBezTo>
                      <a:pt x="1875" y="443"/>
                      <a:pt x="1869" y="465"/>
                      <a:pt x="1869" y="465"/>
                    </a:cubicBezTo>
                    <a:cubicBezTo>
                      <a:pt x="1869" y="465"/>
                      <a:pt x="1861" y="448"/>
                      <a:pt x="1861" y="439"/>
                    </a:cubicBezTo>
                    <a:cubicBezTo>
                      <a:pt x="1861" y="429"/>
                      <a:pt x="1862" y="402"/>
                      <a:pt x="1859" y="385"/>
                    </a:cubicBezTo>
                    <a:cubicBezTo>
                      <a:pt x="1857" y="368"/>
                      <a:pt x="1846" y="350"/>
                      <a:pt x="1846" y="350"/>
                    </a:cubicBezTo>
                    <a:cubicBezTo>
                      <a:pt x="1820" y="350"/>
                      <a:pt x="1820" y="350"/>
                      <a:pt x="1820" y="350"/>
                    </a:cubicBezTo>
                    <a:cubicBezTo>
                      <a:pt x="1820" y="350"/>
                      <a:pt x="1799" y="326"/>
                      <a:pt x="1781" y="326"/>
                    </a:cubicBezTo>
                    <a:cubicBezTo>
                      <a:pt x="1763" y="326"/>
                      <a:pt x="1744" y="351"/>
                      <a:pt x="1744" y="351"/>
                    </a:cubicBezTo>
                    <a:cubicBezTo>
                      <a:pt x="1728" y="355"/>
                      <a:pt x="1728" y="355"/>
                      <a:pt x="1728" y="355"/>
                    </a:cubicBezTo>
                    <a:cubicBezTo>
                      <a:pt x="1723" y="367"/>
                      <a:pt x="1723" y="367"/>
                      <a:pt x="1723" y="367"/>
                    </a:cubicBezTo>
                    <a:cubicBezTo>
                      <a:pt x="1711" y="373"/>
                      <a:pt x="1711" y="373"/>
                      <a:pt x="1711" y="373"/>
                    </a:cubicBezTo>
                    <a:cubicBezTo>
                      <a:pt x="1711" y="364"/>
                      <a:pt x="1711" y="364"/>
                      <a:pt x="1711" y="364"/>
                    </a:cubicBezTo>
                    <a:cubicBezTo>
                      <a:pt x="1711" y="364"/>
                      <a:pt x="1704" y="352"/>
                      <a:pt x="1693" y="356"/>
                    </a:cubicBezTo>
                    <a:cubicBezTo>
                      <a:pt x="1693" y="356"/>
                      <a:pt x="1693" y="369"/>
                      <a:pt x="1702" y="382"/>
                    </a:cubicBezTo>
                    <a:cubicBezTo>
                      <a:pt x="1711" y="395"/>
                      <a:pt x="1732" y="388"/>
                      <a:pt x="1749" y="393"/>
                    </a:cubicBezTo>
                    <a:cubicBezTo>
                      <a:pt x="1766" y="398"/>
                      <a:pt x="1751" y="406"/>
                      <a:pt x="1760" y="422"/>
                    </a:cubicBezTo>
                    <a:cubicBezTo>
                      <a:pt x="1769" y="437"/>
                      <a:pt x="1799" y="424"/>
                      <a:pt x="1821" y="424"/>
                    </a:cubicBezTo>
                    <a:cubicBezTo>
                      <a:pt x="1844" y="424"/>
                      <a:pt x="1845" y="429"/>
                      <a:pt x="1845" y="440"/>
                    </a:cubicBezTo>
                    <a:cubicBezTo>
                      <a:pt x="1845" y="450"/>
                      <a:pt x="1819" y="440"/>
                      <a:pt x="1811" y="441"/>
                    </a:cubicBezTo>
                    <a:cubicBezTo>
                      <a:pt x="1803" y="443"/>
                      <a:pt x="1785" y="454"/>
                      <a:pt x="1785" y="454"/>
                    </a:cubicBezTo>
                    <a:cubicBezTo>
                      <a:pt x="1785" y="454"/>
                      <a:pt x="1757" y="454"/>
                      <a:pt x="1751" y="461"/>
                    </a:cubicBezTo>
                    <a:cubicBezTo>
                      <a:pt x="1744" y="467"/>
                      <a:pt x="1774" y="474"/>
                      <a:pt x="1781" y="478"/>
                    </a:cubicBezTo>
                    <a:cubicBezTo>
                      <a:pt x="1787" y="482"/>
                      <a:pt x="1797" y="498"/>
                      <a:pt x="1797" y="498"/>
                    </a:cubicBezTo>
                    <a:cubicBezTo>
                      <a:pt x="1797" y="498"/>
                      <a:pt x="1781" y="517"/>
                      <a:pt x="1790" y="530"/>
                    </a:cubicBezTo>
                    <a:cubicBezTo>
                      <a:pt x="1799" y="543"/>
                      <a:pt x="1819" y="508"/>
                      <a:pt x="1819" y="504"/>
                    </a:cubicBezTo>
                    <a:cubicBezTo>
                      <a:pt x="1819" y="500"/>
                      <a:pt x="1838" y="471"/>
                      <a:pt x="1838" y="471"/>
                    </a:cubicBezTo>
                    <a:cubicBezTo>
                      <a:pt x="1836" y="496"/>
                      <a:pt x="1836" y="496"/>
                      <a:pt x="1836" y="496"/>
                    </a:cubicBezTo>
                    <a:cubicBezTo>
                      <a:pt x="1836" y="496"/>
                      <a:pt x="1849" y="509"/>
                      <a:pt x="1859" y="518"/>
                    </a:cubicBezTo>
                    <a:cubicBezTo>
                      <a:pt x="1870" y="528"/>
                      <a:pt x="1891" y="520"/>
                      <a:pt x="1891" y="520"/>
                    </a:cubicBezTo>
                    <a:cubicBezTo>
                      <a:pt x="1882" y="529"/>
                      <a:pt x="1882" y="529"/>
                      <a:pt x="1882" y="529"/>
                    </a:cubicBezTo>
                    <a:cubicBezTo>
                      <a:pt x="1903" y="549"/>
                      <a:pt x="1903" y="549"/>
                      <a:pt x="1903" y="549"/>
                    </a:cubicBezTo>
                    <a:cubicBezTo>
                      <a:pt x="1941" y="550"/>
                      <a:pt x="1941" y="550"/>
                      <a:pt x="1941" y="550"/>
                    </a:cubicBezTo>
                    <a:cubicBezTo>
                      <a:pt x="1964" y="567"/>
                      <a:pt x="1964" y="567"/>
                      <a:pt x="1964" y="567"/>
                    </a:cubicBezTo>
                    <a:cubicBezTo>
                      <a:pt x="1964" y="567"/>
                      <a:pt x="2006" y="581"/>
                      <a:pt x="2030" y="598"/>
                    </a:cubicBezTo>
                    <a:cubicBezTo>
                      <a:pt x="2053" y="615"/>
                      <a:pt x="2048" y="621"/>
                      <a:pt x="2049" y="640"/>
                    </a:cubicBezTo>
                    <a:cubicBezTo>
                      <a:pt x="2051" y="660"/>
                      <a:pt x="2073" y="669"/>
                      <a:pt x="2073" y="669"/>
                    </a:cubicBezTo>
                    <a:cubicBezTo>
                      <a:pt x="2073" y="669"/>
                      <a:pt x="2056" y="672"/>
                      <a:pt x="2056" y="681"/>
                    </a:cubicBezTo>
                    <a:cubicBezTo>
                      <a:pt x="2056" y="690"/>
                      <a:pt x="2082" y="691"/>
                      <a:pt x="2082" y="691"/>
                    </a:cubicBezTo>
                    <a:cubicBezTo>
                      <a:pt x="2066" y="697"/>
                      <a:pt x="2066" y="697"/>
                      <a:pt x="2066" y="697"/>
                    </a:cubicBezTo>
                    <a:cubicBezTo>
                      <a:pt x="2067" y="705"/>
                      <a:pt x="2067" y="705"/>
                      <a:pt x="2067" y="705"/>
                    </a:cubicBezTo>
                    <a:cubicBezTo>
                      <a:pt x="2072" y="708"/>
                      <a:pt x="2072" y="708"/>
                      <a:pt x="2072" y="708"/>
                    </a:cubicBezTo>
                    <a:cubicBezTo>
                      <a:pt x="2077" y="729"/>
                      <a:pt x="2077" y="729"/>
                      <a:pt x="2077" y="729"/>
                    </a:cubicBezTo>
                    <a:cubicBezTo>
                      <a:pt x="2067" y="750"/>
                      <a:pt x="2067" y="750"/>
                      <a:pt x="2067" y="750"/>
                    </a:cubicBezTo>
                    <a:cubicBezTo>
                      <a:pt x="2073" y="749"/>
                      <a:pt x="2078" y="748"/>
                      <a:pt x="2081" y="749"/>
                    </a:cubicBezTo>
                    <a:cubicBezTo>
                      <a:pt x="2086" y="752"/>
                      <a:pt x="2120" y="737"/>
                      <a:pt x="2120" y="737"/>
                    </a:cubicBezTo>
                    <a:cubicBezTo>
                      <a:pt x="2120" y="755"/>
                      <a:pt x="2120" y="755"/>
                      <a:pt x="2120" y="755"/>
                    </a:cubicBezTo>
                    <a:cubicBezTo>
                      <a:pt x="2120" y="755"/>
                      <a:pt x="2147" y="788"/>
                      <a:pt x="2159" y="797"/>
                    </a:cubicBezTo>
                    <a:cubicBezTo>
                      <a:pt x="2161" y="798"/>
                      <a:pt x="2162" y="799"/>
                      <a:pt x="2164" y="800"/>
                    </a:cubicBezTo>
                    <a:cubicBezTo>
                      <a:pt x="2166" y="768"/>
                      <a:pt x="2166" y="768"/>
                      <a:pt x="2166" y="768"/>
                    </a:cubicBezTo>
                    <a:cubicBezTo>
                      <a:pt x="2162" y="752"/>
                      <a:pt x="2162" y="752"/>
                      <a:pt x="2162" y="752"/>
                    </a:cubicBezTo>
                    <a:cubicBezTo>
                      <a:pt x="2162" y="752"/>
                      <a:pt x="2166" y="733"/>
                      <a:pt x="2168" y="726"/>
                    </a:cubicBezTo>
                    <a:cubicBezTo>
                      <a:pt x="2170" y="718"/>
                      <a:pt x="2173" y="681"/>
                      <a:pt x="2173" y="681"/>
                    </a:cubicBezTo>
                    <a:cubicBezTo>
                      <a:pt x="2173" y="681"/>
                      <a:pt x="2169" y="683"/>
                      <a:pt x="2158" y="676"/>
                    </a:cubicBezTo>
                    <a:cubicBezTo>
                      <a:pt x="2147" y="670"/>
                      <a:pt x="2174" y="652"/>
                      <a:pt x="2174" y="652"/>
                    </a:cubicBezTo>
                    <a:cubicBezTo>
                      <a:pt x="2174" y="652"/>
                      <a:pt x="2173" y="626"/>
                      <a:pt x="2171" y="611"/>
                    </a:cubicBezTo>
                    <a:cubicBezTo>
                      <a:pt x="2169" y="596"/>
                      <a:pt x="2177" y="574"/>
                      <a:pt x="2177" y="554"/>
                    </a:cubicBezTo>
                    <a:cubicBezTo>
                      <a:pt x="2177" y="538"/>
                      <a:pt x="2179" y="474"/>
                      <a:pt x="2179" y="454"/>
                    </a:cubicBezTo>
                    <a:close/>
                    <a:moveTo>
                      <a:pt x="228" y="446"/>
                    </a:moveTo>
                    <a:cubicBezTo>
                      <a:pt x="220" y="453"/>
                      <a:pt x="238" y="462"/>
                      <a:pt x="238" y="462"/>
                    </a:cubicBezTo>
                    <a:cubicBezTo>
                      <a:pt x="238" y="462"/>
                      <a:pt x="250" y="486"/>
                      <a:pt x="258" y="478"/>
                    </a:cubicBezTo>
                    <a:cubicBezTo>
                      <a:pt x="266" y="470"/>
                      <a:pt x="234" y="442"/>
                      <a:pt x="228" y="446"/>
                    </a:cubicBezTo>
                    <a:close/>
                    <a:moveTo>
                      <a:pt x="1691" y="739"/>
                    </a:moveTo>
                    <a:cubicBezTo>
                      <a:pt x="1701" y="745"/>
                      <a:pt x="1701" y="745"/>
                      <a:pt x="1701" y="745"/>
                    </a:cubicBezTo>
                    <a:cubicBezTo>
                      <a:pt x="1720" y="730"/>
                      <a:pt x="1720" y="730"/>
                      <a:pt x="1720" y="730"/>
                    </a:cubicBezTo>
                    <a:cubicBezTo>
                      <a:pt x="1720" y="730"/>
                      <a:pt x="1742" y="738"/>
                      <a:pt x="1742" y="716"/>
                    </a:cubicBezTo>
                    <a:cubicBezTo>
                      <a:pt x="1742" y="694"/>
                      <a:pt x="1691" y="720"/>
                      <a:pt x="1691" y="739"/>
                    </a:cubicBezTo>
                    <a:close/>
                    <a:moveTo>
                      <a:pt x="2068" y="714"/>
                    </a:moveTo>
                    <a:cubicBezTo>
                      <a:pt x="2067" y="713"/>
                      <a:pt x="2067" y="713"/>
                      <a:pt x="2067" y="713"/>
                    </a:cubicBezTo>
                    <a:cubicBezTo>
                      <a:pt x="2065" y="710"/>
                      <a:pt x="2056" y="702"/>
                      <a:pt x="2037" y="711"/>
                    </a:cubicBezTo>
                    <a:cubicBezTo>
                      <a:pt x="2015" y="721"/>
                      <a:pt x="2011" y="759"/>
                      <a:pt x="2011" y="759"/>
                    </a:cubicBezTo>
                    <a:cubicBezTo>
                      <a:pt x="2053" y="754"/>
                      <a:pt x="2053" y="754"/>
                      <a:pt x="2053" y="754"/>
                    </a:cubicBezTo>
                    <a:cubicBezTo>
                      <a:pt x="2053" y="754"/>
                      <a:pt x="2059" y="752"/>
                      <a:pt x="2066" y="750"/>
                    </a:cubicBezTo>
                    <a:cubicBezTo>
                      <a:pt x="2072" y="728"/>
                      <a:pt x="2072" y="728"/>
                      <a:pt x="2072" y="728"/>
                    </a:cubicBezTo>
                    <a:lnTo>
                      <a:pt x="2068" y="714"/>
                    </a:lnTo>
                    <a:close/>
                    <a:moveTo>
                      <a:pt x="1857" y="631"/>
                    </a:moveTo>
                    <a:cubicBezTo>
                      <a:pt x="1847" y="641"/>
                      <a:pt x="1847" y="641"/>
                      <a:pt x="1847" y="641"/>
                    </a:cubicBezTo>
                    <a:cubicBezTo>
                      <a:pt x="1849" y="676"/>
                      <a:pt x="1849" y="676"/>
                      <a:pt x="1849" y="676"/>
                    </a:cubicBezTo>
                    <a:cubicBezTo>
                      <a:pt x="1860" y="679"/>
                      <a:pt x="1860" y="679"/>
                      <a:pt x="1860" y="679"/>
                    </a:cubicBezTo>
                    <a:cubicBezTo>
                      <a:pt x="1859" y="666"/>
                      <a:pt x="1859" y="666"/>
                      <a:pt x="1859" y="666"/>
                    </a:cubicBezTo>
                    <a:cubicBezTo>
                      <a:pt x="1866" y="663"/>
                      <a:pt x="1866" y="663"/>
                      <a:pt x="1866" y="663"/>
                    </a:cubicBezTo>
                    <a:cubicBezTo>
                      <a:pt x="1865" y="648"/>
                      <a:pt x="1865" y="648"/>
                      <a:pt x="1865" y="648"/>
                    </a:cubicBezTo>
                    <a:cubicBezTo>
                      <a:pt x="1856" y="648"/>
                      <a:pt x="1856" y="648"/>
                      <a:pt x="1856" y="648"/>
                    </a:cubicBezTo>
                    <a:cubicBezTo>
                      <a:pt x="1868" y="628"/>
                      <a:pt x="1868" y="628"/>
                      <a:pt x="1868" y="628"/>
                    </a:cubicBezTo>
                    <a:cubicBezTo>
                      <a:pt x="1881" y="606"/>
                      <a:pt x="1881" y="606"/>
                      <a:pt x="1881" y="606"/>
                    </a:cubicBezTo>
                    <a:cubicBezTo>
                      <a:pt x="1862" y="610"/>
                      <a:pt x="1862" y="610"/>
                      <a:pt x="1862" y="610"/>
                    </a:cubicBezTo>
                    <a:lnTo>
                      <a:pt x="1857" y="631"/>
                    </a:lnTo>
                    <a:close/>
                    <a:moveTo>
                      <a:pt x="1427" y="403"/>
                    </a:moveTo>
                    <a:cubicBezTo>
                      <a:pt x="1427" y="403"/>
                      <a:pt x="1405" y="391"/>
                      <a:pt x="1398" y="394"/>
                    </a:cubicBezTo>
                    <a:cubicBezTo>
                      <a:pt x="1392" y="397"/>
                      <a:pt x="1389" y="406"/>
                      <a:pt x="1389" y="406"/>
                    </a:cubicBezTo>
                    <a:cubicBezTo>
                      <a:pt x="1396" y="420"/>
                      <a:pt x="1427" y="415"/>
                      <a:pt x="1427" y="415"/>
                    </a:cubicBezTo>
                    <a:cubicBezTo>
                      <a:pt x="1480" y="405"/>
                      <a:pt x="1480" y="405"/>
                      <a:pt x="1480" y="405"/>
                    </a:cubicBezTo>
                    <a:lnTo>
                      <a:pt x="1427" y="403"/>
                    </a:lnTo>
                    <a:close/>
                    <a:moveTo>
                      <a:pt x="879" y="696"/>
                    </a:moveTo>
                    <a:cubicBezTo>
                      <a:pt x="917" y="669"/>
                      <a:pt x="917" y="669"/>
                      <a:pt x="917" y="669"/>
                    </a:cubicBezTo>
                    <a:cubicBezTo>
                      <a:pt x="914" y="663"/>
                      <a:pt x="914" y="663"/>
                      <a:pt x="914" y="663"/>
                    </a:cubicBezTo>
                    <a:cubicBezTo>
                      <a:pt x="914" y="663"/>
                      <a:pt x="864" y="667"/>
                      <a:pt x="863" y="677"/>
                    </a:cubicBezTo>
                    <a:cubicBezTo>
                      <a:pt x="858" y="702"/>
                      <a:pt x="879" y="696"/>
                      <a:pt x="879" y="696"/>
                    </a:cubicBezTo>
                    <a:close/>
                    <a:moveTo>
                      <a:pt x="959" y="747"/>
                    </a:moveTo>
                    <a:cubicBezTo>
                      <a:pt x="949" y="747"/>
                      <a:pt x="933" y="747"/>
                      <a:pt x="933" y="747"/>
                    </a:cubicBezTo>
                    <a:cubicBezTo>
                      <a:pt x="930" y="766"/>
                      <a:pt x="930" y="766"/>
                      <a:pt x="930" y="766"/>
                    </a:cubicBezTo>
                    <a:cubicBezTo>
                      <a:pt x="930" y="766"/>
                      <a:pt x="940" y="794"/>
                      <a:pt x="953" y="783"/>
                    </a:cubicBezTo>
                    <a:cubicBezTo>
                      <a:pt x="966" y="773"/>
                      <a:pt x="969" y="747"/>
                      <a:pt x="959" y="747"/>
                    </a:cubicBezTo>
                    <a:close/>
                    <a:moveTo>
                      <a:pt x="475" y="622"/>
                    </a:moveTo>
                    <a:cubicBezTo>
                      <a:pt x="480" y="617"/>
                      <a:pt x="480" y="602"/>
                      <a:pt x="480" y="602"/>
                    </a:cubicBezTo>
                    <a:cubicBezTo>
                      <a:pt x="499" y="620"/>
                      <a:pt x="499" y="620"/>
                      <a:pt x="499" y="620"/>
                    </a:cubicBezTo>
                    <a:cubicBezTo>
                      <a:pt x="499" y="620"/>
                      <a:pt x="507" y="597"/>
                      <a:pt x="507" y="581"/>
                    </a:cubicBezTo>
                    <a:cubicBezTo>
                      <a:pt x="507" y="565"/>
                      <a:pt x="516" y="521"/>
                      <a:pt x="516" y="521"/>
                    </a:cubicBezTo>
                    <a:cubicBezTo>
                      <a:pt x="516" y="521"/>
                      <a:pt x="507" y="516"/>
                      <a:pt x="507" y="506"/>
                    </a:cubicBezTo>
                    <a:cubicBezTo>
                      <a:pt x="507" y="497"/>
                      <a:pt x="526" y="482"/>
                      <a:pt x="520" y="477"/>
                    </a:cubicBezTo>
                    <a:cubicBezTo>
                      <a:pt x="515" y="472"/>
                      <a:pt x="510" y="468"/>
                      <a:pt x="510" y="468"/>
                    </a:cubicBezTo>
                    <a:cubicBezTo>
                      <a:pt x="502" y="437"/>
                      <a:pt x="502" y="437"/>
                      <a:pt x="502" y="437"/>
                    </a:cubicBezTo>
                    <a:cubicBezTo>
                      <a:pt x="474" y="438"/>
                      <a:pt x="474" y="438"/>
                      <a:pt x="474" y="438"/>
                    </a:cubicBezTo>
                    <a:cubicBezTo>
                      <a:pt x="474" y="438"/>
                      <a:pt x="478" y="420"/>
                      <a:pt x="471" y="416"/>
                    </a:cubicBezTo>
                    <a:cubicBezTo>
                      <a:pt x="464" y="412"/>
                      <a:pt x="450" y="413"/>
                      <a:pt x="450" y="413"/>
                    </a:cubicBezTo>
                    <a:cubicBezTo>
                      <a:pt x="444" y="366"/>
                      <a:pt x="444" y="366"/>
                      <a:pt x="444" y="366"/>
                    </a:cubicBezTo>
                    <a:cubicBezTo>
                      <a:pt x="444" y="366"/>
                      <a:pt x="402" y="370"/>
                      <a:pt x="399" y="357"/>
                    </a:cubicBezTo>
                    <a:cubicBezTo>
                      <a:pt x="396" y="344"/>
                      <a:pt x="410" y="328"/>
                      <a:pt x="410" y="328"/>
                    </a:cubicBezTo>
                    <a:cubicBezTo>
                      <a:pt x="394" y="326"/>
                      <a:pt x="394" y="326"/>
                      <a:pt x="394" y="326"/>
                    </a:cubicBezTo>
                    <a:cubicBezTo>
                      <a:pt x="394" y="326"/>
                      <a:pt x="419" y="297"/>
                      <a:pt x="410" y="289"/>
                    </a:cubicBezTo>
                    <a:cubicBezTo>
                      <a:pt x="400" y="281"/>
                      <a:pt x="358" y="300"/>
                      <a:pt x="358" y="300"/>
                    </a:cubicBezTo>
                    <a:cubicBezTo>
                      <a:pt x="358" y="300"/>
                      <a:pt x="383" y="276"/>
                      <a:pt x="375" y="272"/>
                    </a:cubicBezTo>
                    <a:cubicBezTo>
                      <a:pt x="367" y="268"/>
                      <a:pt x="343" y="264"/>
                      <a:pt x="343" y="264"/>
                    </a:cubicBezTo>
                    <a:cubicBezTo>
                      <a:pt x="343" y="264"/>
                      <a:pt x="354" y="256"/>
                      <a:pt x="340" y="238"/>
                    </a:cubicBezTo>
                    <a:cubicBezTo>
                      <a:pt x="327" y="221"/>
                      <a:pt x="304" y="220"/>
                      <a:pt x="304" y="220"/>
                    </a:cubicBezTo>
                    <a:cubicBezTo>
                      <a:pt x="304" y="220"/>
                      <a:pt x="298" y="200"/>
                      <a:pt x="291" y="192"/>
                    </a:cubicBezTo>
                    <a:cubicBezTo>
                      <a:pt x="284" y="184"/>
                      <a:pt x="275" y="190"/>
                      <a:pt x="275" y="190"/>
                    </a:cubicBezTo>
                    <a:cubicBezTo>
                      <a:pt x="279" y="205"/>
                      <a:pt x="279" y="205"/>
                      <a:pt x="279" y="205"/>
                    </a:cubicBezTo>
                    <a:cubicBezTo>
                      <a:pt x="279" y="205"/>
                      <a:pt x="254" y="186"/>
                      <a:pt x="248" y="180"/>
                    </a:cubicBezTo>
                    <a:cubicBezTo>
                      <a:pt x="243" y="173"/>
                      <a:pt x="232" y="146"/>
                      <a:pt x="232" y="146"/>
                    </a:cubicBezTo>
                    <a:cubicBezTo>
                      <a:pt x="232" y="146"/>
                      <a:pt x="202" y="125"/>
                      <a:pt x="188" y="113"/>
                    </a:cubicBezTo>
                    <a:cubicBezTo>
                      <a:pt x="175" y="101"/>
                      <a:pt x="152" y="82"/>
                      <a:pt x="152" y="82"/>
                    </a:cubicBezTo>
                    <a:cubicBezTo>
                      <a:pt x="152" y="82"/>
                      <a:pt x="156" y="77"/>
                      <a:pt x="151" y="72"/>
                    </a:cubicBezTo>
                    <a:cubicBezTo>
                      <a:pt x="146" y="66"/>
                      <a:pt x="139" y="60"/>
                      <a:pt x="139" y="60"/>
                    </a:cubicBezTo>
                    <a:cubicBezTo>
                      <a:pt x="139" y="60"/>
                      <a:pt x="128" y="41"/>
                      <a:pt x="120" y="34"/>
                    </a:cubicBezTo>
                    <a:cubicBezTo>
                      <a:pt x="112" y="28"/>
                      <a:pt x="104" y="29"/>
                      <a:pt x="104" y="29"/>
                    </a:cubicBezTo>
                    <a:cubicBezTo>
                      <a:pt x="47" y="25"/>
                      <a:pt x="47" y="25"/>
                      <a:pt x="47" y="25"/>
                    </a:cubicBezTo>
                    <a:cubicBezTo>
                      <a:pt x="47" y="25"/>
                      <a:pt x="27" y="0"/>
                      <a:pt x="16" y="2"/>
                    </a:cubicBezTo>
                    <a:cubicBezTo>
                      <a:pt x="6" y="5"/>
                      <a:pt x="0" y="29"/>
                      <a:pt x="7" y="41"/>
                    </a:cubicBezTo>
                    <a:cubicBezTo>
                      <a:pt x="14" y="53"/>
                      <a:pt x="88" y="121"/>
                      <a:pt x="88" y="121"/>
                    </a:cubicBezTo>
                    <a:cubicBezTo>
                      <a:pt x="111" y="157"/>
                      <a:pt x="111" y="157"/>
                      <a:pt x="111" y="157"/>
                    </a:cubicBezTo>
                    <a:cubicBezTo>
                      <a:pt x="119" y="154"/>
                      <a:pt x="119" y="154"/>
                      <a:pt x="119" y="154"/>
                    </a:cubicBezTo>
                    <a:cubicBezTo>
                      <a:pt x="119" y="154"/>
                      <a:pt x="122" y="178"/>
                      <a:pt x="128" y="184"/>
                    </a:cubicBezTo>
                    <a:cubicBezTo>
                      <a:pt x="135" y="189"/>
                      <a:pt x="170" y="202"/>
                      <a:pt x="178" y="218"/>
                    </a:cubicBezTo>
                    <a:cubicBezTo>
                      <a:pt x="186" y="234"/>
                      <a:pt x="194" y="266"/>
                      <a:pt x="194" y="266"/>
                    </a:cubicBezTo>
                    <a:cubicBezTo>
                      <a:pt x="194" y="266"/>
                      <a:pt x="191" y="301"/>
                      <a:pt x="199" y="301"/>
                    </a:cubicBezTo>
                    <a:cubicBezTo>
                      <a:pt x="207" y="301"/>
                      <a:pt x="219" y="293"/>
                      <a:pt x="222" y="302"/>
                    </a:cubicBezTo>
                    <a:cubicBezTo>
                      <a:pt x="224" y="312"/>
                      <a:pt x="230" y="328"/>
                      <a:pt x="230" y="328"/>
                    </a:cubicBezTo>
                    <a:cubicBezTo>
                      <a:pt x="255" y="349"/>
                      <a:pt x="255" y="349"/>
                      <a:pt x="255" y="349"/>
                    </a:cubicBezTo>
                    <a:cubicBezTo>
                      <a:pt x="254" y="365"/>
                      <a:pt x="254" y="365"/>
                      <a:pt x="254" y="365"/>
                    </a:cubicBezTo>
                    <a:cubicBezTo>
                      <a:pt x="275" y="408"/>
                      <a:pt x="275" y="408"/>
                      <a:pt x="275" y="408"/>
                    </a:cubicBezTo>
                    <a:cubicBezTo>
                      <a:pt x="275" y="408"/>
                      <a:pt x="268" y="421"/>
                      <a:pt x="278" y="436"/>
                    </a:cubicBezTo>
                    <a:cubicBezTo>
                      <a:pt x="287" y="450"/>
                      <a:pt x="296" y="453"/>
                      <a:pt x="296" y="453"/>
                    </a:cubicBezTo>
                    <a:cubicBezTo>
                      <a:pt x="296" y="453"/>
                      <a:pt x="306" y="477"/>
                      <a:pt x="314" y="485"/>
                    </a:cubicBezTo>
                    <a:cubicBezTo>
                      <a:pt x="322" y="493"/>
                      <a:pt x="343" y="501"/>
                      <a:pt x="343" y="501"/>
                    </a:cubicBezTo>
                    <a:cubicBezTo>
                      <a:pt x="343" y="526"/>
                      <a:pt x="343" y="526"/>
                      <a:pt x="343" y="526"/>
                    </a:cubicBezTo>
                    <a:cubicBezTo>
                      <a:pt x="343" y="526"/>
                      <a:pt x="392" y="568"/>
                      <a:pt x="395" y="572"/>
                    </a:cubicBezTo>
                    <a:cubicBezTo>
                      <a:pt x="398" y="576"/>
                      <a:pt x="411" y="577"/>
                      <a:pt x="411" y="577"/>
                    </a:cubicBezTo>
                    <a:cubicBezTo>
                      <a:pt x="411" y="577"/>
                      <a:pt x="422" y="602"/>
                      <a:pt x="430" y="606"/>
                    </a:cubicBezTo>
                    <a:cubicBezTo>
                      <a:pt x="438" y="610"/>
                      <a:pt x="440" y="632"/>
                      <a:pt x="444" y="630"/>
                    </a:cubicBezTo>
                    <a:cubicBezTo>
                      <a:pt x="448" y="629"/>
                      <a:pt x="442" y="608"/>
                      <a:pt x="447" y="605"/>
                    </a:cubicBezTo>
                    <a:cubicBezTo>
                      <a:pt x="452" y="602"/>
                      <a:pt x="470" y="628"/>
                      <a:pt x="475" y="622"/>
                    </a:cubicBezTo>
                    <a:close/>
                    <a:moveTo>
                      <a:pt x="1416" y="798"/>
                    </a:moveTo>
                    <a:cubicBezTo>
                      <a:pt x="1409" y="784"/>
                      <a:pt x="1409" y="784"/>
                      <a:pt x="1409" y="784"/>
                    </a:cubicBezTo>
                    <a:cubicBezTo>
                      <a:pt x="1404" y="785"/>
                      <a:pt x="1397" y="786"/>
                      <a:pt x="1392" y="790"/>
                    </a:cubicBezTo>
                    <a:cubicBezTo>
                      <a:pt x="1380" y="797"/>
                      <a:pt x="1380" y="812"/>
                      <a:pt x="1380" y="812"/>
                    </a:cubicBezTo>
                    <a:cubicBezTo>
                      <a:pt x="1380" y="812"/>
                      <a:pt x="1369" y="809"/>
                      <a:pt x="1357" y="820"/>
                    </a:cubicBezTo>
                    <a:cubicBezTo>
                      <a:pt x="1345" y="832"/>
                      <a:pt x="1322" y="855"/>
                      <a:pt x="1342" y="870"/>
                    </a:cubicBezTo>
                    <a:cubicBezTo>
                      <a:pt x="1353" y="879"/>
                      <a:pt x="1393" y="842"/>
                      <a:pt x="1408" y="828"/>
                    </a:cubicBezTo>
                    <a:cubicBezTo>
                      <a:pt x="1405" y="827"/>
                      <a:pt x="1402" y="823"/>
                      <a:pt x="1406" y="817"/>
                    </a:cubicBezTo>
                    <a:cubicBezTo>
                      <a:pt x="1412" y="805"/>
                      <a:pt x="1416" y="798"/>
                      <a:pt x="1416" y="798"/>
                    </a:cubicBezTo>
                    <a:close/>
                    <a:moveTo>
                      <a:pt x="921" y="753"/>
                    </a:moveTo>
                    <a:cubicBezTo>
                      <a:pt x="921" y="734"/>
                      <a:pt x="894" y="734"/>
                      <a:pt x="879" y="731"/>
                    </a:cubicBezTo>
                    <a:cubicBezTo>
                      <a:pt x="865" y="728"/>
                      <a:pt x="866" y="759"/>
                      <a:pt x="866" y="759"/>
                    </a:cubicBezTo>
                    <a:cubicBezTo>
                      <a:pt x="841" y="740"/>
                      <a:pt x="841" y="740"/>
                      <a:pt x="841" y="740"/>
                    </a:cubicBezTo>
                    <a:cubicBezTo>
                      <a:pt x="841" y="740"/>
                      <a:pt x="847" y="724"/>
                      <a:pt x="847" y="700"/>
                    </a:cubicBezTo>
                    <a:cubicBezTo>
                      <a:pt x="847" y="677"/>
                      <a:pt x="799" y="686"/>
                      <a:pt x="799" y="686"/>
                    </a:cubicBezTo>
                    <a:cubicBezTo>
                      <a:pt x="778" y="674"/>
                      <a:pt x="778" y="674"/>
                      <a:pt x="778" y="674"/>
                    </a:cubicBezTo>
                    <a:cubicBezTo>
                      <a:pt x="775" y="659"/>
                      <a:pt x="775" y="659"/>
                      <a:pt x="775" y="659"/>
                    </a:cubicBezTo>
                    <a:cubicBezTo>
                      <a:pt x="749" y="659"/>
                      <a:pt x="749" y="659"/>
                      <a:pt x="749" y="659"/>
                    </a:cubicBezTo>
                    <a:cubicBezTo>
                      <a:pt x="749" y="659"/>
                      <a:pt x="744" y="680"/>
                      <a:pt x="744" y="684"/>
                    </a:cubicBezTo>
                    <a:cubicBezTo>
                      <a:pt x="744" y="688"/>
                      <a:pt x="709" y="677"/>
                      <a:pt x="693" y="674"/>
                    </a:cubicBezTo>
                    <a:cubicBezTo>
                      <a:pt x="677" y="671"/>
                      <a:pt x="648" y="672"/>
                      <a:pt x="648" y="672"/>
                    </a:cubicBezTo>
                    <a:cubicBezTo>
                      <a:pt x="648" y="672"/>
                      <a:pt x="630" y="650"/>
                      <a:pt x="621" y="640"/>
                    </a:cubicBezTo>
                    <a:cubicBezTo>
                      <a:pt x="612" y="630"/>
                      <a:pt x="598" y="641"/>
                      <a:pt x="598" y="641"/>
                    </a:cubicBezTo>
                    <a:cubicBezTo>
                      <a:pt x="598" y="641"/>
                      <a:pt x="573" y="628"/>
                      <a:pt x="567" y="627"/>
                    </a:cubicBezTo>
                    <a:cubicBezTo>
                      <a:pt x="561" y="625"/>
                      <a:pt x="535" y="624"/>
                      <a:pt x="535" y="624"/>
                    </a:cubicBezTo>
                    <a:cubicBezTo>
                      <a:pt x="535" y="624"/>
                      <a:pt x="524" y="615"/>
                      <a:pt x="511" y="619"/>
                    </a:cubicBezTo>
                    <a:cubicBezTo>
                      <a:pt x="498" y="624"/>
                      <a:pt x="498" y="652"/>
                      <a:pt x="491" y="656"/>
                    </a:cubicBezTo>
                    <a:cubicBezTo>
                      <a:pt x="483" y="661"/>
                      <a:pt x="469" y="666"/>
                      <a:pt x="472" y="677"/>
                    </a:cubicBezTo>
                    <a:cubicBezTo>
                      <a:pt x="496" y="672"/>
                      <a:pt x="496" y="672"/>
                      <a:pt x="496" y="672"/>
                    </a:cubicBezTo>
                    <a:cubicBezTo>
                      <a:pt x="527" y="675"/>
                      <a:pt x="527" y="675"/>
                      <a:pt x="527" y="675"/>
                    </a:cubicBezTo>
                    <a:cubicBezTo>
                      <a:pt x="527" y="675"/>
                      <a:pt x="504" y="688"/>
                      <a:pt x="514" y="699"/>
                    </a:cubicBezTo>
                    <a:cubicBezTo>
                      <a:pt x="524" y="709"/>
                      <a:pt x="558" y="691"/>
                      <a:pt x="558" y="691"/>
                    </a:cubicBezTo>
                    <a:cubicBezTo>
                      <a:pt x="558" y="691"/>
                      <a:pt x="608" y="718"/>
                      <a:pt x="623" y="722"/>
                    </a:cubicBezTo>
                    <a:cubicBezTo>
                      <a:pt x="637" y="727"/>
                      <a:pt x="687" y="728"/>
                      <a:pt x="705" y="728"/>
                    </a:cubicBezTo>
                    <a:cubicBezTo>
                      <a:pt x="722" y="728"/>
                      <a:pt x="727" y="747"/>
                      <a:pt x="737" y="756"/>
                    </a:cubicBezTo>
                    <a:cubicBezTo>
                      <a:pt x="747" y="765"/>
                      <a:pt x="780" y="771"/>
                      <a:pt x="794" y="772"/>
                    </a:cubicBezTo>
                    <a:cubicBezTo>
                      <a:pt x="809" y="774"/>
                      <a:pt x="815" y="771"/>
                      <a:pt x="837" y="772"/>
                    </a:cubicBezTo>
                    <a:cubicBezTo>
                      <a:pt x="859" y="774"/>
                      <a:pt x="877" y="801"/>
                      <a:pt x="885" y="806"/>
                    </a:cubicBezTo>
                    <a:cubicBezTo>
                      <a:pt x="894" y="810"/>
                      <a:pt x="904" y="801"/>
                      <a:pt x="904" y="801"/>
                    </a:cubicBezTo>
                    <a:cubicBezTo>
                      <a:pt x="904" y="801"/>
                      <a:pt x="921" y="810"/>
                      <a:pt x="921" y="804"/>
                    </a:cubicBezTo>
                    <a:cubicBezTo>
                      <a:pt x="921" y="793"/>
                      <a:pt x="910" y="778"/>
                      <a:pt x="910" y="778"/>
                    </a:cubicBezTo>
                    <a:cubicBezTo>
                      <a:pt x="910" y="778"/>
                      <a:pt x="921" y="772"/>
                      <a:pt x="921" y="753"/>
                    </a:cubicBezTo>
                    <a:close/>
                    <a:moveTo>
                      <a:pt x="1004" y="484"/>
                    </a:moveTo>
                    <a:cubicBezTo>
                      <a:pt x="1004" y="484"/>
                      <a:pt x="1025" y="467"/>
                      <a:pt x="1031" y="460"/>
                    </a:cubicBezTo>
                    <a:cubicBezTo>
                      <a:pt x="1036" y="453"/>
                      <a:pt x="1055" y="403"/>
                      <a:pt x="1055" y="403"/>
                    </a:cubicBezTo>
                    <a:cubicBezTo>
                      <a:pt x="1055" y="403"/>
                      <a:pt x="1037" y="401"/>
                      <a:pt x="1034" y="388"/>
                    </a:cubicBezTo>
                    <a:cubicBezTo>
                      <a:pt x="1031" y="376"/>
                      <a:pt x="1037" y="361"/>
                      <a:pt x="1042" y="348"/>
                    </a:cubicBezTo>
                    <a:cubicBezTo>
                      <a:pt x="1048" y="334"/>
                      <a:pt x="1070" y="336"/>
                      <a:pt x="1083" y="334"/>
                    </a:cubicBezTo>
                    <a:cubicBezTo>
                      <a:pt x="1095" y="333"/>
                      <a:pt x="1102" y="309"/>
                      <a:pt x="1101" y="301"/>
                    </a:cubicBezTo>
                    <a:cubicBezTo>
                      <a:pt x="1099" y="293"/>
                      <a:pt x="1079" y="301"/>
                      <a:pt x="1079" y="301"/>
                    </a:cubicBezTo>
                    <a:cubicBezTo>
                      <a:pt x="1079" y="301"/>
                      <a:pt x="1076" y="288"/>
                      <a:pt x="1088" y="275"/>
                    </a:cubicBezTo>
                    <a:cubicBezTo>
                      <a:pt x="1101" y="264"/>
                      <a:pt x="1128" y="269"/>
                      <a:pt x="1139" y="271"/>
                    </a:cubicBezTo>
                    <a:cubicBezTo>
                      <a:pt x="1150" y="274"/>
                      <a:pt x="1150" y="257"/>
                      <a:pt x="1150" y="257"/>
                    </a:cubicBezTo>
                    <a:cubicBezTo>
                      <a:pt x="1124" y="235"/>
                      <a:pt x="1124" y="235"/>
                      <a:pt x="1124" y="235"/>
                    </a:cubicBezTo>
                    <a:cubicBezTo>
                      <a:pt x="1124" y="208"/>
                      <a:pt x="1124" y="208"/>
                      <a:pt x="1124" y="208"/>
                    </a:cubicBezTo>
                    <a:cubicBezTo>
                      <a:pt x="1124" y="208"/>
                      <a:pt x="1105" y="207"/>
                      <a:pt x="1105" y="199"/>
                    </a:cubicBezTo>
                    <a:cubicBezTo>
                      <a:pt x="1105" y="191"/>
                      <a:pt x="1117" y="179"/>
                      <a:pt x="1116" y="168"/>
                    </a:cubicBezTo>
                    <a:cubicBezTo>
                      <a:pt x="1115" y="156"/>
                      <a:pt x="1082" y="153"/>
                      <a:pt x="1082" y="153"/>
                    </a:cubicBezTo>
                    <a:cubicBezTo>
                      <a:pt x="1093" y="135"/>
                      <a:pt x="1093" y="135"/>
                      <a:pt x="1093" y="135"/>
                    </a:cubicBezTo>
                    <a:cubicBezTo>
                      <a:pt x="1082" y="130"/>
                      <a:pt x="1082" y="130"/>
                      <a:pt x="1082" y="130"/>
                    </a:cubicBezTo>
                    <a:cubicBezTo>
                      <a:pt x="1086" y="110"/>
                      <a:pt x="1086" y="110"/>
                      <a:pt x="1086" y="110"/>
                    </a:cubicBezTo>
                    <a:cubicBezTo>
                      <a:pt x="1078" y="99"/>
                      <a:pt x="1078" y="99"/>
                      <a:pt x="1078" y="99"/>
                    </a:cubicBezTo>
                    <a:cubicBezTo>
                      <a:pt x="1070" y="92"/>
                      <a:pt x="1051" y="75"/>
                      <a:pt x="1047" y="75"/>
                    </a:cubicBezTo>
                    <a:cubicBezTo>
                      <a:pt x="1043" y="74"/>
                      <a:pt x="1002" y="73"/>
                      <a:pt x="987" y="74"/>
                    </a:cubicBezTo>
                    <a:cubicBezTo>
                      <a:pt x="973" y="75"/>
                      <a:pt x="980" y="97"/>
                      <a:pt x="978" y="113"/>
                    </a:cubicBezTo>
                    <a:cubicBezTo>
                      <a:pt x="977" y="129"/>
                      <a:pt x="968" y="144"/>
                      <a:pt x="968" y="144"/>
                    </a:cubicBezTo>
                    <a:cubicBezTo>
                      <a:pt x="968" y="144"/>
                      <a:pt x="961" y="143"/>
                      <a:pt x="955" y="152"/>
                    </a:cubicBezTo>
                    <a:cubicBezTo>
                      <a:pt x="948" y="161"/>
                      <a:pt x="960" y="177"/>
                      <a:pt x="960" y="177"/>
                    </a:cubicBezTo>
                    <a:cubicBezTo>
                      <a:pt x="938" y="196"/>
                      <a:pt x="938" y="196"/>
                      <a:pt x="938" y="196"/>
                    </a:cubicBezTo>
                    <a:cubicBezTo>
                      <a:pt x="939" y="208"/>
                      <a:pt x="939" y="208"/>
                      <a:pt x="939" y="208"/>
                    </a:cubicBezTo>
                    <a:cubicBezTo>
                      <a:pt x="922" y="231"/>
                      <a:pt x="922" y="231"/>
                      <a:pt x="922" y="231"/>
                    </a:cubicBezTo>
                    <a:cubicBezTo>
                      <a:pt x="906" y="231"/>
                      <a:pt x="906" y="231"/>
                      <a:pt x="906" y="231"/>
                    </a:cubicBezTo>
                    <a:cubicBezTo>
                      <a:pt x="906" y="231"/>
                      <a:pt x="888" y="244"/>
                      <a:pt x="885" y="244"/>
                    </a:cubicBezTo>
                    <a:cubicBezTo>
                      <a:pt x="882" y="245"/>
                      <a:pt x="857" y="229"/>
                      <a:pt x="853" y="227"/>
                    </a:cubicBezTo>
                    <a:cubicBezTo>
                      <a:pt x="849" y="224"/>
                      <a:pt x="824" y="227"/>
                      <a:pt x="824" y="227"/>
                    </a:cubicBezTo>
                    <a:cubicBezTo>
                      <a:pt x="824" y="227"/>
                      <a:pt x="811" y="248"/>
                      <a:pt x="801" y="254"/>
                    </a:cubicBezTo>
                    <a:cubicBezTo>
                      <a:pt x="791" y="260"/>
                      <a:pt x="778" y="251"/>
                      <a:pt x="764" y="251"/>
                    </a:cubicBezTo>
                    <a:cubicBezTo>
                      <a:pt x="749" y="251"/>
                      <a:pt x="750" y="259"/>
                      <a:pt x="746" y="261"/>
                    </a:cubicBezTo>
                    <a:cubicBezTo>
                      <a:pt x="742" y="264"/>
                      <a:pt x="720" y="256"/>
                      <a:pt x="712" y="247"/>
                    </a:cubicBezTo>
                    <a:cubicBezTo>
                      <a:pt x="708" y="243"/>
                      <a:pt x="706" y="237"/>
                      <a:pt x="703" y="231"/>
                    </a:cubicBezTo>
                    <a:cubicBezTo>
                      <a:pt x="703" y="231"/>
                      <a:pt x="703" y="231"/>
                      <a:pt x="703" y="231"/>
                    </a:cubicBezTo>
                    <a:cubicBezTo>
                      <a:pt x="703" y="231"/>
                      <a:pt x="684" y="213"/>
                      <a:pt x="671" y="227"/>
                    </a:cubicBezTo>
                    <a:cubicBezTo>
                      <a:pt x="657" y="242"/>
                      <a:pt x="650" y="278"/>
                      <a:pt x="650" y="278"/>
                    </a:cubicBezTo>
                    <a:cubicBezTo>
                      <a:pt x="666" y="300"/>
                      <a:pt x="666" y="300"/>
                      <a:pt x="666" y="300"/>
                    </a:cubicBezTo>
                    <a:cubicBezTo>
                      <a:pt x="673" y="335"/>
                      <a:pt x="673" y="335"/>
                      <a:pt x="673" y="335"/>
                    </a:cubicBezTo>
                    <a:cubicBezTo>
                      <a:pt x="704" y="353"/>
                      <a:pt x="704" y="353"/>
                      <a:pt x="704" y="353"/>
                    </a:cubicBezTo>
                    <a:cubicBezTo>
                      <a:pt x="699" y="377"/>
                      <a:pt x="699" y="377"/>
                      <a:pt x="699" y="377"/>
                    </a:cubicBezTo>
                    <a:cubicBezTo>
                      <a:pt x="716" y="388"/>
                      <a:pt x="716" y="388"/>
                      <a:pt x="716" y="388"/>
                    </a:cubicBezTo>
                    <a:cubicBezTo>
                      <a:pt x="705" y="407"/>
                      <a:pt x="705" y="407"/>
                      <a:pt x="705" y="407"/>
                    </a:cubicBezTo>
                    <a:cubicBezTo>
                      <a:pt x="718" y="425"/>
                      <a:pt x="718" y="425"/>
                      <a:pt x="718" y="425"/>
                    </a:cubicBezTo>
                    <a:cubicBezTo>
                      <a:pt x="707" y="432"/>
                      <a:pt x="707" y="432"/>
                      <a:pt x="707" y="432"/>
                    </a:cubicBezTo>
                    <a:cubicBezTo>
                      <a:pt x="717" y="470"/>
                      <a:pt x="717" y="470"/>
                      <a:pt x="717" y="470"/>
                    </a:cubicBezTo>
                    <a:cubicBezTo>
                      <a:pt x="745" y="466"/>
                      <a:pt x="745" y="466"/>
                      <a:pt x="745" y="466"/>
                    </a:cubicBezTo>
                    <a:cubicBezTo>
                      <a:pt x="765" y="473"/>
                      <a:pt x="765" y="473"/>
                      <a:pt x="765" y="473"/>
                    </a:cubicBezTo>
                    <a:cubicBezTo>
                      <a:pt x="765" y="473"/>
                      <a:pt x="777" y="451"/>
                      <a:pt x="789" y="451"/>
                    </a:cubicBezTo>
                    <a:cubicBezTo>
                      <a:pt x="801" y="451"/>
                      <a:pt x="789" y="483"/>
                      <a:pt x="801" y="493"/>
                    </a:cubicBezTo>
                    <a:cubicBezTo>
                      <a:pt x="812" y="502"/>
                      <a:pt x="822" y="472"/>
                      <a:pt x="822" y="472"/>
                    </a:cubicBezTo>
                    <a:cubicBezTo>
                      <a:pt x="840" y="484"/>
                      <a:pt x="840" y="484"/>
                      <a:pt x="840" y="484"/>
                    </a:cubicBezTo>
                    <a:cubicBezTo>
                      <a:pt x="840" y="484"/>
                      <a:pt x="856" y="470"/>
                      <a:pt x="865" y="470"/>
                    </a:cubicBezTo>
                    <a:cubicBezTo>
                      <a:pt x="874" y="469"/>
                      <a:pt x="868" y="495"/>
                      <a:pt x="878" y="498"/>
                    </a:cubicBezTo>
                    <a:cubicBezTo>
                      <a:pt x="888" y="502"/>
                      <a:pt x="919" y="486"/>
                      <a:pt x="935" y="489"/>
                    </a:cubicBezTo>
                    <a:cubicBezTo>
                      <a:pt x="951" y="493"/>
                      <a:pt x="936" y="542"/>
                      <a:pt x="936" y="542"/>
                    </a:cubicBezTo>
                    <a:cubicBezTo>
                      <a:pt x="936" y="542"/>
                      <a:pt x="950" y="538"/>
                      <a:pt x="966" y="531"/>
                    </a:cubicBezTo>
                    <a:cubicBezTo>
                      <a:pt x="982" y="523"/>
                      <a:pt x="1004" y="484"/>
                      <a:pt x="1004" y="484"/>
                    </a:cubicBezTo>
                    <a:close/>
                    <a:moveTo>
                      <a:pt x="990" y="745"/>
                    </a:moveTo>
                    <a:cubicBezTo>
                      <a:pt x="980" y="744"/>
                      <a:pt x="974" y="755"/>
                      <a:pt x="974" y="755"/>
                    </a:cubicBezTo>
                    <a:cubicBezTo>
                      <a:pt x="974" y="755"/>
                      <a:pt x="991" y="770"/>
                      <a:pt x="1002" y="763"/>
                    </a:cubicBezTo>
                    <a:cubicBezTo>
                      <a:pt x="1012" y="755"/>
                      <a:pt x="1000" y="747"/>
                      <a:pt x="990" y="745"/>
                    </a:cubicBezTo>
                    <a:close/>
                    <a:moveTo>
                      <a:pt x="1148" y="822"/>
                    </a:moveTo>
                    <a:cubicBezTo>
                      <a:pt x="1125" y="815"/>
                      <a:pt x="1125" y="815"/>
                      <a:pt x="1125" y="815"/>
                    </a:cubicBezTo>
                    <a:cubicBezTo>
                      <a:pt x="1118" y="821"/>
                      <a:pt x="1119" y="822"/>
                      <a:pt x="1129" y="838"/>
                    </a:cubicBezTo>
                    <a:cubicBezTo>
                      <a:pt x="1140" y="854"/>
                      <a:pt x="1147" y="843"/>
                      <a:pt x="1160" y="843"/>
                    </a:cubicBezTo>
                    <a:cubicBezTo>
                      <a:pt x="1173" y="843"/>
                      <a:pt x="1163" y="852"/>
                      <a:pt x="1173" y="862"/>
                    </a:cubicBezTo>
                    <a:cubicBezTo>
                      <a:pt x="1184" y="872"/>
                      <a:pt x="1204" y="863"/>
                      <a:pt x="1204" y="863"/>
                    </a:cubicBezTo>
                    <a:cubicBezTo>
                      <a:pt x="1204" y="863"/>
                      <a:pt x="1200" y="844"/>
                      <a:pt x="1187" y="827"/>
                    </a:cubicBezTo>
                    <a:cubicBezTo>
                      <a:pt x="1173" y="809"/>
                      <a:pt x="1148" y="822"/>
                      <a:pt x="1148" y="822"/>
                    </a:cubicBezTo>
                    <a:close/>
                    <a:moveTo>
                      <a:pt x="1312" y="751"/>
                    </a:moveTo>
                    <a:cubicBezTo>
                      <a:pt x="1293" y="767"/>
                      <a:pt x="1293" y="767"/>
                      <a:pt x="1293" y="767"/>
                    </a:cubicBezTo>
                    <a:cubicBezTo>
                      <a:pt x="1293" y="767"/>
                      <a:pt x="1282" y="755"/>
                      <a:pt x="1271" y="756"/>
                    </a:cubicBezTo>
                    <a:cubicBezTo>
                      <a:pt x="1261" y="758"/>
                      <a:pt x="1249" y="771"/>
                      <a:pt x="1249" y="771"/>
                    </a:cubicBezTo>
                    <a:cubicBezTo>
                      <a:pt x="1249" y="771"/>
                      <a:pt x="1239" y="745"/>
                      <a:pt x="1221" y="748"/>
                    </a:cubicBezTo>
                    <a:cubicBezTo>
                      <a:pt x="1204" y="751"/>
                      <a:pt x="1182" y="777"/>
                      <a:pt x="1182" y="777"/>
                    </a:cubicBezTo>
                    <a:cubicBezTo>
                      <a:pt x="1158" y="775"/>
                      <a:pt x="1158" y="775"/>
                      <a:pt x="1158" y="775"/>
                    </a:cubicBezTo>
                    <a:cubicBezTo>
                      <a:pt x="1151" y="787"/>
                      <a:pt x="1151" y="787"/>
                      <a:pt x="1151" y="787"/>
                    </a:cubicBezTo>
                    <a:cubicBezTo>
                      <a:pt x="1167" y="784"/>
                      <a:pt x="1167" y="784"/>
                      <a:pt x="1167" y="784"/>
                    </a:cubicBezTo>
                    <a:cubicBezTo>
                      <a:pt x="1167" y="784"/>
                      <a:pt x="1179" y="790"/>
                      <a:pt x="1191" y="795"/>
                    </a:cubicBezTo>
                    <a:cubicBezTo>
                      <a:pt x="1202" y="799"/>
                      <a:pt x="1214" y="781"/>
                      <a:pt x="1214" y="781"/>
                    </a:cubicBezTo>
                    <a:cubicBezTo>
                      <a:pt x="1276" y="780"/>
                      <a:pt x="1276" y="780"/>
                      <a:pt x="1276" y="780"/>
                    </a:cubicBezTo>
                    <a:cubicBezTo>
                      <a:pt x="1308" y="775"/>
                      <a:pt x="1308" y="775"/>
                      <a:pt x="1308" y="775"/>
                    </a:cubicBezTo>
                    <a:cubicBezTo>
                      <a:pt x="1334" y="752"/>
                      <a:pt x="1334" y="752"/>
                      <a:pt x="1334" y="752"/>
                    </a:cubicBezTo>
                    <a:cubicBezTo>
                      <a:pt x="1333" y="742"/>
                      <a:pt x="1333" y="742"/>
                      <a:pt x="1333" y="742"/>
                    </a:cubicBezTo>
                    <a:lnTo>
                      <a:pt x="1312" y="751"/>
                    </a:lnTo>
                    <a:close/>
                    <a:moveTo>
                      <a:pt x="1056" y="774"/>
                    </a:moveTo>
                    <a:cubicBezTo>
                      <a:pt x="1056" y="774"/>
                      <a:pt x="1042" y="759"/>
                      <a:pt x="1034" y="761"/>
                    </a:cubicBezTo>
                    <a:cubicBezTo>
                      <a:pt x="1025" y="762"/>
                      <a:pt x="1006" y="791"/>
                      <a:pt x="1006" y="791"/>
                    </a:cubicBezTo>
                    <a:cubicBezTo>
                      <a:pt x="1041" y="796"/>
                      <a:pt x="1041" y="796"/>
                      <a:pt x="1041" y="796"/>
                    </a:cubicBezTo>
                    <a:cubicBezTo>
                      <a:pt x="1042" y="810"/>
                      <a:pt x="1042" y="810"/>
                      <a:pt x="1042" y="810"/>
                    </a:cubicBezTo>
                    <a:cubicBezTo>
                      <a:pt x="1057" y="808"/>
                      <a:pt x="1057" y="808"/>
                      <a:pt x="1057" y="808"/>
                    </a:cubicBezTo>
                    <a:cubicBezTo>
                      <a:pt x="1063" y="794"/>
                      <a:pt x="1063" y="794"/>
                      <a:pt x="1063" y="794"/>
                    </a:cubicBezTo>
                    <a:cubicBezTo>
                      <a:pt x="1082" y="805"/>
                      <a:pt x="1082" y="805"/>
                      <a:pt x="1082" y="805"/>
                    </a:cubicBezTo>
                    <a:cubicBezTo>
                      <a:pt x="1101" y="783"/>
                      <a:pt x="1101" y="783"/>
                      <a:pt x="1101" y="783"/>
                    </a:cubicBezTo>
                    <a:cubicBezTo>
                      <a:pt x="1067" y="771"/>
                      <a:pt x="1067" y="771"/>
                      <a:pt x="1067" y="771"/>
                    </a:cubicBezTo>
                    <a:lnTo>
                      <a:pt x="1056" y="774"/>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04" name="India">
                <a:extLst>
                  <a:ext uri="{FF2B5EF4-FFF2-40B4-BE49-F238E27FC236}">
                    <a16:creationId xmlns:a16="http://schemas.microsoft.com/office/drawing/2014/main" id="{4266901D-229D-432D-A9BA-41C7F081A189}"/>
                  </a:ext>
                </a:extLst>
              </p:cNvPr>
              <p:cNvSpPr>
                <a:spLocks noEditPoints="1"/>
              </p:cNvSpPr>
              <p:nvPr/>
            </p:nvSpPr>
            <p:spPr bwMode="gray">
              <a:xfrm>
                <a:off x="7392920" y="2998205"/>
                <a:ext cx="730377" cy="883829"/>
              </a:xfrm>
              <a:custGeom>
                <a:avLst/>
                <a:gdLst>
                  <a:gd name="T0" fmla="*/ 1202 w 1304"/>
                  <a:gd name="T1" fmla="*/ 1237 h 1578"/>
                  <a:gd name="T2" fmla="*/ 1259 w 1304"/>
                  <a:gd name="T3" fmla="*/ 1543 h 1578"/>
                  <a:gd name="T4" fmla="*/ 1302 w 1304"/>
                  <a:gd name="T5" fmla="*/ 417 h 1578"/>
                  <a:gd name="T6" fmla="*/ 1231 w 1304"/>
                  <a:gd name="T7" fmla="*/ 379 h 1578"/>
                  <a:gd name="T8" fmla="*/ 1133 w 1304"/>
                  <a:gd name="T9" fmla="*/ 390 h 1578"/>
                  <a:gd name="T10" fmla="*/ 1045 w 1304"/>
                  <a:gd name="T11" fmla="*/ 450 h 1578"/>
                  <a:gd name="T12" fmla="*/ 1042 w 1304"/>
                  <a:gd name="T13" fmla="*/ 497 h 1578"/>
                  <a:gd name="T14" fmla="*/ 926 w 1304"/>
                  <a:gd name="T15" fmla="*/ 487 h 1578"/>
                  <a:gd name="T16" fmla="*/ 882 w 1304"/>
                  <a:gd name="T17" fmla="*/ 450 h 1578"/>
                  <a:gd name="T18" fmla="*/ 853 w 1304"/>
                  <a:gd name="T19" fmla="*/ 520 h 1578"/>
                  <a:gd name="T20" fmla="*/ 766 w 1304"/>
                  <a:gd name="T21" fmla="*/ 495 h 1578"/>
                  <a:gd name="T22" fmla="*/ 695 w 1304"/>
                  <a:gd name="T23" fmla="*/ 457 h 1578"/>
                  <a:gd name="T24" fmla="*/ 640 w 1304"/>
                  <a:gd name="T25" fmla="*/ 459 h 1578"/>
                  <a:gd name="T26" fmla="*/ 564 w 1304"/>
                  <a:gd name="T27" fmla="*/ 423 h 1578"/>
                  <a:gd name="T28" fmla="*/ 499 w 1304"/>
                  <a:gd name="T29" fmla="*/ 382 h 1578"/>
                  <a:gd name="T30" fmla="*/ 518 w 1304"/>
                  <a:gd name="T31" fmla="*/ 323 h 1578"/>
                  <a:gd name="T32" fmla="*/ 481 w 1304"/>
                  <a:gd name="T33" fmla="*/ 283 h 1578"/>
                  <a:gd name="T34" fmla="*/ 412 w 1304"/>
                  <a:gd name="T35" fmla="*/ 221 h 1578"/>
                  <a:gd name="T36" fmla="*/ 423 w 1304"/>
                  <a:gd name="T37" fmla="*/ 194 h 1578"/>
                  <a:gd name="T38" fmla="*/ 395 w 1304"/>
                  <a:gd name="T39" fmla="*/ 129 h 1578"/>
                  <a:gd name="T40" fmla="*/ 438 w 1304"/>
                  <a:gd name="T41" fmla="*/ 69 h 1578"/>
                  <a:gd name="T42" fmla="*/ 319 w 1304"/>
                  <a:gd name="T43" fmla="*/ 29 h 1578"/>
                  <a:gd name="T44" fmla="*/ 266 w 1304"/>
                  <a:gd name="T45" fmla="*/ 74 h 1578"/>
                  <a:gd name="T46" fmla="*/ 156 w 1304"/>
                  <a:gd name="T47" fmla="*/ 89 h 1578"/>
                  <a:gd name="T48" fmla="*/ 186 w 1304"/>
                  <a:gd name="T49" fmla="*/ 141 h 1578"/>
                  <a:gd name="T50" fmla="*/ 219 w 1304"/>
                  <a:gd name="T51" fmla="*/ 196 h 1578"/>
                  <a:gd name="T52" fmla="*/ 235 w 1304"/>
                  <a:gd name="T53" fmla="*/ 268 h 1578"/>
                  <a:gd name="T54" fmla="*/ 179 w 1304"/>
                  <a:gd name="T55" fmla="*/ 372 h 1578"/>
                  <a:gd name="T56" fmla="*/ 107 w 1304"/>
                  <a:gd name="T57" fmla="*/ 437 h 1578"/>
                  <a:gd name="T58" fmla="*/ 33 w 1304"/>
                  <a:gd name="T59" fmla="*/ 493 h 1578"/>
                  <a:gd name="T60" fmla="*/ 74 w 1304"/>
                  <a:gd name="T61" fmla="*/ 551 h 1578"/>
                  <a:gd name="T62" fmla="*/ 98 w 1304"/>
                  <a:gd name="T63" fmla="*/ 635 h 1578"/>
                  <a:gd name="T64" fmla="*/ 15 w 1304"/>
                  <a:gd name="T65" fmla="*/ 630 h 1578"/>
                  <a:gd name="T66" fmla="*/ 78 w 1304"/>
                  <a:gd name="T67" fmla="*/ 697 h 1578"/>
                  <a:gd name="T68" fmla="*/ 70 w 1304"/>
                  <a:gd name="T69" fmla="*/ 779 h 1578"/>
                  <a:gd name="T70" fmla="*/ 213 w 1304"/>
                  <a:gd name="T71" fmla="*/ 781 h 1578"/>
                  <a:gd name="T72" fmla="*/ 267 w 1304"/>
                  <a:gd name="T73" fmla="*/ 1062 h 1578"/>
                  <a:gd name="T74" fmla="*/ 407 w 1304"/>
                  <a:gd name="T75" fmla="*/ 1335 h 1578"/>
                  <a:gd name="T76" fmla="*/ 550 w 1304"/>
                  <a:gd name="T77" fmla="*/ 1443 h 1578"/>
                  <a:gd name="T78" fmla="*/ 601 w 1304"/>
                  <a:gd name="T79" fmla="*/ 1311 h 1578"/>
                  <a:gd name="T80" fmla="*/ 594 w 1304"/>
                  <a:gd name="T81" fmla="*/ 1107 h 1578"/>
                  <a:gd name="T82" fmla="*/ 688 w 1304"/>
                  <a:gd name="T83" fmla="*/ 1044 h 1578"/>
                  <a:gd name="T84" fmla="*/ 820 w 1304"/>
                  <a:gd name="T85" fmla="*/ 866 h 1578"/>
                  <a:gd name="T86" fmla="*/ 873 w 1304"/>
                  <a:gd name="T87" fmla="*/ 795 h 1578"/>
                  <a:gd name="T88" fmla="*/ 942 w 1304"/>
                  <a:gd name="T89" fmla="*/ 744 h 1578"/>
                  <a:gd name="T90" fmla="*/ 959 w 1304"/>
                  <a:gd name="T91" fmla="*/ 697 h 1578"/>
                  <a:gd name="T92" fmla="*/ 917 w 1304"/>
                  <a:gd name="T93" fmla="*/ 604 h 1578"/>
                  <a:gd name="T94" fmla="*/ 897 w 1304"/>
                  <a:gd name="T95" fmla="*/ 546 h 1578"/>
                  <a:gd name="T96" fmla="*/ 925 w 1304"/>
                  <a:gd name="T97" fmla="*/ 515 h 1578"/>
                  <a:gd name="T98" fmla="*/ 972 w 1304"/>
                  <a:gd name="T99" fmla="*/ 534 h 1578"/>
                  <a:gd name="T100" fmla="*/ 1049 w 1304"/>
                  <a:gd name="T101" fmla="*/ 590 h 1578"/>
                  <a:gd name="T102" fmla="*/ 1063 w 1304"/>
                  <a:gd name="T103" fmla="*/ 641 h 1578"/>
                  <a:gd name="T104" fmla="*/ 1099 w 1304"/>
                  <a:gd name="T105" fmla="*/ 664 h 1578"/>
                  <a:gd name="T106" fmla="*/ 1161 w 1304"/>
                  <a:gd name="T107" fmla="*/ 750 h 1578"/>
                  <a:gd name="T108" fmla="*/ 1143 w 1304"/>
                  <a:gd name="T109" fmla="*/ 648 h 1578"/>
                  <a:gd name="T110" fmla="*/ 1199 w 1304"/>
                  <a:gd name="T111" fmla="*/ 576 h 1578"/>
                  <a:gd name="T112" fmla="*/ 1238 w 1304"/>
                  <a:gd name="T113" fmla="*/ 497 h 1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4" h="1578">
                    <a:moveTo>
                      <a:pt x="1204" y="1196"/>
                    </a:moveTo>
                    <a:cubicBezTo>
                      <a:pt x="1184" y="1198"/>
                      <a:pt x="1188" y="1259"/>
                      <a:pt x="1188" y="1259"/>
                    </a:cubicBezTo>
                    <a:cubicBezTo>
                      <a:pt x="1191" y="1325"/>
                      <a:pt x="1191" y="1325"/>
                      <a:pt x="1191" y="1325"/>
                    </a:cubicBezTo>
                    <a:cubicBezTo>
                      <a:pt x="1202" y="1305"/>
                      <a:pt x="1202" y="1305"/>
                      <a:pt x="1202" y="1305"/>
                    </a:cubicBezTo>
                    <a:cubicBezTo>
                      <a:pt x="1202" y="1237"/>
                      <a:pt x="1202" y="1237"/>
                      <a:pt x="1202" y="1237"/>
                    </a:cubicBezTo>
                    <a:cubicBezTo>
                      <a:pt x="1202" y="1237"/>
                      <a:pt x="1220" y="1194"/>
                      <a:pt x="1204" y="1196"/>
                    </a:cubicBezTo>
                    <a:close/>
                    <a:moveTo>
                      <a:pt x="1195" y="1357"/>
                    </a:moveTo>
                    <a:cubicBezTo>
                      <a:pt x="1180" y="1357"/>
                      <a:pt x="1196" y="1389"/>
                      <a:pt x="1196" y="1389"/>
                    </a:cubicBezTo>
                    <a:cubicBezTo>
                      <a:pt x="1196" y="1389"/>
                      <a:pt x="1209" y="1357"/>
                      <a:pt x="1195" y="1357"/>
                    </a:cubicBezTo>
                    <a:close/>
                    <a:moveTo>
                      <a:pt x="1259" y="1543"/>
                    </a:moveTo>
                    <a:cubicBezTo>
                      <a:pt x="1251" y="1544"/>
                      <a:pt x="1255" y="1578"/>
                      <a:pt x="1270" y="1578"/>
                    </a:cubicBezTo>
                    <a:cubicBezTo>
                      <a:pt x="1270" y="1578"/>
                      <a:pt x="1267" y="1542"/>
                      <a:pt x="1259" y="1543"/>
                    </a:cubicBezTo>
                    <a:close/>
                    <a:moveTo>
                      <a:pt x="1280" y="454"/>
                    </a:moveTo>
                    <a:cubicBezTo>
                      <a:pt x="1280" y="445"/>
                      <a:pt x="1304" y="436"/>
                      <a:pt x="1304" y="436"/>
                    </a:cubicBezTo>
                    <a:cubicBezTo>
                      <a:pt x="1302" y="417"/>
                      <a:pt x="1302" y="417"/>
                      <a:pt x="1302" y="417"/>
                    </a:cubicBezTo>
                    <a:cubicBezTo>
                      <a:pt x="1302" y="417"/>
                      <a:pt x="1287" y="413"/>
                      <a:pt x="1280" y="413"/>
                    </a:cubicBezTo>
                    <a:cubicBezTo>
                      <a:pt x="1273" y="413"/>
                      <a:pt x="1258" y="413"/>
                      <a:pt x="1250" y="411"/>
                    </a:cubicBezTo>
                    <a:cubicBezTo>
                      <a:pt x="1242" y="409"/>
                      <a:pt x="1262" y="400"/>
                      <a:pt x="1262" y="400"/>
                    </a:cubicBezTo>
                    <a:cubicBezTo>
                      <a:pt x="1251" y="380"/>
                      <a:pt x="1251" y="380"/>
                      <a:pt x="1251" y="380"/>
                    </a:cubicBezTo>
                    <a:cubicBezTo>
                      <a:pt x="1251" y="380"/>
                      <a:pt x="1240" y="381"/>
                      <a:pt x="1231" y="379"/>
                    </a:cubicBezTo>
                    <a:cubicBezTo>
                      <a:pt x="1222" y="377"/>
                      <a:pt x="1238" y="369"/>
                      <a:pt x="1238" y="369"/>
                    </a:cubicBezTo>
                    <a:cubicBezTo>
                      <a:pt x="1238" y="369"/>
                      <a:pt x="1237" y="364"/>
                      <a:pt x="1219" y="355"/>
                    </a:cubicBezTo>
                    <a:cubicBezTo>
                      <a:pt x="1201" y="346"/>
                      <a:pt x="1209" y="377"/>
                      <a:pt x="1198" y="377"/>
                    </a:cubicBezTo>
                    <a:cubicBezTo>
                      <a:pt x="1187" y="377"/>
                      <a:pt x="1173" y="363"/>
                      <a:pt x="1165" y="363"/>
                    </a:cubicBezTo>
                    <a:cubicBezTo>
                      <a:pt x="1157" y="363"/>
                      <a:pt x="1140" y="382"/>
                      <a:pt x="1133" y="390"/>
                    </a:cubicBezTo>
                    <a:cubicBezTo>
                      <a:pt x="1126" y="398"/>
                      <a:pt x="1102" y="394"/>
                      <a:pt x="1102" y="394"/>
                    </a:cubicBezTo>
                    <a:cubicBezTo>
                      <a:pt x="1102" y="394"/>
                      <a:pt x="1109" y="410"/>
                      <a:pt x="1107" y="415"/>
                    </a:cubicBezTo>
                    <a:cubicBezTo>
                      <a:pt x="1105" y="420"/>
                      <a:pt x="1084" y="422"/>
                      <a:pt x="1084" y="422"/>
                    </a:cubicBezTo>
                    <a:cubicBezTo>
                      <a:pt x="1084" y="422"/>
                      <a:pt x="1092" y="438"/>
                      <a:pt x="1084" y="445"/>
                    </a:cubicBezTo>
                    <a:cubicBezTo>
                      <a:pt x="1076" y="452"/>
                      <a:pt x="1045" y="450"/>
                      <a:pt x="1045" y="450"/>
                    </a:cubicBezTo>
                    <a:cubicBezTo>
                      <a:pt x="1045" y="450"/>
                      <a:pt x="1039" y="452"/>
                      <a:pt x="1043" y="459"/>
                    </a:cubicBezTo>
                    <a:cubicBezTo>
                      <a:pt x="1047" y="466"/>
                      <a:pt x="1064" y="465"/>
                      <a:pt x="1064" y="465"/>
                    </a:cubicBezTo>
                    <a:cubicBezTo>
                      <a:pt x="1064" y="479"/>
                      <a:pt x="1064" y="479"/>
                      <a:pt x="1064" y="479"/>
                    </a:cubicBezTo>
                    <a:cubicBezTo>
                      <a:pt x="1064" y="479"/>
                      <a:pt x="1079" y="490"/>
                      <a:pt x="1065" y="497"/>
                    </a:cubicBezTo>
                    <a:cubicBezTo>
                      <a:pt x="1051" y="504"/>
                      <a:pt x="1042" y="497"/>
                      <a:pt x="1042" y="497"/>
                    </a:cubicBezTo>
                    <a:cubicBezTo>
                      <a:pt x="1042" y="497"/>
                      <a:pt x="1034" y="501"/>
                      <a:pt x="1016" y="501"/>
                    </a:cubicBezTo>
                    <a:cubicBezTo>
                      <a:pt x="998" y="501"/>
                      <a:pt x="1000" y="495"/>
                      <a:pt x="991" y="495"/>
                    </a:cubicBezTo>
                    <a:cubicBezTo>
                      <a:pt x="982" y="495"/>
                      <a:pt x="988" y="503"/>
                      <a:pt x="969" y="503"/>
                    </a:cubicBezTo>
                    <a:cubicBezTo>
                      <a:pt x="950" y="503"/>
                      <a:pt x="953" y="492"/>
                      <a:pt x="953" y="492"/>
                    </a:cubicBezTo>
                    <a:cubicBezTo>
                      <a:pt x="953" y="492"/>
                      <a:pt x="949" y="503"/>
                      <a:pt x="926" y="487"/>
                    </a:cubicBezTo>
                    <a:cubicBezTo>
                      <a:pt x="903" y="471"/>
                      <a:pt x="921" y="467"/>
                      <a:pt x="921" y="467"/>
                    </a:cubicBezTo>
                    <a:cubicBezTo>
                      <a:pt x="921" y="467"/>
                      <a:pt x="916" y="468"/>
                      <a:pt x="911" y="466"/>
                    </a:cubicBezTo>
                    <a:cubicBezTo>
                      <a:pt x="906" y="464"/>
                      <a:pt x="917" y="436"/>
                      <a:pt x="906" y="427"/>
                    </a:cubicBezTo>
                    <a:cubicBezTo>
                      <a:pt x="899" y="422"/>
                      <a:pt x="888" y="428"/>
                      <a:pt x="876" y="435"/>
                    </a:cubicBezTo>
                    <a:cubicBezTo>
                      <a:pt x="882" y="450"/>
                      <a:pt x="882" y="450"/>
                      <a:pt x="882" y="450"/>
                    </a:cubicBezTo>
                    <a:cubicBezTo>
                      <a:pt x="882" y="482"/>
                      <a:pt x="882" y="482"/>
                      <a:pt x="882" y="482"/>
                    </a:cubicBezTo>
                    <a:cubicBezTo>
                      <a:pt x="892" y="497"/>
                      <a:pt x="892" y="497"/>
                      <a:pt x="892" y="497"/>
                    </a:cubicBezTo>
                    <a:cubicBezTo>
                      <a:pt x="892" y="497"/>
                      <a:pt x="892" y="506"/>
                      <a:pt x="891" y="515"/>
                    </a:cubicBezTo>
                    <a:cubicBezTo>
                      <a:pt x="890" y="524"/>
                      <a:pt x="869" y="521"/>
                      <a:pt x="869" y="521"/>
                    </a:cubicBezTo>
                    <a:cubicBezTo>
                      <a:pt x="869" y="521"/>
                      <a:pt x="862" y="520"/>
                      <a:pt x="853" y="520"/>
                    </a:cubicBezTo>
                    <a:cubicBezTo>
                      <a:pt x="844" y="520"/>
                      <a:pt x="849" y="510"/>
                      <a:pt x="843" y="510"/>
                    </a:cubicBezTo>
                    <a:cubicBezTo>
                      <a:pt x="837" y="510"/>
                      <a:pt x="829" y="521"/>
                      <a:pt x="829" y="521"/>
                    </a:cubicBezTo>
                    <a:cubicBezTo>
                      <a:pt x="829" y="521"/>
                      <a:pt x="818" y="508"/>
                      <a:pt x="805" y="504"/>
                    </a:cubicBezTo>
                    <a:cubicBezTo>
                      <a:pt x="792" y="500"/>
                      <a:pt x="788" y="509"/>
                      <a:pt x="788" y="509"/>
                    </a:cubicBezTo>
                    <a:cubicBezTo>
                      <a:pt x="766" y="495"/>
                      <a:pt x="766" y="495"/>
                      <a:pt x="766" y="495"/>
                    </a:cubicBezTo>
                    <a:cubicBezTo>
                      <a:pt x="754" y="504"/>
                      <a:pt x="754" y="504"/>
                      <a:pt x="754" y="504"/>
                    </a:cubicBezTo>
                    <a:cubicBezTo>
                      <a:pt x="754" y="504"/>
                      <a:pt x="745" y="493"/>
                      <a:pt x="736" y="485"/>
                    </a:cubicBezTo>
                    <a:cubicBezTo>
                      <a:pt x="727" y="477"/>
                      <a:pt x="719" y="467"/>
                      <a:pt x="719" y="467"/>
                    </a:cubicBezTo>
                    <a:cubicBezTo>
                      <a:pt x="705" y="470"/>
                      <a:pt x="705" y="470"/>
                      <a:pt x="705" y="470"/>
                    </a:cubicBezTo>
                    <a:cubicBezTo>
                      <a:pt x="705" y="470"/>
                      <a:pt x="704" y="462"/>
                      <a:pt x="695" y="457"/>
                    </a:cubicBezTo>
                    <a:cubicBezTo>
                      <a:pt x="686" y="452"/>
                      <a:pt x="687" y="471"/>
                      <a:pt x="687" y="471"/>
                    </a:cubicBezTo>
                    <a:cubicBezTo>
                      <a:pt x="687" y="471"/>
                      <a:pt x="686" y="464"/>
                      <a:pt x="677" y="464"/>
                    </a:cubicBezTo>
                    <a:cubicBezTo>
                      <a:pt x="668" y="464"/>
                      <a:pt x="663" y="472"/>
                      <a:pt x="663" y="472"/>
                    </a:cubicBezTo>
                    <a:cubicBezTo>
                      <a:pt x="660" y="465"/>
                      <a:pt x="660" y="465"/>
                      <a:pt x="660" y="465"/>
                    </a:cubicBezTo>
                    <a:cubicBezTo>
                      <a:pt x="660" y="465"/>
                      <a:pt x="653" y="461"/>
                      <a:pt x="640" y="459"/>
                    </a:cubicBezTo>
                    <a:cubicBezTo>
                      <a:pt x="627" y="457"/>
                      <a:pt x="639" y="452"/>
                      <a:pt x="634" y="450"/>
                    </a:cubicBezTo>
                    <a:cubicBezTo>
                      <a:pt x="629" y="448"/>
                      <a:pt x="624" y="451"/>
                      <a:pt x="616" y="451"/>
                    </a:cubicBezTo>
                    <a:cubicBezTo>
                      <a:pt x="608" y="451"/>
                      <a:pt x="601" y="437"/>
                      <a:pt x="601" y="437"/>
                    </a:cubicBezTo>
                    <a:cubicBezTo>
                      <a:pt x="592" y="438"/>
                      <a:pt x="592" y="438"/>
                      <a:pt x="592" y="438"/>
                    </a:cubicBezTo>
                    <a:cubicBezTo>
                      <a:pt x="564" y="423"/>
                      <a:pt x="564" y="423"/>
                      <a:pt x="564" y="423"/>
                    </a:cubicBezTo>
                    <a:cubicBezTo>
                      <a:pt x="557" y="413"/>
                      <a:pt x="557" y="413"/>
                      <a:pt x="557" y="413"/>
                    </a:cubicBezTo>
                    <a:cubicBezTo>
                      <a:pt x="539" y="413"/>
                      <a:pt x="539" y="413"/>
                      <a:pt x="539" y="413"/>
                    </a:cubicBezTo>
                    <a:cubicBezTo>
                      <a:pt x="528" y="395"/>
                      <a:pt x="528" y="395"/>
                      <a:pt x="528" y="395"/>
                    </a:cubicBezTo>
                    <a:cubicBezTo>
                      <a:pt x="518" y="401"/>
                      <a:pt x="518" y="401"/>
                      <a:pt x="518" y="401"/>
                    </a:cubicBezTo>
                    <a:cubicBezTo>
                      <a:pt x="518" y="401"/>
                      <a:pt x="506" y="390"/>
                      <a:pt x="499" y="382"/>
                    </a:cubicBezTo>
                    <a:cubicBezTo>
                      <a:pt x="492" y="374"/>
                      <a:pt x="511" y="364"/>
                      <a:pt x="511" y="364"/>
                    </a:cubicBezTo>
                    <a:cubicBezTo>
                      <a:pt x="511" y="364"/>
                      <a:pt x="506" y="364"/>
                      <a:pt x="502" y="358"/>
                    </a:cubicBezTo>
                    <a:cubicBezTo>
                      <a:pt x="498" y="352"/>
                      <a:pt x="509" y="350"/>
                      <a:pt x="509" y="350"/>
                    </a:cubicBezTo>
                    <a:cubicBezTo>
                      <a:pt x="503" y="341"/>
                      <a:pt x="503" y="341"/>
                      <a:pt x="503" y="341"/>
                    </a:cubicBezTo>
                    <a:cubicBezTo>
                      <a:pt x="518" y="323"/>
                      <a:pt x="518" y="323"/>
                      <a:pt x="518" y="323"/>
                    </a:cubicBezTo>
                    <a:cubicBezTo>
                      <a:pt x="524" y="310"/>
                      <a:pt x="524" y="310"/>
                      <a:pt x="524" y="310"/>
                    </a:cubicBezTo>
                    <a:cubicBezTo>
                      <a:pt x="509" y="296"/>
                      <a:pt x="509" y="296"/>
                      <a:pt x="509" y="296"/>
                    </a:cubicBezTo>
                    <a:cubicBezTo>
                      <a:pt x="509" y="296"/>
                      <a:pt x="498" y="296"/>
                      <a:pt x="492" y="293"/>
                    </a:cubicBezTo>
                    <a:cubicBezTo>
                      <a:pt x="486" y="290"/>
                      <a:pt x="492" y="282"/>
                      <a:pt x="492" y="282"/>
                    </a:cubicBezTo>
                    <a:cubicBezTo>
                      <a:pt x="481" y="283"/>
                      <a:pt x="481" y="283"/>
                      <a:pt x="481" y="283"/>
                    </a:cubicBezTo>
                    <a:cubicBezTo>
                      <a:pt x="466" y="272"/>
                      <a:pt x="466" y="272"/>
                      <a:pt x="466" y="272"/>
                    </a:cubicBezTo>
                    <a:cubicBezTo>
                      <a:pt x="466" y="272"/>
                      <a:pt x="456" y="270"/>
                      <a:pt x="445" y="266"/>
                    </a:cubicBezTo>
                    <a:cubicBezTo>
                      <a:pt x="434" y="262"/>
                      <a:pt x="430" y="247"/>
                      <a:pt x="430" y="247"/>
                    </a:cubicBezTo>
                    <a:cubicBezTo>
                      <a:pt x="430" y="247"/>
                      <a:pt x="419" y="252"/>
                      <a:pt x="412" y="249"/>
                    </a:cubicBezTo>
                    <a:cubicBezTo>
                      <a:pt x="405" y="246"/>
                      <a:pt x="412" y="221"/>
                      <a:pt x="412" y="221"/>
                    </a:cubicBezTo>
                    <a:cubicBezTo>
                      <a:pt x="412" y="221"/>
                      <a:pt x="392" y="210"/>
                      <a:pt x="390" y="200"/>
                    </a:cubicBezTo>
                    <a:cubicBezTo>
                      <a:pt x="388" y="190"/>
                      <a:pt x="401" y="185"/>
                      <a:pt x="405" y="185"/>
                    </a:cubicBezTo>
                    <a:cubicBezTo>
                      <a:pt x="409" y="185"/>
                      <a:pt x="407" y="195"/>
                      <a:pt x="407" y="195"/>
                    </a:cubicBezTo>
                    <a:cubicBezTo>
                      <a:pt x="417" y="203"/>
                      <a:pt x="417" y="203"/>
                      <a:pt x="417" y="203"/>
                    </a:cubicBezTo>
                    <a:cubicBezTo>
                      <a:pt x="423" y="194"/>
                      <a:pt x="423" y="194"/>
                      <a:pt x="423" y="194"/>
                    </a:cubicBezTo>
                    <a:cubicBezTo>
                      <a:pt x="423" y="194"/>
                      <a:pt x="432" y="191"/>
                      <a:pt x="440" y="186"/>
                    </a:cubicBezTo>
                    <a:cubicBezTo>
                      <a:pt x="448" y="181"/>
                      <a:pt x="429" y="166"/>
                      <a:pt x="429" y="166"/>
                    </a:cubicBezTo>
                    <a:cubicBezTo>
                      <a:pt x="424" y="157"/>
                      <a:pt x="424" y="157"/>
                      <a:pt x="424" y="157"/>
                    </a:cubicBezTo>
                    <a:cubicBezTo>
                      <a:pt x="424" y="157"/>
                      <a:pt x="419" y="154"/>
                      <a:pt x="404" y="147"/>
                    </a:cubicBezTo>
                    <a:cubicBezTo>
                      <a:pt x="389" y="140"/>
                      <a:pt x="395" y="129"/>
                      <a:pt x="395" y="129"/>
                    </a:cubicBezTo>
                    <a:cubicBezTo>
                      <a:pt x="406" y="123"/>
                      <a:pt x="406" y="123"/>
                      <a:pt x="406" y="123"/>
                    </a:cubicBezTo>
                    <a:cubicBezTo>
                      <a:pt x="394" y="107"/>
                      <a:pt x="394" y="107"/>
                      <a:pt x="394" y="107"/>
                    </a:cubicBezTo>
                    <a:cubicBezTo>
                      <a:pt x="394" y="107"/>
                      <a:pt x="413" y="108"/>
                      <a:pt x="422" y="103"/>
                    </a:cubicBezTo>
                    <a:cubicBezTo>
                      <a:pt x="431" y="98"/>
                      <a:pt x="425" y="74"/>
                      <a:pt x="425" y="74"/>
                    </a:cubicBezTo>
                    <a:cubicBezTo>
                      <a:pt x="425" y="74"/>
                      <a:pt x="434" y="74"/>
                      <a:pt x="438" y="69"/>
                    </a:cubicBezTo>
                    <a:cubicBezTo>
                      <a:pt x="442" y="64"/>
                      <a:pt x="438" y="28"/>
                      <a:pt x="438" y="28"/>
                    </a:cubicBezTo>
                    <a:cubicBezTo>
                      <a:pt x="438" y="28"/>
                      <a:pt x="424" y="30"/>
                      <a:pt x="413" y="28"/>
                    </a:cubicBezTo>
                    <a:cubicBezTo>
                      <a:pt x="402" y="26"/>
                      <a:pt x="400" y="12"/>
                      <a:pt x="383" y="6"/>
                    </a:cubicBezTo>
                    <a:cubicBezTo>
                      <a:pt x="366" y="0"/>
                      <a:pt x="335" y="29"/>
                      <a:pt x="335" y="29"/>
                    </a:cubicBezTo>
                    <a:cubicBezTo>
                      <a:pt x="335" y="29"/>
                      <a:pt x="328" y="29"/>
                      <a:pt x="319" y="29"/>
                    </a:cubicBezTo>
                    <a:cubicBezTo>
                      <a:pt x="304" y="51"/>
                      <a:pt x="304" y="51"/>
                      <a:pt x="304" y="51"/>
                    </a:cubicBezTo>
                    <a:cubicBezTo>
                      <a:pt x="289" y="57"/>
                      <a:pt x="289" y="57"/>
                      <a:pt x="289" y="57"/>
                    </a:cubicBezTo>
                    <a:cubicBezTo>
                      <a:pt x="289" y="57"/>
                      <a:pt x="289" y="68"/>
                      <a:pt x="286" y="69"/>
                    </a:cubicBezTo>
                    <a:cubicBezTo>
                      <a:pt x="283" y="70"/>
                      <a:pt x="272" y="69"/>
                      <a:pt x="272" y="69"/>
                    </a:cubicBezTo>
                    <a:cubicBezTo>
                      <a:pt x="266" y="74"/>
                      <a:pt x="266" y="74"/>
                      <a:pt x="266" y="74"/>
                    </a:cubicBezTo>
                    <a:cubicBezTo>
                      <a:pt x="262" y="70"/>
                      <a:pt x="262" y="70"/>
                      <a:pt x="262" y="70"/>
                    </a:cubicBezTo>
                    <a:cubicBezTo>
                      <a:pt x="262" y="70"/>
                      <a:pt x="244" y="83"/>
                      <a:pt x="237" y="84"/>
                    </a:cubicBezTo>
                    <a:cubicBezTo>
                      <a:pt x="230" y="85"/>
                      <a:pt x="227" y="73"/>
                      <a:pt x="227" y="73"/>
                    </a:cubicBezTo>
                    <a:cubicBezTo>
                      <a:pt x="227" y="73"/>
                      <a:pt x="198" y="67"/>
                      <a:pt x="176" y="70"/>
                    </a:cubicBezTo>
                    <a:cubicBezTo>
                      <a:pt x="154" y="73"/>
                      <a:pt x="156" y="89"/>
                      <a:pt x="156" y="89"/>
                    </a:cubicBezTo>
                    <a:cubicBezTo>
                      <a:pt x="171" y="99"/>
                      <a:pt x="171" y="99"/>
                      <a:pt x="171" y="99"/>
                    </a:cubicBezTo>
                    <a:cubicBezTo>
                      <a:pt x="167" y="108"/>
                      <a:pt x="167" y="108"/>
                      <a:pt x="167" y="108"/>
                    </a:cubicBezTo>
                    <a:cubicBezTo>
                      <a:pt x="187" y="112"/>
                      <a:pt x="187" y="112"/>
                      <a:pt x="187" y="112"/>
                    </a:cubicBezTo>
                    <a:cubicBezTo>
                      <a:pt x="187" y="112"/>
                      <a:pt x="178" y="120"/>
                      <a:pt x="175" y="130"/>
                    </a:cubicBezTo>
                    <a:cubicBezTo>
                      <a:pt x="172" y="140"/>
                      <a:pt x="186" y="141"/>
                      <a:pt x="186" y="141"/>
                    </a:cubicBezTo>
                    <a:cubicBezTo>
                      <a:pt x="186" y="141"/>
                      <a:pt x="185" y="149"/>
                      <a:pt x="184" y="157"/>
                    </a:cubicBezTo>
                    <a:cubicBezTo>
                      <a:pt x="183" y="165"/>
                      <a:pt x="194" y="162"/>
                      <a:pt x="194" y="162"/>
                    </a:cubicBezTo>
                    <a:cubicBezTo>
                      <a:pt x="202" y="172"/>
                      <a:pt x="202" y="172"/>
                      <a:pt x="202" y="172"/>
                    </a:cubicBezTo>
                    <a:cubicBezTo>
                      <a:pt x="216" y="173"/>
                      <a:pt x="216" y="173"/>
                      <a:pt x="216" y="173"/>
                    </a:cubicBezTo>
                    <a:cubicBezTo>
                      <a:pt x="219" y="196"/>
                      <a:pt x="219" y="196"/>
                      <a:pt x="219" y="196"/>
                    </a:cubicBezTo>
                    <a:cubicBezTo>
                      <a:pt x="243" y="195"/>
                      <a:pt x="243" y="195"/>
                      <a:pt x="243" y="195"/>
                    </a:cubicBezTo>
                    <a:cubicBezTo>
                      <a:pt x="243" y="195"/>
                      <a:pt x="255" y="200"/>
                      <a:pt x="256" y="209"/>
                    </a:cubicBezTo>
                    <a:cubicBezTo>
                      <a:pt x="257" y="218"/>
                      <a:pt x="228" y="222"/>
                      <a:pt x="224" y="224"/>
                    </a:cubicBezTo>
                    <a:cubicBezTo>
                      <a:pt x="220" y="226"/>
                      <a:pt x="223" y="240"/>
                      <a:pt x="223" y="244"/>
                    </a:cubicBezTo>
                    <a:cubicBezTo>
                      <a:pt x="223" y="248"/>
                      <a:pt x="235" y="268"/>
                      <a:pt x="235" y="268"/>
                    </a:cubicBezTo>
                    <a:cubicBezTo>
                      <a:pt x="217" y="281"/>
                      <a:pt x="217" y="281"/>
                      <a:pt x="217" y="281"/>
                    </a:cubicBezTo>
                    <a:cubicBezTo>
                      <a:pt x="200" y="305"/>
                      <a:pt x="200" y="305"/>
                      <a:pt x="200" y="305"/>
                    </a:cubicBezTo>
                    <a:cubicBezTo>
                      <a:pt x="211" y="322"/>
                      <a:pt x="211" y="322"/>
                      <a:pt x="211" y="322"/>
                    </a:cubicBezTo>
                    <a:cubicBezTo>
                      <a:pt x="211" y="322"/>
                      <a:pt x="192" y="323"/>
                      <a:pt x="188" y="332"/>
                    </a:cubicBezTo>
                    <a:cubicBezTo>
                      <a:pt x="184" y="341"/>
                      <a:pt x="187" y="359"/>
                      <a:pt x="179" y="372"/>
                    </a:cubicBezTo>
                    <a:cubicBezTo>
                      <a:pt x="171" y="385"/>
                      <a:pt x="155" y="388"/>
                      <a:pt x="151" y="391"/>
                    </a:cubicBezTo>
                    <a:cubicBezTo>
                      <a:pt x="147" y="394"/>
                      <a:pt x="146" y="414"/>
                      <a:pt x="146" y="414"/>
                    </a:cubicBezTo>
                    <a:cubicBezTo>
                      <a:pt x="137" y="419"/>
                      <a:pt x="137" y="419"/>
                      <a:pt x="137" y="419"/>
                    </a:cubicBezTo>
                    <a:cubicBezTo>
                      <a:pt x="137" y="419"/>
                      <a:pt x="136" y="429"/>
                      <a:pt x="129" y="437"/>
                    </a:cubicBezTo>
                    <a:cubicBezTo>
                      <a:pt x="122" y="445"/>
                      <a:pt x="107" y="437"/>
                      <a:pt x="107" y="437"/>
                    </a:cubicBezTo>
                    <a:cubicBezTo>
                      <a:pt x="107" y="437"/>
                      <a:pt x="102" y="445"/>
                      <a:pt x="89" y="447"/>
                    </a:cubicBezTo>
                    <a:cubicBezTo>
                      <a:pt x="76" y="449"/>
                      <a:pt x="84" y="432"/>
                      <a:pt x="70" y="434"/>
                    </a:cubicBezTo>
                    <a:cubicBezTo>
                      <a:pt x="56" y="436"/>
                      <a:pt x="57" y="450"/>
                      <a:pt x="57" y="450"/>
                    </a:cubicBezTo>
                    <a:cubicBezTo>
                      <a:pt x="57" y="450"/>
                      <a:pt x="50" y="462"/>
                      <a:pt x="42" y="469"/>
                    </a:cubicBezTo>
                    <a:cubicBezTo>
                      <a:pt x="34" y="476"/>
                      <a:pt x="33" y="476"/>
                      <a:pt x="33" y="493"/>
                    </a:cubicBezTo>
                    <a:cubicBezTo>
                      <a:pt x="33" y="510"/>
                      <a:pt x="48" y="508"/>
                      <a:pt x="48" y="508"/>
                    </a:cubicBezTo>
                    <a:cubicBezTo>
                      <a:pt x="66" y="506"/>
                      <a:pt x="66" y="506"/>
                      <a:pt x="66" y="506"/>
                    </a:cubicBezTo>
                    <a:cubicBezTo>
                      <a:pt x="67" y="516"/>
                      <a:pt x="67" y="516"/>
                      <a:pt x="67" y="516"/>
                    </a:cubicBezTo>
                    <a:cubicBezTo>
                      <a:pt x="65" y="536"/>
                      <a:pt x="65" y="536"/>
                      <a:pt x="65" y="536"/>
                    </a:cubicBezTo>
                    <a:cubicBezTo>
                      <a:pt x="65" y="536"/>
                      <a:pt x="67" y="544"/>
                      <a:pt x="74" y="551"/>
                    </a:cubicBezTo>
                    <a:cubicBezTo>
                      <a:pt x="81" y="558"/>
                      <a:pt x="97" y="558"/>
                      <a:pt x="97" y="558"/>
                    </a:cubicBezTo>
                    <a:cubicBezTo>
                      <a:pt x="97" y="573"/>
                      <a:pt x="97" y="573"/>
                      <a:pt x="97" y="573"/>
                    </a:cubicBezTo>
                    <a:cubicBezTo>
                      <a:pt x="111" y="601"/>
                      <a:pt x="111" y="601"/>
                      <a:pt x="111" y="601"/>
                    </a:cubicBezTo>
                    <a:cubicBezTo>
                      <a:pt x="111" y="601"/>
                      <a:pt x="122" y="616"/>
                      <a:pt x="120" y="625"/>
                    </a:cubicBezTo>
                    <a:cubicBezTo>
                      <a:pt x="118" y="634"/>
                      <a:pt x="109" y="635"/>
                      <a:pt x="98" y="635"/>
                    </a:cubicBezTo>
                    <a:cubicBezTo>
                      <a:pt x="87" y="635"/>
                      <a:pt x="97" y="624"/>
                      <a:pt x="86" y="626"/>
                    </a:cubicBezTo>
                    <a:cubicBezTo>
                      <a:pt x="75" y="628"/>
                      <a:pt x="77" y="638"/>
                      <a:pt x="63" y="638"/>
                    </a:cubicBezTo>
                    <a:cubicBezTo>
                      <a:pt x="49" y="638"/>
                      <a:pt x="52" y="630"/>
                      <a:pt x="52" y="630"/>
                    </a:cubicBezTo>
                    <a:cubicBezTo>
                      <a:pt x="35" y="636"/>
                      <a:pt x="35" y="636"/>
                      <a:pt x="35" y="636"/>
                    </a:cubicBezTo>
                    <a:cubicBezTo>
                      <a:pt x="35" y="636"/>
                      <a:pt x="26" y="629"/>
                      <a:pt x="15" y="630"/>
                    </a:cubicBezTo>
                    <a:cubicBezTo>
                      <a:pt x="4" y="631"/>
                      <a:pt x="13" y="647"/>
                      <a:pt x="13" y="647"/>
                    </a:cubicBezTo>
                    <a:cubicBezTo>
                      <a:pt x="0" y="652"/>
                      <a:pt x="0" y="652"/>
                      <a:pt x="0" y="652"/>
                    </a:cubicBezTo>
                    <a:cubicBezTo>
                      <a:pt x="11" y="653"/>
                      <a:pt x="23" y="653"/>
                      <a:pt x="23" y="653"/>
                    </a:cubicBezTo>
                    <a:cubicBezTo>
                      <a:pt x="23" y="653"/>
                      <a:pt x="13" y="677"/>
                      <a:pt x="26" y="686"/>
                    </a:cubicBezTo>
                    <a:cubicBezTo>
                      <a:pt x="38" y="696"/>
                      <a:pt x="71" y="699"/>
                      <a:pt x="78" y="697"/>
                    </a:cubicBezTo>
                    <a:cubicBezTo>
                      <a:pt x="84" y="695"/>
                      <a:pt x="108" y="678"/>
                      <a:pt x="108" y="678"/>
                    </a:cubicBezTo>
                    <a:cubicBezTo>
                      <a:pt x="108" y="678"/>
                      <a:pt x="118" y="690"/>
                      <a:pt x="106" y="701"/>
                    </a:cubicBezTo>
                    <a:cubicBezTo>
                      <a:pt x="94" y="712"/>
                      <a:pt x="70" y="719"/>
                      <a:pt x="70" y="719"/>
                    </a:cubicBezTo>
                    <a:cubicBezTo>
                      <a:pt x="70" y="719"/>
                      <a:pt x="32" y="724"/>
                      <a:pt x="30" y="735"/>
                    </a:cubicBezTo>
                    <a:cubicBezTo>
                      <a:pt x="28" y="746"/>
                      <a:pt x="58" y="770"/>
                      <a:pt x="70" y="779"/>
                    </a:cubicBezTo>
                    <a:cubicBezTo>
                      <a:pt x="83" y="788"/>
                      <a:pt x="106" y="816"/>
                      <a:pt x="136" y="818"/>
                    </a:cubicBezTo>
                    <a:cubicBezTo>
                      <a:pt x="167" y="821"/>
                      <a:pt x="205" y="794"/>
                      <a:pt x="201" y="775"/>
                    </a:cubicBezTo>
                    <a:cubicBezTo>
                      <a:pt x="197" y="757"/>
                      <a:pt x="207" y="742"/>
                      <a:pt x="217" y="733"/>
                    </a:cubicBezTo>
                    <a:cubicBezTo>
                      <a:pt x="226" y="723"/>
                      <a:pt x="248" y="718"/>
                      <a:pt x="238" y="735"/>
                    </a:cubicBezTo>
                    <a:cubicBezTo>
                      <a:pt x="229" y="752"/>
                      <a:pt x="206" y="767"/>
                      <a:pt x="213" y="781"/>
                    </a:cubicBezTo>
                    <a:cubicBezTo>
                      <a:pt x="220" y="795"/>
                      <a:pt x="238" y="793"/>
                      <a:pt x="238" y="808"/>
                    </a:cubicBezTo>
                    <a:cubicBezTo>
                      <a:pt x="237" y="822"/>
                      <a:pt x="233" y="838"/>
                      <a:pt x="227" y="861"/>
                    </a:cubicBezTo>
                    <a:cubicBezTo>
                      <a:pt x="220" y="885"/>
                      <a:pt x="220" y="907"/>
                      <a:pt x="227" y="936"/>
                    </a:cubicBezTo>
                    <a:cubicBezTo>
                      <a:pt x="235" y="964"/>
                      <a:pt x="247" y="1014"/>
                      <a:pt x="258" y="1029"/>
                    </a:cubicBezTo>
                    <a:cubicBezTo>
                      <a:pt x="269" y="1045"/>
                      <a:pt x="272" y="1039"/>
                      <a:pt x="267" y="1062"/>
                    </a:cubicBezTo>
                    <a:cubicBezTo>
                      <a:pt x="262" y="1085"/>
                      <a:pt x="299" y="1092"/>
                      <a:pt x="299" y="1092"/>
                    </a:cubicBezTo>
                    <a:cubicBezTo>
                      <a:pt x="299" y="1092"/>
                      <a:pt x="304" y="1124"/>
                      <a:pt x="312" y="1135"/>
                    </a:cubicBezTo>
                    <a:cubicBezTo>
                      <a:pt x="321" y="1147"/>
                      <a:pt x="339" y="1156"/>
                      <a:pt x="339" y="1156"/>
                    </a:cubicBezTo>
                    <a:cubicBezTo>
                      <a:pt x="339" y="1156"/>
                      <a:pt x="344" y="1222"/>
                      <a:pt x="354" y="1252"/>
                    </a:cubicBezTo>
                    <a:cubicBezTo>
                      <a:pt x="365" y="1282"/>
                      <a:pt x="402" y="1323"/>
                      <a:pt x="407" y="1335"/>
                    </a:cubicBezTo>
                    <a:cubicBezTo>
                      <a:pt x="412" y="1348"/>
                      <a:pt x="414" y="1374"/>
                      <a:pt x="413" y="1386"/>
                    </a:cubicBezTo>
                    <a:cubicBezTo>
                      <a:pt x="411" y="1398"/>
                      <a:pt x="479" y="1502"/>
                      <a:pt x="479" y="1502"/>
                    </a:cubicBezTo>
                    <a:cubicBezTo>
                      <a:pt x="479" y="1502"/>
                      <a:pt x="512" y="1493"/>
                      <a:pt x="518" y="1484"/>
                    </a:cubicBezTo>
                    <a:cubicBezTo>
                      <a:pt x="523" y="1474"/>
                      <a:pt x="515" y="1452"/>
                      <a:pt x="526" y="1445"/>
                    </a:cubicBezTo>
                    <a:cubicBezTo>
                      <a:pt x="536" y="1438"/>
                      <a:pt x="540" y="1446"/>
                      <a:pt x="550" y="1443"/>
                    </a:cubicBezTo>
                    <a:cubicBezTo>
                      <a:pt x="561" y="1440"/>
                      <a:pt x="578" y="1427"/>
                      <a:pt x="578" y="1427"/>
                    </a:cubicBezTo>
                    <a:cubicBezTo>
                      <a:pt x="578" y="1427"/>
                      <a:pt x="563" y="1431"/>
                      <a:pt x="566" y="1414"/>
                    </a:cubicBezTo>
                    <a:cubicBezTo>
                      <a:pt x="568" y="1397"/>
                      <a:pt x="575" y="1394"/>
                      <a:pt x="587" y="1388"/>
                    </a:cubicBezTo>
                    <a:cubicBezTo>
                      <a:pt x="599" y="1382"/>
                      <a:pt x="613" y="1379"/>
                      <a:pt x="613" y="1371"/>
                    </a:cubicBezTo>
                    <a:cubicBezTo>
                      <a:pt x="614" y="1362"/>
                      <a:pt x="601" y="1330"/>
                      <a:pt x="601" y="1311"/>
                    </a:cubicBezTo>
                    <a:cubicBezTo>
                      <a:pt x="600" y="1293"/>
                      <a:pt x="599" y="1264"/>
                      <a:pt x="605" y="1261"/>
                    </a:cubicBezTo>
                    <a:cubicBezTo>
                      <a:pt x="612" y="1257"/>
                      <a:pt x="609" y="1249"/>
                      <a:pt x="610" y="1217"/>
                    </a:cubicBezTo>
                    <a:cubicBezTo>
                      <a:pt x="612" y="1185"/>
                      <a:pt x="592" y="1185"/>
                      <a:pt x="590" y="1172"/>
                    </a:cubicBezTo>
                    <a:cubicBezTo>
                      <a:pt x="588" y="1160"/>
                      <a:pt x="598" y="1154"/>
                      <a:pt x="599" y="1142"/>
                    </a:cubicBezTo>
                    <a:cubicBezTo>
                      <a:pt x="601" y="1130"/>
                      <a:pt x="594" y="1123"/>
                      <a:pt x="594" y="1107"/>
                    </a:cubicBezTo>
                    <a:cubicBezTo>
                      <a:pt x="595" y="1091"/>
                      <a:pt x="631" y="1089"/>
                      <a:pt x="631" y="1082"/>
                    </a:cubicBezTo>
                    <a:cubicBezTo>
                      <a:pt x="631" y="1075"/>
                      <a:pt x="631" y="1059"/>
                      <a:pt x="638" y="1054"/>
                    </a:cubicBezTo>
                    <a:cubicBezTo>
                      <a:pt x="646" y="1049"/>
                      <a:pt x="660" y="1050"/>
                      <a:pt x="660" y="1050"/>
                    </a:cubicBezTo>
                    <a:cubicBezTo>
                      <a:pt x="663" y="1044"/>
                      <a:pt x="663" y="1044"/>
                      <a:pt x="663" y="1044"/>
                    </a:cubicBezTo>
                    <a:cubicBezTo>
                      <a:pt x="663" y="1044"/>
                      <a:pt x="686" y="1055"/>
                      <a:pt x="688" y="1044"/>
                    </a:cubicBezTo>
                    <a:cubicBezTo>
                      <a:pt x="690" y="1033"/>
                      <a:pt x="709" y="998"/>
                      <a:pt x="715" y="988"/>
                    </a:cubicBezTo>
                    <a:cubicBezTo>
                      <a:pt x="722" y="979"/>
                      <a:pt x="744" y="980"/>
                      <a:pt x="751" y="966"/>
                    </a:cubicBezTo>
                    <a:cubicBezTo>
                      <a:pt x="758" y="953"/>
                      <a:pt x="769" y="925"/>
                      <a:pt x="779" y="916"/>
                    </a:cubicBezTo>
                    <a:cubicBezTo>
                      <a:pt x="788" y="906"/>
                      <a:pt x="827" y="886"/>
                      <a:pt x="827" y="886"/>
                    </a:cubicBezTo>
                    <a:cubicBezTo>
                      <a:pt x="820" y="866"/>
                      <a:pt x="820" y="866"/>
                      <a:pt x="820" y="866"/>
                    </a:cubicBezTo>
                    <a:cubicBezTo>
                      <a:pt x="826" y="861"/>
                      <a:pt x="826" y="861"/>
                      <a:pt x="826" y="861"/>
                    </a:cubicBezTo>
                    <a:cubicBezTo>
                      <a:pt x="839" y="880"/>
                      <a:pt x="839" y="880"/>
                      <a:pt x="839" y="880"/>
                    </a:cubicBezTo>
                    <a:cubicBezTo>
                      <a:pt x="880" y="841"/>
                      <a:pt x="880" y="841"/>
                      <a:pt x="880" y="841"/>
                    </a:cubicBezTo>
                    <a:cubicBezTo>
                      <a:pt x="887" y="823"/>
                      <a:pt x="887" y="823"/>
                      <a:pt x="887" y="823"/>
                    </a:cubicBezTo>
                    <a:cubicBezTo>
                      <a:pt x="887" y="823"/>
                      <a:pt x="873" y="806"/>
                      <a:pt x="873" y="795"/>
                    </a:cubicBezTo>
                    <a:cubicBezTo>
                      <a:pt x="874" y="784"/>
                      <a:pt x="897" y="788"/>
                      <a:pt x="909" y="773"/>
                    </a:cubicBezTo>
                    <a:cubicBezTo>
                      <a:pt x="921" y="757"/>
                      <a:pt x="917" y="744"/>
                      <a:pt x="917" y="744"/>
                    </a:cubicBezTo>
                    <a:cubicBezTo>
                      <a:pt x="928" y="749"/>
                      <a:pt x="928" y="749"/>
                      <a:pt x="928" y="749"/>
                    </a:cubicBezTo>
                    <a:cubicBezTo>
                      <a:pt x="934" y="767"/>
                      <a:pt x="934" y="767"/>
                      <a:pt x="934" y="767"/>
                    </a:cubicBezTo>
                    <a:cubicBezTo>
                      <a:pt x="942" y="744"/>
                      <a:pt x="942" y="744"/>
                      <a:pt x="942" y="744"/>
                    </a:cubicBezTo>
                    <a:cubicBezTo>
                      <a:pt x="942" y="744"/>
                      <a:pt x="950" y="786"/>
                      <a:pt x="957" y="789"/>
                    </a:cubicBezTo>
                    <a:cubicBezTo>
                      <a:pt x="965" y="791"/>
                      <a:pt x="968" y="763"/>
                      <a:pt x="968" y="763"/>
                    </a:cubicBezTo>
                    <a:cubicBezTo>
                      <a:pt x="970" y="745"/>
                      <a:pt x="970" y="745"/>
                      <a:pt x="970" y="745"/>
                    </a:cubicBezTo>
                    <a:cubicBezTo>
                      <a:pt x="958" y="717"/>
                      <a:pt x="958" y="717"/>
                      <a:pt x="958" y="717"/>
                    </a:cubicBezTo>
                    <a:cubicBezTo>
                      <a:pt x="959" y="697"/>
                      <a:pt x="959" y="697"/>
                      <a:pt x="959" y="697"/>
                    </a:cubicBezTo>
                    <a:cubicBezTo>
                      <a:pt x="939" y="681"/>
                      <a:pt x="939" y="681"/>
                      <a:pt x="939" y="681"/>
                    </a:cubicBezTo>
                    <a:cubicBezTo>
                      <a:pt x="930" y="661"/>
                      <a:pt x="930" y="661"/>
                      <a:pt x="930" y="661"/>
                    </a:cubicBezTo>
                    <a:cubicBezTo>
                      <a:pt x="930" y="661"/>
                      <a:pt x="939" y="653"/>
                      <a:pt x="942" y="637"/>
                    </a:cubicBezTo>
                    <a:cubicBezTo>
                      <a:pt x="945" y="621"/>
                      <a:pt x="918" y="627"/>
                      <a:pt x="908" y="617"/>
                    </a:cubicBezTo>
                    <a:cubicBezTo>
                      <a:pt x="898" y="607"/>
                      <a:pt x="917" y="604"/>
                      <a:pt x="917" y="604"/>
                    </a:cubicBezTo>
                    <a:cubicBezTo>
                      <a:pt x="917" y="585"/>
                      <a:pt x="917" y="585"/>
                      <a:pt x="917" y="585"/>
                    </a:cubicBezTo>
                    <a:cubicBezTo>
                      <a:pt x="939" y="584"/>
                      <a:pt x="939" y="584"/>
                      <a:pt x="939" y="584"/>
                    </a:cubicBezTo>
                    <a:cubicBezTo>
                      <a:pt x="938" y="576"/>
                      <a:pt x="938" y="576"/>
                      <a:pt x="938" y="576"/>
                    </a:cubicBezTo>
                    <a:cubicBezTo>
                      <a:pt x="921" y="565"/>
                      <a:pt x="921" y="565"/>
                      <a:pt x="921" y="565"/>
                    </a:cubicBezTo>
                    <a:cubicBezTo>
                      <a:pt x="921" y="565"/>
                      <a:pt x="899" y="557"/>
                      <a:pt x="897" y="546"/>
                    </a:cubicBezTo>
                    <a:cubicBezTo>
                      <a:pt x="895" y="535"/>
                      <a:pt x="906" y="523"/>
                      <a:pt x="906" y="523"/>
                    </a:cubicBezTo>
                    <a:cubicBezTo>
                      <a:pt x="901" y="511"/>
                      <a:pt x="901" y="511"/>
                      <a:pt x="901" y="511"/>
                    </a:cubicBezTo>
                    <a:cubicBezTo>
                      <a:pt x="912" y="514"/>
                      <a:pt x="912" y="514"/>
                      <a:pt x="912" y="514"/>
                    </a:cubicBezTo>
                    <a:cubicBezTo>
                      <a:pt x="928" y="522"/>
                      <a:pt x="928" y="522"/>
                      <a:pt x="928" y="522"/>
                    </a:cubicBezTo>
                    <a:cubicBezTo>
                      <a:pt x="925" y="515"/>
                      <a:pt x="925" y="515"/>
                      <a:pt x="925" y="515"/>
                    </a:cubicBezTo>
                    <a:cubicBezTo>
                      <a:pt x="936" y="514"/>
                      <a:pt x="936" y="514"/>
                      <a:pt x="936" y="514"/>
                    </a:cubicBezTo>
                    <a:cubicBezTo>
                      <a:pt x="936" y="514"/>
                      <a:pt x="939" y="526"/>
                      <a:pt x="945" y="532"/>
                    </a:cubicBezTo>
                    <a:cubicBezTo>
                      <a:pt x="951" y="538"/>
                      <a:pt x="961" y="540"/>
                      <a:pt x="961" y="540"/>
                    </a:cubicBezTo>
                    <a:cubicBezTo>
                      <a:pt x="962" y="528"/>
                      <a:pt x="962" y="528"/>
                      <a:pt x="962" y="528"/>
                    </a:cubicBezTo>
                    <a:cubicBezTo>
                      <a:pt x="962" y="528"/>
                      <a:pt x="968" y="531"/>
                      <a:pt x="972" y="534"/>
                    </a:cubicBezTo>
                    <a:cubicBezTo>
                      <a:pt x="976" y="537"/>
                      <a:pt x="976" y="555"/>
                      <a:pt x="976" y="555"/>
                    </a:cubicBezTo>
                    <a:cubicBezTo>
                      <a:pt x="980" y="557"/>
                      <a:pt x="980" y="557"/>
                      <a:pt x="980" y="557"/>
                    </a:cubicBezTo>
                    <a:cubicBezTo>
                      <a:pt x="980" y="557"/>
                      <a:pt x="981" y="577"/>
                      <a:pt x="981" y="580"/>
                    </a:cubicBezTo>
                    <a:cubicBezTo>
                      <a:pt x="981" y="583"/>
                      <a:pt x="998" y="586"/>
                      <a:pt x="1008" y="586"/>
                    </a:cubicBezTo>
                    <a:cubicBezTo>
                      <a:pt x="1018" y="586"/>
                      <a:pt x="1049" y="590"/>
                      <a:pt x="1049" y="590"/>
                    </a:cubicBezTo>
                    <a:cubicBezTo>
                      <a:pt x="1079" y="579"/>
                      <a:pt x="1079" y="579"/>
                      <a:pt x="1079" y="579"/>
                    </a:cubicBezTo>
                    <a:cubicBezTo>
                      <a:pt x="1079" y="579"/>
                      <a:pt x="1101" y="587"/>
                      <a:pt x="1101" y="597"/>
                    </a:cubicBezTo>
                    <a:cubicBezTo>
                      <a:pt x="1101" y="607"/>
                      <a:pt x="1091" y="603"/>
                      <a:pt x="1091" y="603"/>
                    </a:cubicBezTo>
                    <a:cubicBezTo>
                      <a:pt x="1091" y="603"/>
                      <a:pt x="1091" y="612"/>
                      <a:pt x="1088" y="626"/>
                    </a:cubicBezTo>
                    <a:cubicBezTo>
                      <a:pt x="1085" y="640"/>
                      <a:pt x="1071" y="638"/>
                      <a:pt x="1063" y="641"/>
                    </a:cubicBezTo>
                    <a:cubicBezTo>
                      <a:pt x="1055" y="644"/>
                      <a:pt x="1053" y="654"/>
                      <a:pt x="1053" y="670"/>
                    </a:cubicBezTo>
                    <a:cubicBezTo>
                      <a:pt x="1053" y="686"/>
                      <a:pt x="1073" y="689"/>
                      <a:pt x="1073" y="689"/>
                    </a:cubicBezTo>
                    <a:cubicBezTo>
                      <a:pt x="1082" y="704"/>
                      <a:pt x="1082" y="704"/>
                      <a:pt x="1082" y="704"/>
                    </a:cubicBezTo>
                    <a:cubicBezTo>
                      <a:pt x="1089" y="681"/>
                      <a:pt x="1089" y="681"/>
                      <a:pt x="1089" y="681"/>
                    </a:cubicBezTo>
                    <a:cubicBezTo>
                      <a:pt x="1089" y="681"/>
                      <a:pt x="1081" y="660"/>
                      <a:pt x="1099" y="664"/>
                    </a:cubicBezTo>
                    <a:cubicBezTo>
                      <a:pt x="1117" y="668"/>
                      <a:pt x="1111" y="687"/>
                      <a:pt x="1115" y="698"/>
                    </a:cubicBezTo>
                    <a:cubicBezTo>
                      <a:pt x="1119" y="709"/>
                      <a:pt x="1135" y="748"/>
                      <a:pt x="1135" y="748"/>
                    </a:cubicBezTo>
                    <a:cubicBezTo>
                      <a:pt x="1149" y="760"/>
                      <a:pt x="1149" y="760"/>
                      <a:pt x="1149" y="760"/>
                    </a:cubicBezTo>
                    <a:cubicBezTo>
                      <a:pt x="1149" y="760"/>
                      <a:pt x="1148" y="752"/>
                      <a:pt x="1148" y="746"/>
                    </a:cubicBezTo>
                    <a:cubicBezTo>
                      <a:pt x="1148" y="740"/>
                      <a:pt x="1152" y="752"/>
                      <a:pt x="1161" y="750"/>
                    </a:cubicBezTo>
                    <a:cubicBezTo>
                      <a:pt x="1170" y="748"/>
                      <a:pt x="1160" y="736"/>
                      <a:pt x="1156" y="732"/>
                    </a:cubicBezTo>
                    <a:cubicBezTo>
                      <a:pt x="1152" y="728"/>
                      <a:pt x="1152" y="714"/>
                      <a:pt x="1149" y="705"/>
                    </a:cubicBezTo>
                    <a:cubicBezTo>
                      <a:pt x="1146" y="696"/>
                      <a:pt x="1163" y="694"/>
                      <a:pt x="1163" y="694"/>
                    </a:cubicBezTo>
                    <a:cubicBezTo>
                      <a:pt x="1161" y="661"/>
                      <a:pt x="1161" y="661"/>
                      <a:pt x="1161" y="661"/>
                    </a:cubicBezTo>
                    <a:cubicBezTo>
                      <a:pt x="1161" y="661"/>
                      <a:pt x="1147" y="650"/>
                      <a:pt x="1143" y="648"/>
                    </a:cubicBezTo>
                    <a:cubicBezTo>
                      <a:pt x="1139" y="646"/>
                      <a:pt x="1164" y="647"/>
                      <a:pt x="1168" y="648"/>
                    </a:cubicBezTo>
                    <a:cubicBezTo>
                      <a:pt x="1172" y="649"/>
                      <a:pt x="1197" y="653"/>
                      <a:pt x="1197" y="653"/>
                    </a:cubicBezTo>
                    <a:cubicBezTo>
                      <a:pt x="1197" y="629"/>
                      <a:pt x="1197" y="629"/>
                      <a:pt x="1197" y="629"/>
                    </a:cubicBezTo>
                    <a:cubicBezTo>
                      <a:pt x="1209" y="594"/>
                      <a:pt x="1209" y="594"/>
                      <a:pt x="1209" y="594"/>
                    </a:cubicBezTo>
                    <a:cubicBezTo>
                      <a:pt x="1209" y="594"/>
                      <a:pt x="1199" y="586"/>
                      <a:pt x="1199" y="576"/>
                    </a:cubicBezTo>
                    <a:cubicBezTo>
                      <a:pt x="1199" y="566"/>
                      <a:pt x="1213" y="562"/>
                      <a:pt x="1213" y="562"/>
                    </a:cubicBezTo>
                    <a:cubicBezTo>
                      <a:pt x="1225" y="541"/>
                      <a:pt x="1225" y="541"/>
                      <a:pt x="1225" y="541"/>
                    </a:cubicBezTo>
                    <a:cubicBezTo>
                      <a:pt x="1225" y="541"/>
                      <a:pt x="1219" y="530"/>
                      <a:pt x="1218" y="525"/>
                    </a:cubicBezTo>
                    <a:cubicBezTo>
                      <a:pt x="1217" y="520"/>
                      <a:pt x="1215" y="506"/>
                      <a:pt x="1215" y="506"/>
                    </a:cubicBezTo>
                    <a:cubicBezTo>
                      <a:pt x="1215" y="506"/>
                      <a:pt x="1226" y="501"/>
                      <a:pt x="1238" y="497"/>
                    </a:cubicBezTo>
                    <a:cubicBezTo>
                      <a:pt x="1250" y="493"/>
                      <a:pt x="1245" y="478"/>
                      <a:pt x="1253" y="476"/>
                    </a:cubicBezTo>
                    <a:cubicBezTo>
                      <a:pt x="1261" y="474"/>
                      <a:pt x="1276" y="473"/>
                      <a:pt x="1276" y="473"/>
                    </a:cubicBezTo>
                    <a:cubicBezTo>
                      <a:pt x="1276" y="473"/>
                      <a:pt x="1299" y="481"/>
                      <a:pt x="1301" y="477"/>
                    </a:cubicBezTo>
                    <a:cubicBezTo>
                      <a:pt x="1303" y="473"/>
                      <a:pt x="1280" y="463"/>
                      <a:pt x="1280" y="454"/>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05" name="Georgia">
                <a:extLst>
                  <a:ext uri="{FF2B5EF4-FFF2-40B4-BE49-F238E27FC236}">
                    <a16:creationId xmlns:a16="http://schemas.microsoft.com/office/drawing/2014/main" id="{74BDF936-942B-4460-9077-B800402F57D3}"/>
                  </a:ext>
                </a:extLst>
              </p:cNvPr>
              <p:cNvSpPr>
                <a:spLocks/>
              </p:cNvSpPr>
              <p:nvPr/>
            </p:nvSpPr>
            <p:spPr bwMode="gray">
              <a:xfrm>
                <a:off x="6600619" y="2772885"/>
                <a:ext cx="173067" cy="80926"/>
              </a:xfrm>
              <a:custGeom>
                <a:avLst/>
                <a:gdLst>
                  <a:gd name="T0" fmla="*/ 4 w 308"/>
                  <a:gd name="T1" fmla="*/ 12 h 144"/>
                  <a:gd name="T2" fmla="*/ 52 w 308"/>
                  <a:gd name="T3" fmla="*/ 37 h 144"/>
                  <a:gd name="T4" fmla="*/ 75 w 308"/>
                  <a:gd name="T5" fmla="*/ 54 h 144"/>
                  <a:gd name="T6" fmla="*/ 79 w 308"/>
                  <a:gd name="T7" fmla="*/ 85 h 144"/>
                  <a:gd name="T8" fmla="*/ 92 w 308"/>
                  <a:gd name="T9" fmla="*/ 103 h 144"/>
                  <a:gd name="T10" fmla="*/ 85 w 308"/>
                  <a:gd name="T11" fmla="*/ 110 h 144"/>
                  <a:gd name="T12" fmla="*/ 111 w 308"/>
                  <a:gd name="T13" fmla="*/ 115 h 144"/>
                  <a:gd name="T14" fmla="*/ 131 w 308"/>
                  <a:gd name="T15" fmla="*/ 108 h 144"/>
                  <a:gd name="T16" fmla="*/ 147 w 308"/>
                  <a:gd name="T17" fmla="*/ 126 h 144"/>
                  <a:gd name="T18" fmla="*/ 164 w 308"/>
                  <a:gd name="T19" fmla="*/ 126 h 144"/>
                  <a:gd name="T20" fmla="*/ 166 w 308"/>
                  <a:gd name="T21" fmla="*/ 134 h 144"/>
                  <a:gd name="T22" fmla="*/ 183 w 308"/>
                  <a:gd name="T23" fmla="*/ 133 h 144"/>
                  <a:gd name="T24" fmla="*/ 188 w 308"/>
                  <a:gd name="T25" fmla="*/ 126 h 144"/>
                  <a:gd name="T26" fmla="*/ 221 w 308"/>
                  <a:gd name="T27" fmla="*/ 130 h 144"/>
                  <a:gd name="T28" fmla="*/ 227 w 308"/>
                  <a:gd name="T29" fmla="*/ 120 h 144"/>
                  <a:gd name="T30" fmla="*/ 235 w 308"/>
                  <a:gd name="T31" fmla="*/ 123 h 144"/>
                  <a:gd name="T32" fmla="*/ 235 w 308"/>
                  <a:gd name="T33" fmla="*/ 123 h 144"/>
                  <a:gd name="T34" fmla="*/ 250 w 308"/>
                  <a:gd name="T35" fmla="*/ 112 h 144"/>
                  <a:gd name="T36" fmla="*/ 261 w 308"/>
                  <a:gd name="T37" fmla="*/ 120 h 144"/>
                  <a:gd name="T38" fmla="*/ 275 w 308"/>
                  <a:gd name="T39" fmla="*/ 130 h 144"/>
                  <a:gd name="T40" fmla="*/ 289 w 308"/>
                  <a:gd name="T41" fmla="*/ 127 h 144"/>
                  <a:gd name="T42" fmla="*/ 306 w 308"/>
                  <a:gd name="T43" fmla="*/ 134 h 144"/>
                  <a:gd name="T44" fmla="*/ 287 w 308"/>
                  <a:gd name="T45" fmla="*/ 113 h 144"/>
                  <a:gd name="T46" fmla="*/ 278 w 308"/>
                  <a:gd name="T47" fmla="*/ 97 h 144"/>
                  <a:gd name="T48" fmla="*/ 286 w 308"/>
                  <a:gd name="T49" fmla="*/ 93 h 144"/>
                  <a:gd name="T50" fmla="*/ 251 w 308"/>
                  <a:gd name="T51" fmla="*/ 75 h 144"/>
                  <a:gd name="T52" fmla="*/ 256 w 308"/>
                  <a:gd name="T53" fmla="*/ 58 h 144"/>
                  <a:gd name="T54" fmla="*/ 236 w 308"/>
                  <a:gd name="T55" fmla="*/ 55 h 144"/>
                  <a:gd name="T56" fmla="*/ 208 w 308"/>
                  <a:gd name="T57" fmla="*/ 42 h 144"/>
                  <a:gd name="T58" fmla="*/ 179 w 308"/>
                  <a:gd name="T59" fmla="*/ 53 h 144"/>
                  <a:gd name="T60" fmla="*/ 160 w 308"/>
                  <a:gd name="T61" fmla="*/ 42 h 144"/>
                  <a:gd name="T62" fmla="*/ 128 w 308"/>
                  <a:gd name="T63" fmla="*/ 22 h 144"/>
                  <a:gd name="T64" fmla="*/ 95 w 308"/>
                  <a:gd name="T65" fmla="*/ 18 h 144"/>
                  <a:gd name="T66" fmla="*/ 54 w 308"/>
                  <a:gd name="T67" fmla="*/ 10 h 144"/>
                  <a:gd name="T68" fmla="*/ 13 w 308"/>
                  <a:gd name="T69" fmla="*/ 0 h 144"/>
                  <a:gd name="T70" fmla="*/ 0 w 308"/>
                  <a:gd name="T71" fmla="*/ 11 h 144"/>
                  <a:gd name="T72" fmla="*/ 4 w 308"/>
                  <a:gd name="T7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44">
                    <a:moveTo>
                      <a:pt x="4" y="12"/>
                    </a:moveTo>
                    <a:cubicBezTo>
                      <a:pt x="4" y="12"/>
                      <a:pt x="44" y="34"/>
                      <a:pt x="52" y="37"/>
                    </a:cubicBezTo>
                    <a:cubicBezTo>
                      <a:pt x="60" y="40"/>
                      <a:pt x="75" y="54"/>
                      <a:pt x="75" y="54"/>
                    </a:cubicBezTo>
                    <a:cubicBezTo>
                      <a:pt x="75" y="54"/>
                      <a:pt x="79" y="82"/>
                      <a:pt x="79" y="85"/>
                    </a:cubicBezTo>
                    <a:cubicBezTo>
                      <a:pt x="79" y="88"/>
                      <a:pt x="92" y="103"/>
                      <a:pt x="92" y="103"/>
                    </a:cubicBezTo>
                    <a:cubicBezTo>
                      <a:pt x="92" y="103"/>
                      <a:pt x="90" y="105"/>
                      <a:pt x="85" y="110"/>
                    </a:cubicBezTo>
                    <a:cubicBezTo>
                      <a:pt x="111" y="115"/>
                      <a:pt x="111" y="115"/>
                      <a:pt x="111" y="115"/>
                    </a:cubicBezTo>
                    <a:cubicBezTo>
                      <a:pt x="111" y="115"/>
                      <a:pt x="117" y="105"/>
                      <a:pt x="131" y="108"/>
                    </a:cubicBezTo>
                    <a:cubicBezTo>
                      <a:pt x="145" y="111"/>
                      <a:pt x="147" y="126"/>
                      <a:pt x="147" y="126"/>
                    </a:cubicBezTo>
                    <a:cubicBezTo>
                      <a:pt x="164" y="126"/>
                      <a:pt x="164" y="126"/>
                      <a:pt x="164" y="126"/>
                    </a:cubicBezTo>
                    <a:cubicBezTo>
                      <a:pt x="164" y="126"/>
                      <a:pt x="165" y="129"/>
                      <a:pt x="166" y="134"/>
                    </a:cubicBezTo>
                    <a:cubicBezTo>
                      <a:pt x="183" y="133"/>
                      <a:pt x="183" y="133"/>
                      <a:pt x="183" y="133"/>
                    </a:cubicBezTo>
                    <a:cubicBezTo>
                      <a:pt x="188" y="126"/>
                      <a:pt x="188" y="126"/>
                      <a:pt x="188" y="126"/>
                    </a:cubicBezTo>
                    <a:cubicBezTo>
                      <a:pt x="221" y="130"/>
                      <a:pt x="221" y="130"/>
                      <a:pt x="221" y="130"/>
                    </a:cubicBezTo>
                    <a:cubicBezTo>
                      <a:pt x="221" y="130"/>
                      <a:pt x="224" y="120"/>
                      <a:pt x="227" y="120"/>
                    </a:cubicBezTo>
                    <a:cubicBezTo>
                      <a:pt x="228" y="120"/>
                      <a:pt x="232" y="121"/>
                      <a:pt x="235" y="123"/>
                    </a:cubicBezTo>
                    <a:cubicBezTo>
                      <a:pt x="235" y="123"/>
                      <a:pt x="235" y="123"/>
                      <a:pt x="235" y="123"/>
                    </a:cubicBezTo>
                    <a:cubicBezTo>
                      <a:pt x="236" y="119"/>
                      <a:pt x="240" y="111"/>
                      <a:pt x="250" y="112"/>
                    </a:cubicBezTo>
                    <a:cubicBezTo>
                      <a:pt x="263" y="113"/>
                      <a:pt x="261" y="120"/>
                      <a:pt x="261" y="120"/>
                    </a:cubicBezTo>
                    <a:cubicBezTo>
                      <a:pt x="275" y="130"/>
                      <a:pt x="275" y="130"/>
                      <a:pt x="275" y="130"/>
                    </a:cubicBezTo>
                    <a:cubicBezTo>
                      <a:pt x="275" y="130"/>
                      <a:pt x="286" y="127"/>
                      <a:pt x="289" y="127"/>
                    </a:cubicBezTo>
                    <a:cubicBezTo>
                      <a:pt x="292" y="127"/>
                      <a:pt x="304" y="144"/>
                      <a:pt x="306" y="134"/>
                    </a:cubicBezTo>
                    <a:cubicBezTo>
                      <a:pt x="308" y="124"/>
                      <a:pt x="287" y="113"/>
                      <a:pt x="287" y="113"/>
                    </a:cubicBezTo>
                    <a:cubicBezTo>
                      <a:pt x="287" y="113"/>
                      <a:pt x="272" y="102"/>
                      <a:pt x="278" y="97"/>
                    </a:cubicBezTo>
                    <a:cubicBezTo>
                      <a:pt x="280" y="95"/>
                      <a:pt x="283" y="94"/>
                      <a:pt x="286" y="93"/>
                    </a:cubicBezTo>
                    <a:cubicBezTo>
                      <a:pt x="279" y="86"/>
                      <a:pt x="268" y="76"/>
                      <a:pt x="251" y="75"/>
                    </a:cubicBezTo>
                    <a:cubicBezTo>
                      <a:pt x="251" y="76"/>
                      <a:pt x="256" y="58"/>
                      <a:pt x="256" y="58"/>
                    </a:cubicBezTo>
                    <a:cubicBezTo>
                      <a:pt x="236" y="55"/>
                      <a:pt x="236" y="55"/>
                      <a:pt x="236" y="55"/>
                    </a:cubicBezTo>
                    <a:cubicBezTo>
                      <a:pt x="236" y="55"/>
                      <a:pt x="226" y="40"/>
                      <a:pt x="208" y="42"/>
                    </a:cubicBezTo>
                    <a:cubicBezTo>
                      <a:pt x="190" y="44"/>
                      <a:pt x="198" y="53"/>
                      <a:pt x="179" y="53"/>
                    </a:cubicBezTo>
                    <a:cubicBezTo>
                      <a:pt x="160" y="53"/>
                      <a:pt x="160" y="42"/>
                      <a:pt x="160" y="42"/>
                    </a:cubicBezTo>
                    <a:cubicBezTo>
                      <a:pt x="128" y="22"/>
                      <a:pt x="128" y="22"/>
                      <a:pt x="128" y="22"/>
                    </a:cubicBezTo>
                    <a:cubicBezTo>
                      <a:pt x="128" y="22"/>
                      <a:pt x="108" y="17"/>
                      <a:pt x="95" y="18"/>
                    </a:cubicBezTo>
                    <a:cubicBezTo>
                      <a:pt x="82" y="19"/>
                      <a:pt x="70" y="17"/>
                      <a:pt x="54" y="10"/>
                    </a:cubicBezTo>
                    <a:cubicBezTo>
                      <a:pt x="38" y="3"/>
                      <a:pt x="13" y="0"/>
                      <a:pt x="13" y="0"/>
                    </a:cubicBezTo>
                    <a:cubicBezTo>
                      <a:pt x="0" y="11"/>
                      <a:pt x="0" y="11"/>
                      <a:pt x="0" y="11"/>
                    </a:cubicBezTo>
                    <a:cubicBezTo>
                      <a:pt x="3" y="12"/>
                      <a:pt x="4" y="12"/>
                      <a:pt x="4" y="12"/>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06" name="Djibouti">
                <a:extLst>
                  <a:ext uri="{FF2B5EF4-FFF2-40B4-BE49-F238E27FC236}">
                    <a16:creationId xmlns:a16="http://schemas.microsoft.com/office/drawing/2014/main" id="{8AA12993-6D9E-484C-9053-A1005E5D4AC3}"/>
                  </a:ext>
                </a:extLst>
              </p:cNvPr>
              <p:cNvSpPr>
                <a:spLocks/>
              </p:cNvSpPr>
              <p:nvPr/>
            </p:nvSpPr>
            <p:spPr bwMode="gray">
              <a:xfrm>
                <a:off x="6716526" y="3701141"/>
                <a:ext cx="47633" cy="52364"/>
              </a:xfrm>
              <a:custGeom>
                <a:avLst/>
                <a:gdLst>
                  <a:gd name="T0" fmla="*/ 47 w 85"/>
                  <a:gd name="T1" fmla="*/ 18 h 95"/>
                  <a:gd name="T2" fmla="*/ 31 w 85"/>
                  <a:gd name="T3" fmla="*/ 8 h 95"/>
                  <a:gd name="T4" fmla="*/ 13 w 85"/>
                  <a:gd name="T5" fmla="*/ 47 h 95"/>
                  <a:gd name="T6" fmla="*/ 0 w 85"/>
                  <a:gd name="T7" fmla="*/ 56 h 95"/>
                  <a:gd name="T8" fmla="*/ 11 w 85"/>
                  <a:gd name="T9" fmla="*/ 94 h 95"/>
                  <a:gd name="T10" fmla="*/ 36 w 85"/>
                  <a:gd name="T11" fmla="*/ 91 h 95"/>
                  <a:gd name="T12" fmla="*/ 46 w 85"/>
                  <a:gd name="T13" fmla="*/ 84 h 95"/>
                  <a:gd name="T14" fmla="*/ 59 w 85"/>
                  <a:gd name="T15" fmla="*/ 93 h 95"/>
                  <a:gd name="T16" fmla="*/ 60 w 85"/>
                  <a:gd name="T17" fmla="*/ 91 h 95"/>
                  <a:gd name="T18" fmla="*/ 75 w 85"/>
                  <a:gd name="T19" fmla="*/ 71 h 95"/>
                  <a:gd name="T20" fmla="*/ 74 w 85"/>
                  <a:gd name="T21" fmla="*/ 71 h 95"/>
                  <a:gd name="T22" fmla="*/ 67 w 85"/>
                  <a:gd name="T23" fmla="*/ 61 h 95"/>
                  <a:gd name="T24" fmla="*/ 44 w 85"/>
                  <a:gd name="T25" fmla="*/ 63 h 95"/>
                  <a:gd name="T26" fmla="*/ 76 w 85"/>
                  <a:gd name="T27" fmla="*/ 17 h 95"/>
                  <a:gd name="T28" fmla="*/ 63 w 85"/>
                  <a:gd name="T29" fmla="*/ 0 h 95"/>
                  <a:gd name="T30" fmla="*/ 54 w 85"/>
                  <a:gd name="T31" fmla="*/ 6 h 95"/>
                  <a:gd name="T32" fmla="*/ 47 w 85"/>
                  <a:gd name="T33"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95">
                    <a:moveTo>
                      <a:pt x="47" y="18"/>
                    </a:moveTo>
                    <a:cubicBezTo>
                      <a:pt x="31" y="8"/>
                      <a:pt x="31" y="8"/>
                      <a:pt x="31" y="8"/>
                    </a:cubicBezTo>
                    <a:cubicBezTo>
                      <a:pt x="13" y="47"/>
                      <a:pt x="13" y="47"/>
                      <a:pt x="13" y="47"/>
                    </a:cubicBezTo>
                    <a:cubicBezTo>
                      <a:pt x="0" y="56"/>
                      <a:pt x="0" y="56"/>
                      <a:pt x="0" y="56"/>
                    </a:cubicBezTo>
                    <a:cubicBezTo>
                      <a:pt x="0" y="56"/>
                      <a:pt x="3" y="93"/>
                      <a:pt x="11" y="94"/>
                    </a:cubicBezTo>
                    <a:cubicBezTo>
                      <a:pt x="19" y="95"/>
                      <a:pt x="36" y="91"/>
                      <a:pt x="36" y="91"/>
                    </a:cubicBezTo>
                    <a:cubicBezTo>
                      <a:pt x="36" y="91"/>
                      <a:pt x="39" y="83"/>
                      <a:pt x="46" y="84"/>
                    </a:cubicBezTo>
                    <a:cubicBezTo>
                      <a:pt x="50" y="85"/>
                      <a:pt x="55" y="89"/>
                      <a:pt x="59" y="93"/>
                    </a:cubicBezTo>
                    <a:cubicBezTo>
                      <a:pt x="60" y="91"/>
                      <a:pt x="60" y="91"/>
                      <a:pt x="60" y="91"/>
                    </a:cubicBezTo>
                    <a:cubicBezTo>
                      <a:pt x="75" y="71"/>
                      <a:pt x="75" y="71"/>
                      <a:pt x="75" y="71"/>
                    </a:cubicBezTo>
                    <a:cubicBezTo>
                      <a:pt x="74" y="71"/>
                      <a:pt x="74" y="71"/>
                      <a:pt x="74" y="71"/>
                    </a:cubicBezTo>
                    <a:cubicBezTo>
                      <a:pt x="67" y="61"/>
                      <a:pt x="67" y="61"/>
                      <a:pt x="67" y="61"/>
                    </a:cubicBezTo>
                    <a:cubicBezTo>
                      <a:pt x="44" y="63"/>
                      <a:pt x="44" y="63"/>
                      <a:pt x="44" y="63"/>
                    </a:cubicBezTo>
                    <a:cubicBezTo>
                      <a:pt x="44" y="63"/>
                      <a:pt x="85" y="30"/>
                      <a:pt x="76" y="17"/>
                    </a:cubicBezTo>
                    <a:cubicBezTo>
                      <a:pt x="73" y="12"/>
                      <a:pt x="68" y="6"/>
                      <a:pt x="63" y="0"/>
                    </a:cubicBezTo>
                    <a:cubicBezTo>
                      <a:pt x="54" y="6"/>
                      <a:pt x="54" y="6"/>
                      <a:pt x="54" y="6"/>
                    </a:cubicBezTo>
                    <a:lnTo>
                      <a:pt x="47" y="18"/>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07" name="China">
                <a:extLst>
                  <a:ext uri="{FF2B5EF4-FFF2-40B4-BE49-F238E27FC236}">
                    <a16:creationId xmlns:a16="http://schemas.microsoft.com/office/drawing/2014/main" id="{FB8E6CC9-0906-4731-93AF-022930AB8A37}"/>
                  </a:ext>
                </a:extLst>
              </p:cNvPr>
              <p:cNvSpPr>
                <a:spLocks noEditPoints="1"/>
              </p:cNvSpPr>
              <p:nvPr/>
            </p:nvSpPr>
            <p:spPr bwMode="gray">
              <a:xfrm>
                <a:off x="7442141" y="2479332"/>
                <a:ext cx="1367074" cy="1053613"/>
              </a:xfrm>
              <a:custGeom>
                <a:avLst/>
                <a:gdLst>
                  <a:gd name="T0" fmla="*/ 1905 w 2441"/>
                  <a:gd name="T1" fmla="*/ 1857 h 1882"/>
                  <a:gd name="T2" fmla="*/ 2423 w 2441"/>
                  <a:gd name="T3" fmla="*/ 352 h 1882"/>
                  <a:gd name="T4" fmla="*/ 2365 w 2441"/>
                  <a:gd name="T5" fmla="*/ 288 h 1882"/>
                  <a:gd name="T6" fmla="*/ 2248 w 2441"/>
                  <a:gd name="T7" fmla="*/ 288 h 1882"/>
                  <a:gd name="T8" fmla="*/ 2077 w 2441"/>
                  <a:gd name="T9" fmla="*/ 209 h 1882"/>
                  <a:gd name="T10" fmla="*/ 1934 w 2441"/>
                  <a:gd name="T11" fmla="*/ 76 h 1882"/>
                  <a:gd name="T12" fmla="*/ 1769 w 2441"/>
                  <a:gd name="T13" fmla="*/ 0 h 1882"/>
                  <a:gd name="T14" fmla="*/ 1704 w 2441"/>
                  <a:gd name="T15" fmla="*/ 80 h 1882"/>
                  <a:gd name="T16" fmla="*/ 1653 w 2441"/>
                  <a:gd name="T17" fmla="*/ 209 h 1882"/>
                  <a:gd name="T18" fmla="*/ 1639 w 2441"/>
                  <a:gd name="T19" fmla="*/ 310 h 1882"/>
                  <a:gd name="T20" fmla="*/ 1786 w 2441"/>
                  <a:gd name="T21" fmla="*/ 322 h 1882"/>
                  <a:gd name="T22" fmla="*/ 1753 w 2441"/>
                  <a:gd name="T23" fmla="*/ 371 h 1882"/>
                  <a:gd name="T24" fmla="*/ 1627 w 2441"/>
                  <a:gd name="T25" fmla="*/ 462 h 1882"/>
                  <a:gd name="T26" fmla="*/ 1536 w 2441"/>
                  <a:gd name="T27" fmla="*/ 569 h 1882"/>
                  <a:gd name="T28" fmla="*/ 1228 w 2441"/>
                  <a:gd name="T29" fmla="*/ 608 h 1882"/>
                  <a:gd name="T30" fmla="*/ 973 w 2441"/>
                  <a:gd name="T31" fmla="*/ 571 h 1882"/>
                  <a:gd name="T32" fmla="*/ 775 w 2441"/>
                  <a:gd name="T33" fmla="*/ 459 h 1882"/>
                  <a:gd name="T34" fmla="*/ 612 w 2441"/>
                  <a:gd name="T35" fmla="*/ 353 h 1882"/>
                  <a:gd name="T36" fmla="*/ 452 w 2441"/>
                  <a:gd name="T37" fmla="*/ 264 h 1882"/>
                  <a:gd name="T38" fmla="*/ 373 w 2441"/>
                  <a:gd name="T39" fmla="*/ 309 h 1882"/>
                  <a:gd name="T40" fmla="*/ 273 w 2441"/>
                  <a:gd name="T41" fmla="*/ 425 h 1882"/>
                  <a:gd name="T42" fmla="*/ 216 w 2441"/>
                  <a:gd name="T43" fmla="*/ 499 h 1882"/>
                  <a:gd name="T44" fmla="*/ 199 w 2441"/>
                  <a:gd name="T45" fmla="*/ 625 h 1882"/>
                  <a:gd name="T46" fmla="*/ 63 w 2441"/>
                  <a:gd name="T47" fmla="*/ 683 h 1882"/>
                  <a:gd name="T48" fmla="*/ 15 w 2441"/>
                  <a:gd name="T49" fmla="*/ 765 h 1882"/>
                  <a:gd name="T50" fmla="*/ 111 w 2441"/>
                  <a:gd name="T51" fmla="*/ 880 h 1882"/>
                  <a:gd name="T52" fmla="*/ 294 w 2441"/>
                  <a:gd name="T53" fmla="*/ 934 h 1882"/>
                  <a:gd name="T54" fmla="*/ 306 w 2441"/>
                  <a:gd name="T55" fmla="*/ 1057 h 1882"/>
                  <a:gd name="T56" fmla="*/ 316 w 2441"/>
                  <a:gd name="T57" fmla="*/ 1113 h 1882"/>
                  <a:gd name="T58" fmla="*/ 403 w 2441"/>
                  <a:gd name="T59" fmla="*/ 1210 h 1882"/>
                  <a:gd name="T60" fmla="*/ 571 w 2441"/>
                  <a:gd name="T61" fmla="*/ 1302 h 1882"/>
                  <a:gd name="T62" fmla="*/ 698 w 2441"/>
                  <a:gd name="T63" fmla="*/ 1349 h 1882"/>
                  <a:gd name="T64" fmla="*/ 894 w 2441"/>
                  <a:gd name="T65" fmla="*/ 1350 h 1882"/>
                  <a:gd name="T66" fmla="*/ 1044 w 2441"/>
                  <a:gd name="T67" fmla="*/ 1318 h 1882"/>
                  <a:gd name="T68" fmla="*/ 1161 w 2441"/>
                  <a:gd name="T69" fmla="*/ 1339 h 1882"/>
                  <a:gd name="T70" fmla="*/ 1291 w 2441"/>
                  <a:gd name="T71" fmla="*/ 1422 h 1882"/>
                  <a:gd name="T72" fmla="*/ 1261 w 2441"/>
                  <a:gd name="T73" fmla="*/ 1535 h 1882"/>
                  <a:gd name="T74" fmla="*/ 1324 w 2441"/>
                  <a:gd name="T75" fmla="*/ 1597 h 1882"/>
                  <a:gd name="T76" fmla="*/ 1400 w 2441"/>
                  <a:gd name="T77" fmla="*/ 1701 h 1882"/>
                  <a:gd name="T78" fmla="*/ 1461 w 2441"/>
                  <a:gd name="T79" fmla="*/ 1679 h 1882"/>
                  <a:gd name="T80" fmla="*/ 1554 w 2441"/>
                  <a:gd name="T81" fmla="*/ 1639 h 1882"/>
                  <a:gd name="T82" fmla="*/ 1625 w 2441"/>
                  <a:gd name="T83" fmla="*/ 1610 h 1882"/>
                  <a:gd name="T84" fmla="*/ 1698 w 2441"/>
                  <a:gd name="T85" fmla="*/ 1684 h 1882"/>
                  <a:gd name="T86" fmla="*/ 1846 w 2441"/>
                  <a:gd name="T87" fmla="*/ 1750 h 1882"/>
                  <a:gd name="T88" fmla="*/ 2036 w 2441"/>
                  <a:gd name="T89" fmla="*/ 1660 h 1882"/>
                  <a:gd name="T90" fmla="*/ 2205 w 2441"/>
                  <a:gd name="T91" fmla="*/ 1544 h 1882"/>
                  <a:gd name="T92" fmla="*/ 2274 w 2441"/>
                  <a:gd name="T93" fmla="*/ 1405 h 1882"/>
                  <a:gd name="T94" fmla="*/ 2335 w 2441"/>
                  <a:gd name="T95" fmla="*/ 1231 h 1882"/>
                  <a:gd name="T96" fmla="*/ 2240 w 2441"/>
                  <a:gd name="T97" fmla="*/ 1164 h 1882"/>
                  <a:gd name="T98" fmla="*/ 2236 w 2441"/>
                  <a:gd name="T99" fmla="*/ 1155 h 1882"/>
                  <a:gd name="T100" fmla="*/ 2157 w 2441"/>
                  <a:gd name="T101" fmla="*/ 1022 h 1882"/>
                  <a:gd name="T102" fmla="*/ 2131 w 2441"/>
                  <a:gd name="T103" fmla="*/ 897 h 1882"/>
                  <a:gd name="T104" fmla="*/ 2161 w 2441"/>
                  <a:gd name="T105" fmla="*/ 854 h 1882"/>
                  <a:gd name="T106" fmla="*/ 2004 w 2441"/>
                  <a:gd name="T107" fmla="*/ 828 h 1882"/>
                  <a:gd name="T108" fmla="*/ 1997 w 2441"/>
                  <a:gd name="T109" fmla="*/ 758 h 1882"/>
                  <a:gd name="T110" fmla="*/ 2079 w 2441"/>
                  <a:gd name="T111" fmla="*/ 665 h 1882"/>
                  <a:gd name="T112" fmla="*/ 2131 w 2441"/>
                  <a:gd name="T113" fmla="*/ 770 h 1882"/>
                  <a:gd name="T114" fmla="*/ 2292 w 2441"/>
                  <a:gd name="T115" fmla="*/ 637 h 1882"/>
                  <a:gd name="T116" fmla="*/ 2387 w 2441"/>
                  <a:gd name="T117" fmla="*/ 560 h 1882"/>
                  <a:gd name="T118" fmla="*/ 2379 w 2441"/>
                  <a:gd name="T119" fmla="*/ 455 h 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08" name="Cambodia">
                <a:extLst>
                  <a:ext uri="{FF2B5EF4-FFF2-40B4-BE49-F238E27FC236}">
                    <a16:creationId xmlns:a16="http://schemas.microsoft.com/office/drawing/2014/main" id="{BE5101A4-B120-40A1-B538-596CB9086E70}"/>
                  </a:ext>
                </a:extLst>
              </p:cNvPr>
              <p:cNvSpPr>
                <a:spLocks/>
              </p:cNvSpPr>
              <p:nvPr/>
            </p:nvSpPr>
            <p:spPr bwMode="gray">
              <a:xfrm>
                <a:off x="8315418" y="3644018"/>
                <a:ext cx="141312" cy="125355"/>
              </a:xfrm>
              <a:custGeom>
                <a:avLst/>
                <a:gdLst>
                  <a:gd name="T0" fmla="*/ 214 w 252"/>
                  <a:gd name="T1" fmla="*/ 0 h 224"/>
                  <a:gd name="T2" fmla="*/ 206 w 252"/>
                  <a:gd name="T3" fmla="*/ 9 h 224"/>
                  <a:gd name="T4" fmla="*/ 184 w 252"/>
                  <a:gd name="T5" fmla="*/ 0 h 224"/>
                  <a:gd name="T6" fmla="*/ 175 w 252"/>
                  <a:gd name="T7" fmla="*/ 8 h 224"/>
                  <a:gd name="T8" fmla="*/ 164 w 252"/>
                  <a:gd name="T9" fmla="*/ 16 h 224"/>
                  <a:gd name="T10" fmla="*/ 168 w 252"/>
                  <a:gd name="T11" fmla="*/ 36 h 224"/>
                  <a:gd name="T12" fmla="*/ 151 w 252"/>
                  <a:gd name="T13" fmla="*/ 24 h 224"/>
                  <a:gd name="T14" fmla="*/ 131 w 252"/>
                  <a:gd name="T15" fmla="*/ 22 h 224"/>
                  <a:gd name="T16" fmla="*/ 128 w 252"/>
                  <a:gd name="T17" fmla="*/ 13 h 224"/>
                  <a:gd name="T18" fmla="*/ 123 w 252"/>
                  <a:gd name="T19" fmla="*/ 16 h 224"/>
                  <a:gd name="T20" fmla="*/ 101 w 252"/>
                  <a:gd name="T21" fmla="*/ 8 h 224"/>
                  <a:gd name="T22" fmla="*/ 74 w 252"/>
                  <a:gd name="T23" fmla="*/ 15 h 224"/>
                  <a:gd name="T24" fmla="*/ 46 w 252"/>
                  <a:gd name="T25" fmla="*/ 10 h 224"/>
                  <a:gd name="T26" fmla="*/ 19 w 252"/>
                  <a:gd name="T27" fmla="*/ 34 h 224"/>
                  <a:gd name="T28" fmla="*/ 0 w 252"/>
                  <a:gd name="T29" fmla="*/ 54 h 224"/>
                  <a:gd name="T30" fmla="*/ 2 w 252"/>
                  <a:gd name="T31" fmla="*/ 79 h 224"/>
                  <a:gd name="T32" fmla="*/ 9 w 252"/>
                  <a:gd name="T33" fmla="*/ 85 h 224"/>
                  <a:gd name="T34" fmla="*/ 9 w 252"/>
                  <a:gd name="T35" fmla="*/ 104 h 224"/>
                  <a:gd name="T36" fmla="*/ 20 w 252"/>
                  <a:gd name="T37" fmla="*/ 114 h 224"/>
                  <a:gd name="T38" fmla="*/ 17 w 252"/>
                  <a:gd name="T39" fmla="*/ 133 h 224"/>
                  <a:gd name="T40" fmla="*/ 26 w 252"/>
                  <a:gd name="T41" fmla="*/ 139 h 224"/>
                  <a:gd name="T42" fmla="*/ 27 w 252"/>
                  <a:gd name="T43" fmla="*/ 168 h 224"/>
                  <a:gd name="T44" fmla="*/ 46 w 252"/>
                  <a:gd name="T45" fmla="*/ 191 h 224"/>
                  <a:gd name="T46" fmla="*/ 59 w 252"/>
                  <a:gd name="T47" fmla="*/ 178 h 224"/>
                  <a:gd name="T48" fmla="*/ 68 w 252"/>
                  <a:gd name="T49" fmla="*/ 204 h 224"/>
                  <a:gd name="T50" fmla="*/ 91 w 252"/>
                  <a:gd name="T51" fmla="*/ 208 h 224"/>
                  <a:gd name="T52" fmla="*/ 97 w 252"/>
                  <a:gd name="T53" fmla="*/ 223 h 224"/>
                  <a:gd name="T54" fmla="*/ 110 w 252"/>
                  <a:gd name="T55" fmla="*/ 224 h 224"/>
                  <a:gd name="T56" fmla="*/ 139 w 252"/>
                  <a:gd name="T57" fmla="*/ 213 h 224"/>
                  <a:gd name="T58" fmla="*/ 135 w 252"/>
                  <a:gd name="T59" fmla="*/ 197 h 224"/>
                  <a:gd name="T60" fmla="*/ 153 w 252"/>
                  <a:gd name="T61" fmla="*/ 197 h 224"/>
                  <a:gd name="T62" fmla="*/ 169 w 252"/>
                  <a:gd name="T63" fmla="*/ 190 h 224"/>
                  <a:gd name="T64" fmla="*/ 193 w 252"/>
                  <a:gd name="T65" fmla="*/ 205 h 224"/>
                  <a:gd name="T66" fmla="*/ 183 w 252"/>
                  <a:gd name="T67" fmla="*/ 186 h 224"/>
                  <a:gd name="T68" fmla="*/ 175 w 252"/>
                  <a:gd name="T69" fmla="*/ 154 h 224"/>
                  <a:gd name="T70" fmla="*/ 204 w 252"/>
                  <a:gd name="T71" fmla="*/ 152 h 224"/>
                  <a:gd name="T72" fmla="*/ 201 w 252"/>
                  <a:gd name="T73" fmla="*/ 138 h 224"/>
                  <a:gd name="T74" fmla="*/ 222 w 252"/>
                  <a:gd name="T75" fmla="*/ 137 h 224"/>
                  <a:gd name="T76" fmla="*/ 228 w 252"/>
                  <a:gd name="T77" fmla="*/ 123 h 224"/>
                  <a:gd name="T78" fmla="*/ 245 w 252"/>
                  <a:gd name="T79" fmla="*/ 125 h 224"/>
                  <a:gd name="T80" fmla="*/ 248 w 252"/>
                  <a:gd name="T81" fmla="*/ 111 h 224"/>
                  <a:gd name="T82" fmla="*/ 237 w 252"/>
                  <a:gd name="T83" fmla="*/ 72 h 224"/>
                  <a:gd name="T84" fmla="*/ 252 w 252"/>
                  <a:gd name="T85" fmla="*/ 56 h 224"/>
                  <a:gd name="T86" fmla="*/ 231 w 252"/>
                  <a:gd name="T87" fmla="*/ 32 h 224"/>
                  <a:gd name="T88" fmla="*/ 231 w 252"/>
                  <a:gd name="T89" fmla="*/ 4 h 224"/>
                  <a:gd name="T90" fmla="*/ 214 w 252"/>
                  <a:gd name="T91"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2" h="224">
                    <a:moveTo>
                      <a:pt x="214" y="0"/>
                    </a:moveTo>
                    <a:cubicBezTo>
                      <a:pt x="206" y="9"/>
                      <a:pt x="206" y="9"/>
                      <a:pt x="206" y="9"/>
                    </a:cubicBezTo>
                    <a:cubicBezTo>
                      <a:pt x="184" y="0"/>
                      <a:pt x="184" y="0"/>
                      <a:pt x="184" y="0"/>
                    </a:cubicBezTo>
                    <a:cubicBezTo>
                      <a:pt x="175" y="8"/>
                      <a:pt x="175" y="8"/>
                      <a:pt x="175" y="8"/>
                    </a:cubicBezTo>
                    <a:cubicBezTo>
                      <a:pt x="164" y="16"/>
                      <a:pt x="164" y="16"/>
                      <a:pt x="164" y="16"/>
                    </a:cubicBezTo>
                    <a:cubicBezTo>
                      <a:pt x="164" y="16"/>
                      <a:pt x="176" y="28"/>
                      <a:pt x="168" y="36"/>
                    </a:cubicBezTo>
                    <a:cubicBezTo>
                      <a:pt x="160" y="44"/>
                      <a:pt x="151" y="24"/>
                      <a:pt x="151" y="24"/>
                    </a:cubicBezTo>
                    <a:cubicBezTo>
                      <a:pt x="151" y="24"/>
                      <a:pt x="135" y="23"/>
                      <a:pt x="131" y="22"/>
                    </a:cubicBezTo>
                    <a:cubicBezTo>
                      <a:pt x="128" y="21"/>
                      <a:pt x="128" y="16"/>
                      <a:pt x="128" y="13"/>
                    </a:cubicBezTo>
                    <a:cubicBezTo>
                      <a:pt x="125" y="15"/>
                      <a:pt x="123" y="16"/>
                      <a:pt x="123" y="16"/>
                    </a:cubicBezTo>
                    <a:cubicBezTo>
                      <a:pt x="123" y="16"/>
                      <a:pt x="106" y="7"/>
                      <a:pt x="101" y="8"/>
                    </a:cubicBezTo>
                    <a:cubicBezTo>
                      <a:pt x="96" y="9"/>
                      <a:pt x="74" y="15"/>
                      <a:pt x="74" y="15"/>
                    </a:cubicBezTo>
                    <a:cubicBezTo>
                      <a:pt x="74" y="15"/>
                      <a:pt x="73" y="5"/>
                      <a:pt x="46" y="10"/>
                    </a:cubicBezTo>
                    <a:cubicBezTo>
                      <a:pt x="19" y="15"/>
                      <a:pt x="19" y="34"/>
                      <a:pt x="19" y="34"/>
                    </a:cubicBezTo>
                    <a:cubicBezTo>
                      <a:pt x="0" y="54"/>
                      <a:pt x="0" y="54"/>
                      <a:pt x="0" y="54"/>
                    </a:cubicBezTo>
                    <a:cubicBezTo>
                      <a:pt x="2" y="79"/>
                      <a:pt x="2" y="79"/>
                      <a:pt x="2" y="79"/>
                    </a:cubicBezTo>
                    <a:cubicBezTo>
                      <a:pt x="9" y="85"/>
                      <a:pt x="9" y="85"/>
                      <a:pt x="9" y="85"/>
                    </a:cubicBezTo>
                    <a:cubicBezTo>
                      <a:pt x="9" y="104"/>
                      <a:pt x="9" y="104"/>
                      <a:pt x="9" y="104"/>
                    </a:cubicBezTo>
                    <a:cubicBezTo>
                      <a:pt x="20" y="114"/>
                      <a:pt x="20" y="114"/>
                      <a:pt x="20" y="114"/>
                    </a:cubicBezTo>
                    <a:cubicBezTo>
                      <a:pt x="17" y="133"/>
                      <a:pt x="17" y="133"/>
                      <a:pt x="17" y="133"/>
                    </a:cubicBezTo>
                    <a:cubicBezTo>
                      <a:pt x="20" y="134"/>
                      <a:pt x="23" y="136"/>
                      <a:pt x="26" y="139"/>
                    </a:cubicBezTo>
                    <a:cubicBezTo>
                      <a:pt x="41" y="156"/>
                      <a:pt x="27" y="168"/>
                      <a:pt x="27" y="168"/>
                    </a:cubicBezTo>
                    <a:cubicBezTo>
                      <a:pt x="27" y="168"/>
                      <a:pt x="36" y="190"/>
                      <a:pt x="46" y="191"/>
                    </a:cubicBezTo>
                    <a:cubicBezTo>
                      <a:pt x="56" y="191"/>
                      <a:pt x="59" y="178"/>
                      <a:pt x="59" y="178"/>
                    </a:cubicBezTo>
                    <a:cubicBezTo>
                      <a:pt x="59" y="178"/>
                      <a:pt x="58" y="202"/>
                      <a:pt x="68" y="204"/>
                    </a:cubicBezTo>
                    <a:cubicBezTo>
                      <a:pt x="79" y="206"/>
                      <a:pt x="89" y="198"/>
                      <a:pt x="91" y="208"/>
                    </a:cubicBezTo>
                    <a:cubicBezTo>
                      <a:pt x="92" y="212"/>
                      <a:pt x="95" y="218"/>
                      <a:pt x="97" y="223"/>
                    </a:cubicBezTo>
                    <a:cubicBezTo>
                      <a:pt x="110" y="224"/>
                      <a:pt x="110" y="224"/>
                      <a:pt x="110" y="224"/>
                    </a:cubicBezTo>
                    <a:cubicBezTo>
                      <a:pt x="112" y="219"/>
                      <a:pt x="124" y="214"/>
                      <a:pt x="139" y="213"/>
                    </a:cubicBezTo>
                    <a:cubicBezTo>
                      <a:pt x="159" y="211"/>
                      <a:pt x="135" y="197"/>
                      <a:pt x="135" y="197"/>
                    </a:cubicBezTo>
                    <a:cubicBezTo>
                      <a:pt x="135" y="197"/>
                      <a:pt x="149" y="197"/>
                      <a:pt x="153" y="197"/>
                    </a:cubicBezTo>
                    <a:cubicBezTo>
                      <a:pt x="157" y="197"/>
                      <a:pt x="159" y="190"/>
                      <a:pt x="169" y="190"/>
                    </a:cubicBezTo>
                    <a:cubicBezTo>
                      <a:pt x="179" y="190"/>
                      <a:pt x="186" y="206"/>
                      <a:pt x="193" y="205"/>
                    </a:cubicBezTo>
                    <a:cubicBezTo>
                      <a:pt x="200" y="204"/>
                      <a:pt x="193" y="194"/>
                      <a:pt x="183" y="186"/>
                    </a:cubicBezTo>
                    <a:cubicBezTo>
                      <a:pt x="173" y="178"/>
                      <a:pt x="173" y="160"/>
                      <a:pt x="175" y="154"/>
                    </a:cubicBezTo>
                    <a:cubicBezTo>
                      <a:pt x="177" y="148"/>
                      <a:pt x="204" y="152"/>
                      <a:pt x="204" y="152"/>
                    </a:cubicBezTo>
                    <a:cubicBezTo>
                      <a:pt x="201" y="138"/>
                      <a:pt x="201" y="138"/>
                      <a:pt x="201" y="138"/>
                    </a:cubicBezTo>
                    <a:cubicBezTo>
                      <a:pt x="222" y="137"/>
                      <a:pt x="222" y="137"/>
                      <a:pt x="222" y="137"/>
                    </a:cubicBezTo>
                    <a:cubicBezTo>
                      <a:pt x="222" y="137"/>
                      <a:pt x="223" y="126"/>
                      <a:pt x="228" y="123"/>
                    </a:cubicBezTo>
                    <a:cubicBezTo>
                      <a:pt x="233" y="120"/>
                      <a:pt x="245" y="125"/>
                      <a:pt x="245" y="125"/>
                    </a:cubicBezTo>
                    <a:cubicBezTo>
                      <a:pt x="248" y="111"/>
                      <a:pt x="248" y="111"/>
                      <a:pt x="248" y="111"/>
                    </a:cubicBezTo>
                    <a:cubicBezTo>
                      <a:pt x="248" y="111"/>
                      <a:pt x="238" y="75"/>
                      <a:pt x="237" y="72"/>
                    </a:cubicBezTo>
                    <a:cubicBezTo>
                      <a:pt x="236" y="69"/>
                      <a:pt x="252" y="69"/>
                      <a:pt x="252" y="56"/>
                    </a:cubicBezTo>
                    <a:cubicBezTo>
                      <a:pt x="252" y="43"/>
                      <a:pt x="231" y="32"/>
                      <a:pt x="231" y="32"/>
                    </a:cubicBezTo>
                    <a:cubicBezTo>
                      <a:pt x="231" y="4"/>
                      <a:pt x="231" y="4"/>
                      <a:pt x="231" y="4"/>
                    </a:cubicBezTo>
                    <a:lnTo>
                      <a:pt x="214" y="0"/>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09" name="Bhutan">
                <a:extLst>
                  <a:ext uri="{FF2B5EF4-FFF2-40B4-BE49-F238E27FC236}">
                    <a16:creationId xmlns:a16="http://schemas.microsoft.com/office/drawing/2014/main" id="{E9414CC9-1FAC-47ED-BB76-B88DB683E6E9}"/>
                  </a:ext>
                </a:extLst>
              </p:cNvPr>
              <p:cNvSpPr>
                <a:spLocks/>
              </p:cNvSpPr>
              <p:nvPr/>
            </p:nvSpPr>
            <p:spPr bwMode="gray">
              <a:xfrm>
                <a:off x="7897832" y="3228285"/>
                <a:ext cx="98442" cy="52364"/>
              </a:xfrm>
              <a:custGeom>
                <a:avLst/>
                <a:gdLst>
                  <a:gd name="T0" fmla="*/ 66 w 176"/>
                  <a:gd name="T1" fmla="*/ 92 h 93"/>
                  <a:gd name="T2" fmla="*/ 88 w 176"/>
                  <a:gd name="T3" fmla="*/ 84 h 93"/>
                  <a:gd name="T4" fmla="*/ 113 w 176"/>
                  <a:gd name="T5" fmla="*/ 90 h 93"/>
                  <a:gd name="T6" fmla="*/ 139 w 176"/>
                  <a:gd name="T7" fmla="*/ 86 h 93"/>
                  <a:gd name="T8" fmla="*/ 162 w 176"/>
                  <a:gd name="T9" fmla="*/ 86 h 93"/>
                  <a:gd name="T10" fmla="*/ 161 w 176"/>
                  <a:gd name="T11" fmla="*/ 68 h 93"/>
                  <a:gd name="T12" fmla="*/ 161 w 176"/>
                  <a:gd name="T13" fmla="*/ 54 h 93"/>
                  <a:gd name="T14" fmla="*/ 140 w 176"/>
                  <a:gd name="T15" fmla="*/ 48 h 93"/>
                  <a:gd name="T16" fmla="*/ 142 w 176"/>
                  <a:gd name="T17" fmla="*/ 39 h 93"/>
                  <a:gd name="T18" fmla="*/ 129 w 176"/>
                  <a:gd name="T19" fmla="*/ 18 h 93"/>
                  <a:gd name="T20" fmla="*/ 80 w 176"/>
                  <a:gd name="T21" fmla="*/ 25 h 93"/>
                  <a:gd name="T22" fmla="*/ 80 w 176"/>
                  <a:gd name="T23" fmla="*/ 11 h 93"/>
                  <a:gd name="T24" fmla="*/ 56 w 176"/>
                  <a:gd name="T25" fmla="*/ 5 h 93"/>
                  <a:gd name="T26" fmla="*/ 18 w 176"/>
                  <a:gd name="T27" fmla="*/ 56 h 93"/>
                  <a:gd name="T28" fmla="*/ 23 w 176"/>
                  <a:gd name="T29" fmla="*/ 76 h 93"/>
                  <a:gd name="T30" fmla="*/ 50 w 176"/>
                  <a:gd name="T31" fmla="*/ 81 h 93"/>
                  <a:gd name="T32" fmla="*/ 66 w 176"/>
                  <a:gd name="T33"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 h="93">
                    <a:moveTo>
                      <a:pt x="66" y="92"/>
                    </a:moveTo>
                    <a:cubicBezTo>
                      <a:pt x="85" y="92"/>
                      <a:pt x="79" y="84"/>
                      <a:pt x="88" y="84"/>
                    </a:cubicBezTo>
                    <a:cubicBezTo>
                      <a:pt x="97" y="84"/>
                      <a:pt x="95" y="90"/>
                      <a:pt x="113" y="90"/>
                    </a:cubicBezTo>
                    <a:cubicBezTo>
                      <a:pt x="131" y="90"/>
                      <a:pt x="139" y="86"/>
                      <a:pt x="139" y="86"/>
                    </a:cubicBezTo>
                    <a:cubicBezTo>
                      <a:pt x="139" y="86"/>
                      <a:pt x="148" y="93"/>
                      <a:pt x="162" y="86"/>
                    </a:cubicBezTo>
                    <a:cubicBezTo>
                      <a:pt x="176" y="79"/>
                      <a:pt x="161" y="68"/>
                      <a:pt x="161" y="68"/>
                    </a:cubicBezTo>
                    <a:cubicBezTo>
                      <a:pt x="161" y="54"/>
                      <a:pt x="161" y="54"/>
                      <a:pt x="161" y="54"/>
                    </a:cubicBezTo>
                    <a:cubicBezTo>
                      <a:pt x="161" y="54"/>
                      <a:pt x="144" y="55"/>
                      <a:pt x="140" y="48"/>
                    </a:cubicBezTo>
                    <a:cubicBezTo>
                      <a:pt x="136" y="41"/>
                      <a:pt x="142" y="39"/>
                      <a:pt x="142" y="39"/>
                    </a:cubicBezTo>
                    <a:cubicBezTo>
                      <a:pt x="142" y="39"/>
                      <a:pt x="142" y="29"/>
                      <a:pt x="129" y="18"/>
                    </a:cubicBezTo>
                    <a:cubicBezTo>
                      <a:pt x="116" y="7"/>
                      <a:pt x="80" y="25"/>
                      <a:pt x="80" y="25"/>
                    </a:cubicBezTo>
                    <a:cubicBezTo>
                      <a:pt x="80" y="11"/>
                      <a:pt x="80" y="11"/>
                      <a:pt x="80" y="11"/>
                    </a:cubicBezTo>
                    <a:cubicBezTo>
                      <a:pt x="80" y="11"/>
                      <a:pt x="70" y="10"/>
                      <a:pt x="56" y="5"/>
                    </a:cubicBezTo>
                    <a:cubicBezTo>
                      <a:pt x="42" y="0"/>
                      <a:pt x="18" y="56"/>
                      <a:pt x="18" y="56"/>
                    </a:cubicBezTo>
                    <a:cubicBezTo>
                      <a:pt x="18" y="56"/>
                      <a:pt x="0" y="60"/>
                      <a:pt x="23" y="76"/>
                    </a:cubicBezTo>
                    <a:cubicBezTo>
                      <a:pt x="46" y="92"/>
                      <a:pt x="50" y="81"/>
                      <a:pt x="50" y="81"/>
                    </a:cubicBezTo>
                    <a:cubicBezTo>
                      <a:pt x="50" y="81"/>
                      <a:pt x="47" y="92"/>
                      <a:pt x="66" y="92"/>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10" name="Bangladesh">
                <a:extLst>
                  <a:ext uri="{FF2B5EF4-FFF2-40B4-BE49-F238E27FC236}">
                    <a16:creationId xmlns:a16="http://schemas.microsoft.com/office/drawing/2014/main" id="{E254F1C6-F899-49BE-ADC5-8E5AC6F26F61}"/>
                  </a:ext>
                </a:extLst>
              </p:cNvPr>
              <p:cNvSpPr>
                <a:spLocks/>
              </p:cNvSpPr>
              <p:nvPr/>
            </p:nvSpPr>
            <p:spPr bwMode="gray">
              <a:xfrm>
                <a:off x="7894656" y="3283822"/>
                <a:ext cx="138136" cy="158677"/>
              </a:xfrm>
              <a:custGeom>
                <a:avLst/>
                <a:gdLst>
                  <a:gd name="T0" fmla="*/ 90 w 247"/>
                  <a:gd name="T1" fmla="*/ 275 h 284"/>
                  <a:gd name="T2" fmla="*/ 92 w 247"/>
                  <a:gd name="T3" fmla="*/ 236 h 284"/>
                  <a:gd name="T4" fmla="*/ 142 w 247"/>
                  <a:gd name="T5" fmla="*/ 250 h 284"/>
                  <a:gd name="T6" fmla="*/ 143 w 247"/>
                  <a:gd name="T7" fmla="*/ 227 h 284"/>
                  <a:gd name="T8" fmla="*/ 182 w 247"/>
                  <a:gd name="T9" fmla="*/ 240 h 284"/>
                  <a:gd name="T10" fmla="*/ 190 w 247"/>
                  <a:gd name="T11" fmla="*/ 223 h 284"/>
                  <a:gd name="T12" fmla="*/ 182 w 247"/>
                  <a:gd name="T13" fmla="*/ 202 h 284"/>
                  <a:gd name="T14" fmla="*/ 213 w 247"/>
                  <a:gd name="T15" fmla="*/ 235 h 284"/>
                  <a:gd name="T16" fmla="*/ 210 w 247"/>
                  <a:gd name="T17" fmla="*/ 280 h 284"/>
                  <a:gd name="T18" fmla="*/ 222 w 247"/>
                  <a:gd name="T19" fmla="*/ 284 h 284"/>
                  <a:gd name="T20" fmla="*/ 226 w 247"/>
                  <a:gd name="T21" fmla="*/ 273 h 284"/>
                  <a:gd name="T22" fmla="*/ 247 w 247"/>
                  <a:gd name="T23" fmla="*/ 276 h 284"/>
                  <a:gd name="T24" fmla="*/ 240 w 247"/>
                  <a:gd name="T25" fmla="*/ 237 h 284"/>
                  <a:gd name="T26" fmla="*/ 220 w 247"/>
                  <a:gd name="T27" fmla="*/ 187 h 284"/>
                  <a:gd name="T28" fmla="*/ 204 w 247"/>
                  <a:gd name="T29" fmla="*/ 153 h 284"/>
                  <a:gd name="T30" fmla="*/ 194 w 247"/>
                  <a:gd name="T31" fmla="*/ 170 h 284"/>
                  <a:gd name="T32" fmla="*/ 187 w 247"/>
                  <a:gd name="T33" fmla="*/ 193 h 284"/>
                  <a:gd name="T34" fmla="*/ 178 w 247"/>
                  <a:gd name="T35" fmla="*/ 178 h 284"/>
                  <a:gd name="T36" fmla="*/ 158 w 247"/>
                  <a:gd name="T37" fmla="*/ 159 h 284"/>
                  <a:gd name="T38" fmla="*/ 168 w 247"/>
                  <a:gd name="T39" fmla="*/ 130 h 284"/>
                  <a:gd name="T40" fmla="*/ 193 w 247"/>
                  <a:gd name="T41" fmla="*/ 115 h 284"/>
                  <a:gd name="T42" fmla="*/ 196 w 247"/>
                  <a:gd name="T43" fmla="*/ 92 h 284"/>
                  <a:gd name="T44" fmla="*/ 206 w 247"/>
                  <a:gd name="T45" fmla="*/ 86 h 284"/>
                  <a:gd name="T46" fmla="*/ 184 w 247"/>
                  <a:gd name="T47" fmla="*/ 68 h 284"/>
                  <a:gd name="T48" fmla="*/ 154 w 247"/>
                  <a:gd name="T49" fmla="*/ 79 h 284"/>
                  <a:gd name="T50" fmla="*/ 113 w 247"/>
                  <a:gd name="T51" fmla="*/ 75 h 284"/>
                  <a:gd name="T52" fmla="*/ 86 w 247"/>
                  <a:gd name="T53" fmla="*/ 69 h 284"/>
                  <a:gd name="T54" fmla="*/ 85 w 247"/>
                  <a:gd name="T55" fmla="*/ 46 h 284"/>
                  <a:gd name="T56" fmla="*/ 81 w 247"/>
                  <a:gd name="T57" fmla="*/ 44 h 284"/>
                  <a:gd name="T58" fmla="*/ 77 w 247"/>
                  <a:gd name="T59" fmla="*/ 23 h 284"/>
                  <a:gd name="T60" fmla="*/ 67 w 247"/>
                  <a:gd name="T61" fmla="*/ 17 h 284"/>
                  <a:gd name="T62" fmla="*/ 66 w 247"/>
                  <a:gd name="T63" fmla="*/ 29 h 284"/>
                  <a:gd name="T64" fmla="*/ 50 w 247"/>
                  <a:gd name="T65" fmla="*/ 21 h 284"/>
                  <a:gd name="T66" fmla="*/ 41 w 247"/>
                  <a:gd name="T67" fmla="*/ 3 h 284"/>
                  <a:gd name="T68" fmla="*/ 30 w 247"/>
                  <a:gd name="T69" fmla="*/ 4 h 284"/>
                  <a:gd name="T70" fmla="*/ 33 w 247"/>
                  <a:gd name="T71" fmla="*/ 11 h 284"/>
                  <a:gd name="T72" fmla="*/ 17 w 247"/>
                  <a:gd name="T73" fmla="*/ 3 h 284"/>
                  <a:gd name="T74" fmla="*/ 6 w 247"/>
                  <a:gd name="T75" fmla="*/ 0 h 284"/>
                  <a:gd name="T76" fmla="*/ 11 w 247"/>
                  <a:gd name="T77" fmla="*/ 12 h 284"/>
                  <a:gd name="T78" fmla="*/ 2 w 247"/>
                  <a:gd name="T79" fmla="*/ 35 h 284"/>
                  <a:gd name="T80" fmla="*/ 26 w 247"/>
                  <a:gd name="T81" fmla="*/ 54 h 284"/>
                  <a:gd name="T82" fmla="*/ 43 w 247"/>
                  <a:gd name="T83" fmla="*/ 65 h 284"/>
                  <a:gd name="T84" fmla="*/ 44 w 247"/>
                  <a:gd name="T85" fmla="*/ 73 h 284"/>
                  <a:gd name="T86" fmla="*/ 22 w 247"/>
                  <a:gd name="T87" fmla="*/ 74 h 284"/>
                  <a:gd name="T88" fmla="*/ 22 w 247"/>
                  <a:gd name="T89" fmla="*/ 93 h 284"/>
                  <a:gd name="T90" fmla="*/ 13 w 247"/>
                  <a:gd name="T91" fmla="*/ 106 h 284"/>
                  <a:gd name="T92" fmla="*/ 47 w 247"/>
                  <a:gd name="T93" fmla="*/ 126 h 284"/>
                  <a:gd name="T94" fmla="*/ 35 w 247"/>
                  <a:gd name="T95" fmla="*/ 150 h 284"/>
                  <a:gd name="T96" fmla="*/ 44 w 247"/>
                  <a:gd name="T97" fmla="*/ 170 h 284"/>
                  <a:gd name="T98" fmla="*/ 64 w 247"/>
                  <a:gd name="T99" fmla="*/ 186 h 284"/>
                  <a:gd name="T100" fmla="*/ 63 w 247"/>
                  <a:gd name="T101" fmla="*/ 206 h 284"/>
                  <a:gd name="T102" fmla="*/ 75 w 247"/>
                  <a:gd name="T103" fmla="*/ 234 h 284"/>
                  <a:gd name="T104" fmla="*/ 73 w 247"/>
                  <a:gd name="T105" fmla="*/ 252 h 284"/>
                  <a:gd name="T106" fmla="*/ 90 w 247"/>
                  <a:gd name="T107" fmla="*/ 27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7" h="284">
                    <a:moveTo>
                      <a:pt x="90" y="275"/>
                    </a:moveTo>
                    <a:cubicBezTo>
                      <a:pt x="92" y="236"/>
                      <a:pt x="92" y="236"/>
                      <a:pt x="92" y="236"/>
                    </a:cubicBezTo>
                    <a:cubicBezTo>
                      <a:pt x="92" y="236"/>
                      <a:pt x="134" y="252"/>
                      <a:pt x="142" y="250"/>
                    </a:cubicBezTo>
                    <a:cubicBezTo>
                      <a:pt x="150" y="247"/>
                      <a:pt x="134" y="229"/>
                      <a:pt x="143" y="227"/>
                    </a:cubicBezTo>
                    <a:cubicBezTo>
                      <a:pt x="152" y="225"/>
                      <a:pt x="169" y="245"/>
                      <a:pt x="182" y="240"/>
                    </a:cubicBezTo>
                    <a:cubicBezTo>
                      <a:pt x="195" y="236"/>
                      <a:pt x="190" y="223"/>
                      <a:pt x="190" y="223"/>
                    </a:cubicBezTo>
                    <a:cubicBezTo>
                      <a:pt x="182" y="202"/>
                      <a:pt x="182" y="202"/>
                      <a:pt x="182" y="202"/>
                    </a:cubicBezTo>
                    <a:cubicBezTo>
                      <a:pt x="213" y="235"/>
                      <a:pt x="213" y="235"/>
                      <a:pt x="213" y="235"/>
                    </a:cubicBezTo>
                    <a:cubicBezTo>
                      <a:pt x="213" y="235"/>
                      <a:pt x="201" y="274"/>
                      <a:pt x="210" y="280"/>
                    </a:cubicBezTo>
                    <a:cubicBezTo>
                      <a:pt x="213" y="282"/>
                      <a:pt x="218" y="283"/>
                      <a:pt x="222" y="284"/>
                    </a:cubicBezTo>
                    <a:cubicBezTo>
                      <a:pt x="224" y="277"/>
                      <a:pt x="226" y="273"/>
                      <a:pt x="226" y="273"/>
                    </a:cubicBezTo>
                    <a:cubicBezTo>
                      <a:pt x="247" y="276"/>
                      <a:pt x="247" y="276"/>
                      <a:pt x="247" y="276"/>
                    </a:cubicBezTo>
                    <a:cubicBezTo>
                      <a:pt x="240" y="237"/>
                      <a:pt x="240" y="237"/>
                      <a:pt x="240" y="237"/>
                    </a:cubicBezTo>
                    <a:cubicBezTo>
                      <a:pt x="240" y="237"/>
                      <a:pt x="224" y="198"/>
                      <a:pt x="220" y="187"/>
                    </a:cubicBezTo>
                    <a:cubicBezTo>
                      <a:pt x="216" y="176"/>
                      <a:pt x="222" y="157"/>
                      <a:pt x="204" y="153"/>
                    </a:cubicBezTo>
                    <a:cubicBezTo>
                      <a:pt x="186" y="149"/>
                      <a:pt x="194" y="170"/>
                      <a:pt x="194" y="170"/>
                    </a:cubicBezTo>
                    <a:cubicBezTo>
                      <a:pt x="187" y="193"/>
                      <a:pt x="187" y="193"/>
                      <a:pt x="187" y="193"/>
                    </a:cubicBezTo>
                    <a:cubicBezTo>
                      <a:pt x="178" y="178"/>
                      <a:pt x="178" y="178"/>
                      <a:pt x="178" y="178"/>
                    </a:cubicBezTo>
                    <a:cubicBezTo>
                      <a:pt x="178" y="178"/>
                      <a:pt x="158" y="175"/>
                      <a:pt x="158" y="159"/>
                    </a:cubicBezTo>
                    <a:cubicBezTo>
                      <a:pt x="158" y="143"/>
                      <a:pt x="160" y="133"/>
                      <a:pt x="168" y="130"/>
                    </a:cubicBezTo>
                    <a:cubicBezTo>
                      <a:pt x="176" y="127"/>
                      <a:pt x="190" y="129"/>
                      <a:pt x="193" y="115"/>
                    </a:cubicBezTo>
                    <a:cubicBezTo>
                      <a:pt x="196" y="101"/>
                      <a:pt x="196" y="92"/>
                      <a:pt x="196" y="92"/>
                    </a:cubicBezTo>
                    <a:cubicBezTo>
                      <a:pt x="196" y="92"/>
                      <a:pt x="206" y="96"/>
                      <a:pt x="206" y="86"/>
                    </a:cubicBezTo>
                    <a:cubicBezTo>
                      <a:pt x="206" y="76"/>
                      <a:pt x="184" y="68"/>
                      <a:pt x="184" y="68"/>
                    </a:cubicBezTo>
                    <a:cubicBezTo>
                      <a:pt x="154" y="79"/>
                      <a:pt x="154" y="79"/>
                      <a:pt x="154" y="79"/>
                    </a:cubicBezTo>
                    <a:cubicBezTo>
                      <a:pt x="154" y="79"/>
                      <a:pt x="123" y="75"/>
                      <a:pt x="113" y="75"/>
                    </a:cubicBezTo>
                    <a:cubicBezTo>
                      <a:pt x="103" y="75"/>
                      <a:pt x="86" y="72"/>
                      <a:pt x="86" y="69"/>
                    </a:cubicBezTo>
                    <a:cubicBezTo>
                      <a:pt x="86" y="66"/>
                      <a:pt x="85" y="46"/>
                      <a:pt x="85" y="46"/>
                    </a:cubicBezTo>
                    <a:cubicBezTo>
                      <a:pt x="81" y="44"/>
                      <a:pt x="81" y="44"/>
                      <a:pt x="81" y="44"/>
                    </a:cubicBezTo>
                    <a:cubicBezTo>
                      <a:pt x="81" y="44"/>
                      <a:pt x="81" y="26"/>
                      <a:pt x="77" y="23"/>
                    </a:cubicBezTo>
                    <a:cubicBezTo>
                      <a:pt x="73" y="20"/>
                      <a:pt x="67" y="17"/>
                      <a:pt x="67" y="17"/>
                    </a:cubicBezTo>
                    <a:cubicBezTo>
                      <a:pt x="66" y="29"/>
                      <a:pt x="66" y="29"/>
                      <a:pt x="66" y="29"/>
                    </a:cubicBezTo>
                    <a:cubicBezTo>
                      <a:pt x="66" y="29"/>
                      <a:pt x="56" y="27"/>
                      <a:pt x="50" y="21"/>
                    </a:cubicBezTo>
                    <a:cubicBezTo>
                      <a:pt x="44" y="15"/>
                      <a:pt x="41" y="3"/>
                      <a:pt x="41" y="3"/>
                    </a:cubicBezTo>
                    <a:cubicBezTo>
                      <a:pt x="30" y="4"/>
                      <a:pt x="30" y="4"/>
                      <a:pt x="30" y="4"/>
                    </a:cubicBezTo>
                    <a:cubicBezTo>
                      <a:pt x="33" y="11"/>
                      <a:pt x="33" y="11"/>
                      <a:pt x="33" y="11"/>
                    </a:cubicBezTo>
                    <a:cubicBezTo>
                      <a:pt x="17" y="3"/>
                      <a:pt x="17" y="3"/>
                      <a:pt x="17" y="3"/>
                    </a:cubicBezTo>
                    <a:cubicBezTo>
                      <a:pt x="6" y="0"/>
                      <a:pt x="6" y="0"/>
                      <a:pt x="6" y="0"/>
                    </a:cubicBezTo>
                    <a:cubicBezTo>
                      <a:pt x="11" y="12"/>
                      <a:pt x="11" y="12"/>
                      <a:pt x="11" y="12"/>
                    </a:cubicBezTo>
                    <a:cubicBezTo>
                      <a:pt x="11" y="12"/>
                      <a:pt x="0" y="24"/>
                      <a:pt x="2" y="35"/>
                    </a:cubicBezTo>
                    <a:cubicBezTo>
                      <a:pt x="4" y="46"/>
                      <a:pt x="26" y="54"/>
                      <a:pt x="26" y="54"/>
                    </a:cubicBezTo>
                    <a:cubicBezTo>
                      <a:pt x="43" y="65"/>
                      <a:pt x="43" y="65"/>
                      <a:pt x="43" y="65"/>
                    </a:cubicBezTo>
                    <a:cubicBezTo>
                      <a:pt x="44" y="73"/>
                      <a:pt x="44" y="73"/>
                      <a:pt x="44" y="73"/>
                    </a:cubicBezTo>
                    <a:cubicBezTo>
                      <a:pt x="22" y="74"/>
                      <a:pt x="22" y="74"/>
                      <a:pt x="22" y="74"/>
                    </a:cubicBezTo>
                    <a:cubicBezTo>
                      <a:pt x="22" y="93"/>
                      <a:pt x="22" y="93"/>
                      <a:pt x="22" y="93"/>
                    </a:cubicBezTo>
                    <a:cubicBezTo>
                      <a:pt x="22" y="93"/>
                      <a:pt x="3" y="96"/>
                      <a:pt x="13" y="106"/>
                    </a:cubicBezTo>
                    <a:cubicBezTo>
                      <a:pt x="23" y="116"/>
                      <a:pt x="50" y="110"/>
                      <a:pt x="47" y="126"/>
                    </a:cubicBezTo>
                    <a:cubicBezTo>
                      <a:pt x="44" y="142"/>
                      <a:pt x="35" y="150"/>
                      <a:pt x="35" y="150"/>
                    </a:cubicBezTo>
                    <a:cubicBezTo>
                      <a:pt x="44" y="170"/>
                      <a:pt x="44" y="170"/>
                      <a:pt x="44" y="170"/>
                    </a:cubicBezTo>
                    <a:cubicBezTo>
                      <a:pt x="64" y="186"/>
                      <a:pt x="64" y="186"/>
                      <a:pt x="64" y="186"/>
                    </a:cubicBezTo>
                    <a:cubicBezTo>
                      <a:pt x="63" y="206"/>
                      <a:pt x="63" y="206"/>
                      <a:pt x="63" y="206"/>
                    </a:cubicBezTo>
                    <a:cubicBezTo>
                      <a:pt x="75" y="234"/>
                      <a:pt x="75" y="234"/>
                      <a:pt x="75" y="234"/>
                    </a:cubicBezTo>
                    <a:cubicBezTo>
                      <a:pt x="73" y="252"/>
                      <a:pt x="73" y="252"/>
                      <a:pt x="73" y="252"/>
                    </a:cubicBezTo>
                    <a:lnTo>
                      <a:pt x="90" y="275"/>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11" name="Azerbaijan">
                <a:extLst>
                  <a:ext uri="{FF2B5EF4-FFF2-40B4-BE49-F238E27FC236}">
                    <a16:creationId xmlns:a16="http://schemas.microsoft.com/office/drawing/2014/main" id="{9BA7CDA0-6A86-4BF6-A8D3-E94C61596EFF}"/>
                  </a:ext>
                </a:extLst>
              </p:cNvPr>
              <p:cNvSpPr>
                <a:spLocks noEditPoints="1"/>
              </p:cNvSpPr>
              <p:nvPr/>
            </p:nvSpPr>
            <p:spPr bwMode="gray">
              <a:xfrm>
                <a:off x="6732404" y="2823661"/>
                <a:ext cx="134960" cy="107900"/>
              </a:xfrm>
              <a:custGeom>
                <a:avLst/>
                <a:gdLst>
                  <a:gd name="T0" fmla="*/ 42 w 240"/>
                  <a:gd name="T1" fmla="*/ 125 h 194"/>
                  <a:gd name="T2" fmla="*/ 31 w 240"/>
                  <a:gd name="T3" fmla="*/ 127 h 194"/>
                  <a:gd name="T4" fmla="*/ 14 w 240"/>
                  <a:gd name="T5" fmla="*/ 116 h 194"/>
                  <a:gd name="T6" fmla="*/ 4 w 240"/>
                  <a:gd name="T7" fmla="*/ 119 h 194"/>
                  <a:gd name="T8" fmla="*/ 14 w 240"/>
                  <a:gd name="T9" fmla="*/ 141 h 194"/>
                  <a:gd name="T10" fmla="*/ 56 w 240"/>
                  <a:gd name="T11" fmla="*/ 163 h 194"/>
                  <a:gd name="T12" fmla="*/ 59 w 240"/>
                  <a:gd name="T13" fmla="*/ 163 h 194"/>
                  <a:gd name="T14" fmla="*/ 50 w 240"/>
                  <a:gd name="T15" fmla="*/ 141 h 194"/>
                  <a:gd name="T16" fmla="*/ 42 w 240"/>
                  <a:gd name="T17" fmla="*/ 125 h 194"/>
                  <a:gd name="T18" fmla="*/ 235 w 240"/>
                  <a:gd name="T19" fmla="*/ 75 h 194"/>
                  <a:gd name="T20" fmla="*/ 205 w 240"/>
                  <a:gd name="T21" fmla="*/ 74 h 194"/>
                  <a:gd name="T22" fmla="*/ 193 w 240"/>
                  <a:gd name="T23" fmla="*/ 56 h 194"/>
                  <a:gd name="T24" fmla="*/ 176 w 240"/>
                  <a:gd name="T25" fmla="*/ 38 h 194"/>
                  <a:gd name="T26" fmla="*/ 177 w 240"/>
                  <a:gd name="T27" fmla="*/ 29 h 194"/>
                  <a:gd name="T28" fmla="*/ 145 w 240"/>
                  <a:gd name="T29" fmla="*/ 2 h 194"/>
                  <a:gd name="T30" fmla="*/ 143 w 240"/>
                  <a:gd name="T31" fmla="*/ 20 h 194"/>
                  <a:gd name="T32" fmla="*/ 126 w 240"/>
                  <a:gd name="T33" fmla="*/ 24 h 194"/>
                  <a:gd name="T34" fmla="*/ 116 w 240"/>
                  <a:gd name="T35" fmla="*/ 38 h 194"/>
                  <a:gd name="T36" fmla="*/ 78 w 240"/>
                  <a:gd name="T37" fmla="*/ 9 h 194"/>
                  <a:gd name="T38" fmla="*/ 43 w 240"/>
                  <a:gd name="T39" fmla="*/ 7 h 194"/>
                  <a:gd name="T40" fmla="*/ 52 w 240"/>
                  <a:gd name="T41" fmla="*/ 23 h 194"/>
                  <a:gd name="T42" fmla="*/ 71 w 240"/>
                  <a:gd name="T43" fmla="*/ 44 h 194"/>
                  <a:gd name="T44" fmla="*/ 54 w 240"/>
                  <a:gd name="T45" fmla="*/ 37 h 194"/>
                  <a:gd name="T46" fmla="*/ 40 w 240"/>
                  <a:gd name="T47" fmla="*/ 40 h 194"/>
                  <a:gd name="T48" fmla="*/ 26 w 240"/>
                  <a:gd name="T49" fmla="*/ 30 h 194"/>
                  <a:gd name="T50" fmla="*/ 15 w 240"/>
                  <a:gd name="T51" fmla="*/ 22 h 194"/>
                  <a:gd name="T52" fmla="*/ 0 w 240"/>
                  <a:gd name="T53" fmla="*/ 33 h 194"/>
                  <a:gd name="T54" fmla="*/ 7 w 240"/>
                  <a:gd name="T55" fmla="*/ 37 h 194"/>
                  <a:gd name="T56" fmla="*/ 6 w 240"/>
                  <a:gd name="T57" fmla="*/ 46 h 194"/>
                  <a:gd name="T58" fmla="*/ 25 w 240"/>
                  <a:gd name="T59" fmla="*/ 54 h 194"/>
                  <a:gd name="T60" fmla="*/ 19 w 240"/>
                  <a:gd name="T61" fmla="*/ 69 h 194"/>
                  <a:gd name="T62" fmla="*/ 49 w 240"/>
                  <a:gd name="T63" fmla="*/ 91 h 194"/>
                  <a:gd name="T64" fmla="*/ 28 w 240"/>
                  <a:gd name="T65" fmla="*/ 100 h 194"/>
                  <a:gd name="T66" fmla="*/ 46 w 240"/>
                  <a:gd name="T67" fmla="*/ 108 h 194"/>
                  <a:gd name="T68" fmla="*/ 56 w 240"/>
                  <a:gd name="T69" fmla="*/ 122 h 194"/>
                  <a:gd name="T70" fmla="*/ 76 w 240"/>
                  <a:gd name="T71" fmla="*/ 124 h 194"/>
                  <a:gd name="T72" fmla="*/ 74 w 240"/>
                  <a:gd name="T73" fmla="*/ 134 h 194"/>
                  <a:gd name="T74" fmla="*/ 78 w 240"/>
                  <a:gd name="T75" fmla="*/ 141 h 194"/>
                  <a:gd name="T76" fmla="*/ 81 w 240"/>
                  <a:gd name="T77" fmla="*/ 162 h 194"/>
                  <a:gd name="T78" fmla="*/ 83 w 240"/>
                  <a:gd name="T79" fmla="*/ 162 h 194"/>
                  <a:gd name="T80" fmla="*/ 97 w 240"/>
                  <a:gd name="T81" fmla="*/ 146 h 194"/>
                  <a:gd name="T82" fmla="*/ 142 w 240"/>
                  <a:gd name="T83" fmla="*/ 115 h 194"/>
                  <a:gd name="T84" fmla="*/ 157 w 240"/>
                  <a:gd name="T85" fmla="*/ 133 h 194"/>
                  <a:gd name="T86" fmla="*/ 150 w 240"/>
                  <a:gd name="T87" fmla="*/ 144 h 194"/>
                  <a:gd name="T88" fmla="*/ 159 w 240"/>
                  <a:gd name="T89" fmla="*/ 157 h 194"/>
                  <a:gd name="T90" fmla="*/ 149 w 240"/>
                  <a:gd name="T91" fmla="*/ 164 h 194"/>
                  <a:gd name="T92" fmla="*/ 168 w 240"/>
                  <a:gd name="T93" fmla="*/ 180 h 194"/>
                  <a:gd name="T94" fmla="*/ 177 w 240"/>
                  <a:gd name="T95" fmla="*/ 189 h 194"/>
                  <a:gd name="T96" fmla="*/ 187 w 240"/>
                  <a:gd name="T97" fmla="*/ 191 h 194"/>
                  <a:gd name="T98" fmla="*/ 188 w 240"/>
                  <a:gd name="T99" fmla="*/ 194 h 194"/>
                  <a:gd name="T100" fmla="*/ 191 w 240"/>
                  <a:gd name="T101" fmla="*/ 174 h 194"/>
                  <a:gd name="T102" fmla="*/ 179 w 240"/>
                  <a:gd name="T103" fmla="*/ 165 h 194"/>
                  <a:gd name="T104" fmla="*/ 190 w 240"/>
                  <a:gd name="T105" fmla="*/ 161 h 194"/>
                  <a:gd name="T106" fmla="*/ 190 w 240"/>
                  <a:gd name="T107" fmla="*/ 142 h 194"/>
                  <a:gd name="T108" fmla="*/ 208 w 240"/>
                  <a:gd name="T109" fmla="*/ 147 h 194"/>
                  <a:gd name="T110" fmla="*/ 198 w 240"/>
                  <a:gd name="T111" fmla="*/ 129 h 194"/>
                  <a:gd name="T112" fmla="*/ 201 w 240"/>
                  <a:gd name="T113" fmla="*/ 116 h 194"/>
                  <a:gd name="T114" fmla="*/ 200 w 240"/>
                  <a:gd name="T115" fmla="*/ 93 h 194"/>
                  <a:gd name="T116" fmla="*/ 210 w 240"/>
                  <a:gd name="T117" fmla="*/ 95 h 194"/>
                  <a:gd name="T118" fmla="*/ 218 w 240"/>
                  <a:gd name="T119" fmla="*/ 86 h 194"/>
                  <a:gd name="T120" fmla="*/ 240 w 240"/>
                  <a:gd name="T121" fmla="*/ 88 h 194"/>
                  <a:gd name="T122" fmla="*/ 235 w 240"/>
                  <a:gd name="T12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 h="194">
                    <a:moveTo>
                      <a:pt x="42" y="125"/>
                    </a:moveTo>
                    <a:cubicBezTo>
                      <a:pt x="33" y="124"/>
                      <a:pt x="31" y="127"/>
                      <a:pt x="31" y="127"/>
                    </a:cubicBezTo>
                    <a:cubicBezTo>
                      <a:pt x="31" y="127"/>
                      <a:pt x="21" y="126"/>
                      <a:pt x="14" y="116"/>
                    </a:cubicBezTo>
                    <a:cubicBezTo>
                      <a:pt x="13" y="116"/>
                      <a:pt x="6" y="118"/>
                      <a:pt x="4" y="119"/>
                    </a:cubicBezTo>
                    <a:cubicBezTo>
                      <a:pt x="6" y="125"/>
                      <a:pt x="7" y="135"/>
                      <a:pt x="14" y="141"/>
                    </a:cubicBezTo>
                    <a:cubicBezTo>
                      <a:pt x="24" y="149"/>
                      <a:pt x="41" y="163"/>
                      <a:pt x="56" y="163"/>
                    </a:cubicBezTo>
                    <a:cubicBezTo>
                      <a:pt x="57" y="163"/>
                      <a:pt x="58" y="163"/>
                      <a:pt x="59" y="163"/>
                    </a:cubicBezTo>
                    <a:cubicBezTo>
                      <a:pt x="57" y="156"/>
                      <a:pt x="52" y="144"/>
                      <a:pt x="50" y="141"/>
                    </a:cubicBezTo>
                    <a:cubicBezTo>
                      <a:pt x="47" y="137"/>
                      <a:pt x="51" y="126"/>
                      <a:pt x="42" y="125"/>
                    </a:cubicBezTo>
                    <a:close/>
                    <a:moveTo>
                      <a:pt x="235" y="75"/>
                    </a:moveTo>
                    <a:cubicBezTo>
                      <a:pt x="231" y="67"/>
                      <a:pt x="215" y="74"/>
                      <a:pt x="205" y="74"/>
                    </a:cubicBezTo>
                    <a:cubicBezTo>
                      <a:pt x="195" y="74"/>
                      <a:pt x="193" y="56"/>
                      <a:pt x="193" y="56"/>
                    </a:cubicBezTo>
                    <a:cubicBezTo>
                      <a:pt x="176" y="38"/>
                      <a:pt x="176" y="38"/>
                      <a:pt x="176" y="38"/>
                    </a:cubicBezTo>
                    <a:cubicBezTo>
                      <a:pt x="177" y="29"/>
                      <a:pt x="177" y="29"/>
                      <a:pt x="177" y="29"/>
                    </a:cubicBezTo>
                    <a:cubicBezTo>
                      <a:pt x="145" y="2"/>
                      <a:pt x="145" y="2"/>
                      <a:pt x="145" y="2"/>
                    </a:cubicBezTo>
                    <a:cubicBezTo>
                      <a:pt x="145" y="2"/>
                      <a:pt x="144" y="13"/>
                      <a:pt x="143" y="20"/>
                    </a:cubicBezTo>
                    <a:cubicBezTo>
                      <a:pt x="142" y="27"/>
                      <a:pt x="126" y="24"/>
                      <a:pt x="126" y="24"/>
                    </a:cubicBezTo>
                    <a:cubicBezTo>
                      <a:pt x="126" y="24"/>
                      <a:pt x="132" y="36"/>
                      <a:pt x="116" y="38"/>
                    </a:cubicBezTo>
                    <a:cubicBezTo>
                      <a:pt x="100" y="40"/>
                      <a:pt x="91" y="18"/>
                      <a:pt x="78" y="9"/>
                    </a:cubicBezTo>
                    <a:cubicBezTo>
                      <a:pt x="65" y="0"/>
                      <a:pt x="49" y="2"/>
                      <a:pt x="43" y="7"/>
                    </a:cubicBezTo>
                    <a:cubicBezTo>
                      <a:pt x="37" y="12"/>
                      <a:pt x="52" y="23"/>
                      <a:pt x="52" y="23"/>
                    </a:cubicBezTo>
                    <a:cubicBezTo>
                      <a:pt x="52" y="23"/>
                      <a:pt x="73" y="34"/>
                      <a:pt x="71" y="44"/>
                    </a:cubicBezTo>
                    <a:cubicBezTo>
                      <a:pt x="69" y="54"/>
                      <a:pt x="57" y="37"/>
                      <a:pt x="54" y="37"/>
                    </a:cubicBezTo>
                    <a:cubicBezTo>
                      <a:pt x="51" y="37"/>
                      <a:pt x="40" y="40"/>
                      <a:pt x="40" y="40"/>
                    </a:cubicBezTo>
                    <a:cubicBezTo>
                      <a:pt x="26" y="30"/>
                      <a:pt x="26" y="30"/>
                      <a:pt x="26" y="30"/>
                    </a:cubicBezTo>
                    <a:cubicBezTo>
                      <a:pt x="26" y="30"/>
                      <a:pt x="28" y="23"/>
                      <a:pt x="15" y="22"/>
                    </a:cubicBezTo>
                    <a:cubicBezTo>
                      <a:pt x="5" y="21"/>
                      <a:pt x="1" y="29"/>
                      <a:pt x="0" y="33"/>
                    </a:cubicBezTo>
                    <a:cubicBezTo>
                      <a:pt x="3" y="35"/>
                      <a:pt x="7" y="37"/>
                      <a:pt x="7" y="37"/>
                    </a:cubicBezTo>
                    <a:cubicBezTo>
                      <a:pt x="6" y="46"/>
                      <a:pt x="6" y="46"/>
                      <a:pt x="6" y="46"/>
                    </a:cubicBezTo>
                    <a:cubicBezTo>
                      <a:pt x="6" y="46"/>
                      <a:pt x="25" y="47"/>
                      <a:pt x="25" y="54"/>
                    </a:cubicBezTo>
                    <a:cubicBezTo>
                      <a:pt x="25" y="61"/>
                      <a:pt x="19" y="69"/>
                      <a:pt x="19" y="69"/>
                    </a:cubicBezTo>
                    <a:cubicBezTo>
                      <a:pt x="19" y="69"/>
                      <a:pt x="50" y="82"/>
                      <a:pt x="49" y="91"/>
                    </a:cubicBezTo>
                    <a:cubicBezTo>
                      <a:pt x="48" y="100"/>
                      <a:pt x="28" y="100"/>
                      <a:pt x="28" y="100"/>
                    </a:cubicBezTo>
                    <a:cubicBezTo>
                      <a:pt x="46" y="108"/>
                      <a:pt x="46" y="108"/>
                      <a:pt x="46" y="108"/>
                    </a:cubicBezTo>
                    <a:cubicBezTo>
                      <a:pt x="56" y="122"/>
                      <a:pt x="56" y="122"/>
                      <a:pt x="56" y="122"/>
                    </a:cubicBezTo>
                    <a:cubicBezTo>
                      <a:pt x="76" y="124"/>
                      <a:pt x="76" y="124"/>
                      <a:pt x="76" y="124"/>
                    </a:cubicBezTo>
                    <a:cubicBezTo>
                      <a:pt x="74" y="134"/>
                      <a:pt x="74" y="134"/>
                      <a:pt x="74" y="134"/>
                    </a:cubicBezTo>
                    <a:cubicBezTo>
                      <a:pt x="78" y="141"/>
                      <a:pt x="78" y="141"/>
                      <a:pt x="78" y="141"/>
                    </a:cubicBezTo>
                    <a:cubicBezTo>
                      <a:pt x="78" y="141"/>
                      <a:pt x="80" y="154"/>
                      <a:pt x="81" y="162"/>
                    </a:cubicBezTo>
                    <a:cubicBezTo>
                      <a:pt x="82" y="162"/>
                      <a:pt x="82" y="162"/>
                      <a:pt x="83" y="162"/>
                    </a:cubicBezTo>
                    <a:cubicBezTo>
                      <a:pt x="86" y="161"/>
                      <a:pt x="94" y="150"/>
                      <a:pt x="97" y="146"/>
                    </a:cubicBezTo>
                    <a:cubicBezTo>
                      <a:pt x="100" y="142"/>
                      <a:pt x="136" y="115"/>
                      <a:pt x="142" y="115"/>
                    </a:cubicBezTo>
                    <a:cubicBezTo>
                      <a:pt x="148" y="115"/>
                      <a:pt x="155" y="127"/>
                      <a:pt x="157" y="133"/>
                    </a:cubicBezTo>
                    <a:cubicBezTo>
                      <a:pt x="159" y="139"/>
                      <a:pt x="150" y="139"/>
                      <a:pt x="150" y="144"/>
                    </a:cubicBezTo>
                    <a:cubicBezTo>
                      <a:pt x="150" y="149"/>
                      <a:pt x="159" y="151"/>
                      <a:pt x="159" y="157"/>
                    </a:cubicBezTo>
                    <a:cubicBezTo>
                      <a:pt x="159" y="163"/>
                      <a:pt x="149" y="159"/>
                      <a:pt x="149" y="164"/>
                    </a:cubicBezTo>
                    <a:cubicBezTo>
                      <a:pt x="149" y="169"/>
                      <a:pt x="162" y="177"/>
                      <a:pt x="168" y="180"/>
                    </a:cubicBezTo>
                    <a:cubicBezTo>
                      <a:pt x="174" y="183"/>
                      <a:pt x="177" y="189"/>
                      <a:pt x="177" y="189"/>
                    </a:cubicBezTo>
                    <a:cubicBezTo>
                      <a:pt x="187" y="191"/>
                      <a:pt x="187" y="191"/>
                      <a:pt x="187" y="191"/>
                    </a:cubicBezTo>
                    <a:cubicBezTo>
                      <a:pt x="187" y="191"/>
                      <a:pt x="187" y="192"/>
                      <a:pt x="188" y="194"/>
                    </a:cubicBezTo>
                    <a:cubicBezTo>
                      <a:pt x="190" y="187"/>
                      <a:pt x="192" y="178"/>
                      <a:pt x="191" y="174"/>
                    </a:cubicBezTo>
                    <a:cubicBezTo>
                      <a:pt x="189" y="168"/>
                      <a:pt x="179" y="165"/>
                      <a:pt x="179" y="165"/>
                    </a:cubicBezTo>
                    <a:cubicBezTo>
                      <a:pt x="190" y="161"/>
                      <a:pt x="190" y="161"/>
                      <a:pt x="190" y="161"/>
                    </a:cubicBezTo>
                    <a:cubicBezTo>
                      <a:pt x="190" y="142"/>
                      <a:pt x="190" y="142"/>
                      <a:pt x="190" y="142"/>
                    </a:cubicBezTo>
                    <a:cubicBezTo>
                      <a:pt x="190" y="142"/>
                      <a:pt x="202" y="155"/>
                      <a:pt x="208" y="147"/>
                    </a:cubicBezTo>
                    <a:cubicBezTo>
                      <a:pt x="214" y="139"/>
                      <a:pt x="198" y="129"/>
                      <a:pt x="198" y="129"/>
                    </a:cubicBezTo>
                    <a:cubicBezTo>
                      <a:pt x="201" y="116"/>
                      <a:pt x="201" y="116"/>
                      <a:pt x="201" y="116"/>
                    </a:cubicBezTo>
                    <a:cubicBezTo>
                      <a:pt x="200" y="93"/>
                      <a:pt x="200" y="93"/>
                      <a:pt x="200" y="93"/>
                    </a:cubicBezTo>
                    <a:cubicBezTo>
                      <a:pt x="210" y="95"/>
                      <a:pt x="210" y="95"/>
                      <a:pt x="210" y="95"/>
                    </a:cubicBezTo>
                    <a:cubicBezTo>
                      <a:pt x="218" y="86"/>
                      <a:pt x="218" y="86"/>
                      <a:pt x="218" y="86"/>
                    </a:cubicBezTo>
                    <a:cubicBezTo>
                      <a:pt x="240" y="88"/>
                      <a:pt x="240" y="88"/>
                      <a:pt x="240" y="88"/>
                    </a:cubicBezTo>
                    <a:cubicBezTo>
                      <a:pt x="240" y="88"/>
                      <a:pt x="239" y="83"/>
                      <a:pt x="235" y="75"/>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12" name="Armenia">
                <a:extLst>
                  <a:ext uri="{FF2B5EF4-FFF2-40B4-BE49-F238E27FC236}">
                    <a16:creationId xmlns:a16="http://schemas.microsoft.com/office/drawing/2014/main" id="{999C452F-43AB-4659-8C60-B73535AFD0D1}"/>
                  </a:ext>
                </a:extLst>
              </p:cNvPr>
              <p:cNvSpPr>
                <a:spLocks/>
              </p:cNvSpPr>
              <p:nvPr/>
            </p:nvSpPr>
            <p:spPr bwMode="gray">
              <a:xfrm>
                <a:off x="6694298" y="2839528"/>
                <a:ext cx="84152" cy="79338"/>
              </a:xfrm>
              <a:custGeom>
                <a:avLst/>
                <a:gdLst>
                  <a:gd name="T0" fmla="*/ 147 w 152"/>
                  <a:gd name="T1" fmla="*/ 111 h 140"/>
                  <a:gd name="T2" fmla="*/ 143 w 152"/>
                  <a:gd name="T3" fmla="*/ 104 h 140"/>
                  <a:gd name="T4" fmla="*/ 145 w 152"/>
                  <a:gd name="T5" fmla="*/ 94 h 140"/>
                  <a:gd name="T6" fmla="*/ 125 w 152"/>
                  <a:gd name="T7" fmla="*/ 92 h 140"/>
                  <a:gd name="T8" fmla="*/ 115 w 152"/>
                  <a:gd name="T9" fmla="*/ 78 h 140"/>
                  <a:gd name="T10" fmla="*/ 97 w 152"/>
                  <a:gd name="T11" fmla="*/ 70 h 140"/>
                  <a:gd name="T12" fmla="*/ 118 w 152"/>
                  <a:gd name="T13" fmla="*/ 61 h 140"/>
                  <a:gd name="T14" fmla="*/ 88 w 152"/>
                  <a:gd name="T15" fmla="*/ 39 h 140"/>
                  <a:gd name="T16" fmla="*/ 94 w 152"/>
                  <a:gd name="T17" fmla="*/ 24 h 140"/>
                  <a:gd name="T18" fmla="*/ 75 w 152"/>
                  <a:gd name="T19" fmla="*/ 16 h 140"/>
                  <a:gd name="T20" fmla="*/ 76 w 152"/>
                  <a:gd name="T21" fmla="*/ 7 h 140"/>
                  <a:gd name="T22" fmla="*/ 61 w 152"/>
                  <a:gd name="T23" fmla="*/ 0 h 140"/>
                  <a:gd name="T24" fmla="*/ 55 w 152"/>
                  <a:gd name="T25" fmla="*/ 10 h 140"/>
                  <a:gd name="T26" fmla="*/ 22 w 152"/>
                  <a:gd name="T27" fmla="*/ 6 h 140"/>
                  <a:gd name="T28" fmla="*/ 17 w 152"/>
                  <a:gd name="T29" fmla="*/ 13 h 140"/>
                  <a:gd name="T30" fmla="*/ 0 w 152"/>
                  <a:gd name="T31" fmla="*/ 14 h 140"/>
                  <a:gd name="T32" fmla="*/ 6 w 152"/>
                  <a:gd name="T33" fmla="*/ 29 h 140"/>
                  <a:gd name="T34" fmla="*/ 18 w 152"/>
                  <a:gd name="T35" fmla="*/ 69 h 140"/>
                  <a:gd name="T36" fmla="*/ 47 w 152"/>
                  <a:gd name="T37" fmla="*/ 72 h 140"/>
                  <a:gd name="T38" fmla="*/ 57 w 152"/>
                  <a:gd name="T39" fmla="*/ 93 h 140"/>
                  <a:gd name="T40" fmla="*/ 55 w 152"/>
                  <a:gd name="T41" fmla="*/ 98 h 140"/>
                  <a:gd name="T42" fmla="*/ 62 w 152"/>
                  <a:gd name="T43" fmla="*/ 103 h 140"/>
                  <a:gd name="T44" fmla="*/ 72 w 152"/>
                  <a:gd name="T45" fmla="*/ 89 h 140"/>
                  <a:gd name="T46" fmla="*/ 83 w 152"/>
                  <a:gd name="T47" fmla="*/ 86 h 140"/>
                  <a:gd name="T48" fmla="*/ 100 w 152"/>
                  <a:gd name="T49" fmla="*/ 97 h 140"/>
                  <a:gd name="T50" fmla="*/ 111 w 152"/>
                  <a:gd name="T51" fmla="*/ 95 h 140"/>
                  <a:gd name="T52" fmla="*/ 119 w 152"/>
                  <a:gd name="T53" fmla="*/ 111 h 140"/>
                  <a:gd name="T54" fmla="*/ 130 w 152"/>
                  <a:gd name="T55" fmla="*/ 138 h 140"/>
                  <a:gd name="T56" fmla="*/ 148 w 152"/>
                  <a:gd name="T57" fmla="*/ 140 h 140"/>
                  <a:gd name="T58" fmla="*/ 147 w 152"/>
                  <a:gd name="T59" fmla="*/ 11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40">
                    <a:moveTo>
                      <a:pt x="147" y="111"/>
                    </a:moveTo>
                    <a:cubicBezTo>
                      <a:pt x="143" y="104"/>
                      <a:pt x="143" y="104"/>
                      <a:pt x="143" y="104"/>
                    </a:cubicBezTo>
                    <a:cubicBezTo>
                      <a:pt x="145" y="94"/>
                      <a:pt x="145" y="94"/>
                      <a:pt x="145" y="94"/>
                    </a:cubicBezTo>
                    <a:cubicBezTo>
                      <a:pt x="125" y="92"/>
                      <a:pt x="125" y="92"/>
                      <a:pt x="125" y="92"/>
                    </a:cubicBezTo>
                    <a:cubicBezTo>
                      <a:pt x="115" y="78"/>
                      <a:pt x="115" y="78"/>
                      <a:pt x="115" y="78"/>
                    </a:cubicBezTo>
                    <a:cubicBezTo>
                      <a:pt x="97" y="70"/>
                      <a:pt x="97" y="70"/>
                      <a:pt x="97" y="70"/>
                    </a:cubicBezTo>
                    <a:cubicBezTo>
                      <a:pt x="97" y="70"/>
                      <a:pt x="117" y="70"/>
                      <a:pt x="118" y="61"/>
                    </a:cubicBezTo>
                    <a:cubicBezTo>
                      <a:pt x="119" y="52"/>
                      <a:pt x="88" y="39"/>
                      <a:pt x="88" y="39"/>
                    </a:cubicBezTo>
                    <a:cubicBezTo>
                      <a:pt x="88" y="39"/>
                      <a:pt x="94" y="31"/>
                      <a:pt x="94" y="24"/>
                    </a:cubicBezTo>
                    <a:cubicBezTo>
                      <a:pt x="94" y="17"/>
                      <a:pt x="75" y="16"/>
                      <a:pt x="75" y="16"/>
                    </a:cubicBezTo>
                    <a:cubicBezTo>
                      <a:pt x="76" y="7"/>
                      <a:pt x="76" y="7"/>
                      <a:pt x="76" y="7"/>
                    </a:cubicBezTo>
                    <a:cubicBezTo>
                      <a:pt x="76" y="7"/>
                      <a:pt x="64" y="0"/>
                      <a:pt x="61" y="0"/>
                    </a:cubicBezTo>
                    <a:cubicBezTo>
                      <a:pt x="58" y="0"/>
                      <a:pt x="55" y="10"/>
                      <a:pt x="55" y="10"/>
                    </a:cubicBezTo>
                    <a:cubicBezTo>
                      <a:pt x="22" y="6"/>
                      <a:pt x="22" y="6"/>
                      <a:pt x="22" y="6"/>
                    </a:cubicBezTo>
                    <a:cubicBezTo>
                      <a:pt x="17" y="13"/>
                      <a:pt x="17" y="13"/>
                      <a:pt x="17" y="13"/>
                    </a:cubicBezTo>
                    <a:cubicBezTo>
                      <a:pt x="0" y="14"/>
                      <a:pt x="0" y="14"/>
                      <a:pt x="0" y="14"/>
                    </a:cubicBezTo>
                    <a:cubicBezTo>
                      <a:pt x="2" y="17"/>
                      <a:pt x="3" y="22"/>
                      <a:pt x="6" y="29"/>
                    </a:cubicBezTo>
                    <a:cubicBezTo>
                      <a:pt x="12" y="44"/>
                      <a:pt x="10" y="58"/>
                      <a:pt x="18" y="69"/>
                    </a:cubicBezTo>
                    <a:cubicBezTo>
                      <a:pt x="26" y="80"/>
                      <a:pt x="42" y="71"/>
                      <a:pt x="47" y="72"/>
                    </a:cubicBezTo>
                    <a:cubicBezTo>
                      <a:pt x="50" y="72"/>
                      <a:pt x="54" y="83"/>
                      <a:pt x="57" y="93"/>
                    </a:cubicBezTo>
                    <a:cubicBezTo>
                      <a:pt x="56" y="95"/>
                      <a:pt x="56" y="96"/>
                      <a:pt x="55" y="98"/>
                    </a:cubicBezTo>
                    <a:cubicBezTo>
                      <a:pt x="62" y="103"/>
                      <a:pt x="62" y="103"/>
                      <a:pt x="62" y="103"/>
                    </a:cubicBezTo>
                    <a:cubicBezTo>
                      <a:pt x="72" y="89"/>
                      <a:pt x="72" y="89"/>
                      <a:pt x="72" y="89"/>
                    </a:cubicBezTo>
                    <a:cubicBezTo>
                      <a:pt x="72" y="89"/>
                      <a:pt x="82" y="86"/>
                      <a:pt x="83" y="86"/>
                    </a:cubicBezTo>
                    <a:cubicBezTo>
                      <a:pt x="90" y="96"/>
                      <a:pt x="100" y="97"/>
                      <a:pt x="100" y="97"/>
                    </a:cubicBezTo>
                    <a:cubicBezTo>
                      <a:pt x="100" y="97"/>
                      <a:pt x="102" y="94"/>
                      <a:pt x="111" y="95"/>
                    </a:cubicBezTo>
                    <a:cubicBezTo>
                      <a:pt x="120" y="96"/>
                      <a:pt x="116" y="107"/>
                      <a:pt x="119" y="111"/>
                    </a:cubicBezTo>
                    <a:cubicBezTo>
                      <a:pt x="122" y="115"/>
                      <a:pt x="130" y="138"/>
                      <a:pt x="130" y="138"/>
                    </a:cubicBezTo>
                    <a:cubicBezTo>
                      <a:pt x="130" y="138"/>
                      <a:pt x="144" y="140"/>
                      <a:pt x="148" y="140"/>
                    </a:cubicBezTo>
                    <a:cubicBezTo>
                      <a:pt x="152" y="140"/>
                      <a:pt x="147" y="111"/>
                      <a:pt x="147" y="11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313" name="Afghanistan">
                <a:extLst>
                  <a:ext uri="{FF2B5EF4-FFF2-40B4-BE49-F238E27FC236}">
                    <a16:creationId xmlns:a16="http://schemas.microsoft.com/office/drawing/2014/main" id="{9EA0AD2B-5A19-48A9-A936-CD6378C05F43}"/>
                  </a:ext>
                </a:extLst>
              </p:cNvPr>
              <p:cNvSpPr>
                <a:spLocks/>
              </p:cNvSpPr>
              <p:nvPr/>
            </p:nvSpPr>
            <p:spPr bwMode="gray">
              <a:xfrm>
                <a:off x="7145227" y="2925214"/>
                <a:ext cx="339784" cy="274511"/>
              </a:xfrm>
              <a:custGeom>
                <a:avLst/>
                <a:gdLst>
                  <a:gd name="T0" fmla="*/ 607 w 607"/>
                  <a:gd name="T1" fmla="*/ 64 h 492"/>
                  <a:gd name="T2" fmla="*/ 587 w 607"/>
                  <a:gd name="T3" fmla="*/ 59 h 492"/>
                  <a:gd name="T4" fmla="*/ 561 w 607"/>
                  <a:gd name="T5" fmla="*/ 57 h 492"/>
                  <a:gd name="T6" fmla="*/ 516 w 607"/>
                  <a:gd name="T7" fmla="*/ 81 h 492"/>
                  <a:gd name="T8" fmla="*/ 485 w 607"/>
                  <a:gd name="T9" fmla="*/ 100 h 492"/>
                  <a:gd name="T10" fmla="*/ 455 w 607"/>
                  <a:gd name="T11" fmla="*/ 33 h 492"/>
                  <a:gd name="T12" fmla="*/ 441 w 607"/>
                  <a:gd name="T13" fmla="*/ 14 h 492"/>
                  <a:gd name="T14" fmla="*/ 413 w 607"/>
                  <a:gd name="T15" fmla="*/ 19 h 492"/>
                  <a:gd name="T16" fmla="*/ 407 w 607"/>
                  <a:gd name="T17" fmla="*/ 40 h 492"/>
                  <a:gd name="T18" fmla="*/ 395 w 607"/>
                  <a:gd name="T19" fmla="*/ 48 h 492"/>
                  <a:gd name="T20" fmla="*/ 364 w 607"/>
                  <a:gd name="T21" fmla="*/ 79 h 492"/>
                  <a:gd name="T22" fmla="*/ 315 w 607"/>
                  <a:gd name="T23" fmla="*/ 83 h 492"/>
                  <a:gd name="T24" fmla="*/ 287 w 607"/>
                  <a:gd name="T25" fmla="*/ 66 h 492"/>
                  <a:gd name="T26" fmla="*/ 267 w 607"/>
                  <a:gd name="T27" fmla="*/ 57 h 492"/>
                  <a:gd name="T28" fmla="*/ 229 w 607"/>
                  <a:gd name="T29" fmla="*/ 63 h 492"/>
                  <a:gd name="T30" fmla="*/ 200 w 607"/>
                  <a:gd name="T31" fmla="*/ 67 h 492"/>
                  <a:gd name="T32" fmla="*/ 166 w 607"/>
                  <a:gd name="T33" fmla="*/ 116 h 492"/>
                  <a:gd name="T34" fmla="*/ 137 w 607"/>
                  <a:gd name="T35" fmla="*/ 136 h 492"/>
                  <a:gd name="T36" fmla="*/ 107 w 607"/>
                  <a:gd name="T37" fmla="*/ 167 h 492"/>
                  <a:gd name="T38" fmla="*/ 61 w 607"/>
                  <a:gd name="T39" fmla="*/ 161 h 492"/>
                  <a:gd name="T40" fmla="*/ 30 w 607"/>
                  <a:gd name="T41" fmla="*/ 154 h 492"/>
                  <a:gd name="T42" fmla="*/ 29 w 607"/>
                  <a:gd name="T43" fmla="*/ 205 h 492"/>
                  <a:gd name="T44" fmla="*/ 20 w 607"/>
                  <a:gd name="T45" fmla="*/ 220 h 492"/>
                  <a:gd name="T46" fmla="*/ 11 w 607"/>
                  <a:gd name="T47" fmla="*/ 244 h 492"/>
                  <a:gd name="T48" fmla="*/ 31 w 607"/>
                  <a:gd name="T49" fmla="*/ 266 h 492"/>
                  <a:gd name="T50" fmla="*/ 40 w 607"/>
                  <a:gd name="T51" fmla="*/ 341 h 492"/>
                  <a:gd name="T52" fmla="*/ 70 w 607"/>
                  <a:gd name="T53" fmla="*/ 382 h 492"/>
                  <a:gd name="T54" fmla="*/ 79 w 607"/>
                  <a:gd name="T55" fmla="*/ 434 h 492"/>
                  <a:gd name="T56" fmla="*/ 61 w 607"/>
                  <a:gd name="T57" fmla="*/ 467 h 492"/>
                  <a:gd name="T58" fmla="*/ 142 w 607"/>
                  <a:gd name="T59" fmla="*/ 490 h 492"/>
                  <a:gd name="T60" fmla="*/ 196 w 607"/>
                  <a:gd name="T61" fmla="*/ 484 h 492"/>
                  <a:gd name="T62" fmla="*/ 218 w 607"/>
                  <a:gd name="T63" fmla="*/ 482 h 492"/>
                  <a:gd name="T64" fmla="*/ 307 w 607"/>
                  <a:gd name="T65" fmla="*/ 459 h 492"/>
                  <a:gd name="T66" fmla="*/ 298 w 607"/>
                  <a:gd name="T67" fmla="*/ 403 h 492"/>
                  <a:gd name="T68" fmla="*/ 327 w 607"/>
                  <a:gd name="T69" fmla="*/ 390 h 492"/>
                  <a:gd name="T70" fmla="*/ 348 w 607"/>
                  <a:gd name="T71" fmla="*/ 376 h 492"/>
                  <a:gd name="T72" fmla="*/ 381 w 607"/>
                  <a:gd name="T73" fmla="*/ 361 h 492"/>
                  <a:gd name="T74" fmla="*/ 409 w 607"/>
                  <a:gd name="T75" fmla="*/ 371 h 492"/>
                  <a:gd name="T76" fmla="*/ 417 w 607"/>
                  <a:gd name="T77" fmla="*/ 325 h 492"/>
                  <a:gd name="T78" fmla="*/ 425 w 607"/>
                  <a:gd name="T79" fmla="*/ 291 h 492"/>
                  <a:gd name="T80" fmla="*/ 462 w 607"/>
                  <a:gd name="T81" fmla="*/ 275 h 492"/>
                  <a:gd name="T82" fmla="*/ 447 w 607"/>
                  <a:gd name="T83" fmla="*/ 258 h 492"/>
                  <a:gd name="T84" fmla="*/ 434 w 607"/>
                  <a:gd name="T85" fmla="*/ 238 h 492"/>
                  <a:gd name="T86" fmla="*/ 456 w 607"/>
                  <a:gd name="T87" fmla="*/ 246 h 492"/>
                  <a:gd name="T88" fmla="*/ 467 w 607"/>
                  <a:gd name="T89" fmla="*/ 242 h 492"/>
                  <a:gd name="T90" fmla="*/ 479 w 607"/>
                  <a:gd name="T91" fmla="*/ 222 h 492"/>
                  <a:gd name="T92" fmla="*/ 494 w 607"/>
                  <a:gd name="T93" fmla="*/ 188 h 492"/>
                  <a:gd name="T94" fmla="*/ 479 w 607"/>
                  <a:gd name="T95" fmla="*/ 144 h 492"/>
                  <a:gd name="T96" fmla="*/ 486 w 607"/>
                  <a:gd name="T97" fmla="*/ 109 h 492"/>
                  <a:gd name="T98" fmla="*/ 540 w 607"/>
                  <a:gd name="T99" fmla="*/ 88 h 492"/>
                  <a:gd name="T100" fmla="*/ 584 w 607"/>
                  <a:gd name="T101" fmla="*/ 88 h 492"/>
                  <a:gd name="T102" fmla="*/ 602 w 607"/>
                  <a:gd name="T103" fmla="*/ 78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7" h="492">
                    <a:moveTo>
                      <a:pt x="596" y="71"/>
                    </a:moveTo>
                    <a:cubicBezTo>
                      <a:pt x="594" y="65"/>
                      <a:pt x="600" y="65"/>
                      <a:pt x="607" y="64"/>
                    </a:cubicBezTo>
                    <a:cubicBezTo>
                      <a:pt x="600" y="59"/>
                      <a:pt x="600" y="59"/>
                      <a:pt x="600" y="59"/>
                    </a:cubicBezTo>
                    <a:cubicBezTo>
                      <a:pt x="587" y="59"/>
                      <a:pt x="587" y="59"/>
                      <a:pt x="587" y="59"/>
                    </a:cubicBezTo>
                    <a:cubicBezTo>
                      <a:pt x="563" y="67"/>
                      <a:pt x="563" y="67"/>
                      <a:pt x="563" y="67"/>
                    </a:cubicBezTo>
                    <a:cubicBezTo>
                      <a:pt x="561" y="57"/>
                      <a:pt x="561" y="57"/>
                      <a:pt x="561" y="57"/>
                    </a:cubicBezTo>
                    <a:cubicBezTo>
                      <a:pt x="561" y="57"/>
                      <a:pt x="537" y="54"/>
                      <a:pt x="530" y="62"/>
                    </a:cubicBezTo>
                    <a:cubicBezTo>
                      <a:pt x="523" y="70"/>
                      <a:pt x="516" y="81"/>
                      <a:pt x="516" y="81"/>
                    </a:cubicBezTo>
                    <a:cubicBezTo>
                      <a:pt x="506" y="81"/>
                      <a:pt x="506" y="81"/>
                      <a:pt x="506" y="81"/>
                    </a:cubicBezTo>
                    <a:cubicBezTo>
                      <a:pt x="506" y="81"/>
                      <a:pt x="492" y="97"/>
                      <a:pt x="485" y="100"/>
                    </a:cubicBezTo>
                    <a:cubicBezTo>
                      <a:pt x="478" y="103"/>
                      <a:pt x="462" y="75"/>
                      <a:pt x="462" y="75"/>
                    </a:cubicBezTo>
                    <a:cubicBezTo>
                      <a:pt x="455" y="33"/>
                      <a:pt x="455" y="33"/>
                      <a:pt x="455" y="33"/>
                    </a:cubicBezTo>
                    <a:cubicBezTo>
                      <a:pt x="441" y="33"/>
                      <a:pt x="441" y="33"/>
                      <a:pt x="441" y="33"/>
                    </a:cubicBezTo>
                    <a:cubicBezTo>
                      <a:pt x="441" y="33"/>
                      <a:pt x="441" y="19"/>
                      <a:pt x="441" y="14"/>
                    </a:cubicBezTo>
                    <a:cubicBezTo>
                      <a:pt x="441" y="9"/>
                      <a:pt x="430" y="0"/>
                      <a:pt x="421" y="0"/>
                    </a:cubicBezTo>
                    <a:cubicBezTo>
                      <a:pt x="412" y="0"/>
                      <a:pt x="413" y="15"/>
                      <a:pt x="413" y="19"/>
                    </a:cubicBezTo>
                    <a:cubicBezTo>
                      <a:pt x="413" y="23"/>
                      <a:pt x="399" y="26"/>
                      <a:pt x="399" y="33"/>
                    </a:cubicBezTo>
                    <a:cubicBezTo>
                      <a:pt x="399" y="40"/>
                      <a:pt x="407" y="40"/>
                      <a:pt x="407" y="40"/>
                    </a:cubicBezTo>
                    <a:cubicBezTo>
                      <a:pt x="402" y="54"/>
                      <a:pt x="402" y="54"/>
                      <a:pt x="402" y="54"/>
                    </a:cubicBezTo>
                    <a:cubicBezTo>
                      <a:pt x="395" y="48"/>
                      <a:pt x="395" y="48"/>
                      <a:pt x="395" y="48"/>
                    </a:cubicBezTo>
                    <a:cubicBezTo>
                      <a:pt x="395" y="48"/>
                      <a:pt x="373" y="49"/>
                      <a:pt x="368" y="54"/>
                    </a:cubicBezTo>
                    <a:cubicBezTo>
                      <a:pt x="363" y="59"/>
                      <a:pt x="368" y="77"/>
                      <a:pt x="364" y="79"/>
                    </a:cubicBezTo>
                    <a:cubicBezTo>
                      <a:pt x="360" y="81"/>
                      <a:pt x="349" y="64"/>
                      <a:pt x="346" y="64"/>
                    </a:cubicBezTo>
                    <a:cubicBezTo>
                      <a:pt x="343" y="64"/>
                      <a:pt x="318" y="84"/>
                      <a:pt x="315" y="83"/>
                    </a:cubicBezTo>
                    <a:cubicBezTo>
                      <a:pt x="312" y="82"/>
                      <a:pt x="292" y="66"/>
                      <a:pt x="292" y="66"/>
                    </a:cubicBezTo>
                    <a:cubicBezTo>
                      <a:pt x="287" y="66"/>
                      <a:pt x="287" y="66"/>
                      <a:pt x="287" y="66"/>
                    </a:cubicBezTo>
                    <a:cubicBezTo>
                      <a:pt x="276" y="71"/>
                      <a:pt x="276" y="71"/>
                      <a:pt x="276" y="71"/>
                    </a:cubicBezTo>
                    <a:cubicBezTo>
                      <a:pt x="267" y="57"/>
                      <a:pt x="267" y="57"/>
                      <a:pt x="267" y="57"/>
                    </a:cubicBezTo>
                    <a:cubicBezTo>
                      <a:pt x="259" y="63"/>
                      <a:pt x="259" y="63"/>
                      <a:pt x="259" y="63"/>
                    </a:cubicBezTo>
                    <a:cubicBezTo>
                      <a:pt x="229" y="63"/>
                      <a:pt x="229" y="63"/>
                      <a:pt x="229" y="63"/>
                    </a:cubicBezTo>
                    <a:cubicBezTo>
                      <a:pt x="229" y="63"/>
                      <a:pt x="215" y="50"/>
                      <a:pt x="207" y="50"/>
                    </a:cubicBezTo>
                    <a:cubicBezTo>
                      <a:pt x="199" y="50"/>
                      <a:pt x="200" y="67"/>
                      <a:pt x="200" y="67"/>
                    </a:cubicBezTo>
                    <a:cubicBezTo>
                      <a:pt x="200" y="67"/>
                      <a:pt x="181" y="62"/>
                      <a:pt x="171" y="72"/>
                    </a:cubicBezTo>
                    <a:cubicBezTo>
                      <a:pt x="161" y="82"/>
                      <a:pt x="166" y="110"/>
                      <a:pt x="166" y="116"/>
                    </a:cubicBezTo>
                    <a:cubicBezTo>
                      <a:pt x="166" y="122"/>
                      <a:pt x="157" y="120"/>
                      <a:pt x="157" y="120"/>
                    </a:cubicBezTo>
                    <a:cubicBezTo>
                      <a:pt x="157" y="120"/>
                      <a:pt x="144" y="129"/>
                      <a:pt x="137" y="136"/>
                    </a:cubicBezTo>
                    <a:cubicBezTo>
                      <a:pt x="130" y="143"/>
                      <a:pt x="112" y="142"/>
                      <a:pt x="112" y="142"/>
                    </a:cubicBezTo>
                    <a:cubicBezTo>
                      <a:pt x="112" y="142"/>
                      <a:pt x="112" y="158"/>
                      <a:pt x="107" y="167"/>
                    </a:cubicBezTo>
                    <a:cubicBezTo>
                      <a:pt x="102" y="176"/>
                      <a:pt x="77" y="177"/>
                      <a:pt x="77" y="177"/>
                    </a:cubicBezTo>
                    <a:cubicBezTo>
                      <a:pt x="61" y="161"/>
                      <a:pt x="61" y="161"/>
                      <a:pt x="61" y="161"/>
                    </a:cubicBezTo>
                    <a:cubicBezTo>
                      <a:pt x="61" y="161"/>
                      <a:pt x="54" y="164"/>
                      <a:pt x="49" y="164"/>
                    </a:cubicBezTo>
                    <a:cubicBezTo>
                      <a:pt x="44" y="164"/>
                      <a:pt x="30" y="154"/>
                      <a:pt x="30" y="154"/>
                    </a:cubicBezTo>
                    <a:cubicBezTo>
                      <a:pt x="30" y="154"/>
                      <a:pt x="24" y="161"/>
                      <a:pt x="23" y="168"/>
                    </a:cubicBezTo>
                    <a:cubicBezTo>
                      <a:pt x="22" y="175"/>
                      <a:pt x="29" y="205"/>
                      <a:pt x="29" y="205"/>
                    </a:cubicBezTo>
                    <a:cubicBezTo>
                      <a:pt x="15" y="209"/>
                      <a:pt x="15" y="209"/>
                      <a:pt x="15" y="209"/>
                    </a:cubicBezTo>
                    <a:cubicBezTo>
                      <a:pt x="20" y="220"/>
                      <a:pt x="20" y="220"/>
                      <a:pt x="20" y="220"/>
                    </a:cubicBezTo>
                    <a:cubicBezTo>
                      <a:pt x="20" y="220"/>
                      <a:pt x="6" y="225"/>
                      <a:pt x="3" y="230"/>
                    </a:cubicBezTo>
                    <a:cubicBezTo>
                      <a:pt x="0" y="235"/>
                      <a:pt x="11" y="244"/>
                      <a:pt x="11" y="244"/>
                    </a:cubicBezTo>
                    <a:cubicBezTo>
                      <a:pt x="9" y="263"/>
                      <a:pt x="9" y="263"/>
                      <a:pt x="9" y="263"/>
                    </a:cubicBezTo>
                    <a:cubicBezTo>
                      <a:pt x="9" y="263"/>
                      <a:pt x="30" y="260"/>
                      <a:pt x="31" y="266"/>
                    </a:cubicBezTo>
                    <a:cubicBezTo>
                      <a:pt x="32" y="272"/>
                      <a:pt x="17" y="280"/>
                      <a:pt x="15" y="293"/>
                    </a:cubicBezTo>
                    <a:cubicBezTo>
                      <a:pt x="13" y="306"/>
                      <a:pt x="40" y="330"/>
                      <a:pt x="40" y="341"/>
                    </a:cubicBezTo>
                    <a:cubicBezTo>
                      <a:pt x="40" y="352"/>
                      <a:pt x="40" y="366"/>
                      <a:pt x="40" y="374"/>
                    </a:cubicBezTo>
                    <a:cubicBezTo>
                      <a:pt x="40" y="382"/>
                      <a:pt x="70" y="382"/>
                      <a:pt x="70" y="382"/>
                    </a:cubicBezTo>
                    <a:cubicBezTo>
                      <a:pt x="70" y="382"/>
                      <a:pt x="85" y="377"/>
                      <a:pt x="91" y="394"/>
                    </a:cubicBezTo>
                    <a:cubicBezTo>
                      <a:pt x="97" y="411"/>
                      <a:pt x="86" y="424"/>
                      <a:pt x="79" y="434"/>
                    </a:cubicBezTo>
                    <a:cubicBezTo>
                      <a:pt x="72" y="444"/>
                      <a:pt x="56" y="458"/>
                      <a:pt x="56" y="462"/>
                    </a:cubicBezTo>
                    <a:cubicBezTo>
                      <a:pt x="56" y="466"/>
                      <a:pt x="61" y="467"/>
                      <a:pt x="61" y="467"/>
                    </a:cubicBezTo>
                    <a:cubicBezTo>
                      <a:pt x="61" y="467"/>
                      <a:pt x="73" y="464"/>
                      <a:pt x="82" y="469"/>
                    </a:cubicBezTo>
                    <a:cubicBezTo>
                      <a:pt x="91" y="474"/>
                      <a:pt x="121" y="492"/>
                      <a:pt x="142" y="490"/>
                    </a:cubicBezTo>
                    <a:cubicBezTo>
                      <a:pt x="163" y="488"/>
                      <a:pt x="161" y="483"/>
                      <a:pt x="161" y="483"/>
                    </a:cubicBezTo>
                    <a:cubicBezTo>
                      <a:pt x="196" y="484"/>
                      <a:pt x="196" y="484"/>
                      <a:pt x="196" y="484"/>
                    </a:cubicBezTo>
                    <a:cubicBezTo>
                      <a:pt x="196" y="484"/>
                      <a:pt x="193" y="488"/>
                      <a:pt x="205" y="488"/>
                    </a:cubicBezTo>
                    <a:cubicBezTo>
                      <a:pt x="217" y="488"/>
                      <a:pt x="218" y="482"/>
                      <a:pt x="218" y="482"/>
                    </a:cubicBezTo>
                    <a:cubicBezTo>
                      <a:pt x="218" y="482"/>
                      <a:pt x="260" y="480"/>
                      <a:pt x="263" y="479"/>
                    </a:cubicBezTo>
                    <a:cubicBezTo>
                      <a:pt x="266" y="478"/>
                      <a:pt x="305" y="465"/>
                      <a:pt x="307" y="459"/>
                    </a:cubicBezTo>
                    <a:cubicBezTo>
                      <a:pt x="309" y="453"/>
                      <a:pt x="303" y="433"/>
                      <a:pt x="303" y="433"/>
                    </a:cubicBezTo>
                    <a:cubicBezTo>
                      <a:pt x="303" y="433"/>
                      <a:pt x="296" y="409"/>
                      <a:pt x="298" y="403"/>
                    </a:cubicBezTo>
                    <a:cubicBezTo>
                      <a:pt x="300" y="397"/>
                      <a:pt x="315" y="384"/>
                      <a:pt x="323" y="384"/>
                    </a:cubicBezTo>
                    <a:cubicBezTo>
                      <a:pt x="331" y="384"/>
                      <a:pt x="327" y="390"/>
                      <a:pt x="327" y="390"/>
                    </a:cubicBezTo>
                    <a:cubicBezTo>
                      <a:pt x="327" y="390"/>
                      <a:pt x="357" y="395"/>
                      <a:pt x="359" y="389"/>
                    </a:cubicBezTo>
                    <a:cubicBezTo>
                      <a:pt x="361" y="383"/>
                      <a:pt x="344" y="381"/>
                      <a:pt x="348" y="376"/>
                    </a:cubicBezTo>
                    <a:cubicBezTo>
                      <a:pt x="352" y="371"/>
                      <a:pt x="366" y="367"/>
                      <a:pt x="366" y="367"/>
                    </a:cubicBezTo>
                    <a:cubicBezTo>
                      <a:pt x="366" y="367"/>
                      <a:pt x="373" y="361"/>
                      <a:pt x="381" y="361"/>
                    </a:cubicBezTo>
                    <a:cubicBezTo>
                      <a:pt x="389" y="361"/>
                      <a:pt x="399" y="359"/>
                      <a:pt x="399" y="359"/>
                    </a:cubicBezTo>
                    <a:cubicBezTo>
                      <a:pt x="399" y="359"/>
                      <a:pt x="396" y="378"/>
                      <a:pt x="409" y="371"/>
                    </a:cubicBezTo>
                    <a:cubicBezTo>
                      <a:pt x="422" y="364"/>
                      <a:pt x="425" y="355"/>
                      <a:pt x="425" y="355"/>
                    </a:cubicBezTo>
                    <a:cubicBezTo>
                      <a:pt x="425" y="355"/>
                      <a:pt x="416" y="337"/>
                      <a:pt x="417" y="325"/>
                    </a:cubicBezTo>
                    <a:cubicBezTo>
                      <a:pt x="418" y="313"/>
                      <a:pt x="424" y="316"/>
                      <a:pt x="424" y="316"/>
                    </a:cubicBezTo>
                    <a:cubicBezTo>
                      <a:pt x="424" y="316"/>
                      <a:pt x="421" y="294"/>
                      <a:pt x="425" y="291"/>
                    </a:cubicBezTo>
                    <a:cubicBezTo>
                      <a:pt x="429" y="288"/>
                      <a:pt x="442" y="289"/>
                      <a:pt x="442" y="289"/>
                    </a:cubicBezTo>
                    <a:cubicBezTo>
                      <a:pt x="462" y="275"/>
                      <a:pt x="462" y="275"/>
                      <a:pt x="462" y="275"/>
                    </a:cubicBezTo>
                    <a:cubicBezTo>
                      <a:pt x="462" y="275"/>
                      <a:pt x="451" y="276"/>
                      <a:pt x="449" y="269"/>
                    </a:cubicBezTo>
                    <a:cubicBezTo>
                      <a:pt x="447" y="262"/>
                      <a:pt x="447" y="258"/>
                      <a:pt x="447" y="258"/>
                    </a:cubicBezTo>
                    <a:cubicBezTo>
                      <a:pt x="447" y="258"/>
                      <a:pt x="432" y="254"/>
                      <a:pt x="431" y="249"/>
                    </a:cubicBezTo>
                    <a:cubicBezTo>
                      <a:pt x="430" y="244"/>
                      <a:pt x="430" y="239"/>
                      <a:pt x="434" y="238"/>
                    </a:cubicBezTo>
                    <a:cubicBezTo>
                      <a:pt x="438" y="237"/>
                      <a:pt x="445" y="245"/>
                      <a:pt x="445" y="245"/>
                    </a:cubicBezTo>
                    <a:cubicBezTo>
                      <a:pt x="456" y="246"/>
                      <a:pt x="456" y="246"/>
                      <a:pt x="456" y="246"/>
                    </a:cubicBezTo>
                    <a:cubicBezTo>
                      <a:pt x="463" y="249"/>
                      <a:pt x="463" y="249"/>
                      <a:pt x="463" y="249"/>
                    </a:cubicBezTo>
                    <a:cubicBezTo>
                      <a:pt x="467" y="242"/>
                      <a:pt x="467" y="242"/>
                      <a:pt x="467" y="242"/>
                    </a:cubicBezTo>
                    <a:cubicBezTo>
                      <a:pt x="467" y="242"/>
                      <a:pt x="478" y="245"/>
                      <a:pt x="479" y="238"/>
                    </a:cubicBezTo>
                    <a:cubicBezTo>
                      <a:pt x="480" y="231"/>
                      <a:pt x="479" y="222"/>
                      <a:pt x="479" y="222"/>
                    </a:cubicBezTo>
                    <a:cubicBezTo>
                      <a:pt x="479" y="222"/>
                      <a:pt x="472" y="221"/>
                      <a:pt x="473" y="212"/>
                    </a:cubicBezTo>
                    <a:cubicBezTo>
                      <a:pt x="474" y="203"/>
                      <a:pt x="491" y="195"/>
                      <a:pt x="494" y="188"/>
                    </a:cubicBezTo>
                    <a:cubicBezTo>
                      <a:pt x="497" y="181"/>
                      <a:pt x="487" y="173"/>
                      <a:pt x="487" y="173"/>
                    </a:cubicBezTo>
                    <a:cubicBezTo>
                      <a:pt x="487" y="173"/>
                      <a:pt x="490" y="156"/>
                      <a:pt x="479" y="144"/>
                    </a:cubicBezTo>
                    <a:cubicBezTo>
                      <a:pt x="468" y="132"/>
                      <a:pt x="463" y="136"/>
                      <a:pt x="469" y="124"/>
                    </a:cubicBezTo>
                    <a:cubicBezTo>
                      <a:pt x="475" y="112"/>
                      <a:pt x="486" y="109"/>
                      <a:pt x="486" y="109"/>
                    </a:cubicBezTo>
                    <a:cubicBezTo>
                      <a:pt x="486" y="109"/>
                      <a:pt x="509" y="93"/>
                      <a:pt x="516" y="90"/>
                    </a:cubicBezTo>
                    <a:cubicBezTo>
                      <a:pt x="523" y="87"/>
                      <a:pt x="540" y="88"/>
                      <a:pt x="540" y="88"/>
                    </a:cubicBezTo>
                    <a:cubicBezTo>
                      <a:pt x="540" y="88"/>
                      <a:pt x="563" y="83"/>
                      <a:pt x="566" y="83"/>
                    </a:cubicBezTo>
                    <a:cubicBezTo>
                      <a:pt x="569" y="83"/>
                      <a:pt x="579" y="89"/>
                      <a:pt x="584" y="88"/>
                    </a:cubicBezTo>
                    <a:cubicBezTo>
                      <a:pt x="587" y="87"/>
                      <a:pt x="596" y="82"/>
                      <a:pt x="602" y="78"/>
                    </a:cubicBezTo>
                    <a:cubicBezTo>
                      <a:pt x="602" y="78"/>
                      <a:pt x="602" y="78"/>
                      <a:pt x="602" y="78"/>
                    </a:cubicBezTo>
                    <a:cubicBezTo>
                      <a:pt x="599" y="76"/>
                      <a:pt x="597" y="74"/>
                      <a:pt x="596" y="7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grpSp>
        <p:grpSp>
          <p:nvGrpSpPr>
            <p:cNvPr id="210" name="Africa">
              <a:extLst>
                <a:ext uri="{FF2B5EF4-FFF2-40B4-BE49-F238E27FC236}">
                  <a16:creationId xmlns:a16="http://schemas.microsoft.com/office/drawing/2014/main" id="{3D13F5CE-9273-4462-885B-04D8FB35055D}"/>
                </a:ext>
              </a:extLst>
            </p:cNvPr>
            <p:cNvGrpSpPr>
              <a:grpSpLocks/>
            </p:cNvGrpSpPr>
            <p:nvPr/>
          </p:nvGrpSpPr>
          <p:grpSpPr>
            <a:xfrm>
              <a:off x="5079181" y="2957001"/>
              <a:ext cx="2332580" cy="2796139"/>
              <a:chOff x="3409289" y="1387474"/>
              <a:chExt cx="5631978" cy="5151439"/>
            </a:xfrm>
            <a:grpFill/>
          </p:grpSpPr>
          <p:sp>
            <p:nvSpPr>
              <p:cNvPr id="211" name="Zimbabwe">
                <a:extLst>
                  <a:ext uri="{FF2B5EF4-FFF2-40B4-BE49-F238E27FC236}">
                    <a16:creationId xmlns:a16="http://schemas.microsoft.com/office/drawing/2014/main" id="{5866F184-E12F-43BF-9BF0-ABA82E9D5DE7}"/>
                  </a:ext>
                </a:extLst>
              </p:cNvPr>
              <p:cNvSpPr>
                <a:spLocks/>
              </p:cNvSpPr>
              <p:nvPr/>
            </p:nvSpPr>
            <p:spPr bwMode="gray">
              <a:xfrm>
                <a:off x="6725790" y="5166445"/>
                <a:ext cx="616257" cy="485063"/>
              </a:xfrm>
              <a:custGeom>
                <a:avLst/>
                <a:gdLst>
                  <a:gd name="T0" fmla="*/ 11 w 372"/>
                  <a:gd name="T1" fmla="*/ 136 h 366"/>
                  <a:gd name="T2" fmla="*/ 11 w 372"/>
                  <a:gd name="T3" fmla="*/ 156 h 366"/>
                  <a:gd name="T4" fmla="*/ 23 w 372"/>
                  <a:gd name="T5" fmla="*/ 160 h 366"/>
                  <a:gd name="T6" fmla="*/ 33 w 372"/>
                  <a:gd name="T7" fmla="*/ 181 h 366"/>
                  <a:gd name="T8" fmla="*/ 42 w 372"/>
                  <a:gd name="T9" fmla="*/ 213 h 366"/>
                  <a:gd name="T10" fmla="*/ 70 w 372"/>
                  <a:gd name="T11" fmla="*/ 234 h 366"/>
                  <a:gd name="T12" fmla="*/ 90 w 372"/>
                  <a:gd name="T13" fmla="*/ 238 h 366"/>
                  <a:gd name="T14" fmla="*/ 91 w 372"/>
                  <a:gd name="T15" fmla="*/ 260 h 366"/>
                  <a:gd name="T16" fmla="*/ 112 w 372"/>
                  <a:gd name="T17" fmla="*/ 261 h 366"/>
                  <a:gd name="T18" fmla="*/ 114 w 372"/>
                  <a:gd name="T19" fmla="*/ 276 h 366"/>
                  <a:gd name="T20" fmla="*/ 110 w 372"/>
                  <a:gd name="T21" fmla="*/ 281 h 366"/>
                  <a:gd name="T22" fmla="*/ 110 w 372"/>
                  <a:gd name="T23" fmla="*/ 299 h 366"/>
                  <a:gd name="T24" fmla="*/ 122 w 372"/>
                  <a:gd name="T25" fmla="*/ 304 h 366"/>
                  <a:gd name="T26" fmla="*/ 122 w 372"/>
                  <a:gd name="T27" fmla="*/ 319 h 366"/>
                  <a:gd name="T28" fmla="*/ 161 w 372"/>
                  <a:gd name="T29" fmla="*/ 327 h 366"/>
                  <a:gd name="T30" fmla="*/ 180 w 372"/>
                  <a:gd name="T31" fmla="*/ 352 h 366"/>
                  <a:gd name="T32" fmla="*/ 167 w 372"/>
                  <a:gd name="T33" fmla="*/ 353 h 366"/>
                  <a:gd name="T34" fmla="*/ 206 w 372"/>
                  <a:gd name="T35" fmla="*/ 351 h 366"/>
                  <a:gd name="T36" fmla="*/ 230 w 372"/>
                  <a:gd name="T37" fmla="*/ 359 h 366"/>
                  <a:gd name="T38" fmla="*/ 265 w 372"/>
                  <a:gd name="T39" fmla="*/ 359 h 366"/>
                  <a:gd name="T40" fmla="*/ 277 w 372"/>
                  <a:gd name="T41" fmla="*/ 366 h 366"/>
                  <a:gd name="T42" fmla="*/ 324 w 372"/>
                  <a:gd name="T43" fmla="*/ 310 h 366"/>
                  <a:gd name="T44" fmla="*/ 334 w 372"/>
                  <a:gd name="T45" fmla="*/ 307 h 366"/>
                  <a:gd name="T46" fmla="*/ 325 w 372"/>
                  <a:gd name="T47" fmla="*/ 294 h 366"/>
                  <a:gd name="T48" fmla="*/ 333 w 372"/>
                  <a:gd name="T49" fmla="*/ 289 h 366"/>
                  <a:gd name="T50" fmla="*/ 334 w 372"/>
                  <a:gd name="T51" fmla="*/ 266 h 366"/>
                  <a:gd name="T52" fmla="*/ 350 w 372"/>
                  <a:gd name="T53" fmla="*/ 257 h 366"/>
                  <a:gd name="T54" fmla="*/ 354 w 372"/>
                  <a:gd name="T55" fmla="*/ 242 h 366"/>
                  <a:gd name="T56" fmla="*/ 364 w 372"/>
                  <a:gd name="T57" fmla="*/ 229 h 366"/>
                  <a:gd name="T58" fmla="*/ 346 w 372"/>
                  <a:gd name="T59" fmla="*/ 206 h 366"/>
                  <a:gd name="T60" fmla="*/ 360 w 372"/>
                  <a:gd name="T61" fmla="*/ 190 h 366"/>
                  <a:gd name="T62" fmla="*/ 346 w 372"/>
                  <a:gd name="T63" fmla="*/ 174 h 366"/>
                  <a:gd name="T64" fmla="*/ 360 w 372"/>
                  <a:gd name="T65" fmla="*/ 167 h 366"/>
                  <a:gd name="T66" fmla="*/ 360 w 372"/>
                  <a:gd name="T67" fmla="*/ 158 h 366"/>
                  <a:gd name="T68" fmla="*/ 366 w 372"/>
                  <a:gd name="T69" fmla="*/ 145 h 366"/>
                  <a:gd name="T70" fmla="*/ 358 w 372"/>
                  <a:gd name="T71" fmla="*/ 119 h 366"/>
                  <a:gd name="T72" fmla="*/ 366 w 372"/>
                  <a:gd name="T73" fmla="*/ 107 h 366"/>
                  <a:gd name="T74" fmla="*/ 360 w 372"/>
                  <a:gd name="T75" fmla="*/ 99 h 366"/>
                  <a:gd name="T76" fmla="*/ 366 w 372"/>
                  <a:gd name="T77" fmla="*/ 90 h 366"/>
                  <a:gd name="T78" fmla="*/ 358 w 372"/>
                  <a:gd name="T79" fmla="*/ 81 h 366"/>
                  <a:gd name="T80" fmla="*/ 368 w 372"/>
                  <a:gd name="T81" fmla="*/ 63 h 366"/>
                  <a:gd name="T82" fmla="*/ 349 w 372"/>
                  <a:gd name="T83" fmla="*/ 55 h 366"/>
                  <a:gd name="T84" fmla="*/ 336 w 372"/>
                  <a:gd name="T85" fmla="*/ 43 h 366"/>
                  <a:gd name="T86" fmla="*/ 318 w 372"/>
                  <a:gd name="T87" fmla="*/ 46 h 366"/>
                  <a:gd name="T88" fmla="*/ 308 w 372"/>
                  <a:gd name="T89" fmla="*/ 30 h 366"/>
                  <a:gd name="T90" fmla="*/ 293 w 372"/>
                  <a:gd name="T91" fmla="*/ 33 h 366"/>
                  <a:gd name="T92" fmla="*/ 285 w 372"/>
                  <a:gd name="T93" fmla="*/ 21 h 366"/>
                  <a:gd name="T94" fmla="*/ 246 w 372"/>
                  <a:gd name="T95" fmla="*/ 21 h 366"/>
                  <a:gd name="T96" fmla="*/ 245 w 372"/>
                  <a:gd name="T97" fmla="*/ 1 h 366"/>
                  <a:gd name="T98" fmla="*/ 205 w 372"/>
                  <a:gd name="T99" fmla="*/ 5 h 366"/>
                  <a:gd name="T100" fmla="*/ 170 w 372"/>
                  <a:gd name="T101" fmla="*/ 25 h 366"/>
                  <a:gd name="T102" fmla="*/ 172 w 372"/>
                  <a:gd name="T103" fmla="*/ 49 h 366"/>
                  <a:gd name="T104" fmla="*/ 125 w 372"/>
                  <a:gd name="T105" fmla="*/ 68 h 366"/>
                  <a:gd name="T106" fmla="*/ 116 w 372"/>
                  <a:gd name="T107" fmla="*/ 91 h 366"/>
                  <a:gd name="T108" fmla="*/ 77 w 372"/>
                  <a:gd name="T109" fmla="*/ 127 h 366"/>
                  <a:gd name="T110" fmla="*/ 51 w 372"/>
                  <a:gd name="T111" fmla="*/ 121 h 366"/>
                  <a:gd name="T112" fmla="*/ 38 w 372"/>
                  <a:gd name="T113" fmla="*/ 127 h 366"/>
                  <a:gd name="T114" fmla="*/ 26 w 372"/>
                  <a:gd name="T115" fmla="*/ 117 h 366"/>
                  <a:gd name="T116" fmla="*/ 0 w 372"/>
                  <a:gd name="T117" fmla="*/ 117 h 366"/>
                  <a:gd name="T118" fmla="*/ 2 w 372"/>
                  <a:gd name="T119" fmla="*/ 127 h 366"/>
                  <a:gd name="T120" fmla="*/ 11 w 372"/>
                  <a:gd name="T121" fmla="*/ 13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2" h="366">
                    <a:moveTo>
                      <a:pt x="11" y="136"/>
                    </a:moveTo>
                    <a:cubicBezTo>
                      <a:pt x="11" y="156"/>
                      <a:pt x="11" y="156"/>
                      <a:pt x="11" y="156"/>
                    </a:cubicBezTo>
                    <a:cubicBezTo>
                      <a:pt x="11" y="156"/>
                      <a:pt x="19" y="150"/>
                      <a:pt x="23" y="160"/>
                    </a:cubicBezTo>
                    <a:cubicBezTo>
                      <a:pt x="27" y="170"/>
                      <a:pt x="33" y="181"/>
                      <a:pt x="33" y="181"/>
                    </a:cubicBezTo>
                    <a:cubicBezTo>
                      <a:pt x="33" y="181"/>
                      <a:pt x="35" y="204"/>
                      <a:pt x="42" y="213"/>
                    </a:cubicBezTo>
                    <a:cubicBezTo>
                      <a:pt x="49" y="222"/>
                      <a:pt x="70" y="234"/>
                      <a:pt x="70" y="234"/>
                    </a:cubicBezTo>
                    <a:cubicBezTo>
                      <a:pt x="70" y="234"/>
                      <a:pt x="88" y="231"/>
                      <a:pt x="90" y="238"/>
                    </a:cubicBezTo>
                    <a:cubicBezTo>
                      <a:pt x="92" y="245"/>
                      <a:pt x="91" y="260"/>
                      <a:pt x="91" y="260"/>
                    </a:cubicBezTo>
                    <a:cubicBezTo>
                      <a:pt x="112" y="261"/>
                      <a:pt x="112" y="261"/>
                      <a:pt x="112" y="261"/>
                    </a:cubicBezTo>
                    <a:cubicBezTo>
                      <a:pt x="114" y="276"/>
                      <a:pt x="114" y="276"/>
                      <a:pt x="114" y="276"/>
                    </a:cubicBezTo>
                    <a:cubicBezTo>
                      <a:pt x="110" y="281"/>
                      <a:pt x="110" y="281"/>
                      <a:pt x="110" y="281"/>
                    </a:cubicBezTo>
                    <a:cubicBezTo>
                      <a:pt x="110" y="299"/>
                      <a:pt x="110" y="299"/>
                      <a:pt x="110" y="299"/>
                    </a:cubicBezTo>
                    <a:cubicBezTo>
                      <a:pt x="110" y="299"/>
                      <a:pt x="122" y="297"/>
                      <a:pt x="122" y="304"/>
                    </a:cubicBezTo>
                    <a:cubicBezTo>
                      <a:pt x="122" y="311"/>
                      <a:pt x="122" y="319"/>
                      <a:pt x="122" y="319"/>
                    </a:cubicBezTo>
                    <a:cubicBezTo>
                      <a:pt x="122" y="319"/>
                      <a:pt x="148" y="322"/>
                      <a:pt x="161" y="327"/>
                    </a:cubicBezTo>
                    <a:cubicBezTo>
                      <a:pt x="171" y="331"/>
                      <a:pt x="177" y="345"/>
                      <a:pt x="180" y="352"/>
                    </a:cubicBezTo>
                    <a:cubicBezTo>
                      <a:pt x="167" y="353"/>
                      <a:pt x="167" y="353"/>
                      <a:pt x="167" y="353"/>
                    </a:cubicBezTo>
                    <a:cubicBezTo>
                      <a:pt x="206" y="351"/>
                      <a:pt x="206" y="351"/>
                      <a:pt x="206" y="351"/>
                    </a:cubicBezTo>
                    <a:cubicBezTo>
                      <a:pt x="206" y="351"/>
                      <a:pt x="222" y="358"/>
                      <a:pt x="230" y="359"/>
                    </a:cubicBezTo>
                    <a:cubicBezTo>
                      <a:pt x="238" y="360"/>
                      <a:pt x="265" y="359"/>
                      <a:pt x="265" y="359"/>
                    </a:cubicBezTo>
                    <a:cubicBezTo>
                      <a:pt x="277" y="366"/>
                      <a:pt x="277" y="366"/>
                      <a:pt x="277" y="366"/>
                    </a:cubicBezTo>
                    <a:cubicBezTo>
                      <a:pt x="324" y="310"/>
                      <a:pt x="324" y="310"/>
                      <a:pt x="324" y="310"/>
                    </a:cubicBezTo>
                    <a:cubicBezTo>
                      <a:pt x="334" y="307"/>
                      <a:pt x="334" y="307"/>
                      <a:pt x="334" y="307"/>
                    </a:cubicBezTo>
                    <a:cubicBezTo>
                      <a:pt x="325" y="294"/>
                      <a:pt x="325" y="294"/>
                      <a:pt x="325" y="294"/>
                    </a:cubicBezTo>
                    <a:cubicBezTo>
                      <a:pt x="333" y="289"/>
                      <a:pt x="333" y="289"/>
                      <a:pt x="333" y="289"/>
                    </a:cubicBezTo>
                    <a:cubicBezTo>
                      <a:pt x="334" y="266"/>
                      <a:pt x="334" y="266"/>
                      <a:pt x="334" y="266"/>
                    </a:cubicBezTo>
                    <a:cubicBezTo>
                      <a:pt x="334" y="266"/>
                      <a:pt x="349" y="265"/>
                      <a:pt x="350" y="257"/>
                    </a:cubicBezTo>
                    <a:cubicBezTo>
                      <a:pt x="352" y="249"/>
                      <a:pt x="354" y="242"/>
                      <a:pt x="354" y="242"/>
                    </a:cubicBezTo>
                    <a:cubicBezTo>
                      <a:pt x="354" y="242"/>
                      <a:pt x="365" y="235"/>
                      <a:pt x="364" y="229"/>
                    </a:cubicBezTo>
                    <a:cubicBezTo>
                      <a:pt x="362" y="222"/>
                      <a:pt x="345" y="211"/>
                      <a:pt x="346" y="206"/>
                    </a:cubicBezTo>
                    <a:cubicBezTo>
                      <a:pt x="348" y="201"/>
                      <a:pt x="360" y="190"/>
                      <a:pt x="360" y="190"/>
                    </a:cubicBezTo>
                    <a:cubicBezTo>
                      <a:pt x="346" y="174"/>
                      <a:pt x="346" y="174"/>
                      <a:pt x="346" y="174"/>
                    </a:cubicBezTo>
                    <a:cubicBezTo>
                      <a:pt x="360" y="167"/>
                      <a:pt x="360" y="167"/>
                      <a:pt x="360" y="167"/>
                    </a:cubicBezTo>
                    <a:cubicBezTo>
                      <a:pt x="360" y="158"/>
                      <a:pt x="360" y="158"/>
                      <a:pt x="360" y="158"/>
                    </a:cubicBezTo>
                    <a:cubicBezTo>
                      <a:pt x="360" y="158"/>
                      <a:pt x="369" y="158"/>
                      <a:pt x="366" y="145"/>
                    </a:cubicBezTo>
                    <a:cubicBezTo>
                      <a:pt x="364" y="131"/>
                      <a:pt x="356" y="125"/>
                      <a:pt x="358" y="119"/>
                    </a:cubicBezTo>
                    <a:cubicBezTo>
                      <a:pt x="361" y="114"/>
                      <a:pt x="366" y="107"/>
                      <a:pt x="366" y="107"/>
                    </a:cubicBezTo>
                    <a:cubicBezTo>
                      <a:pt x="360" y="99"/>
                      <a:pt x="360" y="99"/>
                      <a:pt x="360" y="99"/>
                    </a:cubicBezTo>
                    <a:cubicBezTo>
                      <a:pt x="366" y="90"/>
                      <a:pt x="366" y="90"/>
                      <a:pt x="366" y="90"/>
                    </a:cubicBezTo>
                    <a:cubicBezTo>
                      <a:pt x="358" y="81"/>
                      <a:pt x="358" y="81"/>
                      <a:pt x="358" y="81"/>
                    </a:cubicBezTo>
                    <a:cubicBezTo>
                      <a:pt x="358" y="81"/>
                      <a:pt x="372" y="71"/>
                      <a:pt x="368" y="63"/>
                    </a:cubicBezTo>
                    <a:cubicBezTo>
                      <a:pt x="364" y="55"/>
                      <a:pt x="349" y="55"/>
                      <a:pt x="349" y="55"/>
                    </a:cubicBezTo>
                    <a:cubicBezTo>
                      <a:pt x="349" y="55"/>
                      <a:pt x="344" y="43"/>
                      <a:pt x="336" y="43"/>
                    </a:cubicBezTo>
                    <a:cubicBezTo>
                      <a:pt x="328" y="43"/>
                      <a:pt x="318" y="46"/>
                      <a:pt x="318" y="46"/>
                    </a:cubicBezTo>
                    <a:cubicBezTo>
                      <a:pt x="308" y="30"/>
                      <a:pt x="308" y="30"/>
                      <a:pt x="308" y="30"/>
                    </a:cubicBezTo>
                    <a:cubicBezTo>
                      <a:pt x="293" y="33"/>
                      <a:pt x="293" y="33"/>
                      <a:pt x="293" y="33"/>
                    </a:cubicBezTo>
                    <a:cubicBezTo>
                      <a:pt x="285" y="21"/>
                      <a:pt x="285" y="21"/>
                      <a:pt x="285" y="21"/>
                    </a:cubicBezTo>
                    <a:cubicBezTo>
                      <a:pt x="246" y="21"/>
                      <a:pt x="246" y="21"/>
                      <a:pt x="246" y="21"/>
                    </a:cubicBezTo>
                    <a:cubicBezTo>
                      <a:pt x="245" y="1"/>
                      <a:pt x="245" y="1"/>
                      <a:pt x="245" y="1"/>
                    </a:cubicBezTo>
                    <a:cubicBezTo>
                      <a:pt x="236" y="0"/>
                      <a:pt x="218" y="0"/>
                      <a:pt x="205" y="5"/>
                    </a:cubicBezTo>
                    <a:cubicBezTo>
                      <a:pt x="188" y="11"/>
                      <a:pt x="170" y="25"/>
                      <a:pt x="170" y="25"/>
                    </a:cubicBezTo>
                    <a:cubicBezTo>
                      <a:pt x="170" y="25"/>
                      <a:pt x="173" y="48"/>
                      <a:pt x="172" y="49"/>
                    </a:cubicBezTo>
                    <a:cubicBezTo>
                      <a:pt x="171" y="50"/>
                      <a:pt x="132" y="61"/>
                      <a:pt x="125" y="68"/>
                    </a:cubicBezTo>
                    <a:cubicBezTo>
                      <a:pt x="118" y="75"/>
                      <a:pt x="116" y="91"/>
                      <a:pt x="116" y="91"/>
                    </a:cubicBezTo>
                    <a:cubicBezTo>
                      <a:pt x="116" y="91"/>
                      <a:pt x="95" y="118"/>
                      <a:pt x="77" y="127"/>
                    </a:cubicBezTo>
                    <a:cubicBezTo>
                      <a:pt x="59" y="136"/>
                      <a:pt x="58" y="127"/>
                      <a:pt x="51" y="121"/>
                    </a:cubicBezTo>
                    <a:cubicBezTo>
                      <a:pt x="44" y="115"/>
                      <a:pt x="42" y="127"/>
                      <a:pt x="38" y="127"/>
                    </a:cubicBezTo>
                    <a:cubicBezTo>
                      <a:pt x="34" y="127"/>
                      <a:pt x="28" y="121"/>
                      <a:pt x="26" y="117"/>
                    </a:cubicBezTo>
                    <a:cubicBezTo>
                      <a:pt x="24" y="113"/>
                      <a:pt x="0" y="117"/>
                      <a:pt x="0" y="117"/>
                    </a:cubicBezTo>
                    <a:cubicBezTo>
                      <a:pt x="2" y="127"/>
                      <a:pt x="2" y="127"/>
                      <a:pt x="2" y="127"/>
                    </a:cubicBezTo>
                    <a:lnTo>
                      <a:pt x="11" y="136"/>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12" name="Zambia">
                <a:extLst>
                  <a:ext uri="{FF2B5EF4-FFF2-40B4-BE49-F238E27FC236}">
                    <a16:creationId xmlns:a16="http://schemas.microsoft.com/office/drawing/2014/main" id="{39E6203C-2BBA-4669-A931-EAAD9A66598B}"/>
                  </a:ext>
                </a:extLst>
              </p:cNvPr>
              <p:cNvSpPr>
                <a:spLocks/>
              </p:cNvSpPr>
              <p:nvPr/>
            </p:nvSpPr>
            <p:spPr bwMode="gray">
              <a:xfrm>
                <a:off x="6476470" y="4636265"/>
                <a:ext cx="931446" cy="710674"/>
              </a:xfrm>
              <a:custGeom>
                <a:avLst/>
                <a:gdLst>
                  <a:gd name="T0" fmla="*/ 551 w 563"/>
                  <a:gd name="T1" fmla="*/ 109 h 536"/>
                  <a:gd name="T2" fmla="*/ 540 w 563"/>
                  <a:gd name="T3" fmla="*/ 84 h 536"/>
                  <a:gd name="T4" fmla="*/ 525 w 563"/>
                  <a:gd name="T5" fmla="*/ 69 h 536"/>
                  <a:gd name="T6" fmla="*/ 502 w 563"/>
                  <a:gd name="T7" fmla="*/ 60 h 536"/>
                  <a:gd name="T8" fmla="*/ 485 w 563"/>
                  <a:gd name="T9" fmla="*/ 51 h 536"/>
                  <a:gd name="T10" fmla="*/ 461 w 563"/>
                  <a:gd name="T11" fmla="*/ 38 h 536"/>
                  <a:gd name="T12" fmla="*/ 436 w 563"/>
                  <a:gd name="T13" fmla="*/ 26 h 536"/>
                  <a:gd name="T14" fmla="*/ 419 w 563"/>
                  <a:gd name="T15" fmla="*/ 25 h 536"/>
                  <a:gd name="T16" fmla="*/ 402 w 563"/>
                  <a:gd name="T17" fmla="*/ 0 h 536"/>
                  <a:gd name="T18" fmla="*/ 333 w 563"/>
                  <a:gd name="T19" fmla="*/ 15 h 536"/>
                  <a:gd name="T20" fmla="*/ 306 w 563"/>
                  <a:gd name="T21" fmla="*/ 57 h 536"/>
                  <a:gd name="T22" fmla="*/ 320 w 563"/>
                  <a:gd name="T23" fmla="*/ 87 h 536"/>
                  <a:gd name="T24" fmla="*/ 304 w 563"/>
                  <a:gd name="T25" fmla="*/ 189 h 536"/>
                  <a:gd name="T26" fmla="*/ 351 w 563"/>
                  <a:gd name="T27" fmla="*/ 230 h 536"/>
                  <a:gd name="T28" fmla="*/ 364 w 563"/>
                  <a:gd name="T29" fmla="*/ 214 h 536"/>
                  <a:gd name="T30" fmla="*/ 367 w 563"/>
                  <a:gd name="T31" fmla="*/ 282 h 536"/>
                  <a:gd name="T32" fmla="*/ 344 w 563"/>
                  <a:gd name="T33" fmla="*/ 281 h 536"/>
                  <a:gd name="T34" fmla="*/ 324 w 563"/>
                  <a:gd name="T35" fmla="*/ 251 h 536"/>
                  <a:gd name="T36" fmla="*/ 305 w 563"/>
                  <a:gd name="T37" fmla="*/ 228 h 536"/>
                  <a:gd name="T38" fmla="*/ 282 w 563"/>
                  <a:gd name="T39" fmla="*/ 216 h 536"/>
                  <a:gd name="T40" fmla="*/ 267 w 563"/>
                  <a:gd name="T41" fmla="*/ 203 h 536"/>
                  <a:gd name="T42" fmla="*/ 246 w 563"/>
                  <a:gd name="T43" fmla="*/ 179 h 536"/>
                  <a:gd name="T44" fmla="*/ 165 w 563"/>
                  <a:gd name="T45" fmla="*/ 188 h 536"/>
                  <a:gd name="T46" fmla="*/ 128 w 563"/>
                  <a:gd name="T47" fmla="*/ 168 h 536"/>
                  <a:gd name="T48" fmla="*/ 117 w 563"/>
                  <a:gd name="T49" fmla="*/ 151 h 536"/>
                  <a:gd name="T50" fmla="*/ 101 w 563"/>
                  <a:gd name="T51" fmla="*/ 144 h 536"/>
                  <a:gd name="T52" fmla="*/ 107 w 563"/>
                  <a:gd name="T53" fmla="*/ 178 h 536"/>
                  <a:gd name="T54" fmla="*/ 98 w 563"/>
                  <a:gd name="T55" fmla="*/ 218 h 536"/>
                  <a:gd name="T56" fmla="*/ 93 w 563"/>
                  <a:gd name="T57" fmla="*/ 232 h 536"/>
                  <a:gd name="T58" fmla="*/ 84 w 563"/>
                  <a:gd name="T59" fmla="*/ 262 h 536"/>
                  <a:gd name="T60" fmla="*/ 0 w 563"/>
                  <a:gd name="T61" fmla="*/ 427 h 536"/>
                  <a:gd name="T62" fmla="*/ 6 w 563"/>
                  <a:gd name="T63" fmla="*/ 449 h 536"/>
                  <a:gd name="T64" fmla="*/ 79 w 563"/>
                  <a:gd name="T65" fmla="*/ 511 h 536"/>
                  <a:gd name="T66" fmla="*/ 108 w 563"/>
                  <a:gd name="T67" fmla="*/ 498 h 536"/>
                  <a:gd name="T68" fmla="*/ 138 w 563"/>
                  <a:gd name="T69" fmla="*/ 504 h 536"/>
                  <a:gd name="T70" fmla="*/ 177 w 563"/>
                  <a:gd name="T71" fmla="*/ 517 h 536"/>
                  <a:gd name="T72" fmla="*/ 202 w 563"/>
                  <a:gd name="T73" fmla="*/ 521 h 536"/>
                  <a:gd name="T74" fmla="*/ 267 w 563"/>
                  <a:gd name="T75" fmla="*/ 491 h 536"/>
                  <a:gd name="T76" fmla="*/ 323 w 563"/>
                  <a:gd name="T77" fmla="*/ 449 h 536"/>
                  <a:gd name="T78" fmla="*/ 356 w 563"/>
                  <a:gd name="T79" fmla="*/ 405 h 536"/>
                  <a:gd name="T80" fmla="*/ 395 w 563"/>
                  <a:gd name="T81" fmla="*/ 385 h 536"/>
                  <a:gd name="T82" fmla="*/ 411 w 563"/>
                  <a:gd name="T83" fmla="*/ 362 h 536"/>
                  <a:gd name="T84" fmla="*/ 475 w 563"/>
                  <a:gd name="T85" fmla="*/ 338 h 536"/>
                  <a:gd name="T86" fmla="*/ 506 w 563"/>
                  <a:gd name="T87" fmla="*/ 294 h 536"/>
                  <a:gd name="T88" fmla="*/ 519 w 563"/>
                  <a:gd name="T89" fmla="*/ 243 h 536"/>
                  <a:gd name="T90" fmla="*/ 539 w 563"/>
                  <a:gd name="T91" fmla="*/ 221 h 536"/>
                  <a:gd name="T92" fmla="*/ 542 w 563"/>
                  <a:gd name="T93" fmla="*/ 160 h 536"/>
                  <a:gd name="T94" fmla="*/ 535 w 563"/>
                  <a:gd name="T95" fmla="*/ 143 h 536"/>
                  <a:gd name="T96" fmla="*/ 551 w 563"/>
                  <a:gd name="T97" fmla="*/ 12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3" h="536">
                    <a:moveTo>
                      <a:pt x="551" y="122"/>
                    </a:moveTo>
                    <a:cubicBezTo>
                      <a:pt x="551" y="109"/>
                      <a:pt x="551" y="109"/>
                      <a:pt x="551" y="109"/>
                    </a:cubicBezTo>
                    <a:cubicBezTo>
                      <a:pt x="551" y="109"/>
                      <a:pt x="545" y="110"/>
                      <a:pt x="542" y="110"/>
                    </a:cubicBezTo>
                    <a:cubicBezTo>
                      <a:pt x="539" y="110"/>
                      <a:pt x="541" y="91"/>
                      <a:pt x="540" y="84"/>
                    </a:cubicBezTo>
                    <a:cubicBezTo>
                      <a:pt x="539" y="77"/>
                      <a:pt x="525" y="77"/>
                      <a:pt x="525" y="77"/>
                    </a:cubicBezTo>
                    <a:cubicBezTo>
                      <a:pt x="525" y="69"/>
                      <a:pt x="525" y="69"/>
                      <a:pt x="525" y="69"/>
                    </a:cubicBezTo>
                    <a:cubicBezTo>
                      <a:pt x="514" y="59"/>
                      <a:pt x="514" y="59"/>
                      <a:pt x="514" y="59"/>
                    </a:cubicBezTo>
                    <a:cubicBezTo>
                      <a:pt x="502" y="60"/>
                      <a:pt x="502" y="60"/>
                      <a:pt x="502" y="60"/>
                    </a:cubicBezTo>
                    <a:cubicBezTo>
                      <a:pt x="500" y="49"/>
                      <a:pt x="500" y="49"/>
                      <a:pt x="500" y="49"/>
                    </a:cubicBezTo>
                    <a:cubicBezTo>
                      <a:pt x="500" y="49"/>
                      <a:pt x="490" y="55"/>
                      <a:pt x="485" y="51"/>
                    </a:cubicBezTo>
                    <a:cubicBezTo>
                      <a:pt x="480" y="47"/>
                      <a:pt x="473" y="38"/>
                      <a:pt x="473" y="38"/>
                    </a:cubicBezTo>
                    <a:cubicBezTo>
                      <a:pt x="473" y="38"/>
                      <a:pt x="464" y="41"/>
                      <a:pt x="461" y="38"/>
                    </a:cubicBezTo>
                    <a:cubicBezTo>
                      <a:pt x="458" y="35"/>
                      <a:pt x="456" y="23"/>
                      <a:pt x="456" y="23"/>
                    </a:cubicBezTo>
                    <a:cubicBezTo>
                      <a:pt x="456" y="23"/>
                      <a:pt x="444" y="27"/>
                      <a:pt x="436" y="26"/>
                    </a:cubicBezTo>
                    <a:cubicBezTo>
                      <a:pt x="434" y="31"/>
                      <a:pt x="431" y="36"/>
                      <a:pt x="428" y="38"/>
                    </a:cubicBezTo>
                    <a:cubicBezTo>
                      <a:pt x="420" y="42"/>
                      <a:pt x="419" y="25"/>
                      <a:pt x="419" y="25"/>
                    </a:cubicBezTo>
                    <a:cubicBezTo>
                      <a:pt x="419" y="25"/>
                      <a:pt x="411" y="20"/>
                      <a:pt x="400" y="16"/>
                    </a:cubicBezTo>
                    <a:cubicBezTo>
                      <a:pt x="393" y="13"/>
                      <a:pt x="398" y="6"/>
                      <a:pt x="402" y="0"/>
                    </a:cubicBezTo>
                    <a:cubicBezTo>
                      <a:pt x="394" y="4"/>
                      <a:pt x="387" y="6"/>
                      <a:pt x="383" y="7"/>
                    </a:cubicBezTo>
                    <a:cubicBezTo>
                      <a:pt x="370" y="10"/>
                      <a:pt x="333" y="15"/>
                      <a:pt x="333" y="15"/>
                    </a:cubicBezTo>
                    <a:cubicBezTo>
                      <a:pt x="333" y="15"/>
                      <a:pt x="333" y="28"/>
                      <a:pt x="333" y="35"/>
                    </a:cubicBezTo>
                    <a:cubicBezTo>
                      <a:pt x="333" y="42"/>
                      <a:pt x="306" y="57"/>
                      <a:pt x="306" y="57"/>
                    </a:cubicBezTo>
                    <a:cubicBezTo>
                      <a:pt x="306" y="57"/>
                      <a:pt x="312" y="64"/>
                      <a:pt x="315" y="66"/>
                    </a:cubicBezTo>
                    <a:cubicBezTo>
                      <a:pt x="318" y="68"/>
                      <a:pt x="320" y="87"/>
                      <a:pt x="320" y="87"/>
                    </a:cubicBezTo>
                    <a:cubicBezTo>
                      <a:pt x="320" y="87"/>
                      <a:pt x="324" y="121"/>
                      <a:pt x="324" y="135"/>
                    </a:cubicBezTo>
                    <a:cubicBezTo>
                      <a:pt x="324" y="149"/>
                      <a:pt x="302" y="171"/>
                      <a:pt x="304" y="189"/>
                    </a:cubicBezTo>
                    <a:cubicBezTo>
                      <a:pt x="306" y="207"/>
                      <a:pt x="317" y="202"/>
                      <a:pt x="323" y="209"/>
                    </a:cubicBezTo>
                    <a:cubicBezTo>
                      <a:pt x="329" y="216"/>
                      <a:pt x="341" y="230"/>
                      <a:pt x="351" y="230"/>
                    </a:cubicBezTo>
                    <a:cubicBezTo>
                      <a:pt x="361" y="230"/>
                      <a:pt x="358" y="217"/>
                      <a:pt x="358" y="217"/>
                    </a:cubicBezTo>
                    <a:cubicBezTo>
                      <a:pt x="364" y="214"/>
                      <a:pt x="364" y="214"/>
                      <a:pt x="364" y="214"/>
                    </a:cubicBezTo>
                    <a:cubicBezTo>
                      <a:pt x="372" y="214"/>
                      <a:pt x="372" y="214"/>
                      <a:pt x="372" y="214"/>
                    </a:cubicBezTo>
                    <a:cubicBezTo>
                      <a:pt x="372" y="214"/>
                      <a:pt x="373" y="279"/>
                      <a:pt x="367" y="282"/>
                    </a:cubicBezTo>
                    <a:cubicBezTo>
                      <a:pt x="361" y="285"/>
                      <a:pt x="359" y="271"/>
                      <a:pt x="359" y="271"/>
                    </a:cubicBezTo>
                    <a:cubicBezTo>
                      <a:pt x="344" y="281"/>
                      <a:pt x="344" y="281"/>
                      <a:pt x="344" y="281"/>
                    </a:cubicBezTo>
                    <a:cubicBezTo>
                      <a:pt x="332" y="281"/>
                      <a:pt x="332" y="281"/>
                      <a:pt x="332" y="281"/>
                    </a:cubicBezTo>
                    <a:cubicBezTo>
                      <a:pt x="332" y="281"/>
                      <a:pt x="329" y="258"/>
                      <a:pt x="324" y="251"/>
                    </a:cubicBezTo>
                    <a:cubicBezTo>
                      <a:pt x="319" y="244"/>
                      <a:pt x="313" y="247"/>
                      <a:pt x="313" y="247"/>
                    </a:cubicBezTo>
                    <a:cubicBezTo>
                      <a:pt x="313" y="247"/>
                      <a:pt x="311" y="236"/>
                      <a:pt x="305" y="228"/>
                    </a:cubicBezTo>
                    <a:cubicBezTo>
                      <a:pt x="299" y="220"/>
                      <a:pt x="294" y="228"/>
                      <a:pt x="290" y="228"/>
                    </a:cubicBezTo>
                    <a:cubicBezTo>
                      <a:pt x="286" y="228"/>
                      <a:pt x="287" y="220"/>
                      <a:pt x="282" y="216"/>
                    </a:cubicBezTo>
                    <a:cubicBezTo>
                      <a:pt x="277" y="212"/>
                      <a:pt x="275" y="218"/>
                      <a:pt x="267" y="217"/>
                    </a:cubicBezTo>
                    <a:cubicBezTo>
                      <a:pt x="259" y="216"/>
                      <a:pt x="267" y="207"/>
                      <a:pt x="267" y="203"/>
                    </a:cubicBezTo>
                    <a:cubicBezTo>
                      <a:pt x="267" y="199"/>
                      <a:pt x="257" y="199"/>
                      <a:pt x="253" y="194"/>
                    </a:cubicBezTo>
                    <a:cubicBezTo>
                      <a:pt x="249" y="189"/>
                      <a:pt x="258" y="184"/>
                      <a:pt x="246" y="179"/>
                    </a:cubicBezTo>
                    <a:cubicBezTo>
                      <a:pt x="234" y="174"/>
                      <a:pt x="237" y="200"/>
                      <a:pt x="232" y="204"/>
                    </a:cubicBezTo>
                    <a:cubicBezTo>
                      <a:pt x="227" y="208"/>
                      <a:pt x="175" y="195"/>
                      <a:pt x="165" y="188"/>
                    </a:cubicBezTo>
                    <a:cubicBezTo>
                      <a:pt x="155" y="181"/>
                      <a:pt x="159" y="162"/>
                      <a:pt x="159" y="162"/>
                    </a:cubicBezTo>
                    <a:cubicBezTo>
                      <a:pt x="128" y="168"/>
                      <a:pt x="128" y="168"/>
                      <a:pt x="128" y="168"/>
                    </a:cubicBezTo>
                    <a:cubicBezTo>
                      <a:pt x="128" y="168"/>
                      <a:pt x="142" y="178"/>
                      <a:pt x="125" y="177"/>
                    </a:cubicBezTo>
                    <a:cubicBezTo>
                      <a:pt x="108" y="176"/>
                      <a:pt x="117" y="151"/>
                      <a:pt x="117" y="151"/>
                    </a:cubicBezTo>
                    <a:cubicBezTo>
                      <a:pt x="106" y="153"/>
                      <a:pt x="106" y="153"/>
                      <a:pt x="106" y="153"/>
                    </a:cubicBezTo>
                    <a:cubicBezTo>
                      <a:pt x="101" y="144"/>
                      <a:pt x="101" y="144"/>
                      <a:pt x="101" y="144"/>
                    </a:cubicBezTo>
                    <a:cubicBezTo>
                      <a:pt x="96" y="154"/>
                      <a:pt x="96" y="154"/>
                      <a:pt x="96" y="154"/>
                    </a:cubicBezTo>
                    <a:cubicBezTo>
                      <a:pt x="96" y="154"/>
                      <a:pt x="110" y="175"/>
                      <a:pt x="107" y="178"/>
                    </a:cubicBezTo>
                    <a:cubicBezTo>
                      <a:pt x="104" y="181"/>
                      <a:pt x="96" y="183"/>
                      <a:pt x="96" y="183"/>
                    </a:cubicBezTo>
                    <a:cubicBezTo>
                      <a:pt x="98" y="218"/>
                      <a:pt x="98" y="218"/>
                      <a:pt x="98" y="218"/>
                    </a:cubicBezTo>
                    <a:cubicBezTo>
                      <a:pt x="106" y="229"/>
                      <a:pt x="106" y="229"/>
                      <a:pt x="106" y="229"/>
                    </a:cubicBezTo>
                    <a:cubicBezTo>
                      <a:pt x="93" y="232"/>
                      <a:pt x="93" y="232"/>
                      <a:pt x="93" y="232"/>
                    </a:cubicBezTo>
                    <a:cubicBezTo>
                      <a:pt x="93" y="232"/>
                      <a:pt x="99" y="248"/>
                      <a:pt x="97" y="255"/>
                    </a:cubicBezTo>
                    <a:cubicBezTo>
                      <a:pt x="95" y="262"/>
                      <a:pt x="84" y="262"/>
                      <a:pt x="84" y="262"/>
                    </a:cubicBezTo>
                    <a:cubicBezTo>
                      <a:pt x="1" y="260"/>
                      <a:pt x="1" y="260"/>
                      <a:pt x="1" y="260"/>
                    </a:cubicBezTo>
                    <a:cubicBezTo>
                      <a:pt x="0" y="427"/>
                      <a:pt x="0" y="427"/>
                      <a:pt x="0" y="427"/>
                    </a:cubicBezTo>
                    <a:cubicBezTo>
                      <a:pt x="6" y="437"/>
                      <a:pt x="6" y="437"/>
                      <a:pt x="6" y="437"/>
                    </a:cubicBezTo>
                    <a:cubicBezTo>
                      <a:pt x="6" y="449"/>
                      <a:pt x="6" y="449"/>
                      <a:pt x="6" y="449"/>
                    </a:cubicBezTo>
                    <a:cubicBezTo>
                      <a:pt x="64" y="507"/>
                      <a:pt x="64" y="507"/>
                      <a:pt x="64" y="507"/>
                    </a:cubicBezTo>
                    <a:cubicBezTo>
                      <a:pt x="79" y="511"/>
                      <a:pt x="79" y="511"/>
                      <a:pt x="79" y="511"/>
                    </a:cubicBezTo>
                    <a:cubicBezTo>
                      <a:pt x="92" y="503"/>
                      <a:pt x="92" y="503"/>
                      <a:pt x="92" y="503"/>
                    </a:cubicBezTo>
                    <a:cubicBezTo>
                      <a:pt x="92" y="503"/>
                      <a:pt x="99" y="498"/>
                      <a:pt x="108" y="498"/>
                    </a:cubicBezTo>
                    <a:cubicBezTo>
                      <a:pt x="117" y="498"/>
                      <a:pt x="118" y="506"/>
                      <a:pt x="118" y="506"/>
                    </a:cubicBezTo>
                    <a:cubicBezTo>
                      <a:pt x="138" y="504"/>
                      <a:pt x="138" y="504"/>
                      <a:pt x="138" y="504"/>
                    </a:cubicBezTo>
                    <a:cubicBezTo>
                      <a:pt x="151" y="517"/>
                      <a:pt x="151" y="517"/>
                      <a:pt x="151" y="517"/>
                    </a:cubicBezTo>
                    <a:cubicBezTo>
                      <a:pt x="151" y="517"/>
                      <a:pt x="175" y="513"/>
                      <a:pt x="177" y="517"/>
                    </a:cubicBezTo>
                    <a:cubicBezTo>
                      <a:pt x="179" y="521"/>
                      <a:pt x="185" y="527"/>
                      <a:pt x="189" y="527"/>
                    </a:cubicBezTo>
                    <a:cubicBezTo>
                      <a:pt x="193" y="527"/>
                      <a:pt x="195" y="515"/>
                      <a:pt x="202" y="521"/>
                    </a:cubicBezTo>
                    <a:cubicBezTo>
                      <a:pt x="209" y="527"/>
                      <a:pt x="210" y="536"/>
                      <a:pt x="228" y="527"/>
                    </a:cubicBezTo>
                    <a:cubicBezTo>
                      <a:pt x="246" y="518"/>
                      <a:pt x="267" y="491"/>
                      <a:pt x="267" y="491"/>
                    </a:cubicBezTo>
                    <a:cubicBezTo>
                      <a:pt x="267" y="491"/>
                      <a:pt x="269" y="475"/>
                      <a:pt x="276" y="468"/>
                    </a:cubicBezTo>
                    <a:cubicBezTo>
                      <a:pt x="283" y="461"/>
                      <a:pt x="322" y="450"/>
                      <a:pt x="323" y="449"/>
                    </a:cubicBezTo>
                    <a:cubicBezTo>
                      <a:pt x="324" y="448"/>
                      <a:pt x="321" y="425"/>
                      <a:pt x="321" y="425"/>
                    </a:cubicBezTo>
                    <a:cubicBezTo>
                      <a:pt x="321" y="425"/>
                      <a:pt x="339" y="411"/>
                      <a:pt x="356" y="405"/>
                    </a:cubicBezTo>
                    <a:cubicBezTo>
                      <a:pt x="369" y="400"/>
                      <a:pt x="387" y="400"/>
                      <a:pt x="396" y="401"/>
                    </a:cubicBezTo>
                    <a:cubicBezTo>
                      <a:pt x="395" y="385"/>
                      <a:pt x="395" y="385"/>
                      <a:pt x="395" y="385"/>
                    </a:cubicBezTo>
                    <a:cubicBezTo>
                      <a:pt x="395" y="385"/>
                      <a:pt x="380" y="371"/>
                      <a:pt x="385" y="367"/>
                    </a:cubicBezTo>
                    <a:cubicBezTo>
                      <a:pt x="391" y="363"/>
                      <a:pt x="411" y="362"/>
                      <a:pt x="411" y="362"/>
                    </a:cubicBezTo>
                    <a:cubicBezTo>
                      <a:pt x="423" y="351"/>
                      <a:pt x="423" y="351"/>
                      <a:pt x="423" y="351"/>
                    </a:cubicBezTo>
                    <a:cubicBezTo>
                      <a:pt x="423" y="351"/>
                      <a:pt x="465" y="343"/>
                      <a:pt x="475" y="338"/>
                    </a:cubicBezTo>
                    <a:cubicBezTo>
                      <a:pt x="484" y="333"/>
                      <a:pt x="528" y="313"/>
                      <a:pt x="528" y="313"/>
                    </a:cubicBezTo>
                    <a:cubicBezTo>
                      <a:pt x="528" y="313"/>
                      <a:pt x="507" y="297"/>
                      <a:pt x="506" y="294"/>
                    </a:cubicBezTo>
                    <a:cubicBezTo>
                      <a:pt x="505" y="291"/>
                      <a:pt x="521" y="268"/>
                      <a:pt x="521" y="268"/>
                    </a:cubicBezTo>
                    <a:cubicBezTo>
                      <a:pt x="519" y="243"/>
                      <a:pt x="519" y="243"/>
                      <a:pt x="519" y="243"/>
                    </a:cubicBezTo>
                    <a:cubicBezTo>
                      <a:pt x="519" y="243"/>
                      <a:pt x="544" y="232"/>
                      <a:pt x="547" y="225"/>
                    </a:cubicBezTo>
                    <a:cubicBezTo>
                      <a:pt x="550" y="218"/>
                      <a:pt x="539" y="221"/>
                      <a:pt x="539" y="221"/>
                    </a:cubicBezTo>
                    <a:cubicBezTo>
                      <a:pt x="538" y="173"/>
                      <a:pt x="538" y="173"/>
                      <a:pt x="538" y="173"/>
                    </a:cubicBezTo>
                    <a:cubicBezTo>
                      <a:pt x="542" y="160"/>
                      <a:pt x="542" y="160"/>
                      <a:pt x="542" y="160"/>
                    </a:cubicBezTo>
                    <a:cubicBezTo>
                      <a:pt x="535" y="154"/>
                      <a:pt x="535" y="154"/>
                      <a:pt x="535" y="154"/>
                    </a:cubicBezTo>
                    <a:cubicBezTo>
                      <a:pt x="535" y="143"/>
                      <a:pt x="535" y="143"/>
                      <a:pt x="535" y="143"/>
                    </a:cubicBezTo>
                    <a:cubicBezTo>
                      <a:pt x="535" y="143"/>
                      <a:pt x="551" y="139"/>
                      <a:pt x="557" y="132"/>
                    </a:cubicBezTo>
                    <a:cubicBezTo>
                      <a:pt x="563" y="125"/>
                      <a:pt x="551" y="122"/>
                      <a:pt x="551" y="122"/>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13" name="Western Sahara">
                <a:extLst>
                  <a:ext uri="{FF2B5EF4-FFF2-40B4-BE49-F238E27FC236}">
                    <a16:creationId xmlns:a16="http://schemas.microsoft.com/office/drawing/2014/main" id="{B506F7E9-9A64-4ECA-8A83-0EE8D44DBE25}"/>
                  </a:ext>
                </a:extLst>
              </p:cNvPr>
              <p:cNvSpPr>
                <a:spLocks/>
              </p:cNvSpPr>
              <p:nvPr/>
            </p:nvSpPr>
            <p:spPr bwMode="gray">
              <a:xfrm>
                <a:off x="3461028" y="2083107"/>
                <a:ext cx="663300" cy="454982"/>
              </a:xfrm>
              <a:custGeom>
                <a:avLst/>
                <a:gdLst>
                  <a:gd name="T0" fmla="*/ 364 w 401"/>
                  <a:gd name="T1" fmla="*/ 0 h 343"/>
                  <a:gd name="T2" fmla="*/ 192 w 401"/>
                  <a:gd name="T3" fmla="*/ 0 h 343"/>
                  <a:gd name="T4" fmla="*/ 186 w 401"/>
                  <a:gd name="T5" fmla="*/ 12 h 343"/>
                  <a:gd name="T6" fmla="*/ 176 w 401"/>
                  <a:gd name="T7" fmla="*/ 47 h 343"/>
                  <a:gd name="T8" fmla="*/ 160 w 401"/>
                  <a:gd name="T9" fmla="*/ 61 h 343"/>
                  <a:gd name="T10" fmla="*/ 140 w 401"/>
                  <a:gd name="T11" fmla="*/ 66 h 343"/>
                  <a:gd name="T12" fmla="*/ 125 w 401"/>
                  <a:gd name="T13" fmla="*/ 72 h 343"/>
                  <a:gd name="T14" fmla="*/ 123 w 401"/>
                  <a:gd name="T15" fmla="*/ 97 h 343"/>
                  <a:gd name="T16" fmla="*/ 104 w 401"/>
                  <a:gd name="T17" fmla="*/ 122 h 343"/>
                  <a:gd name="T18" fmla="*/ 108 w 401"/>
                  <a:gd name="T19" fmla="*/ 158 h 343"/>
                  <a:gd name="T20" fmla="*/ 92 w 401"/>
                  <a:gd name="T21" fmla="*/ 171 h 343"/>
                  <a:gd name="T22" fmla="*/ 78 w 401"/>
                  <a:gd name="T23" fmla="*/ 190 h 343"/>
                  <a:gd name="T24" fmla="*/ 58 w 401"/>
                  <a:gd name="T25" fmla="*/ 201 h 343"/>
                  <a:gd name="T26" fmla="*/ 52 w 401"/>
                  <a:gd name="T27" fmla="*/ 212 h 343"/>
                  <a:gd name="T28" fmla="*/ 60 w 401"/>
                  <a:gd name="T29" fmla="*/ 216 h 343"/>
                  <a:gd name="T30" fmla="*/ 45 w 401"/>
                  <a:gd name="T31" fmla="*/ 237 h 343"/>
                  <a:gd name="T32" fmla="*/ 41 w 401"/>
                  <a:gd name="T33" fmla="*/ 259 h 343"/>
                  <a:gd name="T34" fmla="*/ 32 w 401"/>
                  <a:gd name="T35" fmla="*/ 259 h 343"/>
                  <a:gd name="T36" fmla="*/ 31 w 401"/>
                  <a:gd name="T37" fmla="*/ 281 h 343"/>
                  <a:gd name="T38" fmla="*/ 18 w 401"/>
                  <a:gd name="T39" fmla="*/ 286 h 343"/>
                  <a:gd name="T40" fmla="*/ 1 w 401"/>
                  <a:gd name="T41" fmla="*/ 318 h 343"/>
                  <a:gd name="T42" fmla="*/ 0 w 401"/>
                  <a:gd name="T43" fmla="*/ 343 h 343"/>
                  <a:gd name="T44" fmla="*/ 186 w 401"/>
                  <a:gd name="T45" fmla="*/ 341 h 343"/>
                  <a:gd name="T46" fmla="*/ 187 w 401"/>
                  <a:gd name="T47" fmla="*/ 272 h 343"/>
                  <a:gd name="T48" fmla="*/ 189 w 401"/>
                  <a:gd name="T49" fmla="*/ 247 h 343"/>
                  <a:gd name="T50" fmla="*/ 208 w 401"/>
                  <a:gd name="T51" fmla="*/ 236 h 343"/>
                  <a:gd name="T52" fmla="*/ 235 w 401"/>
                  <a:gd name="T53" fmla="*/ 231 h 343"/>
                  <a:gd name="T54" fmla="*/ 238 w 401"/>
                  <a:gd name="T55" fmla="*/ 101 h 343"/>
                  <a:gd name="T56" fmla="*/ 243 w 401"/>
                  <a:gd name="T57" fmla="*/ 98 h 343"/>
                  <a:gd name="T58" fmla="*/ 243 w 401"/>
                  <a:gd name="T59" fmla="*/ 88 h 343"/>
                  <a:gd name="T60" fmla="*/ 391 w 401"/>
                  <a:gd name="T61" fmla="*/ 87 h 343"/>
                  <a:gd name="T62" fmla="*/ 392 w 401"/>
                  <a:gd name="T63" fmla="*/ 62 h 343"/>
                  <a:gd name="T64" fmla="*/ 397 w 401"/>
                  <a:gd name="T65" fmla="*/ 58 h 343"/>
                  <a:gd name="T66" fmla="*/ 401 w 401"/>
                  <a:gd name="T67" fmla="*/ 2 h 343"/>
                  <a:gd name="T68" fmla="*/ 364 w 401"/>
                  <a:gd name="T6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1" h="343">
                    <a:moveTo>
                      <a:pt x="364" y="0"/>
                    </a:moveTo>
                    <a:cubicBezTo>
                      <a:pt x="192" y="0"/>
                      <a:pt x="192" y="0"/>
                      <a:pt x="192" y="0"/>
                    </a:cubicBezTo>
                    <a:cubicBezTo>
                      <a:pt x="190" y="3"/>
                      <a:pt x="188" y="8"/>
                      <a:pt x="186" y="12"/>
                    </a:cubicBezTo>
                    <a:cubicBezTo>
                      <a:pt x="181" y="25"/>
                      <a:pt x="176" y="47"/>
                      <a:pt x="176" y="47"/>
                    </a:cubicBezTo>
                    <a:cubicBezTo>
                      <a:pt x="176" y="47"/>
                      <a:pt x="164" y="57"/>
                      <a:pt x="160" y="61"/>
                    </a:cubicBezTo>
                    <a:cubicBezTo>
                      <a:pt x="156" y="65"/>
                      <a:pt x="140" y="66"/>
                      <a:pt x="140" y="66"/>
                    </a:cubicBezTo>
                    <a:cubicBezTo>
                      <a:pt x="140" y="66"/>
                      <a:pt x="129" y="63"/>
                      <a:pt x="125" y="72"/>
                    </a:cubicBezTo>
                    <a:cubicBezTo>
                      <a:pt x="121" y="81"/>
                      <a:pt x="123" y="97"/>
                      <a:pt x="123" y="97"/>
                    </a:cubicBezTo>
                    <a:cubicBezTo>
                      <a:pt x="123" y="97"/>
                      <a:pt x="104" y="116"/>
                      <a:pt x="104" y="122"/>
                    </a:cubicBezTo>
                    <a:cubicBezTo>
                      <a:pt x="104" y="128"/>
                      <a:pt x="115" y="145"/>
                      <a:pt x="108" y="158"/>
                    </a:cubicBezTo>
                    <a:cubicBezTo>
                      <a:pt x="101" y="171"/>
                      <a:pt x="92" y="171"/>
                      <a:pt x="92" y="171"/>
                    </a:cubicBezTo>
                    <a:cubicBezTo>
                      <a:pt x="92" y="171"/>
                      <a:pt x="83" y="185"/>
                      <a:pt x="78" y="190"/>
                    </a:cubicBezTo>
                    <a:cubicBezTo>
                      <a:pt x="73" y="195"/>
                      <a:pt x="62" y="197"/>
                      <a:pt x="58" y="201"/>
                    </a:cubicBezTo>
                    <a:cubicBezTo>
                      <a:pt x="54" y="205"/>
                      <a:pt x="52" y="212"/>
                      <a:pt x="52" y="212"/>
                    </a:cubicBezTo>
                    <a:cubicBezTo>
                      <a:pt x="60" y="216"/>
                      <a:pt x="60" y="216"/>
                      <a:pt x="60" y="216"/>
                    </a:cubicBezTo>
                    <a:cubicBezTo>
                      <a:pt x="60" y="216"/>
                      <a:pt x="49" y="227"/>
                      <a:pt x="45" y="237"/>
                    </a:cubicBezTo>
                    <a:cubicBezTo>
                      <a:pt x="41" y="247"/>
                      <a:pt x="41" y="259"/>
                      <a:pt x="41" y="259"/>
                    </a:cubicBezTo>
                    <a:cubicBezTo>
                      <a:pt x="32" y="259"/>
                      <a:pt x="32" y="259"/>
                      <a:pt x="32" y="259"/>
                    </a:cubicBezTo>
                    <a:cubicBezTo>
                      <a:pt x="32" y="259"/>
                      <a:pt x="42" y="271"/>
                      <a:pt x="31" y="281"/>
                    </a:cubicBezTo>
                    <a:cubicBezTo>
                      <a:pt x="20" y="291"/>
                      <a:pt x="18" y="286"/>
                      <a:pt x="18" y="286"/>
                    </a:cubicBezTo>
                    <a:cubicBezTo>
                      <a:pt x="18" y="286"/>
                      <a:pt x="1" y="304"/>
                      <a:pt x="1" y="318"/>
                    </a:cubicBezTo>
                    <a:cubicBezTo>
                      <a:pt x="1" y="325"/>
                      <a:pt x="1" y="335"/>
                      <a:pt x="0" y="343"/>
                    </a:cubicBezTo>
                    <a:cubicBezTo>
                      <a:pt x="186" y="341"/>
                      <a:pt x="186" y="341"/>
                      <a:pt x="186" y="341"/>
                    </a:cubicBezTo>
                    <a:cubicBezTo>
                      <a:pt x="187" y="272"/>
                      <a:pt x="187" y="272"/>
                      <a:pt x="187" y="272"/>
                    </a:cubicBezTo>
                    <a:cubicBezTo>
                      <a:pt x="187" y="272"/>
                      <a:pt x="178" y="257"/>
                      <a:pt x="189" y="247"/>
                    </a:cubicBezTo>
                    <a:cubicBezTo>
                      <a:pt x="200" y="237"/>
                      <a:pt x="208" y="236"/>
                      <a:pt x="208" y="236"/>
                    </a:cubicBezTo>
                    <a:cubicBezTo>
                      <a:pt x="208" y="236"/>
                      <a:pt x="233" y="237"/>
                      <a:pt x="235" y="231"/>
                    </a:cubicBezTo>
                    <a:cubicBezTo>
                      <a:pt x="237" y="225"/>
                      <a:pt x="238" y="101"/>
                      <a:pt x="238" y="101"/>
                    </a:cubicBezTo>
                    <a:cubicBezTo>
                      <a:pt x="243" y="98"/>
                      <a:pt x="243" y="98"/>
                      <a:pt x="243" y="98"/>
                    </a:cubicBezTo>
                    <a:cubicBezTo>
                      <a:pt x="243" y="88"/>
                      <a:pt x="243" y="88"/>
                      <a:pt x="243" y="88"/>
                    </a:cubicBezTo>
                    <a:cubicBezTo>
                      <a:pt x="391" y="87"/>
                      <a:pt x="391" y="87"/>
                      <a:pt x="391" y="87"/>
                    </a:cubicBezTo>
                    <a:cubicBezTo>
                      <a:pt x="392" y="62"/>
                      <a:pt x="392" y="62"/>
                      <a:pt x="392" y="62"/>
                    </a:cubicBezTo>
                    <a:cubicBezTo>
                      <a:pt x="397" y="58"/>
                      <a:pt x="397" y="58"/>
                      <a:pt x="397" y="58"/>
                    </a:cubicBezTo>
                    <a:cubicBezTo>
                      <a:pt x="401" y="2"/>
                      <a:pt x="401" y="2"/>
                      <a:pt x="401" y="2"/>
                    </a:cubicBezTo>
                    <a:lnTo>
                      <a:pt x="364" y="0"/>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14" name="Uganda">
                <a:extLst>
                  <a:ext uri="{FF2B5EF4-FFF2-40B4-BE49-F238E27FC236}">
                    <a16:creationId xmlns:a16="http://schemas.microsoft.com/office/drawing/2014/main" id="{241115F8-8DCD-4F86-968D-522AB65F1A2A}"/>
                  </a:ext>
                </a:extLst>
              </p:cNvPr>
              <p:cNvSpPr>
                <a:spLocks noEditPoints="1"/>
              </p:cNvSpPr>
              <p:nvPr/>
            </p:nvSpPr>
            <p:spPr bwMode="gray">
              <a:xfrm>
                <a:off x="7088008" y="3756384"/>
                <a:ext cx="442201" cy="417380"/>
              </a:xfrm>
              <a:custGeom>
                <a:avLst/>
                <a:gdLst>
                  <a:gd name="T0" fmla="*/ 204 w 266"/>
                  <a:gd name="T1" fmla="*/ 283 h 314"/>
                  <a:gd name="T2" fmla="*/ 214 w 266"/>
                  <a:gd name="T3" fmla="*/ 283 h 314"/>
                  <a:gd name="T4" fmla="*/ 215 w 266"/>
                  <a:gd name="T5" fmla="*/ 282 h 314"/>
                  <a:gd name="T6" fmla="*/ 204 w 266"/>
                  <a:gd name="T7" fmla="*/ 283 h 314"/>
                  <a:gd name="T8" fmla="*/ 262 w 266"/>
                  <a:gd name="T9" fmla="*/ 127 h 314"/>
                  <a:gd name="T10" fmla="*/ 246 w 266"/>
                  <a:gd name="T11" fmla="*/ 97 h 314"/>
                  <a:gd name="T12" fmla="*/ 255 w 266"/>
                  <a:gd name="T13" fmla="*/ 87 h 314"/>
                  <a:gd name="T14" fmla="*/ 234 w 266"/>
                  <a:gd name="T15" fmla="*/ 62 h 314"/>
                  <a:gd name="T16" fmla="*/ 235 w 266"/>
                  <a:gd name="T17" fmla="*/ 57 h 314"/>
                  <a:gd name="T18" fmla="*/ 226 w 266"/>
                  <a:gd name="T19" fmla="*/ 42 h 314"/>
                  <a:gd name="T20" fmla="*/ 228 w 266"/>
                  <a:gd name="T21" fmla="*/ 27 h 314"/>
                  <a:gd name="T22" fmla="*/ 215 w 266"/>
                  <a:gd name="T23" fmla="*/ 22 h 314"/>
                  <a:gd name="T24" fmla="*/ 208 w 266"/>
                  <a:gd name="T25" fmla="*/ 0 h 314"/>
                  <a:gd name="T26" fmla="*/ 200 w 266"/>
                  <a:gd name="T27" fmla="*/ 0 h 314"/>
                  <a:gd name="T28" fmla="*/ 178 w 266"/>
                  <a:gd name="T29" fmla="*/ 25 h 314"/>
                  <a:gd name="T30" fmla="*/ 161 w 266"/>
                  <a:gd name="T31" fmla="*/ 17 h 314"/>
                  <a:gd name="T32" fmla="*/ 149 w 266"/>
                  <a:gd name="T33" fmla="*/ 25 h 314"/>
                  <a:gd name="T34" fmla="*/ 133 w 266"/>
                  <a:gd name="T35" fmla="*/ 24 h 314"/>
                  <a:gd name="T36" fmla="*/ 120 w 266"/>
                  <a:gd name="T37" fmla="*/ 39 h 314"/>
                  <a:gd name="T38" fmla="*/ 106 w 266"/>
                  <a:gd name="T39" fmla="*/ 21 h 314"/>
                  <a:gd name="T40" fmla="*/ 99 w 266"/>
                  <a:gd name="T41" fmla="*/ 22 h 314"/>
                  <a:gd name="T42" fmla="*/ 92 w 266"/>
                  <a:gd name="T43" fmla="*/ 29 h 314"/>
                  <a:gd name="T44" fmla="*/ 72 w 266"/>
                  <a:gd name="T45" fmla="*/ 21 h 314"/>
                  <a:gd name="T46" fmla="*/ 56 w 266"/>
                  <a:gd name="T47" fmla="*/ 34 h 314"/>
                  <a:gd name="T48" fmla="*/ 62 w 266"/>
                  <a:gd name="T49" fmla="*/ 47 h 314"/>
                  <a:gd name="T50" fmla="*/ 49 w 266"/>
                  <a:gd name="T51" fmla="*/ 61 h 314"/>
                  <a:gd name="T52" fmla="*/ 59 w 266"/>
                  <a:gd name="T53" fmla="*/ 71 h 314"/>
                  <a:gd name="T54" fmla="*/ 52 w 266"/>
                  <a:gd name="T55" fmla="*/ 92 h 314"/>
                  <a:gd name="T56" fmla="*/ 66 w 266"/>
                  <a:gd name="T57" fmla="*/ 97 h 314"/>
                  <a:gd name="T58" fmla="*/ 78 w 266"/>
                  <a:gd name="T59" fmla="*/ 108 h 314"/>
                  <a:gd name="T60" fmla="*/ 45 w 266"/>
                  <a:gd name="T61" fmla="*/ 156 h 314"/>
                  <a:gd name="T62" fmla="*/ 29 w 266"/>
                  <a:gd name="T63" fmla="*/ 164 h 314"/>
                  <a:gd name="T64" fmla="*/ 29 w 266"/>
                  <a:gd name="T65" fmla="*/ 173 h 314"/>
                  <a:gd name="T66" fmla="*/ 16 w 266"/>
                  <a:gd name="T67" fmla="*/ 181 h 314"/>
                  <a:gd name="T68" fmla="*/ 14 w 266"/>
                  <a:gd name="T69" fmla="*/ 198 h 314"/>
                  <a:gd name="T70" fmla="*/ 4 w 266"/>
                  <a:gd name="T71" fmla="*/ 229 h 314"/>
                  <a:gd name="T72" fmla="*/ 4 w 266"/>
                  <a:gd name="T73" fmla="*/ 249 h 314"/>
                  <a:gd name="T74" fmla="*/ 0 w 266"/>
                  <a:gd name="T75" fmla="*/ 299 h 314"/>
                  <a:gd name="T76" fmla="*/ 10 w 266"/>
                  <a:gd name="T77" fmla="*/ 299 h 314"/>
                  <a:gd name="T78" fmla="*/ 22 w 266"/>
                  <a:gd name="T79" fmla="*/ 307 h 314"/>
                  <a:gd name="T80" fmla="*/ 33 w 266"/>
                  <a:gd name="T81" fmla="*/ 283 h 314"/>
                  <a:gd name="T82" fmla="*/ 49 w 266"/>
                  <a:gd name="T83" fmla="*/ 282 h 314"/>
                  <a:gd name="T84" fmla="*/ 110 w 266"/>
                  <a:gd name="T85" fmla="*/ 282 h 314"/>
                  <a:gd name="T86" fmla="*/ 102 w 266"/>
                  <a:gd name="T87" fmla="*/ 265 h 314"/>
                  <a:gd name="T88" fmla="*/ 111 w 266"/>
                  <a:gd name="T89" fmla="*/ 246 h 314"/>
                  <a:gd name="T90" fmla="*/ 118 w 266"/>
                  <a:gd name="T91" fmla="*/ 223 h 314"/>
                  <a:gd name="T92" fmla="*/ 160 w 266"/>
                  <a:gd name="T93" fmla="*/ 216 h 314"/>
                  <a:gd name="T94" fmla="*/ 176 w 266"/>
                  <a:gd name="T95" fmla="*/ 202 h 314"/>
                  <a:gd name="T96" fmla="*/ 182 w 266"/>
                  <a:gd name="T97" fmla="*/ 219 h 314"/>
                  <a:gd name="T98" fmla="*/ 200 w 266"/>
                  <a:gd name="T99" fmla="*/ 215 h 314"/>
                  <a:gd name="T100" fmla="*/ 207 w 266"/>
                  <a:gd name="T101" fmla="*/ 217 h 314"/>
                  <a:gd name="T102" fmla="*/ 207 w 266"/>
                  <a:gd name="T103" fmla="*/ 219 h 314"/>
                  <a:gd name="T104" fmla="*/ 218 w 266"/>
                  <a:gd name="T105" fmla="*/ 201 h 314"/>
                  <a:gd name="T106" fmla="*/ 219 w 266"/>
                  <a:gd name="T107" fmla="*/ 190 h 314"/>
                  <a:gd name="T108" fmla="*/ 231 w 266"/>
                  <a:gd name="T109" fmla="*/ 179 h 314"/>
                  <a:gd name="T110" fmla="*/ 234 w 266"/>
                  <a:gd name="T111" fmla="*/ 164 h 314"/>
                  <a:gd name="T112" fmla="*/ 247 w 266"/>
                  <a:gd name="T113" fmla="*/ 160 h 314"/>
                  <a:gd name="T114" fmla="*/ 251 w 266"/>
                  <a:gd name="T115" fmla="*/ 145 h 314"/>
                  <a:gd name="T116" fmla="*/ 262 w 266"/>
                  <a:gd name="T117" fmla="*/ 12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6" h="314">
                    <a:moveTo>
                      <a:pt x="204" y="283"/>
                    </a:moveTo>
                    <a:cubicBezTo>
                      <a:pt x="214" y="283"/>
                      <a:pt x="214" y="283"/>
                      <a:pt x="214" y="283"/>
                    </a:cubicBezTo>
                    <a:cubicBezTo>
                      <a:pt x="215" y="282"/>
                      <a:pt x="215" y="282"/>
                      <a:pt x="215" y="282"/>
                    </a:cubicBezTo>
                    <a:cubicBezTo>
                      <a:pt x="209" y="282"/>
                      <a:pt x="204" y="282"/>
                      <a:pt x="204" y="283"/>
                    </a:cubicBezTo>
                    <a:close/>
                    <a:moveTo>
                      <a:pt x="262" y="127"/>
                    </a:moveTo>
                    <a:cubicBezTo>
                      <a:pt x="258" y="121"/>
                      <a:pt x="245" y="102"/>
                      <a:pt x="246" y="97"/>
                    </a:cubicBezTo>
                    <a:cubicBezTo>
                      <a:pt x="247" y="92"/>
                      <a:pt x="255" y="87"/>
                      <a:pt x="255" y="87"/>
                    </a:cubicBezTo>
                    <a:cubicBezTo>
                      <a:pt x="234" y="62"/>
                      <a:pt x="234" y="62"/>
                      <a:pt x="234" y="62"/>
                    </a:cubicBezTo>
                    <a:cubicBezTo>
                      <a:pt x="235" y="57"/>
                      <a:pt x="235" y="57"/>
                      <a:pt x="235" y="57"/>
                    </a:cubicBezTo>
                    <a:cubicBezTo>
                      <a:pt x="235" y="57"/>
                      <a:pt x="224" y="48"/>
                      <a:pt x="226" y="42"/>
                    </a:cubicBezTo>
                    <a:cubicBezTo>
                      <a:pt x="228" y="36"/>
                      <a:pt x="228" y="27"/>
                      <a:pt x="228" y="27"/>
                    </a:cubicBezTo>
                    <a:cubicBezTo>
                      <a:pt x="228" y="27"/>
                      <a:pt x="215" y="35"/>
                      <a:pt x="215" y="22"/>
                    </a:cubicBezTo>
                    <a:cubicBezTo>
                      <a:pt x="215" y="9"/>
                      <a:pt x="208" y="0"/>
                      <a:pt x="208" y="0"/>
                    </a:cubicBezTo>
                    <a:cubicBezTo>
                      <a:pt x="200" y="0"/>
                      <a:pt x="200" y="0"/>
                      <a:pt x="200" y="0"/>
                    </a:cubicBezTo>
                    <a:cubicBezTo>
                      <a:pt x="200" y="0"/>
                      <a:pt x="191" y="27"/>
                      <a:pt x="178" y="25"/>
                    </a:cubicBezTo>
                    <a:cubicBezTo>
                      <a:pt x="165" y="23"/>
                      <a:pt x="166" y="17"/>
                      <a:pt x="161" y="17"/>
                    </a:cubicBezTo>
                    <a:cubicBezTo>
                      <a:pt x="156" y="17"/>
                      <a:pt x="149" y="25"/>
                      <a:pt x="149" y="25"/>
                    </a:cubicBezTo>
                    <a:cubicBezTo>
                      <a:pt x="133" y="24"/>
                      <a:pt x="133" y="24"/>
                      <a:pt x="133" y="24"/>
                    </a:cubicBezTo>
                    <a:cubicBezTo>
                      <a:pt x="120" y="39"/>
                      <a:pt x="120" y="39"/>
                      <a:pt x="120" y="39"/>
                    </a:cubicBezTo>
                    <a:cubicBezTo>
                      <a:pt x="106" y="21"/>
                      <a:pt x="106" y="21"/>
                      <a:pt x="106" y="21"/>
                    </a:cubicBezTo>
                    <a:cubicBezTo>
                      <a:pt x="99" y="22"/>
                      <a:pt x="99" y="22"/>
                      <a:pt x="99" y="22"/>
                    </a:cubicBezTo>
                    <a:cubicBezTo>
                      <a:pt x="99" y="22"/>
                      <a:pt x="98" y="30"/>
                      <a:pt x="92" y="29"/>
                    </a:cubicBezTo>
                    <a:cubicBezTo>
                      <a:pt x="86" y="28"/>
                      <a:pt x="77" y="21"/>
                      <a:pt x="72" y="21"/>
                    </a:cubicBezTo>
                    <a:cubicBezTo>
                      <a:pt x="67" y="21"/>
                      <a:pt x="56" y="34"/>
                      <a:pt x="56" y="34"/>
                    </a:cubicBezTo>
                    <a:cubicBezTo>
                      <a:pt x="62" y="47"/>
                      <a:pt x="62" y="47"/>
                      <a:pt x="62" y="47"/>
                    </a:cubicBezTo>
                    <a:cubicBezTo>
                      <a:pt x="49" y="61"/>
                      <a:pt x="49" y="61"/>
                      <a:pt x="49" y="61"/>
                    </a:cubicBezTo>
                    <a:cubicBezTo>
                      <a:pt x="49" y="61"/>
                      <a:pt x="60" y="65"/>
                      <a:pt x="59" y="71"/>
                    </a:cubicBezTo>
                    <a:cubicBezTo>
                      <a:pt x="58" y="76"/>
                      <a:pt x="49" y="87"/>
                      <a:pt x="52" y="92"/>
                    </a:cubicBezTo>
                    <a:cubicBezTo>
                      <a:pt x="55" y="98"/>
                      <a:pt x="66" y="97"/>
                      <a:pt x="66" y="97"/>
                    </a:cubicBezTo>
                    <a:cubicBezTo>
                      <a:pt x="66" y="97"/>
                      <a:pt x="78" y="100"/>
                      <a:pt x="78" y="108"/>
                    </a:cubicBezTo>
                    <a:cubicBezTo>
                      <a:pt x="78" y="116"/>
                      <a:pt x="45" y="156"/>
                      <a:pt x="45" y="156"/>
                    </a:cubicBezTo>
                    <a:cubicBezTo>
                      <a:pt x="29" y="164"/>
                      <a:pt x="29" y="164"/>
                      <a:pt x="29" y="164"/>
                    </a:cubicBezTo>
                    <a:cubicBezTo>
                      <a:pt x="29" y="173"/>
                      <a:pt x="29" y="173"/>
                      <a:pt x="29" y="173"/>
                    </a:cubicBezTo>
                    <a:cubicBezTo>
                      <a:pt x="16" y="181"/>
                      <a:pt x="16" y="181"/>
                      <a:pt x="16" y="181"/>
                    </a:cubicBezTo>
                    <a:cubicBezTo>
                      <a:pt x="14" y="198"/>
                      <a:pt x="14" y="198"/>
                      <a:pt x="14" y="198"/>
                    </a:cubicBezTo>
                    <a:cubicBezTo>
                      <a:pt x="4" y="229"/>
                      <a:pt x="4" y="229"/>
                      <a:pt x="4" y="229"/>
                    </a:cubicBezTo>
                    <a:cubicBezTo>
                      <a:pt x="4" y="249"/>
                      <a:pt x="4" y="249"/>
                      <a:pt x="4" y="249"/>
                    </a:cubicBezTo>
                    <a:cubicBezTo>
                      <a:pt x="0" y="299"/>
                      <a:pt x="0" y="299"/>
                      <a:pt x="0" y="299"/>
                    </a:cubicBezTo>
                    <a:cubicBezTo>
                      <a:pt x="10" y="299"/>
                      <a:pt x="10" y="299"/>
                      <a:pt x="10" y="299"/>
                    </a:cubicBezTo>
                    <a:cubicBezTo>
                      <a:pt x="10" y="299"/>
                      <a:pt x="16" y="314"/>
                      <a:pt x="22" y="307"/>
                    </a:cubicBezTo>
                    <a:cubicBezTo>
                      <a:pt x="29" y="299"/>
                      <a:pt x="33" y="283"/>
                      <a:pt x="33" y="283"/>
                    </a:cubicBezTo>
                    <a:cubicBezTo>
                      <a:pt x="49" y="282"/>
                      <a:pt x="49" y="282"/>
                      <a:pt x="49" y="282"/>
                    </a:cubicBezTo>
                    <a:cubicBezTo>
                      <a:pt x="110" y="282"/>
                      <a:pt x="110" y="282"/>
                      <a:pt x="110" y="282"/>
                    </a:cubicBezTo>
                    <a:cubicBezTo>
                      <a:pt x="110" y="277"/>
                      <a:pt x="104" y="271"/>
                      <a:pt x="102" y="265"/>
                    </a:cubicBezTo>
                    <a:cubicBezTo>
                      <a:pt x="100" y="258"/>
                      <a:pt x="107" y="250"/>
                      <a:pt x="111" y="246"/>
                    </a:cubicBezTo>
                    <a:cubicBezTo>
                      <a:pt x="115" y="242"/>
                      <a:pt x="109" y="230"/>
                      <a:pt x="118" y="223"/>
                    </a:cubicBezTo>
                    <a:cubicBezTo>
                      <a:pt x="127" y="216"/>
                      <a:pt x="157" y="218"/>
                      <a:pt x="160" y="216"/>
                    </a:cubicBezTo>
                    <a:cubicBezTo>
                      <a:pt x="163" y="214"/>
                      <a:pt x="170" y="202"/>
                      <a:pt x="176" y="202"/>
                    </a:cubicBezTo>
                    <a:cubicBezTo>
                      <a:pt x="182" y="202"/>
                      <a:pt x="182" y="219"/>
                      <a:pt x="182" y="219"/>
                    </a:cubicBezTo>
                    <a:cubicBezTo>
                      <a:pt x="182" y="219"/>
                      <a:pt x="189" y="212"/>
                      <a:pt x="200" y="215"/>
                    </a:cubicBezTo>
                    <a:cubicBezTo>
                      <a:pt x="202" y="215"/>
                      <a:pt x="204" y="216"/>
                      <a:pt x="207" y="217"/>
                    </a:cubicBezTo>
                    <a:cubicBezTo>
                      <a:pt x="207" y="218"/>
                      <a:pt x="207" y="218"/>
                      <a:pt x="207" y="219"/>
                    </a:cubicBezTo>
                    <a:cubicBezTo>
                      <a:pt x="207" y="208"/>
                      <a:pt x="218" y="201"/>
                      <a:pt x="218" y="201"/>
                    </a:cubicBezTo>
                    <a:cubicBezTo>
                      <a:pt x="219" y="190"/>
                      <a:pt x="219" y="190"/>
                      <a:pt x="219" y="190"/>
                    </a:cubicBezTo>
                    <a:cubicBezTo>
                      <a:pt x="231" y="179"/>
                      <a:pt x="231" y="179"/>
                      <a:pt x="231" y="179"/>
                    </a:cubicBezTo>
                    <a:cubicBezTo>
                      <a:pt x="231" y="179"/>
                      <a:pt x="227" y="170"/>
                      <a:pt x="234" y="164"/>
                    </a:cubicBezTo>
                    <a:cubicBezTo>
                      <a:pt x="241" y="158"/>
                      <a:pt x="247" y="160"/>
                      <a:pt x="247" y="160"/>
                    </a:cubicBezTo>
                    <a:cubicBezTo>
                      <a:pt x="251" y="145"/>
                      <a:pt x="251" y="145"/>
                      <a:pt x="251" y="145"/>
                    </a:cubicBezTo>
                    <a:cubicBezTo>
                      <a:pt x="251" y="145"/>
                      <a:pt x="266" y="133"/>
                      <a:pt x="262" y="127"/>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15" name="Tunisia">
                <a:extLst>
                  <a:ext uri="{FF2B5EF4-FFF2-40B4-BE49-F238E27FC236}">
                    <a16:creationId xmlns:a16="http://schemas.microsoft.com/office/drawing/2014/main" id="{1B26C850-CC10-43D4-992F-837FAF4DDB7C}"/>
                  </a:ext>
                </a:extLst>
              </p:cNvPr>
              <p:cNvSpPr>
                <a:spLocks/>
              </p:cNvSpPr>
              <p:nvPr/>
            </p:nvSpPr>
            <p:spPr bwMode="gray">
              <a:xfrm>
                <a:off x="5361559" y="1387474"/>
                <a:ext cx="310481" cy="515144"/>
              </a:xfrm>
              <a:custGeom>
                <a:avLst/>
                <a:gdLst>
                  <a:gd name="T0" fmla="*/ 25 w 187"/>
                  <a:gd name="T1" fmla="*/ 48 h 387"/>
                  <a:gd name="T2" fmla="*/ 38 w 187"/>
                  <a:gd name="T3" fmla="*/ 52 h 387"/>
                  <a:gd name="T4" fmla="*/ 33 w 187"/>
                  <a:gd name="T5" fmla="*/ 90 h 387"/>
                  <a:gd name="T6" fmla="*/ 38 w 187"/>
                  <a:gd name="T7" fmla="*/ 119 h 387"/>
                  <a:gd name="T8" fmla="*/ 30 w 187"/>
                  <a:gd name="T9" fmla="*/ 151 h 387"/>
                  <a:gd name="T10" fmla="*/ 16 w 187"/>
                  <a:gd name="T11" fmla="*/ 162 h 387"/>
                  <a:gd name="T12" fmla="*/ 0 w 187"/>
                  <a:gd name="T13" fmla="*/ 185 h 387"/>
                  <a:gd name="T14" fmla="*/ 0 w 187"/>
                  <a:gd name="T15" fmla="*/ 208 h 387"/>
                  <a:gd name="T16" fmla="*/ 7 w 187"/>
                  <a:gd name="T17" fmla="*/ 208 h 387"/>
                  <a:gd name="T18" fmla="*/ 7 w 187"/>
                  <a:gd name="T19" fmla="*/ 227 h 387"/>
                  <a:gd name="T20" fmla="*/ 34 w 187"/>
                  <a:gd name="T21" fmla="*/ 240 h 387"/>
                  <a:gd name="T22" fmla="*/ 35 w 187"/>
                  <a:gd name="T23" fmla="*/ 266 h 387"/>
                  <a:gd name="T24" fmla="*/ 67 w 187"/>
                  <a:gd name="T25" fmla="*/ 291 h 387"/>
                  <a:gd name="T26" fmla="*/ 88 w 187"/>
                  <a:gd name="T27" fmla="*/ 387 h 387"/>
                  <a:gd name="T28" fmla="*/ 104 w 187"/>
                  <a:gd name="T29" fmla="*/ 381 h 387"/>
                  <a:gd name="T30" fmla="*/ 123 w 187"/>
                  <a:gd name="T31" fmla="*/ 355 h 387"/>
                  <a:gd name="T32" fmla="*/ 114 w 187"/>
                  <a:gd name="T33" fmla="*/ 317 h 387"/>
                  <a:gd name="T34" fmla="*/ 129 w 187"/>
                  <a:gd name="T35" fmla="*/ 306 h 387"/>
                  <a:gd name="T36" fmla="*/ 148 w 187"/>
                  <a:gd name="T37" fmla="*/ 283 h 387"/>
                  <a:gd name="T38" fmla="*/ 183 w 187"/>
                  <a:gd name="T39" fmla="*/ 265 h 387"/>
                  <a:gd name="T40" fmla="*/ 172 w 187"/>
                  <a:gd name="T41" fmla="*/ 255 h 387"/>
                  <a:gd name="T42" fmla="*/ 175 w 187"/>
                  <a:gd name="T43" fmla="*/ 228 h 387"/>
                  <a:gd name="T44" fmla="*/ 167 w 187"/>
                  <a:gd name="T45" fmla="*/ 226 h 387"/>
                  <a:gd name="T46" fmla="*/ 160 w 187"/>
                  <a:gd name="T47" fmla="*/ 207 h 387"/>
                  <a:gd name="T48" fmla="*/ 150 w 187"/>
                  <a:gd name="T49" fmla="*/ 201 h 387"/>
                  <a:gd name="T50" fmla="*/ 148 w 187"/>
                  <a:gd name="T51" fmla="*/ 212 h 387"/>
                  <a:gd name="T52" fmla="*/ 142 w 187"/>
                  <a:gd name="T53" fmla="*/ 203 h 387"/>
                  <a:gd name="T54" fmla="*/ 111 w 187"/>
                  <a:gd name="T55" fmla="*/ 183 h 387"/>
                  <a:gd name="T56" fmla="*/ 132 w 187"/>
                  <a:gd name="T57" fmla="*/ 154 h 387"/>
                  <a:gd name="T58" fmla="*/ 156 w 187"/>
                  <a:gd name="T59" fmla="*/ 102 h 387"/>
                  <a:gd name="T60" fmla="*/ 132 w 187"/>
                  <a:gd name="T61" fmla="*/ 73 h 387"/>
                  <a:gd name="T62" fmla="*/ 145 w 187"/>
                  <a:gd name="T63" fmla="*/ 50 h 387"/>
                  <a:gd name="T64" fmla="*/ 156 w 187"/>
                  <a:gd name="T65" fmla="*/ 18 h 387"/>
                  <a:gd name="T66" fmla="*/ 125 w 187"/>
                  <a:gd name="T67" fmla="*/ 45 h 387"/>
                  <a:gd name="T68" fmla="*/ 108 w 187"/>
                  <a:gd name="T69" fmla="*/ 33 h 387"/>
                  <a:gd name="T70" fmla="*/ 110 w 187"/>
                  <a:gd name="T71" fmla="*/ 8 h 387"/>
                  <a:gd name="T72" fmla="*/ 60 w 187"/>
                  <a:gd name="T73" fmla="*/ 23 h 387"/>
                  <a:gd name="T74" fmla="*/ 53 w 187"/>
                  <a:gd name="T75" fmla="*/ 25 h 387"/>
                  <a:gd name="T76" fmla="*/ 53 w 187"/>
                  <a:gd name="T77" fmla="*/ 35 h 387"/>
                  <a:gd name="T78" fmla="*/ 25 w 187"/>
                  <a:gd name="T79" fmla="*/ 48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387">
                    <a:moveTo>
                      <a:pt x="25" y="48"/>
                    </a:moveTo>
                    <a:cubicBezTo>
                      <a:pt x="38" y="52"/>
                      <a:pt x="38" y="52"/>
                      <a:pt x="38" y="52"/>
                    </a:cubicBezTo>
                    <a:cubicBezTo>
                      <a:pt x="38" y="52"/>
                      <a:pt x="29" y="83"/>
                      <a:pt x="33" y="90"/>
                    </a:cubicBezTo>
                    <a:cubicBezTo>
                      <a:pt x="37" y="97"/>
                      <a:pt x="39" y="109"/>
                      <a:pt x="38" y="119"/>
                    </a:cubicBezTo>
                    <a:cubicBezTo>
                      <a:pt x="37" y="129"/>
                      <a:pt x="30" y="151"/>
                      <a:pt x="30" y="151"/>
                    </a:cubicBezTo>
                    <a:cubicBezTo>
                      <a:pt x="16" y="162"/>
                      <a:pt x="16" y="162"/>
                      <a:pt x="16" y="162"/>
                    </a:cubicBezTo>
                    <a:cubicBezTo>
                      <a:pt x="16" y="162"/>
                      <a:pt x="0" y="175"/>
                      <a:pt x="0" y="185"/>
                    </a:cubicBezTo>
                    <a:cubicBezTo>
                      <a:pt x="0" y="195"/>
                      <a:pt x="0" y="208"/>
                      <a:pt x="0" y="208"/>
                    </a:cubicBezTo>
                    <a:cubicBezTo>
                      <a:pt x="7" y="208"/>
                      <a:pt x="7" y="208"/>
                      <a:pt x="7" y="208"/>
                    </a:cubicBezTo>
                    <a:cubicBezTo>
                      <a:pt x="7" y="227"/>
                      <a:pt x="7" y="227"/>
                      <a:pt x="7" y="227"/>
                    </a:cubicBezTo>
                    <a:cubicBezTo>
                      <a:pt x="7" y="227"/>
                      <a:pt x="33" y="232"/>
                      <a:pt x="34" y="240"/>
                    </a:cubicBezTo>
                    <a:cubicBezTo>
                      <a:pt x="35" y="248"/>
                      <a:pt x="35" y="266"/>
                      <a:pt x="35" y="266"/>
                    </a:cubicBezTo>
                    <a:cubicBezTo>
                      <a:pt x="35" y="266"/>
                      <a:pt x="67" y="278"/>
                      <a:pt x="67" y="291"/>
                    </a:cubicBezTo>
                    <a:cubicBezTo>
                      <a:pt x="67" y="302"/>
                      <a:pt x="82" y="364"/>
                      <a:pt x="88" y="387"/>
                    </a:cubicBezTo>
                    <a:cubicBezTo>
                      <a:pt x="95" y="384"/>
                      <a:pt x="104" y="381"/>
                      <a:pt x="104" y="381"/>
                    </a:cubicBezTo>
                    <a:cubicBezTo>
                      <a:pt x="104" y="381"/>
                      <a:pt x="124" y="367"/>
                      <a:pt x="123" y="355"/>
                    </a:cubicBezTo>
                    <a:cubicBezTo>
                      <a:pt x="122" y="343"/>
                      <a:pt x="112" y="323"/>
                      <a:pt x="114" y="317"/>
                    </a:cubicBezTo>
                    <a:cubicBezTo>
                      <a:pt x="116" y="311"/>
                      <a:pt x="129" y="306"/>
                      <a:pt x="129" y="306"/>
                    </a:cubicBezTo>
                    <a:cubicBezTo>
                      <a:pt x="129" y="306"/>
                      <a:pt x="142" y="289"/>
                      <a:pt x="148" y="283"/>
                    </a:cubicBezTo>
                    <a:cubicBezTo>
                      <a:pt x="154" y="277"/>
                      <a:pt x="179" y="273"/>
                      <a:pt x="183" y="265"/>
                    </a:cubicBezTo>
                    <a:cubicBezTo>
                      <a:pt x="187" y="257"/>
                      <a:pt x="172" y="255"/>
                      <a:pt x="172" y="255"/>
                    </a:cubicBezTo>
                    <a:cubicBezTo>
                      <a:pt x="175" y="228"/>
                      <a:pt x="175" y="228"/>
                      <a:pt x="175" y="228"/>
                    </a:cubicBezTo>
                    <a:cubicBezTo>
                      <a:pt x="170" y="227"/>
                      <a:pt x="167" y="226"/>
                      <a:pt x="167" y="226"/>
                    </a:cubicBezTo>
                    <a:cubicBezTo>
                      <a:pt x="160" y="207"/>
                      <a:pt x="160" y="207"/>
                      <a:pt x="160" y="207"/>
                    </a:cubicBezTo>
                    <a:cubicBezTo>
                      <a:pt x="150" y="201"/>
                      <a:pt x="150" y="201"/>
                      <a:pt x="150" y="201"/>
                    </a:cubicBezTo>
                    <a:cubicBezTo>
                      <a:pt x="148" y="212"/>
                      <a:pt x="148" y="212"/>
                      <a:pt x="148" y="212"/>
                    </a:cubicBezTo>
                    <a:cubicBezTo>
                      <a:pt x="142" y="203"/>
                      <a:pt x="142" y="203"/>
                      <a:pt x="142" y="203"/>
                    </a:cubicBezTo>
                    <a:cubicBezTo>
                      <a:pt x="142" y="203"/>
                      <a:pt x="111" y="202"/>
                      <a:pt x="111" y="183"/>
                    </a:cubicBezTo>
                    <a:cubicBezTo>
                      <a:pt x="111" y="164"/>
                      <a:pt x="109" y="174"/>
                      <a:pt x="132" y="154"/>
                    </a:cubicBezTo>
                    <a:cubicBezTo>
                      <a:pt x="155" y="134"/>
                      <a:pt x="169" y="118"/>
                      <a:pt x="156" y="102"/>
                    </a:cubicBezTo>
                    <a:cubicBezTo>
                      <a:pt x="143" y="86"/>
                      <a:pt x="128" y="89"/>
                      <a:pt x="132" y="73"/>
                    </a:cubicBezTo>
                    <a:cubicBezTo>
                      <a:pt x="136" y="57"/>
                      <a:pt x="135" y="59"/>
                      <a:pt x="145" y="50"/>
                    </a:cubicBezTo>
                    <a:cubicBezTo>
                      <a:pt x="155" y="41"/>
                      <a:pt x="163" y="19"/>
                      <a:pt x="156" y="18"/>
                    </a:cubicBezTo>
                    <a:cubicBezTo>
                      <a:pt x="149" y="17"/>
                      <a:pt x="130" y="43"/>
                      <a:pt x="125" y="45"/>
                    </a:cubicBezTo>
                    <a:cubicBezTo>
                      <a:pt x="120" y="47"/>
                      <a:pt x="108" y="33"/>
                      <a:pt x="108" y="33"/>
                    </a:cubicBezTo>
                    <a:cubicBezTo>
                      <a:pt x="108" y="33"/>
                      <a:pt x="127" y="16"/>
                      <a:pt x="110" y="8"/>
                    </a:cubicBezTo>
                    <a:cubicBezTo>
                      <a:pt x="93" y="0"/>
                      <a:pt x="66" y="19"/>
                      <a:pt x="60" y="23"/>
                    </a:cubicBezTo>
                    <a:cubicBezTo>
                      <a:pt x="58" y="24"/>
                      <a:pt x="56" y="25"/>
                      <a:pt x="53" y="25"/>
                    </a:cubicBezTo>
                    <a:cubicBezTo>
                      <a:pt x="53" y="35"/>
                      <a:pt x="53" y="35"/>
                      <a:pt x="53" y="35"/>
                    </a:cubicBezTo>
                    <a:lnTo>
                      <a:pt x="25" y="48"/>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16" name="Togo">
                <a:extLst>
                  <a:ext uri="{FF2B5EF4-FFF2-40B4-BE49-F238E27FC236}">
                    <a16:creationId xmlns:a16="http://schemas.microsoft.com/office/drawing/2014/main" id="{0083CD93-4A50-4807-8BE6-81EBC07E4A65}"/>
                  </a:ext>
                </a:extLst>
              </p:cNvPr>
              <p:cNvSpPr>
                <a:spLocks/>
              </p:cNvSpPr>
              <p:nvPr/>
            </p:nvSpPr>
            <p:spPr bwMode="gray">
              <a:xfrm>
                <a:off x="4750004" y="3267560"/>
                <a:ext cx="150537" cy="357217"/>
              </a:xfrm>
              <a:custGeom>
                <a:avLst/>
                <a:gdLst>
                  <a:gd name="T0" fmla="*/ 82 w 91"/>
                  <a:gd name="T1" fmla="*/ 239 h 270"/>
                  <a:gd name="T2" fmla="*/ 80 w 91"/>
                  <a:gd name="T3" fmla="*/ 195 h 270"/>
                  <a:gd name="T4" fmla="*/ 85 w 91"/>
                  <a:gd name="T5" fmla="*/ 188 h 270"/>
                  <a:gd name="T6" fmla="*/ 79 w 91"/>
                  <a:gd name="T7" fmla="*/ 182 h 270"/>
                  <a:gd name="T8" fmla="*/ 80 w 91"/>
                  <a:gd name="T9" fmla="*/ 143 h 270"/>
                  <a:gd name="T10" fmla="*/ 85 w 91"/>
                  <a:gd name="T11" fmla="*/ 135 h 270"/>
                  <a:gd name="T12" fmla="*/ 81 w 91"/>
                  <a:gd name="T13" fmla="*/ 108 h 270"/>
                  <a:gd name="T14" fmla="*/ 69 w 91"/>
                  <a:gd name="T15" fmla="*/ 91 h 270"/>
                  <a:gd name="T16" fmla="*/ 69 w 91"/>
                  <a:gd name="T17" fmla="*/ 60 h 270"/>
                  <a:gd name="T18" fmla="*/ 42 w 91"/>
                  <a:gd name="T19" fmla="*/ 37 h 270"/>
                  <a:gd name="T20" fmla="*/ 41 w 91"/>
                  <a:gd name="T21" fmla="*/ 18 h 270"/>
                  <a:gd name="T22" fmla="*/ 47 w 91"/>
                  <a:gd name="T23" fmla="*/ 6 h 270"/>
                  <a:gd name="T24" fmla="*/ 33 w 91"/>
                  <a:gd name="T25" fmla="*/ 7 h 270"/>
                  <a:gd name="T26" fmla="*/ 18 w 91"/>
                  <a:gd name="T27" fmla="*/ 0 h 270"/>
                  <a:gd name="T28" fmla="*/ 7 w 91"/>
                  <a:gd name="T29" fmla="*/ 1 h 270"/>
                  <a:gd name="T30" fmla="*/ 7 w 91"/>
                  <a:gd name="T31" fmla="*/ 12 h 270"/>
                  <a:gd name="T32" fmla="*/ 0 w 91"/>
                  <a:gd name="T33" fmla="*/ 21 h 270"/>
                  <a:gd name="T34" fmla="*/ 22 w 91"/>
                  <a:gd name="T35" fmla="*/ 39 h 270"/>
                  <a:gd name="T36" fmla="*/ 14 w 91"/>
                  <a:gd name="T37" fmla="*/ 88 h 270"/>
                  <a:gd name="T38" fmla="*/ 30 w 91"/>
                  <a:gd name="T39" fmla="*/ 85 h 270"/>
                  <a:gd name="T40" fmla="*/ 26 w 91"/>
                  <a:gd name="T41" fmla="*/ 110 h 270"/>
                  <a:gd name="T42" fmla="*/ 33 w 91"/>
                  <a:gd name="T43" fmla="*/ 120 h 270"/>
                  <a:gd name="T44" fmla="*/ 21 w 91"/>
                  <a:gd name="T45" fmla="*/ 131 h 270"/>
                  <a:gd name="T46" fmla="*/ 39 w 91"/>
                  <a:gd name="T47" fmla="*/ 145 h 270"/>
                  <a:gd name="T48" fmla="*/ 35 w 91"/>
                  <a:gd name="T49" fmla="*/ 154 h 270"/>
                  <a:gd name="T50" fmla="*/ 33 w 91"/>
                  <a:gd name="T51" fmla="*/ 183 h 270"/>
                  <a:gd name="T52" fmla="*/ 30 w 91"/>
                  <a:gd name="T53" fmla="*/ 195 h 270"/>
                  <a:gd name="T54" fmla="*/ 38 w 91"/>
                  <a:gd name="T55" fmla="*/ 202 h 270"/>
                  <a:gd name="T56" fmla="*/ 33 w 91"/>
                  <a:gd name="T57" fmla="*/ 225 h 270"/>
                  <a:gd name="T58" fmla="*/ 41 w 91"/>
                  <a:gd name="T59" fmla="*/ 253 h 270"/>
                  <a:gd name="T60" fmla="*/ 61 w 91"/>
                  <a:gd name="T61" fmla="*/ 270 h 270"/>
                  <a:gd name="T62" fmla="*/ 78 w 91"/>
                  <a:gd name="T63" fmla="*/ 259 h 270"/>
                  <a:gd name="T64" fmla="*/ 91 w 91"/>
                  <a:gd name="T65" fmla="*/ 258 h 270"/>
                  <a:gd name="T66" fmla="*/ 82 w 91"/>
                  <a:gd name="T67" fmla="*/ 23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270">
                    <a:moveTo>
                      <a:pt x="82" y="239"/>
                    </a:moveTo>
                    <a:cubicBezTo>
                      <a:pt x="80" y="195"/>
                      <a:pt x="80" y="195"/>
                      <a:pt x="80" y="195"/>
                    </a:cubicBezTo>
                    <a:cubicBezTo>
                      <a:pt x="85" y="188"/>
                      <a:pt x="85" y="188"/>
                      <a:pt x="85" y="188"/>
                    </a:cubicBezTo>
                    <a:cubicBezTo>
                      <a:pt x="79" y="182"/>
                      <a:pt x="79" y="182"/>
                      <a:pt x="79" y="182"/>
                    </a:cubicBezTo>
                    <a:cubicBezTo>
                      <a:pt x="80" y="143"/>
                      <a:pt x="80" y="143"/>
                      <a:pt x="80" y="143"/>
                    </a:cubicBezTo>
                    <a:cubicBezTo>
                      <a:pt x="85" y="135"/>
                      <a:pt x="85" y="135"/>
                      <a:pt x="85" y="135"/>
                    </a:cubicBezTo>
                    <a:cubicBezTo>
                      <a:pt x="85" y="135"/>
                      <a:pt x="80" y="116"/>
                      <a:pt x="81" y="108"/>
                    </a:cubicBezTo>
                    <a:cubicBezTo>
                      <a:pt x="82" y="100"/>
                      <a:pt x="69" y="91"/>
                      <a:pt x="69" y="91"/>
                    </a:cubicBezTo>
                    <a:cubicBezTo>
                      <a:pt x="69" y="91"/>
                      <a:pt x="71" y="68"/>
                      <a:pt x="69" y="60"/>
                    </a:cubicBezTo>
                    <a:cubicBezTo>
                      <a:pt x="67" y="52"/>
                      <a:pt x="42" y="37"/>
                      <a:pt x="42" y="37"/>
                    </a:cubicBezTo>
                    <a:cubicBezTo>
                      <a:pt x="41" y="18"/>
                      <a:pt x="41" y="18"/>
                      <a:pt x="41" y="18"/>
                    </a:cubicBezTo>
                    <a:cubicBezTo>
                      <a:pt x="47" y="6"/>
                      <a:pt x="47" y="6"/>
                      <a:pt x="47" y="6"/>
                    </a:cubicBezTo>
                    <a:cubicBezTo>
                      <a:pt x="33" y="7"/>
                      <a:pt x="33" y="7"/>
                      <a:pt x="33" y="7"/>
                    </a:cubicBezTo>
                    <a:cubicBezTo>
                      <a:pt x="18" y="0"/>
                      <a:pt x="18" y="0"/>
                      <a:pt x="18" y="0"/>
                    </a:cubicBezTo>
                    <a:cubicBezTo>
                      <a:pt x="7" y="1"/>
                      <a:pt x="7" y="1"/>
                      <a:pt x="7" y="1"/>
                    </a:cubicBezTo>
                    <a:cubicBezTo>
                      <a:pt x="7" y="12"/>
                      <a:pt x="7" y="12"/>
                      <a:pt x="7" y="12"/>
                    </a:cubicBezTo>
                    <a:cubicBezTo>
                      <a:pt x="0" y="21"/>
                      <a:pt x="0" y="21"/>
                      <a:pt x="0" y="21"/>
                    </a:cubicBezTo>
                    <a:cubicBezTo>
                      <a:pt x="22" y="39"/>
                      <a:pt x="22" y="39"/>
                      <a:pt x="22" y="39"/>
                    </a:cubicBezTo>
                    <a:cubicBezTo>
                      <a:pt x="14" y="88"/>
                      <a:pt x="14" y="88"/>
                      <a:pt x="14" y="88"/>
                    </a:cubicBezTo>
                    <a:cubicBezTo>
                      <a:pt x="14" y="88"/>
                      <a:pt x="26" y="78"/>
                      <a:pt x="30" y="85"/>
                    </a:cubicBezTo>
                    <a:cubicBezTo>
                      <a:pt x="34" y="92"/>
                      <a:pt x="26" y="110"/>
                      <a:pt x="26" y="110"/>
                    </a:cubicBezTo>
                    <a:cubicBezTo>
                      <a:pt x="26" y="110"/>
                      <a:pt x="34" y="117"/>
                      <a:pt x="33" y="120"/>
                    </a:cubicBezTo>
                    <a:cubicBezTo>
                      <a:pt x="32" y="123"/>
                      <a:pt x="21" y="131"/>
                      <a:pt x="21" y="131"/>
                    </a:cubicBezTo>
                    <a:cubicBezTo>
                      <a:pt x="21" y="131"/>
                      <a:pt x="38" y="139"/>
                      <a:pt x="39" y="145"/>
                    </a:cubicBezTo>
                    <a:cubicBezTo>
                      <a:pt x="40" y="151"/>
                      <a:pt x="35" y="154"/>
                      <a:pt x="35" y="154"/>
                    </a:cubicBezTo>
                    <a:cubicBezTo>
                      <a:pt x="33" y="183"/>
                      <a:pt x="33" y="183"/>
                      <a:pt x="33" y="183"/>
                    </a:cubicBezTo>
                    <a:cubicBezTo>
                      <a:pt x="33" y="183"/>
                      <a:pt x="30" y="190"/>
                      <a:pt x="30" y="195"/>
                    </a:cubicBezTo>
                    <a:cubicBezTo>
                      <a:pt x="30" y="200"/>
                      <a:pt x="37" y="196"/>
                      <a:pt x="38" y="202"/>
                    </a:cubicBezTo>
                    <a:cubicBezTo>
                      <a:pt x="39" y="208"/>
                      <a:pt x="33" y="225"/>
                      <a:pt x="33" y="225"/>
                    </a:cubicBezTo>
                    <a:cubicBezTo>
                      <a:pt x="41" y="253"/>
                      <a:pt x="41" y="253"/>
                      <a:pt x="41" y="253"/>
                    </a:cubicBezTo>
                    <a:cubicBezTo>
                      <a:pt x="61" y="270"/>
                      <a:pt x="61" y="270"/>
                      <a:pt x="61" y="270"/>
                    </a:cubicBezTo>
                    <a:cubicBezTo>
                      <a:pt x="66" y="264"/>
                      <a:pt x="72" y="260"/>
                      <a:pt x="78" y="259"/>
                    </a:cubicBezTo>
                    <a:cubicBezTo>
                      <a:pt x="82" y="258"/>
                      <a:pt x="86" y="258"/>
                      <a:pt x="91" y="258"/>
                    </a:cubicBezTo>
                    <a:cubicBezTo>
                      <a:pt x="91" y="248"/>
                      <a:pt x="82" y="239"/>
                      <a:pt x="82" y="239"/>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17" name="The Gambia">
                <a:extLst>
                  <a:ext uri="{FF2B5EF4-FFF2-40B4-BE49-F238E27FC236}">
                    <a16:creationId xmlns:a16="http://schemas.microsoft.com/office/drawing/2014/main" id="{07CA9356-F6BD-47BD-9EE6-511384D8D322}"/>
                  </a:ext>
                </a:extLst>
              </p:cNvPr>
              <p:cNvSpPr>
                <a:spLocks/>
              </p:cNvSpPr>
              <p:nvPr/>
            </p:nvSpPr>
            <p:spPr bwMode="gray">
              <a:xfrm>
                <a:off x="3451619" y="3068270"/>
                <a:ext cx="254031" cy="52643"/>
              </a:xfrm>
              <a:custGeom>
                <a:avLst/>
                <a:gdLst>
                  <a:gd name="T0" fmla="*/ 11 w 154"/>
                  <a:gd name="T1" fmla="*/ 15 h 39"/>
                  <a:gd name="T2" fmla="*/ 0 w 154"/>
                  <a:gd name="T3" fmla="*/ 37 h 39"/>
                  <a:gd name="T4" fmla="*/ 0 w 154"/>
                  <a:gd name="T5" fmla="*/ 39 h 39"/>
                  <a:gd name="T6" fmla="*/ 43 w 154"/>
                  <a:gd name="T7" fmla="*/ 39 h 39"/>
                  <a:gd name="T8" fmla="*/ 47 w 154"/>
                  <a:gd name="T9" fmla="*/ 30 h 39"/>
                  <a:gd name="T10" fmla="*/ 72 w 154"/>
                  <a:gd name="T11" fmla="*/ 27 h 39"/>
                  <a:gd name="T12" fmla="*/ 84 w 154"/>
                  <a:gd name="T13" fmla="*/ 15 h 39"/>
                  <a:gd name="T14" fmla="*/ 118 w 154"/>
                  <a:gd name="T15" fmla="*/ 34 h 39"/>
                  <a:gd name="T16" fmla="*/ 137 w 154"/>
                  <a:gd name="T17" fmla="*/ 15 h 39"/>
                  <a:gd name="T18" fmla="*/ 116 w 154"/>
                  <a:gd name="T19" fmla="*/ 20 h 39"/>
                  <a:gd name="T20" fmla="*/ 103 w 154"/>
                  <a:gd name="T21" fmla="*/ 8 h 39"/>
                  <a:gd name="T22" fmla="*/ 95 w 154"/>
                  <a:gd name="T23" fmla="*/ 10 h 39"/>
                  <a:gd name="T24" fmla="*/ 84 w 154"/>
                  <a:gd name="T25" fmla="*/ 2 h 39"/>
                  <a:gd name="T26" fmla="*/ 59 w 154"/>
                  <a:gd name="T27" fmla="*/ 3 h 39"/>
                  <a:gd name="T28" fmla="*/ 59 w 154"/>
                  <a:gd name="T29" fmla="*/ 13 h 39"/>
                  <a:gd name="T30" fmla="*/ 9 w 154"/>
                  <a:gd name="T31" fmla="*/ 13 h 39"/>
                  <a:gd name="T32" fmla="*/ 11 w 154"/>
                  <a:gd name="T33" fmla="*/ 1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39">
                    <a:moveTo>
                      <a:pt x="11" y="15"/>
                    </a:moveTo>
                    <a:cubicBezTo>
                      <a:pt x="11" y="15"/>
                      <a:pt x="1" y="30"/>
                      <a:pt x="0" y="37"/>
                    </a:cubicBezTo>
                    <a:cubicBezTo>
                      <a:pt x="0" y="38"/>
                      <a:pt x="0" y="38"/>
                      <a:pt x="0" y="39"/>
                    </a:cubicBezTo>
                    <a:cubicBezTo>
                      <a:pt x="11" y="39"/>
                      <a:pt x="41" y="39"/>
                      <a:pt x="43" y="39"/>
                    </a:cubicBezTo>
                    <a:cubicBezTo>
                      <a:pt x="46" y="39"/>
                      <a:pt x="47" y="30"/>
                      <a:pt x="47" y="30"/>
                    </a:cubicBezTo>
                    <a:cubicBezTo>
                      <a:pt x="47" y="30"/>
                      <a:pt x="66" y="28"/>
                      <a:pt x="72" y="27"/>
                    </a:cubicBezTo>
                    <a:cubicBezTo>
                      <a:pt x="78" y="26"/>
                      <a:pt x="84" y="15"/>
                      <a:pt x="84" y="15"/>
                    </a:cubicBezTo>
                    <a:cubicBezTo>
                      <a:pt x="84" y="15"/>
                      <a:pt x="100" y="34"/>
                      <a:pt x="118" y="34"/>
                    </a:cubicBezTo>
                    <a:cubicBezTo>
                      <a:pt x="136" y="34"/>
                      <a:pt x="154" y="19"/>
                      <a:pt x="137" y="15"/>
                    </a:cubicBezTo>
                    <a:cubicBezTo>
                      <a:pt x="120" y="11"/>
                      <a:pt x="121" y="21"/>
                      <a:pt x="116" y="20"/>
                    </a:cubicBezTo>
                    <a:cubicBezTo>
                      <a:pt x="111" y="19"/>
                      <a:pt x="103" y="8"/>
                      <a:pt x="103" y="8"/>
                    </a:cubicBezTo>
                    <a:cubicBezTo>
                      <a:pt x="95" y="10"/>
                      <a:pt x="95" y="10"/>
                      <a:pt x="95" y="10"/>
                    </a:cubicBezTo>
                    <a:cubicBezTo>
                      <a:pt x="95" y="10"/>
                      <a:pt x="97" y="0"/>
                      <a:pt x="84" y="2"/>
                    </a:cubicBezTo>
                    <a:cubicBezTo>
                      <a:pt x="71" y="4"/>
                      <a:pt x="59" y="3"/>
                      <a:pt x="59" y="3"/>
                    </a:cubicBezTo>
                    <a:cubicBezTo>
                      <a:pt x="59" y="13"/>
                      <a:pt x="59" y="13"/>
                      <a:pt x="59" y="13"/>
                    </a:cubicBezTo>
                    <a:cubicBezTo>
                      <a:pt x="9" y="13"/>
                      <a:pt x="9" y="13"/>
                      <a:pt x="9" y="13"/>
                    </a:cubicBezTo>
                    <a:cubicBezTo>
                      <a:pt x="10" y="14"/>
                      <a:pt x="11" y="15"/>
                      <a:pt x="11" y="15"/>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18" name="Tanzania">
                <a:extLst>
                  <a:ext uri="{FF2B5EF4-FFF2-40B4-BE49-F238E27FC236}">
                    <a16:creationId xmlns:a16="http://schemas.microsoft.com/office/drawing/2014/main" id="{8CCD1A42-94C6-4B10-A4B3-7452D483B309}"/>
                  </a:ext>
                </a:extLst>
              </p:cNvPr>
              <p:cNvSpPr>
                <a:spLocks noEditPoints="1"/>
              </p:cNvSpPr>
              <p:nvPr/>
            </p:nvSpPr>
            <p:spPr bwMode="gray">
              <a:xfrm>
                <a:off x="7083318" y="4128640"/>
                <a:ext cx="846769" cy="767075"/>
              </a:xfrm>
              <a:custGeom>
                <a:avLst/>
                <a:gdLst>
                  <a:gd name="T0" fmla="*/ 477 w 510"/>
                  <a:gd name="T1" fmla="*/ 478 h 579"/>
                  <a:gd name="T2" fmla="*/ 458 w 510"/>
                  <a:gd name="T3" fmla="*/ 405 h 579"/>
                  <a:gd name="T4" fmla="*/ 456 w 510"/>
                  <a:gd name="T5" fmla="*/ 360 h 579"/>
                  <a:gd name="T6" fmla="*/ 436 w 510"/>
                  <a:gd name="T7" fmla="*/ 290 h 579"/>
                  <a:gd name="T8" fmla="*/ 455 w 510"/>
                  <a:gd name="T9" fmla="*/ 198 h 579"/>
                  <a:gd name="T10" fmla="*/ 391 w 510"/>
                  <a:gd name="T11" fmla="*/ 118 h 579"/>
                  <a:gd name="T12" fmla="*/ 216 w 510"/>
                  <a:gd name="T13" fmla="*/ 1 h 579"/>
                  <a:gd name="T14" fmla="*/ 206 w 510"/>
                  <a:gd name="T15" fmla="*/ 1 h 579"/>
                  <a:gd name="T16" fmla="*/ 194 w 510"/>
                  <a:gd name="T17" fmla="*/ 31 h 579"/>
                  <a:gd name="T18" fmla="*/ 206 w 510"/>
                  <a:gd name="T19" fmla="*/ 59 h 579"/>
                  <a:gd name="T20" fmla="*/ 162 w 510"/>
                  <a:gd name="T21" fmla="*/ 71 h 579"/>
                  <a:gd name="T22" fmla="*/ 161 w 510"/>
                  <a:gd name="T23" fmla="*/ 99 h 579"/>
                  <a:gd name="T24" fmla="*/ 150 w 510"/>
                  <a:gd name="T25" fmla="*/ 73 h 579"/>
                  <a:gd name="T26" fmla="*/ 123 w 510"/>
                  <a:gd name="T27" fmla="*/ 66 h 579"/>
                  <a:gd name="T28" fmla="*/ 104 w 510"/>
                  <a:gd name="T29" fmla="*/ 80 h 579"/>
                  <a:gd name="T30" fmla="*/ 112 w 510"/>
                  <a:gd name="T31" fmla="*/ 2 h 579"/>
                  <a:gd name="T32" fmla="*/ 51 w 510"/>
                  <a:gd name="T33" fmla="*/ 0 h 579"/>
                  <a:gd name="T34" fmla="*/ 60 w 510"/>
                  <a:gd name="T35" fmla="*/ 31 h 579"/>
                  <a:gd name="T36" fmla="*/ 64 w 510"/>
                  <a:gd name="T37" fmla="*/ 64 h 579"/>
                  <a:gd name="T38" fmla="*/ 38 w 510"/>
                  <a:gd name="T39" fmla="*/ 97 h 579"/>
                  <a:gd name="T40" fmla="*/ 59 w 510"/>
                  <a:gd name="T41" fmla="*/ 118 h 579"/>
                  <a:gd name="T42" fmla="*/ 53 w 510"/>
                  <a:gd name="T43" fmla="*/ 130 h 579"/>
                  <a:gd name="T44" fmla="*/ 18 w 510"/>
                  <a:gd name="T45" fmla="*/ 177 h 579"/>
                  <a:gd name="T46" fmla="*/ 0 w 510"/>
                  <a:gd name="T47" fmla="*/ 194 h 579"/>
                  <a:gd name="T48" fmla="*/ 8 w 510"/>
                  <a:gd name="T49" fmla="*/ 226 h 579"/>
                  <a:gd name="T50" fmla="*/ 9 w 510"/>
                  <a:gd name="T51" fmla="*/ 279 h 579"/>
                  <a:gd name="T52" fmla="*/ 51 w 510"/>
                  <a:gd name="T53" fmla="*/ 322 h 579"/>
                  <a:gd name="T54" fmla="*/ 56 w 510"/>
                  <a:gd name="T55" fmla="*/ 370 h 579"/>
                  <a:gd name="T56" fmla="*/ 69 w 510"/>
                  <a:gd name="T57" fmla="*/ 409 h 579"/>
                  <a:gd name="T58" fmla="*/ 94 w 510"/>
                  <a:gd name="T59" fmla="*/ 421 h 579"/>
                  <a:gd name="T60" fmla="*/ 118 w 510"/>
                  <a:gd name="T61" fmla="*/ 434 h 579"/>
                  <a:gd name="T62" fmla="*/ 135 w 510"/>
                  <a:gd name="T63" fmla="*/ 443 h 579"/>
                  <a:gd name="T64" fmla="*/ 158 w 510"/>
                  <a:gd name="T65" fmla="*/ 452 h 579"/>
                  <a:gd name="T66" fmla="*/ 179 w 510"/>
                  <a:gd name="T67" fmla="*/ 461 h 579"/>
                  <a:gd name="T68" fmla="*/ 212 w 510"/>
                  <a:gd name="T69" fmla="*/ 453 h 579"/>
                  <a:gd name="T70" fmla="*/ 232 w 510"/>
                  <a:gd name="T71" fmla="*/ 514 h 579"/>
                  <a:gd name="T72" fmla="*/ 231 w 510"/>
                  <a:gd name="T73" fmla="*/ 539 h 579"/>
                  <a:gd name="T74" fmla="*/ 249 w 510"/>
                  <a:gd name="T75" fmla="*/ 569 h 579"/>
                  <a:gd name="T76" fmla="*/ 292 w 510"/>
                  <a:gd name="T77" fmla="*/ 558 h 579"/>
                  <a:gd name="T78" fmla="*/ 338 w 510"/>
                  <a:gd name="T79" fmla="*/ 568 h 579"/>
                  <a:gd name="T80" fmla="*/ 367 w 510"/>
                  <a:gd name="T81" fmla="*/ 573 h 579"/>
                  <a:gd name="T82" fmla="*/ 406 w 510"/>
                  <a:gd name="T83" fmla="*/ 552 h 579"/>
                  <a:gd name="T84" fmla="*/ 438 w 510"/>
                  <a:gd name="T85" fmla="*/ 545 h 579"/>
                  <a:gd name="T86" fmla="*/ 510 w 510"/>
                  <a:gd name="T87" fmla="*/ 507 h 579"/>
                  <a:gd name="T88" fmla="*/ 481 w 510"/>
                  <a:gd name="T89" fmla="*/ 237 h 579"/>
                  <a:gd name="T90" fmla="*/ 481 w 510"/>
                  <a:gd name="T91" fmla="*/ 237 h 579"/>
                  <a:gd name="T92" fmla="*/ 478 w 510"/>
                  <a:gd name="T93" fmla="*/ 294 h 579"/>
                  <a:gd name="T94" fmla="*/ 458 w 510"/>
                  <a:gd name="T95" fmla="*/ 251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0" h="579">
                    <a:moveTo>
                      <a:pt x="507" y="496"/>
                    </a:moveTo>
                    <a:cubicBezTo>
                      <a:pt x="507" y="496"/>
                      <a:pt x="479" y="489"/>
                      <a:pt x="477" y="478"/>
                    </a:cubicBezTo>
                    <a:cubicBezTo>
                      <a:pt x="475" y="467"/>
                      <a:pt x="473" y="436"/>
                      <a:pt x="473" y="436"/>
                    </a:cubicBezTo>
                    <a:cubicBezTo>
                      <a:pt x="458" y="405"/>
                      <a:pt x="458" y="405"/>
                      <a:pt x="458" y="405"/>
                    </a:cubicBezTo>
                    <a:cubicBezTo>
                      <a:pt x="467" y="374"/>
                      <a:pt x="467" y="374"/>
                      <a:pt x="467" y="374"/>
                    </a:cubicBezTo>
                    <a:cubicBezTo>
                      <a:pt x="456" y="360"/>
                      <a:pt x="456" y="360"/>
                      <a:pt x="456" y="360"/>
                    </a:cubicBezTo>
                    <a:cubicBezTo>
                      <a:pt x="456" y="360"/>
                      <a:pt x="476" y="325"/>
                      <a:pt x="471" y="317"/>
                    </a:cubicBezTo>
                    <a:cubicBezTo>
                      <a:pt x="466" y="309"/>
                      <a:pt x="439" y="302"/>
                      <a:pt x="436" y="290"/>
                    </a:cubicBezTo>
                    <a:cubicBezTo>
                      <a:pt x="433" y="278"/>
                      <a:pt x="450" y="239"/>
                      <a:pt x="451" y="232"/>
                    </a:cubicBezTo>
                    <a:cubicBezTo>
                      <a:pt x="452" y="226"/>
                      <a:pt x="454" y="203"/>
                      <a:pt x="455" y="198"/>
                    </a:cubicBezTo>
                    <a:cubicBezTo>
                      <a:pt x="380" y="128"/>
                      <a:pt x="380" y="128"/>
                      <a:pt x="380" y="128"/>
                    </a:cubicBezTo>
                    <a:cubicBezTo>
                      <a:pt x="380" y="128"/>
                      <a:pt x="388" y="122"/>
                      <a:pt x="391" y="118"/>
                    </a:cubicBezTo>
                    <a:cubicBezTo>
                      <a:pt x="394" y="114"/>
                      <a:pt x="382" y="105"/>
                      <a:pt x="382" y="105"/>
                    </a:cubicBezTo>
                    <a:cubicBezTo>
                      <a:pt x="216" y="1"/>
                      <a:pt x="216" y="1"/>
                      <a:pt x="216" y="1"/>
                    </a:cubicBezTo>
                    <a:cubicBezTo>
                      <a:pt x="206" y="1"/>
                      <a:pt x="206" y="1"/>
                      <a:pt x="206" y="1"/>
                    </a:cubicBezTo>
                    <a:cubicBezTo>
                      <a:pt x="206" y="1"/>
                      <a:pt x="206" y="1"/>
                      <a:pt x="206" y="1"/>
                    </a:cubicBezTo>
                    <a:cubicBezTo>
                      <a:pt x="206" y="10"/>
                      <a:pt x="209" y="24"/>
                      <a:pt x="209" y="24"/>
                    </a:cubicBezTo>
                    <a:cubicBezTo>
                      <a:pt x="194" y="31"/>
                      <a:pt x="194" y="31"/>
                      <a:pt x="194" y="31"/>
                    </a:cubicBezTo>
                    <a:cubicBezTo>
                      <a:pt x="194" y="31"/>
                      <a:pt x="181" y="40"/>
                      <a:pt x="176" y="55"/>
                    </a:cubicBezTo>
                    <a:cubicBezTo>
                      <a:pt x="171" y="70"/>
                      <a:pt x="206" y="59"/>
                      <a:pt x="206" y="59"/>
                    </a:cubicBezTo>
                    <a:cubicBezTo>
                      <a:pt x="206" y="59"/>
                      <a:pt x="187" y="75"/>
                      <a:pt x="181" y="78"/>
                    </a:cubicBezTo>
                    <a:cubicBezTo>
                      <a:pt x="175" y="81"/>
                      <a:pt x="171" y="72"/>
                      <a:pt x="162" y="71"/>
                    </a:cubicBezTo>
                    <a:cubicBezTo>
                      <a:pt x="153" y="70"/>
                      <a:pt x="154" y="89"/>
                      <a:pt x="154" y="89"/>
                    </a:cubicBezTo>
                    <a:cubicBezTo>
                      <a:pt x="161" y="99"/>
                      <a:pt x="161" y="99"/>
                      <a:pt x="161" y="99"/>
                    </a:cubicBezTo>
                    <a:cubicBezTo>
                      <a:pt x="161" y="99"/>
                      <a:pt x="158" y="100"/>
                      <a:pt x="148" y="99"/>
                    </a:cubicBezTo>
                    <a:cubicBezTo>
                      <a:pt x="138" y="98"/>
                      <a:pt x="150" y="73"/>
                      <a:pt x="150" y="73"/>
                    </a:cubicBezTo>
                    <a:cubicBezTo>
                      <a:pt x="138" y="78"/>
                      <a:pt x="138" y="78"/>
                      <a:pt x="138" y="78"/>
                    </a:cubicBezTo>
                    <a:cubicBezTo>
                      <a:pt x="138" y="78"/>
                      <a:pt x="130" y="66"/>
                      <a:pt x="123" y="66"/>
                    </a:cubicBezTo>
                    <a:cubicBezTo>
                      <a:pt x="113" y="66"/>
                      <a:pt x="114" y="92"/>
                      <a:pt x="109" y="92"/>
                    </a:cubicBezTo>
                    <a:cubicBezTo>
                      <a:pt x="104" y="92"/>
                      <a:pt x="104" y="80"/>
                      <a:pt x="104" y="80"/>
                    </a:cubicBezTo>
                    <a:cubicBezTo>
                      <a:pt x="104" y="80"/>
                      <a:pt x="99" y="54"/>
                      <a:pt x="101" y="40"/>
                    </a:cubicBezTo>
                    <a:cubicBezTo>
                      <a:pt x="103" y="26"/>
                      <a:pt x="111" y="8"/>
                      <a:pt x="112" y="2"/>
                    </a:cubicBezTo>
                    <a:cubicBezTo>
                      <a:pt x="112" y="1"/>
                      <a:pt x="112" y="1"/>
                      <a:pt x="112" y="0"/>
                    </a:cubicBezTo>
                    <a:cubicBezTo>
                      <a:pt x="51" y="0"/>
                      <a:pt x="51" y="0"/>
                      <a:pt x="51" y="0"/>
                    </a:cubicBezTo>
                    <a:cubicBezTo>
                      <a:pt x="46" y="13"/>
                      <a:pt x="46" y="13"/>
                      <a:pt x="46" y="13"/>
                    </a:cubicBezTo>
                    <a:cubicBezTo>
                      <a:pt x="46" y="13"/>
                      <a:pt x="56" y="23"/>
                      <a:pt x="60" y="31"/>
                    </a:cubicBezTo>
                    <a:cubicBezTo>
                      <a:pt x="64" y="39"/>
                      <a:pt x="58" y="44"/>
                      <a:pt x="58" y="44"/>
                    </a:cubicBezTo>
                    <a:cubicBezTo>
                      <a:pt x="58" y="44"/>
                      <a:pt x="64" y="52"/>
                      <a:pt x="64" y="64"/>
                    </a:cubicBezTo>
                    <a:cubicBezTo>
                      <a:pt x="64" y="76"/>
                      <a:pt x="44" y="74"/>
                      <a:pt x="44" y="74"/>
                    </a:cubicBezTo>
                    <a:cubicBezTo>
                      <a:pt x="44" y="74"/>
                      <a:pt x="40" y="88"/>
                      <a:pt x="38" y="97"/>
                    </a:cubicBezTo>
                    <a:cubicBezTo>
                      <a:pt x="36" y="106"/>
                      <a:pt x="60" y="107"/>
                      <a:pt x="60" y="107"/>
                    </a:cubicBezTo>
                    <a:cubicBezTo>
                      <a:pt x="59" y="118"/>
                      <a:pt x="59" y="118"/>
                      <a:pt x="59" y="118"/>
                    </a:cubicBezTo>
                    <a:cubicBezTo>
                      <a:pt x="51" y="121"/>
                      <a:pt x="51" y="121"/>
                      <a:pt x="51" y="121"/>
                    </a:cubicBezTo>
                    <a:cubicBezTo>
                      <a:pt x="53" y="130"/>
                      <a:pt x="53" y="130"/>
                      <a:pt x="53" y="130"/>
                    </a:cubicBezTo>
                    <a:cubicBezTo>
                      <a:pt x="53" y="130"/>
                      <a:pt x="41" y="129"/>
                      <a:pt x="34" y="142"/>
                    </a:cubicBezTo>
                    <a:cubicBezTo>
                      <a:pt x="27" y="155"/>
                      <a:pt x="34" y="165"/>
                      <a:pt x="18" y="177"/>
                    </a:cubicBezTo>
                    <a:cubicBezTo>
                      <a:pt x="11" y="182"/>
                      <a:pt x="6" y="184"/>
                      <a:pt x="2" y="185"/>
                    </a:cubicBezTo>
                    <a:cubicBezTo>
                      <a:pt x="0" y="194"/>
                      <a:pt x="0" y="194"/>
                      <a:pt x="0" y="194"/>
                    </a:cubicBezTo>
                    <a:cubicBezTo>
                      <a:pt x="0" y="194"/>
                      <a:pt x="6" y="205"/>
                      <a:pt x="9" y="209"/>
                    </a:cubicBezTo>
                    <a:cubicBezTo>
                      <a:pt x="12" y="213"/>
                      <a:pt x="8" y="226"/>
                      <a:pt x="8" y="226"/>
                    </a:cubicBezTo>
                    <a:cubicBezTo>
                      <a:pt x="8" y="226"/>
                      <a:pt x="19" y="256"/>
                      <a:pt x="15" y="261"/>
                    </a:cubicBezTo>
                    <a:cubicBezTo>
                      <a:pt x="11" y="266"/>
                      <a:pt x="8" y="269"/>
                      <a:pt x="9" y="279"/>
                    </a:cubicBezTo>
                    <a:cubicBezTo>
                      <a:pt x="10" y="289"/>
                      <a:pt x="18" y="294"/>
                      <a:pt x="24" y="296"/>
                    </a:cubicBezTo>
                    <a:cubicBezTo>
                      <a:pt x="30" y="298"/>
                      <a:pt x="47" y="316"/>
                      <a:pt x="51" y="322"/>
                    </a:cubicBezTo>
                    <a:cubicBezTo>
                      <a:pt x="55" y="328"/>
                      <a:pt x="51" y="337"/>
                      <a:pt x="49" y="345"/>
                    </a:cubicBezTo>
                    <a:cubicBezTo>
                      <a:pt x="47" y="353"/>
                      <a:pt x="56" y="370"/>
                      <a:pt x="56" y="370"/>
                    </a:cubicBezTo>
                    <a:cubicBezTo>
                      <a:pt x="74" y="394"/>
                      <a:pt x="74" y="394"/>
                      <a:pt x="74" y="394"/>
                    </a:cubicBezTo>
                    <a:cubicBezTo>
                      <a:pt x="74" y="394"/>
                      <a:pt x="72" y="401"/>
                      <a:pt x="69" y="409"/>
                    </a:cubicBezTo>
                    <a:cubicBezTo>
                      <a:pt x="77" y="410"/>
                      <a:pt x="89" y="406"/>
                      <a:pt x="89" y="406"/>
                    </a:cubicBezTo>
                    <a:cubicBezTo>
                      <a:pt x="89" y="406"/>
                      <a:pt x="91" y="418"/>
                      <a:pt x="94" y="421"/>
                    </a:cubicBezTo>
                    <a:cubicBezTo>
                      <a:pt x="97" y="424"/>
                      <a:pt x="106" y="421"/>
                      <a:pt x="106" y="421"/>
                    </a:cubicBezTo>
                    <a:cubicBezTo>
                      <a:pt x="106" y="421"/>
                      <a:pt x="113" y="430"/>
                      <a:pt x="118" y="434"/>
                    </a:cubicBezTo>
                    <a:cubicBezTo>
                      <a:pt x="123" y="438"/>
                      <a:pt x="133" y="432"/>
                      <a:pt x="133" y="432"/>
                    </a:cubicBezTo>
                    <a:cubicBezTo>
                      <a:pt x="135" y="443"/>
                      <a:pt x="135" y="443"/>
                      <a:pt x="135" y="443"/>
                    </a:cubicBezTo>
                    <a:cubicBezTo>
                      <a:pt x="147" y="442"/>
                      <a:pt x="147" y="442"/>
                      <a:pt x="147" y="442"/>
                    </a:cubicBezTo>
                    <a:cubicBezTo>
                      <a:pt x="158" y="452"/>
                      <a:pt x="158" y="452"/>
                      <a:pt x="158" y="452"/>
                    </a:cubicBezTo>
                    <a:cubicBezTo>
                      <a:pt x="173" y="451"/>
                      <a:pt x="173" y="451"/>
                      <a:pt x="173" y="451"/>
                    </a:cubicBezTo>
                    <a:cubicBezTo>
                      <a:pt x="179" y="461"/>
                      <a:pt x="179" y="461"/>
                      <a:pt x="179" y="461"/>
                    </a:cubicBezTo>
                    <a:cubicBezTo>
                      <a:pt x="198" y="461"/>
                      <a:pt x="198" y="461"/>
                      <a:pt x="198" y="461"/>
                    </a:cubicBezTo>
                    <a:cubicBezTo>
                      <a:pt x="198" y="461"/>
                      <a:pt x="202" y="448"/>
                      <a:pt x="212" y="453"/>
                    </a:cubicBezTo>
                    <a:cubicBezTo>
                      <a:pt x="222" y="458"/>
                      <a:pt x="230" y="479"/>
                      <a:pt x="230" y="479"/>
                    </a:cubicBezTo>
                    <a:cubicBezTo>
                      <a:pt x="232" y="514"/>
                      <a:pt x="232" y="514"/>
                      <a:pt x="232" y="514"/>
                    </a:cubicBezTo>
                    <a:cubicBezTo>
                      <a:pt x="232" y="514"/>
                      <a:pt x="237" y="515"/>
                      <a:pt x="237" y="522"/>
                    </a:cubicBezTo>
                    <a:cubicBezTo>
                      <a:pt x="237" y="529"/>
                      <a:pt x="234" y="531"/>
                      <a:pt x="231" y="539"/>
                    </a:cubicBezTo>
                    <a:cubicBezTo>
                      <a:pt x="228" y="547"/>
                      <a:pt x="250" y="557"/>
                      <a:pt x="250" y="557"/>
                    </a:cubicBezTo>
                    <a:cubicBezTo>
                      <a:pt x="249" y="569"/>
                      <a:pt x="249" y="569"/>
                      <a:pt x="249" y="569"/>
                    </a:cubicBezTo>
                    <a:cubicBezTo>
                      <a:pt x="262" y="569"/>
                      <a:pt x="280" y="568"/>
                      <a:pt x="280" y="568"/>
                    </a:cubicBezTo>
                    <a:cubicBezTo>
                      <a:pt x="280" y="568"/>
                      <a:pt x="284" y="558"/>
                      <a:pt x="292" y="558"/>
                    </a:cubicBezTo>
                    <a:cubicBezTo>
                      <a:pt x="300" y="558"/>
                      <a:pt x="319" y="579"/>
                      <a:pt x="324" y="579"/>
                    </a:cubicBezTo>
                    <a:cubicBezTo>
                      <a:pt x="329" y="579"/>
                      <a:pt x="334" y="570"/>
                      <a:pt x="338" y="568"/>
                    </a:cubicBezTo>
                    <a:cubicBezTo>
                      <a:pt x="342" y="566"/>
                      <a:pt x="356" y="574"/>
                      <a:pt x="356" y="574"/>
                    </a:cubicBezTo>
                    <a:cubicBezTo>
                      <a:pt x="356" y="574"/>
                      <a:pt x="360" y="576"/>
                      <a:pt x="367" y="573"/>
                    </a:cubicBezTo>
                    <a:cubicBezTo>
                      <a:pt x="374" y="570"/>
                      <a:pt x="390" y="552"/>
                      <a:pt x="390" y="552"/>
                    </a:cubicBezTo>
                    <a:cubicBezTo>
                      <a:pt x="406" y="552"/>
                      <a:pt x="406" y="552"/>
                      <a:pt x="406" y="552"/>
                    </a:cubicBezTo>
                    <a:cubicBezTo>
                      <a:pt x="406" y="552"/>
                      <a:pt x="409" y="560"/>
                      <a:pt x="413" y="559"/>
                    </a:cubicBezTo>
                    <a:cubicBezTo>
                      <a:pt x="417" y="558"/>
                      <a:pt x="438" y="545"/>
                      <a:pt x="438" y="545"/>
                    </a:cubicBezTo>
                    <a:cubicBezTo>
                      <a:pt x="457" y="544"/>
                      <a:pt x="457" y="544"/>
                      <a:pt x="457" y="544"/>
                    </a:cubicBezTo>
                    <a:cubicBezTo>
                      <a:pt x="510" y="507"/>
                      <a:pt x="510" y="507"/>
                      <a:pt x="510" y="507"/>
                    </a:cubicBezTo>
                    <a:lnTo>
                      <a:pt x="507" y="496"/>
                    </a:lnTo>
                    <a:close/>
                    <a:moveTo>
                      <a:pt x="481" y="237"/>
                    </a:moveTo>
                    <a:cubicBezTo>
                      <a:pt x="497" y="235"/>
                      <a:pt x="483" y="196"/>
                      <a:pt x="476" y="204"/>
                    </a:cubicBezTo>
                    <a:cubicBezTo>
                      <a:pt x="468" y="212"/>
                      <a:pt x="468" y="239"/>
                      <a:pt x="481" y="237"/>
                    </a:cubicBezTo>
                    <a:close/>
                    <a:moveTo>
                      <a:pt x="452" y="278"/>
                    </a:moveTo>
                    <a:cubicBezTo>
                      <a:pt x="452" y="278"/>
                      <a:pt x="468" y="296"/>
                      <a:pt x="478" y="294"/>
                    </a:cubicBezTo>
                    <a:cubicBezTo>
                      <a:pt x="487" y="292"/>
                      <a:pt x="470" y="272"/>
                      <a:pt x="470" y="272"/>
                    </a:cubicBezTo>
                    <a:cubicBezTo>
                      <a:pt x="470" y="272"/>
                      <a:pt x="474" y="251"/>
                      <a:pt x="458" y="251"/>
                    </a:cubicBezTo>
                    <a:cubicBezTo>
                      <a:pt x="442" y="251"/>
                      <a:pt x="452" y="278"/>
                      <a:pt x="452" y="278"/>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19" name="Swaziland">
                <a:extLst>
                  <a:ext uri="{FF2B5EF4-FFF2-40B4-BE49-F238E27FC236}">
                    <a16:creationId xmlns:a16="http://schemas.microsoft.com/office/drawing/2014/main" id="{8C0EC8D8-53D8-49F0-BAFB-02946134DAF9}"/>
                  </a:ext>
                </a:extLst>
              </p:cNvPr>
              <p:cNvSpPr>
                <a:spLocks/>
              </p:cNvSpPr>
              <p:nvPr/>
            </p:nvSpPr>
            <p:spPr bwMode="gray">
              <a:xfrm>
                <a:off x="7130361" y="5888401"/>
                <a:ext cx="122310" cy="116566"/>
              </a:xfrm>
              <a:custGeom>
                <a:avLst/>
                <a:gdLst>
                  <a:gd name="T0" fmla="*/ 59 w 73"/>
                  <a:gd name="T1" fmla="*/ 35 h 87"/>
                  <a:gd name="T2" fmla="*/ 62 w 73"/>
                  <a:gd name="T3" fmla="*/ 11 h 87"/>
                  <a:gd name="T4" fmla="*/ 46 w 73"/>
                  <a:gd name="T5" fmla="*/ 14 h 87"/>
                  <a:gd name="T6" fmla="*/ 27 w 73"/>
                  <a:gd name="T7" fmla="*/ 0 h 87"/>
                  <a:gd name="T8" fmla="*/ 11 w 73"/>
                  <a:gd name="T9" fmla="*/ 29 h 87"/>
                  <a:gd name="T10" fmla="*/ 2 w 73"/>
                  <a:gd name="T11" fmla="*/ 58 h 87"/>
                  <a:gd name="T12" fmla="*/ 34 w 73"/>
                  <a:gd name="T13" fmla="*/ 86 h 87"/>
                  <a:gd name="T14" fmla="*/ 56 w 73"/>
                  <a:gd name="T15" fmla="*/ 87 h 87"/>
                  <a:gd name="T16" fmla="*/ 63 w 73"/>
                  <a:gd name="T17" fmla="*/ 62 h 87"/>
                  <a:gd name="T18" fmla="*/ 73 w 73"/>
                  <a:gd name="T19" fmla="*/ 58 h 87"/>
                  <a:gd name="T20" fmla="*/ 69 w 73"/>
                  <a:gd name="T21" fmla="*/ 42 h 87"/>
                  <a:gd name="T22" fmla="*/ 59 w 73"/>
                  <a:gd name="T23" fmla="*/ 3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87">
                    <a:moveTo>
                      <a:pt x="59" y="35"/>
                    </a:moveTo>
                    <a:cubicBezTo>
                      <a:pt x="57" y="28"/>
                      <a:pt x="62" y="11"/>
                      <a:pt x="62" y="11"/>
                    </a:cubicBezTo>
                    <a:cubicBezTo>
                      <a:pt x="46" y="14"/>
                      <a:pt x="46" y="14"/>
                      <a:pt x="46" y="14"/>
                    </a:cubicBezTo>
                    <a:cubicBezTo>
                      <a:pt x="46" y="14"/>
                      <a:pt x="34" y="0"/>
                      <a:pt x="27" y="0"/>
                    </a:cubicBezTo>
                    <a:cubicBezTo>
                      <a:pt x="20" y="0"/>
                      <a:pt x="14" y="25"/>
                      <a:pt x="11" y="29"/>
                    </a:cubicBezTo>
                    <a:cubicBezTo>
                      <a:pt x="8" y="33"/>
                      <a:pt x="0" y="46"/>
                      <a:pt x="2" y="58"/>
                    </a:cubicBezTo>
                    <a:cubicBezTo>
                      <a:pt x="4" y="70"/>
                      <a:pt x="27" y="86"/>
                      <a:pt x="34" y="86"/>
                    </a:cubicBezTo>
                    <a:cubicBezTo>
                      <a:pt x="41" y="86"/>
                      <a:pt x="56" y="87"/>
                      <a:pt x="56" y="87"/>
                    </a:cubicBezTo>
                    <a:cubicBezTo>
                      <a:pt x="63" y="62"/>
                      <a:pt x="63" y="62"/>
                      <a:pt x="63" y="62"/>
                    </a:cubicBezTo>
                    <a:cubicBezTo>
                      <a:pt x="63" y="62"/>
                      <a:pt x="68" y="59"/>
                      <a:pt x="73" y="58"/>
                    </a:cubicBezTo>
                    <a:cubicBezTo>
                      <a:pt x="69" y="42"/>
                      <a:pt x="69" y="42"/>
                      <a:pt x="69" y="42"/>
                    </a:cubicBezTo>
                    <a:cubicBezTo>
                      <a:pt x="69" y="42"/>
                      <a:pt x="62" y="42"/>
                      <a:pt x="59" y="35"/>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20" name="Sudan">
                <a:extLst>
                  <a:ext uri="{FF2B5EF4-FFF2-40B4-BE49-F238E27FC236}">
                    <a16:creationId xmlns:a16="http://schemas.microsoft.com/office/drawing/2014/main" id="{96D27900-D311-4011-8AE5-6CE048C570E7}"/>
                  </a:ext>
                </a:extLst>
              </p:cNvPr>
              <p:cNvSpPr>
                <a:spLocks/>
              </p:cNvSpPr>
              <p:nvPr/>
            </p:nvSpPr>
            <p:spPr bwMode="gray">
              <a:xfrm>
                <a:off x="6467061" y="2410244"/>
                <a:ext cx="1293672" cy="1398786"/>
              </a:xfrm>
              <a:custGeom>
                <a:avLst/>
                <a:gdLst>
                  <a:gd name="T0" fmla="*/ 569 w 781"/>
                  <a:gd name="T1" fmla="*/ 46 h 1054"/>
                  <a:gd name="T2" fmla="*/ 443 w 781"/>
                  <a:gd name="T3" fmla="*/ 56 h 1054"/>
                  <a:gd name="T4" fmla="*/ 143 w 781"/>
                  <a:gd name="T5" fmla="*/ 56 h 1054"/>
                  <a:gd name="T6" fmla="*/ 101 w 781"/>
                  <a:gd name="T7" fmla="*/ 398 h 1054"/>
                  <a:gd name="T8" fmla="*/ 41 w 781"/>
                  <a:gd name="T9" fmla="*/ 434 h 1054"/>
                  <a:gd name="T10" fmla="*/ 30 w 781"/>
                  <a:gd name="T11" fmla="*/ 468 h 1054"/>
                  <a:gd name="T12" fmla="*/ 15 w 781"/>
                  <a:gd name="T13" fmla="*/ 504 h 1054"/>
                  <a:gd name="T14" fmla="*/ 11 w 781"/>
                  <a:gd name="T15" fmla="*/ 565 h 1054"/>
                  <a:gd name="T16" fmla="*/ 42 w 781"/>
                  <a:gd name="T17" fmla="*/ 598 h 1054"/>
                  <a:gd name="T18" fmla="*/ 56 w 781"/>
                  <a:gd name="T19" fmla="*/ 634 h 1054"/>
                  <a:gd name="T20" fmla="*/ 93 w 781"/>
                  <a:gd name="T21" fmla="*/ 714 h 1054"/>
                  <a:gd name="T22" fmla="*/ 83 w 781"/>
                  <a:gd name="T23" fmla="*/ 771 h 1054"/>
                  <a:gd name="T24" fmla="*/ 116 w 781"/>
                  <a:gd name="T25" fmla="*/ 797 h 1054"/>
                  <a:gd name="T26" fmla="*/ 171 w 781"/>
                  <a:gd name="T27" fmla="*/ 826 h 1054"/>
                  <a:gd name="T28" fmla="*/ 208 w 781"/>
                  <a:gd name="T29" fmla="*/ 878 h 1054"/>
                  <a:gd name="T30" fmla="*/ 225 w 781"/>
                  <a:gd name="T31" fmla="*/ 904 h 1054"/>
                  <a:gd name="T32" fmla="*/ 256 w 781"/>
                  <a:gd name="T33" fmla="*/ 932 h 1054"/>
                  <a:gd name="T34" fmla="*/ 285 w 781"/>
                  <a:gd name="T35" fmla="*/ 981 h 1054"/>
                  <a:gd name="T36" fmla="*/ 333 w 781"/>
                  <a:gd name="T37" fmla="*/ 994 h 1054"/>
                  <a:gd name="T38" fmla="*/ 390 w 781"/>
                  <a:gd name="T39" fmla="*/ 1017 h 1054"/>
                  <a:gd name="T40" fmla="*/ 431 w 781"/>
                  <a:gd name="T41" fmla="*/ 1049 h 1054"/>
                  <a:gd name="T42" fmla="*/ 474 w 781"/>
                  <a:gd name="T43" fmla="*/ 1037 h 1054"/>
                  <a:gd name="T44" fmla="*/ 508 w 781"/>
                  <a:gd name="T45" fmla="*/ 1039 h 1054"/>
                  <a:gd name="T46" fmla="*/ 553 w 781"/>
                  <a:gd name="T47" fmla="*/ 1040 h 1054"/>
                  <a:gd name="T48" fmla="*/ 597 w 781"/>
                  <a:gd name="T49" fmla="*/ 995 h 1054"/>
                  <a:gd name="T50" fmla="*/ 669 w 781"/>
                  <a:gd name="T51" fmla="*/ 976 h 1054"/>
                  <a:gd name="T52" fmla="*/ 628 w 781"/>
                  <a:gd name="T53" fmla="*/ 912 h 1054"/>
                  <a:gd name="T54" fmla="*/ 610 w 781"/>
                  <a:gd name="T55" fmla="*/ 882 h 1054"/>
                  <a:gd name="T56" fmla="*/ 587 w 781"/>
                  <a:gd name="T57" fmla="*/ 846 h 1054"/>
                  <a:gd name="T58" fmla="*/ 542 w 781"/>
                  <a:gd name="T59" fmla="*/ 802 h 1054"/>
                  <a:gd name="T60" fmla="*/ 568 w 781"/>
                  <a:gd name="T61" fmla="*/ 792 h 1054"/>
                  <a:gd name="T62" fmla="*/ 580 w 781"/>
                  <a:gd name="T63" fmla="*/ 719 h 1054"/>
                  <a:gd name="T64" fmla="*/ 603 w 781"/>
                  <a:gd name="T65" fmla="*/ 656 h 1054"/>
                  <a:gd name="T66" fmla="*/ 621 w 781"/>
                  <a:gd name="T67" fmla="*/ 631 h 1054"/>
                  <a:gd name="T68" fmla="*/ 642 w 781"/>
                  <a:gd name="T69" fmla="*/ 596 h 1054"/>
                  <a:gd name="T70" fmla="*/ 677 w 781"/>
                  <a:gd name="T71" fmla="*/ 555 h 1054"/>
                  <a:gd name="T72" fmla="*/ 691 w 781"/>
                  <a:gd name="T73" fmla="*/ 471 h 1054"/>
                  <a:gd name="T74" fmla="*/ 696 w 781"/>
                  <a:gd name="T75" fmla="*/ 414 h 1054"/>
                  <a:gd name="T76" fmla="*/ 703 w 781"/>
                  <a:gd name="T77" fmla="*/ 346 h 1054"/>
                  <a:gd name="T78" fmla="*/ 733 w 781"/>
                  <a:gd name="T79" fmla="*/ 321 h 1054"/>
                  <a:gd name="T80" fmla="*/ 781 w 781"/>
                  <a:gd name="T81" fmla="*/ 271 h 1054"/>
                  <a:gd name="T82" fmla="*/ 722 w 781"/>
                  <a:gd name="T83" fmla="*/ 228 h 1054"/>
                  <a:gd name="T84" fmla="*/ 708 w 781"/>
                  <a:gd name="T85" fmla="*/ 127 h 1054"/>
                  <a:gd name="T86" fmla="*/ 696 w 781"/>
                  <a:gd name="T87" fmla="*/ 84 h 1054"/>
                  <a:gd name="T88" fmla="*/ 661 w 781"/>
                  <a:gd name="T89" fmla="*/ 23 h 1054"/>
                  <a:gd name="T90" fmla="*/ 618 w 781"/>
                  <a:gd name="T91" fmla="*/ 15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1" h="1054">
                    <a:moveTo>
                      <a:pt x="601" y="16"/>
                    </a:moveTo>
                    <a:cubicBezTo>
                      <a:pt x="601" y="16"/>
                      <a:pt x="601" y="39"/>
                      <a:pt x="591" y="43"/>
                    </a:cubicBezTo>
                    <a:cubicBezTo>
                      <a:pt x="581" y="47"/>
                      <a:pt x="579" y="43"/>
                      <a:pt x="569" y="46"/>
                    </a:cubicBezTo>
                    <a:cubicBezTo>
                      <a:pt x="559" y="49"/>
                      <a:pt x="560" y="70"/>
                      <a:pt x="547" y="77"/>
                    </a:cubicBezTo>
                    <a:cubicBezTo>
                      <a:pt x="534" y="84"/>
                      <a:pt x="522" y="59"/>
                      <a:pt x="522" y="59"/>
                    </a:cubicBezTo>
                    <a:cubicBezTo>
                      <a:pt x="443" y="56"/>
                      <a:pt x="443" y="56"/>
                      <a:pt x="443" y="56"/>
                    </a:cubicBezTo>
                    <a:cubicBezTo>
                      <a:pt x="443" y="56"/>
                      <a:pt x="445" y="46"/>
                      <a:pt x="438" y="48"/>
                    </a:cubicBezTo>
                    <a:cubicBezTo>
                      <a:pt x="431" y="50"/>
                      <a:pt x="429" y="60"/>
                      <a:pt x="429" y="60"/>
                    </a:cubicBezTo>
                    <a:cubicBezTo>
                      <a:pt x="143" y="56"/>
                      <a:pt x="143" y="56"/>
                      <a:pt x="143" y="56"/>
                    </a:cubicBezTo>
                    <a:cubicBezTo>
                      <a:pt x="144" y="164"/>
                      <a:pt x="144" y="164"/>
                      <a:pt x="144" y="164"/>
                    </a:cubicBezTo>
                    <a:cubicBezTo>
                      <a:pt x="96" y="165"/>
                      <a:pt x="96" y="165"/>
                      <a:pt x="96" y="165"/>
                    </a:cubicBezTo>
                    <a:cubicBezTo>
                      <a:pt x="101" y="398"/>
                      <a:pt x="101" y="398"/>
                      <a:pt x="101" y="398"/>
                    </a:cubicBezTo>
                    <a:cubicBezTo>
                      <a:pt x="101" y="398"/>
                      <a:pt x="69" y="393"/>
                      <a:pt x="56" y="397"/>
                    </a:cubicBezTo>
                    <a:cubicBezTo>
                      <a:pt x="43" y="401"/>
                      <a:pt x="52" y="412"/>
                      <a:pt x="54" y="420"/>
                    </a:cubicBezTo>
                    <a:cubicBezTo>
                      <a:pt x="56" y="428"/>
                      <a:pt x="47" y="428"/>
                      <a:pt x="41" y="434"/>
                    </a:cubicBezTo>
                    <a:cubicBezTo>
                      <a:pt x="35" y="440"/>
                      <a:pt x="37" y="452"/>
                      <a:pt x="37" y="452"/>
                    </a:cubicBezTo>
                    <a:cubicBezTo>
                      <a:pt x="27" y="452"/>
                      <a:pt x="27" y="452"/>
                      <a:pt x="27" y="452"/>
                    </a:cubicBezTo>
                    <a:cubicBezTo>
                      <a:pt x="30" y="468"/>
                      <a:pt x="30" y="468"/>
                      <a:pt x="30" y="468"/>
                    </a:cubicBezTo>
                    <a:cubicBezTo>
                      <a:pt x="35" y="479"/>
                      <a:pt x="35" y="479"/>
                      <a:pt x="35" y="479"/>
                    </a:cubicBezTo>
                    <a:cubicBezTo>
                      <a:pt x="24" y="486"/>
                      <a:pt x="24" y="486"/>
                      <a:pt x="24" y="486"/>
                    </a:cubicBezTo>
                    <a:cubicBezTo>
                      <a:pt x="24" y="486"/>
                      <a:pt x="9" y="494"/>
                      <a:pt x="15" y="504"/>
                    </a:cubicBezTo>
                    <a:cubicBezTo>
                      <a:pt x="21" y="514"/>
                      <a:pt x="24" y="518"/>
                      <a:pt x="22" y="527"/>
                    </a:cubicBezTo>
                    <a:cubicBezTo>
                      <a:pt x="20" y="536"/>
                      <a:pt x="6" y="536"/>
                      <a:pt x="3" y="547"/>
                    </a:cubicBezTo>
                    <a:cubicBezTo>
                      <a:pt x="0" y="558"/>
                      <a:pt x="6" y="563"/>
                      <a:pt x="11" y="565"/>
                    </a:cubicBezTo>
                    <a:cubicBezTo>
                      <a:pt x="16" y="567"/>
                      <a:pt x="21" y="557"/>
                      <a:pt x="28" y="560"/>
                    </a:cubicBezTo>
                    <a:cubicBezTo>
                      <a:pt x="35" y="563"/>
                      <a:pt x="33" y="590"/>
                      <a:pt x="33" y="590"/>
                    </a:cubicBezTo>
                    <a:cubicBezTo>
                      <a:pt x="42" y="598"/>
                      <a:pt x="42" y="598"/>
                      <a:pt x="42" y="598"/>
                    </a:cubicBezTo>
                    <a:cubicBezTo>
                      <a:pt x="31" y="603"/>
                      <a:pt x="31" y="603"/>
                      <a:pt x="31" y="603"/>
                    </a:cubicBezTo>
                    <a:cubicBezTo>
                      <a:pt x="35" y="620"/>
                      <a:pt x="35" y="620"/>
                      <a:pt x="35" y="620"/>
                    </a:cubicBezTo>
                    <a:cubicBezTo>
                      <a:pt x="35" y="620"/>
                      <a:pt x="44" y="621"/>
                      <a:pt x="56" y="634"/>
                    </a:cubicBezTo>
                    <a:cubicBezTo>
                      <a:pt x="68" y="647"/>
                      <a:pt x="50" y="643"/>
                      <a:pt x="50" y="643"/>
                    </a:cubicBezTo>
                    <a:cubicBezTo>
                      <a:pt x="52" y="659"/>
                      <a:pt x="52" y="659"/>
                      <a:pt x="52" y="659"/>
                    </a:cubicBezTo>
                    <a:cubicBezTo>
                      <a:pt x="52" y="659"/>
                      <a:pt x="89" y="692"/>
                      <a:pt x="93" y="714"/>
                    </a:cubicBezTo>
                    <a:cubicBezTo>
                      <a:pt x="97" y="736"/>
                      <a:pt x="82" y="743"/>
                      <a:pt x="81" y="753"/>
                    </a:cubicBezTo>
                    <a:cubicBezTo>
                      <a:pt x="80" y="763"/>
                      <a:pt x="89" y="760"/>
                      <a:pt x="89" y="760"/>
                    </a:cubicBezTo>
                    <a:cubicBezTo>
                      <a:pt x="83" y="771"/>
                      <a:pt x="83" y="771"/>
                      <a:pt x="83" y="771"/>
                    </a:cubicBezTo>
                    <a:cubicBezTo>
                      <a:pt x="117" y="774"/>
                      <a:pt x="117" y="774"/>
                      <a:pt x="117" y="774"/>
                    </a:cubicBezTo>
                    <a:cubicBezTo>
                      <a:pt x="117" y="781"/>
                      <a:pt x="117" y="781"/>
                      <a:pt x="117" y="781"/>
                    </a:cubicBezTo>
                    <a:cubicBezTo>
                      <a:pt x="117" y="781"/>
                      <a:pt x="110" y="789"/>
                      <a:pt x="116" y="797"/>
                    </a:cubicBezTo>
                    <a:cubicBezTo>
                      <a:pt x="122" y="805"/>
                      <a:pt x="152" y="803"/>
                      <a:pt x="152" y="803"/>
                    </a:cubicBezTo>
                    <a:cubicBezTo>
                      <a:pt x="152" y="816"/>
                      <a:pt x="152" y="816"/>
                      <a:pt x="152" y="816"/>
                    </a:cubicBezTo>
                    <a:cubicBezTo>
                      <a:pt x="152" y="816"/>
                      <a:pt x="168" y="815"/>
                      <a:pt x="171" y="826"/>
                    </a:cubicBezTo>
                    <a:cubicBezTo>
                      <a:pt x="174" y="837"/>
                      <a:pt x="159" y="831"/>
                      <a:pt x="165" y="841"/>
                    </a:cubicBezTo>
                    <a:cubicBezTo>
                      <a:pt x="171" y="851"/>
                      <a:pt x="185" y="853"/>
                      <a:pt x="192" y="854"/>
                    </a:cubicBezTo>
                    <a:cubicBezTo>
                      <a:pt x="199" y="855"/>
                      <a:pt x="208" y="878"/>
                      <a:pt x="208" y="878"/>
                    </a:cubicBezTo>
                    <a:cubicBezTo>
                      <a:pt x="208" y="878"/>
                      <a:pt x="223" y="879"/>
                      <a:pt x="223" y="887"/>
                    </a:cubicBezTo>
                    <a:cubicBezTo>
                      <a:pt x="223" y="895"/>
                      <a:pt x="216" y="889"/>
                      <a:pt x="217" y="895"/>
                    </a:cubicBezTo>
                    <a:cubicBezTo>
                      <a:pt x="218" y="901"/>
                      <a:pt x="225" y="904"/>
                      <a:pt x="225" y="904"/>
                    </a:cubicBezTo>
                    <a:cubicBezTo>
                      <a:pt x="224" y="917"/>
                      <a:pt x="224" y="917"/>
                      <a:pt x="224" y="917"/>
                    </a:cubicBezTo>
                    <a:cubicBezTo>
                      <a:pt x="239" y="918"/>
                      <a:pt x="239" y="918"/>
                      <a:pt x="239" y="918"/>
                    </a:cubicBezTo>
                    <a:cubicBezTo>
                      <a:pt x="239" y="918"/>
                      <a:pt x="248" y="924"/>
                      <a:pt x="256" y="932"/>
                    </a:cubicBezTo>
                    <a:cubicBezTo>
                      <a:pt x="264" y="940"/>
                      <a:pt x="260" y="954"/>
                      <a:pt x="260" y="954"/>
                    </a:cubicBezTo>
                    <a:cubicBezTo>
                      <a:pt x="264" y="962"/>
                      <a:pt x="264" y="962"/>
                      <a:pt x="264" y="962"/>
                    </a:cubicBezTo>
                    <a:cubicBezTo>
                      <a:pt x="285" y="981"/>
                      <a:pt x="285" y="981"/>
                      <a:pt x="285" y="981"/>
                    </a:cubicBezTo>
                    <a:cubicBezTo>
                      <a:pt x="285" y="995"/>
                      <a:pt x="285" y="995"/>
                      <a:pt x="285" y="995"/>
                    </a:cubicBezTo>
                    <a:cubicBezTo>
                      <a:pt x="316" y="1010"/>
                      <a:pt x="316" y="1010"/>
                      <a:pt x="316" y="1010"/>
                    </a:cubicBezTo>
                    <a:cubicBezTo>
                      <a:pt x="316" y="1010"/>
                      <a:pt x="324" y="994"/>
                      <a:pt x="333" y="994"/>
                    </a:cubicBezTo>
                    <a:cubicBezTo>
                      <a:pt x="342" y="994"/>
                      <a:pt x="343" y="1006"/>
                      <a:pt x="354" y="1006"/>
                    </a:cubicBezTo>
                    <a:cubicBezTo>
                      <a:pt x="365" y="1006"/>
                      <a:pt x="364" y="988"/>
                      <a:pt x="371" y="988"/>
                    </a:cubicBezTo>
                    <a:cubicBezTo>
                      <a:pt x="378" y="988"/>
                      <a:pt x="382" y="1005"/>
                      <a:pt x="390" y="1017"/>
                    </a:cubicBezTo>
                    <a:cubicBezTo>
                      <a:pt x="398" y="1029"/>
                      <a:pt x="417" y="1033"/>
                      <a:pt x="417" y="1033"/>
                    </a:cubicBezTo>
                    <a:cubicBezTo>
                      <a:pt x="420" y="1047"/>
                      <a:pt x="420" y="1047"/>
                      <a:pt x="420" y="1047"/>
                    </a:cubicBezTo>
                    <a:cubicBezTo>
                      <a:pt x="431" y="1049"/>
                      <a:pt x="431" y="1049"/>
                      <a:pt x="431" y="1049"/>
                    </a:cubicBezTo>
                    <a:cubicBezTo>
                      <a:pt x="431" y="1049"/>
                      <a:pt x="442" y="1036"/>
                      <a:pt x="447" y="1036"/>
                    </a:cubicBezTo>
                    <a:cubicBezTo>
                      <a:pt x="452" y="1036"/>
                      <a:pt x="461" y="1043"/>
                      <a:pt x="467" y="1044"/>
                    </a:cubicBezTo>
                    <a:cubicBezTo>
                      <a:pt x="473" y="1045"/>
                      <a:pt x="474" y="1037"/>
                      <a:pt x="474" y="1037"/>
                    </a:cubicBezTo>
                    <a:cubicBezTo>
                      <a:pt x="481" y="1036"/>
                      <a:pt x="481" y="1036"/>
                      <a:pt x="481" y="1036"/>
                    </a:cubicBezTo>
                    <a:cubicBezTo>
                      <a:pt x="495" y="1054"/>
                      <a:pt x="495" y="1054"/>
                      <a:pt x="495" y="1054"/>
                    </a:cubicBezTo>
                    <a:cubicBezTo>
                      <a:pt x="508" y="1039"/>
                      <a:pt x="508" y="1039"/>
                      <a:pt x="508" y="1039"/>
                    </a:cubicBezTo>
                    <a:cubicBezTo>
                      <a:pt x="524" y="1040"/>
                      <a:pt x="524" y="1040"/>
                      <a:pt x="524" y="1040"/>
                    </a:cubicBezTo>
                    <a:cubicBezTo>
                      <a:pt x="524" y="1040"/>
                      <a:pt x="531" y="1032"/>
                      <a:pt x="536" y="1032"/>
                    </a:cubicBezTo>
                    <a:cubicBezTo>
                      <a:pt x="541" y="1032"/>
                      <a:pt x="540" y="1038"/>
                      <a:pt x="553" y="1040"/>
                    </a:cubicBezTo>
                    <a:cubicBezTo>
                      <a:pt x="566" y="1042"/>
                      <a:pt x="575" y="1015"/>
                      <a:pt x="575" y="1015"/>
                    </a:cubicBezTo>
                    <a:cubicBezTo>
                      <a:pt x="583" y="1015"/>
                      <a:pt x="583" y="1015"/>
                      <a:pt x="583" y="1015"/>
                    </a:cubicBezTo>
                    <a:cubicBezTo>
                      <a:pt x="597" y="995"/>
                      <a:pt x="597" y="995"/>
                      <a:pt x="597" y="995"/>
                    </a:cubicBezTo>
                    <a:cubicBezTo>
                      <a:pt x="657" y="994"/>
                      <a:pt x="657" y="994"/>
                      <a:pt x="657" y="994"/>
                    </a:cubicBezTo>
                    <a:cubicBezTo>
                      <a:pt x="670" y="986"/>
                      <a:pt x="670" y="986"/>
                      <a:pt x="670" y="986"/>
                    </a:cubicBezTo>
                    <a:cubicBezTo>
                      <a:pt x="669" y="976"/>
                      <a:pt x="669" y="976"/>
                      <a:pt x="669" y="976"/>
                    </a:cubicBezTo>
                    <a:cubicBezTo>
                      <a:pt x="669" y="976"/>
                      <a:pt x="670" y="962"/>
                      <a:pt x="665" y="954"/>
                    </a:cubicBezTo>
                    <a:cubicBezTo>
                      <a:pt x="660" y="946"/>
                      <a:pt x="650" y="955"/>
                      <a:pt x="640" y="947"/>
                    </a:cubicBezTo>
                    <a:cubicBezTo>
                      <a:pt x="630" y="939"/>
                      <a:pt x="628" y="912"/>
                      <a:pt x="628" y="912"/>
                    </a:cubicBezTo>
                    <a:cubicBezTo>
                      <a:pt x="621" y="908"/>
                      <a:pt x="621" y="908"/>
                      <a:pt x="621" y="908"/>
                    </a:cubicBezTo>
                    <a:cubicBezTo>
                      <a:pt x="619" y="883"/>
                      <a:pt x="619" y="883"/>
                      <a:pt x="619" y="883"/>
                    </a:cubicBezTo>
                    <a:cubicBezTo>
                      <a:pt x="610" y="882"/>
                      <a:pt x="610" y="882"/>
                      <a:pt x="610" y="882"/>
                    </a:cubicBezTo>
                    <a:cubicBezTo>
                      <a:pt x="607" y="869"/>
                      <a:pt x="607" y="869"/>
                      <a:pt x="607" y="869"/>
                    </a:cubicBezTo>
                    <a:cubicBezTo>
                      <a:pt x="607" y="869"/>
                      <a:pt x="596" y="871"/>
                      <a:pt x="592" y="866"/>
                    </a:cubicBezTo>
                    <a:cubicBezTo>
                      <a:pt x="588" y="861"/>
                      <a:pt x="587" y="846"/>
                      <a:pt x="587" y="846"/>
                    </a:cubicBezTo>
                    <a:cubicBezTo>
                      <a:pt x="587" y="846"/>
                      <a:pt x="570" y="831"/>
                      <a:pt x="562" y="827"/>
                    </a:cubicBezTo>
                    <a:cubicBezTo>
                      <a:pt x="554" y="823"/>
                      <a:pt x="538" y="829"/>
                      <a:pt x="535" y="824"/>
                    </a:cubicBezTo>
                    <a:cubicBezTo>
                      <a:pt x="532" y="819"/>
                      <a:pt x="542" y="802"/>
                      <a:pt x="542" y="802"/>
                    </a:cubicBezTo>
                    <a:cubicBezTo>
                      <a:pt x="540" y="786"/>
                      <a:pt x="540" y="786"/>
                      <a:pt x="540" y="786"/>
                    </a:cubicBezTo>
                    <a:cubicBezTo>
                      <a:pt x="563" y="787"/>
                      <a:pt x="563" y="787"/>
                      <a:pt x="563" y="787"/>
                    </a:cubicBezTo>
                    <a:cubicBezTo>
                      <a:pt x="568" y="792"/>
                      <a:pt x="568" y="792"/>
                      <a:pt x="568" y="792"/>
                    </a:cubicBezTo>
                    <a:cubicBezTo>
                      <a:pt x="568" y="792"/>
                      <a:pt x="575" y="787"/>
                      <a:pt x="582" y="782"/>
                    </a:cubicBezTo>
                    <a:cubicBezTo>
                      <a:pt x="589" y="777"/>
                      <a:pt x="586" y="746"/>
                      <a:pt x="586" y="746"/>
                    </a:cubicBezTo>
                    <a:cubicBezTo>
                      <a:pt x="586" y="746"/>
                      <a:pt x="579" y="727"/>
                      <a:pt x="580" y="719"/>
                    </a:cubicBezTo>
                    <a:cubicBezTo>
                      <a:pt x="581" y="711"/>
                      <a:pt x="596" y="700"/>
                      <a:pt x="597" y="697"/>
                    </a:cubicBezTo>
                    <a:cubicBezTo>
                      <a:pt x="598" y="694"/>
                      <a:pt x="592" y="683"/>
                      <a:pt x="592" y="676"/>
                    </a:cubicBezTo>
                    <a:cubicBezTo>
                      <a:pt x="592" y="669"/>
                      <a:pt x="598" y="656"/>
                      <a:pt x="603" y="656"/>
                    </a:cubicBezTo>
                    <a:cubicBezTo>
                      <a:pt x="608" y="656"/>
                      <a:pt x="610" y="667"/>
                      <a:pt x="610" y="667"/>
                    </a:cubicBezTo>
                    <a:cubicBezTo>
                      <a:pt x="610" y="667"/>
                      <a:pt x="616" y="670"/>
                      <a:pt x="622" y="662"/>
                    </a:cubicBezTo>
                    <a:cubicBezTo>
                      <a:pt x="628" y="654"/>
                      <a:pt x="621" y="631"/>
                      <a:pt x="621" y="631"/>
                    </a:cubicBezTo>
                    <a:cubicBezTo>
                      <a:pt x="628" y="620"/>
                      <a:pt x="628" y="620"/>
                      <a:pt x="628" y="620"/>
                    </a:cubicBezTo>
                    <a:cubicBezTo>
                      <a:pt x="626" y="605"/>
                      <a:pt x="626" y="605"/>
                      <a:pt x="626" y="605"/>
                    </a:cubicBezTo>
                    <a:cubicBezTo>
                      <a:pt x="626" y="605"/>
                      <a:pt x="637" y="601"/>
                      <a:pt x="642" y="596"/>
                    </a:cubicBezTo>
                    <a:cubicBezTo>
                      <a:pt x="647" y="591"/>
                      <a:pt x="642" y="581"/>
                      <a:pt x="643" y="576"/>
                    </a:cubicBezTo>
                    <a:cubicBezTo>
                      <a:pt x="644" y="571"/>
                      <a:pt x="655" y="557"/>
                      <a:pt x="655" y="557"/>
                    </a:cubicBezTo>
                    <a:cubicBezTo>
                      <a:pt x="677" y="555"/>
                      <a:pt x="677" y="555"/>
                      <a:pt x="677" y="555"/>
                    </a:cubicBezTo>
                    <a:cubicBezTo>
                      <a:pt x="677" y="555"/>
                      <a:pt x="675" y="537"/>
                      <a:pt x="675" y="529"/>
                    </a:cubicBezTo>
                    <a:cubicBezTo>
                      <a:pt x="675" y="521"/>
                      <a:pt x="691" y="501"/>
                      <a:pt x="691" y="501"/>
                    </a:cubicBezTo>
                    <a:cubicBezTo>
                      <a:pt x="691" y="471"/>
                      <a:pt x="691" y="471"/>
                      <a:pt x="691" y="471"/>
                    </a:cubicBezTo>
                    <a:cubicBezTo>
                      <a:pt x="689" y="438"/>
                      <a:pt x="689" y="438"/>
                      <a:pt x="689" y="438"/>
                    </a:cubicBezTo>
                    <a:cubicBezTo>
                      <a:pt x="689" y="438"/>
                      <a:pt x="683" y="436"/>
                      <a:pt x="684" y="428"/>
                    </a:cubicBezTo>
                    <a:cubicBezTo>
                      <a:pt x="685" y="420"/>
                      <a:pt x="696" y="421"/>
                      <a:pt x="696" y="414"/>
                    </a:cubicBezTo>
                    <a:cubicBezTo>
                      <a:pt x="696" y="407"/>
                      <a:pt x="697" y="397"/>
                      <a:pt x="697" y="397"/>
                    </a:cubicBezTo>
                    <a:cubicBezTo>
                      <a:pt x="697" y="397"/>
                      <a:pt x="709" y="395"/>
                      <a:pt x="709" y="377"/>
                    </a:cubicBezTo>
                    <a:cubicBezTo>
                      <a:pt x="709" y="359"/>
                      <a:pt x="703" y="349"/>
                      <a:pt x="703" y="346"/>
                    </a:cubicBezTo>
                    <a:cubicBezTo>
                      <a:pt x="703" y="343"/>
                      <a:pt x="714" y="338"/>
                      <a:pt x="714" y="338"/>
                    </a:cubicBezTo>
                    <a:cubicBezTo>
                      <a:pt x="714" y="328"/>
                      <a:pt x="714" y="328"/>
                      <a:pt x="714" y="328"/>
                    </a:cubicBezTo>
                    <a:cubicBezTo>
                      <a:pt x="714" y="328"/>
                      <a:pt x="732" y="328"/>
                      <a:pt x="733" y="321"/>
                    </a:cubicBezTo>
                    <a:cubicBezTo>
                      <a:pt x="734" y="314"/>
                      <a:pt x="734" y="306"/>
                      <a:pt x="734" y="306"/>
                    </a:cubicBezTo>
                    <a:cubicBezTo>
                      <a:pt x="734" y="306"/>
                      <a:pt x="761" y="304"/>
                      <a:pt x="770" y="296"/>
                    </a:cubicBezTo>
                    <a:cubicBezTo>
                      <a:pt x="775" y="292"/>
                      <a:pt x="779" y="280"/>
                      <a:pt x="781" y="271"/>
                    </a:cubicBezTo>
                    <a:cubicBezTo>
                      <a:pt x="756" y="256"/>
                      <a:pt x="756" y="256"/>
                      <a:pt x="756" y="256"/>
                    </a:cubicBezTo>
                    <a:cubicBezTo>
                      <a:pt x="756" y="256"/>
                      <a:pt x="753" y="240"/>
                      <a:pt x="747" y="236"/>
                    </a:cubicBezTo>
                    <a:cubicBezTo>
                      <a:pt x="741" y="232"/>
                      <a:pt x="726" y="242"/>
                      <a:pt x="722" y="228"/>
                    </a:cubicBezTo>
                    <a:cubicBezTo>
                      <a:pt x="718" y="214"/>
                      <a:pt x="717" y="176"/>
                      <a:pt x="717" y="176"/>
                    </a:cubicBezTo>
                    <a:cubicBezTo>
                      <a:pt x="710" y="174"/>
                      <a:pt x="710" y="174"/>
                      <a:pt x="710" y="174"/>
                    </a:cubicBezTo>
                    <a:cubicBezTo>
                      <a:pt x="710" y="174"/>
                      <a:pt x="708" y="132"/>
                      <a:pt x="708" y="127"/>
                    </a:cubicBezTo>
                    <a:cubicBezTo>
                      <a:pt x="708" y="122"/>
                      <a:pt x="703" y="111"/>
                      <a:pt x="703" y="111"/>
                    </a:cubicBezTo>
                    <a:cubicBezTo>
                      <a:pt x="715" y="108"/>
                      <a:pt x="715" y="108"/>
                      <a:pt x="715" y="108"/>
                    </a:cubicBezTo>
                    <a:cubicBezTo>
                      <a:pt x="715" y="108"/>
                      <a:pt x="697" y="93"/>
                      <a:pt x="696" y="84"/>
                    </a:cubicBezTo>
                    <a:cubicBezTo>
                      <a:pt x="695" y="75"/>
                      <a:pt x="701" y="59"/>
                      <a:pt x="693" y="53"/>
                    </a:cubicBezTo>
                    <a:cubicBezTo>
                      <a:pt x="685" y="47"/>
                      <a:pt x="674" y="39"/>
                      <a:pt x="674" y="39"/>
                    </a:cubicBezTo>
                    <a:cubicBezTo>
                      <a:pt x="674" y="39"/>
                      <a:pt x="665" y="27"/>
                      <a:pt x="661" y="23"/>
                    </a:cubicBezTo>
                    <a:cubicBezTo>
                      <a:pt x="657" y="19"/>
                      <a:pt x="656" y="26"/>
                      <a:pt x="650" y="22"/>
                    </a:cubicBezTo>
                    <a:cubicBezTo>
                      <a:pt x="646" y="19"/>
                      <a:pt x="639" y="10"/>
                      <a:pt x="634" y="0"/>
                    </a:cubicBezTo>
                    <a:cubicBezTo>
                      <a:pt x="618" y="15"/>
                      <a:pt x="618" y="15"/>
                      <a:pt x="618" y="15"/>
                    </a:cubicBezTo>
                    <a:lnTo>
                      <a:pt x="601" y="16"/>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21" name="South Africa">
                <a:extLst>
                  <a:ext uri="{FF2B5EF4-FFF2-40B4-BE49-F238E27FC236}">
                    <a16:creationId xmlns:a16="http://schemas.microsoft.com/office/drawing/2014/main" id="{2CD21E51-69CF-43BC-B179-CE9A7D112901}"/>
                  </a:ext>
                </a:extLst>
              </p:cNvPr>
              <p:cNvSpPr>
                <a:spLocks noEditPoints="1"/>
              </p:cNvSpPr>
              <p:nvPr/>
            </p:nvSpPr>
            <p:spPr bwMode="gray">
              <a:xfrm>
                <a:off x="6029561" y="5632709"/>
                <a:ext cx="1260743" cy="906204"/>
              </a:xfrm>
              <a:custGeom>
                <a:avLst/>
                <a:gdLst>
                  <a:gd name="T0" fmla="*/ 725 w 759"/>
                  <a:gd name="T1" fmla="*/ 254 h 682"/>
                  <a:gd name="T2" fmla="*/ 696 w 759"/>
                  <a:gd name="T3" fmla="*/ 278 h 682"/>
                  <a:gd name="T4" fmla="*/ 673 w 759"/>
                  <a:gd name="T5" fmla="*/ 221 h 682"/>
                  <a:gd name="T6" fmla="*/ 708 w 759"/>
                  <a:gd name="T7" fmla="*/ 206 h 682"/>
                  <a:gd name="T8" fmla="*/ 727 w 759"/>
                  <a:gd name="T9" fmla="*/ 125 h 682"/>
                  <a:gd name="T10" fmla="*/ 696 w 759"/>
                  <a:gd name="T11" fmla="*/ 15 h 682"/>
                  <a:gd name="T12" fmla="*/ 649 w 759"/>
                  <a:gd name="T13" fmla="*/ 8 h 682"/>
                  <a:gd name="T14" fmla="*/ 586 w 759"/>
                  <a:gd name="T15" fmla="*/ 2 h 682"/>
                  <a:gd name="T16" fmla="*/ 549 w 759"/>
                  <a:gd name="T17" fmla="*/ 25 h 682"/>
                  <a:gd name="T18" fmla="*/ 495 w 759"/>
                  <a:gd name="T19" fmla="*/ 77 h 682"/>
                  <a:gd name="T20" fmla="*/ 461 w 759"/>
                  <a:gd name="T21" fmla="*/ 137 h 682"/>
                  <a:gd name="T22" fmla="*/ 436 w 759"/>
                  <a:gd name="T23" fmla="*/ 152 h 682"/>
                  <a:gd name="T24" fmla="*/ 402 w 759"/>
                  <a:gd name="T25" fmla="*/ 192 h 682"/>
                  <a:gd name="T26" fmla="*/ 364 w 759"/>
                  <a:gd name="T27" fmla="*/ 190 h 682"/>
                  <a:gd name="T28" fmla="*/ 337 w 759"/>
                  <a:gd name="T29" fmla="*/ 179 h 682"/>
                  <a:gd name="T30" fmla="*/ 290 w 759"/>
                  <a:gd name="T31" fmla="*/ 212 h 682"/>
                  <a:gd name="T32" fmla="*/ 263 w 759"/>
                  <a:gd name="T33" fmla="*/ 240 h 682"/>
                  <a:gd name="T34" fmla="*/ 244 w 759"/>
                  <a:gd name="T35" fmla="*/ 251 h 682"/>
                  <a:gd name="T36" fmla="*/ 193 w 759"/>
                  <a:gd name="T37" fmla="*/ 231 h 682"/>
                  <a:gd name="T38" fmla="*/ 196 w 759"/>
                  <a:gd name="T39" fmla="*/ 189 h 682"/>
                  <a:gd name="T40" fmla="*/ 166 w 759"/>
                  <a:gd name="T41" fmla="*/ 143 h 682"/>
                  <a:gd name="T42" fmla="*/ 142 w 759"/>
                  <a:gd name="T43" fmla="*/ 343 h 682"/>
                  <a:gd name="T44" fmla="*/ 129 w 759"/>
                  <a:gd name="T45" fmla="*/ 353 h 682"/>
                  <a:gd name="T46" fmla="*/ 114 w 759"/>
                  <a:gd name="T47" fmla="*/ 367 h 682"/>
                  <a:gd name="T48" fmla="*/ 88 w 759"/>
                  <a:gd name="T49" fmla="*/ 369 h 682"/>
                  <a:gd name="T50" fmla="*/ 65 w 759"/>
                  <a:gd name="T51" fmla="*/ 357 h 682"/>
                  <a:gd name="T52" fmla="*/ 41 w 759"/>
                  <a:gd name="T53" fmla="*/ 330 h 682"/>
                  <a:gd name="T54" fmla="*/ 12 w 759"/>
                  <a:gd name="T55" fmla="*/ 340 h 682"/>
                  <a:gd name="T56" fmla="*/ 0 w 759"/>
                  <a:gd name="T57" fmla="*/ 345 h 682"/>
                  <a:gd name="T58" fmla="*/ 31 w 759"/>
                  <a:gd name="T59" fmla="*/ 407 h 682"/>
                  <a:gd name="T60" fmla="*/ 83 w 759"/>
                  <a:gd name="T61" fmla="*/ 523 h 682"/>
                  <a:gd name="T62" fmla="*/ 61 w 759"/>
                  <a:gd name="T63" fmla="*/ 572 h 682"/>
                  <a:gd name="T64" fmla="*/ 81 w 759"/>
                  <a:gd name="T65" fmla="*/ 649 h 682"/>
                  <a:gd name="T66" fmla="*/ 103 w 759"/>
                  <a:gd name="T67" fmla="*/ 650 h 682"/>
                  <a:gd name="T68" fmla="*/ 145 w 759"/>
                  <a:gd name="T69" fmla="*/ 679 h 682"/>
                  <a:gd name="T70" fmla="*/ 233 w 759"/>
                  <a:gd name="T71" fmla="*/ 662 h 682"/>
                  <a:gd name="T72" fmla="*/ 292 w 759"/>
                  <a:gd name="T73" fmla="*/ 646 h 682"/>
                  <a:gd name="T74" fmla="*/ 366 w 759"/>
                  <a:gd name="T75" fmla="*/ 646 h 682"/>
                  <a:gd name="T76" fmla="*/ 406 w 759"/>
                  <a:gd name="T77" fmla="*/ 637 h 682"/>
                  <a:gd name="T78" fmla="*/ 473 w 759"/>
                  <a:gd name="T79" fmla="*/ 617 h 682"/>
                  <a:gd name="T80" fmla="*/ 538 w 759"/>
                  <a:gd name="T81" fmla="*/ 565 h 682"/>
                  <a:gd name="T82" fmla="*/ 615 w 759"/>
                  <a:gd name="T83" fmla="*/ 500 h 682"/>
                  <a:gd name="T84" fmla="*/ 686 w 759"/>
                  <a:gd name="T85" fmla="*/ 379 h 682"/>
                  <a:gd name="T86" fmla="*/ 748 w 759"/>
                  <a:gd name="T87" fmla="*/ 297 h 682"/>
                  <a:gd name="T88" fmla="*/ 746 w 759"/>
                  <a:gd name="T89" fmla="*/ 250 h 682"/>
                  <a:gd name="T90" fmla="*/ 563 w 759"/>
                  <a:gd name="T91" fmla="*/ 428 h 682"/>
                  <a:gd name="T92" fmla="*/ 531 w 759"/>
                  <a:gd name="T93" fmla="*/ 456 h 682"/>
                  <a:gd name="T94" fmla="*/ 498 w 759"/>
                  <a:gd name="T95" fmla="*/ 437 h 682"/>
                  <a:gd name="T96" fmla="*/ 481 w 759"/>
                  <a:gd name="T97" fmla="*/ 401 h 682"/>
                  <a:gd name="T98" fmla="*/ 500 w 759"/>
                  <a:gd name="T99" fmla="*/ 389 h 682"/>
                  <a:gd name="T100" fmla="*/ 519 w 759"/>
                  <a:gd name="T101" fmla="*/ 362 h 682"/>
                  <a:gd name="T102" fmla="*/ 535 w 759"/>
                  <a:gd name="T103" fmla="*/ 351 h 682"/>
                  <a:gd name="T104" fmla="*/ 564 w 759"/>
                  <a:gd name="T105" fmla="*/ 349 h 682"/>
                  <a:gd name="T106" fmla="*/ 591 w 759"/>
                  <a:gd name="T107" fmla="*/ 377 h 682"/>
                  <a:gd name="T108" fmla="*/ 577 w 759"/>
                  <a:gd name="T109" fmla="*/ 40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59" h="682">
                    <a:moveTo>
                      <a:pt x="746" y="250"/>
                    </a:moveTo>
                    <a:cubicBezTo>
                      <a:pt x="738" y="246"/>
                      <a:pt x="725" y="254"/>
                      <a:pt x="725" y="254"/>
                    </a:cubicBezTo>
                    <a:cubicBezTo>
                      <a:pt x="718" y="279"/>
                      <a:pt x="718" y="279"/>
                      <a:pt x="718" y="279"/>
                    </a:cubicBezTo>
                    <a:cubicBezTo>
                      <a:pt x="718" y="279"/>
                      <a:pt x="703" y="278"/>
                      <a:pt x="696" y="278"/>
                    </a:cubicBezTo>
                    <a:cubicBezTo>
                      <a:pt x="689" y="278"/>
                      <a:pt x="666" y="262"/>
                      <a:pt x="664" y="250"/>
                    </a:cubicBezTo>
                    <a:cubicBezTo>
                      <a:pt x="662" y="238"/>
                      <a:pt x="670" y="225"/>
                      <a:pt x="673" y="221"/>
                    </a:cubicBezTo>
                    <a:cubicBezTo>
                      <a:pt x="676" y="217"/>
                      <a:pt x="682" y="192"/>
                      <a:pt x="689" y="192"/>
                    </a:cubicBezTo>
                    <a:cubicBezTo>
                      <a:pt x="696" y="192"/>
                      <a:pt x="708" y="206"/>
                      <a:pt x="708" y="206"/>
                    </a:cubicBezTo>
                    <a:cubicBezTo>
                      <a:pt x="726" y="182"/>
                      <a:pt x="726" y="182"/>
                      <a:pt x="726" y="182"/>
                    </a:cubicBezTo>
                    <a:cubicBezTo>
                      <a:pt x="726" y="182"/>
                      <a:pt x="726" y="134"/>
                      <a:pt x="727" y="125"/>
                    </a:cubicBezTo>
                    <a:cubicBezTo>
                      <a:pt x="728" y="116"/>
                      <a:pt x="707" y="84"/>
                      <a:pt x="705" y="75"/>
                    </a:cubicBezTo>
                    <a:cubicBezTo>
                      <a:pt x="703" y="66"/>
                      <a:pt x="696" y="15"/>
                      <a:pt x="696" y="15"/>
                    </a:cubicBezTo>
                    <a:cubicBezTo>
                      <a:pt x="684" y="8"/>
                      <a:pt x="684" y="8"/>
                      <a:pt x="684" y="8"/>
                    </a:cubicBezTo>
                    <a:cubicBezTo>
                      <a:pt x="684" y="8"/>
                      <a:pt x="657" y="9"/>
                      <a:pt x="649" y="8"/>
                    </a:cubicBezTo>
                    <a:cubicBezTo>
                      <a:pt x="641" y="7"/>
                      <a:pt x="625" y="0"/>
                      <a:pt x="625" y="0"/>
                    </a:cubicBezTo>
                    <a:cubicBezTo>
                      <a:pt x="586" y="2"/>
                      <a:pt x="586" y="2"/>
                      <a:pt x="586" y="2"/>
                    </a:cubicBezTo>
                    <a:cubicBezTo>
                      <a:pt x="578" y="18"/>
                      <a:pt x="578" y="18"/>
                      <a:pt x="578" y="18"/>
                    </a:cubicBezTo>
                    <a:cubicBezTo>
                      <a:pt x="578" y="18"/>
                      <a:pt x="554" y="19"/>
                      <a:pt x="549" y="25"/>
                    </a:cubicBezTo>
                    <a:cubicBezTo>
                      <a:pt x="544" y="31"/>
                      <a:pt x="530" y="57"/>
                      <a:pt x="519" y="64"/>
                    </a:cubicBezTo>
                    <a:cubicBezTo>
                      <a:pt x="508" y="71"/>
                      <a:pt x="505" y="70"/>
                      <a:pt x="495" y="77"/>
                    </a:cubicBezTo>
                    <a:cubicBezTo>
                      <a:pt x="485" y="84"/>
                      <a:pt x="484" y="107"/>
                      <a:pt x="484" y="113"/>
                    </a:cubicBezTo>
                    <a:cubicBezTo>
                      <a:pt x="484" y="119"/>
                      <a:pt x="461" y="137"/>
                      <a:pt x="461" y="137"/>
                    </a:cubicBezTo>
                    <a:cubicBezTo>
                      <a:pt x="450" y="140"/>
                      <a:pt x="450" y="140"/>
                      <a:pt x="450" y="140"/>
                    </a:cubicBezTo>
                    <a:cubicBezTo>
                      <a:pt x="436" y="152"/>
                      <a:pt x="436" y="152"/>
                      <a:pt x="436" y="152"/>
                    </a:cubicBezTo>
                    <a:cubicBezTo>
                      <a:pt x="436" y="152"/>
                      <a:pt x="432" y="185"/>
                      <a:pt x="421" y="192"/>
                    </a:cubicBezTo>
                    <a:cubicBezTo>
                      <a:pt x="410" y="199"/>
                      <a:pt x="402" y="192"/>
                      <a:pt x="402" y="192"/>
                    </a:cubicBezTo>
                    <a:cubicBezTo>
                      <a:pt x="402" y="192"/>
                      <a:pt x="399" y="197"/>
                      <a:pt x="389" y="199"/>
                    </a:cubicBezTo>
                    <a:cubicBezTo>
                      <a:pt x="379" y="201"/>
                      <a:pt x="364" y="190"/>
                      <a:pt x="364" y="190"/>
                    </a:cubicBezTo>
                    <a:cubicBezTo>
                      <a:pt x="347" y="189"/>
                      <a:pt x="347" y="189"/>
                      <a:pt x="347" y="189"/>
                    </a:cubicBezTo>
                    <a:cubicBezTo>
                      <a:pt x="337" y="179"/>
                      <a:pt x="337" y="179"/>
                      <a:pt x="337" y="179"/>
                    </a:cubicBezTo>
                    <a:cubicBezTo>
                      <a:pt x="337" y="179"/>
                      <a:pt x="321" y="167"/>
                      <a:pt x="308" y="167"/>
                    </a:cubicBezTo>
                    <a:cubicBezTo>
                      <a:pt x="295" y="167"/>
                      <a:pt x="290" y="205"/>
                      <a:pt x="290" y="212"/>
                    </a:cubicBezTo>
                    <a:cubicBezTo>
                      <a:pt x="290" y="219"/>
                      <a:pt x="279" y="217"/>
                      <a:pt x="272" y="220"/>
                    </a:cubicBezTo>
                    <a:cubicBezTo>
                      <a:pt x="265" y="223"/>
                      <a:pt x="263" y="240"/>
                      <a:pt x="263" y="240"/>
                    </a:cubicBezTo>
                    <a:cubicBezTo>
                      <a:pt x="263" y="240"/>
                      <a:pt x="253" y="238"/>
                      <a:pt x="249" y="239"/>
                    </a:cubicBezTo>
                    <a:cubicBezTo>
                      <a:pt x="245" y="240"/>
                      <a:pt x="244" y="251"/>
                      <a:pt x="244" y="251"/>
                    </a:cubicBezTo>
                    <a:cubicBezTo>
                      <a:pt x="244" y="251"/>
                      <a:pt x="198" y="256"/>
                      <a:pt x="193" y="253"/>
                    </a:cubicBezTo>
                    <a:cubicBezTo>
                      <a:pt x="188" y="250"/>
                      <a:pt x="193" y="231"/>
                      <a:pt x="193" y="231"/>
                    </a:cubicBezTo>
                    <a:cubicBezTo>
                      <a:pt x="193" y="231"/>
                      <a:pt x="201" y="218"/>
                      <a:pt x="203" y="209"/>
                    </a:cubicBezTo>
                    <a:cubicBezTo>
                      <a:pt x="205" y="200"/>
                      <a:pt x="196" y="189"/>
                      <a:pt x="196" y="189"/>
                    </a:cubicBezTo>
                    <a:cubicBezTo>
                      <a:pt x="196" y="189"/>
                      <a:pt x="197" y="179"/>
                      <a:pt x="188" y="160"/>
                    </a:cubicBezTo>
                    <a:cubicBezTo>
                      <a:pt x="184" y="152"/>
                      <a:pt x="175" y="147"/>
                      <a:pt x="166" y="143"/>
                    </a:cubicBezTo>
                    <a:cubicBezTo>
                      <a:pt x="163" y="339"/>
                      <a:pt x="163" y="339"/>
                      <a:pt x="163" y="339"/>
                    </a:cubicBezTo>
                    <a:cubicBezTo>
                      <a:pt x="163" y="339"/>
                      <a:pt x="149" y="340"/>
                      <a:pt x="142" y="343"/>
                    </a:cubicBezTo>
                    <a:cubicBezTo>
                      <a:pt x="135" y="346"/>
                      <a:pt x="137" y="351"/>
                      <a:pt x="137" y="351"/>
                    </a:cubicBezTo>
                    <a:cubicBezTo>
                      <a:pt x="129" y="353"/>
                      <a:pt x="129" y="353"/>
                      <a:pt x="129" y="353"/>
                    </a:cubicBezTo>
                    <a:cubicBezTo>
                      <a:pt x="129" y="353"/>
                      <a:pt x="132" y="367"/>
                      <a:pt x="126" y="367"/>
                    </a:cubicBezTo>
                    <a:cubicBezTo>
                      <a:pt x="121" y="367"/>
                      <a:pt x="114" y="367"/>
                      <a:pt x="114" y="367"/>
                    </a:cubicBezTo>
                    <a:cubicBezTo>
                      <a:pt x="114" y="367"/>
                      <a:pt x="110" y="361"/>
                      <a:pt x="102" y="361"/>
                    </a:cubicBezTo>
                    <a:cubicBezTo>
                      <a:pt x="94" y="361"/>
                      <a:pt x="88" y="369"/>
                      <a:pt x="88" y="369"/>
                    </a:cubicBezTo>
                    <a:cubicBezTo>
                      <a:pt x="76" y="369"/>
                      <a:pt x="76" y="369"/>
                      <a:pt x="76" y="369"/>
                    </a:cubicBezTo>
                    <a:cubicBezTo>
                      <a:pt x="76" y="369"/>
                      <a:pt x="72" y="361"/>
                      <a:pt x="65" y="357"/>
                    </a:cubicBezTo>
                    <a:cubicBezTo>
                      <a:pt x="58" y="353"/>
                      <a:pt x="49" y="359"/>
                      <a:pt x="45" y="352"/>
                    </a:cubicBezTo>
                    <a:cubicBezTo>
                      <a:pt x="40" y="345"/>
                      <a:pt x="41" y="330"/>
                      <a:pt x="41" y="330"/>
                    </a:cubicBezTo>
                    <a:cubicBezTo>
                      <a:pt x="41" y="330"/>
                      <a:pt x="31" y="318"/>
                      <a:pt x="27" y="317"/>
                    </a:cubicBezTo>
                    <a:cubicBezTo>
                      <a:pt x="23" y="316"/>
                      <a:pt x="12" y="340"/>
                      <a:pt x="12" y="340"/>
                    </a:cubicBezTo>
                    <a:cubicBezTo>
                      <a:pt x="0" y="346"/>
                      <a:pt x="0" y="346"/>
                      <a:pt x="0" y="346"/>
                    </a:cubicBezTo>
                    <a:cubicBezTo>
                      <a:pt x="0" y="345"/>
                      <a:pt x="0" y="345"/>
                      <a:pt x="0" y="345"/>
                    </a:cubicBezTo>
                    <a:cubicBezTo>
                      <a:pt x="0" y="345"/>
                      <a:pt x="7" y="368"/>
                      <a:pt x="11" y="372"/>
                    </a:cubicBezTo>
                    <a:cubicBezTo>
                      <a:pt x="15" y="376"/>
                      <a:pt x="31" y="394"/>
                      <a:pt x="31" y="407"/>
                    </a:cubicBezTo>
                    <a:cubicBezTo>
                      <a:pt x="31" y="420"/>
                      <a:pt x="28" y="446"/>
                      <a:pt x="38" y="461"/>
                    </a:cubicBezTo>
                    <a:cubicBezTo>
                      <a:pt x="48" y="476"/>
                      <a:pt x="83" y="509"/>
                      <a:pt x="83" y="523"/>
                    </a:cubicBezTo>
                    <a:cubicBezTo>
                      <a:pt x="83" y="537"/>
                      <a:pt x="82" y="564"/>
                      <a:pt x="78" y="568"/>
                    </a:cubicBezTo>
                    <a:cubicBezTo>
                      <a:pt x="74" y="572"/>
                      <a:pt x="62" y="564"/>
                      <a:pt x="61" y="572"/>
                    </a:cubicBezTo>
                    <a:cubicBezTo>
                      <a:pt x="60" y="580"/>
                      <a:pt x="63" y="588"/>
                      <a:pt x="73" y="605"/>
                    </a:cubicBezTo>
                    <a:cubicBezTo>
                      <a:pt x="83" y="622"/>
                      <a:pt x="75" y="641"/>
                      <a:pt x="81" y="649"/>
                    </a:cubicBezTo>
                    <a:cubicBezTo>
                      <a:pt x="87" y="657"/>
                      <a:pt x="84" y="646"/>
                      <a:pt x="90" y="643"/>
                    </a:cubicBezTo>
                    <a:cubicBezTo>
                      <a:pt x="96" y="640"/>
                      <a:pt x="103" y="650"/>
                      <a:pt x="103" y="650"/>
                    </a:cubicBezTo>
                    <a:cubicBezTo>
                      <a:pt x="121" y="656"/>
                      <a:pt x="121" y="656"/>
                      <a:pt x="121" y="656"/>
                    </a:cubicBezTo>
                    <a:cubicBezTo>
                      <a:pt x="121" y="656"/>
                      <a:pt x="126" y="682"/>
                      <a:pt x="145" y="679"/>
                    </a:cubicBezTo>
                    <a:cubicBezTo>
                      <a:pt x="164" y="676"/>
                      <a:pt x="165" y="662"/>
                      <a:pt x="177" y="658"/>
                    </a:cubicBezTo>
                    <a:cubicBezTo>
                      <a:pt x="189" y="654"/>
                      <a:pt x="224" y="665"/>
                      <a:pt x="233" y="662"/>
                    </a:cubicBezTo>
                    <a:cubicBezTo>
                      <a:pt x="242" y="659"/>
                      <a:pt x="238" y="638"/>
                      <a:pt x="261" y="638"/>
                    </a:cubicBezTo>
                    <a:cubicBezTo>
                      <a:pt x="284" y="638"/>
                      <a:pt x="292" y="646"/>
                      <a:pt x="292" y="646"/>
                    </a:cubicBezTo>
                    <a:cubicBezTo>
                      <a:pt x="292" y="646"/>
                      <a:pt x="303" y="635"/>
                      <a:pt x="326" y="636"/>
                    </a:cubicBezTo>
                    <a:cubicBezTo>
                      <a:pt x="349" y="637"/>
                      <a:pt x="361" y="647"/>
                      <a:pt x="366" y="646"/>
                    </a:cubicBezTo>
                    <a:cubicBezTo>
                      <a:pt x="371" y="645"/>
                      <a:pt x="383" y="635"/>
                      <a:pt x="383" y="635"/>
                    </a:cubicBezTo>
                    <a:cubicBezTo>
                      <a:pt x="383" y="635"/>
                      <a:pt x="397" y="642"/>
                      <a:pt x="406" y="637"/>
                    </a:cubicBezTo>
                    <a:cubicBezTo>
                      <a:pt x="415" y="632"/>
                      <a:pt x="427" y="624"/>
                      <a:pt x="427" y="624"/>
                    </a:cubicBezTo>
                    <a:cubicBezTo>
                      <a:pt x="427" y="624"/>
                      <a:pt x="451" y="632"/>
                      <a:pt x="473" y="617"/>
                    </a:cubicBezTo>
                    <a:cubicBezTo>
                      <a:pt x="495" y="602"/>
                      <a:pt x="525" y="573"/>
                      <a:pt x="525" y="573"/>
                    </a:cubicBezTo>
                    <a:cubicBezTo>
                      <a:pt x="538" y="565"/>
                      <a:pt x="538" y="565"/>
                      <a:pt x="538" y="565"/>
                    </a:cubicBezTo>
                    <a:cubicBezTo>
                      <a:pt x="600" y="499"/>
                      <a:pt x="600" y="499"/>
                      <a:pt x="600" y="499"/>
                    </a:cubicBezTo>
                    <a:cubicBezTo>
                      <a:pt x="615" y="500"/>
                      <a:pt x="615" y="500"/>
                      <a:pt x="615" y="500"/>
                    </a:cubicBezTo>
                    <a:cubicBezTo>
                      <a:pt x="615" y="500"/>
                      <a:pt x="652" y="449"/>
                      <a:pt x="656" y="435"/>
                    </a:cubicBezTo>
                    <a:cubicBezTo>
                      <a:pt x="660" y="421"/>
                      <a:pt x="677" y="385"/>
                      <a:pt x="686" y="379"/>
                    </a:cubicBezTo>
                    <a:cubicBezTo>
                      <a:pt x="695" y="373"/>
                      <a:pt x="726" y="360"/>
                      <a:pt x="729" y="349"/>
                    </a:cubicBezTo>
                    <a:cubicBezTo>
                      <a:pt x="732" y="338"/>
                      <a:pt x="748" y="297"/>
                      <a:pt x="748" y="297"/>
                    </a:cubicBezTo>
                    <a:cubicBezTo>
                      <a:pt x="748" y="297"/>
                      <a:pt x="754" y="280"/>
                      <a:pt x="759" y="264"/>
                    </a:cubicBezTo>
                    <a:cubicBezTo>
                      <a:pt x="755" y="258"/>
                      <a:pt x="750" y="252"/>
                      <a:pt x="746" y="250"/>
                    </a:cubicBezTo>
                    <a:close/>
                    <a:moveTo>
                      <a:pt x="580" y="418"/>
                    </a:moveTo>
                    <a:cubicBezTo>
                      <a:pt x="580" y="418"/>
                      <a:pt x="571" y="426"/>
                      <a:pt x="563" y="428"/>
                    </a:cubicBezTo>
                    <a:cubicBezTo>
                      <a:pt x="555" y="430"/>
                      <a:pt x="552" y="428"/>
                      <a:pt x="542" y="432"/>
                    </a:cubicBezTo>
                    <a:cubicBezTo>
                      <a:pt x="532" y="436"/>
                      <a:pt x="531" y="456"/>
                      <a:pt x="531" y="456"/>
                    </a:cubicBezTo>
                    <a:cubicBezTo>
                      <a:pt x="516" y="457"/>
                      <a:pt x="516" y="457"/>
                      <a:pt x="516" y="457"/>
                    </a:cubicBezTo>
                    <a:cubicBezTo>
                      <a:pt x="498" y="437"/>
                      <a:pt x="498" y="437"/>
                      <a:pt x="498" y="437"/>
                    </a:cubicBezTo>
                    <a:cubicBezTo>
                      <a:pt x="498" y="426"/>
                      <a:pt x="498" y="426"/>
                      <a:pt x="498" y="426"/>
                    </a:cubicBezTo>
                    <a:cubicBezTo>
                      <a:pt x="481" y="401"/>
                      <a:pt x="481" y="401"/>
                      <a:pt x="481" y="401"/>
                    </a:cubicBezTo>
                    <a:cubicBezTo>
                      <a:pt x="498" y="399"/>
                      <a:pt x="498" y="399"/>
                      <a:pt x="498" y="399"/>
                    </a:cubicBezTo>
                    <a:cubicBezTo>
                      <a:pt x="500" y="389"/>
                      <a:pt x="500" y="389"/>
                      <a:pt x="500" y="389"/>
                    </a:cubicBezTo>
                    <a:cubicBezTo>
                      <a:pt x="512" y="376"/>
                      <a:pt x="512" y="376"/>
                      <a:pt x="512" y="376"/>
                    </a:cubicBezTo>
                    <a:cubicBezTo>
                      <a:pt x="512" y="376"/>
                      <a:pt x="514" y="366"/>
                      <a:pt x="519" y="362"/>
                    </a:cubicBezTo>
                    <a:cubicBezTo>
                      <a:pt x="524" y="358"/>
                      <a:pt x="534" y="361"/>
                      <a:pt x="534" y="361"/>
                    </a:cubicBezTo>
                    <a:cubicBezTo>
                      <a:pt x="535" y="351"/>
                      <a:pt x="535" y="351"/>
                      <a:pt x="535" y="351"/>
                    </a:cubicBezTo>
                    <a:cubicBezTo>
                      <a:pt x="543" y="348"/>
                      <a:pt x="543" y="348"/>
                      <a:pt x="543" y="348"/>
                    </a:cubicBezTo>
                    <a:cubicBezTo>
                      <a:pt x="543" y="348"/>
                      <a:pt x="559" y="343"/>
                      <a:pt x="564" y="349"/>
                    </a:cubicBezTo>
                    <a:cubicBezTo>
                      <a:pt x="569" y="355"/>
                      <a:pt x="581" y="374"/>
                      <a:pt x="581" y="374"/>
                    </a:cubicBezTo>
                    <a:cubicBezTo>
                      <a:pt x="591" y="377"/>
                      <a:pt x="591" y="377"/>
                      <a:pt x="591" y="377"/>
                    </a:cubicBezTo>
                    <a:cubicBezTo>
                      <a:pt x="592" y="393"/>
                      <a:pt x="592" y="393"/>
                      <a:pt x="592" y="393"/>
                    </a:cubicBezTo>
                    <a:cubicBezTo>
                      <a:pt x="577" y="406"/>
                      <a:pt x="577" y="406"/>
                      <a:pt x="577" y="406"/>
                    </a:cubicBezTo>
                    <a:lnTo>
                      <a:pt x="580" y="418"/>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22" name="Somalia">
                <a:extLst>
                  <a:ext uri="{FF2B5EF4-FFF2-40B4-BE49-F238E27FC236}">
                    <a16:creationId xmlns:a16="http://schemas.microsoft.com/office/drawing/2014/main" id="{3162D4BC-A24F-44AE-929D-42F7D60596A2}"/>
                  </a:ext>
                </a:extLst>
              </p:cNvPr>
              <p:cNvSpPr>
                <a:spLocks/>
              </p:cNvSpPr>
              <p:nvPr/>
            </p:nvSpPr>
            <p:spPr bwMode="gray">
              <a:xfrm>
                <a:off x="7986542" y="3196116"/>
                <a:ext cx="795021" cy="981404"/>
              </a:xfrm>
              <a:custGeom>
                <a:avLst/>
                <a:gdLst>
                  <a:gd name="T0" fmla="*/ 70 w 480"/>
                  <a:gd name="T1" fmla="*/ 77 h 739"/>
                  <a:gd name="T2" fmla="*/ 79 w 480"/>
                  <a:gd name="T3" fmla="*/ 85 h 739"/>
                  <a:gd name="T4" fmla="*/ 78 w 480"/>
                  <a:gd name="T5" fmla="*/ 93 h 739"/>
                  <a:gd name="T6" fmla="*/ 97 w 480"/>
                  <a:gd name="T7" fmla="*/ 117 h 739"/>
                  <a:gd name="T8" fmla="*/ 107 w 480"/>
                  <a:gd name="T9" fmla="*/ 142 h 739"/>
                  <a:gd name="T10" fmla="*/ 122 w 480"/>
                  <a:gd name="T11" fmla="*/ 142 h 739"/>
                  <a:gd name="T12" fmla="*/ 143 w 480"/>
                  <a:gd name="T13" fmla="*/ 167 h 739"/>
                  <a:gd name="T14" fmla="*/ 225 w 480"/>
                  <a:gd name="T15" fmla="*/ 194 h 739"/>
                  <a:gd name="T16" fmla="*/ 277 w 480"/>
                  <a:gd name="T17" fmla="*/ 220 h 739"/>
                  <a:gd name="T18" fmla="*/ 325 w 480"/>
                  <a:gd name="T19" fmla="*/ 217 h 739"/>
                  <a:gd name="T20" fmla="*/ 185 w 480"/>
                  <a:gd name="T21" fmla="*/ 382 h 739"/>
                  <a:gd name="T22" fmla="*/ 129 w 480"/>
                  <a:gd name="T23" fmla="*/ 382 h 739"/>
                  <a:gd name="T24" fmla="*/ 96 w 480"/>
                  <a:gd name="T25" fmla="*/ 396 h 739"/>
                  <a:gd name="T26" fmla="*/ 89 w 480"/>
                  <a:gd name="T27" fmla="*/ 414 h 739"/>
                  <a:gd name="T28" fmla="*/ 50 w 480"/>
                  <a:gd name="T29" fmla="*/ 421 h 739"/>
                  <a:gd name="T30" fmla="*/ 42 w 480"/>
                  <a:gd name="T31" fmla="*/ 435 h 739"/>
                  <a:gd name="T32" fmla="*/ 22 w 480"/>
                  <a:gd name="T33" fmla="*/ 471 h 739"/>
                  <a:gd name="T34" fmla="*/ 1 w 480"/>
                  <a:gd name="T35" fmla="*/ 492 h 739"/>
                  <a:gd name="T36" fmla="*/ 0 w 480"/>
                  <a:gd name="T37" fmla="*/ 695 h 739"/>
                  <a:gd name="T38" fmla="*/ 28 w 480"/>
                  <a:gd name="T39" fmla="*/ 735 h 739"/>
                  <a:gd name="T40" fmla="*/ 26 w 480"/>
                  <a:gd name="T41" fmla="*/ 739 h 739"/>
                  <a:gd name="T42" fmla="*/ 26 w 480"/>
                  <a:gd name="T43" fmla="*/ 739 h 739"/>
                  <a:gd name="T44" fmla="*/ 58 w 480"/>
                  <a:gd name="T45" fmla="*/ 680 h 739"/>
                  <a:gd name="T46" fmla="*/ 100 w 480"/>
                  <a:gd name="T47" fmla="*/ 639 h 739"/>
                  <a:gd name="T48" fmla="*/ 157 w 480"/>
                  <a:gd name="T49" fmla="*/ 573 h 739"/>
                  <a:gd name="T50" fmla="*/ 210 w 480"/>
                  <a:gd name="T51" fmla="*/ 536 h 739"/>
                  <a:gd name="T52" fmla="*/ 281 w 480"/>
                  <a:gd name="T53" fmla="*/ 473 h 739"/>
                  <a:gd name="T54" fmla="*/ 335 w 480"/>
                  <a:gd name="T55" fmla="*/ 399 h 739"/>
                  <a:gd name="T56" fmla="*/ 370 w 480"/>
                  <a:gd name="T57" fmla="*/ 334 h 739"/>
                  <a:gd name="T58" fmla="*/ 384 w 480"/>
                  <a:gd name="T59" fmla="*/ 308 h 739"/>
                  <a:gd name="T60" fmla="*/ 397 w 480"/>
                  <a:gd name="T61" fmla="*/ 262 h 739"/>
                  <a:gd name="T62" fmla="*/ 417 w 480"/>
                  <a:gd name="T63" fmla="*/ 228 h 739"/>
                  <a:gd name="T64" fmla="*/ 427 w 480"/>
                  <a:gd name="T65" fmla="*/ 205 h 739"/>
                  <a:gd name="T66" fmla="*/ 440 w 480"/>
                  <a:gd name="T67" fmla="*/ 169 h 739"/>
                  <a:gd name="T68" fmla="*/ 457 w 480"/>
                  <a:gd name="T69" fmla="*/ 147 h 739"/>
                  <a:gd name="T70" fmla="*/ 457 w 480"/>
                  <a:gd name="T71" fmla="*/ 93 h 739"/>
                  <a:gd name="T72" fmla="*/ 471 w 480"/>
                  <a:gd name="T73" fmla="*/ 84 h 739"/>
                  <a:gd name="T74" fmla="*/ 467 w 480"/>
                  <a:gd name="T75" fmla="*/ 38 h 739"/>
                  <a:gd name="T76" fmla="*/ 474 w 480"/>
                  <a:gd name="T77" fmla="*/ 8 h 739"/>
                  <a:gd name="T78" fmla="*/ 447 w 480"/>
                  <a:gd name="T79" fmla="*/ 0 h 739"/>
                  <a:gd name="T80" fmla="*/ 432 w 480"/>
                  <a:gd name="T81" fmla="*/ 21 h 739"/>
                  <a:gd name="T82" fmla="*/ 382 w 480"/>
                  <a:gd name="T83" fmla="*/ 37 h 739"/>
                  <a:gd name="T84" fmla="*/ 345 w 480"/>
                  <a:gd name="T85" fmla="*/ 35 h 739"/>
                  <a:gd name="T86" fmla="*/ 318 w 480"/>
                  <a:gd name="T87" fmla="*/ 54 h 739"/>
                  <a:gd name="T88" fmla="*/ 296 w 480"/>
                  <a:gd name="T89" fmla="*/ 43 h 739"/>
                  <a:gd name="T90" fmla="*/ 252 w 480"/>
                  <a:gd name="T91" fmla="*/ 73 h 739"/>
                  <a:gd name="T92" fmla="*/ 221 w 480"/>
                  <a:gd name="T93" fmla="*/ 62 h 739"/>
                  <a:gd name="T94" fmla="*/ 181 w 480"/>
                  <a:gd name="T95" fmla="*/ 84 h 739"/>
                  <a:gd name="T96" fmla="*/ 141 w 480"/>
                  <a:gd name="T97" fmla="*/ 85 h 739"/>
                  <a:gd name="T98" fmla="*/ 111 w 480"/>
                  <a:gd name="T99" fmla="*/ 48 h 739"/>
                  <a:gd name="T100" fmla="*/ 99 w 480"/>
                  <a:gd name="T101" fmla="*/ 35 h 739"/>
                  <a:gd name="T102" fmla="*/ 84 w 480"/>
                  <a:gd name="T103" fmla="*/ 55 h 739"/>
                  <a:gd name="T104" fmla="*/ 70 w 480"/>
                  <a:gd name="T105" fmla="*/ 77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0" h="739">
                    <a:moveTo>
                      <a:pt x="70" y="77"/>
                    </a:moveTo>
                    <a:cubicBezTo>
                      <a:pt x="79" y="85"/>
                      <a:pt x="79" y="85"/>
                      <a:pt x="79" y="85"/>
                    </a:cubicBezTo>
                    <a:cubicBezTo>
                      <a:pt x="78" y="93"/>
                      <a:pt x="78" y="93"/>
                      <a:pt x="78" y="93"/>
                    </a:cubicBezTo>
                    <a:cubicBezTo>
                      <a:pt x="78" y="93"/>
                      <a:pt x="91" y="109"/>
                      <a:pt x="97" y="117"/>
                    </a:cubicBezTo>
                    <a:cubicBezTo>
                      <a:pt x="103" y="125"/>
                      <a:pt x="107" y="142"/>
                      <a:pt x="107" y="142"/>
                    </a:cubicBezTo>
                    <a:cubicBezTo>
                      <a:pt x="122" y="142"/>
                      <a:pt x="122" y="142"/>
                      <a:pt x="122" y="142"/>
                    </a:cubicBezTo>
                    <a:cubicBezTo>
                      <a:pt x="122" y="142"/>
                      <a:pt x="132" y="159"/>
                      <a:pt x="143" y="167"/>
                    </a:cubicBezTo>
                    <a:cubicBezTo>
                      <a:pt x="154" y="175"/>
                      <a:pt x="206" y="188"/>
                      <a:pt x="225" y="194"/>
                    </a:cubicBezTo>
                    <a:cubicBezTo>
                      <a:pt x="244" y="200"/>
                      <a:pt x="277" y="220"/>
                      <a:pt x="277" y="220"/>
                    </a:cubicBezTo>
                    <a:cubicBezTo>
                      <a:pt x="325" y="217"/>
                      <a:pt x="325" y="217"/>
                      <a:pt x="325" y="217"/>
                    </a:cubicBezTo>
                    <a:cubicBezTo>
                      <a:pt x="185" y="382"/>
                      <a:pt x="185" y="382"/>
                      <a:pt x="185" y="382"/>
                    </a:cubicBezTo>
                    <a:cubicBezTo>
                      <a:pt x="185" y="382"/>
                      <a:pt x="137" y="380"/>
                      <a:pt x="129" y="382"/>
                    </a:cubicBezTo>
                    <a:cubicBezTo>
                      <a:pt x="121" y="384"/>
                      <a:pt x="96" y="396"/>
                      <a:pt x="96" y="396"/>
                    </a:cubicBezTo>
                    <a:cubicBezTo>
                      <a:pt x="96" y="396"/>
                      <a:pt x="95" y="408"/>
                      <a:pt x="89" y="414"/>
                    </a:cubicBezTo>
                    <a:cubicBezTo>
                      <a:pt x="83" y="420"/>
                      <a:pt x="58" y="418"/>
                      <a:pt x="50" y="421"/>
                    </a:cubicBezTo>
                    <a:cubicBezTo>
                      <a:pt x="42" y="424"/>
                      <a:pt x="42" y="435"/>
                      <a:pt x="42" y="435"/>
                    </a:cubicBezTo>
                    <a:cubicBezTo>
                      <a:pt x="42" y="435"/>
                      <a:pt x="29" y="463"/>
                      <a:pt x="22" y="471"/>
                    </a:cubicBezTo>
                    <a:cubicBezTo>
                      <a:pt x="15" y="479"/>
                      <a:pt x="1" y="492"/>
                      <a:pt x="1" y="492"/>
                    </a:cubicBezTo>
                    <a:cubicBezTo>
                      <a:pt x="0" y="695"/>
                      <a:pt x="0" y="695"/>
                      <a:pt x="0" y="695"/>
                    </a:cubicBezTo>
                    <a:cubicBezTo>
                      <a:pt x="28" y="735"/>
                      <a:pt x="28" y="735"/>
                      <a:pt x="28" y="735"/>
                    </a:cubicBezTo>
                    <a:cubicBezTo>
                      <a:pt x="27" y="737"/>
                      <a:pt x="27" y="738"/>
                      <a:pt x="26" y="739"/>
                    </a:cubicBezTo>
                    <a:cubicBezTo>
                      <a:pt x="26" y="739"/>
                      <a:pt x="26" y="739"/>
                      <a:pt x="26" y="739"/>
                    </a:cubicBezTo>
                    <a:cubicBezTo>
                      <a:pt x="35" y="722"/>
                      <a:pt x="52" y="690"/>
                      <a:pt x="58" y="680"/>
                    </a:cubicBezTo>
                    <a:cubicBezTo>
                      <a:pt x="65" y="669"/>
                      <a:pt x="97" y="654"/>
                      <a:pt x="100" y="639"/>
                    </a:cubicBezTo>
                    <a:cubicBezTo>
                      <a:pt x="103" y="624"/>
                      <a:pt x="146" y="586"/>
                      <a:pt x="157" y="573"/>
                    </a:cubicBezTo>
                    <a:cubicBezTo>
                      <a:pt x="168" y="560"/>
                      <a:pt x="202" y="541"/>
                      <a:pt x="210" y="536"/>
                    </a:cubicBezTo>
                    <a:cubicBezTo>
                      <a:pt x="218" y="531"/>
                      <a:pt x="275" y="484"/>
                      <a:pt x="281" y="473"/>
                    </a:cubicBezTo>
                    <a:cubicBezTo>
                      <a:pt x="287" y="462"/>
                      <a:pt x="331" y="413"/>
                      <a:pt x="335" y="399"/>
                    </a:cubicBezTo>
                    <a:cubicBezTo>
                      <a:pt x="339" y="385"/>
                      <a:pt x="364" y="339"/>
                      <a:pt x="370" y="334"/>
                    </a:cubicBezTo>
                    <a:cubicBezTo>
                      <a:pt x="376" y="329"/>
                      <a:pt x="384" y="316"/>
                      <a:pt x="384" y="308"/>
                    </a:cubicBezTo>
                    <a:cubicBezTo>
                      <a:pt x="384" y="300"/>
                      <a:pt x="390" y="271"/>
                      <a:pt x="397" y="262"/>
                    </a:cubicBezTo>
                    <a:cubicBezTo>
                      <a:pt x="404" y="253"/>
                      <a:pt x="417" y="241"/>
                      <a:pt x="417" y="228"/>
                    </a:cubicBezTo>
                    <a:cubicBezTo>
                      <a:pt x="417" y="215"/>
                      <a:pt x="427" y="205"/>
                      <a:pt x="427" y="205"/>
                    </a:cubicBezTo>
                    <a:cubicBezTo>
                      <a:pt x="440" y="169"/>
                      <a:pt x="440" y="169"/>
                      <a:pt x="440" y="169"/>
                    </a:cubicBezTo>
                    <a:cubicBezTo>
                      <a:pt x="440" y="169"/>
                      <a:pt x="457" y="173"/>
                      <a:pt x="457" y="147"/>
                    </a:cubicBezTo>
                    <a:cubicBezTo>
                      <a:pt x="457" y="121"/>
                      <a:pt x="457" y="93"/>
                      <a:pt x="457" y="93"/>
                    </a:cubicBezTo>
                    <a:cubicBezTo>
                      <a:pt x="471" y="84"/>
                      <a:pt x="471" y="84"/>
                      <a:pt x="471" y="84"/>
                    </a:cubicBezTo>
                    <a:cubicBezTo>
                      <a:pt x="467" y="38"/>
                      <a:pt x="467" y="38"/>
                      <a:pt x="467" y="38"/>
                    </a:cubicBezTo>
                    <a:cubicBezTo>
                      <a:pt x="467" y="38"/>
                      <a:pt x="480" y="14"/>
                      <a:pt x="474" y="8"/>
                    </a:cubicBezTo>
                    <a:cubicBezTo>
                      <a:pt x="468" y="2"/>
                      <a:pt x="447" y="0"/>
                      <a:pt x="447" y="0"/>
                    </a:cubicBezTo>
                    <a:cubicBezTo>
                      <a:pt x="447" y="0"/>
                      <a:pt x="439" y="14"/>
                      <a:pt x="432" y="21"/>
                    </a:cubicBezTo>
                    <a:cubicBezTo>
                      <a:pt x="425" y="28"/>
                      <a:pt x="388" y="37"/>
                      <a:pt x="382" y="37"/>
                    </a:cubicBezTo>
                    <a:cubicBezTo>
                      <a:pt x="376" y="37"/>
                      <a:pt x="355" y="31"/>
                      <a:pt x="345" y="35"/>
                    </a:cubicBezTo>
                    <a:cubicBezTo>
                      <a:pt x="335" y="39"/>
                      <a:pt x="322" y="54"/>
                      <a:pt x="318" y="54"/>
                    </a:cubicBezTo>
                    <a:cubicBezTo>
                      <a:pt x="314" y="54"/>
                      <a:pt x="304" y="42"/>
                      <a:pt x="296" y="43"/>
                    </a:cubicBezTo>
                    <a:cubicBezTo>
                      <a:pt x="288" y="44"/>
                      <a:pt x="261" y="72"/>
                      <a:pt x="252" y="73"/>
                    </a:cubicBezTo>
                    <a:cubicBezTo>
                      <a:pt x="243" y="74"/>
                      <a:pt x="235" y="58"/>
                      <a:pt x="221" y="62"/>
                    </a:cubicBezTo>
                    <a:cubicBezTo>
                      <a:pt x="207" y="66"/>
                      <a:pt x="189" y="83"/>
                      <a:pt x="181" y="84"/>
                    </a:cubicBezTo>
                    <a:cubicBezTo>
                      <a:pt x="173" y="85"/>
                      <a:pt x="141" y="85"/>
                      <a:pt x="141" y="85"/>
                    </a:cubicBezTo>
                    <a:cubicBezTo>
                      <a:pt x="141" y="85"/>
                      <a:pt x="111" y="58"/>
                      <a:pt x="111" y="48"/>
                    </a:cubicBezTo>
                    <a:cubicBezTo>
                      <a:pt x="111" y="40"/>
                      <a:pt x="102" y="36"/>
                      <a:pt x="99" y="35"/>
                    </a:cubicBezTo>
                    <a:cubicBezTo>
                      <a:pt x="84" y="55"/>
                      <a:pt x="84" y="55"/>
                      <a:pt x="84" y="55"/>
                    </a:cubicBezTo>
                    <a:lnTo>
                      <a:pt x="70" y="77"/>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23" name="Sierra Leone">
                <a:extLst>
                  <a:ext uri="{FF2B5EF4-FFF2-40B4-BE49-F238E27FC236}">
                    <a16:creationId xmlns:a16="http://schemas.microsoft.com/office/drawing/2014/main" id="{11131522-7671-4592-8692-EF4339A0FE3B}"/>
                  </a:ext>
                </a:extLst>
              </p:cNvPr>
              <p:cNvSpPr>
                <a:spLocks/>
              </p:cNvSpPr>
              <p:nvPr/>
            </p:nvSpPr>
            <p:spPr bwMode="gray">
              <a:xfrm>
                <a:off x="3719764" y="3335244"/>
                <a:ext cx="230509" cy="236893"/>
              </a:xfrm>
              <a:custGeom>
                <a:avLst/>
                <a:gdLst>
                  <a:gd name="T0" fmla="*/ 126 w 140"/>
                  <a:gd name="T1" fmla="*/ 122 h 179"/>
                  <a:gd name="T2" fmla="*/ 126 w 140"/>
                  <a:gd name="T3" fmla="*/ 108 h 179"/>
                  <a:gd name="T4" fmla="*/ 140 w 140"/>
                  <a:gd name="T5" fmla="*/ 105 h 179"/>
                  <a:gd name="T6" fmla="*/ 138 w 140"/>
                  <a:gd name="T7" fmla="*/ 88 h 179"/>
                  <a:gd name="T8" fmla="*/ 119 w 140"/>
                  <a:gd name="T9" fmla="*/ 99 h 179"/>
                  <a:gd name="T10" fmla="*/ 120 w 140"/>
                  <a:gd name="T11" fmla="*/ 86 h 179"/>
                  <a:gd name="T12" fmla="*/ 131 w 140"/>
                  <a:gd name="T13" fmla="*/ 70 h 179"/>
                  <a:gd name="T14" fmla="*/ 120 w 140"/>
                  <a:gd name="T15" fmla="*/ 50 h 179"/>
                  <a:gd name="T16" fmla="*/ 123 w 140"/>
                  <a:gd name="T17" fmla="*/ 41 h 179"/>
                  <a:gd name="T18" fmla="*/ 95 w 140"/>
                  <a:gd name="T19" fmla="*/ 0 h 179"/>
                  <a:gd name="T20" fmla="*/ 69 w 140"/>
                  <a:gd name="T21" fmla="*/ 0 h 179"/>
                  <a:gd name="T22" fmla="*/ 65 w 140"/>
                  <a:gd name="T23" fmla="*/ 12 h 179"/>
                  <a:gd name="T24" fmla="*/ 40 w 140"/>
                  <a:gd name="T25" fmla="*/ 12 h 179"/>
                  <a:gd name="T26" fmla="*/ 9 w 140"/>
                  <a:gd name="T27" fmla="*/ 54 h 179"/>
                  <a:gd name="T28" fmla="*/ 0 w 140"/>
                  <a:gd name="T29" fmla="*/ 59 h 179"/>
                  <a:gd name="T30" fmla="*/ 9 w 140"/>
                  <a:gd name="T31" fmla="*/ 66 h 179"/>
                  <a:gd name="T32" fmla="*/ 1 w 140"/>
                  <a:gd name="T33" fmla="*/ 84 h 179"/>
                  <a:gd name="T34" fmla="*/ 16 w 140"/>
                  <a:gd name="T35" fmla="*/ 103 h 179"/>
                  <a:gd name="T36" fmla="*/ 15 w 140"/>
                  <a:gd name="T37" fmla="*/ 121 h 179"/>
                  <a:gd name="T38" fmla="*/ 29 w 140"/>
                  <a:gd name="T39" fmla="*/ 132 h 179"/>
                  <a:gd name="T40" fmla="*/ 37 w 140"/>
                  <a:gd name="T41" fmla="*/ 148 h 179"/>
                  <a:gd name="T42" fmla="*/ 65 w 140"/>
                  <a:gd name="T43" fmla="*/ 157 h 179"/>
                  <a:gd name="T44" fmla="*/ 85 w 140"/>
                  <a:gd name="T45" fmla="*/ 179 h 179"/>
                  <a:gd name="T46" fmla="*/ 87 w 140"/>
                  <a:gd name="T47" fmla="*/ 156 h 179"/>
                  <a:gd name="T48" fmla="*/ 126 w 140"/>
                  <a:gd name="T49" fmla="*/ 12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0" h="179">
                    <a:moveTo>
                      <a:pt x="126" y="122"/>
                    </a:moveTo>
                    <a:cubicBezTo>
                      <a:pt x="130" y="112"/>
                      <a:pt x="126" y="108"/>
                      <a:pt x="126" y="108"/>
                    </a:cubicBezTo>
                    <a:cubicBezTo>
                      <a:pt x="140" y="105"/>
                      <a:pt x="140" y="105"/>
                      <a:pt x="140" y="105"/>
                    </a:cubicBezTo>
                    <a:cubicBezTo>
                      <a:pt x="138" y="88"/>
                      <a:pt x="138" y="88"/>
                      <a:pt x="138" y="88"/>
                    </a:cubicBezTo>
                    <a:cubicBezTo>
                      <a:pt x="119" y="99"/>
                      <a:pt x="119" y="99"/>
                      <a:pt x="119" y="99"/>
                    </a:cubicBezTo>
                    <a:cubicBezTo>
                      <a:pt x="120" y="86"/>
                      <a:pt x="120" y="86"/>
                      <a:pt x="120" y="86"/>
                    </a:cubicBezTo>
                    <a:cubicBezTo>
                      <a:pt x="120" y="86"/>
                      <a:pt x="131" y="78"/>
                      <a:pt x="131" y="70"/>
                    </a:cubicBezTo>
                    <a:cubicBezTo>
                      <a:pt x="131" y="62"/>
                      <a:pt x="120" y="50"/>
                      <a:pt x="120" y="50"/>
                    </a:cubicBezTo>
                    <a:cubicBezTo>
                      <a:pt x="123" y="41"/>
                      <a:pt x="123" y="41"/>
                      <a:pt x="123" y="41"/>
                    </a:cubicBezTo>
                    <a:cubicBezTo>
                      <a:pt x="95" y="0"/>
                      <a:pt x="95" y="0"/>
                      <a:pt x="95" y="0"/>
                    </a:cubicBezTo>
                    <a:cubicBezTo>
                      <a:pt x="69" y="0"/>
                      <a:pt x="69" y="0"/>
                      <a:pt x="69" y="0"/>
                    </a:cubicBezTo>
                    <a:cubicBezTo>
                      <a:pt x="65" y="12"/>
                      <a:pt x="65" y="12"/>
                      <a:pt x="65" y="12"/>
                    </a:cubicBezTo>
                    <a:cubicBezTo>
                      <a:pt x="40" y="12"/>
                      <a:pt x="40" y="12"/>
                      <a:pt x="40" y="12"/>
                    </a:cubicBezTo>
                    <a:cubicBezTo>
                      <a:pt x="40" y="12"/>
                      <a:pt x="21" y="54"/>
                      <a:pt x="9" y="54"/>
                    </a:cubicBezTo>
                    <a:cubicBezTo>
                      <a:pt x="0" y="59"/>
                      <a:pt x="0" y="59"/>
                      <a:pt x="0" y="59"/>
                    </a:cubicBezTo>
                    <a:cubicBezTo>
                      <a:pt x="9" y="66"/>
                      <a:pt x="9" y="66"/>
                      <a:pt x="9" y="66"/>
                    </a:cubicBezTo>
                    <a:cubicBezTo>
                      <a:pt x="9" y="66"/>
                      <a:pt x="1" y="75"/>
                      <a:pt x="1" y="84"/>
                    </a:cubicBezTo>
                    <a:cubicBezTo>
                      <a:pt x="1" y="93"/>
                      <a:pt x="16" y="103"/>
                      <a:pt x="16" y="103"/>
                    </a:cubicBezTo>
                    <a:cubicBezTo>
                      <a:pt x="15" y="121"/>
                      <a:pt x="15" y="121"/>
                      <a:pt x="15" y="121"/>
                    </a:cubicBezTo>
                    <a:cubicBezTo>
                      <a:pt x="29" y="132"/>
                      <a:pt x="29" y="132"/>
                      <a:pt x="29" y="132"/>
                    </a:cubicBezTo>
                    <a:cubicBezTo>
                      <a:pt x="29" y="132"/>
                      <a:pt x="28" y="139"/>
                      <a:pt x="37" y="148"/>
                    </a:cubicBezTo>
                    <a:cubicBezTo>
                      <a:pt x="46" y="157"/>
                      <a:pt x="65" y="157"/>
                      <a:pt x="65" y="157"/>
                    </a:cubicBezTo>
                    <a:cubicBezTo>
                      <a:pt x="85" y="179"/>
                      <a:pt x="85" y="179"/>
                      <a:pt x="85" y="179"/>
                    </a:cubicBezTo>
                    <a:cubicBezTo>
                      <a:pt x="86" y="171"/>
                      <a:pt x="86" y="160"/>
                      <a:pt x="87" y="156"/>
                    </a:cubicBezTo>
                    <a:cubicBezTo>
                      <a:pt x="88" y="149"/>
                      <a:pt x="122" y="132"/>
                      <a:pt x="126" y="122"/>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24" name="Senegal">
                <a:extLst>
                  <a:ext uri="{FF2B5EF4-FFF2-40B4-BE49-F238E27FC236}">
                    <a16:creationId xmlns:a16="http://schemas.microsoft.com/office/drawing/2014/main" id="{C6C2772D-8756-4BCA-9971-6DA926EE8137}"/>
                  </a:ext>
                </a:extLst>
              </p:cNvPr>
              <p:cNvSpPr>
                <a:spLocks/>
              </p:cNvSpPr>
              <p:nvPr/>
            </p:nvSpPr>
            <p:spPr bwMode="gray">
              <a:xfrm>
                <a:off x="3409289" y="2861463"/>
                <a:ext cx="456313" cy="327136"/>
              </a:xfrm>
              <a:custGeom>
                <a:avLst/>
                <a:gdLst>
                  <a:gd name="T0" fmla="*/ 269 w 276"/>
                  <a:gd name="T1" fmla="*/ 181 h 246"/>
                  <a:gd name="T2" fmla="*/ 253 w 276"/>
                  <a:gd name="T3" fmla="*/ 179 h 246"/>
                  <a:gd name="T4" fmla="*/ 255 w 276"/>
                  <a:gd name="T5" fmla="*/ 160 h 246"/>
                  <a:gd name="T6" fmla="*/ 248 w 276"/>
                  <a:gd name="T7" fmla="*/ 134 h 246"/>
                  <a:gd name="T8" fmla="*/ 240 w 276"/>
                  <a:gd name="T9" fmla="*/ 124 h 246"/>
                  <a:gd name="T10" fmla="*/ 239 w 276"/>
                  <a:gd name="T11" fmla="*/ 106 h 246"/>
                  <a:gd name="T12" fmla="*/ 230 w 276"/>
                  <a:gd name="T13" fmla="*/ 92 h 246"/>
                  <a:gd name="T14" fmla="*/ 213 w 276"/>
                  <a:gd name="T15" fmla="*/ 86 h 246"/>
                  <a:gd name="T16" fmla="*/ 210 w 276"/>
                  <a:gd name="T17" fmla="*/ 70 h 246"/>
                  <a:gd name="T18" fmla="*/ 196 w 276"/>
                  <a:gd name="T19" fmla="*/ 68 h 246"/>
                  <a:gd name="T20" fmla="*/ 188 w 276"/>
                  <a:gd name="T21" fmla="*/ 31 h 246"/>
                  <a:gd name="T22" fmla="*/ 167 w 276"/>
                  <a:gd name="T23" fmla="*/ 34 h 246"/>
                  <a:gd name="T24" fmla="*/ 146 w 276"/>
                  <a:gd name="T25" fmla="*/ 10 h 246"/>
                  <a:gd name="T26" fmla="*/ 122 w 276"/>
                  <a:gd name="T27" fmla="*/ 7 h 246"/>
                  <a:gd name="T28" fmla="*/ 109 w 276"/>
                  <a:gd name="T29" fmla="*/ 0 h 246"/>
                  <a:gd name="T30" fmla="*/ 109 w 276"/>
                  <a:gd name="T31" fmla="*/ 10 h 246"/>
                  <a:gd name="T32" fmla="*/ 86 w 276"/>
                  <a:gd name="T33" fmla="*/ 9 h 246"/>
                  <a:gd name="T34" fmla="*/ 78 w 276"/>
                  <a:gd name="T35" fmla="*/ 13 h 246"/>
                  <a:gd name="T36" fmla="*/ 59 w 276"/>
                  <a:gd name="T37" fmla="*/ 11 h 246"/>
                  <a:gd name="T38" fmla="*/ 41 w 276"/>
                  <a:gd name="T39" fmla="*/ 43 h 246"/>
                  <a:gd name="T40" fmla="*/ 40 w 276"/>
                  <a:gd name="T41" fmla="*/ 57 h 246"/>
                  <a:gd name="T42" fmla="*/ 22 w 276"/>
                  <a:gd name="T43" fmla="*/ 80 h 246"/>
                  <a:gd name="T44" fmla="*/ 0 w 276"/>
                  <a:gd name="T45" fmla="*/ 106 h 246"/>
                  <a:gd name="T46" fmla="*/ 2 w 276"/>
                  <a:gd name="T47" fmla="*/ 113 h 246"/>
                  <a:gd name="T48" fmla="*/ 8 w 276"/>
                  <a:gd name="T49" fmla="*/ 112 h 246"/>
                  <a:gd name="T50" fmla="*/ 17 w 276"/>
                  <a:gd name="T51" fmla="*/ 128 h 246"/>
                  <a:gd name="T52" fmla="*/ 20 w 276"/>
                  <a:gd name="T53" fmla="*/ 141 h 246"/>
                  <a:gd name="T54" fmla="*/ 29 w 276"/>
                  <a:gd name="T55" fmla="*/ 149 h 246"/>
                  <a:gd name="T56" fmla="*/ 28 w 276"/>
                  <a:gd name="T57" fmla="*/ 157 h 246"/>
                  <a:gd name="T58" fmla="*/ 34 w 276"/>
                  <a:gd name="T59" fmla="*/ 169 h 246"/>
                  <a:gd name="T60" fmla="*/ 84 w 276"/>
                  <a:gd name="T61" fmla="*/ 169 h 246"/>
                  <a:gd name="T62" fmla="*/ 84 w 276"/>
                  <a:gd name="T63" fmla="*/ 159 h 246"/>
                  <a:gd name="T64" fmla="*/ 109 w 276"/>
                  <a:gd name="T65" fmla="*/ 158 h 246"/>
                  <a:gd name="T66" fmla="*/ 120 w 276"/>
                  <a:gd name="T67" fmla="*/ 166 h 246"/>
                  <a:gd name="T68" fmla="*/ 128 w 276"/>
                  <a:gd name="T69" fmla="*/ 164 h 246"/>
                  <a:gd name="T70" fmla="*/ 141 w 276"/>
                  <a:gd name="T71" fmla="*/ 176 h 246"/>
                  <a:gd name="T72" fmla="*/ 162 w 276"/>
                  <a:gd name="T73" fmla="*/ 171 h 246"/>
                  <a:gd name="T74" fmla="*/ 143 w 276"/>
                  <a:gd name="T75" fmla="*/ 190 h 246"/>
                  <a:gd name="T76" fmla="*/ 109 w 276"/>
                  <a:gd name="T77" fmla="*/ 171 h 246"/>
                  <a:gd name="T78" fmla="*/ 97 w 276"/>
                  <a:gd name="T79" fmla="*/ 183 h 246"/>
                  <a:gd name="T80" fmla="*/ 72 w 276"/>
                  <a:gd name="T81" fmla="*/ 186 h 246"/>
                  <a:gd name="T82" fmla="*/ 68 w 276"/>
                  <a:gd name="T83" fmla="*/ 195 h 246"/>
                  <a:gd name="T84" fmla="*/ 25 w 276"/>
                  <a:gd name="T85" fmla="*/ 195 h 246"/>
                  <a:gd name="T86" fmla="*/ 24 w 276"/>
                  <a:gd name="T87" fmla="*/ 212 h 246"/>
                  <a:gd name="T88" fmla="*/ 18 w 276"/>
                  <a:gd name="T89" fmla="*/ 215 h 246"/>
                  <a:gd name="T90" fmla="*/ 31 w 276"/>
                  <a:gd name="T91" fmla="*/ 241 h 246"/>
                  <a:gd name="T92" fmla="*/ 50 w 276"/>
                  <a:gd name="T93" fmla="*/ 241 h 246"/>
                  <a:gd name="T94" fmla="*/ 58 w 276"/>
                  <a:gd name="T95" fmla="*/ 231 h 246"/>
                  <a:gd name="T96" fmla="*/ 85 w 276"/>
                  <a:gd name="T97" fmla="*/ 231 h 246"/>
                  <a:gd name="T98" fmla="*/ 102 w 276"/>
                  <a:gd name="T99" fmla="*/ 216 h 246"/>
                  <a:gd name="T100" fmla="*/ 196 w 276"/>
                  <a:gd name="T101" fmla="*/ 219 h 246"/>
                  <a:gd name="T102" fmla="*/ 204 w 276"/>
                  <a:gd name="T103" fmla="*/ 232 h 246"/>
                  <a:gd name="T104" fmla="*/ 215 w 276"/>
                  <a:gd name="T105" fmla="*/ 226 h 246"/>
                  <a:gd name="T106" fmla="*/ 231 w 276"/>
                  <a:gd name="T107" fmla="*/ 242 h 246"/>
                  <a:gd name="T108" fmla="*/ 247 w 276"/>
                  <a:gd name="T109" fmla="*/ 235 h 246"/>
                  <a:gd name="T110" fmla="*/ 275 w 276"/>
                  <a:gd name="T111" fmla="*/ 234 h 246"/>
                  <a:gd name="T112" fmla="*/ 276 w 276"/>
                  <a:gd name="T113" fmla="*/ 200 h 246"/>
                  <a:gd name="T114" fmla="*/ 269 w 276"/>
                  <a:gd name="T115" fmla="*/ 18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6" h="246">
                    <a:moveTo>
                      <a:pt x="269" y="181"/>
                    </a:moveTo>
                    <a:cubicBezTo>
                      <a:pt x="264" y="178"/>
                      <a:pt x="260" y="190"/>
                      <a:pt x="253" y="179"/>
                    </a:cubicBezTo>
                    <a:cubicBezTo>
                      <a:pt x="246" y="168"/>
                      <a:pt x="250" y="164"/>
                      <a:pt x="255" y="160"/>
                    </a:cubicBezTo>
                    <a:cubicBezTo>
                      <a:pt x="260" y="156"/>
                      <a:pt x="248" y="134"/>
                      <a:pt x="248" y="134"/>
                    </a:cubicBezTo>
                    <a:cubicBezTo>
                      <a:pt x="240" y="124"/>
                      <a:pt x="240" y="124"/>
                      <a:pt x="240" y="124"/>
                    </a:cubicBezTo>
                    <a:cubicBezTo>
                      <a:pt x="239" y="106"/>
                      <a:pt x="239" y="106"/>
                      <a:pt x="239" y="106"/>
                    </a:cubicBezTo>
                    <a:cubicBezTo>
                      <a:pt x="230" y="92"/>
                      <a:pt x="230" y="92"/>
                      <a:pt x="230" y="92"/>
                    </a:cubicBezTo>
                    <a:cubicBezTo>
                      <a:pt x="213" y="86"/>
                      <a:pt x="213" y="86"/>
                      <a:pt x="213" y="86"/>
                    </a:cubicBezTo>
                    <a:cubicBezTo>
                      <a:pt x="213" y="86"/>
                      <a:pt x="213" y="71"/>
                      <a:pt x="210" y="70"/>
                    </a:cubicBezTo>
                    <a:cubicBezTo>
                      <a:pt x="207" y="69"/>
                      <a:pt x="196" y="68"/>
                      <a:pt x="196" y="68"/>
                    </a:cubicBezTo>
                    <a:cubicBezTo>
                      <a:pt x="196" y="68"/>
                      <a:pt x="195" y="32"/>
                      <a:pt x="188" y="31"/>
                    </a:cubicBezTo>
                    <a:cubicBezTo>
                      <a:pt x="181" y="30"/>
                      <a:pt x="167" y="34"/>
                      <a:pt x="167" y="34"/>
                    </a:cubicBezTo>
                    <a:cubicBezTo>
                      <a:pt x="167" y="34"/>
                      <a:pt x="156" y="12"/>
                      <a:pt x="146" y="10"/>
                    </a:cubicBezTo>
                    <a:cubicBezTo>
                      <a:pt x="136" y="8"/>
                      <a:pt x="122" y="7"/>
                      <a:pt x="122" y="7"/>
                    </a:cubicBezTo>
                    <a:cubicBezTo>
                      <a:pt x="109" y="0"/>
                      <a:pt x="109" y="0"/>
                      <a:pt x="109" y="0"/>
                    </a:cubicBezTo>
                    <a:cubicBezTo>
                      <a:pt x="109" y="10"/>
                      <a:pt x="109" y="10"/>
                      <a:pt x="109" y="10"/>
                    </a:cubicBezTo>
                    <a:cubicBezTo>
                      <a:pt x="86" y="9"/>
                      <a:pt x="86" y="9"/>
                      <a:pt x="86" y="9"/>
                    </a:cubicBezTo>
                    <a:cubicBezTo>
                      <a:pt x="78" y="13"/>
                      <a:pt x="78" y="13"/>
                      <a:pt x="78" y="13"/>
                    </a:cubicBezTo>
                    <a:cubicBezTo>
                      <a:pt x="78" y="13"/>
                      <a:pt x="68" y="5"/>
                      <a:pt x="59" y="11"/>
                    </a:cubicBezTo>
                    <a:cubicBezTo>
                      <a:pt x="50" y="17"/>
                      <a:pt x="53" y="41"/>
                      <a:pt x="41" y="43"/>
                    </a:cubicBezTo>
                    <a:cubicBezTo>
                      <a:pt x="40" y="50"/>
                      <a:pt x="40" y="56"/>
                      <a:pt x="40" y="57"/>
                    </a:cubicBezTo>
                    <a:cubicBezTo>
                      <a:pt x="39" y="60"/>
                      <a:pt x="29" y="67"/>
                      <a:pt x="22" y="80"/>
                    </a:cubicBezTo>
                    <a:cubicBezTo>
                      <a:pt x="15" y="93"/>
                      <a:pt x="0" y="106"/>
                      <a:pt x="0" y="106"/>
                    </a:cubicBezTo>
                    <a:cubicBezTo>
                      <a:pt x="2" y="113"/>
                      <a:pt x="2" y="113"/>
                      <a:pt x="2" y="113"/>
                    </a:cubicBezTo>
                    <a:cubicBezTo>
                      <a:pt x="8" y="112"/>
                      <a:pt x="8" y="112"/>
                      <a:pt x="8" y="112"/>
                    </a:cubicBezTo>
                    <a:cubicBezTo>
                      <a:pt x="8" y="112"/>
                      <a:pt x="17" y="121"/>
                      <a:pt x="17" y="128"/>
                    </a:cubicBezTo>
                    <a:cubicBezTo>
                      <a:pt x="17" y="135"/>
                      <a:pt x="20" y="141"/>
                      <a:pt x="20" y="141"/>
                    </a:cubicBezTo>
                    <a:cubicBezTo>
                      <a:pt x="29" y="149"/>
                      <a:pt x="29" y="149"/>
                      <a:pt x="29" y="149"/>
                    </a:cubicBezTo>
                    <a:cubicBezTo>
                      <a:pt x="29" y="149"/>
                      <a:pt x="28" y="150"/>
                      <a:pt x="28" y="157"/>
                    </a:cubicBezTo>
                    <a:cubicBezTo>
                      <a:pt x="28" y="162"/>
                      <a:pt x="32" y="166"/>
                      <a:pt x="34" y="169"/>
                    </a:cubicBezTo>
                    <a:cubicBezTo>
                      <a:pt x="84" y="169"/>
                      <a:pt x="84" y="169"/>
                      <a:pt x="84" y="169"/>
                    </a:cubicBezTo>
                    <a:cubicBezTo>
                      <a:pt x="84" y="159"/>
                      <a:pt x="84" y="159"/>
                      <a:pt x="84" y="159"/>
                    </a:cubicBezTo>
                    <a:cubicBezTo>
                      <a:pt x="84" y="159"/>
                      <a:pt x="96" y="160"/>
                      <a:pt x="109" y="158"/>
                    </a:cubicBezTo>
                    <a:cubicBezTo>
                      <a:pt x="122" y="156"/>
                      <a:pt x="120" y="166"/>
                      <a:pt x="120" y="166"/>
                    </a:cubicBezTo>
                    <a:cubicBezTo>
                      <a:pt x="128" y="164"/>
                      <a:pt x="128" y="164"/>
                      <a:pt x="128" y="164"/>
                    </a:cubicBezTo>
                    <a:cubicBezTo>
                      <a:pt x="128" y="164"/>
                      <a:pt x="136" y="175"/>
                      <a:pt x="141" y="176"/>
                    </a:cubicBezTo>
                    <a:cubicBezTo>
                      <a:pt x="146" y="177"/>
                      <a:pt x="145" y="167"/>
                      <a:pt x="162" y="171"/>
                    </a:cubicBezTo>
                    <a:cubicBezTo>
                      <a:pt x="179" y="175"/>
                      <a:pt x="161" y="190"/>
                      <a:pt x="143" y="190"/>
                    </a:cubicBezTo>
                    <a:cubicBezTo>
                      <a:pt x="125" y="190"/>
                      <a:pt x="109" y="171"/>
                      <a:pt x="109" y="171"/>
                    </a:cubicBezTo>
                    <a:cubicBezTo>
                      <a:pt x="109" y="171"/>
                      <a:pt x="103" y="182"/>
                      <a:pt x="97" y="183"/>
                    </a:cubicBezTo>
                    <a:cubicBezTo>
                      <a:pt x="91" y="184"/>
                      <a:pt x="72" y="186"/>
                      <a:pt x="72" y="186"/>
                    </a:cubicBezTo>
                    <a:cubicBezTo>
                      <a:pt x="72" y="186"/>
                      <a:pt x="71" y="195"/>
                      <a:pt x="68" y="195"/>
                    </a:cubicBezTo>
                    <a:cubicBezTo>
                      <a:pt x="66" y="195"/>
                      <a:pt x="36" y="195"/>
                      <a:pt x="25" y="195"/>
                    </a:cubicBezTo>
                    <a:cubicBezTo>
                      <a:pt x="24" y="202"/>
                      <a:pt x="24" y="212"/>
                      <a:pt x="24" y="212"/>
                    </a:cubicBezTo>
                    <a:cubicBezTo>
                      <a:pt x="18" y="215"/>
                      <a:pt x="18" y="215"/>
                      <a:pt x="18" y="215"/>
                    </a:cubicBezTo>
                    <a:cubicBezTo>
                      <a:pt x="18" y="215"/>
                      <a:pt x="22" y="236"/>
                      <a:pt x="31" y="241"/>
                    </a:cubicBezTo>
                    <a:cubicBezTo>
                      <a:pt x="40" y="246"/>
                      <a:pt x="50" y="241"/>
                      <a:pt x="50" y="241"/>
                    </a:cubicBezTo>
                    <a:cubicBezTo>
                      <a:pt x="58" y="231"/>
                      <a:pt x="58" y="231"/>
                      <a:pt x="58" y="231"/>
                    </a:cubicBezTo>
                    <a:cubicBezTo>
                      <a:pt x="85" y="231"/>
                      <a:pt x="85" y="231"/>
                      <a:pt x="85" y="231"/>
                    </a:cubicBezTo>
                    <a:cubicBezTo>
                      <a:pt x="102" y="216"/>
                      <a:pt x="102" y="216"/>
                      <a:pt x="102" y="216"/>
                    </a:cubicBezTo>
                    <a:cubicBezTo>
                      <a:pt x="196" y="219"/>
                      <a:pt x="196" y="219"/>
                      <a:pt x="196" y="219"/>
                    </a:cubicBezTo>
                    <a:cubicBezTo>
                      <a:pt x="196" y="219"/>
                      <a:pt x="196" y="230"/>
                      <a:pt x="204" y="232"/>
                    </a:cubicBezTo>
                    <a:cubicBezTo>
                      <a:pt x="212" y="234"/>
                      <a:pt x="215" y="226"/>
                      <a:pt x="215" y="226"/>
                    </a:cubicBezTo>
                    <a:cubicBezTo>
                      <a:pt x="215" y="226"/>
                      <a:pt x="224" y="242"/>
                      <a:pt x="231" y="242"/>
                    </a:cubicBezTo>
                    <a:cubicBezTo>
                      <a:pt x="238" y="242"/>
                      <a:pt x="247" y="235"/>
                      <a:pt x="247" y="235"/>
                    </a:cubicBezTo>
                    <a:cubicBezTo>
                      <a:pt x="275" y="234"/>
                      <a:pt x="275" y="234"/>
                      <a:pt x="275" y="234"/>
                    </a:cubicBezTo>
                    <a:cubicBezTo>
                      <a:pt x="276" y="200"/>
                      <a:pt x="276" y="200"/>
                      <a:pt x="276" y="200"/>
                    </a:cubicBezTo>
                    <a:cubicBezTo>
                      <a:pt x="276" y="200"/>
                      <a:pt x="274" y="184"/>
                      <a:pt x="269" y="18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25" name="Sao Tome &amp; Principe">
                <a:extLst>
                  <a:ext uri="{FF2B5EF4-FFF2-40B4-BE49-F238E27FC236}">
                    <a16:creationId xmlns:a16="http://schemas.microsoft.com/office/drawing/2014/main" id="{1464CF18-3B26-49E5-B836-910D6394CEE4}"/>
                  </a:ext>
                </a:extLst>
              </p:cNvPr>
              <p:cNvSpPr>
                <a:spLocks noEditPoints="1"/>
              </p:cNvSpPr>
              <p:nvPr/>
            </p:nvSpPr>
            <p:spPr bwMode="gray">
              <a:xfrm>
                <a:off x="5407143" y="3821845"/>
                <a:ext cx="58986" cy="122545"/>
              </a:xfrm>
              <a:custGeom>
                <a:avLst/>
                <a:gdLst/>
                <a:ahLst/>
                <a:cxnLst>
                  <a:cxn ang="0">
                    <a:pos x="4" y="27"/>
                  </a:cxn>
                  <a:cxn ang="0">
                    <a:pos x="4" y="22"/>
                  </a:cxn>
                  <a:cxn ang="0">
                    <a:pos x="9" y="18"/>
                  </a:cxn>
                  <a:cxn ang="0">
                    <a:pos x="4" y="18"/>
                  </a:cxn>
                  <a:cxn ang="0">
                    <a:pos x="0" y="22"/>
                  </a:cxn>
                  <a:cxn ang="0">
                    <a:pos x="0" y="22"/>
                  </a:cxn>
                  <a:cxn ang="0">
                    <a:pos x="4" y="27"/>
                  </a:cxn>
                  <a:cxn ang="0">
                    <a:pos x="13" y="0"/>
                  </a:cxn>
                  <a:cxn ang="0">
                    <a:pos x="9" y="0"/>
                  </a:cxn>
                  <a:cxn ang="0">
                    <a:pos x="13" y="4"/>
                  </a:cxn>
                  <a:cxn ang="0">
                    <a:pos x="13" y="0"/>
                  </a:cxn>
                  <a:cxn ang="0">
                    <a:pos x="13" y="0"/>
                  </a:cxn>
                </a:cxnLst>
                <a:rect l="0" t="0" r="r" b="b"/>
                <a:pathLst>
                  <a:path w="13" h="27">
                    <a:moveTo>
                      <a:pt x="4" y="27"/>
                    </a:moveTo>
                    <a:lnTo>
                      <a:pt x="4" y="22"/>
                    </a:lnTo>
                    <a:lnTo>
                      <a:pt x="9" y="18"/>
                    </a:lnTo>
                    <a:lnTo>
                      <a:pt x="4" y="18"/>
                    </a:lnTo>
                    <a:lnTo>
                      <a:pt x="0" y="22"/>
                    </a:lnTo>
                    <a:lnTo>
                      <a:pt x="0" y="22"/>
                    </a:lnTo>
                    <a:lnTo>
                      <a:pt x="4" y="27"/>
                    </a:lnTo>
                    <a:close/>
                    <a:moveTo>
                      <a:pt x="13" y="0"/>
                    </a:moveTo>
                    <a:lnTo>
                      <a:pt x="9" y="0"/>
                    </a:lnTo>
                    <a:lnTo>
                      <a:pt x="13" y="4"/>
                    </a:lnTo>
                    <a:lnTo>
                      <a:pt x="13" y="0"/>
                    </a:lnTo>
                    <a:lnTo>
                      <a:pt x="13" y="0"/>
                    </a:lnTo>
                    <a:close/>
                  </a:path>
                </a:pathLst>
              </a:custGeom>
              <a:solidFill>
                <a:srgbClr val="DEDEDE"/>
              </a:solidFill>
              <a:ln w="9525" cmpd="sng">
                <a:solidFill>
                  <a:schemeClr val="bg1"/>
                </a:solidFill>
                <a:round/>
                <a:headEnd/>
                <a:tailEnd/>
              </a:ln>
            </p:spPr>
            <p:txBody>
              <a:bodyPr/>
              <a:lstStyle/>
              <a:p>
                <a:endParaRPr lang="en-US" sz="1662" dirty="0"/>
              </a:p>
            </p:txBody>
          </p:sp>
          <p:sp>
            <p:nvSpPr>
              <p:cNvPr id="226" name="Rwanda">
                <a:extLst>
                  <a:ext uri="{FF2B5EF4-FFF2-40B4-BE49-F238E27FC236}">
                    <a16:creationId xmlns:a16="http://schemas.microsoft.com/office/drawing/2014/main" id="{23078FF3-216A-4945-8679-4F2581E88F82}"/>
                  </a:ext>
                </a:extLst>
              </p:cNvPr>
              <p:cNvSpPr>
                <a:spLocks/>
              </p:cNvSpPr>
              <p:nvPr/>
            </p:nvSpPr>
            <p:spPr bwMode="gray">
              <a:xfrm>
                <a:off x="7017457" y="4128637"/>
                <a:ext cx="174056" cy="131607"/>
              </a:xfrm>
              <a:custGeom>
                <a:avLst/>
                <a:gdLst>
                  <a:gd name="T0" fmla="*/ 35 w 104"/>
                  <a:gd name="T1" fmla="*/ 98 h 98"/>
                  <a:gd name="T2" fmla="*/ 52 w 104"/>
                  <a:gd name="T3" fmla="*/ 91 h 98"/>
                  <a:gd name="T4" fmla="*/ 57 w 104"/>
                  <a:gd name="T5" fmla="*/ 74 h 98"/>
                  <a:gd name="T6" fmla="*/ 87 w 104"/>
                  <a:gd name="T7" fmla="*/ 74 h 98"/>
                  <a:gd name="T8" fmla="*/ 90 w 104"/>
                  <a:gd name="T9" fmla="*/ 74 h 98"/>
                  <a:gd name="T10" fmla="*/ 104 w 104"/>
                  <a:gd name="T11" fmla="*/ 64 h 98"/>
                  <a:gd name="T12" fmla="*/ 98 w 104"/>
                  <a:gd name="T13" fmla="*/ 44 h 98"/>
                  <a:gd name="T14" fmla="*/ 100 w 104"/>
                  <a:gd name="T15" fmla="*/ 31 h 98"/>
                  <a:gd name="T16" fmla="*/ 86 w 104"/>
                  <a:gd name="T17" fmla="*/ 13 h 98"/>
                  <a:gd name="T18" fmla="*/ 91 w 104"/>
                  <a:gd name="T19" fmla="*/ 0 h 98"/>
                  <a:gd name="T20" fmla="*/ 75 w 104"/>
                  <a:gd name="T21" fmla="*/ 1 h 98"/>
                  <a:gd name="T22" fmla="*/ 64 w 104"/>
                  <a:gd name="T23" fmla="*/ 25 h 98"/>
                  <a:gd name="T24" fmla="*/ 52 w 104"/>
                  <a:gd name="T25" fmla="*/ 17 h 98"/>
                  <a:gd name="T26" fmla="*/ 42 w 104"/>
                  <a:gd name="T27" fmla="*/ 17 h 98"/>
                  <a:gd name="T28" fmla="*/ 17 w 104"/>
                  <a:gd name="T29" fmla="*/ 36 h 98"/>
                  <a:gd name="T30" fmla="*/ 24 w 104"/>
                  <a:gd name="T31" fmla="*/ 58 h 98"/>
                  <a:gd name="T32" fmla="*/ 4 w 104"/>
                  <a:gd name="T33" fmla="*/ 80 h 98"/>
                  <a:gd name="T34" fmla="*/ 22 w 104"/>
                  <a:gd name="T35" fmla="*/ 85 h 98"/>
                  <a:gd name="T36" fmla="*/ 35 w 104"/>
                  <a:gd name="T3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4" h="98">
                    <a:moveTo>
                      <a:pt x="35" y="98"/>
                    </a:moveTo>
                    <a:cubicBezTo>
                      <a:pt x="39" y="98"/>
                      <a:pt x="52" y="91"/>
                      <a:pt x="52" y="91"/>
                    </a:cubicBezTo>
                    <a:cubicBezTo>
                      <a:pt x="57" y="74"/>
                      <a:pt x="57" y="74"/>
                      <a:pt x="57" y="74"/>
                    </a:cubicBezTo>
                    <a:cubicBezTo>
                      <a:pt x="87" y="74"/>
                      <a:pt x="87" y="74"/>
                      <a:pt x="87" y="74"/>
                    </a:cubicBezTo>
                    <a:cubicBezTo>
                      <a:pt x="90" y="74"/>
                      <a:pt x="90" y="74"/>
                      <a:pt x="90" y="74"/>
                    </a:cubicBezTo>
                    <a:cubicBezTo>
                      <a:pt x="96" y="73"/>
                      <a:pt x="104" y="71"/>
                      <a:pt x="104" y="64"/>
                    </a:cubicBezTo>
                    <a:cubicBezTo>
                      <a:pt x="104" y="52"/>
                      <a:pt x="98" y="44"/>
                      <a:pt x="98" y="44"/>
                    </a:cubicBezTo>
                    <a:cubicBezTo>
                      <a:pt x="98" y="44"/>
                      <a:pt x="104" y="39"/>
                      <a:pt x="100" y="31"/>
                    </a:cubicBezTo>
                    <a:cubicBezTo>
                      <a:pt x="96" y="23"/>
                      <a:pt x="86" y="13"/>
                      <a:pt x="86" y="13"/>
                    </a:cubicBezTo>
                    <a:cubicBezTo>
                      <a:pt x="91" y="0"/>
                      <a:pt x="91" y="0"/>
                      <a:pt x="91" y="0"/>
                    </a:cubicBezTo>
                    <a:cubicBezTo>
                      <a:pt x="75" y="1"/>
                      <a:pt x="75" y="1"/>
                      <a:pt x="75" y="1"/>
                    </a:cubicBezTo>
                    <a:cubicBezTo>
                      <a:pt x="75" y="1"/>
                      <a:pt x="71" y="17"/>
                      <a:pt x="64" y="25"/>
                    </a:cubicBezTo>
                    <a:cubicBezTo>
                      <a:pt x="58" y="32"/>
                      <a:pt x="52" y="17"/>
                      <a:pt x="52" y="17"/>
                    </a:cubicBezTo>
                    <a:cubicBezTo>
                      <a:pt x="42" y="17"/>
                      <a:pt x="42" y="17"/>
                      <a:pt x="42" y="17"/>
                    </a:cubicBezTo>
                    <a:cubicBezTo>
                      <a:pt x="42" y="17"/>
                      <a:pt x="18" y="28"/>
                      <a:pt x="17" y="36"/>
                    </a:cubicBezTo>
                    <a:cubicBezTo>
                      <a:pt x="15" y="44"/>
                      <a:pt x="25" y="55"/>
                      <a:pt x="24" y="58"/>
                    </a:cubicBezTo>
                    <a:cubicBezTo>
                      <a:pt x="22" y="62"/>
                      <a:pt x="0" y="72"/>
                      <a:pt x="4" y="80"/>
                    </a:cubicBezTo>
                    <a:cubicBezTo>
                      <a:pt x="8" y="88"/>
                      <a:pt x="22" y="85"/>
                      <a:pt x="22" y="85"/>
                    </a:cubicBezTo>
                    <a:cubicBezTo>
                      <a:pt x="22" y="85"/>
                      <a:pt x="31" y="98"/>
                      <a:pt x="35" y="98"/>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27" name="Reunion">
                <a:extLst>
                  <a:ext uri="{FF2B5EF4-FFF2-40B4-BE49-F238E27FC236}">
                    <a16:creationId xmlns:a16="http://schemas.microsoft.com/office/drawing/2014/main" id="{3B412FCE-9313-4E36-9F7A-A29048AA4961}"/>
                  </a:ext>
                </a:extLst>
              </p:cNvPr>
              <p:cNvSpPr>
                <a:spLocks/>
              </p:cNvSpPr>
              <p:nvPr/>
            </p:nvSpPr>
            <p:spPr bwMode="gray">
              <a:xfrm>
                <a:off x="8820364" y="5514439"/>
                <a:ext cx="63524" cy="40848"/>
              </a:xfrm>
              <a:custGeom>
                <a:avLst/>
                <a:gdLst/>
                <a:ahLst/>
                <a:cxnLst>
                  <a:cxn ang="0">
                    <a:pos x="9" y="0"/>
                  </a:cxn>
                  <a:cxn ang="0">
                    <a:pos x="0" y="0"/>
                  </a:cxn>
                  <a:cxn ang="0">
                    <a:pos x="0" y="5"/>
                  </a:cxn>
                  <a:cxn ang="0">
                    <a:pos x="5" y="9"/>
                  </a:cxn>
                  <a:cxn ang="0">
                    <a:pos x="9" y="9"/>
                  </a:cxn>
                  <a:cxn ang="0">
                    <a:pos x="14" y="5"/>
                  </a:cxn>
                  <a:cxn ang="0">
                    <a:pos x="9" y="5"/>
                  </a:cxn>
                  <a:cxn ang="0">
                    <a:pos x="9" y="0"/>
                  </a:cxn>
                </a:cxnLst>
                <a:rect l="0" t="0" r="r" b="b"/>
                <a:pathLst>
                  <a:path w="14" h="9">
                    <a:moveTo>
                      <a:pt x="9" y="0"/>
                    </a:moveTo>
                    <a:lnTo>
                      <a:pt x="0" y="0"/>
                    </a:lnTo>
                    <a:lnTo>
                      <a:pt x="0" y="5"/>
                    </a:lnTo>
                    <a:lnTo>
                      <a:pt x="5" y="9"/>
                    </a:lnTo>
                    <a:lnTo>
                      <a:pt x="9" y="9"/>
                    </a:lnTo>
                    <a:lnTo>
                      <a:pt x="14" y="5"/>
                    </a:lnTo>
                    <a:lnTo>
                      <a:pt x="9" y="5"/>
                    </a:lnTo>
                    <a:lnTo>
                      <a:pt x="9" y="0"/>
                    </a:lnTo>
                    <a:close/>
                  </a:path>
                </a:pathLst>
              </a:custGeom>
              <a:solidFill>
                <a:srgbClr val="DEDEDE"/>
              </a:solidFill>
              <a:ln w="9525" cmpd="sng">
                <a:solidFill>
                  <a:schemeClr val="bg1"/>
                </a:solidFill>
                <a:round/>
                <a:headEnd/>
                <a:tailEnd/>
              </a:ln>
            </p:spPr>
            <p:txBody>
              <a:bodyPr/>
              <a:lstStyle/>
              <a:p>
                <a:endParaRPr lang="en-US" sz="1662" dirty="0"/>
              </a:p>
            </p:txBody>
          </p:sp>
          <p:sp>
            <p:nvSpPr>
              <p:cNvPr id="228" name="Republic of the Congo">
                <a:extLst>
                  <a:ext uri="{FF2B5EF4-FFF2-40B4-BE49-F238E27FC236}">
                    <a16:creationId xmlns:a16="http://schemas.microsoft.com/office/drawing/2014/main" id="{6C2189A9-FFEC-4EDA-A564-658ADACA8B31}"/>
                  </a:ext>
                </a:extLst>
              </p:cNvPr>
              <p:cNvSpPr>
                <a:spLocks/>
              </p:cNvSpPr>
              <p:nvPr/>
            </p:nvSpPr>
            <p:spPr bwMode="gray">
              <a:xfrm>
                <a:off x="5629699" y="3790221"/>
                <a:ext cx="592738" cy="616668"/>
              </a:xfrm>
              <a:custGeom>
                <a:avLst/>
                <a:gdLst>
                  <a:gd name="T0" fmla="*/ 238 w 356"/>
                  <a:gd name="T1" fmla="*/ 83 h 466"/>
                  <a:gd name="T2" fmla="*/ 219 w 356"/>
                  <a:gd name="T3" fmla="*/ 95 h 466"/>
                  <a:gd name="T4" fmla="*/ 166 w 356"/>
                  <a:gd name="T5" fmla="*/ 83 h 466"/>
                  <a:gd name="T6" fmla="*/ 96 w 356"/>
                  <a:gd name="T7" fmla="*/ 108 h 466"/>
                  <a:gd name="T8" fmla="*/ 115 w 356"/>
                  <a:gd name="T9" fmla="*/ 134 h 466"/>
                  <a:gd name="T10" fmla="*/ 149 w 356"/>
                  <a:gd name="T11" fmla="*/ 128 h 466"/>
                  <a:gd name="T12" fmla="*/ 159 w 356"/>
                  <a:gd name="T13" fmla="*/ 146 h 466"/>
                  <a:gd name="T14" fmla="*/ 140 w 356"/>
                  <a:gd name="T15" fmla="*/ 172 h 466"/>
                  <a:gd name="T16" fmla="*/ 130 w 356"/>
                  <a:gd name="T17" fmla="*/ 212 h 466"/>
                  <a:gd name="T18" fmla="*/ 147 w 356"/>
                  <a:gd name="T19" fmla="*/ 225 h 466"/>
                  <a:gd name="T20" fmla="*/ 158 w 356"/>
                  <a:gd name="T21" fmla="*/ 243 h 466"/>
                  <a:gd name="T22" fmla="*/ 155 w 356"/>
                  <a:gd name="T23" fmla="*/ 284 h 466"/>
                  <a:gd name="T24" fmla="*/ 146 w 356"/>
                  <a:gd name="T25" fmla="*/ 316 h 466"/>
                  <a:gd name="T26" fmla="*/ 127 w 356"/>
                  <a:gd name="T27" fmla="*/ 311 h 466"/>
                  <a:gd name="T28" fmla="*/ 90 w 356"/>
                  <a:gd name="T29" fmla="*/ 327 h 466"/>
                  <a:gd name="T30" fmla="*/ 64 w 356"/>
                  <a:gd name="T31" fmla="*/ 297 h 466"/>
                  <a:gd name="T32" fmla="*/ 58 w 356"/>
                  <a:gd name="T33" fmla="*/ 329 h 466"/>
                  <a:gd name="T34" fmla="*/ 25 w 356"/>
                  <a:gd name="T35" fmla="*/ 346 h 466"/>
                  <a:gd name="T36" fmla="*/ 35 w 356"/>
                  <a:gd name="T37" fmla="*/ 359 h 466"/>
                  <a:gd name="T38" fmla="*/ 38 w 356"/>
                  <a:gd name="T39" fmla="*/ 376 h 466"/>
                  <a:gd name="T40" fmla="*/ 19 w 356"/>
                  <a:gd name="T41" fmla="*/ 389 h 466"/>
                  <a:gd name="T42" fmla="*/ 0 w 356"/>
                  <a:gd name="T43" fmla="*/ 411 h 466"/>
                  <a:gd name="T44" fmla="*/ 37 w 356"/>
                  <a:gd name="T45" fmla="*/ 454 h 466"/>
                  <a:gd name="T46" fmla="*/ 50 w 356"/>
                  <a:gd name="T47" fmla="*/ 460 h 466"/>
                  <a:gd name="T48" fmla="*/ 61 w 356"/>
                  <a:gd name="T49" fmla="*/ 446 h 466"/>
                  <a:gd name="T50" fmla="*/ 91 w 356"/>
                  <a:gd name="T51" fmla="*/ 448 h 466"/>
                  <a:gd name="T52" fmla="*/ 114 w 356"/>
                  <a:gd name="T53" fmla="*/ 461 h 466"/>
                  <a:gd name="T54" fmla="*/ 138 w 356"/>
                  <a:gd name="T55" fmla="*/ 441 h 466"/>
                  <a:gd name="T56" fmla="*/ 159 w 356"/>
                  <a:gd name="T57" fmla="*/ 462 h 466"/>
                  <a:gd name="T58" fmla="*/ 209 w 356"/>
                  <a:gd name="T59" fmla="*/ 418 h 466"/>
                  <a:gd name="T60" fmla="*/ 242 w 356"/>
                  <a:gd name="T61" fmla="*/ 385 h 466"/>
                  <a:gd name="T62" fmla="*/ 260 w 356"/>
                  <a:gd name="T63" fmla="*/ 302 h 466"/>
                  <a:gd name="T64" fmla="*/ 298 w 356"/>
                  <a:gd name="T65" fmla="*/ 251 h 466"/>
                  <a:gd name="T66" fmla="*/ 317 w 356"/>
                  <a:gd name="T67" fmla="*/ 197 h 466"/>
                  <a:gd name="T68" fmla="*/ 320 w 356"/>
                  <a:gd name="T69" fmla="*/ 152 h 466"/>
                  <a:gd name="T70" fmla="*/ 332 w 356"/>
                  <a:gd name="T71" fmla="*/ 77 h 466"/>
                  <a:gd name="T72" fmla="*/ 356 w 356"/>
                  <a:gd name="T73" fmla="*/ 11 h 466"/>
                  <a:gd name="T74" fmla="*/ 332 w 356"/>
                  <a:gd name="T75" fmla="*/ 9 h 466"/>
                  <a:gd name="T76" fmla="*/ 282 w 356"/>
                  <a:gd name="T77" fmla="*/ 11 h 466"/>
                  <a:gd name="T78" fmla="*/ 252 w 356"/>
                  <a:gd name="T79" fmla="*/ 31 h 466"/>
                  <a:gd name="T80" fmla="*/ 242 w 356"/>
                  <a:gd name="T81" fmla="*/ 77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6" h="466">
                    <a:moveTo>
                      <a:pt x="242" y="77"/>
                    </a:moveTo>
                    <a:cubicBezTo>
                      <a:pt x="238" y="83"/>
                      <a:pt x="238" y="83"/>
                      <a:pt x="238" y="83"/>
                    </a:cubicBezTo>
                    <a:cubicBezTo>
                      <a:pt x="237" y="110"/>
                      <a:pt x="237" y="110"/>
                      <a:pt x="237" y="110"/>
                    </a:cubicBezTo>
                    <a:cubicBezTo>
                      <a:pt x="219" y="95"/>
                      <a:pt x="219" y="95"/>
                      <a:pt x="219" y="95"/>
                    </a:cubicBezTo>
                    <a:cubicBezTo>
                      <a:pt x="199" y="96"/>
                      <a:pt x="199" y="96"/>
                      <a:pt x="199" y="96"/>
                    </a:cubicBezTo>
                    <a:cubicBezTo>
                      <a:pt x="199" y="96"/>
                      <a:pt x="171" y="83"/>
                      <a:pt x="166" y="83"/>
                    </a:cubicBezTo>
                    <a:cubicBezTo>
                      <a:pt x="161" y="83"/>
                      <a:pt x="106" y="86"/>
                      <a:pt x="106" y="86"/>
                    </a:cubicBezTo>
                    <a:cubicBezTo>
                      <a:pt x="96" y="108"/>
                      <a:pt x="96" y="108"/>
                      <a:pt x="96" y="108"/>
                    </a:cubicBezTo>
                    <a:cubicBezTo>
                      <a:pt x="98" y="129"/>
                      <a:pt x="98" y="129"/>
                      <a:pt x="98" y="129"/>
                    </a:cubicBezTo>
                    <a:cubicBezTo>
                      <a:pt x="98" y="129"/>
                      <a:pt x="106" y="134"/>
                      <a:pt x="115" y="134"/>
                    </a:cubicBezTo>
                    <a:cubicBezTo>
                      <a:pt x="124" y="134"/>
                      <a:pt x="124" y="119"/>
                      <a:pt x="129" y="119"/>
                    </a:cubicBezTo>
                    <a:cubicBezTo>
                      <a:pt x="134" y="119"/>
                      <a:pt x="146" y="124"/>
                      <a:pt x="149" y="128"/>
                    </a:cubicBezTo>
                    <a:cubicBezTo>
                      <a:pt x="152" y="132"/>
                      <a:pt x="153" y="142"/>
                      <a:pt x="153" y="142"/>
                    </a:cubicBezTo>
                    <a:cubicBezTo>
                      <a:pt x="159" y="146"/>
                      <a:pt x="159" y="146"/>
                      <a:pt x="159" y="146"/>
                    </a:cubicBezTo>
                    <a:cubicBezTo>
                      <a:pt x="159" y="146"/>
                      <a:pt x="159" y="159"/>
                      <a:pt x="153" y="166"/>
                    </a:cubicBezTo>
                    <a:cubicBezTo>
                      <a:pt x="147" y="173"/>
                      <a:pt x="140" y="172"/>
                      <a:pt x="140" y="172"/>
                    </a:cubicBezTo>
                    <a:cubicBezTo>
                      <a:pt x="131" y="188"/>
                      <a:pt x="131" y="188"/>
                      <a:pt x="131" y="188"/>
                    </a:cubicBezTo>
                    <a:cubicBezTo>
                      <a:pt x="130" y="212"/>
                      <a:pt x="130" y="212"/>
                      <a:pt x="130" y="212"/>
                    </a:cubicBezTo>
                    <a:cubicBezTo>
                      <a:pt x="142" y="213"/>
                      <a:pt x="142" y="213"/>
                      <a:pt x="142" y="213"/>
                    </a:cubicBezTo>
                    <a:cubicBezTo>
                      <a:pt x="147" y="225"/>
                      <a:pt x="147" y="225"/>
                      <a:pt x="147" y="225"/>
                    </a:cubicBezTo>
                    <a:cubicBezTo>
                      <a:pt x="147" y="225"/>
                      <a:pt x="163" y="226"/>
                      <a:pt x="165" y="232"/>
                    </a:cubicBezTo>
                    <a:cubicBezTo>
                      <a:pt x="167" y="238"/>
                      <a:pt x="158" y="243"/>
                      <a:pt x="158" y="243"/>
                    </a:cubicBezTo>
                    <a:cubicBezTo>
                      <a:pt x="159" y="273"/>
                      <a:pt x="159" y="273"/>
                      <a:pt x="159" y="273"/>
                    </a:cubicBezTo>
                    <a:cubicBezTo>
                      <a:pt x="155" y="284"/>
                      <a:pt x="155" y="284"/>
                      <a:pt x="155" y="284"/>
                    </a:cubicBezTo>
                    <a:cubicBezTo>
                      <a:pt x="159" y="298"/>
                      <a:pt x="159" y="298"/>
                      <a:pt x="159" y="298"/>
                    </a:cubicBezTo>
                    <a:cubicBezTo>
                      <a:pt x="159" y="298"/>
                      <a:pt x="146" y="302"/>
                      <a:pt x="146" y="316"/>
                    </a:cubicBezTo>
                    <a:cubicBezTo>
                      <a:pt x="146" y="330"/>
                      <a:pt x="144" y="336"/>
                      <a:pt x="134" y="336"/>
                    </a:cubicBezTo>
                    <a:cubicBezTo>
                      <a:pt x="124" y="336"/>
                      <a:pt x="131" y="314"/>
                      <a:pt x="127" y="311"/>
                    </a:cubicBezTo>
                    <a:cubicBezTo>
                      <a:pt x="123" y="308"/>
                      <a:pt x="120" y="324"/>
                      <a:pt x="112" y="326"/>
                    </a:cubicBezTo>
                    <a:cubicBezTo>
                      <a:pt x="104" y="328"/>
                      <a:pt x="90" y="327"/>
                      <a:pt x="90" y="327"/>
                    </a:cubicBezTo>
                    <a:cubicBezTo>
                      <a:pt x="81" y="298"/>
                      <a:pt x="81" y="298"/>
                      <a:pt x="81" y="298"/>
                    </a:cubicBezTo>
                    <a:cubicBezTo>
                      <a:pt x="81" y="298"/>
                      <a:pt x="70" y="296"/>
                      <a:pt x="64" y="297"/>
                    </a:cubicBezTo>
                    <a:cubicBezTo>
                      <a:pt x="58" y="298"/>
                      <a:pt x="71" y="316"/>
                      <a:pt x="71" y="316"/>
                    </a:cubicBezTo>
                    <a:cubicBezTo>
                      <a:pt x="71" y="316"/>
                      <a:pt x="62" y="324"/>
                      <a:pt x="58" y="329"/>
                    </a:cubicBezTo>
                    <a:cubicBezTo>
                      <a:pt x="54" y="334"/>
                      <a:pt x="30" y="325"/>
                      <a:pt x="24" y="323"/>
                    </a:cubicBezTo>
                    <a:cubicBezTo>
                      <a:pt x="18" y="321"/>
                      <a:pt x="25" y="346"/>
                      <a:pt x="25" y="346"/>
                    </a:cubicBezTo>
                    <a:cubicBezTo>
                      <a:pt x="18" y="346"/>
                      <a:pt x="18" y="346"/>
                      <a:pt x="18" y="346"/>
                    </a:cubicBezTo>
                    <a:cubicBezTo>
                      <a:pt x="35" y="359"/>
                      <a:pt x="35" y="359"/>
                      <a:pt x="35" y="359"/>
                    </a:cubicBezTo>
                    <a:cubicBezTo>
                      <a:pt x="26" y="368"/>
                      <a:pt x="26" y="368"/>
                      <a:pt x="26" y="368"/>
                    </a:cubicBezTo>
                    <a:cubicBezTo>
                      <a:pt x="38" y="376"/>
                      <a:pt x="38" y="376"/>
                      <a:pt x="38" y="376"/>
                    </a:cubicBezTo>
                    <a:cubicBezTo>
                      <a:pt x="38" y="376"/>
                      <a:pt x="42" y="389"/>
                      <a:pt x="38" y="398"/>
                    </a:cubicBezTo>
                    <a:cubicBezTo>
                      <a:pt x="34" y="407"/>
                      <a:pt x="19" y="389"/>
                      <a:pt x="19" y="389"/>
                    </a:cubicBezTo>
                    <a:cubicBezTo>
                      <a:pt x="5" y="398"/>
                      <a:pt x="5" y="398"/>
                      <a:pt x="5" y="398"/>
                    </a:cubicBezTo>
                    <a:cubicBezTo>
                      <a:pt x="0" y="411"/>
                      <a:pt x="0" y="411"/>
                      <a:pt x="0" y="411"/>
                    </a:cubicBezTo>
                    <a:cubicBezTo>
                      <a:pt x="36" y="442"/>
                      <a:pt x="36" y="442"/>
                      <a:pt x="36" y="442"/>
                    </a:cubicBezTo>
                    <a:cubicBezTo>
                      <a:pt x="37" y="454"/>
                      <a:pt x="37" y="454"/>
                      <a:pt x="37" y="454"/>
                    </a:cubicBezTo>
                    <a:cubicBezTo>
                      <a:pt x="46" y="466"/>
                      <a:pt x="46" y="466"/>
                      <a:pt x="46" y="466"/>
                    </a:cubicBezTo>
                    <a:cubicBezTo>
                      <a:pt x="50" y="460"/>
                      <a:pt x="50" y="460"/>
                      <a:pt x="50" y="460"/>
                    </a:cubicBezTo>
                    <a:cubicBezTo>
                      <a:pt x="61" y="460"/>
                      <a:pt x="61" y="460"/>
                      <a:pt x="61" y="460"/>
                    </a:cubicBezTo>
                    <a:cubicBezTo>
                      <a:pt x="61" y="446"/>
                      <a:pt x="61" y="446"/>
                      <a:pt x="61" y="446"/>
                    </a:cubicBezTo>
                    <a:cubicBezTo>
                      <a:pt x="61" y="446"/>
                      <a:pt x="75" y="433"/>
                      <a:pt x="82" y="432"/>
                    </a:cubicBezTo>
                    <a:cubicBezTo>
                      <a:pt x="89" y="431"/>
                      <a:pt x="91" y="448"/>
                      <a:pt x="91" y="448"/>
                    </a:cubicBezTo>
                    <a:cubicBezTo>
                      <a:pt x="98" y="445"/>
                      <a:pt x="98" y="445"/>
                      <a:pt x="98" y="445"/>
                    </a:cubicBezTo>
                    <a:cubicBezTo>
                      <a:pt x="98" y="445"/>
                      <a:pt x="102" y="466"/>
                      <a:pt x="114" y="461"/>
                    </a:cubicBezTo>
                    <a:cubicBezTo>
                      <a:pt x="126" y="456"/>
                      <a:pt x="125" y="440"/>
                      <a:pt x="125" y="440"/>
                    </a:cubicBezTo>
                    <a:cubicBezTo>
                      <a:pt x="138" y="441"/>
                      <a:pt x="138" y="441"/>
                      <a:pt x="138" y="441"/>
                    </a:cubicBezTo>
                    <a:cubicBezTo>
                      <a:pt x="138" y="441"/>
                      <a:pt x="148" y="425"/>
                      <a:pt x="155" y="432"/>
                    </a:cubicBezTo>
                    <a:cubicBezTo>
                      <a:pt x="162" y="439"/>
                      <a:pt x="144" y="462"/>
                      <a:pt x="159" y="462"/>
                    </a:cubicBezTo>
                    <a:cubicBezTo>
                      <a:pt x="174" y="462"/>
                      <a:pt x="177" y="457"/>
                      <a:pt x="184" y="448"/>
                    </a:cubicBezTo>
                    <a:cubicBezTo>
                      <a:pt x="191" y="439"/>
                      <a:pt x="203" y="418"/>
                      <a:pt x="209" y="418"/>
                    </a:cubicBezTo>
                    <a:cubicBezTo>
                      <a:pt x="215" y="418"/>
                      <a:pt x="225" y="415"/>
                      <a:pt x="225" y="415"/>
                    </a:cubicBezTo>
                    <a:cubicBezTo>
                      <a:pt x="242" y="385"/>
                      <a:pt x="242" y="385"/>
                      <a:pt x="242" y="385"/>
                    </a:cubicBezTo>
                    <a:cubicBezTo>
                      <a:pt x="241" y="318"/>
                      <a:pt x="241" y="318"/>
                      <a:pt x="241" y="318"/>
                    </a:cubicBezTo>
                    <a:cubicBezTo>
                      <a:pt x="241" y="318"/>
                      <a:pt x="259" y="311"/>
                      <a:pt x="260" y="302"/>
                    </a:cubicBezTo>
                    <a:cubicBezTo>
                      <a:pt x="261" y="293"/>
                      <a:pt x="261" y="270"/>
                      <a:pt x="268" y="267"/>
                    </a:cubicBezTo>
                    <a:cubicBezTo>
                      <a:pt x="275" y="264"/>
                      <a:pt x="288" y="258"/>
                      <a:pt x="298" y="251"/>
                    </a:cubicBezTo>
                    <a:cubicBezTo>
                      <a:pt x="308" y="244"/>
                      <a:pt x="314" y="229"/>
                      <a:pt x="314" y="229"/>
                    </a:cubicBezTo>
                    <a:cubicBezTo>
                      <a:pt x="317" y="197"/>
                      <a:pt x="317" y="197"/>
                      <a:pt x="317" y="197"/>
                    </a:cubicBezTo>
                    <a:cubicBezTo>
                      <a:pt x="317" y="197"/>
                      <a:pt x="327" y="189"/>
                      <a:pt x="327" y="178"/>
                    </a:cubicBezTo>
                    <a:cubicBezTo>
                      <a:pt x="327" y="167"/>
                      <a:pt x="318" y="160"/>
                      <a:pt x="320" y="152"/>
                    </a:cubicBezTo>
                    <a:cubicBezTo>
                      <a:pt x="322" y="144"/>
                      <a:pt x="332" y="136"/>
                      <a:pt x="331" y="125"/>
                    </a:cubicBezTo>
                    <a:cubicBezTo>
                      <a:pt x="330" y="114"/>
                      <a:pt x="323" y="87"/>
                      <a:pt x="332" y="77"/>
                    </a:cubicBezTo>
                    <a:cubicBezTo>
                      <a:pt x="341" y="67"/>
                      <a:pt x="356" y="38"/>
                      <a:pt x="356" y="30"/>
                    </a:cubicBezTo>
                    <a:cubicBezTo>
                      <a:pt x="356" y="22"/>
                      <a:pt x="356" y="11"/>
                      <a:pt x="356" y="11"/>
                    </a:cubicBezTo>
                    <a:cubicBezTo>
                      <a:pt x="347" y="4"/>
                      <a:pt x="347" y="4"/>
                      <a:pt x="347" y="4"/>
                    </a:cubicBezTo>
                    <a:cubicBezTo>
                      <a:pt x="347" y="4"/>
                      <a:pt x="343" y="10"/>
                      <a:pt x="332" y="9"/>
                    </a:cubicBezTo>
                    <a:cubicBezTo>
                      <a:pt x="321" y="8"/>
                      <a:pt x="307" y="0"/>
                      <a:pt x="301" y="0"/>
                    </a:cubicBezTo>
                    <a:cubicBezTo>
                      <a:pt x="295" y="0"/>
                      <a:pt x="282" y="11"/>
                      <a:pt x="282" y="11"/>
                    </a:cubicBezTo>
                    <a:cubicBezTo>
                      <a:pt x="262" y="10"/>
                      <a:pt x="262" y="10"/>
                      <a:pt x="262" y="10"/>
                    </a:cubicBezTo>
                    <a:cubicBezTo>
                      <a:pt x="252" y="31"/>
                      <a:pt x="252" y="31"/>
                      <a:pt x="252" y="31"/>
                    </a:cubicBezTo>
                    <a:cubicBezTo>
                      <a:pt x="252" y="31"/>
                      <a:pt x="262" y="44"/>
                      <a:pt x="260" y="51"/>
                    </a:cubicBezTo>
                    <a:cubicBezTo>
                      <a:pt x="258" y="58"/>
                      <a:pt x="242" y="77"/>
                      <a:pt x="242" y="77"/>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29" name="Nigeria">
                <a:extLst>
                  <a:ext uri="{FF2B5EF4-FFF2-40B4-BE49-F238E27FC236}">
                    <a16:creationId xmlns:a16="http://schemas.microsoft.com/office/drawing/2014/main" id="{7A2628DD-601B-48A6-8A24-562803B92188}"/>
                  </a:ext>
                </a:extLst>
              </p:cNvPr>
              <p:cNvSpPr>
                <a:spLocks/>
              </p:cNvSpPr>
              <p:nvPr/>
            </p:nvSpPr>
            <p:spPr bwMode="gray">
              <a:xfrm>
                <a:off x="4971106" y="3068270"/>
                <a:ext cx="940853" cy="676832"/>
              </a:xfrm>
              <a:custGeom>
                <a:avLst/>
                <a:gdLst>
                  <a:gd name="T0" fmla="*/ 290 w 567"/>
                  <a:gd name="T1" fmla="*/ 469 h 511"/>
                  <a:gd name="T2" fmla="*/ 333 w 567"/>
                  <a:gd name="T3" fmla="*/ 394 h 511"/>
                  <a:gd name="T4" fmla="*/ 372 w 567"/>
                  <a:gd name="T5" fmla="*/ 375 h 511"/>
                  <a:gd name="T6" fmla="*/ 396 w 567"/>
                  <a:gd name="T7" fmla="*/ 383 h 511"/>
                  <a:gd name="T8" fmla="*/ 417 w 567"/>
                  <a:gd name="T9" fmla="*/ 378 h 511"/>
                  <a:gd name="T10" fmla="*/ 434 w 567"/>
                  <a:gd name="T11" fmla="*/ 343 h 511"/>
                  <a:gd name="T12" fmla="*/ 458 w 567"/>
                  <a:gd name="T13" fmla="*/ 291 h 511"/>
                  <a:gd name="T14" fmla="*/ 484 w 567"/>
                  <a:gd name="T15" fmla="*/ 239 h 511"/>
                  <a:gd name="T16" fmla="*/ 504 w 567"/>
                  <a:gd name="T17" fmla="*/ 200 h 511"/>
                  <a:gd name="T18" fmla="*/ 513 w 567"/>
                  <a:gd name="T19" fmla="*/ 177 h 511"/>
                  <a:gd name="T20" fmla="*/ 533 w 567"/>
                  <a:gd name="T21" fmla="*/ 141 h 511"/>
                  <a:gd name="T22" fmla="*/ 559 w 567"/>
                  <a:gd name="T23" fmla="*/ 111 h 511"/>
                  <a:gd name="T24" fmla="*/ 540 w 567"/>
                  <a:gd name="T25" fmla="*/ 84 h 511"/>
                  <a:gd name="T26" fmla="*/ 517 w 567"/>
                  <a:gd name="T27" fmla="*/ 8 h 511"/>
                  <a:gd name="T28" fmla="*/ 499 w 567"/>
                  <a:gd name="T29" fmla="*/ 22 h 511"/>
                  <a:gd name="T30" fmla="*/ 458 w 567"/>
                  <a:gd name="T31" fmla="*/ 40 h 511"/>
                  <a:gd name="T32" fmla="*/ 382 w 567"/>
                  <a:gd name="T33" fmla="*/ 25 h 511"/>
                  <a:gd name="T34" fmla="*/ 293 w 567"/>
                  <a:gd name="T35" fmla="*/ 55 h 511"/>
                  <a:gd name="T36" fmla="*/ 205 w 567"/>
                  <a:gd name="T37" fmla="*/ 47 h 511"/>
                  <a:gd name="T38" fmla="*/ 174 w 567"/>
                  <a:gd name="T39" fmla="*/ 12 h 511"/>
                  <a:gd name="T40" fmla="*/ 135 w 567"/>
                  <a:gd name="T41" fmla="*/ 1 h 511"/>
                  <a:gd name="T42" fmla="*/ 88 w 567"/>
                  <a:gd name="T43" fmla="*/ 7 h 511"/>
                  <a:gd name="T44" fmla="*/ 68 w 567"/>
                  <a:gd name="T45" fmla="*/ 50 h 511"/>
                  <a:gd name="T46" fmla="*/ 48 w 567"/>
                  <a:gd name="T47" fmla="*/ 110 h 511"/>
                  <a:gd name="T48" fmla="*/ 54 w 567"/>
                  <a:gd name="T49" fmla="*/ 155 h 511"/>
                  <a:gd name="T50" fmla="*/ 57 w 567"/>
                  <a:gd name="T51" fmla="*/ 174 h 511"/>
                  <a:gd name="T52" fmla="*/ 42 w 567"/>
                  <a:gd name="T53" fmla="*/ 211 h 511"/>
                  <a:gd name="T54" fmla="*/ 21 w 567"/>
                  <a:gd name="T55" fmla="*/ 256 h 511"/>
                  <a:gd name="T56" fmla="*/ 3 w 567"/>
                  <a:gd name="T57" fmla="*/ 285 h 511"/>
                  <a:gd name="T58" fmla="*/ 3 w 567"/>
                  <a:gd name="T59" fmla="*/ 326 h 511"/>
                  <a:gd name="T60" fmla="*/ 0 w 567"/>
                  <a:gd name="T61" fmla="*/ 402 h 511"/>
                  <a:gd name="T62" fmla="*/ 44 w 567"/>
                  <a:gd name="T63" fmla="*/ 394 h 511"/>
                  <a:gd name="T64" fmla="*/ 96 w 567"/>
                  <a:gd name="T65" fmla="*/ 413 h 511"/>
                  <a:gd name="T66" fmla="*/ 127 w 567"/>
                  <a:gd name="T67" fmla="*/ 440 h 511"/>
                  <a:gd name="T68" fmla="*/ 133 w 567"/>
                  <a:gd name="T69" fmla="*/ 453 h 511"/>
                  <a:gd name="T70" fmla="*/ 157 w 567"/>
                  <a:gd name="T71" fmla="*/ 510 h 511"/>
                  <a:gd name="T72" fmla="*/ 194 w 567"/>
                  <a:gd name="T73" fmla="*/ 491 h 511"/>
                  <a:gd name="T74" fmla="*/ 228 w 567"/>
                  <a:gd name="T75" fmla="*/ 496 h 511"/>
                  <a:gd name="T76" fmla="*/ 265 w 567"/>
                  <a:gd name="T77" fmla="*/ 504 h 511"/>
                  <a:gd name="T78" fmla="*/ 282 w 567"/>
                  <a:gd name="T79" fmla="*/ 48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7" h="511">
                    <a:moveTo>
                      <a:pt x="281" y="490"/>
                    </a:moveTo>
                    <a:cubicBezTo>
                      <a:pt x="281" y="490"/>
                      <a:pt x="288" y="475"/>
                      <a:pt x="290" y="469"/>
                    </a:cubicBezTo>
                    <a:cubicBezTo>
                      <a:pt x="292" y="463"/>
                      <a:pt x="290" y="431"/>
                      <a:pt x="290" y="431"/>
                    </a:cubicBezTo>
                    <a:cubicBezTo>
                      <a:pt x="333" y="394"/>
                      <a:pt x="333" y="394"/>
                      <a:pt x="333" y="394"/>
                    </a:cubicBezTo>
                    <a:cubicBezTo>
                      <a:pt x="333" y="394"/>
                      <a:pt x="343" y="374"/>
                      <a:pt x="349" y="369"/>
                    </a:cubicBezTo>
                    <a:cubicBezTo>
                      <a:pt x="355" y="364"/>
                      <a:pt x="363" y="377"/>
                      <a:pt x="372" y="375"/>
                    </a:cubicBezTo>
                    <a:cubicBezTo>
                      <a:pt x="381" y="373"/>
                      <a:pt x="368" y="359"/>
                      <a:pt x="375" y="359"/>
                    </a:cubicBezTo>
                    <a:cubicBezTo>
                      <a:pt x="382" y="359"/>
                      <a:pt x="396" y="383"/>
                      <a:pt x="396" y="383"/>
                    </a:cubicBezTo>
                    <a:cubicBezTo>
                      <a:pt x="396" y="383"/>
                      <a:pt x="393" y="399"/>
                      <a:pt x="405" y="399"/>
                    </a:cubicBezTo>
                    <a:cubicBezTo>
                      <a:pt x="417" y="399"/>
                      <a:pt x="417" y="378"/>
                      <a:pt x="417" y="378"/>
                    </a:cubicBezTo>
                    <a:cubicBezTo>
                      <a:pt x="417" y="378"/>
                      <a:pt x="428" y="369"/>
                      <a:pt x="433" y="363"/>
                    </a:cubicBezTo>
                    <a:cubicBezTo>
                      <a:pt x="438" y="357"/>
                      <a:pt x="434" y="343"/>
                      <a:pt x="434" y="343"/>
                    </a:cubicBezTo>
                    <a:cubicBezTo>
                      <a:pt x="450" y="323"/>
                      <a:pt x="450" y="323"/>
                      <a:pt x="450" y="323"/>
                    </a:cubicBezTo>
                    <a:cubicBezTo>
                      <a:pt x="458" y="291"/>
                      <a:pt x="458" y="291"/>
                      <a:pt x="458" y="291"/>
                    </a:cubicBezTo>
                    <a:cubicBezTo>
                      <a:pt x="458" y="291"/>
                      <a:pt x="477" y="284"/>
                      <a:pt x="482" y="274"/>
                    </a:cubicBezTo>
                    <a:cubicBezTo>
                      <a:pt x="487" y="264"/>
                      <a:pt x="482" y="246"/>
                      <a:pt x="484" y="239"/>
                    </a:cubicBezTo>
                    <a:cubicBezTo>
                      <a:pt x="486" y="232"/>
                      <a:pt x="496" y="239"/>
                      <a:pt x="501" y="230"/>
                    </a:cubicBezTo>
                    <a:cubicBezTo>
                      <a:pt x="506" y="221"/>
                      <a:pt x="504" y="200"/>
                      <a:pt x="504" y="200"/>
                    </a:cubicBezTo>
                    <a:cubicBezTo>
                      <a:pt x="511" y="196"/>
                      <a:pt x="511" y="196"/>
                      <a:pt x="511" y="196"/>
                    </a:cubicBezTo>
                    <a:cubicBezTo>
                      <a:pt x="513" y="177"/>
                      <a:pt x="513" y="177"/>
                      <a:pt x="513" y="177"/>
                    </a:cubicBezTo>
                    <a:cubicBezTo>
                      <a:pt x="513" y="177"/>
                      <a:pt x="523" y="164"/>
                      <a:pt x="524" y="161"/>
                    </a:cubicBezTo>
                    <a:cubicBezTo>
                      <a:pt x="525" y="158"/>
                      <a:pt x="533" y="141"/>
                      <a:pt x="533" y="141"/>
                    </a:cubicBezTo>
                    <a:cubicBezTo>
                      <a:pt x="533" y="141"/>
                      <a:pt x="547" y="138"/>
                      <a:pt x="557" y="129"/>
                    </a:cubicBezTo>
                    <a:cubicBezTo>
                      <a:pt x="567" y="120"/>
                      <a:pt x="559" y="111"/>
                      <a:pt x="559" y="111"/>
                    </a:cubicBezTo>
                    <a:cubicBezTo>
                      <a:pt x="559" y="111"/>
                      <a:pt x="563" y="98"/>
                      <a:pt x="562" y="87"/>
                    </a:cubicBezTo>
                    <a:cubicBezTo>
                      <a:pt x="561" y="76"/>
                      <a:pt x="542" y="87"/>
                      <a:pt x="540" y="84"/>
                    </a:cubicBezTo>
                    <a:cubicBezTo>
                      <a:pt x="538" y="81"/>
                      <a:pt x="536" y="40"/>
                      <a:pt x="536" y="40"/>
                    </a:cubicBezTo>
                    <a:cubicBezTo>
                      <a:pt x="517" y="8"/>
                      <a:pt x="517" y="8"/>
                      <a:pt x="517" y="8"/>
                    </a:cubicBezTo>
                    <a:cubicBezTo>
                      <a:pt x="517" y="8"/>
                      <a:pt x="511" y="8"/>
                      <a:pt x="507" y="8"/>
                    </a:cubicBezTo>
                    <a:cubicBezTo>
                      <a:pt x="503" y="8"/>
                      <a:pt x="499" y="22"/>
                      <a:pt x="499" y="22"/>
                    </a:cubicBezTo>
                    <a:cubicBezTo>
                      <a:pt x="499" y="22"/>
                      <a:pt x="490" y="19"/>
                      <a:pt x="483" y="23"/>
                    </a:cubicBezTo>
                    <a:cubicBezTo>
                      <a:pt x="476" y="27"/>
                      <a:pt x="458" y="40"/>
                      <a:pt x="458" y="40"/>
                    </a:cubicBezTo>
                    <a:cubicBezTo>
                      <a:pt x="440" y="39"/>
                      <a:pt x="440" y="39"/>
                      <a:pt x="440" y="39"/>
                    </a:cubicBezTo>
                    <a:cubicBezTo>
                      <a:pt x="440" y="39"/>
                      <a:pt x="424" y="25"/>
                      <a:pt x="382" y="25"/>
                    </a:cubicBezTo>
                    <a:cubicBezTo>
                      <a:pt x="340" y="25"/>
                      <a:pt x="328" y="60"/>
                      <a:pt x="328" y="60"/>
                    </a:cubicBezTo>
                    <a:cubicBezTo>
                      <a:pt x="328" y="60"/>
                      <a:pt x="312" y="56"/>
                      <a:pt x="293" y="55"/>
                    </a:cubicBezTo>
                    <a:cubicBezTo>
                      <a:pt x="274" y="54"/>
                      <a:pt x="262" y="26"/>
                      <a:pt x="250" y="26"/>
                    </a:cubicBezTo>
                    <a:cubicBezTo>
                      <a:pt x="238" y="26"/>
                      <a:pt x="214" y="46"/>
                      <a:pt x="205" y="47"/>
                    </a:cubicBezTo>
                    <a:cubicBezTo>
                      <a:pt x="196" y="48"/>
                      <a:pt x="191" y="26"/>
                      <a:pt x="191" y="26"/>
                    </a:cubicBezTo>
                    <a:cubicBezTo>
                      <a:pt x="174" y="12"/>
                      <a:pt x="174" y="12"/>
                      <a:pt x="174" y="12"/>
                    </a:cubicBezTo>
                    <a:cubicBezTo>
                      <a:pt x="174" y="12"/>
                      <a:pt x="162" y="12"/>
                      <a:pt x="155" y="11"/>
                    </a:cubicBezTo>
                    <a:cubicBezTo>
                      <a:pt x="148" y="10"/>
                      <a:pt x="149" y="0"/>
                      <a:pt x="135" y="1"/>
                    </a:cubicBezTo>
                    <a:cubicBezTo>
                      <a:pt x="121" y="2"/>
                      <a:pt x="122" y="8"/>
                      <a:pt x="122" y="8"/>
                    </a:cubicBezTo>
                    <a:cubicBezTo>
                      <a:pt x="88" y="7"/>
                      <a:pt x="88" y="7"/>
                      <a:pt x="88" y="7"/>
                    </a:cubicBezTo>
                    <a:cubicBezTo>
                      <a:pt x="69" y="24"/>
                      <a:pt x="69" y="24"/>
                      <a:pt x="69" y="24"/>
                    </a:cubicBezTo>
                    <a:cubicBezTo>
                      <a:pt x="69" y="24"/>
                      <a:pt x="69" y="35"/>
                      <a:pt x="68" y="50"/>
                    </a:cubicBezTo>
                    <a:cubicBezTo>
                      <a:pt x="67" y="65"/>
                      <a:pt x="45" y="76"/>
                      <a:pt x="45" y="76"/>
                    </a:cubicBezTo>
                    <a:cubicBezTo>
                      <a:pt x="48" y="110"/>
                      <a:pt x="48" y="110"/>
                      <a:pt x="48" y="110"/>
                    </a:cubicBezTo>
                    <a:cubicBezTo>
                      <a:pt x="48" y="110"/>
                      <a:pt x="41" y="123"/>
                      <a:pt x="40" y="130"/>
                    </a:cubicBezTo>
                    <a:cubicBezTo>
                      <a:pt x="39" y="137"/>
                      <a:pt x="54" y="149"/>
                      <a:pt x="54" y="155"/>
                    </a:cubicBezTo>
                    <a:cubicBezTo>
                      <a:pt x="54" y="161"/>
                      <a:pt x="53" y="164"/>
                      <a:pt x="53" y="164"/>
                    </a:cubicBezTo>
                    <a:cubicBezTo>
                      <a:pt x="53" y="164"/>
                      <a:pt x="59" y="167"/>
                      <a:pt x="57" y="174"/>
                    </a:cubicBezTo>
                    <a:cubicBezTo>
                      <a:pt x="55" y="181"/>
                      <a:pt x="44" y="184"/>
                      <a:pt x="44" y="184"/>
                    </a:cubicBezTo>
                    <a:cubicBezTo>
                      <a:pt x="42" y="211"/>
                      <a:pt x="42" y="211"/>
                      <a:pt x="42" y="211"/>
                    </a:cubicBezTo>
                    <a:cubicBezTo>
                      <a:pt x="42" y="211"/>
                      <a:pt x="30" y="220"/>
                      <a:pt x="27" y="227"/>
                    </a:cubicBezTo>
                    <a:cubicBezTo>
                      <a:pt x="24" y="234"/>
                      <a:pt x="29" y="246"/>
                      <a:pt x="21" y="256"/>
                    </a:cubicBezTo>
                    <a:cubicBezTo>
                      <a:pt x="13" y="266"/>
                      <a:pt x="5" y="262"/>
                      <a:pt x="5" y="262"/>
                    </a:cubicBezTo>
                    <a:cubicBezTo>
                      <a:pt x="3" y="285"/>
                      <a:pt x="3" y="285"/>
                      <a:pt x="3" y="285"/>
                    </a:cubicBezTo>
                    <a:cubicBezTo>
                      <a:pt x="6" y="307"/>
                      <a:pt x="6" y="307"/>
                      <a:pt x="6" y="307"/>
                    </a:cubicBezTo>
                    <a:cubicBezTo>
                      <a:pt x="3" y="326"/>
                      <a:pt x="3" y="326"/>
                      <a:pt x="3" y="326"/>
                    </a:cubicBezTo>
                    <a:cubicBezTo>
                      <a:pt x="4" y="385"/>
                      <a:pt x="4" y="385"/>
                      <a:pt x="4" y="385"/>
                    </a:cubicBezTo>
                    <a:cubicBezTo>
                      <a:pt x="0" y="402"/>
                      <a:pt x="0" y="402"/>
                      <a:pt x="0" y="402"/>
                    </a:cubicBezTo>
                    <a:cubicBezTo>
                      <a:pt x="7" y="405"/>
                      <a:pt x="17" y="408"/>
                      <a:pt x="23" y="406"/>
                    </a:cubicBezTo>
                    <a:cubicBezTo>
                      <a:pt x="34" y="402"/>
                      <a:pt x="44" y="394"/>
                      <a:pt x="44" y="394"/>
                    </a:cubicBezTo>
                    <a:cubicBezTo>
                      <a:pt x="47" y="401"/>
                      <a:pt x="47" y="401"/>
                      <a:pt x="47" y="401"/>
                    </a:cubicBezTo>
                    <a:cubicBezTo>
                      <a:pt x="47" y="401"/>
                      <a:pt x="80" y="394"/>
                      <a:pt x="96" y="413"/>
                    </a:cubicBezTo>
                    <a:cubicBezTo>
                      <a:pt x="112" y="432"/>
                      <a:pt x="113" y="441"/>
                      <a:pt x="113" y="441"/>
                    </a:cubicBezTo>
                    <a:cubicBezTo>
                      <a:pt x="127" y="440"/>
                      <a:pt x="127" y="440"/>
                      <a:pt x="127" y="440"/>
                    </a:cubicBezTo>
                    <a:cubicBezTo>
                      <a:pt x="127" y="440"/>
                      <a:pt x="117" y="455"/>
                      <a:pt x="120" y="456"/>
                    </a:cubicBezTo>
                    <a:cubicBezTo>
                      <a:pt x="123" y="457"/>
                      <a:pt x="133" y="450"/>
                      <a:pt x="133" y="453"/>
                    </a:cubicBezTo>
                    <a:cubicBezTo>
                      <a:pt x="133" y="456"/>
                      <a:pt x="128" y="464"/>
                      <a:pt x="128" y="472"/>
                    </a:cubicBezTo>
                    <a:cubicBezTo>
                      <a:pt x="128" y="480"/>
                      <a:pt x="136" y="509"/>
                      <a:pt x="157" y="510"/>
                    </a:cubicBezTo>
                    <a:cubicBezTo>
                      <a:pt x="178" y="511"/>
                      <a:pt x="191" y="509"/>
                      <a:pt x="191" y="509"/>
                    </a:cubicBezTo>
                    <a:cubicBezTo>
                      <a:pt x="194" y="491"/>
                      <a:pt x="194" y="491"/>
                      <a:pt x="194" y="491"/>
                    </a:cubicBezTo>
                    <a:cubicBezTo>
                      <a:pt x="212" y="501"/>
                      <a:pt x="212" y="501"/>
                      <a:pt x="212" y="501"/>
                    </a:cubicBezTo>
                    <a:cubicBezTo>
                      <a:pt x="228" y="496"/>
                      <a:pt x="228" y="496"/>
                      <a:pt x="228" y="496"/>
                    </a:cubicBezTo>
                    <a:cubicBezTo>
                      <a:pt x="237" y="505"/>
                      <a:pt x="237" y="505"/>
                      <a:pt x="237" y="505"/>
                    </a:cubicBezTo>
                    <a:cubicBezTo>
                      <a:pt x="265" y="504"/>
                      <a:pt x="265" y="504"/>
                      <a:pt x="265" y="504"/>
                    </a:cubicBezTo>
                    <a:cubicBezTo>
                      <a:pt x="265" y="488"/>
                      <a:pt x="265" y="488"/>
                      <a:pt x="265" y="488"/>
                    </a:cubicBezTo>
                    <a:cubicBezTo>
                      <a:pt x="282" y="487"/>
                      <a:pt x="282" y="487"/>
                      <a:pt x="282" y="487"/>
                    </a:cubicBezTo>
                    <a:cubicBezTo>
                      <a:pt x="281" y="490"/>
                      <a:pt x="281" y="490"/>
                      <a:pt x="281" y="490"/>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30" name="Niger">
                <a:extLst>
                  <a:ext uri="{FF2B5EF4-FFF2-40B4-BE49-F238E27FC236}">
                    <a16:creationId xmlns:a16="http://schemas.microsoft.com/office/drawing/2014/main" id="{A1A8E652-C7F5-4620-B2F5-DBB1D2549AE9}"/>
                  </a:ext>
                </a:extLst>
              </p:cNvPr>
              <p:cNvSpPr>
                <a:spLocks/>
              </p:cNvSpPr>
              <p:nvPr/>
            </p:nvSpPr>
            <p:spPr bwMode="gray">
              <a:xfrm>
                <a:off x="4782933" y="2380160"/>
                <a:ext cx="1227815" cy="834757"/>
              </a:xfrm>
              <a:custGeom>
                <a:avLst/>
                <a:gdLst>
                  <a:gd name="T0" fmla="*/ 36 w 741"/>
                  <a:gd name="T1" fmla="*/ 540 h 628"/>
                  <a:gd name="T2" fmla="*/ 34 w 741"/>
                  <a:gd name="T3" fmla="*/ 557 h 628"/>
                  <a:gd name="T4" fmla="*/ 88 w 741"/>
                  <a:gd name="T5" fmla="*/ 579 h 628"/>
                  <a:gd name="T6" fmla="*/ 84 w 741"/>
                  <a:gd name="T7" fmla="*/ 598 h 628"/>
                  <a:gd name="T8" fmla="*/ 102 w 741"/>
                  <a:gd name="T9" fmla="*/ 604 h 628"/>
                  <a:gd name="T10" fmla="*/ 141 w 741"/>
                  <a:gd name="T11" fmla="*/ 619 h 628"/>
                  <a:gd name="T12" fmla="*/ 159 w 741"/>
                  <a:gd name="T13" fmla="*/ 594 h 628"/>
                  <a:gd name="T14" fmla="*/ 183 w 741"/>
                  <a:gd name="T15" fmla="*/ 542 h 628"/>
                  <a:gd name="T16" fmla="*/ 236 w 741"/>
                  <a:gd name="T17" fmla="*/ 526 h 628"/>
                  <a:gd name="T18" fmla="*/ 269 w 741"/>
                  <a:gd name="T19" fmla="*/ 529 h 628"/>
                  <a:gd name="T20" fmla="*/ 305 w 741"/>
                  <a:gd name="T21" fmla="*/ 544 h 628"/>
                  <a:gd name="T22" fmla="*/ 364 w 741"/>
                  <a:gd name="T23" fmla="*/ 544 h 628"/>
                  <a:gd name="T24" fmla="*/ 442 w 741"/>
                  <a:gd name="T25" fmla="*/ 578 h 628"/>
                  <a:gd name="T26" fmla="*/ 554 w 741"/>
                  <a:gd name="T27" fmla="*/ 557 h 628"/>
                  <a:gd name="T28" fmla="*/ 597 w 741"/>
                  <a:gd name="T29" fmla="*/ 541 h 628"/>
                  <a:gd name="T30" fmla="*/ 621 w 741"/>
                  <a:gd name="T31" fmla="*/ 526 h 628"/>
                  <a:gd name="T32" fmla="*/ 621 w 741"/>
                  <a:gd name="T33" fmla="*/ 484 h 628"/>
                  <a:gd name="T34" fmla="*/ 656 w 741"/>
                  <a:gd name="T35" fmla="*/ 426 h 628"/>
                  <a:gd name="T36" fmla="*/ 727 w 741"/>
                  <a:gd name="T37" fmla="*/ 194 h 628"/>
                  <a:gd name="T38" fmla="*/ 721 w 741"/>
                  <a:gd name="T39" fmla="*/ 145 h 628"/>
                  <a:gd name="T40" fmla="*/ 697 w 741"/>
                  <a:gd name="T41" fmla="*/ 105 h 628"/>
                  <a:gd name="T42" fmla="*/ 692 w 741"/>
                  <a:gd name="T43" fmla="*/ 28 h 628"/>
                  <a:gd name="T44" fmla="*/ 623 w 741"/>
                  <a:gd name="T45" fmla="*/ 16 h 628"/>
                  <a:gd name="T46" fmla="*/ 551 w 741"/>
                  <a:gd name="T47" fmla="*/ 0 h 628"/>
                  <a:gd name="T48" fmla="*/ 261 w 741"/>
                  <a:gd name="T49" fmla="*/ 221 h 628"/>
                  <a:gd name="T50" fmla="*/ 190 w 741"/>
                  <a:gd name="T51" fmla="*/ 372 h 628"/>
                  <a:gd name="T52" fmla="*/ 160 w 741"/>
                  <a:gd name="T53" fmla="*/ 427 h 628"/>
                  <a:gd name="T54" fmla="*/ 124 w 741"/>
                  <a:gd name="T55" fmla="*/ 437 h 628"/>
                  <a:gd name="T56" fmla="*/ 92 w 741"/>
                  <a:gd name="T57" fmla="*/ 444 h 628"/>
                  <a:gd name="T58" fmla="*/ 32 w 741"/>
                  <a:gd name="T59" fmla="*/ 455 h 628"/>
                  <a:gd name="T60" fmla="*/ 1 w 741"/>
                  <a:gd name="T61" fmla="*/ 485 h 628"/>
                  <a:gd name="T62" fmla="*/ 13 w 741"/>
                  <a:gd name="T63" fmla="*/ 525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41" h="628">
                    <a:moveTo>
                      <a:pt x="35" y="531"/>
                    </a:moveTo>
                    <a:cubicBezTo>
                      <a:pt x="36" y="540"/>
                      <a:pt x="36" y="540"/>
                      <a:pt x="36" y="540"/>
                    </a:cubicBezTo>
                    <a:cubicBezTo>
                      <a:pt x="46" y="541"/>
                      <a:pt x="46" y="541"/>
                      <a:pt x="46" y="541"/>
                    </a:cubicBezTo>
                    <a:cubicBezTo>
                      <a:pt x="46" y="541"/>
                      <a:pt x="31" y="552"/>
                      <a:pt x="34" y="557"/>
                    </a:cubicBezTo>
                    <a:cubicBezTo>
                      <a:pt x="37" y="562"/>
                      <a:pt x="56" y="584"/>
                      <a:pt x="68" y="584"/>
                    </a:cubicBezTo>
                    <a:cubicBezTo>
                      <a:pt x="80" y="584"/>
                      <a:pt x="79" y="575"/>
                      <a:pt x="88" y="579"/>
                    </a:cubicBezTo>
                    <a:cubicBezTo>
                      <a:pt x="97" y="583"/>
                      <a:pt x="99" y="593"/>
                      <a:pt x="99" y="593"/>
                    </a:cubicBezTo>
                    <a:cubicBezTo>
                      <a:pt x="84" y="598"/>
                      <a:pt x="84" y="598"/>
                      <a:pt x="84" y="598"/>
                    </a:cubicBezTo>
                    <a:cubicBezTo>
                      <a:pt x="99" y="620"/>
                      <a:pt x="99" y="620"/>
                      <a:pt x="99" y="620"/>
                    </a:cubicBezTo>
                    <a:cubicBezTo>
                      <a:pt x="102" y="604"/>
                      <a:pt x="102" y="604"/>
                      <a:pt x="102" y="604"/>
                    </a:cubicBezTo>
                    <a:cubicBezTo>
                      <a:pt x="119" y="597"/>
                      <a:pt x="119" y="597"/>
                      <a:pt x="119" y="597"/>
                    </a:cubicBezTo>
                    <a:cubicBezTo>
                      <a:pt x="119" y="597"/>
                      <a:pt x="136" y="616"/>
                      <a:pt x="141" y="619"/>
                    </a:cubicBezTo>
                    <a:cubicBezTo>
                      <a:pt x="146" y="622"/>
                      <a:pt x="162" y="628"/>
                      <a:pt x="162" y="628"/>
                    </a:cubicBezTo>
                    <a:cubicBezTo>
                      <a:pt x="159" y="594"/>
                      <a:pt x="159" y="594"/>
                      <a:pt x="159" y="594"/>
                    </a:cubicBezTo>
                    <a:cubicBezTo>
                      <a:pt x="159" y="594"/>
                      <a:pt x="181" y="583"/>
                      <a:pt x="182" y="568"/>
                    </a:cubicBezTo>
                    <a:cubicBezTo>
                      <a:pt x="183" y="553"/>
                      <a:pt x="183" y="542"/>
                      <a:pt x="183" y="542"/>
                    </a:cubicBezTo>
                    <a:cubicBezTo>
                      <a:pt x="202" y="525"/>
                      <a:pt x="202" y="525"/>
                      <a:pt x="202" y="525"/>
                    </a:cubicBezTo>
                    <a:cubicBezTo>
                      <a:pt x="236" y="526"/>
                      <a:pt x="236" y="526"/>
                      <a:pt x="236" y="526"/>
                    </a:cubicBezTo>
                    <a:cubicBezTo>
                      <a:pt x="236" y="526"/>
                      <a:pt x="235" y="520"/>
                      <a:pt x="249" y="519"/>
                    </a:cubicBezTo>
                    <a:cubicBezTo>
                      <a:pt x="263" y="518"/>
                      <a:pt x="262" y="528"/>
                      <a:pt x="269" y="529"/>
                    </a:cubicBezTo>
                    <a:cubicBezTo>
                      <a:pt x="276" y="530"/>
                      <a:pt x="288" y="530"/>
                      <a:pt x="288" y="530"/>
                    </a:cubicBezTo>
                    <a:cubicBezTo>
                      <a:pt x="305" y="544"/>
                      <a:pt x="305" y="544"/>
                      <a:pt x="305" y="544"/>
                    </a:cubicBezTo>
                    <a:cubicBezTo>
                      <a:pt x="305" y="544"/>
                      <a:pt x="310" y="566"/>
                      <a:pt x="319" y="565"/>
                    </a:cubicBezTo>
                    <a:cubicBezTo>
                      <a:pt x="328" y="564"/>
                      <a:pt x="352" y="544"/>
                      <a:pt x="364" y="544"/>
                    </a:cubicBezTo>
                    <a:cubicBezTo>
                      <a:pt x="376" y="544"/>
                      <a:pt x="388" y="572"/>
                      <a:pt x="407" y="573"/>
                    </a:cubicBezTo>
                    <a:cubicBezTo>
                      <a:pt x="426" y="574"/>
                      <a:pt x="442" y="578"/>
                      <a:pt x="442" y="578"/>
                    </a:cubicBezTo>
                    <a:cubicBezTo>
                      <a:pt x="442" y="578"/>
                      <a:pt x="454" y="543"/>
                      <a:pt x="496" y="543"/>
                    </a:cubicBezTo>
                    <a:cubicBezTo>
                      <a:pt x="538" y="543"/>
                      <a:pt x="554" y="557"/>
                      <a:pt x="554" y="557"/>
                    </a:cubicBezTo>
                    <a:cubicBezTo>
                      <a:pt x="572" y="558"/>
                      <a:pt x="572" y="558"/>
                      <a:pt x="572" y="558"/>
                    </a:cubicBezTo>
                    <a:cubicBezTo>
                      <a:pt x="572" y="558"/>
                      <a:pt x="590" y="545"/>
                      <a:pt x="597" y="541"/>
                    </a:cubicBezTo>
                    <a:cubicBezTo>
                      <a:pt x="604" y="537"/>
                      <a:pt x="613" y="540"/>
                      <a:pt x="613" y="540"/>
                    </a:cubicBezTo>
                    <a:cubicBezTo>
                      <a:pt x="613" y="540"/>
                      <a:pt x="617" y="526"/>
                      <a:pt x="621" y="526"/>
                    </a:cubicBezTo>
                    <a:cubicBezTo>
                      <a:pt x="622" y="526"/>
                      <a:pt x="623" y="526"/>
                      <a:pt x="624" y="526"/>
                    </a:cubicBezTo>
                    <a:cubicBezTo>
                      <a:pt x="621" y="484"/>
                      <a:pt x="621" y="484"/>
                      <a:pt x="621" y="484"/>
                    </a:cubicBezTo>
                    <a:cubicBezTo>
                      <a:pt x="634" y="479"/>
                      <a:pt x="634" y="479"/>
                      <a:pt x="634" y="479"/>
                    </a:cubicBezTo>
                    <a:cubicBezTo>
                      <a:pt x="634" y="479"/>
                      <a:pt x="644" y="442"/>
                      <a:pt x="656" y="426"/>
                    </a:cubicBezTo>
                    <a:cubicBezTo>
                      <a:pt x="667" y="409"/>
                      <a:pt x="717" y="356"/>
                      <a:pt x="717" y="356"/>
                    </a:cubicBezTo>
                    <a:cubicBezTo>
                      <a:pt x="727" y="194"/>
                      <a:pt x="727" y="194"/>
                      <a:pt x="727" y="194"/>
                    </a:cubicBezTo>
                    <a:cubicBezTo>
                      <a:pt x="741" y="169"/>
                      <a:pt x="741" y="169"/>
                      <a:pt x="741" y="169"/>
                    </a:cubicBezTo>
                    <a:cubicBezTo>
                      <a:pt x="721" y="145"/>
                      <a:pt x="721" y="145"/>
                      <a:pt x="721" y="145"/>
                    </a:cubicBezTo>
                    <a:cubicBezTo>
                      <a:pt x="716" y="129"/>
                      <a:pt x="716" y="129"/>
                      <a:pt x="716" y="129"/>
                    </a:cubicBezTo>
                    <a:cubicBezTo>
                      <a:pt x="697" y="105"/>
                      <a:pt x="697" y="105"/>
                      <a:pt x="697" y="105"/>
                    </a:cubicBezTo>
                    <a:cubicBezTo>
                      <a:pt x="704" y="72"/>
                      <a:pt x="704" y="72"/>
                      <a:pt x="704" y="72"/>
                    </a:cubicBezTo>
                    <a:cubicBezTo>
                      <a:pt x="692" y="28"/>
                      <a:pt x="692" y="28"/>
                      <a:pt x="692" y="28"/>
                    </a:cubicBezTo>
                    <a:cubicBezTo>
                      <a:pt x="676" y="37"/>
                      <a:pt x="662" y="44"/>
                      <a:pt x="657" y="45"/>
                    </a:cubicBezTo>
                    <a:cubicBezTo>
                      <a:pt x="646" y="46"/>
                      <a:pt x="630" y="18"/>
                      <a:pt x="623" y="16"/>
                    </a:cubicBezTo>
                    <a:cubicBezTo>
                      <a:pt x="616" y="14"/>
                      <a:pt x="576" y="6"/>
                      <a:pt x="576" y="6"/>
                    </a:cubicBezTo>
                    <a:cubicBezTo>
                      <a:pt x="551" y="0"/>
                      <a:pt x="551" y="0"/>
                      <a:pt x="551" y="0"/>
                    </a:cubicBezTo>
                    <a:cubicBezTo>
                      <a:pt x="551" y="0"/>
                      <a:pt x="364" y="136"/>
                      <a:pt x="342" y="151"/>
                    </a:cubicBezTo>
                    <a:cubicBezTo>
                      <a:pt x="320" y="166"/>
                      <a:pt x="275" y="219"/>
                      <a:pt x="261" y="221"/>
                    </a:cubicBezTo>
                    <a:cubicBezTo>
                      <a:pt x="251" y="222"/>
                      <a:pt x="210" y="231"/>
                      <a:pt x="190" y="235"/>
                    </a:cubicBezTo>
                    <a:cubicBezTo>
                      <a:pt x="190" y="372"/>
                      <a:pt x="190" y="372"/>
                      <a:pt x="190" y="372"/>
                    </a:cubicBezTo>
                    <a:cubicBezTo>
                      <a:pt x="175" y="387"/>
                      <a:pt x="175" y="387"/>
                      <a:pt x="175" y="387"/>
                    </a:cubicBezTo>
                    <a:cubicBezTo>
                      <a:pt x="175" y="387"/>
                      <a:pt x="175" y="420"/>
                      <a:pt x="160" y="427"/>
                    </a:cubicBezTo>
                    <a:cubicBezTo>
                      <a:pt x="138" y="438"/>
                      <a:pt x="131" y="432"/>
                      <a:pt x="131" y="432"/>
                    </a:cubicBezTo>
                    <a:cubicBezTo>
                      <a:pt x="124" y="437"/>
                      <a:pt x="124" y="437"/>
                      <a:pt x="124" y="437"/>
                    </a:cubicBezTo>
                    <a:cubicBezTo>
                      <a:pt x="93" y="435"/>
                      <a:pt x="93" y="435"/>
                      <a:pt x="93" y="435"/>
                    </a:cubicBezTo>
                    <a:cubicBezTo>
                      <a:pt x="92" y="444"/>
                      <a:pt x="92" y="444"/>
                      <a:pt x="92" y="444"/>
                    </a:cubicBezTo>
                    <a:cubicBezTo>
                      <a:pt x="50" y="443"/>
                      <a:pt x="50" y="443"/>
                      <a:pt x="50" y="443"/>
                    </a:cubicBezTo>
                    <a:cubicBezTo>
                      <a:pt x="32" y="455"/>
                      <a:pt x="32" y="455"/>
                      <a:pt x="32" y="455"/>
                    </a:cubicBezTo>
                    <a:cubicBezTo>
                      <a:pt x="0" y="462"/>
                      <a:pt x="0" y="462"/>
                      <a:pt x="0" y="462"/>
                    </a:cubicBezTo>
                    <a:cubicBezTo>
                      <a:pt x="1" y="485"/>
                      <a:pt x="1" y="485"/>
                      <a:pt x="1" y="485"/>
                    </a:cubicBezTo>
                    <a:cubicBezTo>
                      <a:pt x="4" y="494"/>
                      <a:pt x="4" y="494"/>
                      <a:pt x="4" y="494"/>
                    </a:cubicBezTo>
                    <a:cubicBezTo>
                      <a:pt x="4" y="494"/>
                      <a:pt x="3" y="518"/>
                      <a:pt x="13" y="525"/>
                    </a:cubicBezTo>
                    <a:cubicBezTo>
                      <a:pt x="23" y="532"/>
                      <a:pt x="35" y="531"/>
                      <a:pt x="35" y="53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31" name="Namibia">
                <a:extLst>
                  <a:ext uri="{FF2B5EF4-FFF2-40B4-BE49-F238E27FC236}">
                    <a16:creationId xmlns:a16="http://schemas.microsoft.com/office/drawing/2014/main" id="{1561F986-7D1B-4345-BB4B-51BD78FDA8B9}"/>
                  </a:ext>
                </a:extLst>
              </p:cNvPr>
              <p:cNvSpPr>
                <a:spLocks/>
              </p:cNvSpPr>
              <p:nvPr/>
            </p:nvSpPr>
            <p:spPr bwMode="gray">
              <a:xfrm>
                <a:off x="5672037" y="5264212"/>
                <a:ext cx="1053759" cy="857319"/>
              </a:xfrm>
              <a:custGeom>
                <a:avLst/>
                <a:gdLst>
                  <a:gd name="T0" fmla="*/ 257 w 635"/>
                  <a:gd name="T1" fmla="*/ 609 h 648"/>
                  <a:gd name="T2" fmla="*/ 281 w 635"/>
                  <a:gd name="T3" fmla="*/ 636 h 648"/>
                  <a:gd name="T4" fmla="*/ 304 w 635"/>
                  <a:gd name="T5" fmla="*/ 648 h 648"/>
                  <a:gd name="T6" fmla="*/ 330 w 635"/>
                  <a:gd name="T7" fmla="*/ 646 h 648"/>
                  <a:gd name="T8" fmla="*/ 345 w 635"/>
                  <a:gd name="T9" fmla="*/ 632 h 648"/>
                  <a:gd name="T10" fmla="*/ 358 w 635"/>
                  <a:gd name="T11" fmla="*/ 622 h 648"/>
                  <a:gd name="T12" fmla="*/ 384 w 635"/>
                  <a:gd name="T13" fmla="*/ 273 h 648"/>
                  <a:gd name="T14" fmla="*/ 431 w 635"/>
                  <a:gd name="T15" fmla="*/ 192 h 648"/>
                  <a:gd name="T16" fmla="*/ 435 w 635"/>
                  <a:gd name="T17" fmla="*/ 71 h 648"/>
                  <a:gd name="T18" fmla="*/ 541 w 635"/>
                  <a:gd name="T19" fmla="*/ 55 h 648"/>
                  <a:gd name="T20" fmla="*/ 554 w 635"/>
                  <a:gd name="T21" fmla="*/ 69 h 648"/>
                  <a:gd name="T22" fmla="*/ 577 w 635"/>
                  <a:gd name="T23" fmla="*/ 63 h 648"/>
                  <a:gd name="T24" fmla="*/ 601 w 635"/>
                  <a:gd name="T25" fmla="*/ 55 h 648"/>
                  <a:gd name="T26" fmla="*/ 635 w 635"/>
                  <a:gd name="T27" fmla="*/ 45 h 648"/>
                  <a:gd name="T28" fmla="*/ 602 w 635"/>
                  <a:gd name="T29" fmla="*/ 34 h 648"/>
                  <a:gd name="T30" fmla="*/ 576 w 635"/>
                  <a:gd name="T31" fmla="*/ 31 h 648"/>
                  <a:gd name="T32" fmla="*/ 548 w 635"/>
                  <a:gd name="T33" fmla="*/ 35 h 648"/>
                  <a:gd name="T34" fmla="*/ 414 w 635"/>
                  <a:gd name="T35" fmla="*/ 55 h 648"/>
                  <a:gd name="T36" fmla="*/ 362 w 635"/>
                  <a:gd name="T37" fmla="*/ 50 h 648"/>
                  <a:gd name="T38" fmla="*/ 335 w 635"/>
                  <a:gd name="T39" fmla="*/ 44 h 648"/>
                  <a:gd name="T40" fmla="*/ 116 w 635"/>
                  <a:gd name="T41" fmla="*/ 25 h 648"/>
                  <a:gd name="T42" fmla="*/ 58 w 635"/>
                  <a:gd name="T43" fmla="*/ 0 h 648"/>
                  <a:gd name="T44" fmla="*/ 28 w 635"/>
                  <a:gd name="T45" fmla="*/ 16 h 648"/>
                  <a:gd name="T46" fmla="*/ 10 w 635"/>
                  <a:gd name="T47" fmla="*/ 15 h 648"/>
                  <a:gd name="T48" fmla="*/ 4 w 635"/>
                  <a:gd name="T49" fmla="*/ 62 h 648"/>
                  <a:gd name="T50" fmla="*/ 65 w 635"/>
                  <a:gd name="T51" fmla="*/ 170 h 648"/>
                  <a:gd name="T52" fmla="*/ 102 w 635"/>
                  <a:gd name="T53" fmla="*/ 245 h 648"/>
                  <a:gd name="T54" fmla="*/ 131 w 635"/>
                  <a:gd name="T55" fmla="*/ 296 h 648"/>
                  <a:gd name="T56" fmla="*/ 146 w 635"/>
                  <a:gd name="T57" fmla="*/ 431 h 648"/>
                  <a:gd name="T58" fmla="*/ 149 w 635"/>
                  <a:gd name="T59" fmla="*/ 484 h 648"/>
                  <a:gd name="T60" fmla="*/ 159 w 635"/>
                  <a:gd name="T61" fmla="*/ 508 h 648"/>
                  <a:gd name="T62" fmla="*/ 168 w 635"/>
                  <a:gd name="T63" fmla="*/ 544 h 648"/>
                  <a:gd name="T64" fmla="*/ 190 w 635"/>
                  <a:gd name="T65" fmla="*/ 606 h 648"/>
                  <a:gd name="T66" fmla="*/ 216 w 635"/>
                  <a:gd name="T67" fmla="*/ 625 h 648"/>
                  <a:gd name="T68" fmla="*/ 243 w 635"/>
                  <a:gd name="T69" fmla="*/ 596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5" h="648">
                    <a:moveTo>
                      <a:pt x="243" y="596"/>
                    </a:moveTo>
                    <a:cubicBezTo>
                      <a:pt x="247" y="597"/>
                      <a:pt x="257" y="609"/>
                      <a:pt x="257" y="609"/>
                    </a:cubicBezTo>
                    <a:cubicBezTo>
                      <a:pt x="257" y="609"/>
                      <a:pt x="256" y="624"/>
                      <a:pt x="261" y="631"/>
                    </a:cubicBezTo>
                    <a:cubicBezTo>
                      <a:pt x="265" y="638"/>
                      <a:pt x="274" y="632"/>
                      <a:pt x="281" y="636"/>
                    </a:cubicBezTo>
                    <a:cubicBezTo>
                      <a:pt x="288" y="640"/>
                      <a:pt x="292" y="648"/>
                      <a:pt x="292" y="648"/>
                    </a:cubicBezTo>
                    <a:cubicBezTo>
                      <a:pt x="304" y="648"/>
                      <a:pt x="304" y="648"/>
                      <a:pt x="304" y="648"/>
                    </a:cubicBezTo>
                    <a:cubicBezTo>
                      <a:pt x="304" y="648"/>
                      <a:pt x="310" y="640"/>
                      <a:pt x="318" y="640"/>
                    </a:cubicBezTo>
                    <a:cubicBezTo>
                      <a:pt x="326" y="640"/>
                      <a:pt x="330" y="646"/>
                      <a:pt x="330" y="646"/>
                    </a:cubicBezTo>
                    <a:cubicBezTo>
                      <a:pt x="330" y="646"/>
                      <a:pt x="337" y="646"/>
                      <a:pt x="342" y="646"/>
                    </a:cubicBezTo>
                    <a:cubicBezTo>
                      <a:pt x="348" y="646"/>
                      <a:pt x="345" y="632"/>
                      <a:pt x="345" y="632"/>
                    </a:cubicBezTo>
                    <a:cubicBezTo>
                      <a:pt x="353" y="630"/>
                      <a:pt x="353" y="630"/>
                      <a:pt x="353" y="630"/>
                    </a:cubicBezTo>
                    <a:cubicBezTo>
                      <a:pt x="353" y="630"/>
                      <a:pt x="351" y="625"/>
                      <a:pt x="358" y="622"/>
                    </a:cubicBezTo>
                    <a:cubicBezTo>
                      <a:pt x="365" y="619"/>
                      <a:pt x="379" y="618"/>
                      <a:pt x="379" y="618"/>
                    </a:cubicBezTo>
                    <a:cubicBezTo>
                      <a:pt x="384" y="273"/>
                      <a:pt x="384" y="273"/>
                      <a:pt x="384" y="273"/>
                    </a:cubicBezTo>
                    <a:cubicBezTo>
                      <a:pt x="432" y="273"/>
                      <a:pt x="432" y="273"/>
                      <a:pt x="432" y="273"/>
                    </a:cubicBezTo>
                    <a:cubicBezTo>
                      <a:pt x="431" y="192"/>
                      <a:pt x="431" y="192"/>
                      <a:pt x="431" y="192"/>
                    </a:cubicBezTo>
                    <a:cubicBezTo>
                      <a:pt x="435" y="188"/>
                      <a:pt x="435" y="188"/>
                      <a:pt x="435" y="188"/>
                    </a:cubicBezTo>
                    <a:cubicBezTo>
                      <a:pt x="435" y="71"/>
                      <a:pt x="435" y="71"/>
                      <a:pt x="435" y="71"/>
                    </a:cubicBezTo>
                    <a:cubicBezTo>
                      <a:pt x="435" y="71"/>
                      <a:pt x="474" y="68"/>
                      <a:pt x="496" y="65"/>
                    </a:cubicBezTo>
                    <a:cubicBezTo>
                      <a:pt x="517" y="63"/>
                      <a:pt x="533" y="55"/>
                      <a:pt x="541" y="55"/>
                    </a:cubicBezTo>
                    <a:cubicBezTo>
                      <a:pt x="550" y="55"/>
                      <a:pt x="548" y="69"/>
                      <a:pt x="548" y="69"/>
                    </a:cubicBezTo>
                    <a:cubicBezTo>
                      <a:pt x="554" y="69"/>
                      <a:pt x="554" y="69"/>
                      <a:pt x="554" y="69"/>
                    </a:cubicBezTo>
                    <a:cubicBezTo>
                      <a:pt x="554" y="69"/>
                      <a:pt x="556" y="83"/>
                      <a:pt x="559" y="82"/>
                    </a:cubicBezTo>
                    <a:cubicBezTo>
                      <a:pt x="562" y="81"/>
                      <a:pt x="572" y="68"/>
                      <a:pt x="577" y="63"/>
                    </a:cubicBezTo>
                    <a:cubicBezTo>
                      <a:pt x="583" y="57"/>
                      <a:pt x="593" y="55"/>
                      <a:pt x="593" y="55"/>
                    </a:cubicBezTo>
                    <a:cubicBezTo>
                      <a:pt x="601" y="55"/>
                      <a:pt x="601" y="55"/>
                      <a:pt x="601" y="55"/>
                    </a:cubicBezTo>
                    <a:cubicBezTo>
                      <a:pt x="612" y="47"/>
                      <a:pt x="612" y="47"/>
                      <a:pt x="612" y="47"/>
                    </a:cubicBezTo>
                    <a:cubicBezTo>
                      <a:pt x="635" y="45"/>
                      <a:pt x="635" y="45"/>
                      <a:pt x="635" y="45"/>
                    </a:cubicBezTo>
                    <a:cubicBezTo>
                      <a:pt x="622" y="32"/>
                      <a:pt x="622" y="32"/>
                      <a:pt x="622" y="32"/>
                    </a:cubicBezTo>
                    <a:cubicBezTo>
                      <a:pt x="602" y="34"/>
                      <a:pt x="602" y="34"/>
                      <a:pt x="602" y="34"/>
                    </a:cubicBezTo>
                    <a:cubicBezTo>
                      <a:pt x="602" y="34"/>
                      <a:pt x="601" y="26"/>
                      <a:pt x="592" y="26"/>
                    </a:cubicBezTo>
                    <a:cubicBezTo>
                      <a:pt x="583" y="26"/>
                      <a:pt x="576" y="31"/>
                      <a:pt x="576" y="31"/>
                    </a:cubicBezTo>
                    <a:cubicBezTo>
                      <a:pt x="563" y="39"/>
                      <a:pt x="563" y="39"/>
                      <a:pt x="563" y="39"/>
                    </a:cubicBezTo>
                    <a:cubicBezTo>
                      <a:pt x="548" y="35"/>
                      <a:pt x="548" y="35"/>
                      <a:pt x="548" y="35"/>
                    </a:cubicBezTo>
                    <a:cubicBezTo>
                      <a:pt x="548" y="35"/>
                      <a:pt x="488" y="55"/>
                      <a:pt x="460" y="55"/>
                    </a:cubicBezTo>
                    <a:cubicBezTo>
                      <a:pt x="432" y="55"/>
                      <a:pt x="414" y="55"/>
                      <a:pt x="414" y="55"/>
                    </a:cubicBezTo>
                    <a:cubicBezTo>
                      <a:pt x="408" y="49"/>
                      <a:pt x="408" y="49"/>
                      <a:pt x="408" y="49"/>
                    </a:cubicBezTo>
                    <a:cubicBezTo>
                      <a:pt x="362" y="50"/>
                      <a:pt x="362" y="50"/>
                      <a:pt x="362" y="50"/>
                    </a:cubicBezTo>
                    <a:cubicBezTo>
                      <a:pt x="358" y="44"/>
                      <a:pt x="358" y="44"/>
                      <a:pt x="358" y="44"/>
                    </a:cubicBezTo>
                    <a:cubicBezTo>
                      <a:pt x="358" y="44"/>
                      <a:pt x="342" y="46"/>
                      <a:pt x="335" y="44"/>
                    </a:cubicBezTo>
                    <a:cubicBezTo>
                      <a:pt x="328" y="42"/>
                      <a:pt x="319" y="23"/>
                      <a:pt x="319" y="23"/>
                    </a:cubicBezTo>
                    <a:cubicBezTo>
                      <a:pt x="116" y="25"/>
                      <a:pt x="116" y="25"/>
                      <a:pt x="116" y="25"/>
                    </a:cubicBezTo>
                    <a:cubicBezTo>
                      <a:pt x="116" y="25"/>
                      <a:pt x="82" y="12"/>
                      <a:pt x="78" y="1"/>
                    </a:cubicBezTo>
                    <a:cubicBezTo>
                      <a:pt x="79" y="2"/>
                      <a:pt x="58" y="0"/>
                      <a:pt x="58" y="0"/>
                    </a:cubicBezTo>
                    <a:cubicBezTo>
                      <a:pt x="58" y="0"/>
                      <a:pt x="54" y="14"/>
                      <a:pt x="47" y="15"/>
                    </a:cubicBezTo>
                    <a:cubicBezTo>
                      <a:pt x="40" y="16"/>
                      <a:pt x="28" y="16"/>
                      <a:pt x="28" y="16"/>
                    </a:cubicBezTo>
                    <a:cubicBezTo>
                      <a:pt x="21" y="11"/>
                      <a:pt x="21" y="11"/>
                      <a:pt x="21" y="11"/>
                    </a:cubicBezTo>
                    <a:cubicBezTo>
                      <a:pt x="10" y="15"/>
                      <a:pt x="10" y="15"/>
                      <a:pt x="10" y="15"/>
                    </a:cubicBezTo>
                    <a:cubicBezTo>
                      <a:pt x="0" y="16"/>
                      <a:pt x="0" y="16"/>
                      <a:pt x="0" y="16"/>
                    </a:cubicBezTo>
                    <a:cubicBezTo>
                      <a:pt x="4" y="62"/>
                      <a:pt x="4" y="62"/>
                      <a:pt x="4" y="62"/>
                    </a:cubicBezTo>
                    <a:cubicBezTo>
                      <a:pt x="4" y="62"/>
                      <a:pt x="13" y="79"/>
                      <a:pt x="22" y="92"/>
                    </a:cubicBezTo>
                    <a:cubicBezTo>
                      <a:pt x="31" y="105"/>
                      <a:pt x="64" y="153"/>
                      <a:pt x="65" y="170"/>
                    </a:cubicBezTo>
                    <a:cubicBezTo>
                      <a:pt x="66" y="187"/>
                      <a:pt x="79" y="204"/>
                      <a:pt x="83" y="217"/>
                    </a:cubicBezTo>
                    <a:cubicBezTo>
                      <a:pt x="87" y="230"/>
                      <a:pt x="102" y="245"/>
                      <a:pt x="102" y="245"/>
                    </a:cubicBezTo>
                    <a:cubicBezTo>
                      <a:pt x="102" y="259"/>
                      <a:pt x="102" y="259"/>
                      <a:pt x="102" y="259"/>
                    </a:cubicBezTo>
                    <a:cubicBezTo>
                      <a:pt x="102" y="259"/>
                      <a:pt x="131" y="280"/>
                      <a:pt x="131" y="296"/>
                    </a:cubicBezTo>
                    <a:cubicBezTo>
                      <a:pt x="131" y="312"/>
                      <a:pt x="129" y="386"/>
                      <a:pt x="129" y="386"/>
                    </a:cubicBezTo>
                    <a:cubicBezTo>
                      <a:pt x="129" y="386"/>
                      <a:pt x="144" y="411"/>
                      <a:pt x="146" y="431"/>
                    </a:cubicBezTo>
                    <a:cubicBezTo>
                      <a:pt x="148" y="451"/>
                      <a:pt x="140" y="451"/>
                      <a:pt x="140" y="451"/>
                    </a:cubicBezTo>
                    <a:cubicBezTo>
                      <a:pt x="149" y="484"/>
                      <a:pt x="149" y="484"/>
                      <a:pt x="149" y="484"/>
                    </a:cubicBezTo>
                    <a:cubicBezTo>
                      <a:pt x="151" y="508"/>
                      <a:pt x="151" y="508"/>
                      <a:pt x="151" y="508"/>
                    </a:cubicBezTo>
                    <a:cubicBezTo>
                      <a:pt x="159" y="508"/>
                      <a:pt x="159" y="508"/>
                      <a:pt x="159" y="508"/>
                    </a:cubicBezTo>
                    <a:cubicBezTo>
                      <a:pt x="159" y="508"/>
                      <a:pt x="156" y="528"/>
                      <a:pt x="157" y="532"/>
                    </a:cubicBezTo>
                    <a:cubicBezTo>
                      <a:pt x="158" y="536"/>
                      <a:pt x="168" y="544"/>
                      <a:pt x="168" y="544"/>
                    </a:cubicBezTo>
                    <a:cubicBezTo>
                      <a:pt x="169" y="563"/>
                      <a:pt x="169" y="563"/>
                      <a:pt x="169" y="563"/>
                    </a:cubicBezTo>
                    <a:cubicBezTo>
                      <a:pt x="169" y="563"/>
                      <a:pt x="184" y="595"/>
                      <a:pt x="190" y="606"/>
                    </a:cubicBezTo>
                    <a:cubicBezTo>
                      <a:pt x="196" y="617"/>
                      <a:pt x="216" y="624"/>
                      <a:pt x="216" y="624"/>
                    </a:cubicBezTo>
                    <a:cubicBezTo>
                      <a:pt x="216" y="624"/>
                      <a:pt x="216" y="624"/>
                      <a:pt x="216" y="625"/>
                    </a:cubicBezTo>
                    <a:cubicBezTo>
                      <a:pt x="228" y="619"/>
                      <a:pt x="228" y="619"/>
                      <a:pt x="228" y="619"/>
                    </a:cubicBezTo>
                    <a:cubicBezTo>
                      <a:pt x="228" y="619"/>
                      <a:pt x="239" y="595"/>
                      <a:pt x="243" y="596"/>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32" name="Mozambique">
                <a:extLst>
                  <a:ext uri="{FF2B5EF4-FFF2-40B4-BE49-F238E27FC236}">
                    <a16:creationId xmlns:a16="http://schemas.microsoft.com/office/drawing/2014/main" id="{114A9BE2-B834-4103-805B-BA825898E555}"/>
                  </a:ext>
                </a:extLst>
              </p:cNvPr>
              <p:cNvSpPr>
                <a:spLocks/>
              </p:cNvSpPr>
              <p:nvPr/>
            </p:nvSpPr>
            <p:spPr bwMode="gray">
              <a:xfrm>
                <a:off x="7106842" y="4801706"/>
                <a:ext cx="842061" cy="1180694"/>
              </a:xfrm>
              <a:custGeom>
                <a:avLst/>
                <a:gdLst>
                  <a:gd name="T0" fmla="*/ 507 w 508"/>
                  <a:gd name="T1" fmla="*/ 210 h 891"/>
                  <a:gd name="T2" fmla="*/ 499 w 508"/>
                  <a:gd name="T3" fmla="*/ 170 h 891"/>
                  <a:gd name="T4" fmla="*/ 502 w 508"/>
                  <a:gd name="T5" fmla="*/ 155 h 891"/>
                  <a:gd name="T6" fmla="*/ 503 w 508"/>
                  <a:gd name="T7" fmla="*/ 104 h 891"/>
                  <a:gd name="T8" fmla="*/ 505 w 508"/>
                  <a:gd name="T9" fmla="*/ 13 h 891"/>
                  <a:gd name="T10" fmla="*/ 497 w 508"/>
                  <a:gd name="T11" fmla="*/ 0 h 891"/>
                  <a:gd name="T12" fmla="*/ 425 w 508"/>
                  <a:gd name="T13" fmla="*/ 38 h 891"/>
                  <a:gd name="T14" fmla="*/ 393 w 508"/>
                  <a:gd name="T15" fmla="*/ 45 h 891"/>
                  <a:gd name="T16" fmla="*/ 354 w 508"/>
                  <a:gd name="T17" fmla="*/ 66 h 891"/>
                  <a:gd name="T18" fmla="*/ 325 w 508"/>
                  <a:gd name="T19" fmla="*/ 61 h 891"/>
                  <a:gd name="T20" fmla="*/ 279 w 508"/>
                  <a:gd name="T21" fmla="*/ 51 h 891"/>
                  <a:gd name="T22" fmla="*/ 237 w 508"/>
                  <a:gd name="T23" fmla="*/ 62 h 891"/>
                  <a:gd name="T24" fmla="*/ 224 w 508"/>
                  <a:gd name="T25" fmla="*/ 89 h 891"/>
                  <a:gd name="T26" fmla="*/ 228 w 508"/>
                  <a:gd name="T27" fmla="*/ 144 h 891"/>
                  <a:gd name="T28" fmla="*/ 235 w 508"/>
                  <a:gd name="T29" fmla="*/ 166 h 891"/>
                  <a:gd name="T30" fmla="*/ 281 w 508"/>
                  <a:gd name="T31" fmla="*/ 231 h 891"/>
                  <a:gd name="T32" fmla="*/ 268 w 508"/>
                  <a:gd name="T33" fmla="*/ 300 h 891"/>
                  <a:gd name="T34" fmla="*/ 246 w 508"/>
                  <a:gd name="T35" fmla="*/ 333 h 891"/>
                  <a:gd name="T36" fmla="*/ 234 w 508"/>
                  <a:gd name="T37" fmla="*/ 340 h 891"/>
                  <a:gd name="T38" fmla="*/ 202 w 508"/>
                  <a:gd name="T39" fmla="*/ 297 h 891"/>
                  <a:gd name="T40" fmla="*/ 208 w 508"/>
                  <a:gd name="T41" fmla="*/ 279 h 891"/>
                  <a:gd name="T42" fmla="*/ 210 w 508"/>
                  <a:gd name="T43" fmla="*/ 263 h 891"/>
                  <a:gd name="T44" fmla="*/ 208 w 508"/>
                  <a:gd name="T45" fmla="*/ 234 h 891"/>
                  <a:gd name="T46" fmla="*/ 189 w 508"/>
                  <a:gd name="T47" fmla="*/ 218 h 891"/>
                  <a:gd name="T48" fmla="*/ 148 w 508"/>
                  <a:gd name="T49" fmla="*/ 189 h 891"/>
                  <a:gd name="T50" fmla="*/ 43 w 508"/>
                  <a:gd name="T51" fmla="*/ 227 h 891"/>
                  <a:gd name="T52" fmla="*/ 5 w 508"/>
                  <a:gd name="T53" fmla="*/ 243 h 891"/>
                  <a:gd name="T54" fmla="*/ 17 w 508"/>
                  <a:gd name="T55" fmla="*/ 297 h 891"/>
                  <a:gd name="T56" fmla="*/ 64 w 508"/>
                  <a:gd name="T57" fmla="*/ 309 h 891"/>
                  <a:gd name="T58" fmla="*/ 89 w 508"/>
                  <a:gd name="T59" fmla="*/ 322 h 891"/>
                  <a:gd name="T60" fmla="*/ 120 w 508"/>
                  <a:gd name="T61" fmla="*/ 331 h 891"/>
                  <a:gd name="T62" fmla="*/ 129 w 508"/>
                  <a:gd name="T63" fmla="*/ 357 h 891"/>
                  <a:gd name="T64" fmla="*/ 131 w 508"/>
                  <a:gd name="T65" fmla="*/ 375 h 891"/>
                  <a:gd name="T66" fmla="*/ 129 w 508"/>
                  <a:gd name="T67" fmla="*/ 395 h 891"/>
                  <a:gd name="T68" fmla="*/ 131 w 508"/>
                  <a:gd name="T69" fmla="*/ 434 h 891"/>
                  <a:gd name="T70" fmla="*/ 117 w 508"/>
                  <a:gd name="T71" fmla="*/ 450 h 891"/>
                  <a:gd name="T72" fmla="*/ 117 w 508"/>
                  <a:gd name="T73" fmla="*/ 482 h 891"/>
                  <a:gd name="T74" fmla="*/ 125 w 508"/>
                  <a:gd name="T75" fmla="*/ 518 h 891"/>
                  <a:gd name="T76" fmla="*/ 105 w 508"/>
                  <a:gd name="T77" fmla="*/ 542 h 891"/>
                  <a:gd name="T78" fmla="*/ 96 w 508"/>
                  <a:gd name="T79" fmla="*/ 570 h 891"/>
                  <a:gd name="T80" fmla="*/ 95 w 508"/>
                  <a:gd name="T81" fmla="*/ 586 h 891"/>
                  <a:gd name="T82" fmla="*/ 57 w 508"/>
                  <a:gd name="T83" fmla="*/ 702 h 891"/>
                  <a:gd name="T84" fmla="*/ 78 w 508"/>
                  <a:gd name="T85" fmla="*/ 809 h 891"/>
                  <a:gd name="T86" fmla="*/ 76 w 508"/>
                  <a:gd name="T87" fmla="*/ 830 h 891"/>
                  <a:gd name="T88" fmla="*/ 83 w 508"/>
                  <a:gd name="T89" fmla="*/ 861 h 891"/>
                  <a:gd name="T90" fmla="*/ 98 w 508"/>
                  <a:gd name="T91" fmla="*/ 877 h 891"/>
                  <a:gd name="T92" fmla="*/ 115 w 508"/>
                  <a:gd name="T93" fmla="*/ 871 h 891"/>
                  <a:gd name="T94" fmla="*/ 109 w 508"/>
                  <a:gd name="T95" fmla="*/ 819 h 891"/>
                  <a:gd name="T96" fmla="*/ 242 w 508"/>
                  <a:gd name="T97" fmla="*/ 735 h 891"/>
                  <a:gd name="T98" fmla="*/ 230 w 508"/>
                  <a:gd name="T99" fmla="*/ 713 h 891"/>
                  <a:gd name="T100" fmla="*/ 241 w 508"/>
                  <a:gd name="T101" fmla="*/ 650 h 891"/>
                  <a:gd name="T102" fmla="*/ 246 w 508"/>
                  <a:gd name="T103" fmla="*/ 626 h 891"/>
                  <a:gd name="T104" fmla="*/ 238 w 508"/>
                  <a:gd name="T105" fmla="*/ 612 h 891"/>
                  <a:gd name="T106" fmla="*/ 225 w 508"/>
                  <a:gd name="T107" fmla="*/ 555 h 891"/>
                  <a:gd name="T108" fmla="*/ 222 w 508"/>
                  <a:gd name="T109" fmla="*/ 503 h 891"/>
                  <a:gd name="T110" fmla="*/ 267 w 508"/>
                  <a:gd name="T111" fmla="*/ 455 h 891"/>
                  <a:gd name="T112" fmla="*/ 312 w 508"/>
                  <a:gd name="T113" fmla="*/ 419 h 891"/>
                  <a:gd name="T114" fmla="*/ 417 w 508"/>
                  <a:gd name="T115" fmla="*/ 348 h 891"/>
                  <a:gd name="T116" fmla="*/ 458 w 508"/>
                  <a:gd name="T117" fmla="*/ 314 h 891"/>
                  <a:gd name="T118" fmla="*/ 498 w 508"/>
                  <a:gd name="T119" fmla="*/ 263 h 891"/>
                  <a:gd name="T120" fmla="*/ 508 w 508"/>
                  <a:gd name="T121" fmla="*/ 229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8" h="891">
                    <a:moveTo>
                      <a:pt x="508" y="229"/>
                    </a:moveTo>
                    <a:cubicBezTo>
                      <a:pt x="508" y="221"/>
                      <a:pt x="507" y="210"/>
                      <a:pt x="507" y="210"/>
                    </a:cubicBezTo>
                    <a:cubicBezTo>
                      <a:pt x="499" y="211"/>
                      <a:pt x="499" y="211"/>
                      <a:pt x="499" y="211"/>
                    </a:cubicBezTo>
                    <a:cubicBezTo>
                      <a:pt x="499" y="170"/>
                      <a:pt x="499" y="170"/>
                      <a:pt x="499" y="170"/>
                    </a:cubicBezTo>
                    <a:cubicBezTo>
                      <a:pt x="491" y="162"/>
                      <a:pt x="491" y="162"/>
                      <a:pt x="491" y="162"/>
                    </a:cubicBezTo>
                    <a:cubicBezTo>
                      <a:pt x="502" y="155"/>
                      <a:pt x="502" y="155"/>
                      <a:pt x="502" y="155"/>
                    </a:cubicBezTo>
                    <a:cubicBezTo>
                      <a:pt x="495" y="124"/>
                      <a:pt x="495" y="124"/>
                      <a:pt x="495" y="124"/>
                    </a:cubicBezTo>
                    <a:cubicBezTo>
                      <a:pt x="503" y="104"/>
                      <a:pt x="503" y="104"/>
                      <a:pt x="503" y="104"/>
                    </a:cubicBezTo>
                    <a:cubicBezTo>
                      <a:pt x="493" y="78"/>
                      <a:pt x="493" y="78"/>
                      <a:pt x="493" y="78"/>
                    </a:cubicBezTo>
                    <a:cubicBezTo>
                      <a:pt x="493" y="78"/>
                      <a:pt x="505" y="21"/>
                      <a:pt x="505" y="13"/>
                    </a:cubicBezTo>
                    <a:cubicBezTo>
                      <a:pt x="505" y="5"/>
                      <a:pt x="497" y="0"/>
                      <a:pt x="497" y="0"/>
                    </a:cubicBezTo>
                    <a:cubicBezTo>
                      <a:pt x="497" y="0"/>
                      <a:pt x="497" y="0"/>
                      <a:pt x="497" y="0"/>
                    </a:cubicBezTo>
                    <a:cubicBezTo>
                      <a:pt x="444" y="37"/>
                      <a:pt x="444" y="37"/>
                      <a:pt x="444" y="37"/>
                    </a:cubicBezTo>
                    <a:cubicBezTo>
                      <a:pt x="425" y="38"/>
                      <a:pt x="425" y="38"/>
                      <a:pt x="425" y="38"/>
                    </a:cubicBezTo>
                    <a:cubicBezTo>
                      <a:pt x="425" y="38"/>
                      <a:pt x="404" y="51"/>
                      <a:pt x="400" y="52"/>
                    </a:cubicBezTo>
                    <a:cubicBezTo>
                      <a:pt x="396" y="53"/>
                      <a:pt x="393" y="45"/>
                      <a:pt x="393" y="45"/>
                    </a:cubicBezTo>
                    <a:cubicBezTo>
                      <a:pt x="377" y="45"/>
                      <a:pt x="377" y="45"/>
                      <a:pt x="377" y="45"/>
                    </a:cubicBezTo>
                    <a:cubicBezTo>
                      <a:pt x="377" y="45"/>
                      <a:pt x="361" y="63"/>
                      <a:pt x="354" y="66"/>
                    </a:cubicBezTo>
                    <a:cubicBezTo>
                      <a:pt x="347" y="69"/>
                      <a:pt x="343" y="67"/>
                      <a:pt x="343" y="67"/>
                    </a:cubicBezTo>
                    <a:cubicBezTo>
                      <a:pt x="343" y="67"/>
                      <a:pt x="329" y="59"/>
                      <a:pt x="325" y="61"/>
                    </a:cubicBezTo>
                    <a:cubicBezTo>
                      <a:pt x="321" y="63"/>
                      <a:pt x="316" y="72"/>
                      <a:pt x="311" y="72"/>
                    </a:cubicBezTo>
                    <a:cubicBezTo>
                      <a:pt x="306" y="72"/>
                      <a:pt x="287" y="51"/>
                      <a:pt x="279" y="51"/>
                    </a:cubicBezTo>
                    <a:cubicBezTo>
                      <a:pt x="271" y="51"/>
                      <a:pt x="267" y="61"/>
                      <a:pt x="267" y="61"/>
                    </a:cubicBezTo>
                    <a:cubicBezTo>
                      <a:pt x="267" y="61"/>
                      <a:pt x="250" y="62"/>
                      <a:pt x="237" y="62"/>
                    </a:cubicBezTo>
                    <a:cubicBezTo>
                      <a:pt x="236" y="66"/>
                      <a:pt x="236" y="70"/>
                      <a:pt x="236" y="72"/>
                    </a:cubicBezTo>
                    <a:cubicBezTo>
                      <a:pt x="236" y="75"/>
                      <a:pt x="233" y="81"/>
                      <a:pt x="224" y="89"/>
                    </a:cubicBezTo>
                    <a:cubicBezTo>
                      <a:pt x="215" y="97"/>
                      <a:pt x="225" y="104"/>
                      <a:pt x="229" y="109"/>
                    </a:cubicBezTo>
                    <a:cubicBezTo>
                      <a:pt x="233" y="114"/>
                      <a:pt x="233" y="132"/>
                      <a:pt x="228" y="144"/>
                    </a:cubicBezTo>
                    <a:cubicBezTo>
                      <a:pt x="225" y="151"/>
                      <a:pt x="225" y="159"/>
                      <a:pt x="226" y="164"/>
                    </a:cubicBezTo>
                    <a:cubicBezTo>
                      <a:pt x="229" y="165"/>
                      <a:pt x="233" y="165"/>
                      <a:pt x="235" y="166"/>
                    </a:cubicBezTo>
                    <a:cubicBezTo>
                      <a:pt x="239" y="169"/>
                      <a:pt x="257" y="196"/>
                      <a:pt x="261" y="204"/>
                    </a:cubicBezTo>
                    <a:cubicBezTo>
                      <a:pt x="265" y="212"/>
                      <a:pt x="275" y="222"/>
                      <a:pt x="281" y="231"/>
                    </a:cubicBezTo>
                    <a:cubicBezTo>
                      <a:pt x="287" y="240"/>
                      <a:pt x="270" y="258"/>
                      <a:pt x="270" y="258"/>
                    </a:cubicBezTo>
                    <a:cubicBezTo>
                      <a:pt x="270" y="258"/>
                      <a:pt x="274" y="293"/>
                      <a:pt x="268" y="300"/>
                    </a:cubicBezTo>
                    <a:cubicBezTo>
                      <a:pt x="262" y="307"/>
                      <a:pt x="244" y="299"/>
                      <a:pt x="238" y="317"/>
                    </a:cubicBezTo>
                    <a:cubicBezTo>
                      <a:pt x="232" y="335"/>
                      <a:pt x="242" y="323"/>
                      <a:pt x="246" y="333"/>
                    </a:cubicBezTo>
                    <a:cubicBezTo>
                      <a:pt x="250" y="343"/>
                      <a:pt x="243" y="360"/>
                      <a:pt x="232" y="358"/>
                    </a:cubicBezTo>
                    <a:cubicBezTo>
                      <a:pt x="221" y="356"/>
                      <a:pt x="235" y="346"/>
                      <a:pt x="234" y="340"/>
                    </a:cubicBezTo>
                    <a:cubicBezTo>
                      <a:pt x="233" y="334"/>
                      <a:pt x="202" y="314"/>
                      <a:pt x="202" y="314"/>
                    </a:cubicBezTo>
                    <a:cubicBezTo>
                      <a:pt x="202" y="297"/>
                      <a:pt x="202" y="297"/>
                      <a:pt x="202" y="297"/>
                    </a:cubicBezTo>
                    <a:cubicBezTo>
                      <a:pt x="202" y="297"/>
                      <a:pt x="197" y="297"/>
                      <a:pt x="195" y="294"/>
                    </a:cubicBezTo>
                    <a:cubicBezTo>
                      <a:pt x="193" y="291"/>
                      <a:pt x="208" y="279"/>
                      <a:pt x="208" y="279"/>
                    </a:cubicBezTo>
                    <a:cubicBezTo>
                      <a:pt x="200" y="266"/>
                      <a:pt x="200" y="266"/>
                      <a:pt x="200" y="266"/>
                    </a:cubicBezTo>
                    <a:cubicBezTo>
                      <a:pt x="210" y="263"/>
                      <a:pt x="210" y="263"/>
                      <a:pt x="210" y="263"/>
                    </a:cubicBezTo>
                    <a:cubicBezTo>
                      <a:pt x="213" y="242"/>
                      <a:pt x="213" y="242"/>
                      <a:pt x="213" y="242"/>
                    </a:cubicBezTo>
                    <a:cubicBezTo>
                      <a:pt x="213" y="242"/>
                      <a:pt x="207" y="243"/>
                      <a:pt x="208" y="234"/>
                    </a:cubicBezTo>
                    <a:cubicBezTo>
                      <a:pt x="209" y="225"/>
                      <a:pt x="205" y="214"/>
                      <a:pt x="205" y="214"/>
                    </a:cubicBezTo>
                    <a:cubicBezTo>
                      <a:pt x="199" y="211"/>
                      <a:pt x="189" y="218"/>
                      <a:pt x="189" y="218"/>
                    </a:cubicBezTo>
                    <a:cubicBezTo>
                      <a:pt x="169" y="221"/>
                      <a:pt x="169" y="221"/>
                      <a:pt x="169" y="221"/>
                    </a:cubicBezTo>
                    <a:cubicBezTo>
                      <a:pt x="148" y="189"/>
                      <a:pt x="148" y="189"/>
                      <a:pt x="148" y="189"/>
                    </a:cubicBezTo>
                    <a:cubicBezTo>
                      <a:pt x="148" y="189"/>
                      <a:pt x="104" y="209"/>
                      <a:pt x="95" y="214"/>
                    </a:cubicBezTo>
                    <a:cubicBezTo>
                      <a:pt x="85" y="219"/>
                      <a:pt x="43" y="227"/>
                      <a:pt x="43" y="227"/>
                    </a:cubicBezTo>
                    <a:cubicBezTo>
                      <a:pt x="31" y="238"/>
                      <a:pt x="31" y="238"/>
                      <a:pt x="31" y="238"/>
                    </a:cubicBezTo>
                    <a:cubicBezTo>
                      <a:pt x="31" y="238"/>
                      <a:pt x="11" y="239"/>
                      <a:pt x="5" y="243"/>
                    </a:cubicBezTo>
                    <a:cubicBezTo>
                      <a:pt x="0" y="247"/>
                      <a:pt x="15" y="261"/>
                      <a:pt x="15" y="261"/>
                    </a:cubicBezTo>
                    <a:cubicBezTo>
                      <a:pt x="17" y="297"/>
                      <a:pt x="17" y="297"/>
                      <a:pt x="17" y="297"/>
                    </a:cubicBezTo>
                    <a:cubicBezTo>
                      <a:pt x="56" y="297"/>
                      <a:pt x="56" y="297"/>
                      <a:pt x="56" y="297"/>
                    </a:cubicBezTo>
                    <a:cubicBezTo>
                      <a:pt x="64" y="309"/>
                      <a:pt x="64" y="309"/>
                      <a:pt x="64" y="309"/>
                    </a:cubicBezTo>
                    <a:cubicBezTo>
                      <a:pt x="79" y="306"/>
                      <a:pt x="79" y="306"/>
                      <a:pt x="79" y="306"/>
                    </a:cubicBezTo>
                    <a:cubicBezTo>
                      <a:pt x="89" y="322"/>
                      <a:pt x="89" y="322"/>
                      <a:pt x="89" y="322"/>
                    </a:cubicBezTo>
                    <a:cubicBezTo>
                      <a:pt x="89" y="322"/>
                      <a:pt x="99" y="319"/>
                      <a:pt x="107" y="319"/>
                    </a:cubicBezTo>
                    <a:cubicBezTo>
                      <a:pt x="115" y="319"/>
                      <a:pt x="120" y="331"/>
                      <a:pt x="120" y="331"/>
                    </a:cubicBezTo>
                    <a:cubicBezTo>
                      <a:pt x="120" y="331"/>
                      <a:pt x="135" y="331"/>
                      <a:pt x="139" y="339"/>
                    </a:cubicBezTo>
                    <a:cubicBezTo>
                      <a:pt x="143" y="347"/>
                      <a:pt x="129" y="357"/>
                      <a:pt x="129" y="357"/>
                    </a:cubicBezTo>
                    <a:cubicBezTo>
                      <a:pt x="137" y="366"/>
                      <a:pt x="137" y="366"/>
                      <a:pt x="137" y="366"/>
                    </a:cubicBezTo>
                    <a:cubicBezTo>
                      <a:pt x="131" y="375"/>
                      <a:pt x="131" y="375"/>
                      <a:pt x="131" y="375"/>
                    </a:cubicBezTo>
                    <a:cubicBezTo>
                      <a:pt x="137" y="383"/>
                      <a:pt x="137" y="383"/>
                      <a:pt x="137" y="383"/>
                    </a:cubicBezTo>
                    <a:cubicBezTo>
                      <a:pt x="137" y="383"/>
                      <a:pt x="132" y="390"/>
                      <a:pt x="129" y="395"/>
                    </a:cubicBezTo>
                    <a:cubicBezTo>
                      <a:pt x="127" y="401"/>
                      <a:pt x="135" y="407"/>
                      <a:pt x="137" y="421"/>
                    </a:cubicBezTo>
                    <a:cubicBezTo>
                      <a:pt x="140" y="434"/>
                      <a:pt x="131" y="434"/>
                      <a:pt x="131" y="434"/>
                    </a:cubicBezTo>
                    <a:cubicBezTo>
                      <a:pt x="131" y="443"/>
                      <a:pt x="131" y="443"/>
                      <a:pt x="131" y="443"/>
                    </a:cubicBezTo>
                    <a:cubicBezTo>
                      <a:pt x="117" y="450"/>
                      <a:pt x="117" y="450"/>
                      <a:pt x="117" y="450"/>
                    </a:cubicBezTo>
                    <a:cubicBezTo>
                      <a:pt x="131" y="466"/>
                      <a:pt x="131" y="466"/>
                      <a:pt x="131" y="466"/>
                    </a:cubicBezTo>
                    <a:cubicBezTo>
                      <a:pt x="131" y="466"/>
                      <a:pt x="119" y="477"/>
                      <a:pt x="117" y="482"/>
                    </a:cubicBezTo>
                    <a:cubicBezTo>
                      <a:pt x="116" y="487"/>
                      <a:pt x="133" y="498"/>
                      <a:pt x="135" y="505"/>
                    </a:cubicBezTo>
                    <a:cubicBezTo>
                      <a:pt x="136" y="511"/>
                      <a:pt x="125" y="518"/>
                      <a:pt x="125" y="518"/>
                    </a:cubicBezTo>
                    <a:cubicBezTo>
                      <a:pt x="125" y="518"/>
                      <a:pt x="123" y="525"/>
                      <a:pt x="121" y="533"/>
                    </a:cubicBezTo>
                    <a:cubicBezTo>
                      <a:pt x="120" y="541"/>
                      <a:pt x="105" y="542"/>
                      <a:pt x="105" y="542"/>
                    </a:cubicBezTo>
                    <a:cubicBezTo>
                      <a:pt x="104" y="565"/>
                      <a:pt x="104" y="565"/>
                      <a:pt x="104" y="565"/>
                    </a:cubicBezTo>
                    <a:cubicBezTo>
                      <a:pt x="96" y="570"/>
                      <a:pt x="96" y="570"/>
                      <a:pt x="96" y="570"/>
                    </a:cubicBezTo>
                    <a:cubicBezTo>
                      <a:pt x="105" y="583"/>
                      <a:pt x="105" y="583"/>
                      <a:pt x="105" y="583"/>
                    </a:cubicBezTo>
                    <a:cubicBezTo>
                      <a:pt x="95" y="586"/>
                      <a:pt x="95" y="586"/>
                      <a:pt x="95" y="586"/>
                    </a:cubicBezTo>
                    <a:cubicBezTo>
                      <a:pt x="48" y="642"/>
                      <a:pt x="48" y="642"/>
                      <a:pt x="48" y="642"/>
                    </a:cubicBezTo>
                    <a:cubicBezTo>
                      <a:pt x="48" y="642"/>
                      <a:pt x="55" y="693"/>
                      <a:pt x="57" y="702"/>
                    </a:cubicBezTo>
                    <a:cubicBezTo>
                      <a:pt x="59" y="711"/>
                      <a:pt x="80" y="743"/>
                      <a:pt x="79" y="752"/>
                    </a:cubicBezTo>
                    <a:cubicBezTo>
                      <a:pt x="78" y="761"/>
                      <a:pt x="78" y="809"/>
                      <a:pt x="78" y="809"/>
                    </a:cubicBezTo>
                    <a:cubicBezTo>
                      <a:pt x="60" y="833"/>
                      <a:pt x="60" y="833"/>
                      <a:pt x="60" y="833"/>
                    </a:cubicBezTo>
                    <a:cubicBezTo>
                      <a:pt x="76" y="830"/>
                      <a:pt x="76" y="830"/>
                      <a:pt x="76" y="830"/>
                    </a:cubicBezTo>
                    <a:cubicBezTo>
                      <a:pt x="76" y="830"/>
                      <a:pt x="71" y="847"/>
                      <a:pt x="73" y="854"/>
                    </a:cubicBezTo>
                    <a:cubicBezTo>
                      <a:pt x="76" y="861"/>
                      <a:pt x="83" y="861"/>
                      <a:pt x="83" y="861"/>
                    </a:cubicBezTo>
                    <a:cubicBezTo>
                      <a:pt x="87" y="877"/>
                      <a:pt x="87" y="877"/>
                      <a:pt x="87" y="877"/>
                    </a:cubicBezTo>
                    <a:cubicBezTo>
                      <a:pt x="91" y="876"/>
                      <a:pt x="95" y="875"/>
                      <a:pt x="98" y="877"/>
                    </a:cubicBezTo>
                    <a:cubicBezTo>
                      <a:pt x="102" y="879"/>
                      <a:pt x="107" y="885"/>
                      <a:pt x="111" y="891"/>
                    </a:cubicBezTo>
                    <a:cubicBezTo>
                      <a:pt x="113" y="883"/>
                      <a:pt x="115" y="876"/>
                      <a:pt x="115" y="871"/>
                    </a:cubicBezTo>
                    <a:cubicBezTo>
                      <a:pt x="116" y="856"/>
                      <a:pt x="107" y="845"/>
                      <a:pt x="107" y="845"/>
                    </a:cubicBezTo>
                    <a:cubicBezTo>
                      <a:pt x="107" y="845"/>
                      <a:pt x="88" y="839"/>
                      <a:pt x="109" y="819"/>
                    </a:cubicBezTo>
                    <a:cubicBezTo>
                      <a:pt x="130" y="799"/>
                      <a:pt x="165" y="785"/>
                      <a:pt x="186" y="773"/>
                    </a:cubicBezTo>
                    <a:cubicBezTo>
                      <a:pt x="207" y="761"/>
                      <a:pt x="242" y="744"/>
                      <a:pt x="242" y="735"/>
                    </a:cubicBezTo>
                    <a:cubicBezTo>
                      <a:pt x="242" y="726"/>
                      <a:pt x="242" y="718"/>
                      <a:pt x="242" y="718"/>
                    </a:cubicBezTo>
                    <a:cubicBezTo>
                      <a:pt x="242" y="718"/>
                      <a:pt x="231" y="727"/>
                      <a:pt x="230" y="713"/>
                    </a:cubicBezTo>
                    <a:cubicBezTo>
                      <a:pt x="229" y="699"/>
                      <a:pt x="249" y="684"/>
                      <a:pt x="247" y="674"/>
                    </a:cubicBezTo>
                    <a:cubicBezTo>
                      <a:pt x="245" y="664"/>
                      <a:pt x="241" y="650"/>
                      <a:pt x="241" y="650"/>
                    </a:cubicBezTo>
                    <a:cubicBezTo>
                      <a:pt x="248" y="631"/>
                      <a:pt x="248" y="631"/>
                      <a:pt x="248" y="631"/>
                    </a:cubicBezTo>
                    <a:cubicBezTo>
                      <a:pt x="246" y="626"/>
                      <a:pt x="246" y="626"/>
                      <a:pt x="246" y="626"/>
                    </a:cubicBezTo>
                    <a:cubicBezTo>
                      <a:pt x="235" y="639"/>
                      <a:pt x="235" y="639"/>
                      <a:pt x="235" y="639"/>
                    </a:cubicBezTo>
                    <a:cubicBezTo>
                      <a:pt x="238" y="612"/>
                      <a:pt x="238" y="612"/>
                      <a:pt x="238" y="612"/>
                    </a:cubicBezTo>
                    <a:cubicBezTo>
                      <a:pt x="238" y="612"/>
                      <a:pt x="223" y="597"/>
                      <a:pt x="222" y="587"/>
                    </a:cubicBezTo>
                    <a:cubicBezTo>
                      <a:pt x="221" y="577"/>
                      <a:pt x="230" y="567"/>
                      <a:pt x="225" y="555"/>
                    </a:cubicBezTo>
                    <a:cubicBezTo>
                      <a:pt x="220" y="543"/>
                      <a:pt x="208" y="554"/>
                      <a:pt x="208" y="541"/>
                    </a:cubicBezTo>
                    <a:cubicBezTo>
                      <a:pt x="208" y="528"/>
                      <a:pt x="219" y="507"/>
                      <a:pt x="222" y="503"/>
                    </a:cubicBezTo>
                    <a:cubicBezTo>
                      <a:pt x="225" y="499"/>
                      <a:pt x="249" y="493"/>
                      <a:pt x="252" y="484"/>
                    </a:cubicBezTo>
                    <a:cubicBezTo>
                      <a:pt x="255" y="475"/>
                      <a:pt x="260" y="460"/>
                      <a:pt x="267" y="455"/>
                    </a:cubicBezTo>
                    <a:cubicBezTo>
                      <a:pt x="274" y="450"/>
                      <a:pt x="279" y="455"/>
                      <a:pt x="287" y="449"/>
                    </a:cubicBezTo>
                    <a:cubicBezTo>
                      <a:pt x="295" y="443"/>
                      <a:pt x="310" y="435"/>
                      <a:pt x="312" y="419"/>
                    </a:cubicBezTo>
                    <a:cubicBezTo>
                      <a:pt x="314" y="403"/>
                      <a:pt x="331" y="385"/>
                      <a:pt x="348" y="377"/>
                    </a:cubicBezTo>
                    <a:cubicBezTo>
                      <a:pt x="365" y="369"/>
                      <a:pt x="409" y="355"/>
                      <a:pt x="417" y="348"/>
                    </a:cubicBezTo>
                    <a:cubicBezTo>
                      <a:pt x="425" y="341"/>
                      <a:pt x="458" y="324"/>
                      <a:pt x="458" y="324"/>
                    </a:cubicBezTo>
                    <a:cubicBezTo>
                      <a:pt x="458" y="314"/>
                      <a:pt x="458" y="314"/>
                      <a:pt x="458" y="314"/>
                    </a:cubicBezTo>
                    <a:cubicBezTo>
                      <a:pt x="458" y="314"/>
                      <a:pt x="476" y="295"/>
                      <a:pt x="476" y="290"/>
                    </a:cubicBezTo>
                    <a:cubicBezTo>
                      <a:pt x="476" y="285"/>
                      <a:pt x="498" y="263"/>
                      <a:pt x="498" y="263"/>
                    </a:cubicBezTo>
                    <a:cubicBezTo>
                      <a:pt x="496" y="254"/>
                      <a:pt x="496" y="254"/>
                      <a:pt x="496" y="254"/>
                    </a:cubicBezTo>
                    <a:cubicBezTo>
                      <a:pt x="496" y="254"/>
                      <a:pt x="508" y="237"/>
                      <a:pt x="508" y="229"/>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33" name="Morocco">
                <a:extLst>
                  <a:ext uri="{FF2B5EF4-FFF2-40B4-BE49-F238E27FC236}">
                    <a16:creationId xmlns:a16="http://schemas.microsoft.com/office/drawing/2014/main" id="{83CE5CD0-166F-4EA3-B193-06FF52403BFF}"/>
                  </a:ext>
                </a:extLst>
              </p:cNvPr>
              <p:cNvSpPr>
                <a:spLocks/>
              </p:cNvSpPr>
              <p:nvPr/>
            </p:nvSpPr>
            <p:spPr bwMode="gray">
              <a:xfrm>
                <a:off x="3780925" y="1504040"/>
                <a:ext cx="936151" cy="579067"/>
              </a:xfrm>
              <a:custGeom>
                <a:avLst/>
                <a:gdLst>
                  <a:gd name="T0" fmla="*/ 547 w 565"/>
                  <a:gd name="T1" fmla="*/ 165 h 438"/>
                  <a:gd name="T2" fmla="*/ 550 w 565"/>
                  <a:gd name="T3" fmla="*/ 145 h 438"/>
                  <a:gd name="T4" fmla="*/ 536 w 565"/>
                  <a:gd name="T5" fmla="*/ 145 h 438"/>
                  <a:gd name="T6" fmla="*/ 543 w 565"/>
                  <a:gd name="T7" fmla="*/ 124 h 438"/>
                  <a:gd name="T8" fmla="*/ 537 w 565"/>
                  <a:gd name="T9" fmla="*/ 113 h 438"/>
                  <a:gd name="T10" fmla="*/ 540 w 565"/>
                  <a:gd name="T11" fmla="*/ 68 h 438"/>
                  <a:gd name="T12" fmla="*/ 532 w 565"/>
                  <a:gd name="T13" fmla="*/ 68 h 438"/>
                  <a:gd name="T14" fmla="*/ 536 w 565"/>
                  <a:gd name="T15" fmla="*/ 56 h 438"/>
                  <a:gd name="T16" fmla="*/ 521 w 565"/>
                  <a:gd name="T17" fmla="*/ 39 h 438"/>
                  <a:gd name="T18" fmla="*/ 487 w 565"/>
                  <a:gd name="T19" fmla="*/ 26 h 438"/>
                  <a:gd name="T20" fmla="*/ 470 w 565"/>
                  <a:gd name="T21" fmla="*/ 34 h 438"/>
                  <a:gd name="T22" fmla="*/ 439 w 565"/>
                  <a:gd name="T23" fmla="*/ 29 h 438"/>
                  <a:gd name="T24" fmla="*/ 408 w 565"/>
                  <a:gd name="T25" fmla="*/ 33 h 438"/>
                  <a:gd name="T26" fmla="*/ 374 w 565"/>
                  <a:gd name="T27" fmla="*/ 2 h 438"/>
                  <a:gd name="T28" fmla="*/ 354 w 565"/>
                  <a:gd name="T29" fmla="*/ 0 h 438"/>
                  <a:gd name="T30" fmla="*/ 337 w 565"/>
                  <a:gd name="T31" fmla="*/ 48 h 438"/>
                  <a:gd name="T32" fmla="*/ 300 w 565"/>
                  <a:gd name="T33" fmla="*/ 107 h 438"/>
                  <a:gd name="T34" fmla="*/ 267 w 565"/>
                  <a:gd name="T35" fmla="*/ 116 h 438"/>
                  <a:gd name="T36" fmla="*/ 251 w 565"/>
                  <a:gd name="T37" fmla="*/ 131 h 438"/>
                  <a:gd name="T38" fmla="*/ 239 w 565"/>
                  <a:gd name="T39" fmla="*/ 128 h 438"/>
                  <a:gd name="T40" fmla="*/ 222 w 565"/>
                  <a:gd name="T41" fmla="*/ 137 h 438"/>
                  <a:gd name="T42" fmla="*/ 211 w 565"/>
                  <a:gd name="T43" fmla="*/ 158 h 438"/>
                  <a:gd name="T44" fmla="*/ 191 w 565"/>
                  <a:gd name="T45" fmla="*/ 174 h 438"/>
                  <a:gd name="T46" fmla="*/ 188 w 565"/>
                  <a:gd name="T47" fmla="*/ 199 h 438"/>
                  <a:gd name="T48" fmla="*/ 165 w 565"/>
                  <a:gd name="T49" fmla="*/ 244 h 438"/>
                  <a:gd name="T50" fmla="*/ 166 w 565"/>
                  <a:gd name="T51" fmla="*/ 269 h 438"/>
                  <a:gd name="T52" fmla="*/ 158 w 565"/>
                  <a:gd name="T53" fmla="*/ 276 h 438"/>
                  <a:gd name="T54" fmla="*/ 170 w 565"/>
                  <a:gd name="T55" fmla="*/ 292 h 438"/>
                  <a:gd name="T56" fmla="*/ 169 w 565"/>
                  <a:gd name="T57" fmla="*/ 316 h 438"/>
                  <a:gd name="T58" fmla="*/ 154 w 565"/>
                  <a:gd name="T59" fmla="*/ 321 h 438"/>
                  <a:gd name="T60" fmla="*/ 130 w 565"/>
                  <a:gd name="T61" fmla="*/ 359 h 438"/>
                  <a:gd name="T62" fmla="*/ 101 w 565"/>
                  <a:gd name="T63" fmla="*/ 376 h 438"/>
                  <a:gd name="T64" fmla="*/ 80 w 565"/>
                  <a:gd name="T65" fmla="*/ 404 h 438"/>
                  <a:gd name="T66" fmla="*/ 32 w 565"/>
                  <a:gd name="T67" fmla="*/ 421 h 438"/>
                  <a:gd name="T68" fmla="*/ 9 w 565"/>
                  <a:gd name="T69" fmla="*/ 423 h 438"/>
                  <a:gd name="T70" fmla="*/ 0 w 565"/>
                  <a:gd name="T71" fmla="*/ 438 h 438"/>
                  <a:gd name="T72" fmla="*/ 207 w 565"/>
                  <a:gd name="T73" fmla="*/ 438 h 438"/>
                  <a:gd name="T74" fmla="*/ 209 w 565"/>
                  <a:gd name="T75" fmla="*/ 399 h 438"/>
                  <a:gd name="T76" fmla="*/ 212 w 565"/>
                  <a:gd name="T77" fmla="*/ 381 h 438"/>
                  <a:gd name="T78" fmla="*/ 232 w 565"/>
                  <a:gd name="T79" fmla="*/ 369 h 438"/>
                  <a:gd name="T80" fmla="*/ 253 w 565"/>
                  <a:gd name="T81" fmla="*/ 344 h 438"/>
                  <a:gd name="T82" fmla="*/ 265 w 565"/>
                  <a:gd name="T83" fmla="*/ 345 h 438"/>
                  <a:gd name="T84" fmla="*/ 283 w 565"/>
                  <a:gd name="T85" fmla="*/ 331 h 438"/>
                  <a:gd name="T86" fmla="*/ 302 w 565"/>
                  <a:gd name="T87" fmla="*/ 339 h 438"/>
                  <a:gd name="T88" fmla="*/ 308 w 565"/>
                  <a:gd name="T89" fmla="*/ 326 h 438"/>
                  <a:gd name="T90" fmla="*/ 326 w 565"/>
                  <a:gd name="T91" fmla="*/ 325 h 438"/>
                  <a:gd name="T92" fmla="*/ 327 w 565"/>
                  <a:gd name="T93" fmla="*/ 317 h 438"/>
                  <a:gd name="T94" fmla="*/ 361 w 565"/>
                  <a:gd name="T95" fmla="*/ 318 h 438"/>
                  <a:gd name="T96" fmla="*/ 384 w 565"/>
                  <a:gd name="T97" fmla="*/ 284 h 438"/>
                  <a:gd name="T98" fmla="*/ 414 w 565"/>
                  <a:gd name="T99" fmla="*/ 283 h 438"/>
                  <a:gd name="T100" fmla="*/ 432 w 565"/>
                  <a:gd name="T101" fmla="*/ 264 h 438"/>
                  <a:gd name="T102" fmla="*/ 449 w 565"/>
                  <a:gd name="T103" fmla="*/ 257 h 438"/>
                  <a:gd name="T104" fmla="*/ 439 w 565"/>
                  <a:gd name="T105" fmla="*/ 245 h 438"/>
                  <a:gd name="T106" fmla="*/ 438 w 565"/>
                  <a:gd name="T107" fmla="*/ 221 h 438"/>
                  <a:gd name="T108" fmla="*/ 475 w 565"/>
                  <a:gd name="T109" fmla="*/ 215 h 438"/>
                  <a:gd name="T110" fmla="*/ 480 w 565"/>
                  <a:gd name="T111" fmla="*/ 200 h 438"/>
                  <a:gd name="T112" fmla="*/ 493 w 565"/>
                  <a:gd name="T113" fmla="*/ 202 h 438"/>
                  <a:gd name="T114" fmla="*/ 501 w 565"/>
                  <a:gd name="T115" fmla="*/ 195 h 438"/>
                  <a:gd name="T116" fmla="*/ 515 w 565"/>
                  <a:gd name="T117" fmla="*/ 201 h 438"/>
                  <a:gd name="T118" fmla="*/ 553 w 565"/>
                  <a:gd name="T119" fmla="*/ 196 h 438"/>
                  <a:gd name="T120" fmla="*/ 554 w 565"/>
                  <a:gd name="T121" fmla="*/ 186 h 438"/>
                  <a:gd name="T122" fmla="*/ 565 w 565"/>
                  <a:gd name="T123" fmla="*/ 177 h 438"/>
                  <a:gd name="T124" fmla="*/ 547 w 565"/>
                  <a:gd name="T125" fmla="*/ 165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5" h="438">
                    <a:moveTo>
                      <a:pt x="547" y="165"/>
                    </a:moveTo>
                    <a:cubicBezTo>
                      <a:pt x="550" y="145"/>
                      <a:pt x="550" y="145"/>
                      <a:pt x="550" y="145"/>
                    </a:cubicBezTo>
                    <a:cubicBezTo>
                      <a:pt x="536" y="145"/>
                      <a:pt x="536" y="145"/>
                      <a:pt x="536" y="145"/>
                    </a:cubicBezTo>
                    <a:cubicBezTo>
                      <a:pt x="543" y="124"/>
                      <a:pt x="543" y="124"/>
                      <a:pt x="543" y="124"/>
                    </a:cubicBezTo>
                    <a:cubicBezTo>
                      <a:pt x="537" y="113"/>
                      <a:pt x="537" y="113"/>
                      <a:pt x="537" y="113"/>
                    </a:cubicBezTo>
                    <a:cubicBezTo>
                      <a:pt x="540" y="68"/>
                      <a:pt x="540" y="68"/>
                      <a:pt x="540" y="68"/>
                    </a:cubicBezTo>
                    <a:cubicBezTo>
                      <a:pt x="532" y="68"/>
                      <a:pt x="532" y="68"/>
                      <a:pt x="532" y="68"/>
                    </a:cubicBezTo>
                    <a:cubicBezTo>
                      <a:pt x="532" y="68"/>
                      <a:pt x="536" y="57"/>
                      <a:pt x="536" y="56"/>
                    </a:cubicBezTo>
                    <a:cubicBezTo>
                      <a:pt x="526" y="52"/>
                      <a:pt x="522" y="43"/>
                      <a:pt x="521" y="39"/>
                    </a:cubicBezTo>
                    <a:cubicBezTo>
                      <a:pt x="508" y="36"/>
                      <a:pt x="496" y="26"/>
                      <a:pt x="487" y="26"/>
                    </a:cubicBezTo>
                    <a:cubicBezTo>
                      <a:pt x="477" y="26"/>
                      <a:pt x="470" y="34"/>
                      <a:pt x="470" y="34"/>
                    </a:cubicBezTo>
                    <a:cubicBezTo>
                      <a:pt x="470" y="34"/>
                      <a:pt x="447" y="29"/>
                      <a:pt x="439" y="29"/>
                    </a:cubicBezTo>
                    <a:cubicBezTo>
                      <a:pt x="431" y="29"/>
                      <a:pt x="423" y="38"/>
                      <a:pt x="408" y="33"/>
                    </a:cubicBezTo>
                    <a:cubicBezTo>
                      <a:pt x="393" y="28"/>
                      <a:pt x="378" y="4"/>
                      <a:pt x="374" y="2"/>
                    </a:cubicBezTo>
                    <a:cubicBezTo>
                      <a:pt x="370" y="0"/>
                      <a:pt x="354" y="0"/>
                      <a:pt x="354" y="0"/>
                    </a:cubicBezTo>
                    <a:cubicBezTo>
                      <a:pt x="354" y="0"/>
                      <a:pt x="343" y="35"/>
                      <a:pt x="337" y="48"/>
                    </a:cubicBezTo>
                    <a:cubicBezTo>
                      <a:pt x="331" y="61"/>
                      <a:pt x="312" y="98"/>
                      <a:pt x="300" y="107"/>
                    </a:cubicBezTo>
                    <a:cubicBezTo>
                      <a:pt x="288" y="116"/>
                      <a:pt x="272" y="112"/>
                      <a:pt x="267" y="116"/>
                    </a:cubicBezTo>
                    <a:cubicBezTo>
                      <a:pt x="262" y="120"/>
                      <a:pt x="251" y="131"/>
                      <a:pt x="251" y="131"/>
                    </a:cubicBezTo>
                    <a:cubicBezTo>
                      <a:pt x="239" y="128"/>
                      <a:pt x="239" y="128"/>
                      <a:pt x="239" y="128"/>
                    </a:cubicBezTo>
                    <a:cubicBezTo>
                      <a:pt x="222" y="137"/>
                      <a:pt x="222" y="137"/>
                      <a:pt x="222" y="137"/>
                    </a:cubicBezTo>
                    <a:cubicBezTo>
                      <a:pt x="222" y="137"/>
                      <a:pt x="217" y="150"/>
                      <a:pt x="211" y="158"/>
                    </a:cubicBezTo>
                    <a:cubicBezTo>
                      <a:pt x="211" y="158"/>
                      <a:pt x="191" y="170"/>
                      <a:pt x="191" y="174"/>
                    </a:cubicBezTo>
                    <a:cubicBezTo>
                      <a:pt x="191" y="178"/>
                      <a:pt x="195" y="192"/>
                      <a:pt x="188" y="199"/>
                    </a:cubicBezTo>
                    <a:cubicBezTo>
                      <a:pt x="181" y="206"/>
                      <a:pt x="164" y="230"/>
                      <a:pt x="165" y="244"/>
                    </a:cubicBezTo>
                    <a:cubicBezTo>
                      <a:pt x="166" y="258"/>
                      <a:pt x="166" y="269"/>
                      <a:pt x="166" y="269"/>
                    </a:cubicBezTo>
                    <a:cubicBezTo>
                      <a:pt x="166" y="269"/>
                      <a:pt x="158" y="273"/>
                      <a:pt x="158" y="276"/>
                    </a:cubicBezTo>
                    <a:cubicBezTo>
                      <a:pt x="158" y="279"/>
                      <a:pt x="173" y="277"/>
                      <a:pt x="170" y="292"/>
                    </a:cubicBezTo>
                    <a:cubicBezTo>
                      <a:pt x="167" y="307"/>
                      <a:pt x="169" y="316"/>
                      <a:pt x="169" y="316"/>
                    </a:cubicBezTo>
                    <a:cubicBezTo>
                      <a:pt x="169" y="316"/>
                      <a:pt x="163" y="310"/>
                      <a:pt x="154" y="321"/>
                    </a:cubicBezTo>
                    <a:cubicBezTo>
                      <a:pt x="145" y="332"/>
                      <a:pt x="138" y="348"/>
                      <a:pt x="130" y="359"/>
                    </a:cubicBezTo>
                    <a:cubicBezTo>
                      <a:pt x="122" y="370"/>
                      <a:pt x="108" y="366"/>
                      <a:pt x="101" y="376"/>
                    </a:cubicBezTo>
                    <a:cubicBezTo>
                      <a:pt x="94" y="386"/>
                      <a:pt x="86" y="398"/>
                      <a:pt x="80" y="404"/>
                    </a:cubicBezTo>
                    <a:cubicBezTo>
                      <a:pt x="74" y="410"/>
                      <a:pt x="36" y="420"/>
                      <a:pt x="32" y="421"/>
                    </a:cubicBezTo>
                    <a:cubicBezTo>
                      <a:pt x="28" y="422"/>
                      <a:pt x="9" y="423"/>
                      <a:pt x="9" y="423"/>
                    </a:cubicBezTo>
                    <a:cubicBezTo>
                      <a:pt x="9" y="423"/>
                      <a:pt x="4" y="429"/>
                      <a:pt x="0" y="438"/>
                    </a:cubicBezTo>
                    <a:cubicBezTo>
                      <a:pt x="207" y="438"/>
                      <a:pt x="207" y="438"/>
                      <a:pt x="207" y="438"/>
                    </a:cubicBezTo>
                    <a:cubicBezTo>
                      <a:pt x="209" y="399"/>
                      <a:pt x="209" y="399"/>
                      <a:pt x="209" y="399"/>
                    </a:cubicBezTo>
                    <a:cubicBezTo>
                      <a:pt x="212" y="381"/>
                      <a:pt x="212" y="381"/>
                      <a:pt x="212" y="381"/>
                    </a:cubicBezTo>
                    <a:cubicBezTo>
                      <a:pt x="212" y="381"/>
                      <a:pt x="225" y="374"/>
                      <a:pt x="232" y="369"/>
                    </a:cubicBezTo>
                    <a:cubicBezTo>
                      <a:pt x="239" y="364"/>
                      <a:pt x="253" y="344"/>
                      <a:pt x="253" y="344"/>
                    </a:cubicBezTo>
                    <a:cubicBezTo>
                      <a:pt x="265" y="345"/>
                      <a:pt x="265" y="345"/>
                      <a:pt x="265" y="345"/>
                    </a:cubicBezTo>
                    <a:cubicBezTo>
                      <a:pt x="283" y="331"/>
                      <a:pt x="283" y="331"/>
                      <a:pt x="283" y="331"/>
                    </a:cubicBezTo>
                    <a:cubicBezTo>
                      <a:pt x="283" y="331"/>
                      <a:pt x="296" y="340"/>
                      <a:pt x="302" y="339"/>
                    </a:cubicBezTo>
                    <a:cubicBezTo>
                      <a:pt x="308" y="338"/>
                      <a:pt x="308" y="326"/>
                      <a:pt x="308" y="326"/>
                    </a:cubicBezTo>
                    <a:cubicBezTo>
                      <a:pt x="326" y="325"/>
                      <a:pt x="326" y="325"/>
                      <a:pt x="326" y="325"/>
                    </a:cubicBezTo>
                    <a:cubicBezTo>
                      <a:pt x="327" y="317"/>
                      <a:pt x="327" y="317"/>
                      <a:pt x="327" y="317"/>
                    </a:cubicBezTo>
                    <a:cubicBezTo>
                      <a:pt x="327" y="317"/>
                      <a:pt x="353" y="321"/>
                      <a:pt x="361" y="318"/>
                    </a:cubicBezTo>
                    <a:cubicBezTo>
                      <a:pt x="369" y="315"/>
                      <a:pt x="384" y="284"/>
                      <a:pt x="384" y="284"/>
                    </a:cubicBezTo>
                    <a:cubicBezTo>
                      <a:pt x="384" y="284"/>
                      <a:pt x="408" y="283"/>
                      <a:pt x="414" y="283"/>
                    </a:cubicBezTo>
                    <a:cubicBezTo>
                      <a:pt x="420" y="283"/>
                      <a:pt x="432" y="264"/>
                      <a:pt x="432" y="264"/>
                    </a:cubicBezTo>
                    <a:cubicBezTo>
                      <a:pt x="449" y="257"/>
                      <a:pt x="449" y="257"/>
                      <a:pt x="449" y="257"/>
                    </a:cubicBezTo>
                    <a:cubicBezTo>
                      <a:pt x="439" y="245"/>
                      <a:pt x="439" y="245"/>
                      <a:pt x="439" y="245"/>
                    </a:cubicBezTo>
                    <a:cubicBezTo>
                      <a:pt x="439" y="245"/>
                      <a:pt x="430" y="228"/>
                      <a:pt x="438" y="221"/>
                    </a:cubicBezTo>
                    <a:cubicBezTo>
                      <a:pt x="446" y="214"/>
                      <a:pt x="468" y="220"/>
                      <a:pt x="475" y="215"/>
                    </a:cubicBezTo>
                    <a:cubicBezTo>
                      <a:pt x="482" y="210"/>
                      <a:pt x="475" y="203"/>
                      <a:pt x="480" y="200"/>
                    </a:cubicBezTo>
                    <a:cubicBezTo>
                      <a:pt x="485" y="197"/>
                      <a:pt x="493" y="202"/>
                      <a:pt x="493" y="202"/>
                    </a:cubicBezTo>
                    <a:cubicBezTo>
                      <a:pt x="493" y="202"/>
                      <a:pt x="497" y="195"/>
                      <a:pt x="501" y="195"/>
                    </a:cubicBezTo>
                    <a:cubicBezTo>
                      <a:pt x="505" y="195"/>
                      <a:pt x="515" y="201"/>
                      <a:pt x="515" y="201"/>
                    </a:cubicBezTo>
                    <a:cubicBezTo>
                      <a:pt x="553" y="196"/>
                      <a:pt x="553" y="196"/>
                      <a:pt x="553" y="196"/>
                    </a:cubicBezTo>
                    <a:cubicBezTo>
                      <a:pt x="553" y="196"/>
                      <a:pt x="552" y="189"/>
                      <a:pt x="554" y="186"/>
                    </a:cubicBezTo>
                    <a:cubicBezTo>
                      <a:pt x="556" y="183"/>
                      <a:pt x="565" y="177"/>
                      <a:pt x="565" y="177"/>
                    </a:cubicBezTo>
                    <a:lnTo>
                      <a:pt x="547" y="165"/>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34" name="Mayotte Island">
                <a:extLst>
                  <a:ext uri="{FF2B5EF4-FFF2-40B4-BE49-F238E27FC236}">
                    <a16:creationId xmlns:a16="http://schemas.microsoft.com/office/drawing/2014/main" id="{75B12E4D-187C-4D26-A0B2-E7CE1F76D56B}"/>
                  </a:ext>
                </a:extLst>
              </p:cNvPr>
              <p:cNvSpPr>
                <a:spLocks/>
              </p:cNvSpPr>
              <p:nvPr/>
            </p:nvSpPr>
            <p:spPr bwMode="gray">
              <a:xfrm>
                <a:off x="8246003" y="4929557"/>
                <a:ext cx="40836" cy="40848"/>
              </a:xfrm>
              <a:custGeom>
                <a:avLst/>
                <a:gdLst/>
                <a:ahLst/>
                <a:cxnLst>
                  <a:cxn ang="0">
                    <a:pos x="9" y="9"/>
                  </a:cxn>
                  <a:cxn ang="0">
                    <a:pos x="9" y="9"/>
                  </a:cxn>
                  <a:cxn ang="0">
                    <a:pos x="9" y="5"/>
                  </a:cxn>
                  <a:cxn ang="0">
                    <a:pos x="4" y="5"/>
                  </a:cxn>
                  <a:cxn ang="0">
                    <a:pos x="0" y="0"/>
                  </a:cxn>
                  <a:cxn ang="0">
                    <a:pos x="4" y="9"/>
                  </a:cxn>
                  <a:cxn ang="0">
                    <a:pos x="9" y="9"/>
                  </a:cxn>
                </a:cxnLst>
                <a:rect l="0" t="0" r="r" b="b"/>
                <a:pathLst>
                  <a:path w="9" h="9">
                    <a:moveTo>
                      <a:pt x="9" y="9"/>
                    </a:moveTo>
                    <a:lnTo>
                      <a:pt x="9" y="9"/>
                    </a:lnTo>
                    <a:lnTo>
                      <a:pt x="9" y="5"/>
                    </a:lnTo>
                    <a:lnTo>
                      <a:pt x="4" y="5"/>
                    </a:lnTo>
                    <a:lnTo>
                      <a:pt x="0" y="0"/>
                    </a:lnTo>
                    <a:lnTo>
                      <a:pt x="4" y="9"/>
                    </a:lnTo>
                    <a:lnTo>
                      <a:pt x="9" y="9"/>
                    </a:lnTo>
                    <a:close/>
                  </a:path>
                </a:pathLst>
              </a:custGeom>
              <a:solidFill>
                <a:srgbClr val="DEDEDE"/>
              </a:solidFill>
              <a:ln w="9525" cmpd="sng">
                <a:solidFill>
                  <a:schemeClr val="bg1"/>
                </a:solidFill>
                <a:round/>
                <a:headEnd/>
                <a:tailEnd/>
              </a:ln>
            </p:spPr>
            <p:txBody>
              <a:bodyPr/>
              <a:lstStyle/>
              <a:p>
                <a:endParaRPr lang="en-US" sz="1662" dirty="0"/>
              </a:p>
            </p:txBody>
          </p:sp>
          <p:sp>
            <p:nvSpPr>
              <p:cNvPr id="235" name="Mauritius">
                <a:extLst>
                  <a:ext uri="{FF2B5EF4-FFF2-40B4-BE49-F238E27FC236}">
                    <a16:creationId xmlns:a16="http://schemas.microsoft.com/office/drawing/2014/main" id="{D2ED794A-CC5E-49E2-A440-B636408E4A12}"/>
                  </a:ext>
                </a:extLst>
              </p:cNvPr>
              <p:cNvSpPr>
                <a:spLocks/>
              </p:cNvSpPr>
              <p:nvPr/>
            </p:nvSpPr>
            <p:spPr bwMode="gray">
              <a:xfrm>
                <a:off x="9000431" y="5461406"/>
                <a:ext cx="40836" cy="59003"/>
              </a:xfrm>
              <a:custGeom>
                <a:avLst/>
                <a:gdLst/>
                <a:ahLst/>
                <a:cxnLst>
                  <a:cxn ang="0">
                    <a:pos x="0" y="13"/>
                  </a:cxn>
                  <a:cxn ang="0">
                    <a:pos x="9" y="4"/>
                  </a:cxn>
                  <a:cxn ang="0">
                    <a:pos x="4" y="0"/>
                  </a:cxn>
                  <a:cxn ang="0">
                    <a:pos x="0" y="0"/>
                  </a:cxn>
                  <a:cxn ang="0">
                    <a:pos x="0" y="4"/>
                  </a:cxn>
                  <a:cxn ang="0">
                    <a:pos x="0" y="13"/>
                  </a:cxn>
                  <a:cxn ang="0">
                    <a:pos x="0" y="13"/>
                  </a:cxn>
                </a:cxnLst>
                <a:rect l="0" t="0" r="r" b="b"/>
                <a:pathLst>
                  <a:path w="9" h="13">
                    <a:moveTo>
                      <a:pt x="0" y="13"/>
                    </a:moveTo>
                    <a:lnTo>
                      <a:pt x="9" y="4"/>
                    </a:lnTo>
                    <a:lnTo>
                      <a:pt x="4" y="0"/>
                    </a:lnTo>
                    <a:lnTo>
                      <a:pt x="0" y="0"/>
                    </a:lnTo>
                    <a:lnTo>
                      <a:pt x="0" y="4"/>
                    </a:lnTo>
                    <a:lnTo>
                      <a:pt x="0" y="13"/>
                    </a:lnTo>
                    <a:lnTo>
                      <a:pt x="0" y="13"/>
                    </a:lnTo>
                    <a:close/>
                  </a:path>
                </a:pathLst>
              </a:custGeom>
              <a:solidFill>
                <a:srgbClr val="DEDEDE"/>
              </a:solidFill>
              <a:ln w="9525" cmpd="sng">
                <a:solidFill>
                  <a:schemeClr val="bg1"/>
                </a:solidFill>
                <a:round/>
                <a:headEnd/>
                <a:tailEnd/>
              </a:ln>
            </p:spPr>
            <p:txBody>
              <a:bodyPr/>
              <a:lstStyle/>
              <a:p>
                <a:endParaRPr lang="en-US" sz="1662" dirty="0"/>
              </a:p>
            </p:txBody>
          </p:sp>
          <p:sp>
            <p:nvSpPr>
              <p:cNvPr id="236" name="Mauritania">
                <a:extLst>
                  <a:ext uri="{FF2B5EF4-FFF2-40B4-BE49-F238E27FC236}">
                    <a16:creationId xmlns:a16="http://schemas.microsoft.com/office/drawing/2014/main" id="{93D76013-9D18-4ADA-9DAD-0180EF073DFA}"/>
                  </a:ext>
                </a:extLst>
              </p:cNvPr>
              <p:cNvSpPr>
                <a:spLocks/>
              </p:cNvSpPr>
              <p:nvPr/>
            </p:nvSpPr>
            <p:spPr bwMode="gray">
              <a:xfrm>
                <a:off x="3461031" y="2116947"/>
                <a:ext cx="950265" cy="887400"/>
              </a:xfrm>
              <a:custGeom>
                <a:avLst/>
                <a:gdLst>
                  <a:gd name="T0" fmla="*/ 0 w 572"/>
                  <a:gd name="T1" fmla="*/ 332 h 670"/>
                  <a:gd name="T2" fmla="*/ 11 w 572"/>
                  <a:gd name="T3" fmla="*/ 336 h 670"/>
                  <a:gd name="T4" fmla="*/ 15 w 572"/>
                  <a:gd name="T5" fmla="*/ 357 h 670"/>
                  <a:gd name="T6" fmla="*/ 24 w 572"/>
                  <a:gd name="T7" fmla="*/ 349 h 670"/>
                  <a:gd name="T8" fmla="*/ 32 w 572"/>
                  <a:gd name="T9" fmla="*/ 372 h 670"/>
                  <a:gd name="T10" fmla="*/ 30 w 572"/>
                  <a:gd name="T11" fmla="*/ 403 h 670"/>
                  <a:gd name="T12" fmla="*/ 21 w 572"/>
                  <a:gd name="T13" fmla="*/ 403 h 670"/>
                  <a:gd name="T14" fmla="*/ 24 w 572"/>
                  <a:gd name="T15" fmla="*/ 417 h 670"/>
                  <a:gd name="T16" fmla="*/ 16 w 572"/>
                  <a:gd name="T17" fmla="*/ 423 h 670"/>
                  <a:gd name="T18" fmla="*/ 39 w 572"/>
                  <a:gd name="T19" fmla="*/ 470 h 670"/>
                  <a:gd name="T20" fmla="*/ 33 w 572"/>
                  <a:gd name="T21" fmla="*/ 509 h 670"/>
                  <a:gd name="T22" fmla="*/ 31 w 572"/>
                  <a:gd name="T23" fmla="*/ 538 h 670"/>
                  <a:gd name="T24" fmla="*/ 12 w 572"/>
                  <a:gd name="T25" fmla="*/ 570 h 670"/>
                  <a:gd name="T26" fmla="*/ 10 w 572"/>
                  <a:gd name="T27" fmla="*/ 605 h 670"/>
                  <a:gd name="T28" fmla="*/ 28 w 572"/>
                  <a:gd name="T29" fmla="*/ 573 h 670"/>
                  <a:gd name="T30" fmla="*/ 47 w 572"/>
                  <a:gd name="T31" fmla="*/ 575 h 670"/>
                  <a:gd name="T32" fmla="*/ 55 w 572"/>
                  <a:gd name="T33" fmla="*/ 571 h 670"/>
                  <a:gd name="T34" fmla="*/ 78 w 572"/>
                  <a:gd name="T35" fmla="*/ 572 h 670"/>
                  <a:gd name="T36" fmla="*/ 78 w 572"/>
                  <a:gd name="T37" fmla="*/ 562 h 670"/>
                  <a:gd name="T38" fmla="*/ 91 w 572"/>
                  <a:gd name="T39" fmla="*/ 569 h 670"/>
                  <a:gd name="T40" fmla="*/ 115 w 572"/>
                  <a:gd name="T41" fmla="*/ 572 h 670"/>
                  <a:gd name="T42" fmla="*/ 136 w 572"/>
                  <a:gd name="T43" fmla="*/ 596 h 670"/>
                  <a:gd name="T44" fmla="*/ 157 w 572"/>
                  <a:gd name="T45" fmla="*/ 593 h 670"/>
                  <a:gd name="T46" fmla="*/ 165 w 572"/>
                  <a:gd name="T47" fmla="*/ 630 h 670"/>
                  <a:gd name="T48" fmla="*/ 179 w 572"/>
                  <a:gd name="T49" fmla="*/ 632 h 670"/>
                  <a:gd name="T50" fmla="*/ 182 w 572"/>
                  <a:gd name="T51" fmla="*/ 648 h 670"/>
                  <a:gd name="T52" fmla="*/ 199 w 572"/>
                  <a:gd name="T53" fmla="*/ 654 h 670"/>
                  <a:gd name="T54" fmla="*/ 208 w 572"/>
                  <a:gd name="T55" fmla="*/ 668 h 670"/>
                  <a:gd name="T56" fmla="*/ 228 w 572"/>
                  <a:gd name="T57" fmla="*/ 667 h 670"/>
                  <a:gd name="T58" fmla="*/ 232 w 572"/>
                  <a:gd name="T59" fmla="*/ 653 h 670"/>
                  <a:gd name="T60" fmla="*/ 247 w 572"/>
                  <a:gd name="T61" fmla="*/ 625 h 670"/>
                  <a:gd name="T62" fmla="*/ 272 w 572"/>
                  <a:gd name="T63" fmla="*/ 650 h 670"/>
                  <a:gd name="T64" fmla="*/ 282 w 572"/>
                  <a:gd name="T65" fmla="*/ 633 h 670"/>
                  <a:gd name="T66" fmla="*/ 304 w 572"/>
                  <a:gd name="T67" fmla="*/ 633 h 670"/>
                  <a:gd name="T68" fmla="*/ 310 w 572"/>
                  <a:gd name="T69" fmla="*/ 639 h 670"/>
                  <a:gd name="T70" fmla="*/ 335 w 572"/>
                  <a:gd name="T71" fmla="*/ 635 h 670"/>
                  <a:gd name="T72" fmla="*/ 345 w 572"/>
                  <a:gd name="T73" fmla="*/ 621 h 670"/>
                  <a:gd name="T74" fmla="*/ 349 w 572"/>
                  <a:gd name="T75" fmla="*/ 631 h 670"/>
                  <a:gd name="T76" fmla="*/ 526 w 572"/>
                  <a:gd name="T77" fmla="*/ 628 h 670"/>
                  <a:gd name="T78" fmla="*/ 531 w 572"/>
                  <a:gd name="T79" fmla="*/ 601 h 670"/>
                  <a:gd name="T80" fmla="*/ 536 w 572"/>
                  <a:gd name="T81" fmla="*/ 590 h 670"/>
                  <a:gd name="T82" fmla="*/ 522 w 572"/>
                  <a:gd name="T83" fmla="*/ 577 h 670"/>
                  <a:gd name="T84" fmla="*/ 491 w 572"/>
                  <a:gd name="T85" fmla="*/ 118 h 670"/>
                  <a:gd name="T86" fmla="*/ 572 w 572"/>
                  <a:gd name="T87" fmla="*/ 121 h 670"/>
                  <a:gd name="T88" fmla="*/ 399 w 572"/>
                  <a:gd name="T89" fmla="*/ 0 h 670"/>
                  <a:gd name="T90" fmla="*/ 397 w 572"/>
                  <a:gd name="T91" fmla="*/ 34 h 670"/>
                  <a:gd name="T92" fmla="*/ 392 w 572"/>
                  <a:gd name="T93" fmla="*/ 38 h 670"/>
                  <a:gd name="T94" fmla="*/ 391 w 572"/>
                  <a:gd name="T95" fmla="*/ 63 h 670"/>
                  <a:gd name="T96" fmla="*/ 243 w 572"/>
                  <a:gd name="T97" fmla="*/ 64 h 670"/>
                  <a:gd name="T98" fmla="*/ 243 w 572"/>
                  <a:gd name="T99" fmla="*/ 74 h 670"/>
                  <a:gd name="T100" fmla="*/ 238 w 572"/>
                  <a:gd name="T101" fmla="*/ 77 h 670"/>
                  <a:gd name="T102" fmla="*/ 235 w 572"/>
                  <a:gd name="T103" fmla="*/ 207 h 670"/>
                  <a:gd name="T104" fmla="*/ 208 w 572"/>
                  <a:gd name="T105" fmla="*/ 212 h 670"/>
                  <a:gd name="T106" fmla="*/ 189 w 572"/>
                  <a:gd name="T107" fmla="*/ 223 h 670"/>
                  <a:gd name="T108" fmla="*/ 187 w 572"/>
                  <a:gd name="T109" fmla="*/ 248 h 670"/>
                  <a:gd name="T110" fmla="*/ 186 w 572"/>
                  <a:gd name="T111" fmla="*/ 317 h 670"/>
                  <a:gd name="T112" fmla="*/ 0 w 572"/>
                  <a:gd name="T113" fmla="*/ 319 h 670"/>
                  <a:gd name="T114" fmla="*/ 0 w 572"/>
                  <a:gd name="T115" fmla="*/ 319 h 670"/>
                  <a:gd name="T116" fmla="*/ 0 w 572"/>
                  <a:gd name="T117" fmla="*/ 332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2" h="670">
                    <a:moveTo>
                      <a:pt x="0" y="332"/>
                    </a:moveTo>
                    <a:cubicBezTo>
                      <a:pt x="0" y="332"/>
                      <a:pt x="11" y="331"/>
                      <a:pt x="11" y="336"/>
                    </a:cubicBezTo>
                    <a:cubicBezTo>
                      <a:pt x="11" y="341"/>
                      <a:pt x="11" y="354"/>
                      <a:pt x="15" y="357"/>
                    </a:cubicBezTo>
                    <a:cubicBezTo>
                      <a:pt x="19" y="360"/>
                      <a:pt x="24" y="349"/>
                      <a:pt x="24" y="349"/>
                    </a:cubicBezTo>
                    <a:cubicBezTo>
                      <a:pt x="32" y="372"/>
                      <a:pt x="32" y="372"/>
                      <a:pt x="32" y="372"/>
                    </a:cubicBezTo>
                    <a:cubicBezTo>
                      <a:pt x="30" y="403"/>
                      <a:pt x="30" y="403"/>
                      <a:pt x="30" y="403"/>
                    </a:cubicBezTo>
                    <a:cubicBezTo>
                      <a:pt x="21" y="403"/>
                      <a:pt x="21" y="403"/>
                      <a:pt x="21" y="403"/>
                    </a:cubicBezTo>
                    <a:cubicBezTo>
                      <a:pt x="24" y="417"/>
                      <a:pt x="24" y="417"/>
                      <a:pt x="24" y="417"/>
                    </a:cubicBezTo>
                    <a:cubicBezTo>
                      <a:pt x="16" y="423"/>
                      <a:pt x="16" y="423"/>
                      <a:pt x="16" y="423"/>
                    </a:cubicBezTo>
                    <a:cubicBezTo>
                      <a:pt x="16" y="423"/>
                      <a:pt x="39" y="452"/>
                      <a:pt x="39" y="470"/>
                    </a:cubicBezTo>
                    <a:cubicBezTo>
                      <a:pt x="39" y="488"/>
                      <a:pt x="33" y="509"/>
                      <a:pt x="33" y="509"/>
                    </a:cubicBezTo>
                    <a:cubicBezTo>
                      <a:pt x="31" y="538"/>
                      <a:pt x="31" y="538"/>
                      <a:pt x="31" y="538"/>
                    </a:cubicBezTo>
                    <a:cubicBezTo>
                      <a:pt x="31" y="538"/>
                      <a:pt x="15" y="555"/>
                      <a:pt x="12" y="570"/>
                    </a:cubicBezTo>
                    <a:cubicBezTo>
                      <a:pt x="10" y="579"/>
                      <a:pt x="10" y="594"/>
                      <a:pt x="10" y="605"/>
                    </a:cubicBezTo>
                    <a:cubicBezTo>
                      <a:pt x="22" y="603"/>
                      <a:pt x="19" y="579"/>
                      <a:pt x="28" y="573"/>
                    </a:cubicBezTo>
                    <a:cubicBezTo>
                      <a:pt x="37" y="567"/>
                      <a:pt x="47" y="575"/>
                      <a:pt x="47" y="575"/>
                    </a:cubicBezTo>
                    <a:cubicBezTo>
                      <a:pt x="55" y="571"/>
                      <a:pt x="55" y="571"/>
                      <a:pt x="55" y="571"/>
                    </a:cubicBezTo>
                    <a:cubicBezTo>
                      <a:pt x="78" y="572"/>
                      <a:pt x="78" y="572"/>
                      <a:pt x="78" y="572"/>
                    </a:cubicBezTo>
                    <a:cubicBezTo>
                      <a:pt x="78" y="562"/>
                      <a:pt x="78" y="562"/>
                      <a:pt x="78" y="562"/>
                    </a:cubicBezTo>
                    <a:cubicBezTo>
                      <a:pt x="91" y="569"/>
                      <a:pt x="91" y="569"/>
                      <a:pt x="91" y="569"/>
                    </a:cubicBezTo>
                    <a:cubicBezTo>
                      <a:pt x="91" y="569"/>
                      <a:pt x="105" y="570"/>
                      <a:pt x="115" y="572"/>
                    </a:cubicBezTo>
                    <a:cubicBezTo>
                      <a:pt x="125" y="574"/>
                      <a:pt x="136" y="596"/>
                      <a:pt x="136" y="596"/>
                    </a:cubicBezTo>
                    <a:cubicBezTo>
                      <a:pt x="136" y="596"/>
                      <a:pt x="150" y="592"/>
                      <a:pt x="157" y="593"/>
                    </a:cubicBezTo>
                    <a:cubicBezTo>
                      <a:pt x="164" y="594"/>
                      <a:pt x="165" y="630"/>
                      <a:pt x="165" y="630"/>
                    </a:cubicBezTo>
                    <a:cubicBezTo>
                      <a:pt x="165" y="630"/>
                      <a:pt x="176" y="631"/>
                      <a:pt x="179" y="632"/>
                    </a:cubicBezTo>
                    <a:cubicBezTo>
                      <a:pt x="182" y="633"/>
                      <a:pt x="182" y="648"/>
                      <a:pt x="182" y="648"/>
                    </a:cubicBezTo>
                    <a:cubicBezTo>
                      <a:pt x="199" y="654"/>
                      <a:pt x="199" y="654"/>
                      <a:pt x="199" y="654"/>
                    </a:cubicBezTo>
                    <a:cubicBezTo>
                      <a:pt x="208" y="668"/>
                      <a:pt x="208" y="668"/>
                      <a:pt x="208" y="668"/>
                    </a:cubicBezTo>
                    <a:cubicBezTo>
                      <a:pt x="208" y="668"/>
                      <a:pt x="220" y="670"/>
                      <a:pt x="228" y="667"/>
                    </a:cubicBezTo>
                    <a:cubicBezTo>
                      <a:pt x="236" y="664"/>
                      <a:pt x="233" y="654"/>
                      <a:pt x="232" y="653"/>
                    </a:cubicBezTo>
                    <a:cubicBezTo>
                      <a:pt x="232" y="634"/>
                      <a:pt x="234" y="625"/>
                      <a:pt x="247" y="625"/>
                    </a:cubicBezTo>
                    <a:cubicBezTo>
                      <a:pt x="260" y="625"/>
                      <a:pt x="272" y="650"/>
                      <a:pt x="272" y="650"/>
                    </a:cubicBezTo>
                    <a:cubicBezTo>
                      <a:pt x="282" y="633"/>
                      <a:pt x="282" y="633"/>
                      <a:pt x="282" y="633"/>
                    </a:cubicBezTo>
                    <a:cubicBezTo>
                      <a:pt x="304" y="633"/>
                      <a:pt x="304" y="633"/>
                      <a:pt x="304" y="633"/>
                    </a:cubicBezTo>
                    <a:cubicBezTo>
                      <a:pt x="310" y="639"/>
                      <a:pt x="310" y="639"/>
                      <a:pt x="310" y="639"/>
                    </a:cubicBezTo>
                    <a:cubicBezTo>
                      <a:pt x="310" y="639"/>
                      <a:pt x="327" y="636"/>
                      <a:pt x="335" y="635"/>
                    </a:cubicBezTo>
                    <a:cubicBezTo>
                      <a:pt x="343" y="634"/>
                      <a:pt x="341" y="622"/>
                      <a:pt x="345" y="621"/>
                    </a:cubicBezTo>
                    <a:cubicBezTo>
                      <a:pt x="349" y="620"/>
                      <a:pt x="349" y="631"/>
                      <a:pt x="349" y="631"/>
                    </a:cubicBezTo>
                    <a:cubicBezTo>
                      <a:pt x="526" y="628"/>
                      <a:pt x="526" y="628"/>
                      <a:pt x="526" y="628"/>
                    </a:cubicBezTo>
                    <a:cubicBezTo>
                      <a:pt x="531" y="601"/>
                      <a:pt x="531" y="601"/>
                      <a:pt x="531" y="601"/>
                    </a:cubicBezTo>
                    <a:cubicBezTo>
                      <a:pt x="531" y="601"/>
                      <a:pt x="537" y="597"/>
                      <a:pt x="536" y="590"/>
                    </a:cubicBezTo>
                    <a:cubicBezTo>
                      <a:pt x="535" y="583"/>
                      <a:pt x="522" y="577"/>
                      <a:pt x="522" y="577"/>
                    </a:cubicBezTo>
                    <a:cubicBezTo>
                      <a:pt x="491" y="118"/>
                      <a:pt x="491" y="118"/>
                      <a:pt x="491" y="118"/>
                    </a:cubicBezTo>
                    <a:cubicBezTo>
                      <a:pt x="572" y="121"/>
                      <a:pt x="572" y="121"/>
                      <a:pt x="572" y="121"/>
                    </a:cubicBezTo>
                    <a:cubicBezTo>
                      <a:pt x="399" y="0"/>
                      <a:pt x="399" y="0"/>
                      <a:pt x="399" y="0"/>
                    </a:cubicBezTo>
                    <a:cubicBezTo>
                      <a:pt x="397" y="34"/>
                      <a:pt x="397" y="34"/>
                      <a:pt x="397" y="34"/>
                    </a:cubicBezTo>
                    <a:cubicBezTo>
                      <a:pt x="392" y="38"/>
                      <a:pt x="392" y="38"/>
                      <a:pt x="392" y="38"/>
                    </a:cubicBezTo>
                    <a:cubicBezTo>
                      <a:pt x="391" y="63"/>
                      <a:pt x="391" y="63"/>
                      <a:pt x="391" y="63"/>
                    </a:cubicBezTo>
                    <a:cubicBezTo>
                      <a:pt x="243" y="64"/>
                      <a:pt x="243" y="64"/>
                      <a:pt x="243" y="64"/>
                    </a:cubicBezTo>
                    <a:cubicBezTo>
                      <a:pt x="243" y="74"/>
                      <a:pt x="243" y="74"/>
                      <a:pt x="243" y="74"/>
                    </a:cubicBezTo>
                    <a:cubicBezTo>
                      <a:pt x="238" y="77"/>
                      <a:pt x="238" y="77"/>
                      <a:pt x="238" y="77"/>
                    </a:cubicBezTo>
                    <a:cubicBezTo>
                      <a:pt x="238" y="77"/>
                      <a:pt x="237" y="201"/>
                      <a:pt x="235" y="207"/>
                    </a:cubicBezTo>
                    <a:cubicBezTo>
                      <a:pt x="233" y="213"/>
                      <a:pt x="208" y="212"/>
                      <a:pt x="208" y="212"/>
                    </a:cubicBezTo>
                    <a:cubicBezTo>
                      <a:pt x="208" y="212"/>
                      <a:pt x="200" y="213"/>
                      <a:pt x="189" y="223"/>
                    </a:cubicBezTo>
                    <a:cubicBezTo>
                      <a:pt x="178" y="233"/>
                      <a:pt x="187" y="248"/>
                      <a:pt x="187" y="248"/>
                    </a:cubicBezTo>
                    <a:cubicBezTo>
                      <a:pt x="186" y="317"/>
                      <a:pt x="186" y="317"/>
                      <a:pt x="186" y="317"/>
                    </a:cubicBezTo>
                    <a:cubicBezTo>
                      <a:pt x="0" y="319"/>
                      <a:pt x="0" y="319"/>
                      <a:pt x="0" y="319"/>
                    </a:cubicBezTo>
                    <a:cubicBezTo>
                      <a:pt x="0" y="319"/>
                      <a:pt x="0" y="319"/>
                      <a:pt x="0" y="319"/>
                    </a:cubicBezTo>
                    <a:cubicBezTo>
                      <a:pt x="0" y="326"/>
                      <a:pt x="0" y="332"/>
                      <a:pt x="0" y="332"/>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37" name="Mali">
                <a:extLst>
                  <a:ext uri="{FF2B5EF4-FFF2-40B4-BE49-F238E27FC236}">
                    <a16:creationId xmlns:a16="http://schemas.microsoft.com/office/drawing/2014/main" id="{0730E0F0-EEC2-43DE-AD28-DD5B316D6C06}"/>
                  </a:ext>
                </a:extLst>
              </p:cNvPr>
              <p:cNvSpPr>
                <a:spLocks/>
              </p:cNvSpPr>
              <p:nvPr/>
            </p:nvSpPr>
            <p:spPr bwMode="gray">
              <a:xfrm>
                <a:off x="3804447" y="2271113"/>
                <a:ext cx="1293675" cy="1060370"/>
              </a:xfrm>
              <a:custGeom>
                <a:avLst/>
                <a:gdLst>
                  <a:gd name="T0" fmla="*/ 424 w 778"/>
                  <a:gd name="T1" fmla="*/ 631 h 800"/>
                  <a:gd name="T2" fmla="*/ 437 w 778"/>
                  <a:gd name="T3" fmla="*/ 607 h 800"/>
                  <a:gd name="T4" fmla="*/ 481 w 778"/>
                  <a:gd name="T5" fmla="*/ 585 h 800"/>
                  <a:gd name="T6" fmla="*/ 502 w 778"/>
                  <a:gd name="T7" fmla="*/ 563 h 800"/>
                  <a:gd name="T8" fmla="*/ 527 w 778"/>
                  <a:gd name="T9" fmla="*/ 547 h 800"/>
                  <a:gd name="T10" fmla="*/ 572 w 778"/>
                  <a:gd name="T11" fmla="*/ 537 h 800"/>
                  <a:gd name="T12" fmla="*/ 620 w 778"/>
                  <a:gd name="T13" fmla="*/ 537 h 800"/>
                  <a:gd name="T14" fmla="*/ 680 w 778"/>
                  <a:gd name="T15" fmla="*/ 526 h 800"/>
                  <a:gd name="T16" fmla="*/ 712 w 778"/>
                  <a:gd name="T17" fmla="*/ 519 h 800"/>
                  <a:gd name="T18" fmla="*/ 748 w 778"/>
                  <a:gd name="T19" fmla="*/ 509 h 800"/>
                  <a:gd name="T20" fmla="*/ 778 w 778"/>
                  <a:gd name="T21" fmla="*/ 454 h 800"/>
                  <a:gd name="T22" fmla="*/ 766 w 778"/>
                  <a:gd name="T23" fmla="*/ 320 h 800"/>
                  <a:gd name="T24" fmla="*/ 738 w 778"/>
                  <a:gd name="T25" fmla="*/ 300 h 800"/>
                  <a:gd name="T26" fmla="*/ 694 w 778"/>
                  <a:gd name="T27" fmla="*/ 270 h 800"/>
                  <a:gd name="T28" fmla="*/ 666 w 778"/>
                  <a:gd name="T29" fmla="*/ 251 h 800"/>
                  <a:gd name="T30" fmla="*/ 637 w 778"/>
                  <a:gd name="T31" fmla="*/ 229 h 800"/>
                  <a:gd name="T32" fmla="*/ 364 w 778"/>
                  <a:gd name="T33" fmla="*/ 3 h 800"/>
                  <a:gd name="T34" fmla="*/ 314 w 778"/>
                  <a:gd name="T35" fmla="*/ 459 h 800"/>
                  <a:gd name="T36" fmla="*/ 323 w 778"/>
                  <a:gd name="T37" fmla="*/ 483 h 800"/>
                  <a:gd name="T38" fmla="*/ 141 w 778"/>
                  <a:gd name="T39" fmla="*/ 513 h 800"/>
                  <a:gd name="T40" fmla="*/ 127 w 778"/>
                  <a:gd name="T41" fmla="*/ 517 h 800"/>
                  <a:gd name="T42" fmla="*/ 96 w 778"/>
                  <a:gd name="T43" fmla="*/ 515 h 800"/>
                  <a:gd name="T44" fmla="*/ 64 w 778"/>
                  <a:gd name="T45" fmla="*/ 532 h 800"/>
                  <a:gd name="T46" fmla="*/ 24 w 778"/>
                  <a:gd name="T47" fmla="*/ 535 h 800"/>
                  <a:gd name="T48" fmla="*/ 0 w 778"/>
                  <a:gd name="T49" fmla="*/ 550 h 800"/>
                  <a:gd name="T50" fmla="*/ 9 w 778"/>
                  <a:gd name="T51" fmla="*/ 578 h 800"/>
                  <a:gd name="T52" fmla="*/ 14 w 778"/>
                  <a:gd name="T53" fmla="*/ 623 h 800"/>
                  <a:gd name="T54" fmla="*/ 37 w 778"/>
                  <a:gd name="T55" fmla="*/ 644 h 800"/>
                  <a:gd name="T56" fmla="*/ 44 w 778"/>
                  <a:gd name="T57" fmla="*/ 703 h 800"/>
                  <a:gd name="T58" fmla="*/ 73 w 778"/>
                  <a:gd name="T59" fmla="*/ 706 h 800"/>
                  <a:gd name="T60" fmla="*/ 119 w 778"/>
                  <a:gd name="T61" fmla="*/ 698 h 800"/>
                  <a:gd name="T62" fmla="*/ 145 w 778"/>
                  <a:gd name="T63" fmla="*/ 673 h 800"/>
                  <a:gd name="T64" fmla="*/ 163 w 778"/>
                  <a:gd name="T65" fmla="*/ 697 h 800"/>
                  <a:gd name="T66" fmla="*/ 180 w 778"/>
                  <a:gd name="T67" fmla="*/ 730 h 800"/>
                  <a:gd name="T68" fmla="*/ 182 w 778"/>
                  <a:gd name="T69" fmla="*/ 752 h 800"/>
                  <a:gd name="T70" fmla="*/ 201 w 778"/>
                  <a:gd name="T71" fmla="*/ 796 h 800"/>
                  <a:gd name="T72" fmla="*/ 220 w 778"/>
                  <a:gd name="T73" fmla="*/ 784 h 800"/>
                  <a:gd name="T74" fmla="*/ 250 w 778"/>
                  <a:gd name="T75" fmla="*/ 788 h 800"/>
                  <a:gd name="T76" fmla="*/ 264 w 778"/>
                  <a:gd name="T77" fmla="*/ 770 h 800"/>
                  <a:gd name="T78" fmla="*/ 281 w 778"/>
                  <a:gd name="T79" fmla="*/ 769 h 800"/>
                  <a:gd name="T80" fmla="*/ 296 w 778"/>
                  <a:gd name="T81" fmla="*/ 795 h 800"/>
                  <a:gd name="T82" fmla="*/ 312 w 778"/>
                  <a:gd name="T83" fmla="*/ 744 h 800"/>
                  <a:gd name="T84" fmla="*/ 335 w 778"/>
                  <a:gd name="T85" fmla="*/ 729 h 800"/>
                  <a:gd name="T86" fmla="*/ 333 w 778"/>
                  <a:gd name="T87" fmla="*/ 700 h 800"/>
                  <a:gd name="T88" fmla="*/ 359 w 778"/>
                  <a:gd name="T89" fmla="*/ 685 h 800"/>
                  <a:gd name="T90" fmla="*/ 367 w 778"/>
                  <a:gd name="T91" fmla="*/ 659 h 800"/>
                  <a:gd name="T92" fmla="*/ 375 w 778"/>
                  <a:gd name="T93" fmla="*/ 637 h 800"/>
                  <a:gd name="T94" fmla="*/ 409 w 778"/>
                  <a:gd name="T95" fmla="*/ 63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8" h="800">
                    <a:moveTo>
                      <a:pt x="409" y="636"/>
                    </a:moveTo>
                    <a:cubicBezTo>
                      <a:pt x="424" y="631"/>
                      <a:pt x="424" y="631"/>
                      <a:pt x="424" y="631"/>
                    </a:cubicBezTo>
                    <a:cubicBezTo>
                      <a:pt x="424" y="607"/>
                      <a:pt x="424" y="607"/>
                      <a:pt x="424" y="607"/>
                    </a:cubicBezTo>
                    <a:cubicBezTo>
                      <a:pt x="437" y="607"/>
                      <a:pt x="437" y="607"/>
                      <a:pt x="437" y="607"/>
                    </a:cubicBezTo>
                    <a:cubicBezTo>
                      <a:pt x="437" y="607"/>
                      <a:pt x="454" y="578"/>
                      <a:pt x="460" y="576"/>
                    </a:cubicBezTo>
                    <a:cubicBezTo>
                      <a:pt x="466" y="574"/>
                      <a:pt x="478" y="586"/>
                      <a:pt x="481" y="585"/>
                    </a:cubicBezTo>
                    <a:cubicBezTo>
                      <a:pt x="484" y="584"/>
                      <a:pt x="485" y="563"/>
                      <a:pt x="485" y="563"/>
                    </a:cubicBezTo>
                    <a:cubicBezTo>
                      <a:pt x="502" y="563"/>
                      <a:pt x="502" y="563"/>
                      <a:pt x="502" y="563"/>
                    </a:cubicBezTo>
                    <a:cubicBezTo>
                      <a:pt x="513" y="549"/>
                      <a:pt x="513" y="549"/>
                      <a:pt x="513" y="549"/>
                    </a:cubicBezTo>
                    <a:cubicBezTo>
                      <a:pt x="513" y="549"/>
                      <a:pt x="517" y="551"/>
                      <a:pt x="527" y="547"/>
                    </a:cubicBezTo>
                    <a:cubicBezTo>
                      <a:pt x="537" y="543"/>
                      <a:pt x="539" y="535"/>
                      <a:pt x="539" y="535"/>
                    </a:cubicBezTo>
                    <a:cubicBezTo>
                      <a:pt x="572" y="537"/>
                      <a:pt x="572" y="537"/>
                      <a:pt x="572" y="537"/>
                    </a:cubicBezTo>
                    <a:cubicBezTo>
                      <a:pt x="588" y="544"/>
                      <a:pt x="588" y="544"/>
                      <a:pt x="588" y="544"/>
                    </a:cubicBezTo>
                    <a:cubicBezTo>
                      <a:pt x="620" y="537"/>
                      <a:pt x="620" y="537"/>
                      <a:pt x="620" y="537"/>
                    </a:cubicBezTo>
                    <a:cubicBezTo>
                      <a:pt x="638" y="525"/>
                      <a:pt x="638" y="525"/>
                      <a:pt x="638" y="525"/>
                    </a:cubicBezTo>
                    <a:cubicBezTo>
                      <a:pt x="680" y="526"/>
                      <a:pt x="680" y="526"/>
                      <a:pt x="680" y="526"/>
                    </a:cubicBezTo>
                    <a:cubicBezTo>
                      <a:pt x="681" y="517"/>
                      <a:pt x="681" y="517"/>
                      <a:pt x="681" y="517"/>
                    </a:cubicBezTo>
                    <a:cubicBezTo>
                      <a:pt x="712" y="519"/>
                      <a:pt x="712" y="519"/>
                      <a:pt x="712" y="519"/>
                    </a:cubicBezTo>
                    <a:cubicBezTo>
                      <a:pt x="719" y="514"/>
                      <a:pt x="719" y="514"/>
                      <a:pt x="719" y="514"/>
                    </a:cubicBezTo>
                    <a:cubicBezTo>
                      <a:pt x="719" y="514"/>
                      <a:pt x="726" y="520"/>
                      <a:pt x="748" y="509"/>
                    </a:cubicBezTo>
                    <a:cubicBezTo>
                      <a:pt x="763" y="502"/>
                      <a:pt x="763" y="469"/>
                      <a:pt x="763" y="469"/>
                    </a:cubicBezTo>
                    <a:cubicBezTo>
                      <a:pt x="778" y="454"/>
                      <a:pt x="778" y="454"/>
                      <a:pt x="778" y="454"/>
                    </a:cubicBezTo>
                    <a:cubicBezTo>
                      <a:pt x="778" y="317"/>
                      <a:pt x="778" y="317"/>
                      <a:pt x="778" y="317"/>
                    </a:cubicBezTo>
                    <a:cubicBezTo>
                      <a:pt x="771" y="319"/>
                      <a:pt x="766" y="320"/>
                      <a:pt x="766" y="320"/>
                    </a:cubicBezTo>
                    <a:cubicBezTo>
                      <a:pt x="766" y="320"/>
                      <a:pt x="744" y="328"/>
                      <a:pt x="729" y="321"/>
                    </a:cubicBezTo>
                    <a:cubicBezTo>
                      <a:pt x="714" y="314"/>
                      <a:pt x="738" y="300"/>
                      <a:pt x="738" y="300"/>
                    </a:cubicBezTo>
                    <a:cubicBezTo>
                      <a:pt x="738" y="300"/>
                      <a:pt x="737" y="280"/>
                      <a:pt x="727" y="272"/>
                    </a:cubicBezTo>
                    <a:cubicBezTo>
                      <a:pt x="717" y="264"/>
                      <a:pt x="694" y="270"/>
                      <a:pt x="694" y="270"/>
                    </a:cubicBezTo>
                    <a:cubicBezTo>
                      <a:pt x="689" y="252"/>
                      <a:pt x="689" y="252"/>
                      <a:pt x="689" y="252"/>
                    </a:cubicBezTo>
                    <a:cubicBezTo>
                      <a:pt x="689" y="252"/>
                      <a:pt x="676" y="254"/>
                      <a:pt x="666" y="251"/>
                    </a:cubicBezTo>
                    <a:cubicBezTo>
                      <a:pt x="656" y="248"/>
                      <a:pt x="658" y="241"/>
                      <a:pt x="656" y="233"/>
                    </a:cubicBezTo>
                    <a:cubicBezTo>
                      <a:pt x="654" y="225"/>
                      <a:pt x="637" y="229"/>
                      <a:pt x="637" y="229"/>
                    </a:cubicBezTo>
                    <a:cubicBezTo>
                      <a:pt x="638" y="212"/>
                      <a:pt x="638" y="212"/>
                      <a:pt x="638" y="212"/>
                    </a:cubicBezTo>
                    <a:cubicBezTo>
                      <a:pt x="364" y="3"/>
                      <a:pt x="364" y="3"/>
                      <a:pt x="364" y="3"/>
                    </a:cubicBezTo>
                    <a:cubicBezTo>
                      <a:pt x="283" y="0"/>
                      <a:pt x="283" y="0"/>
                      <a:pt x="283" y="0"/>
                    </a:cubicBezTo>
                    <a:cubicBezTo>
                      <a:pt x="314" y="459"/>
                      <a:pt x="314" y="459"/>
                      <a:pt x="314" y="459"/>
                    </a:cubicBezTo>
                    <a:cubicBezTo>
                      <a:pt x="314" y="459"/>
                      <a:pt x="327" y="465"/>
                      <a:pt x="328" y="472"/>
                    </a:cubicBezTo>
                    <a:cubicBezTo>
                      <a:pt x="329" y="479"/>
                      <a:pt x="323" y="483"/>
                      <a:pt x="323" y="483"/>
                    </a:cubicBezTo>
                    <a:cubicBezTo>
                      <a:pt x="318" y="510"/>
                      <a:pt x="318" y="510"/>
                      <a:pt x="318" y="510"/>
                    </a:cubicBezTo>
                    <a:cubicBezTo>
                      <a:pt x="141" y="513"/>
                      <a:pt x="141" y="513"/>
                      <a:pt x="141" y="513"/>
                    </a:cubicBezTo>
                    <a:cubicBezTo>
                      <a:pt x="141" y="513"/>
                      <a:pt x="141" y="502"/>
                      <a:pt x="137" y="503"/>
                    </a:cubicBezTo>
                    <a:cubicBezTo>
                      <a:pt x="133" y="504"/>
                      <a:pt x="135" y="516"/>
                      <a:pt x="127" y="517"/>
                    </a:cubicBezTo>
                    <a:cubicBezTo>
                      <a:pt x="119" y="518"/>
                      <a:pt x="102" y="521"/>
                      <a:pt x="102" y="521"/>
                    </a:cubicBezTo>
                    <a:cubicBezTo>
                      <a:pt x="96" y="515"/>
                      <a:pt x="96" y="515"/>
                      <a:pt x="96" y="515"/>
                    </a:cubicBezTo>
                    <a:cubicBezTo>
                      <a:pt x="74" y="515"/>
                      <a:pt x="74" y="515"/>
                      <a:pt x="74" y="515"/>
                    </a:cubicBezTo>
                    <a:cubicBezTo>
                      <a:pt x="64" y="532"/>
                      <a:pt x="64" y="532"/>
                      <a:pt x="64" y="532"/>
                    </a:cubicBezTo>
                    <a:cubicBezTo>
                      <a:pt x="64" y="532"/>
                      <a:pt x="52" y="507"/>
                      <a:pt x="39" y="507"/>
                    </a:cubicBezTo>
                    <a:cubicBezTo>
                      <a:pt x="26" y="507"/>
                      <a:pt x="24" y="516"/>
                      <a:pt x="24" y="535"/>
                    </a:cubicBezTo>
                    <a:cubicBezTo>
                      <a:pt x="25" y="536"/>
                      <a:pt x="28" y="546"/>
                      <a:pt x="20" y="549"/>
                    </a:cubicBezTo>
                    <a:cubicBezTo>
                      <a:pt x="12" y="552"/>
                      <a:pt x="0" y="550"/>
                      <a:pt x="0" y="550"/>
                    </a:cubicBezTo>
                    <a:cubicBezTo>
                      <a:pt x="1" y="568"/>
                      <a:pt x="1" y="568"/>
                      <a:pt x="1" y="568"/>
                    </a:cubicBezTo>
                    <a:cubicBezTo>
                      <a:pt x="9" y="578"/>
                      <a:pt x="9" y="578"/>
                      <a:pt x="9" y="578"/>
                    </a:cubicBezTo>
                    <a:cubicBezTo>
                      <a:pt x="9" y="578"/>
                      <a:pt x="21" y="600"/>
                      <a:pt x="16" y="604"/>
                    </a:cubicBezTo>
                    <a:cubicBezTo>
                      <a:pt x="11" y="608"/>
                      <a:pt x="7" y="612"/>
                      <a:pt x="14" y="623"/>
                    </a:cubicBezTo>
                    <a:cubicBezTo>
                      <a:pt x="21" y="634"/>
                      <a:pt x="25" y="622"/>
                      <a:pt x="30" y="625"/>
                    </a:cubicBezTo>
                    <a:cubicBezTo>
                      <a:pt x="35" y="628"/>
                      <a:pt x="37" y="644"/>
                      <a:pt x="37" y="644"/>
                    </a:cubicBezTo>
                    <a:cubicBezTo>
                      <a:pt x="36" y="678"/>
                      <a:pt x="36" y="678"/>
                      <a:pt x="36" y="678"/>
                    </a:cubicBezTo>
                    <a:cubicBezTo>
                      <a:pt x="36" y="678"/>
                      <a:pt x="40" y="705"/>
                      <a:pt x="44" y="703"/>
                    </a:cubicBezTo>
                    <a:cubicBezTo>
                      <a:pt x="48" y="701"/>
                      <a:pt x="52" y="685"/>
                      <a:pt x="61" y="685"/>
                    </a:cubicBezTo>
                    <a:cubicBezTo>
                      <a:pt x="70" y="685"/>
                      <a:pt x="73" y="706"/>
                      <a:pt x="73" y="706"/>
                    </a:cubicBezTo>
                    <a:cubicBezTo>
                      <a:pt x="73" y="706"/>
                      <a:pt x="87" y="683"/>
                      <a:pt x="92" y="685"/>
                    </a:cubicBezTo>
                    <a:cubicBezTo>
                      <a:pt x="97" y="687"/>
                      <a:pt x="119" y="698"/>
                      <a:pt x="119" y="698"/>
                    </a:cubicBezTo>
                    <a:cubicBezTo>
                      <a:pt x="131" y="689"/>
                      <a:pt x="131" y="689"/>
                      <a:pt x="131" y="689"/>
                    </a:cubicBezTo>
                    <a:cubicBezTo>
                      <a:pt x="131" y="689"/>
                      <a:pt x="129" y="665"/>
                      <a:pt x="145" y="673"/>
                    </a:cubicBezTo>
                    <a:cubicBezTo>
                      <a:pt x="161" y="681"/>
                      <a:pt x="154" y="688"/>
                      <a:pt x="154" y="688"/>
                    </a:cubicBezTo>
                    <a:cubicBezTo>
                      <a:pt x="163" y="697"/>
                      <a:pt x="163" y="697"/>
                      <a:pt x="163" y="697"/>
                    </a:cubicBezTo>
                    <a:cubicBezTo>
                      <a:pt x="157" y="714"/>
                      <a:pt x="157" y="714"/>
                      <a:pt x="157" y="714"/>
                    </a:cubicBezTo>
                    <a:cubicBezTo>
                      <a:pt x="180" y="730"/>
                      <a:pt x="180" y="730"/>
                      <a:pt x="180" y="730"/>
                    </a:cubicBezTo>
                    <a:cubicBezTo>
                      <a:pt x="163" y="753"/>
                      <a:pt x="163" y="753"/>
                      <a:pt x="163" y="753"/>
                    </a:cubicBezTo>
                    <a:cubicBezTo>
                      <a:pt x="182" y="752"/>
                      <a:pt x="182" y="752"/>
                      <a:pt x="182" y="752"/>
                    </a:cubicBezTo>
                    <a:cubicBezTo>
                      <a:pt x="182" y="777"/>
                      <a:pt x="182" y="777"/>
                      <a:pt x="182" y="777"/>
                    </a:cubicBezTo>
                    <a:cubicBezTo>
                      <a:pt x="201" y="796"/>
                      <a:pt x="201" y="796"/>
                      <a:pt x="201" y="796"/>
                    </a:cubicBezTo>
                    <a:cubicBezTo>
                      <a:pt x="207" y="799"/>
                      <a:pt x="207" y="799"/>
                      <a:pt x="207" y="799"/>
                    </a:cubicBezTo>
                    <a:cubicBezTo>
                      <a:pt x="207" y="799"/>
                      <a:pt x="204" y="782"/>
                      <a:pt x="220" y="784"/>
                    </a:cubicBezTo>
                    <a:cubicBezTo>
                      <a:pt x="236" y="786"/>
                      <a:pt x="246" y="800"/>
                      <a:pt x="246" y="800"/>
                    </a:cubicBezTo>
                    <a:cubicBezTo>
                      <a:pt x="250" y="788"/>
                      <a:pt x="250" y="788"/>
                      <a:pt x="250" y="788"/>
                    </a:cubicBezTo>
                    <a:cubicBezTo>
                      <a:pt x="260" y="788"/>
                      <a:pt x="260" y="788"/>
                      <a:pt x="260" y="788"/>
                    </a:cubicBezTo>
                    <a:cubicBezTo>
                      <a:pt x="264" y="770"/>
                      <a:pt x="264" y="770"/>
                      <a:pt x="264" y="770"/>
                    </a:cubicBezTo>
                    <a:cubicBezTo>
                      <a:pt x="273" y="782"/>
                      <a:pt x="273" y="782"/>
                      <a:pt x="273" y="782"/>
                    </a:cubicBezTo>
                    <a:cubicBezTo>
                      <a:pt x="281" y="769"/>
                      <a:pt x="281" y="769"/>
                      <a:pt x="281" y="769"/>
                    </a:cubicBezTo>
                    <a:cubicBezTo>
                      <a:pt x="281" y="793"/>
                      <a:pt x="281" y="793"/>
                      <a:pt x="281" y="793"/>
                    </a:cubicBezTo>
                    <a:cubicBezTo>
                      <a:pt x="296" y="795"/>
                      <a:pt x="296" y="795"/>
                      <a:pt x="296" y="795"/>
                    </a:cubicBezTo>
                    <a:cubicBezTo>
                      <a:pt x="296" y="795"/>
                      <a:pt x="300" y="781"/>
                      <a:pt x="315" y="781"/>
                    </a:cubicBezTo>
                    <a:cubicBezTo>
                      <a:pt x="312" y="744"/>
                      <a:pt x="312" y="744"/>
                      <a:pt x="312" y="744"/>
                    </a:cubicBezTo>
                    <a:cubicBezTo>
                      <a:pt x="327" y="744"/>
                      <a:pt x="327" y="744"/>
                      <a:pt x="327" y="744"/>
                    </a:cubicBezTo>
                    <a:cubicBezTo>
                      <a:pt x="335" y="729"/>
                      <a:pt x="335" y="729"/>
                      <a:pt x="335" y="729"/>
                    </a:cubicBezTo>
                    <a:cubicBezTo>
                      <a:pt x="320" y="708"/>
                      <a:pt x="320" y="708"/>
                      <a:pt x="320" y="708"/>
                    </a:cubicBezTo>
                    <a:cubicBezTo>
                      <a:pt x="333" y="700"/>
                      <a:pt x="333" y="700"/>
                      <a:pt x="333" y="700"/>
                    </a:cubicBezTo>
                    <a:cubicBezTo>
                      <a:pt x="333" y="700"/>
                      <a:pt x="348" y="697"/>
                      <a:pt x="360" y="696"/>
                    </a:cubicBezTo>
                    <a:cubicBezTo>
                      <a:pt x="372" y="695"/>
                      <a:pt x="359" y="685"/>
                      <a:pt x="359" y="685"/>
                    </a:cubicBezTo>
                    <a:cubicBezTo>
                      <a:pt x="359" y="685"/>
                      <a:pt x="366" y="684"/>
                      <a:pt x="369" y="680"/>
                    </a:cubicBezTo>
                    <a:cubicBezTo>
                      <a:pt x="372" y="676"/>
                      <a:pt x="367" y="659"/>
                      <a:pt x="367" y="659"/>
                    </a:cubicBezTo>
                    <a:cubicBezTo>
                      <a:pt x="367" y="659"/>
                      <a:pt x="379" y="661"/>
                      <a:pt x="381" y="656"/>
                    </a:cubicBezTo>
                    <a:cubicBezTo>
                      <a:pt x="383" y="651"/>
                      <a:pt x="375" y="637"/>
                      <a:pt x="375" y="637"/>
                    </a:cubicBezTo>
                    <a:cubicBezTo>
                      <a:pt x="388" y="617"/>
                      <a:pt x="388" y="617"/>
                      <a:pt x="388" y="617"/>
                    </a:cubicBezTo>
                    <a:lnTo>
                      <a:pt x="409" y="636"/>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38" name="Malawi">
                <a:extLst>
                  <a:ext uri="{FF2B5EF4-FFF2-40B4-BE49-F238E27FC236}">
                    <a16:creationId xmlns:a16="http://schemas.microsoft.com/office/drawing/2014/main" id="{5FEFA495-309D-4982-8D75-982AFECBDED1}"/>
                  </a:ext>
                </a:extLst>
              </p:cNvPr>
              <p:cNvSpPr>
                <a:spLocks/>
              </p:cNvSpPr>
              <p:nvPr/>
            </p:nvSpPr>
            <p:spPr bwMode="gray">
              <a:xfrm>
                <a:off x="7313829" y="4726508"/>
                <a:ext cx="268142" cy="552747"/>
              </a:xfrm>
              <a:custGeom>
                <a:avLst/>
                <a:gdLst>
                  <a:gd name="T0" fmla="*/ 156 w 162"/>
                  <a:gd name="T1" fmla="*/ 287 h 416"/>
                  <a:gd name="T2" fmla="*/ 136 w 162"/>
                  <a:gd name="T3" fmla="*/ 260 h 416"/>
                  <a:gd name="T4" fmla="*/ 110 w 162"/>
                  <a:gd name="T5" fmla="*/ 222 h 416"/>
                  <a:gd name="T6" fmla="*/ 101 w 162"/>
                  <a:gd name="T7" fmla="*/ 220 h 416"/>
                  <a:gd name="T8" fmla="*/ 105 w 162"/>
                  <a:gd name="T9" fmla="*/ 229 h 416"/>
                  <a:gd name="T10" fmla="*/ 114 w 162"/>
                  <a:gd name="T11" fmla="*/ 237 h 416"/>
                  <a:gd name="T12" fmla="*/ 113 w 162"/>
                  <a:gd name="T13" fmla="*/ 264 h 416"/>
                  <a:gd name="T14" fmla="*/ 105 w 162"/>
                  <a:gd name="T15" fmla="*/ 253 h 416"/>
                  <a:gd name="T16" fmla="*/ 90 w 162"/>
                  <a:gd name="T17" fmla="*/ 257 h 416"/>
                  <a:gd name="T18" fmla="*/ 86 w 162"/>
                  <a:gd name="T19" fmla="*/ 234 h 416"/>
                  <a:gd name="T20" fmla="*/ 81 w 162"/>
                  <a:gd name="T21" fmla="*/ 220 h 416"/>
                  <a:gd name="T22" fmla="*/ 81 w 162"/>
                  <a:gd name="T23" fmla="*/ 195 h 416"/>
                  <a:gd name="T24" fmla="*/ 64 w 162"/>
                  <a:gd name="T25" fmla="*/ 171 h 416"/>
                  <a:gd name="T26" fmla="*/ 59 w 162"/>
                  <a:gd name="T27" fmla="*/ 154 h 416"/>
                  <a:gd name="T28" fmla="*/ 77 w 162"/>
                  <a:gd name="T29" fmla="*/ 126 h 416"/>
                  <a:gd name="T30" fmla="*/ 84 w 162"/>
                  <a:gd name="T31" fmla="*/ 108 h 416"/>
                  <a:gd name="T32" fmla="*/ 81 w 162"/>
                  <a:gd name="T33" fmla="*/ 90 h 416"/>
                  <a:gd name="T34" fmla="*/ 78 w 162"/>
                  <a:gd name="T35" fmla="*/ 51 h 416"/>
                  <a:gd name="T36" fmla="*/ 64 w 162"/>
                  <a:gd name="T37" fmla="*/ 37 h 416"/>
                  <a:gd name="T38" fmla="*/ 60 w 162"/>
                  <a:gd name="T39" fmla="*/ 10 h 416"/>
                  <a:gd name="T40" fmla="*/ 41 w 162"/>
                  <a:gd name="T41" fmla="*/ 10 h 416"/>
                  <a:gd name="T42" fmla="*/ 35 w 162"/>
                  <a:gd name="T43" fmla="*/ 0 h 416"/>
                  <a:gd name="T44" fmla="*/ 20 w 162"/>
                  <a:gd name="T45" fmla="*/ 1 h 416"/>
                  <a:gd name="T46" fmla="*/ 20 w 162"/>
                  <a:gd name="T47" fmla="*/ 9 h 416"/>
                  <a:gd name="T48" fmla="*/ 35 w 162"/>
                  <a:gd name="T49" fmla="*/ 16 h 416"/>
                  <a:gd name="T50" fmla="*/ 37 w 162"/>
                  <a:gd name="T51" fmla="*/ 42 h 416"/>
                  <a:gd name="T52" fmla="*/ 46 w 162"/>
                  <a:gd name="T53" fmla="*/ 41 h 416"/>
                  <a:gd name="T54" fmla="*/ 46 w 162"/>
                  <a:gd name="T55" fmla="*/ 54 h 416"/>
                  <a:gd name="T56" fmla="*/ 52 w 162"/>
                  <a:gd name="T57" fmla="*/ 64 h 416"/>
                  <a:gd name="T58" fmla="*/ 30 w 162"/>
                  <a:gd name="T59" fmla="*/ 75 h 416"/>
                  <a:gd name="T60" fmla="*/ 30 w 162"/>
                  <a:gd name="T61" fmla="*/ 86 h 416"/>
                  <a:gd name="T62" fmla="*/ 37 w 162"/>
                  <a:gd name="T63" fmla="*/ 92 h 416"/>
                  <a:gd name="T64" fmla="*/ 33 w 162"/>
                  <a:gd name="T65" fmla="*/ 105 h 416"/>
                  <a:gd name="T66" fmla="*/ 34 w 162"/>
                  <a:gd name="T67" fmla="*/ 153 h 416"/>
                  <a:gd name="T68" fmla="*/ 42 w 162"/>
                  <a:gd name="T69" fmla="*/ 157 h 416"/>
                  <a:gd name="T70" fmla="*/ 14 w 162"/>
                  <a:gd name="T71" fmla="*/ 175 h 416"/>
                  <a:gd name="T72" fmla="*/ 16 w 162"/>
                  <a:gd name="T73" fmla="*/ 200 h 416"/>
                  <a:gd name="T74" fmla="*/ 1 w 162"/>
                  <a:gd name="T75" fmla="*/ 226 h 416"/>
                  <a:gd name="T76" fmla="*/ 23 w 162"/>
                  <a:gd name="T77" fmla="*/ 245 h 416"/>
                  <a:gd name="T78" fmla="*/ 44 w 162"/>
                  <a:gd name="T79" fmla="*/ 277 h 416"/>
                  <a:gd name="T80" fmla="*/ 64 w 162"/>
                  <a:gd name="T81" fmla="*/ 274 h 416"/>
                  <a:gd name="T82" fmla="*/ 80 w 162"/>
                  <a:gd name="T83" fmla="*/ 270 h 416"/>
                  <a:gd name="T84" fmla="*/ 83 w 162"/>
                  <a:gd name="T85" fmla="*/ 290 h 416"/>
                  <a:gd name="T86" fmla="*/ 88 w 162"/>
                  <a:gd name="T87" fmla="*/ 298 h 416"/>
                  <a:gd name="T88" fmla="*/ 85 w 162"/>
                  <a:gd name="T89" fmla="*/ 319 h 416"/>
                  <a:gd name="T90" fmla="*/ 75 w 162"/>
                  <a:gd name="T91" fmla="*/ 322 h 416"/>
                  <a:gd name="T92" fmla="*/ 83 w 162"/>
                  <a:gd name="T93" fmla="*/ 335 h 416"/>
                  <a:gd name="T94" fmla="*/ 70 w 162"/>
                  <a:gd name="T95" fmla="*/ 350 h 416"/>
                  <a:gd name="T96" fmla="*/ 77 w 162"/>
                  <a:gd name="T97" fmla="*/ 353 h 416"/>
                  <a:gd name="T98" fmla="*/ 77 w 162"/>
                  <a:gd name="T99" fmla="*/ 370 h 416"/>
                  <a:gd name="T100" fmla="*/ 109 w 162"/>
                  <a:gd name="T101" fmla="*/ 396 h 416"/>
                  <a:gd name="T102" fmla="*/ 107 w 162"/>
                  <a:gd name="T103" fmla="*/ 414 h 416"/>
                  <a:gd name="T104" fmla="*/ 121 w 162"/>
                  <a:gd name="T105" fmla="*/ 389 h 416"/>
                  <a:gd name="T106" fmla="*/ 113 w 162"/>
                  <a:gd name="T107" fmla="*/ 373 h 416"/>
                  <a:gd name="T108" fmla="*/ 143 w 162"/>
                  <a:gd name="T109" fmla="*/ 356 h 416"/>
                  <a:gd name="T110" fmla="*/ 145 w 162"/>
                  <a:gd name="T111" fmla="*/ 314 h 416"/>
                  <a:gd name="T112" fmla="*/ 156 w 162"/>
                  <a:gd name="T113" fmla="*/ 28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416">
                    <a:moveTo>
                      <a:pt x="156" y="287"/>
                    </a:moveTo>
                    <a:cubicBezTo>
                      <a:pt x="150" y="278"/>
                      <a:pt x="140" y="268"/>
                      <a:pt x="136" y="260"/>
                    </a:cubicBezTo>
                    <a:cubicBezTo>
                      <a:pt x="132" y="252"/>
                      <a:pt x="114" y="225"/>
                      <a:pt x="110" y="222"/>
                    </a:cubicBezTo>
                    <a:cubicBezTo>
                      <a:pt x="108" y="221"/>
                      <a:pt x="104" y="221"/>
                      <a:pt x="101" y="220"/>
                    </a:cubicBezTo>
                    <a:cubicBezTo>
                      <a:pt x="101" y="225"/>
                      <a:pt x="103" y="228"/>
                      <a:pt x="105" y="229"/>
                    </a:cubicBezTo>
                    <a:cubicBezTo>
                      <a:pt x="110" y="231"/>
                      <a:pt x="114" y="237"/>
                      <a:pt x="114" y="237"/>
                    </a:cubicBezTo>
                    <a:cubicBezTo>
                      <a:pt x="114" y="237"/>
                      <a:pt x="119" y="262"/>
                      <a:pt x="113" y="264"/>
                    </a:cubicBezTo>
                    <a:cubicBezTo>
                      <a:pt x="107" y="266"/>
                      <a:pt x="105" y="253"/>
                      <a:pt x="105" y="253"/>
                    </a:cubicBezTo>
                    <a:cubicBezTo>
                      <a:pt x="105" y="253"/>
                      <a:pt x="93" y="259"/>
                      <a:pt x="90" y="257"/>
                    </a:cubicBezTo>
                    <a:cubicBezTo>
                      <a:pt x="87" y="255"/>
                      <a:pt x="87" y="241"/>
                      <a:pt x="86" y="234"/>
                    </a:cubicBezTo>
                    <a:cubicBezTo>
                      <a:pt x="85" y="227"/>
                      <a:pt x="83" y="224"/>
                      <a:pt x="81" y="220"/>
                    </a:cubicBezTo>
                    <a:cubicBezTo>
                      <a:pt x="79" y="216"/>
                      <a:pt x="81" y="203"/>
                      <a:pt x="81" y="195"/>
                    </a:cubicBezTo>
                    <a:cubicBezTo>
                      <a:pt x="81" y="187"/>
                      <a:pt x="76" y="181"/>
                      <a:pt x="64" y="171"/>
                    </a:cubicBezTo>
                    <a:cubicBezTo>
                      <a:pt x="52" y="161"/>
                      <a:pt x="61" y="163"/>
                      <a:pt x="59" y="154"/>
                    </a:cubicBezTo>
                    <a:cubicBezTo>
                      <a:pt x="57" y="145"/>
                      <a:pt x="67" y="137"/>
                      <a:pt x="77" y="126"/>
                    </a:cubicBezTo>
                    <a:cubicBezTo>
                      <a:pt x="87" y="115"/>
                      <a:pt x="83" y="113"/>
                      <a:pt x="84" y="108"/>
                    </a:cubicBezTo>
                    <a:cubicBezTo>
                      <a:pt x="85" y="103"/>
                      <a:pt x="81" y="98"/>
                      <a:pt x="81" y="90"/>
                    </a:cubicBezTo>
                    <a:cubicBezTo>
                      <a:pt x="81" y="82"/>
                      <a:pt x="79" y="67"/>
                      <a:pt x="78" y="51"/>
                    </a:cubicBezTo>
                    <a:cubicBezTo>
                      <a:pt x="77" y="35"/>
                      <a:pt x="75" y="44"/>
                      <a:pt x="64" y="37"/>
                    </a:cubicBezTo>
                    <a:cubicBezTo>
                      <a:pt x="53" y="30"/>
                      <a:pt x="61" y="21"/>
                      <a:pt x="60" y="10"/>
                    </a:cubicBezTo>
                    <a:cubicBezTo>
                      <a:pt x="41" y="10"/>
                      <a:pt x="41" y="10"/>
                      <a:pt x="41" y="10"/>
                    </a:cubicBezTo>
                    <a:cubicBezTo>
                      <a:pt x="35" y="0"/>
                      <a:pt x="35" y="0"/>
                      <a:pt x="35" y="0"/>
                    </a:cubicBezTo>
                    <a:cubicBezTo>
                      <a:pt x="20" y="1"/>
                      <a:pt x="20" y="1"/>
                      <a:pt x="20" y="1"/>
                    </a:cubicBezTo>
                    <a:cubicBezTo>
                      <a:pt x="20" y="9"/>
                      <a:pt x="20" y="9"/>
                      <a:pt x="20" y="9"/>
                    </a:cubicBezTo>
                    <a:cubicBezTo>
                      <a:pt x="20" y="9"/>
                      <a:pt x="34" y="9"/>
                      <a:pt x="35" y="16"/>
                    </a:cubicBezTo>
                    <a:cubicBezTo>
                      <a:pt x="36" y="23"/>
                      <a:pt x="34" y="42"/>
                      <a:pt x="37" y="42"/>
                    </a:cubicBezTo>
                    <a:cubicBezTo>
                      <a:pt x="40" y="42"/>
                      <a:pt x="46" y="41"/>
                      <a:pt x="46" y="41"/>
                    </a:cubicBezTo>
                    <a:cubicBezTo>
                      <a:pt x="46" y="54"/>
                      <a:pt x="46" y="54"/>
                      <a:pt x="46" y="54"/>
                    </a:cubicBezTo>
                    <a:cubicBezTo>
                      <a:pt x="46" y="54"/>
                      <a:pt x="58" y="57"/>
                      <a:pt x="52" y="64"/>
                    </a:cubicBezTo>
                    <a:cubicBezTo>
                      <a:pt x="46" y="71"/>
                      <a:pt x="30" y="75"/>
                      <a:pt x="30" y="75"/>
                    </a:cubicBezTo>
                    <a:cubicBezTo>
                      <a:pt x="30" y="86"/>
                      <a:pt x="30" y="86"/>
                      <a:pt x="30" y="86"/>
                    </a:cubicBezTo>
                    <a:cubicBezTo>
                      <a:pt x="37" y="92"/>
                      <a:pt x="37" y="92"/>
                      <a:pt x="37" y="92"/>
                    </a:cubicBezTo>
                    <a:cubicBezTo>
                      <a:pt x="33" y="105"/>
                      <a:pt x="33" y="105"/>
                      <a:pt x="33" y="105"/>
                    </a:cubicBezTo>
                    <a:cubicBezTo>
                      <a:pt x="34" y="153"/>
                      <a:pt x="34" y="153"/>
                      <a:pt x="34" y="153"/>
                    </a:cubicBezTo>
                    <a:cubicBezTo>
                      <a:pt x="34" y="153"/>
                      <a:pt x="45" y="150"/>
                      <a:pt x="42" y="157"/>
                    </a:cubicBezTo>
                    <a:cubicBezTo>
                      <a:pt x="39" y="164"/>
                      <a:pt x="14" y="175"/>
                      <a:pt x="14" y="175"/>
                    </a:cubicBezTo>
                    <a:cubicBezTo>
                      <a:pt x="16" y="200"/>
                      <a:pt x="16" y="200"/>
                      <a:pt x="16" y="200"/>
                    </a:cubicBezTo>
                    <a:cubicBezTo>
                      <a:pt x="16" y="200"/>
                      <a:pt x="0" y="223"/>
                      <a:pt x="1" y="226"/>
                    </a:cubicBezTo>
                    <a:cubicBezTo>
                      <a:pt x="2" y="229"/>
                      <a:pt x="23" y="245"/>
                      <a:pt x="23" y="245"/>
                    </a:cubicBezTo>
                    <a:cubicBezTo>
                      <a:pt x="44" y="277"/>
                      <a:pt x="44" y="277"/>
                      <a:pt x="44" y="277"/>
                    </a:cubicBezTo>
                    <a:cubicBezTo>
                      <a:pt x="64" y="274"/>
                      <a:pt x="64" y="274"/>
                      <a:pt x="64" y="274"/>
                    </a:cubicBezTo>
                    <a:cubicBezTo>
                      <a:pt x="64" y="274"/>
                      <a:pt x="74" y="267"/>
                      <a:pt x="80" y="270"/>
                    </a:cubicBezTo>
                    <a:cubicBezTo>
                      <a:pt x="80" y="270"/>
                      <a:pt x="84" y="281"/>
                      <a:pt x="83" y="290"/>
                    </a:cubicBezTo>
                    <a:cubicBezTo>
                      <a:pt x="82" y="299"/>
                      <a:pt x="88" y="298"/>
                      <a:pt x="88" y="298"/>
                    </a:cubicBezTo>
                    <a:cubicBezTo>
                      <a:pt x="85" y="319"/>
                      <a:pt x="85" y="319"/>
                      <a:pt x="85" y="319"/>
                    </a:cubicBezTo>
                    <a:cubicBezTo>
                      <a:pt x="75" y="322"/>
                      <a:pt x="75" y="322"/>
                      <a:pt x="75" y="322"/>
                    </a:cubicBezTo>
                    <a:cubicBezTo>
                      <a:pt x="83" y="335"/>
                      <a:pt x="83" y="335"/>
                      <a:pt x="83" y="335"/>
                    </a:cubicBezTo>
                    <a:cubicBezTo>
                      <a:pt x="83" y="335"/>
                      <a:pt x="68" y="347"/>
                      <a:pt x="70" y="350"/>
                    </a:cubicBezTo>
                    <a:cubicBezTo>
                      <a:pt x="72" y="353"/>
                      <a:pt x="77" y="353"/>
                      <a:pt x="77" y="353"/>
                    </a:cubicBezTo>
                    <a:cubicBezTo>
                      <a:pt x="77" y="370"/>
                      <a:pt x="77" y="370"/>
                      <a:pt x="77" y="370"/>
                    </a:cubicBezTo>
                    <a:cubicBezTo>
                      <a:pt x="77" y="370"/>
                      <a:pt x="108" y="390"/>
                      <a:pt x="109" y="396"/>
                    </a:cubicBezTo>
                    <a:cubicBezTo>
                      <a:pt x="110" y="402"/>
                      <a:pt x="96" y="412"/>
                      <a:pt x="107" y="414"/>
                    </a:cubicBezTo>
                    <a:cubicBezTo>
                      <a:pt x="118" y="416"/>
                      <a:pt x="125" y="399"/>
                      <a:pt x="121" y="389"/>
                    </a:cubicBezTo>
                    <a:cubicBezTo>
                      <a:pt x="117" y="379"/>
                      <a:pt x="107" y="391"/>
                      <a:pt x="113" y="373"/>
                    </a:cubicBezTo>
                    <a:cubicBezTo>
                      <a:pt x="119" y="355"/>
                      <a:pt x="137" y="363"/>
                      <a:pt x="143" y="356"/>
                    </a:cubicBezTo>
                    <a:cubicBezTo>
                      <a:pt x="149" y="349"/>
                      <a:pt x="145" y="314"/>
                      <a:pt x="145" y="314"/>
                    </a:cubicBezTo>
                    <a:cubicBezTo>
                      <a:pt x="145" y="314"/>
                      <a:pt x="162" y="296"/>
                      <a:pt x="156" y="287"/>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39" name="Madagascar">
                <a:extLst>
                  <a:ext uri="{FF2B5EF4-FFF2-40B4-BE49-F238E27FC236}">
                    <a16:creationId xmlns:a16="http://schemas.microsoft.com/office/drawing/2014/main" id="{726B0BF0-FC92-475F-9D0A-3E02B92EF169}"/>
                  </a:ext>
                </a:extLst>
              </p:cNvPr>
              <p:cNvSpPr>
                <a:spLocks/>
              </p:cNvSpPr>
              <p:nvPr/>
            </p:nvSpPr>
            <p:spPr bwMode="gray">
              <a:xfrm>
                <a:off x="8061807" y="4929557"/>
                <a:ext cx="677415" cy="988928"/>
              </a:xfrm>
              <a:custGeom>
                <a:avLst/>
                <a:gdLst>
                  <a:gd name="T0" fmla="*/ 88 w 409"/>
                  <a:gd name="T1" fmla="*/ 219 h 746"/>
                  <a:gd name="T2" fmla="*/ 104 w 409"/>
                  <a:gd name="T3" fmla="*/ 214 h 746"/>
                  <a:gd name="T4" fmla="*/ 134 w 409"/>
                  <a:gd name="T5" fmla="*/ 218 h 746"/>
                  <a:gd name="T6" fmla="*/ 134 w 409"/>
                  <a:gd name="T7" fmla="*/ 202 h 746"/>
                  <a:gd name="T8" fmla="*/ 173 w 409"/>
                  <a:gd name="T9" fmla="*/ 207 h 746"/>
                  <a:gd name="T10" fmla="*/ 186 w 409"/>
                  <a:gd name="T11" fmla="*/ 188 h 746"/>
                  <a:gd name="T12" fmla="*/ 216 w 409"/>
                  <a:gd name="T13" fmla="*/ 193 h 746"/>
                  <a:gd name="T14" fmla="*/ 214 w 409"/>
                  <a:gd name="T15" fmla="*/ 172 h 746"/>
                  <a:gd name="T16" fmla="*/ 223 w 409"/>
                  <a:gd name="T17" fmla="*/ 150 h 746"/>
                  <a:gd name="T18" fmla="*/ 225 w 409"/>
                  <a:gd name="T19" fmla="*/ 172 h 746"/>
                  <a:gd name="T20" fmla="*/ 230 w 409"/>
                  <a:gd name="T21" fmla="*/ 186 h 746"/>
                  <a:gd name="T22" fmla="*/ 239 w 409"/>
                  <a:gd name="T23" fmla="*/ 159 h 746"/>
                  <a:gd name="T24" fmla="*/ 244 w 409"/>
                  <a:gd name="T25" fmla="*/ 124 h 746"/>
                  <a:gd name="T26" fmla="*/ 255 w 409"/>
                  <a:gd name="T27" fmla="*/ 138 h 746"/>
                  <a:gd name="T28" fmla="*/ 269 w 409"/>
                  <a:gd name="T29" fmla="*/ 126 h 746"/>
                  <a:gd name="T30" fmla="*/ 271 w 409"/>
                  <a:gd name="T31" fmla="*/ 88 h 746"/>
                  <a:gd name="T32" fmla="*/ 288 w 409"/>
                  <a:gd name="T33" fmla="*/ 88 h 746"/>
                  <a:gd name="T34" fmla="*/ 312 w 409"/>
                  <a:gd name="T35" fmla="*/ 62 h 746"/>
                  <a:gd name="T36" fmla="*/ 315 w 409"/>
                  <a:gd name="T37" fmla="*/ 26 h 746"/>
                  <a:gd name="T38" fmla="*/ 336 w 409"/>
                  <a:gd name="T39" fmla="*/ 0 h 746"/>
                  <a:gd name="T40" fmla="*/ 372 w 409"/>
                  <a:gd name="T41" fmla="*/ 41 h 746"/>
                  <a:gd name="T42" fmla="*/ 372 w 409"/>
                  <a:gd name="T43" fmla="*/ 56 h 746"/>
                  <a:gd name="T44" fmla="*/ 395 w 409"/>
                  <a:gd name="T45" fmla="*/ 110 h 746"/>
                  <a:gd name="T46" fmla="*/ 382 w 409"/>
                  <a:gd name="T47" fmla="*/ 143 h 746"/>
                  <a:gd name="T48" fmla="*/ 402 w 409"/>
                  <a:gd name="T49" fmla="*/ 193 h 746"/>
                  <a:gd name="T50" fmla="*/ 375 w 409"/>
                  <a:gd name="T51" fmla="*/ 188 h 746"/>
                  <a:gd name="T52" fmla="*/ 354 w 409"/>
                  <a:gd name="T53" fmla="*/ 193 h 746"/>
                  <a:gd name="T54" fmla="*/ 358 w 409"/>
                  <a:gd name="T55" fmla="*/ 221 h 746"/>
                  <a:gd name="T56" fmla="*/ 333 w 409"/>
                  <a:gd name="T57" fmla="*/ 259 h 746"/>
                  <a:gd name="T58" fmla="*/ 338 w 409"/>
                  <a:gd name="T59" fmla="*/ 312 h 746"/>
                  <a:gd name="T60" fmla="*/ 267 w 409"/>
                  <a:gd name="T61" fmla="*/ 478 h 746"/>
                  <a:gd name="T62" fmla="*/ 211 w 409"/>
                  <a:gd name="T63" fmla="*/ 609 h 746"/>
                  <a:gd name="T64" fmla="*/ 189 w 409"/>
                  <a:gd name="T65" fmla="*/ 676 h 746"/>
                  <a:gd name="T66" fmla="*/ 149 w 409"/>
                  <a:gd name="T67" fmla="*/ 712 h 746"/>
                  <a:gd name="T68" fmla="*/ 133 w 409"/>
                  <a:gd name="T69" fmla="*/ 710 h 746"/>
                  <a:gd name="T70" fmla="*/ 60 w 409"/>
                  <a:gd name="T71" fmla="*/ 717 h 746"/>
                  <a:gd name="T72" fmla="*/ 28 w 409"/>
                  <a:gd name="T73" fmla="*/ 675 h 746"/>
                  <a:gd name="T74" fmla="*/ 41 w 409"/>
                  <a:gd name="T75" fmla="*/ 659 h 746"/>
                  <a:gd name="T76" fmla="*/ 5 w 409"/>
                  <a:gd name="T77" fmla="*/ 556 h 746"/>
                  <a:gd name="T78" fmla="*/ 39 w 409"/>
                  <a:gd name="T79" fmla="*/ 473 h 746"/>
                  <a:gd name="T80" fmla="*/ 79 w 409"/>
                  <a:gd name="T81" fmla="*/ 436 h 746"/>
                  <a:gd name="T82" fmla="*/ 71 w 409"/>
                  <a:gd name="T83" fmla="*/ 349 h 746"/>
                  <a:gd name="T84" fmla="*/ 67 w 409"/>
                  <a:gd name="T85" fmla="*/ 271 h 746"/>
                  <a:gd name="T86" fmla="*/ 94 w 409"/>
                  <a:gd name="T87" fmla="*/ 239 h 746"/>
                  <a:gd name="T88" fmla="*/ 88 w 409"/>
                  <a:gd name="T89" fmla="*/ 219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9" h="746">
                    <a:moveTo>
                      <a:pt x="88" y="219"/>
                    </a:moveTo>
                    <a:cubicBezTo>
                      <a:pt x="104" y="214"/>
                      <a:pt x="104" y="214"/>
                      <a:pt x="104" y="214"/>
                    </a:cubicBezTo>
                    <a:cubicBezTo>
                      <a:pt x="134" y="218"/>
                      <a:pt x="134" y="218"/>
                      <a:pt x="134" y="218"/>
                    </a:cubicBezTo>
                    <a:cubicBezTo>
                      <a:pt x="134" y="202"/>
                      <a:pt x="134" y="202"/>
                      <a:pt x="134" y="202"/>
                    </a:cubicBezTo>
                    <a:cubicBezTo>
                      <a:pt x="173" y="207"/>
                      <a:pt x="173" y="207"/>
                      <a:pt x="173" y="207"/>
                    </a:cubicBezTo>
                    <a:cubicBezTo>
                      <a:pt x="186" y="188"/>
                      <a:pt x="186" y="188"/>
                      <a:pt x="186" y="188"/>
                    </a:cubicBezTo>
                    <a:cubicBezTo>
                      <a:pt x="216" y="193"/>
                      <a:pt x="216" y="193"/>
                      <a:pt x="216" y="193"/>
                    </a:cubicBezTo>
                    <a:cubicBezTo>
                      <a:pt x="214" y="172"/>
                      <a:pt x="214" y="172"/>
                      <a:pt x="214" y="172"/>
                    </a:cubicBezTo>
                    <a:cubicBezTo>
                      <a:pt x="223" y="150"/>
                      <a:pt x="223" y="150"/>
                      <a:pt x="223" y="150"/>
                    </a:cubicBezTo>
                    <a:cubicBezTo>
                      <a:pt x="225" y="172"/>
                      <a:pt x="225" y="172"/>
                      <a:pt x="225" y="172"/>
                    </a:cubicBezTo>
                    <a:cubicBezTo>
                      <a:pt x="230" y="186"/>
                      <a:pt x="230" y="186"/>
                      <a:pt x="230" y="186"/>
                    </a:cubicBezTo>
                    <a:cubicBezTo>
                      <a:pt x="239" y="159"/>
                      <a:pt x="239" y="159"/>
                      <a:pt x="239" y="159"/>
                    </a:cubicBezTo>
                    <a:cubicBezTo>
                      <a:pt x="239" y="159"/>
                      <a:pt x="237" y="129"/>
                      <a:pt x="244" y="124"/>
                    </a:cubicBezTo>
                    <a:cubicBezTo>
                      <a:pt x="251" y="118"/>
                      <a:pt x="255" y="138"/>
                      <a:pt x="255" y="138"/>
                    </a:cubicBezTo>
                    <a:cubicBezTo>
                      <a:pt x="255" y="138"/>
                      <a:pt x="260" y="136"/>
                      <a:pt x="269" y="126"/>
                    </a:cubicBezTo>
                    <a:cubicBezTo>
                      <a:pt x="278" y="115"/>
                      <a:pt x="264" y="95"/>
                      <a:pt x="271" y="88"/>
                    </a:cubicBezTo>
                    <a:cubicBezTo>
                      <a:pt x="278" y="81"/>
                      <a:pt x="288" y="88"/>
                      <a:pt x="288" y="88"/>
                    </a:cubicBezTo>
                    <a:cubicBezTo>
                      <a:pt x="288" y="88"/>
                      <a:pt x="306" y="74"/>
                      <a:pt x="312" y="62"/>
                    </a:cubicBezTo>
                    <a:cubicBezTo>
                      <a:pt x="317" y="49"/>
                      <a:pt x="315" y="26"/>
                      <a:pt x="315" y="26"/>
                    </a:cubicBezTo>
                    <a:cubicBezTo>
                      <a:pt x="336" y="0"/>
                      <a:pt x="336" y="0"/>
                      <a:pt x="336" y="0"/>
                    </a:cubicBezTo>
                    <a:cubicBezTo>
                      <a:pt x="372" y="41"/>
                      <a:pt x="372" y="41"/>
                      <a:pt x="372" y="41"/>
                    </a:cubicBezTo>
                    <a:cubicBezTo>
                      <a:pt x="372" y="41"/>
                      <a:pt x="372" y="51"/>
                      <a:pt x="372" y="56"/>
                    </a:cubicBezTo>
                    <a:cubicBezTo>
                      <a:pt x="372" y="62"/>
                      <a:pt x="395" y="110"/>
                      <a:pt x="395" y="110"/>
                    </a:cubicBezTo>
                    <a:cubicBezTo>
                      <a:pt x="382" y="143"/>
                      <a:pt x="382" y="143"/>
                      <a:pt x="382" y="143"/>
                    </a:cubicBezTo>
                    <a:cubicBezTo>
                      <a:pt x="382" y="143"/>
                      <a:pt x="409" y="188"/>
                      <a:pt x="402" y="193"/>
                    </a:cubicBezTo>
                    <a:cubicBezTo>
                      <a:pt x="395" y="198"/>
                      <a:pt x="375" y="188"/>
                      <a:pt x="375" y="188"/>
                    </a:cubicBezTo>
                    <a:cubicBezTo>
                      <a:pt x="354" y="193"/>
                      <a:pt x="354" y="193"/>
                      <a:pt x="354" y="193"/>
                    </a:cubicBezTo>
                    <a:cubicBezTo>
                      <a:pt x="358" y="221"/>
                      <a:pt x="358" y="221"/>
                      <a:pt x="358" y="221"/>
                    </a:cubicBezTo>
                    <a:cubicBezTo>
                      <a:pt x="358" y="221"/>
                      <a:pt x="335" y="245"/>
                      <a:pt x="333" y="259"/>
                    </a:cubicBezTo>
                    <a:cubicBezTo>
                      <a:pt x="331" y="273"/>
                      <a:pt x="345" y="287"/>
                      <a:pt x="338" y="312"/>
                    </a:cubicBezTo>
                    <a:cubicBezTo>
                      <a:pt x="331" y="336"/>
                      <a:pt x="306" y="409"/>
                      <a:pt x="267" y="478"/>
                    </a:cubicBezTo>
                    <a:cubicBezTo>
                      <a:pt x="228" y="547"/>
                      <a:pt x="211" y="609"/>
                      <a:pt x="211" y="609"/>
                    </a:cubicBezTo>
                    <a:cubicBezTo>
                      <a:pt x="211" y="609"/>
                      <a:pt x="214" y="653"/>
                      <a:pt x="189" y="676"/>
                    </a:cubicBezTo>
                    <a:cubicBezTo>
                      <a:pt x="165" y="699"/>
                      <a:pt x="156" y="708"/>
                      <a:pt x="149" y="712"/>
                    </a:cubicBezTo>
                    <a:cubicBezTo>
                      <a:pt x="141" y="715"/>
                      <a:pt x="133" y="710"/>
                      <a:pt x="133" y="710"/>
                    </a:cubicBezTo>
                    <a:cubicBezTo>
                      <a:pt x="133" y="710"/>
                      <a:pt x="90" y="746"/>
                      <a:pt x="60" y="717"/>
                    </a:cubicBezTo>
                    <a:cubicBezTo>
                      <a:pt x="30" y="689"/>
                      <a:pt x="28" y="675"/>
                      <a:pt x="28" y="675"/>
                    </a:cubicBezTo>
                    <a:cubicBezTo>
                      <a:pt x="41" y="659"/>
                      <a:pt x="41" y="659"/>
                      <a:pt x="41" y="659"/>
                    </a:cubicBezTo>
                    <a:cubicBezTo>
                      <a:pt x="41" y="659"/>
                      <a:pt x="10" y="622"/>
                      <a:pt x="5" y="556"/>
                    </a:cubicBezTo>
                    <a:cubicBezTo>
                      <a:pt x="0" y="490"/>
                      <a:pt x="23" y="492"/>
                      <a:pt x="39" y="473"/>
                    </a:cubicBezTo>
                    <a:cubicBezTo>
                      <a:pt x="55" y="453"/>
                      <a:pt x="79" y="436"/>
                      <a:pt x="79" y="436"/>
                    </a:cubicBezTo>
                    <a:cubicBezTo>
                      <a:pt x="79" y="436"/>
                      <a:pt x="72" y="370"/>
                      <a:pt x="71" y="349"/>
                    </a:cubicBezTo>
                    <a:cubicBezTo>
                      <a:pt x="69" y="327"/>
                      <a:pt x="53" y="283"/>
                      <a:pt x="67" y="271"/>
                    </a:cubicBezTo>
                    <a:cubicBezTo>
                      <a:pt x="81" y="259"/>
                      <a:pt x="94" y="239"/>
                      <a:pt x="94" y="239"/>
                    </a:cubicBezTo>
                    <a:lnTo>
                      <a:pt x="88" y="219"/>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40" name="Libya">
                <a:extLst>
                  <a:ext uri="{FF2B5EF4-FFF2-40B4-BE49-F238E27FC236}">
                    <a16:creationId xmlns:a16="http://schemas.microsoft.com/office/drawing/2014/main" id="{3405534C-DE21-42EB-8358-FBE9AE5B6B32}"/>
                  </a:ext>
                </a:extLst>
              </p:cNvPr>
              <p:cNvSpPr>
                <a:spLocks/>
              </p:cNvSpPr>
              <p:nvPr/>
            </p:nvSpPr>
            <p:spPr bwMode="gray">
              <a:xfrm>
                <a:off x="5493274" y="1688287"/>
                <a:ext cx="1213700" cy="977643"/>
              </a:xfrm>
              <a:custGeom>
                <a:avLst/>
                <a:gdLst>
                  <a:gd name="T0" fmla="*/ 104 w 731"/>
                  <a:gd name="T1" fmla="*/ 37 h 737"/>
                  <a:gd name="T2" fmla="*/ 69 w 731"/>
                  <a:gd name="T3" fmla="*/ 55 h 737"/>
                  <a:gd name="T4" fmla="*/ 50 w 731"/>
                  <a:gd name="T5" fmla="*/ 78 h 737"/>
                  <a:gd name="T6" fmla="*/ 35 w 731"/>
                  <a:gd name="T7" fmla="*/ 89 h 737"/>
                  <a:gd name="T8" fmla="*/ 44 w 731"/>
                  <a:gd name="T9" fmla="*/ 127 h 737"/>
                  <a:gd name="T10" fmla="*/ 25 w 731"/>
                  <a:gd name="T11" fmla="*/ 153 h 737"/>
                  <a:gd name="T12" fmla="*/ 1 w 731"/>
                  <a:gd name="T13" fmla="*/ 167 h 737"/>
                  <a:gd name="T14" fmla="*/ 30 w 731"/>
                  <a:gd name="T15" fmla="*/ 234 h 737"/>
                  <a:gd name="T16" fmla="*/ 22 w 731"/>
                  <a:gd name="T17" fmla="*/ 274 h 737"/>
                  <a:gd name="T18" fmla="*/ 28 w 731"/>
                  <a:gd name="T19" fmla="*/ 288 h 737"/>
                  <a:gd name="T20" fmla="*/ 19 w 731"/>
                  <a:gd name="T21" fmla="*/ 301 h 737"/>
                  <a:gd name="T22" fmla="*/ 24 w 731"/>
                  <a:gd name="T23" fmla="*/ 337 h 737"/>
                  <a:gd name="T24" fmla="*/ 28 w 731"/>
                  <a:gd name="T25" fmla="*/ 355 h 737"/>
                  <a:gd name="T26" fmla="*/ 1 w 731"/>
                  <a:gd name="T27" fmla="*/ 375 h 737"/>
                  <a:gd name="T28" fmla="*/ 32 w 731"/>
                  <a:gd name="T29" fmla="*/ 425 h 737"/>
                  <a:gd name="T30" fmla="*/ 32 w 731"/>
                  <a:gd name="T31" fmla="*/ 450 h 737"/>
                  <a:gd name="T32" fmla="*/ 48 w 731"/>
                  <a:gd name="T33" fmla="*/ 470 h 737"/>
                  <a:gd name="T34" fmla="*/ 63 w 731"/>
                  <a:gd name="T35" fmla="*/ 464 h 737"/>
                  <a:gd name="T36" fmla="*/ 102 w 731"/>
                  <a:gd name="T37" fmla="*/ 477 h 737"/>
                  <a:gd name="T38" fmla="*/ 122 w 731"/>
                  <a:gd name="T39" fmla="*/ 521 h 737"/>
                  <a:gd name="T40" fmla="*/ 147 w 731"/>
                  <a:gd name="T41" fmla="*/ 527 h 737"/>
                  <a:gd name="T42" fmla="*/ 194 w 731"/>
                  <a:gd name="T43" fmla="*/ 537 h 737"/>
                  <a:gd name="T44" fmla="*/ 228 w 731"/>
                  <a:gd name="T45" fmla="*/ 566 h 737"/>
                  <a:gd name="T46" fmla="*/ 311 w 731"/>
                  <a:gd name="T47" fmla="*/ 521 h 737"/>
                  <a:gd name="T48" fmla="*/ 684 w 731"/>
                  <a:gd name="T49" fmla="*/ 737 h 737"/>
                  <a:gd name="T50" fmla="*/ 683 w 731"/>
                  <a:gd name="T51" fmla="*/ 708 h 737"/>
                  <a:gd name="T52" fmla="*/ 731 w 731"/>
                  <a:gd name="T53" fmla="*/ 707 h 737"/>
                  <a:gd name="T54" fmla="*/ 730 w 731"/>
                  <a:gd name="T55" fmla="*/ 599 h 737"/>
                  <a:gd name="T56" fmla="*/ 717 w 731"/>
                  <a:gd name="T57" fmla="*/ 201 h 737"/>
                  <a:gd name="T58" fmla="*/ 699 w 731"/>
                  <a:gd name="T59" fmla="*/ 163 h 737"/>
                  <a:gd name="T60" fmla="*/ 713 w 731"/>
                  <a:gd name="T61" fmla="*/ 135 h 737"/>
                  <a:gd name="T62" fmla="*/ 703 w 731"/>
                  <a:gd name="T63" fmla="*/ 115 h 737"/>
                  <a:gd name="T64" fmla="*/ 707 w 731"/>
                  <a:gd name="T65" fmla="*/ 94 h 737"/>
                  <a:gd name="T66" fmla="*/ 720 w 731"/>
                  <a:gd name="T67" fmla="*/ 81 h 737"/>
                  <a:gd name="T68" fmla="*/ 716 w 731"/>
                  <a:gd name="T69" fmla="*/ 63 h 737"/>
                  <a:gd name="T70" fmla="*/ 701 w 731"/>
                  <a:gd name="T71" fmla="*/ 68 h 737"/>
                  <a:gd name="T72" fmla="*/ 694 w 731"/>
                  <a:gd name="T73" fmla="*/ 59 h 737"/>
                  <a:gd name="T74" fmla="*/ 682 w 731"/>
                  <a:gd name="T75" fmla="*/ 67 h 737"/>
                  <a:gd name="T76" fmla="*/ 658 w 731"/>
                  <a:gd name="T77" fmla="*/ 50 h 737"/>
                  <a:gd name="T78" fmla="*/ 628 w 731"/>
                  <a:gd name="T79" fmla="*/ 49 h 737"/>
                  <a:gd name="T80" fmla="*/ 617 w 731"/>
                  <a:gd name="T81" fmla="*/ 28 h 737"/>
                  <a:gd name="T82" fmla="*/ 590 w 731"/>
                  <a:gd name="T83" fmla="*/ 23 h 737"/>
                  <a:gd name="T84" fmla="*/ 561 w 731"/>
                  <a:gd name="T85" fmla="*/ 15 h 737"/>
                  <a:gd name="T86" fmla="*/ 553 w 731"/>
                  <a:gd name="T87" fmla="*/ 23 h 737"/>
                  <a:gd name="T88" fmla="*/ 510 w 731"/>
                  <a:gd name="T89" fmla="*/ 31 h 737"/>
                  <a:gd name="T90" fmla="*/ 480 w 731"/>
                  <a:gd name="T91" fmla="*/ 70 h 737"/>
                  <a:gd name="T92" fmla="*/ 496 w 731"/>
                  <a:gd name="T93" fmla="*/ 114 h 737"/>
                  <a:gd name="T94" fmla="*/ 463 w 731"/>
                  <a:gd name="T95" fmla="*/ 154 h 737"/>
                  <a:gd name="T96" fmla="*/ 419 w 731"/>
                  <a:gd name="T97" fmla="*/ 144 h 737"/>
                  <a:gd name="T98" fmla="*/ 351 w 731"/>
                  <a:gd name="T99" fmla="*/ 105 h 737"/>
                  <a:gd name="T100" fmla="*/ 289 w 731"/>
                  <a:gd name="T101" fmla="*/ 97 h 737"/>
                  <a:gd name="T102" fmla="*/ 271 w 731"/>
                  <a:gd name="T103" fmla="*/ 53 h 737"/>
                  <a:gd name="T104" fmla="*/ 244 w 731"/>
                  <a:gd name="T105" fmla="*/ 40 h 737"/>
                  <a:gd name="T106" fmla="*/ 212 w 731"/>
                  <a:gd name="T107" fmla="*/ 21 h 737"/>
                  <a:gd name="T108" fmla="*/ 173 w 731"/>
                  <a:gd name="T109" fmla="*/ 20 h 737"/>
                  <a:gd name="T110" fmla="*/ 143 w 731"/>
                  <a:gd name="T111" fmla="*/ 24 h 737"/>
                  <a:gd name="T112" fmla="*/ 107 w 731"/>
                  <a:gd name="T113" fmla="*/ 3 h 737"/>
                  <a:gd name="T114" fmla="*/ 96 w 731"/>
                  <a:gd name="T115" fmla="*/ 0 h 737"/>
                  <a:gd name="T116" fmla="*/ 93 w 731"/>
                  <a:gd name="T117" fmla="*/ 27 h 737"/>
                  <a:gd name="T118" fmla="*/ 104 w 731"/>
                  <a:gd name="T119" fmla="*/ 37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1" h="737">
                    <a:moveTo>
                      <a:pt x="104" y="37"/>
                    </a:moveTo>
                    <a:cubicBezTo>
                      <a:pt x="100" y="45"/>
                      <a:pt x="75" y="49"/>
                      <a:pt x="69" y="55"/>
                    </a:cubicBezTo>
                    <a:cubicBezTo>
                      <a:pt x="63" y="61"/>
                      <a:pt x="50" y="78"/>
                      <a:pt x="50" y="78"/>
                    </a:cubicBezTo>
                    <a:cubicBezTo>
                      <a:pt x="50" y="78"/>
                      <a:pt x="37" y="83"/>
                      <a:pt x="35" y="89"/>
                    </a:cubicBezTo>
                    <a:cubicBezTo>
                      <a:pt x="33" y="95"/>
                      <a:pt x="43" y="115"/>
                      <a:pt x="44" y="127"/>
                    </a:cubicBezTo>
                    <a:cubicBezTo>
                      <a:pt x="45" y="139"/>
                      <a:pt x="25" y="153"/>
                      <a:pt x="25" y="153"/>
                    </a:cubicBezTo>
                    <a:cubicBezTo>
                      <a:pt x="25" y="153"/>
                      <a:pt x="0" y="161"/>
                      <a:pt x="1" y="167"/>
                    </a:cubicBezTo>
                    <a:cubicBezTo>
                      <a:pt x="2" y="173"/>
                      <a:pt x="29" y="224"/>
                      <a:pt x="30" y="234"/>
                    </a:cubicBezTo>
                    <a:cubicBezTo>
                      <a:pt x="31" y="244"/>
                      <a:pt x="22" y="274"/>
                      <a:pt x="22" y="274"/>
                    </a:cubicBezTo>
                    <a:cubicBezTo>
                      <a:pt x="28" y="288"/>
                      <a:pt x="28" y="288"/>
                      <a:pt x="28" y="288"/>
                    </a:cubicBezTo>
                    <a:cubicBezTo>
                      <a:pt x="19" y="301"/>
                      <a:pt x="19" y="301"/>
                      <a:pt x="19" y="301"/>
                    </a:cubicBezTo>
                    <a:cubicBezTo>
                      <a:pt x="24" y="337"/>
                      <a:pt x="24" y="337"/>
                      <a:pt x="24" y="337"/>
                    </a:cubicBezTo>
                    <a:cubicBezTo>
                      <a:pt x="24" y="337"/>
                      <a:pt x="28" y="343"/>
                      <a:pt x="28" y="355"/>
                    </a:cubicBezTo>
                    <a:cubicBezTo>
                      <a:pt x="28" y="367"/>
                      <a:pt x="2" y="369"/>
                      <a:pt x="1" y="375"/>
                    </a:cubicBezTo>
                    <a:cubicBezTo>
                      <a:pt x="0" y="381"/>
                      <a:pt x="27" y="417"/>
                      <a:pt x="32" y="425"/>
                    </a:cubicBezTo>
                    <a:cubicBezTo>
                      <a:pt x="37" y="433"/>
                      <a:pt x="32" y="443"/>
                      <a:pt x="32" y="450"/>
                    </a:cubicBezTo>
                    <a:cubicBezTo>
                      <a:pt x="32" y="457"/>
                      <a:pt x="44" y="468"/>
                      <a:pt x="48" y="470"/>
                    </a:cubicBezTo>
                    <a:cubicBezTo>
                      <a:pt x="52" y="472"/>
                      <a:pt x="57" y="467"/>
                      <a:pt x="63" y="464"/>
                    </a:cubicBezTo>
                    <a:cubicBezTo>
                      <a:pt x="69" y="461"/>
                      <a:pt x="97" y="474"/>
                      <a:pt x="102" y="477"/>
                    </a:cubicBezTo>
                    <a:cubicBezTo>
                      <a:pt x="107" y="480"/>
                      <a:pt x="122" y="521"/>
                      <a:pt x="122" y="521"/>
                    </a:cubicBezTo>
                    <a:cubicBezTo>
                      <a:pt x="147" y="527"/>
                      <a:pt x="147" y="527"/>
                      <a:pt x="147" y="527"/>
                    </a:cubicBezTo>
                    <a:cubicBezTo>
                      <a:pt x="147" y="527"/>
                      <a:pt x="187" y="535"/>
                      <a:pt x="194" y="537"/>
                    </a:cubicBezTo>
                    <a:cubicBezTo>
                      <a:pt x="201" y="539"/>
                      <a:pt x="217" y="567"/>
                      <a:pt x="228" y="566"/>
                    </a:cubicBezTo>
                    <a:cubicBezTo>
                      <a:pt x="239" y="565"/>
                      <a:pt x="311" y="521"/>
                      <a:pt x="311" y="521"/>
                    </a:cubicBezTo>
                    <a:cubicBezTo>
                      <a:pt x="684" y="737"/>
                      <a:pt x="684" y="737"/>
                      <a:pt x="684" y="737"/>
                    </a:cubicBezTo>
                    <a:cubicBezTo>
                      <a:pt x="683" y="708"/>
                      <a:pt x="683" y="708"/>
                      <a:pt x="683" y="708"/>
                    </a:cubicBezTo>
                    <a:cubicBezTo>
                      <a:pt x="731" y="707"/>
                      <a:pt x="731" y="707"/>
                      <a:pt x="731" y="707"/>
                    </a:cubicBezTo>
                    <a:cubicBezTo>
                      <a:pt x="730" y="599"/>
                      <a:pt x="730" y="599"/>
                      <a:pt x="730" y="599"/>
                    </a:cubicBezTo>
                    <a:cubicBezTo>
                      <a:pt x="730" y="599"/>
                      <a:pt x="717" y="214"/>
                      <a:pt x="717" y="201"/>
                    </a:cubicBezTo>
                    <a:cubicBezTo>
                      <a:pt x="717" y="188"/>
                      <a:pt x="702" y="170"/>
                      <a:pt x="699" y="163"/>
                    </a:cubicBezTo>
                    <a:cubicBezTo>
                      <a:pt x="696" y="156"/>
                      <a:pt x="710" y="144"/>
                      <a:pt x="713" y="135"/>
                    </a:cubicBezTo>
                    <a:cubicBezTo>
                      <a:pt x="716" y="126"/>
                      <a:pt x="704" y="119"/>
                      <a:pt x="703" y="115"/>
                    </a:cubicBezTo>
                    <a:cubicBezTo>
                      <a:pt x="702" y="111"/>
                      <a:pt x="702" y="97"/>
                      <a:pt x="707" y="94"/>
                    </a:cubicBezTo>
                    <a:cubicBezTo>
                      <a:pt x="711" y="92"/>
                      <a:pt x="717" y="85"/>
                      <a:pt x="720" y="81"/>
                    </a:cubicBezTo>
                    <a:cubicBezTo>
                      <a:pt x="714" y="72"/>
                      <a:pt x="716" y="63"/>
                      <a:pt x="716" y="63"/>
                    </a:cubicBezTo>
                    <a:cubicBezTo>
                      <a:pt x="701" y="68"/>
                      <a:pt x="701" y="68"/>
                      <a:pt x="701" y="68"/>
                    </a:cubicBezTo>
                    <a:cubicBezTo>
                      <a:pt x="694" y="59"/>
                      <a:pt x="694" y="59"/>
                      <a:pt x="694" y="59"/>
                    </a:cubicBezTo>
                    <a:cubicBezTo>
                      <a:pt x="694" y="59"/>
                      <a:pt x="689" y="67"/>
                      <a:pt x="682" y="67"/>
                    </a:cubicBezTo>
                    <a:cubicBezTo>
                      <a:pt x="675" y="67"/>
                      <a:pt x="667" y="50"/>
                      <a:pt x="658" y="50"/>
                    </a:cubicBezTo>
                    <a:cubicBezTo>
                      <a:pt x="649" y="50"/>
                      <a:pt x="639" y="57"/>
                      <a:pt x="628" y="49"/>
                    </a:cubicBezTo>
                    <a:cubicBezTo>
                      <a:pt x="617" y="41"/>
                      <a:pt x="626" y="32"/>
                      <a:pt x="617" y="28"/>
                    </a:cubicBezTo>
                    <a:cubicBezTo>
                      <a:pt x="608" y="24"/>
                      <a:pt x="590" y="23"/>
                      <a:pt x="590" y="23"/>
                    </a:cubicBezTo>
                    <a:cubicBezTo>
                      <a:pt x="590" y="23"/>
                      <a:pt x="569" y="15"/>
                      <a:pt x="561" y="15"/>
                    </a:cubicBezTo>
                    <a:cubicBezTo>
                      <a:pt x="553" y="15"/>
                      <a:pt x="553" y="23"/>
                      <a:pt x="553" y="23"/>
                    </a:cubicBezTo>
                    <a:cubicBezTo>
                      <a:pt x="553" y="23"/>
                      <a:pt x="523" y="21"/>
                      <a:pt x="510" y="31"/>
                    </a:cubicBezTo>
                    <a:cubicBezTo>
                      <a:pt x="497" y="41"/>
                      <a:pt x="480" y="54"/>
                      <a:pt x="480" y="70"/>
                    </a:cubicBezTo>
                    <a:cubicBezTo>
                      <a:pt x="480" y="86"/>
                      <a:pt x="496" y="105"/>
                      <a:pt x="496" y="114"/>
                    </a:cubicBezTo>
                    <a:cubicBezTo>
                      <a:pt x="496" y="123"/>
                      <a:pt x="475" y="152"/>
                      <a:pt x="463" y="154"/>
                    </a:cubicBezTo>
                    <a:cubicBezTo>
                      <a:pt x="451" y="156"/>
                      <a:pt x="433" y="159"/>
                      <a:pt x="419" y="144"/>
                    </a:cubicBezTo>
                    <a:cubicBezTo>
                      <a:pt x="405" y="129"/>
                      <a:pt x="366" y="106"/>
                      <a:pt x="351" y="105"/>
                    </a:cubicBezTo>
                    <a:cubicBezTo>
                      <a:pt x="336" y="104"/>
                      <a:pt x="302" y="113"/>
                      <a:pt x="289" y="97"/>
                    </a:cubicBezTo>
                    <a:cubicBezTo>
                      <a:pt x="276" y="81"/>
                      <a:pt x="280" y="69"/>
                      <a:pt x="271" y="53"/>
                    </a:cubicBezTo>
                    <a:cubicBezTo>
                      <a:pt x="262" y="37"/>
                      <a:pt x="244" y="40"/>
                      <a:pt x="244" y="40"/>
                    </a:cubicBezTo>
                    <a:cubicBezTo>
                      <a:pt x="244" y="40"/>
                      <a:pt x="220" y="22"/>
                      <a:pt x="212" y="21"/>
                    </a:cubicBezTo>
                    <a:cubicBezTo>
                      <a:pt x="204" y="20"/>
                      <a:pt x="180" y="19"/>
                      <a:pt x="173" y="20"/>
                    </a:cubicBezTo>
                    <a:cubicBezTo>
                      <a:pt x="166" y="21"/>
                      <a:pt x="154" y="28"/>
                      <a:pt x="143" y="24"/>
                    </a:cubicBezTo>
                    <a:cubicBezTo>
                      <a:pt x="132" y="20"/>
                      <a:pt x="112" y="4"/>
                      <a:pt x="107" y="3"/>
                    </a:cubicBezTo>
                    <a:cubicBezTo>
                      <a:pt x="104" y="2"/>
                      <a:pt x="100" y="1"/>
                      <a:pt x="96" y="0"/>
                    </a:cubicBezTo>
                    <a:cubicBezTo>
                      <a:pt x="93" y="27"/>
                      <a:pt x="93" y="27"/>
                      <a:pt x="93" y="27"/>
                    </a:cubicBezTo>
                    <a:cubicBezTo>
                      <a:pt x="93" y="27"/>
                      <a:pt x="108" y="29"/>
                      <a:pt x="104" y="37"/>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41" name="Liberia">
                <a:extLst>
                  <a:ext uri="{FF2B5EF4-FFF2-40B4-BE49-F238E27FC236}">
                    <a16:creationId xmlns:a16="http://schemas.microsoft.com/office/drawing/2014/main" id="{B26ACD0C-9189-4CEB-BA2B-FBA1004B74C6}"/>
                  </a:ext>
                </a:extLst>
              </p:cNvPr>
              <p:cNvSpPr>
                <a:spLocks/>
              </p:cNvSpPr>
              <p:nvPr/>
            </p:nvSpPr>
            <p:spPr bwMode="gray">
              <a:xfrm>
                <a:off x="3837372" y="3433009"/>
                <a:ext cx="343409" cy="312096"/>
              </a:xfrm>
              <a:custGeom>
                <a:avLst/>
                <a:gdLst>
                  <a:gd name="T0" fmla="*/ 207 w 207"/>
                  <a:gd name="T1" fmla="*/ 175 h 236"/>
                  <a:gd name="T2" fmla="*/ 186 w 207"/>
                  <a:gd name="T3" fmla="*/ 146 h 236"/>
                  <a:gd name="T4" fmla="*/ 185 w 207"/>
                  <a:gd name="T5" fmla="*/ 129 h 236"/>
                  <a:gd name="T6" fmla="*/ 161 w 207"/>
                  <a:gd name="T7" fmla="*/ 133 h 236"/>
                  <a:gd name="T8" fmla="*/ 161 w 207"/>
                  <a:gd name="T9" fmla="*/ 123 h 236"/>
                  <a:gd name="T10" fmla="*/ 148 w 207"/>
                  <a:gd name="T11" fmla="*/ 121 h 236"/>
                  <a:gd name="T12" fmla="*/ 162 w 207"/>
                  <a:gd name="T13" fmla="*/ 89 h 236"/>
                  <a:gd name="T14" fmla="*/ 149 w 207"/>
                  <a:gd name="T15" fmla="*/ 55 h 236"/>
                  <a:gd name="T16" fmla="*/ 145 w 207"/>
                  <a:gd name="T17" fmla="*/ 56 h 236"/>
                  <a:gd name="T18" fmla="*/ 129 w 207"/>
                  <a:gd name="T19" fmla="*/ 82 h 236"/>
                  <a:gd name="T20" fmla="*/ 117 w 207"/>
                  <a:gd name="T21" fmla="*/ 72 h 236"/>
                  <a:gd name="T22" fmla="*/ 109 w 207"/>
                  <a:gd name="T23" fmla="*/ 72 h 236"/>
                  <a:gd name="T24" fmla="*/ 99 w 207"/>
                  <a:gd name="T25" fmla="*/ 13 h 236"/>
                  <a:gd name="T26" fmla="*/ 83 w 207"/>
                  <a:gd name="T27" fmla="*/ 18 h 236"/>
                  <a:gd name="T28" fmla="*/ 67 w 207"/>
                  <a:gd name="T29" fmla="*/ 14 h 236"/>
                  <a:gd name="T30" fmla="*/ 69 w 207"/>
                  <a:gd name="T31" fmla="*/ 31 h 236"/>
                  <a:gd name="T32" fmla="*/ 55 w 207"/>
                  <a:gd name="T33" fmla="*/ 34 h 236"/>
                  <a:gd name="T34" fmla="*/ 55 w 207"/>
                  <a:gd name="T35" fmla="*/ 48 h 236"/>
                  <a:gd name="T36" fmla="*/ 16 w 207"/>
                  <a:gd name="T37" fmla="*/ 82 h 236"/>
                  <a:gd name="T38" fmla="*/ 14 w 207"/>
                  <a:gd name="T39" fmla="*/ 105 h 236"/>
                  <a:gd name="T40" fmla="*/ 0 w 207"/>
                  <a:gd name="T41" fmla="*/ 89 h 236"/>
                  <a:gd name="T42" fmla="*/ 0 w 207"/>
                  <a:gd name="T43" fmla="*/ 89 h 236"/>
                  <a:gd name="T44" fmla="*/ 23 w 207"/>
                  <a:gd name="T45" fmla="*/ 115 h 236"/>
                  <a:gd name="T46" fmla="*/ 40 w 207"/>
                  <a:gd name="T47" fmla="*/ 117 h 236"/>
                  <a:gd name="T48" fmla="*/ 48 w 207"/>
                  <a:gd name="T49" fmla="*/ 135 h 236"/>
                  <a:gd name="T50" fmla="*/ 70 w 207"/>
                  <a:gd name="T51" fmla="*/ 139 h 236"/>
                  <a:gd name="T52" fmla="*/ 105 w 207"/>
                  <a:gd name="T53" fmla="*/ 187 h 236"/>
                  <a:gd name="T54" fmla="*/ 156 w 207"/>
                  <a:gd name="T55" fmla="*/ 213 h 236"/>
                  <a:gd name="T56" fmla="*/ 195 w 207"/>
                  <a:gd name="T57" fmla="*/ 236 h 236"/>
                  <a:gd name="T58" fmla="*/ 198 w 207"/>
                  <a:gd name="T59" fmla="*/ 236 h 236"/>
                  <a:gd name="T60" fmla="*/ 197 w 207"/>
                  <a:gd name="T61" fmla="*/ 209 h 236"/>
                  <a:gd name="T62" fmla="*/ 207 w 207"/>
                  <a:gd name="T63" fmla="*/ 17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7" h="236">
                    <a:moveTo>
                      <a:pt x="207" y="175"/>
                    </a:moveTo>
                    <a:cubicBezTo>
                      <a:pt x="207" y="162"/>
                      <a:pt x="186" y="146"/>
                      <a:pt x="186" y="146"/>
                    </a:cubicBezTo>
                    <a:cubicBezTo>
                      <a:pt x="185" y="129"/>
                      <a:pt x="185" y="129"/>
                      <a:pt x="185" y="129"/>
                    </a:cubicBezTo>
                    <a:cubicBezTo>
                      <a:pt x="161" y="133"/>
                      <a:pt x="161" y="133"/>
                      <a:pt x="161" y="133"/>
                    </a:cubicBezTo>
                    <a:cubicBezTo>
                      <a:pt x="161" y="123"/>
                      <a:pt x="161" y="123"/>
                      <a:pt x="161" y="123"/>
                    </a:cubicBezTo>
                    <a:cubicBezTo>
                      <a:pt x="161" y="123"/>
                      <a:pt x="149" y="124"/>
                      <a:pt x="148" y="121"/>
                    </a:cubicBezTo>
                    <a:cubicBezTo>
                      <a:pt x="147" y="118"/>
                      <a:pt x="162" y="104"/>
                      <a:pt x="162" y="89"/>
                    </a:cubicBezTo>
                    <a:cubicBezTo>
                      <a:pt x="162" y="79"/>
                      <a:pt x="154" y="64"/>
                      <a:pt x="149" y="55"/>
                    </a:cubicBezTo>
                    <a:cubicBezTo>
                      <a:pt x="147" y="55"/>
                      <a:pt x="146" y="55"/>
                      <a:pt x="145" y="56"/>
                    </a:cubicBezTo>
                    <a:cubicBezTo>
                      <a:pt x="140" y="60"/>
                      <a:pt x="140" y="82"/>
                      <a:pt x="129" y="82"/>
                    </a:cubicBezTo>
                    <a:cubicBezTo>
                      <a:pt x="118" y="82"/>
                      <a:pt x="117" y="72"/>
                      <a:pt x="117" y="72"/>
                    </a:cubicBezTo>
                    <a:cubicBezTo>
                      <a:pt x="109" y="72"/>
                      <a:pt x="109" y="72"/>
                      <a:pt x="109" y="72"/>
                    </a:cubicBezTo>
                    <a:cubicBezTo>
                      <a:pt x="109" y="72"/>
                      <a:pt x="118" y="26"/>
                      <a:pt x="99" y="13"/>
                    </a:cubicBezTo>
                    <a:cubicBezTo>
                      <a:pt x="80" y="0"/>
                      <a:pt x="83" y="18"/>
                      <a:pt x="83" y="18"/>
                    </a:cubicBezTo>
                    <a:cubicBezTo>
                      <a:pt x="67" y="14"/>
                      <a:pt x="67" y="14"/>
                      <a:pt x="67" y="14"/>
                    </a:cubicBezTo>
                    <a:cubicBezTo>
                      <a:pt x="69" y="31"/>
                      <a:pt x="69" y="31"/>
                      <a:pt x="69" y="31"/>
                    </a:cubicBezTo>
                    <a:cubicBezTo>
                      <a:pt x="55" y="34"/>
                      <a:pt x="55" y="34"/>
                      <a:pt x="55" y="34"/>
                    </a:cubicBezTo>
                    <a:cubicBezTo>
                      <a:pt x="55" y="34"/>
                      <a:pt x="59" y="38"/>
                      <a:pt x="55" y="48"/>
                    </a:cubicBezTo>
                    <a:cubicBezTo>
                      <a:pt x="51" y="58"/>
                      <a:pt x="17" y="75"/>
                      <a:pt x="16" y="82"/>
                    </a:cubicBezTo>
                    <a:cubicBezTo>
                      <a:pt x="15" y="86"/>
                      <a:pt x="15" y="97"/>
                      <a:pt x="14" y="105"/>
                    </a:cubicBezTo>
                    <a:cubicBezTo>
                      <a:pt x="0" y="89"/>
                      <a:pt x="0" y="89"/>
                      <a:pt x="0" y="89"/>
                    </a:cubicBezTo>
                    <a:cubicBezTo>
                      <a:pt x="0" y="89"/>
                      <a:pt x="0" y="89"/>
                      <a:pt x="0" y="89"/>
                    </a:cubicBezTo>
                    <a:cubicBezTo>
                      <a:pt x="23" y="115"/>
                      <a:pt x="23" y="115"/>
                      <a:pt x="23" y="115"/>
                    </a:cubicBezTo>
                    <a:cubicBezTo>
                      <a:pt x="40" y="117"/>
                      <a:pt x="40" y="117"/>
                      <a:pt x="40" y="117"/>
                    </a:cubicBezTo>
                    <a:cubicBezTo>
                      <a:pt x="48" y="135"/>
                      <a:pt x="48" y="135"/>
                      <a:pt x="48" y="135"/>
                    </a:cubicBezTo>
                    <a:cubicBezTo>
                      <a:pt x="48" y="135"/>
                      <a:pt x="66" y="131"/>
                      <a:pt x="70" y="139"/>
                    </a:cubicBezTo>
                    <a:cubicBezTo>
                      <a:pt x="74" y="147"/>
                      <a:pt x="89" y="173"/>
                      <a:pt x="105" y="187"/>
                    </a:cubicBezTo>
                    <a:cubicBezTo>
                      <a:pt x="121" y="201"/>
                      <a:pt x="149" y="208"/>
                      <a:pt x="156" y="213"/>
                    </a:cubicBezTo>
                    <a:cubicBezTo>
                      <a:pt x="163" y="218"/>
                      <a:pt x="180" y="236"/>
                      <a:pt x="195" y="236"/>
                    </a:cubicBezTo>
                    <a:cubicBezTo>
                      <a:pt x="196" y="236"/>
                      <a:pt x="197" y="236"/>
                      <a:pt x="198" y="236"/>
                    </a:cubicBezTo>
                    <a:cubicBezTo>
                      <a:pt x="197" y="209"/>
                      <a:pt x="197" y="209"/>
                      <a:pt x="197" y="209"/>
                    </a:cubicBezTo>
                    <a:cubicBezTo>
                      <a:pt x="197" y="209"/>
                      <a:pt x="207" y="188"/>
                      <a:pt x="207" y="175"/>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42" name="Lesotho">
                <a:extLst>
                  <a:ext uri="{FF2B5EF4-FFF2-40B4-BE49-F238E27FC236}">
                    <a16:creationId xmlns:a16="http://schemas.microsoft.com/office/drawing/2014/main" id="{29106527-65CB-40F8-BABB-4482F0FA9CE1}"/>
                  </a:ext>
                </a:extLst>
              </p:cNvPr>
              <p:cNvSpPr>
                <a:spLocks/>
              </p:cNvSpPr>
              <p:nvPr/>
            </p:nvSpPr>
            <p:spPr bwMode="gray">
              <a:xfrm>
                <a:off x="6829284" y="6087692"/>
                <a:ext cx="183466" cy="150408"/>
              </a:xfrm>
              <a:custGeom>
                <a:avLst/>
                <a:gdLst>
                  <a:gd name="T0" fmla="*/ 0 w 111"/>
                  <a:gd name="T1" fmla="*/ 58 h 114"/>
                  <a:gd name="T2" fmla="*/ 17 w 111"/>
                  <a:gd name="T3" fmla="*/ 83 h 114"/>
                  <a:gd name="T4" fmla="*/ 17 w 111"/>
                  <a:gd name="T5" fmla="*/ 94 h 114"/>
                  <a:gd name="T6" fmla="*/ 35 w 111"/>
                  <a:gd name="T7" fmla="*/ 114 h 114"/>
                  <a:gd name="T8" fmla="*/ 50 w 111"/>
                  <a:gd name="T9" fmla="*/ 113 h 114"/>
                  <a:gd name="T10" fmla="*/ 61 w 111"/>
                  <a:gd name="T11" fmla="*/ 89 h 114"/>
                  <a:gd name="T12" fmla="*/ 82 w 111"/>
                  <a:gd name="T13" fmla="*/ 85 h 114"/>
                  <a:gd name="T14" fmla="*/ 99 w 111"/>
                  <a:gd name="T15" fmla="*/ 75 h 114"/>
                  <a:gd name="T16" fmla="*/ 96 w 111"/>
                  <a:gd name="T17" fmla="*/ 63 h 114"/>
                  <a:gd name="T18" fmla="*/ 111 w 111"/>
                  <a:gd name="T19" fmla="*/ 50 h 114"/>
                  <a:gd name="T20" fmla="*/ 110 w 111"/>
                  <a:gd name="T21" fmla="*/ 34 h 114"/>
                  <a:gd name="T22" fmla="*/ 100 w 111"/>
                  <a:gd name="T23" fmla="*/ 31 h 114"/>
                  <a:gd name="T24" fmla="*/ 83 w 111"/>
                  <a:gd name="T25" fmla="*/ 6 h 114"/>
                  <a:gd name="T26" fmla="*/ 62 w 111"/>
                  <a:gd name="T27" fmla="*/ 5 h 114"/>
                  <a:gd name="T28" fmla="*/ 54 w 111"/>
                  <a:gd name="T29" fmla="*/ 8 h 114"/>
                  <a:gd name="T30" fmla="*/ 53 w 111"/>
                  <a:gd name="T31" fmla="*/ 18 h 114"/>
                  <a:gd name="T32" fmla="*/ 38 w 111"/>
                  <a:gd name="T33" fmla="*/ 19 h 114"/>
                  <a:gd name="T34" fmla="*/ 31 w 111"/>
                  <a:gd name="T35" fmla="*/ 33 h 114"/>
                  <a:gd name="T36" fmla="*/ 19 w 111"/>
                  <a:gd name="T37" fmla="*/ 46 h 114"/>
                  <a:gd name="T38" fmla="*/ 17 w 111"/>
                  <a:gd name="T39" fmla="*/ 56 h 114"/>
                  <a:gd name="T40" fmla="*/ 0 w 111"/>
                  <a:gd name="T41" fmla="*/ 5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114">
                    <a:moveTo>
                      <a:pt x="0" y="58"/>
                    </a:moveTo>
                    <a:cubicBezTo>
                      <a:pt x="17" y="83"/>
                      <a:pt x="17" y="83"/>
                      <a:pt x="17" y="83"/>
                    </a:cubicBezTo>
                    <a:cubicBezTo>
                      <a:pt x="17" y="94"/>
                      <a:pt x="17" y="94"/>
                      <a:pt x="17" y="94"/>
                    </a:cubicBezTo>
                    <a:cubicBezTo>
                      <a:pt x="35" y="114"/>
                      <a:pt x="35" y="114"/>
                      <a:pt x="35" y="114"/>
                    </a:cubicBezTo>
                    <a:cubicBezTo>
                      <a:pt x="50" y="113"/>
                      <a:pt x="50" y="113"/>
                      <a:pt x="50" y="113"/>
                    </a:cubicBezTo>
                    <a:cubicBezTo>
                      <a:pt x="50" y="113"/>
                      <a:pt x="51" y="93"/>
                      <a:pt x="61" y="89"/>
                    </a:cubicBezTo>
                    <a:cubicBezTo>
                      <a:pt x="71" y="85"/>
                      <a:pt x="74" y="87"/>
                      <a:pt x="82" y="85"/>
                    </a:cubicBezTo>
                    <a:cubicBezTo>
                      <a:pt x="90" y="83"/>
                      <a:pt x="99" y="75"/>
                      <a:pt x="99" y="75"/>
                    </a:cubicBezTo>
                    <a:cubicBezTo>
                      <a:pt x="96" y="63"/>
                      <a:pt x="96" y="63"/>
                      <a:pt x="96" y="63"/>
                    </a:cubicBezTo>
                    <a:cubicBezTo>
                      <a:pt x="111" y="50"/>
                      <a:pt x="111" y="50"/>
                      <a:pt x="111" y="50"/>
                    </a:cubicBezTo>
                    <a:cubicBezTo>
                      <a:pt x="110" y="34"/>
                      <a:pt x="110" y="34"/>
                      <a:pt x="110" y="34"/>
                    </a:cubicBezTo>
                    <a:cubicBezTo>
                      <a:pt x="100" y="31"/>
                      <a:pt x="100" y="31"/>
                      <a:pt x="100" y="31"/>
                    </a:cubicBezTo>
                    <a:cubicBezTo>
                      <a:pt x="100" y="31"/>
                      <a:pt x="88" y="12"/>
                      <a:pt x="83" y="6"/>
                    </a:cubicBezTo>
                    <a:cubicBezTo>
                      <a:pt x="78" y="0"/>
                      <a:pt x="62" y="5"/>
                      <a:pt x="62" y="5"/>
                    </a:cubicBezTo>
                    <a:cubicBezTo>
                      <a:pt x="54" y="8"/>
                      <a:pt x="54" y="8"/>
                      <a:pt x="54" y="8"/>
                    </a:cubicBezTo>
                    <a:cubicBezTo>
                      <a:pt x="53" y="18"/>
                      <a:pt x="53" y="18"/>
                      <a:pt x="53" y="18"/>
                    </a:cubicBezTo>
                    <a:cubicBezTo>
                      <a:pt x="53" y="18"/>
                      <a:pt x="43" y="15"/>
                      <a:pt x="38" y="19"/>
                    </a:cubicBezTo>
                    <a:cubicBezTo>
                      <a:pt x="33" y="23"/>
                      <a:pt x="31" y="33"/>
                      <a:pt x="31" y="33"/>
                    </a:cubicBezTo>
                    <a:cubicBezTo>
                      <a:pt x="19" y="46"/>
                      <a:pt x="19" y="46"/>
                      <a:pt x="19" y="46"/>
                    </a:cubicBezTo>
                    <a:cubicBezTo>
                      <a:pt x="17" y="56"/>
                      <a:pt x="17" y="56"/>
                      <a:pt x="17" y="56"/>
                    </a:cubicBezTo>
                    <a:lnTo>
                      <a:pt x="0" y="58"/>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43" name="Kenya">
                <a:extLst>
                  <a:ext uri="{FF2B5EF4-FFF2-40B4-BE49-F238E27FC236}">
                    <a16:creationId xmlns:a16="http://schemas.microsoft.com/office/drawing/2014/main" id="{24C89ACC-1197-45AB-BCD8-642D74123DBA}"/>
                  </a:ext>
                </a:extLst>
              </p:cNvPr>
              <p:cNvSpPr>
                <a:spLocks/>
              </p:cNvSpPr>
              <p:nvPr/>
            </p:nvSpPr>
            <p:spPr bwMode="gray">
              <a:xfrm>
                <a:off x="7426706" y="3718786"/>
                <a:ext cx="630372" cy="673071"/>
              </a:xfrm>
              <a:custGeom>
                <a:avLst/>
                <a:gdLst>
                  <a:gd name="T0" fmla="*/ 337 w 378"/>
                  <a:gd name="T1" fmla="*/ 100 h 509"/>
                  <a:gd name="T2" fmla="*/ 358 w 378"/>
                  <a:gd name="T3" fmla="*/ 79 h 509"/>
                  <a:gd name="T4" fmla="*/ 378 w 378"/>
                  <a:gd name="T5" fmla="*/ 43 h 509"/>
                  <a:gd name="T6" fmla="*/ 362 w 378"/>
                  <a:gd name="T7" fmla="*/ 37 h 509"/>
                  <a:gd name="T8" fmla="*/ 358 w 378"/>
                  <a:gd name="T9" fmla="*/ 41 h 509"/>
                  <a:gd name="T10" fmla="*/ 340 w 378"/>
                  <a:gd name="T11" fmla="*/ 40 h 509"/>
                  <a:gd name="T12" fmla="*/ 324 w 378"/>
                  <a:gd name="T13" fmla="*/ 23 h 509"/>
                  <a:gd name="T14" fmla="*/ 312 w 378"/>
                  <a:gd name="T15" fmla="*/ 32 h 509"/>
                  <a:gd name="T16" fmla="*/ 283 w 378"/>
                  <a:gd name="T17" fmla="*/ 46 h 509"/>
                  <a:gd name="T18" fmla="*/ 278 w 378"/>
                  <a:gd name="T19" fmla="*/ 56 h 509"/>
                  <a:gd name="T20" fmla="*/ 265 w 378"/>
                  <a:gd name="T21" fmla="*/ 70 h 509"/>
                  <a:gd name="T22" fmla="*/ 234 w 378"/>
                  <a:gd name="T23" fmla="*/ 61 h 509"/>
                  <a:gd name="T24" fmla="*/ 194 w 378"/>
                  <a:gd name="T25" fmla="*/ 57 h 509"/>
                  <a:gd name="T26" fmla="*/ 143 w 378"/>
                  <a:gd name="T27" fmla="*/ 17 h 509"/>
                  <a:gd name="T28" fmla="*/ 96 w 378"/>
                  <a:gd name="T29" fmla="*/ 15 h 509"/>
                  <a:gd name="T30" fmla="*/ 90 w 378"/>
                  <a:gd name="T31" fmla="*/ 0 h 509"/>
                  <a:gd name="T32" fmla="*/ 77 w 378"/>
                  <a:gd name="T33" fmla="*/ 8 h 509"/>
                  <a:gd name="T34" fmla="*/ 17 w 378"/>
                  <a:gd name="T35" fmla="*/ 9 h 509"/>
                  <a:gd name="T36" fmla="*/ 3 w 378"/>
                  <a:gd name="T37" fmla="*/ 29 h 509"/>
                  <a:gd name="T38" fmla="*/ 10 w 378"/>
                  <a:gd name="T39" fmla="*/ 51 h 509"/>
                  <a:gd name="T40" fmla="*/ 23 w 378"/>
                  <a:gd name="T41" fmla="*/ 56 h 509"/>
                  <a:gd name="T42" fmla="*/ 21 w 378"/>
                  <a:gd name="T43" fmla="*/ 71 h 509"/>
                  <a:gd name="T44" fmla="*/ 30 w 378"/>
                  <a:gd name="T45" fmla="*/ 86 h 509"/>
                  <a:gd name="T46" fmla="*/ 29 w 378"/>
                  <a:gd name="T47" fmla="*/ 91 h 509"/>
                  <a:gd name="T48" fmla="*/ 50 w 378"/>
                  <a:gd name="T49" fmla="*/ 116 h 509"/>
                  <a:gd name="T50" fmla="*/ 41 w 378"/>
                  <a:gd name="T51" fmla="*/ 126 h 509"/>
                  <a:gd name="T52" fmla="*/ 57 w 378"/>
                  <a:gd name="T53" fmla="*/ 156 h 509"/>
                  <a:gd name="T54" fmla="*/ 46 w 378"/>
                  <a:gd name="T55" fmla="*/ 174 h 509"/>
                  <a:gd name="T56" fmla="*/ 42 w 378"/>
                  <a:gd name="T57" fmla="*/ 189 h 509"/>
                  <a:gd name="T58" fmla="*/ 29 w 378"/>
                  <a:gd name="T59" fmla="*/ 193 h 509"/>
                  <a:gd name="T60" fmla="*/ 26 w 378"/>
                  <a:gd name="T61" fmla="*/ 208 h 509"/>
                  <a:gd name="T62" fmla="*/ 14 w 378"/>
                  <a:gd name="T63" fmla="*/ 219 h 509"/>
                  <a:gd name="T64" fmla="*/ 13 w 378"/>
                  <a:gd name="T65" fmla="*/ 230 h 509"/>
                  <a:gd name="T66" fmla="*/ 2 w 378"/>
                  <a:gd name="T67" fmla="*/ 248 h 509"/>
                  <a:gd name="T68" fmla="*/ 18 w 378"/>
                  <a:gd name="T69" fmla="*/ 270 h 509"/>
                  <a:gd name="T70" fmla="*/ 25 w 378"/>
                  <a:gd name="T71" fmla="*/ 262 h 509"/>
                  <a:gd name="T72" fmla="*/ 39 w 378"/>
                  <a:gd name="T73" fmla="*/ 261 h 509"/>
                  <a:gd name="T74" fmla="*/ 42 w 378"/>
                  <a:gd name="T75" fmla="*/ 273 h 509"/>
                  <a:gd name="T76" fmla="*/ 33 w 378"/>
                  <a:gd name="T77" fmla="*/ 275 h 509"/>
                  <a:gd name="T78" fmla="*/ 23 w 378"/>
                  <a:gd name="T79" fmla="*/ 283 h 509"/>
                  <a:gd name="T80" fmla="*/ 9 w 378"/>
                  <a:gd name="T81" fmla="*/ 283 h 509"/>
                  <a:gd name="T82" fmla="*/ 13 w 378"/>
                  <a:gd name="T83" fmla="*/ 302 h 509"/>
                  <a:gd name="T84" fmla="*/ 9 w 378"/>
                  <a:gd name="T85" fmla="*/ 312 h 509"/>
                  <a:gd name="T86" fmla="*/ 175 w 378"/>
                  <a:gd name="T87" fmla="*/ 416 h 509"/>
                  <a:gd name="T88" fmla="*/ 184 w 378"/>
                  <a:gd name="T89" fmla="*/ 429 h 509"/>
                  <a:gd name="T90" fmla="*/ 173 w 378"/>
                  <a:gd name="T91" fmla="*/ 439 h 509"/>
                  <a:gd name="T92" fmla="*/ 248 w 378"/>
                  <a:gd name="T93" fmla="*/ 509 h 509"/>
                  <a:gd name="T94" fmla="*/ 248 w 378"/>
                  <a:gd name="T95" fmla="*/ 508 h 509"/>
                  <a:gd name="T96" fmla="*/ 261 w 378"/>
                  <a:gd name="T97" fmla="*/ 505 h 509"/>
                  <a:gd name="T98" fmla="*/ 281 w 378"/>
                  <a:gd name="T99" fmla="*/ 463 h 509"/>
                  <a:gd name="T100" fmla="*/ 279 w 378"/>
                  <a:gd name="T101" fmla="*/ 441 h 509"/>
                  <a:gd name="T102" fmla="*/ 299 w 378"/>
                  <a:gd name="T103" fmla="*/ 424 h 509"/>
                  <a:gd name="T104" fmla="*/ 301 w 378"/>
                  <a:gd name="T105" fmla="*/ 398 h 509"/>
                  <a:gd name="T106" fmla="*/ 324 w 378"/>
                  <a:gd name="T107" fmla="*/ 388 h 509"/>
                  <a:gd name="T108" fmla="*/ 328 w 378"/>
                  <a:gd name="T109" fmla="*/ 361 h 509"/>
                  <a:gd name="T110" fmla="*/ 360 w 378"/>
                  <a:gd name="T111" fmla="*/ 351 h 509"/>
                  <a:gd name="T112" fmla="*/ 364 w 378"/>
                  <a:gd name="T113" fmla="*/ 343 h 509"/>
                  <a:gd name="T114" fmla="*/ 336 w 378"/>
                  <a:gd name="T115" fmla="*/ 303 h 509"/>
                  <a:gd name="T116" fmla="*/ 337 w 378"/>
                  <a:gd name="T117" fmla="*/ 100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8" h="509">
                    <a:moveTo>
                      <a:pt x="337" y="100"/>
                    </a:moveTo>
                    <a:cubicBezTo>
                      <a:pt x="337" y="100"/>
                      <a:pt x="351" y="87"/>
                      <a:pt x="358" y="79"/>
                    </a:cubicBezTo>
                    <a:cubicBezTo>
                      <a:pt x="365" y="71"/>
                      <a:pt x="378" y="43"/>
                      <a:pt x="378" y="43"/>
                    </a:cubicBezTo>
                    <a:cubicBezTo>
                      <a:pt x="362" y="37"/>
                      <a:pt x="362" y="37"/>
                      <a:pt x="362" y="37"/>
                    </a:cubicBezTo>
                    <a:cubicBezTo>
                      <a:pt x="358" y="41"/>
                      <a:pt x="358" y="41"/>
                      <a:pt x="358" y="41"/>
                    </a:cubicBezTo>
                    <a:cubicBezTo>
                      <a:pt x="340" y="40"/>
                      <a:pt x="340" y="40"/>
                      <a:pt x="340" y="40"/>
                    </a:cubicBezTo>
                    <a:cubicBezTo>
                      <a:pt x="324" y="23"/>
                      <a:pt x="324" y="23"/>
                      <a:pt x="324" y="23"/>
                    </a:cubicBezTo>
                    <a:cubicBezTo>
                      <a:pt x="312" y="32"/>
                      <a:pt x="312" y="32"/>
                      <a:pt x="312" y="32"/>
                    </a:cubicBezTo>
                    <a:cubicBezTo>
                      <a:pt x="312" y="32"/>
                      <a:pt x="290" y="40"/>
                      <a:pt x="283" y="46"/>
                    </a:cubicBezTo>
                    <a:cubicBezTo>
                      <a:pt x="276" y="52"/>
                      <a:pt x="278" y="56"/>
                      <a:pt x="278" y="56"/>
                    </a:cubicBezTo>
                    <a:cubicBezTo>
                      <a:pt x="265" y="70"/>
                      <a:pt x="265" y="70"/>
                      <a:pt x="265" y="70"/>
                    </a:cubicBezTo>
                    <a:cubicBezTo>
                      <a:pt x="265" y="70"/>
                      <a:pt x="247" y="63"/>
                      <a:pt x="234" y="61"/>
                    </a:cubicBezTo>
                    <a:cubicBezTo>
                      <a:pt x="221" y="59"/>
                      <a:pt x="194" y="57"/>
                      <a:pt x="194" y="57"/>
                    </a:cubicBezTo>
                    <a:cubicBezTo>
                      <a:pt x="143" y="17"/>
                      <a:pt x="143" y="17"/>
                      <a:pt x="143" y="17"/>
                    </a:cubicBezTo>
                    <a:cubicBezTo>
                      <a:pt x="96" y="15"/>
                      <a:pt x="96" y="15"/>
                      <a:pt x="96" y="15"/>
                    </a:cubicBezTo>
                    <a:cubicBezTo>
                      <a:pt x="90" y="0"/>
                      <a:pt x="90" y="0"/>
                      <a:pt x="90" y="0"/>
                    </a:cubicBezTo>
                    <a:cubicBezTo>
                      <a:pt x="77" y="8"/>
                      <a:pt x="77" y="8"/>
                      <a:pt x="77" y="8"/>
                    </a:cubicBezTo>
                    <a:cubicBezTo>
                      <a:pt x="17" y="9"/>
                      <a:pt x="17" y="9"/>
                      <a:pt x="17" y="9"/>
                    </a:cubicBezTo>
                    <a:cubicBezTo>
                      <a:pt x="3" y="29"/>
                      <a:pt x="3" y="29"/>
                      <a:pt x="3" y="29"/>
                    </a:cubicBezTo>
                    <a:cubicBezTo>
                      <a:pt x="3" y="29"/>
                      <a:pt x="10" y="38"/>
                      <a:pt x="10" y="51"/>
                    </a:cubicBezTo>
                    <a:cubicBezTo>
                      <a:pt x="10" y="64"/>
                      <a:pt x="23" y="56"/>
                      <a:pt x="23" y="56"/>
                    </a:cubicBezTo>
                    <a:cubicBezTo>
                      <a:pt x="23" y="56"/>
                      <a:pt x="23" y="65"/>
                      <a:pt x="21" y="71"/>
                    </a:cubicBezTo>
                    <a:cubicBezTo>
                      <a:pt x="19" y="77"/>
                      <a:pt x="30" y="86"/>
                      <a:pt x="30" y="86"/>
                    </a:cubicBezTo>
                    <a:cubicBezTo>
                      <a:pt x="29" y="91"/>
                      <a:pt x="29" y="91"/>
                      <a:pt x="29" y="91"/>
                    </a:cubicBezTo>
                    <a:cubicBezTo>
                      <a:pt x="50" y="116"/>
                      <a:pt x="50" y="116"/>
                      <a:pt x="50" y="116"/>
                    </a:cubicBezTo>
                    <a:cubicBezTo>
                      <a:pt x="50" y="116"/>
                      <a:pt x="42" y="121"/>
                      <a:pt x="41" y="126"/>
                    </a:cubicBezTo>
                    <a:cubicBezTo>
                      <a:pt x="40" y="131"/>
                      <a:pt x="53" y="150"/>
                      <a:pt x="57" y="156"/>
                    </a:cubicBezTo>
                    <a:cubicBezTo>
                      <a:pt x="61" y="162"/>
                      <a:pt x="46" y="174"/>
                      <a:pt x="46" y="174"/>
                    </a:cubicBezTo>
                    <a:cubicBezTo>
                      <a:pt x="42" y="189"/>
                      <a:pt x="42" y="189"/>
                      <a:pt x="42" y="189"/>
                    </a:cubicBezTo>
                    <a:cubicBezTo>
                      <a:pt x="42" y="189"/>
                      <a:pt x="36" y="187"/>
                      <a:pt x="29" y="193"/>
                    </a:cubicBezTo>
                    <a:cubicBezTo>
                      <a:pt x="22" y="199"/>
                      <a:pt x="26" y="208"/>
                      <a:pt x="26" y="208"/>
                    </a:cubicBezTo>
                    <a:cubicBezTo>
                      <a:pt x="14" y="219"/>
                      <a:pt x="14" y="219"/>
                      <a:pt x="14" y="219"/>
                    </a:cubicBezTo>
                    <a:cubicBezTo>
                      <a:pt x="13" y="230"/>
                      <a:pt x="13" y="230"/>
                      <a:pt x="13" y="230"/>
                    </a:cubicBezTo>
                    <a:cubicBezTo>
                      <a:pt x="13" y="230"/>
                      <a:pt x="2" y="237"/>
                      <a:pt x="2" y="248"/>
                    </a:cubicBezTo>
                    <a:cubicBezTo>
                      <a:pt x="2" y="259"/>
                      <a:pt x="11" y="269"/>
                      <a:pt x="18" y="270"/>
                    </a:cubicBezTo>
                    <a:cubicBezTo>
                      <a:pt x="25" y="271"/>
                      <a:pt x="25" y="262"/>
                      <a:pt x="25" y="262"/>
                    </a:cubicBezTo>
                    <a:cubicBezTo>
                      <a:pt x="39" y="261"/>
                      <a:pt x="39" y="261"/>
                      <a:pt x="39" y="261"/>
                    </a:cubicBezTo>
                    <a:cubicBezTo>
                      <a:pt x="42" y="273"/>
                      <a:pt x="42" y="273"/>
                      <a:pt x="42" y="273"/>
                    </a:cubicBezTo>
                    <a:cubicBezTo>
                      <a:pt x="33" y="275"/>
                      <a:pt x="33" y="275"/>
                      <a:pt x="33" y="275"/>
                    </a:cubicBezTo>
                    <a:cubicBezTo>
                      <a:pt x="23" y="283"/>
                      <a:pt x="23" y="283"/>
                      <a:pt x="23" y="283"/>
                    </a:cubicBezTo>
                    <a:cubicBezTo>
                      <a:pt x="23" y="283"/>
                      <a:pt x="18" y="273"/>
                      <a:pt x="9" y="283"/>
                    </a:cubicBezTo>
                    <a:cubicBezTo>
                      <a:pt x="0" y="293"/>
                      <a:pt x="13" y="302"/>
                      <a:pt x="13" y="302"/>
                    </a:cubicBezTo>
                    <a:cubicBezTo>
                      <a:pt x="9" y="312"/>
                      <a:pt x="9" y="312"/>
                      <a:pt x="9" y="312"/>
                    </a:cubicBezTo>
                    <a:cubicBezTo>
                      <a:pt x="175" y="416"/>
                      <a:pt x="175" y="416"/>
                      <a:pt x="175" y="416"/>
                    </a:cubicBezTo>
                    <a:cubicBezTo>
                      <a:pt x="175" y="416"/>
                      <a:pt x="187" y="425"/>
                      <a:pt x="184" y="429"/>
                    </a:cubicBezTo>
                    <a:cubicBezTo>
                      <a:pt x="181" y="433"/>
                      <a:pt x="173" y="439"/>
                      <a:pt x="173" y="439"/>
                    </a:cubicBezTo>
                    <a:cubicBezTo>
                      <a:pt x="248" y="509"/>
                      <a:pt x="248" y="509"/>
                      <a:pt x="248" y="509"/>
                    </a:cubicBezTo>
                    <a:cubicBezTo>
                      <a:pt x="248" y="508"/>
                      <a:pt x="248" y="508"/>
                      <a:pt x="248" y="508"/>
                    </a:cubicBezTo>
                    <a:cubicBezTo>
                      <a:pt x="261" y="505"/>
                      <a:pt x="261" y="505"/>
                      <a:pt x="261" y="505"/>
                    </a:cubicBezTo>
                    <a:cubicBezTo>
                      <a:pt x="281" y="463"/>
                      <a:pt x="281" y="463"/>
                      <a:pt x="281" y="463"/>
                    </a:cubicBezTo>
                    <a:cubicBezTo>
                      <a:pt x="281" y="463"/>
                      <a:pt x="279" y="448"/>
                      <a:pt x="279" y="441"/>
                    </a:cubicBezTo>
                    <a:cubicBezTo>
                      <a:pt x="279" y="434"/>
                      <a:pt x="300" y="434"/>
                      <a:pt x="299" y="424"/>
                    </a:cubicBezTo>
                    <a:cubicBezTo>
                      <a:pt x="298" y="414"/>
                      <a:pt x="293" y="401"/>
                      <a:pt x="301" y="398"/>
                    </a:cubicBezTo>
                    <a:cubicBezTo>
                      <a:pt x="309" y="395"/>
                      <a:pt x="324" y="388"/>
                      <a:pt x="324" y="388"/>
                    </a:cubicBezTo>
                    <a:cubicBezTo>
                      <a:pt x="328" y="361"/>
                      <a:pt x="328" y="361"/>
                      <a:pt x="328" y="361"/>
                    </a:cubicBezTo>
                    <a:cubicBezTo>
                      <a:pt x="328" y="361"/>
                      <a:pt x="352" y="366"/>
                      <a:pt x="360" y="351"/>
                    </a:cubicBezTo>
                    <a:cubicBezTo>
                      <a:pt x="361" y="349"/>
                      <a:pt x="362" y="346"/>
                      <a:pt x="364" y="343"/>
                    </a:cubicBezTo>
                    <a:cubicBezTo>
                      <a:pt x="336" y="303"/>
                      <a:pt x="336" y="303"/>
                      <a:pt x="336" y="303"/>
                    </a:cubicBezTo>
                    <a:lnTo>
                      <a:pt x="337" y="100"/>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44" name="Guinea-Bissau">
                <a:extLst>
                  <a:ext uri="{FF2B5EF4-FFF2-40B4-BE49-F238E27FC236}">
                    <a16:creationId xmlns:a16="http://schemas.microsoft.com/office/drawing/2014/main" id="{AE4B0885-7AE1-4A3B-8DF4-15546B736B81}"/>
                  </a:ext>
                </a:extLst>
              </p:cNvPr>
              <p:cNvSpPr>
                <a:spLocks/>
              </p:cNvSpPr>
              <p:nvPr/>
            </p:nvSpPr>
            <p:spPr bwMode="gray">
              <a:xfrm>
                <a:off x="3484550" y="3147236"/>
                <a:ext cx="206987" cy="135367"/>
              </a:xfrm>
              <a:custGeom>
                <a:avLst/>
                <a:gdLst>
                  <a:gd name="T0" fmla="*/ 85 w 125"/>
                  <a:gd name="T1" fmla="*/ 67 h 103"/>
                  <a:gd name="T2" fmla="*/ 102 w 125"/>
                  <a:gd name="T3" fmla="*/ 60 h 103"/>
                  <a:gd name="T4" fmla="*/ 124 w 125"/>
                  <a:gd name="T5" fmla="*/ 49 h 103"/>
                  <a:gd name="T6" fmla="*/ 108 w 125"/>
                  <a:gd name="T7" fmla="*/ 28 h 103"/>
                  <a:gd name="T8" fmla="*/ 124 w 125"/>
                  <a:gd name="T9" fmla="*/ 19 h 103"/>
                  <a:gd name="T10" fmla="*/ 123 w 125"/>
                  <a:gd name="T11" fmla="*/ 2 h 103"/>
                  <a:gd name="T12" fmla="*/ 56 w 125"/>
                  <a:gd name="T13" fmla="*/ 0 h 103"/>
                  <a:gd name="T14" fmla="*/ 39 w 125"/>
                  <a:gd name="T15" fmla="*/ 15 h 103"/>
                  <a:gd name="T16" fmla="*/ 12 w 125"/>
                  <a:gd name="T17" fmla="*/ 15 h 103"/>
                  <a:gd name="T18" fmla="*/ 4 w 125"/>
                  <a:gd name="T19" fmla="*/ 25 h 103"/>
                  <a:gd name="T20" fmla="*/ 0 w 125"/>
                  <a:gd name="T21" fmla="*/ 48 h 103"/>
                  <a:gd name="T22" fmla="*/ 15 w 125"/>
                  <a:gd name="T23" fmla="*/ 50 h 103"/>
                  <a:gd name="T24" fmla="*/ 46 w 125"/>
                  <a:gd name="T25" fmla="*/ 45 h 103"/>
                  <a:gd name="T26" fmla="*/ 63 w 125"/>
                  <a:gd name="T27" fmla="*/ 39 h 103"/>
                  <a:gd name="T28" fmla="*/ 63 w 125"/>
                  <a:gd name="T29" fmla="*/ 54 h 103"/>
                  <a:gd name="T30" fmla="*/ 37 w 125"/>
                  <a:gd name="T31" fmla="*/ 52 h 103"/>
                  <a:gd name="T32" fmla="*/ 42 w 125"/>
                  <a:gd name="T33" fmla="*/ 68 h 103"/>
                  <a:gd name="T34" fmla="*/ 63 w 125"/>
                  <a:gd name="T35" fmla="*/ 63 h 103"/>
                  <a:gd name="T36" fmla="*/ 39 w 125"/>
                  <a:gd name="T37" fmla="*/ 75 h 103"/>
                  <a:gd name="T38" fmla="*/ 58 w 125"/>
                  <a:gd name="T39" fmla="*/ 103 h 103"/>
                  <a:gd name="T40" fmla="*/ 63 w 125"/>
                  <a:gd name="T41" fmla="*/ 88 h 103"/>
                  <a:gd name="T42" fmla="*/ 72 w 125"/>
                  <a:gd name="T43" fmla="*/ 68 h 103"/>
                  <a:gd name="T44" fmla="*/ 85 w 125"/>
                  <a:gd name="T45" fmla="*/ 6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103">
                    <a:moveTo>
                      <a:pt x="85" y="67"/>
                    </a:moveTo>
                    <a:cubicBezTo>
                      <a:pt x="85" y="67"/>
                      <a:pt x="92" y="60"/>
                      <a:pt x="102" y="60"/>
                    </a:cubicBezTo>
                    <a:cubicBezTo>
                      <a:pt x="112" y="60"/>
                      <a:pt x="123" y="64"/>
                      <a:pt x="124" y="49"/>
                    </a:cubicBezTo>
                    <a:cubicBezTo>
                      <a:pt x="125" y="34"/>
                      <a:pt x="108" y="39"/>
                      <a:pt x="108" y="28"/>
                    </a:cubicBezTo>
                    <a:cubicBezTo>
                      <a:pt x="108" y="17"/>
                      <a:pt x="124" y="19"/>
                      <a:pt x="124" y="19"/>
                    </a:cubicBezTo>
                    <a:cubicBezTo>
                      <a:pt x="123" y="2"/>
                      <a:pt x="123" y="2"/>
                      <a:pt x="123" y="2"/>
                    </a:cubicBezTo>
                    <a:cubicBezTo>
                      <a:pt x="56" y="0"/>
                      <a:pt x="56" y="0"/>
                      <a:pt x="56" y="0"/>
                    </a:cubicBezTo>
                    <a:cubicBezTo>
                      <a:pt x="39" y="15"/>
                      <a:pt x="39" y="15"/>
                      <a:pt x="39" y="15"/>
                    </a:cubicBezTo>
                    <a:cubicBezTo>
                      <a:pt x="12" y="15"/>
                      <a:pt x="12" y="15"/>
                      <a:pt x="12" y="15"/>
                    </a:cubicBezTo>
                    <a:cubicBezTo>
                      <a:pt x="4" y="25"/>
                      <a:pt x="4" y="25"/>
                      <a:pt x="4" y="25"/>
                    </a:cubicBezTo>
                    <a:cubicBezTo>
                      <a:pt x="0" y="48"/>
                      <a:pt x="0" y="48"/>
                      <a:pt x="0" y="48"/>
                    </a:cubicBezTo>
                    <a:cubicBezTo>
                      <a:pt x="0" y="48"/>
                      <a:pt x="8" y="56"/>
                      <a:pt x="15" y="50"/>
                    </a:cubicBezTo>
                    <a:cubicBezTo>
                      <a:pt x="22" y="44"/>
                      <a:pt x="46" y="45"/>
                      <a:pt x="46" y="45"/>
                    </a:cubicBezTo>
                    <a:cubicBezTo>
                      <a:pt x="63" y="39"/>
                      <a:pt x="63" y="39"/>
                      <a:pt x="63" y="39"/>
                    </a:cubicBezTo>
                    <a:cubicBezTo>
                      <a:pt x="63" y="54"/>
                      <a:pt x="63" y="54"/>
                      <a:pt x="63" y="54"/>
                    </a:cubicBezTo>
                    <a:cubicBezTo>
                      <a:pt x="63" y="54"/>
                      <a:pt x="39" y="42"/>
                      <a:pt x="37" y="52"/>
                    </a:cubicBezTo>
                    <a:cubicBezTo>
                      <a:pt x="35" y="62"/>
                      <a:pt x="42" y="68"/>
                      <a:pt x="42" y="68"/>
                    </a:cubicBezTo>
                    <a:cubicBezTo>
                      <a:pt x="63" y="63"/>
                      <a:pt x="63" y="63"/>
                      <a:pt x="63" y="63"/>
                    </a:cubicBezTo>
                    <a:cubicBezTo>
                      <a:pt x="39" y="75"/>
                      <a:pt x="39" y="75"/>
                      <a:pt x="39" y="75"/>
                    </a:cubicBezTo>
                    <a:cubicBezTo>
                      <a:pt x="58" y="103"/>
                      <a:pt x="58" y="103"/>
                      <a:pt x="58" y="103"/>
                    </a:cubicBezTo>
                    <a:cubicBezTo>
                      <a:pt x="63" y="88"/>
                      <a:pt x="63" y="88"/>
                      <a:pt x="63" y="88"/>
                    </a:cubicBezTo>
                    <a:cubicBezTo>
                      <a:pt x="72" y="68"/>
                      <a:pt x="72" y="68"/>
                      <a:pt x="72" y="68"/>
                    </a:cubicBezTo>
                    <a:lnTo>
                      <a:pt x="85" y="67"/>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45" name="Guinea">
                <a:extLst>
                  <a:ext uri="{FF2B5EF4-FFF2-40B4-BE49-F238E27FC236}">
                    <a16:creationId xmlns:a16="http://schemas.microsoft.com/office/drawing/2014/main" id="{6FE86648-9F84-4289-B1F3-9BBF4C796764}"/>
                  </a:ext>
                </a:extLst>
              </p:cNvPr>
              <p:cNvSpPr>
                <a:spLocks/>
              </p:cNvSpPr>
              <p:nvPr/>
            </p:nvSpPr>
            <p:spPr bwMode="gray">
              <a:xfrm>
                <a:off x="3588050" y="3150994"/>
                <a:ext cx="573921" cy="391059"/>
              </a:xfrm>
              <a:custGeom>
                <a:avLst/>
                <a:gdLst>
                  <a:gd name="T0" fmla="*/ 61 w 345"/>
                  <a:gd name="T1" fmla="*/ 17 h 296"/>
                  <a:gd name="T2" fmla="*/ 61 w 345"/>
                  <a:gd name="T3" fmla="*/ 47 h 296"/>
                  <a:gd name="T4" fmla="*/ 22 w 345"/>
                  <a:gd name="T5" fmla="*/ 65 h 296"/>
                  <a:gd name="T6" fmla="*/ 0 w 345"/>
                  <a:gd name="T7" fmla="*/ 86 h 296"/>
                  <a:gd name="T8" fmla="*/ 19 w 345"/>
                  <a:gd name="T9" fmla="*/ 103 h 296"/>
                  <a:gd name="T10" fmla="*/ 45 w 345"/>
                  <a:gd name="T11" fmla="*/ 138 h 296"/>
                  <a:gd name="T12" fmla="*/ 59 w 345"/>
                  <a:gd name="T13" fmla="*/ 149 h 296"/>
                  <a:gd name="T14" fmla="*/ 86 w 345"/>
                  <a:gd name="T15" fmla="*/ 194 h 296"/>
                  <a:gd name="T16" fmla="*/ 142 w 345"/>
                  <a:gd name="T17" fmla="*/ 152 h 296"/>
                  <a:gd name="T18" fmla="*/ 172 w 345"/>
                  <a:gd name="T19" fmla="*/ 140 h 296"/>
                  <a:gd name="T20" fmla="*/ 197 w 345"/>
                  <a:gd name="T21" fmla="*/ 190 h 296"/>
                  <a:gd name="T22" fmla="*/ 197 w 345"/>
                  <a:gd name="T23" fmla="*/ 226 h 296"/>
                  <a:gd name="T24" fmla="*/ 215 w 345"/>
                  <a:gd name="T25" fmla="*/ 228 h 296"/>
                  <a:gd name="T26" fmla="*/ 247 w 345"/>
                  <a:gd name="T27" fmla="*/ 227 h 296"/>
                  <a:gd name="T28" fmla="*/ 265 w 345"/>
                  <a:gd name="T29" fmla="*/ 286 h 296"/>
                  <a:gd name="T30" fmla="*/ 293 w 345"/>
                  <a:gd name="T31" fmla="*/ 270 h 296"/>
                  <a:gd name="T32" fmla="*/ 320 w 345"/>
                  <a:gd name="T33" fmla="*/ 255 h 296"/>
                  <a:gd name="T34" fmla="*/ 314 w 345"/>
                  <a:gd name="T35" fmla="*/ 229 h 296"/>
                  <a:gd name="T36" fmla="*/ 345 w 345"/>
                  <a:gd name="T37" fmla="*/ 220 h 296"/>
                  <a:gd name="T38" fmla="*/ 338 w 345"/>
                  <a:gd name="T39" fmla="*/ 193 h 296"/>
                  <a:gd name="T40" fmla="*/ 335 w 345"/>
                  <a:gd name="T41" fmla="*/ 176 h 296"/>
                  <a:gd name="T42" fmla="*/ 318 w 345"/>
                  <a:gd name="T43" fmla="*/ 148 h 296"/>
                  <a:gd name="T44" fmla="*/ 312 w 345"/>
                  <a:gd name="T45" fmla="*/ 115 h 296"/>
                  <a:gd name="T46" fmla="*/ 293 w 345"/>
                  <a:gd name="T47" fmla="*/ 91 h 296"/>
                  <a:gd name="T48" fmla="*/ 287 w 345"/>
                  <a:gd name="T49" fmla="*/ 52 h 296"/>
                  <a:gd name="T50" fmla="*/ 284 w 345"/>
                  <a:gd name="T51" fmla="*/ 26 h 296"/>
                  <a:gd name="T52" fmla="*/ 261 w 345"/>
                  <a:gd name="T53" fmla="*/ 27 h 296"/>
                  <a:gd name="T54" fmla="*/ 222 w 345"/>
                  <a:gd name="T55" fmla="*/ 23 h 296"/>
                  <a:gd name="T56" fmla="*/ 191 w 345"/>
                  <a:gd name="T57" fmla="*/ 23 h 296"/>
                  <a:gd name="T58" fmla="*/ 166 w 345"/>
                  <a:gd name="T59" fmla="*/ 16 h 296"/>
                  <a:gd name="T60" fmla="*/ 122 w 345"/>
                  <a:gd name="T61" fmla="*/ 24 h 296"/>
                  <a:gd name="T62" fmla="*/ 95 w 345"/>
                  <a:gd name="T63" fmla="*/ 14 h 296"/>
                  <a:gd name="T64" fmla="*/ 60 w 345"/>
                  <a:gd name="T65"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5" h="296">
                    <a:moveTo>
                      <a:pt x="60" y="0"/>
                    </a:moveTo>
                    <a:cubicBezTo>
                      <a:pt x="61" y="17"/>
                      <a:pt x="61" y="17"/>
                      <a:pt x="61" y="17"/>
                    </a:cubicBezTo>
                    <a:cubicBezTo>
                      <a:pt x="61" y="17"/>
                      <a:pt x="45" y="15"/>
                      <a:pt x="45" y="26"/>
                    </a:cubicBezTo>
                    <a:cubicBezTo>
                      <a:pt x="45" y="37"/>
                      <a:pt x="62" y="32"/>
                      <a:pt x="61" y="47"/>
                    </a:cubicBezTo>
                    <a:cubicBezTo>
                      <a:pt x="60" y="62"/>
                      <a:pt x="49" y="58"/>
                      <a:pt x="39" y="58"/>
                    </a:cubicBezTo>
                    <a:cubicBezTo>
                      <a:pt x="29" y="58"/>
                      <a:pt x="22" y="65"/>
                      <a:pt x="22" y="65"/>
                    </a:cubicBezTo>
                    <a:cubicBezTo>
                      <a:pt x="9" y="66"/>
                      <a:pt x="9" y="66"/>
                      <a:pt x="9" y="66"/>
                    </a:cubicBezTo>
                    <a:cubicBezTo>
                      <a:pt x="0" y="86"/>
                      <a:pt x="0" y="86"/>
                      <a:pt x="0" y="86"/>
                    </a:cubicBezTo>
                    <a:cubicBezTo>
                      <a:pt x="0" y="86"/>
                      <a:pt x="4" y="100"/>
                      <a:pt x="9" y="102"/>
                    </a:cubicBezTo>
                    <a:cubicBezTo>
                      <a:pt x="14" y="104"/>
                      <a:pt x="19" y="103"/>
                      <a:pt x="19" y="103"/>
                    </a:cubicBezTo>
                    <a:cubicBezTo>
                      <a:pt x="19" y="103"/>
                      <a:pt x="10" y="127"/>
                      <a:pt x="25" y="134"/>
                    </a:cubicBezTo>
                    <a:cubicBezTo>
                      <a:pt x="40" y="141"/>
                      <a:pt x="45" y="138"/>
                      <a:pt x="45" y="138"/>
                    </a:cubicBezTo>
                    <a:cubicBezTo>
                      <a:pt x="45" y="138"/>
                      <a:pt x="42" y="150"/>
                      <a:pt x="46" y="154"/>
                    </a:cubicBezTo>
                    <a:cubicBezTo>
                      <a:pt x="50" y="158"/>
                      <a:pt x="59" y="149"/>
                      <a:pt x="59" y="149"/>
                    </a:cubicBezTo>
                    <a:cubicBezTo>
                      <a:pt x="59" y="149"/>
                      <a:pt x="63" y="169"/>
                      <a:pt x="67" y="176"/>
                    </a:cubicBezTo>
                    <a:cubicBezTo>
                      <a:pt x="71" y="183"/>
                      <a:pt x="86" y="194"/>
                      <a:pt x="86" y="194"/>
                    </a:cubicBezTo>
                    <a:cubicBezTo>
                      <a:pt x="98" y="194"/>
                      <a:pt x="117" y="152"/>
                      <a:pt x="117" y="152"/>
                    </a:cubicBezTo>
                    <a:cubicBezTo>
                      <a:pt x="142" y="152"/>
                      <a:pt x="142" y="152"/>
                      <a:pt x="142" y="152"/>
                    </a:cubicBezTo>
                    <a:cubicBezTo>
                      <a:pt x="146" y="140"/>
                      <a:pt x="146" y="140"/>
                      <a:pt x="146" y="140"/>
                    </a:cubicBezTo>
                    <a:cubicBezTo>
                      <a:pt x="172" y="140"/>
                      <a:pt x="172" y="140"/>
                      <a:pt x="172" y="140"/>
                    </a:cubicBezTo>
                    <a:cubicBezTo>
                      <a:pt x="200" y="181"/>
                      <a:pt x="200" y="181"/>
                      <a:pt x="200" y="181"/>
                    </a:cubicBezTo>
                    <a:cubicBezTo>
                      <a:pt x="197" y="190"/>
                      <a:pt x="197" y="190"/>
                      <a:pt x="197" y="190"/>
                    </a:cubicBezTo>
                    <a:cubicBezTo>
                      <a:pt x="197" y="190"/>
                      <a:pt x="208" y="202"/>
                      <a:pt x="208" y="210"/>
                    </a:cubicBezTo>
                    <a:cubicBezTo>
                      <a:pt x="208" y="218"/>
                      <a:pt x="197" y="226"/>
                      <a:pt x="197" y="226"/>
                    </a:cubicBezTo>
                    <a:cubicBezTo>
                      <a:pt x="196" y="239"/>
                      <a:pt x="196" y="239"/>
                      <a:pt x="196" y="239"/>
                    </a:cubicBezTo>
                    <a:cubicBezTo>
                      <a:pt x="215" y="228"/>
                      <a:pt x="215" y="228"/>
                      <a:pt x="215" y="228"/>
                    </a:cubicBezTo>
                    <a:cubicBezTo>
                      <a:pt x="231" y="232"/>
                      <a:pt x="231" y="232"/>
                      <a:pt x="231" y="232"/>
                    </a:cubicBezTo>
                    <a:cubicBezTo>
                      <a:pt x="231" y="232"/>
                      <a:pt x="228" y="214"/>
                      <a:pt x="247" y="227"/>
                    </a:cubicBezTo>
                    <a:cubicBezTo>
                      <a:pt x="266" y="240"/>
                      <a:pt x="257" y="286"/>
                      <a:pt x="257" y="286"/>
                    </a:cubicBezTo>
                    <a:cubicBezTo>
                      <a:pt x="265" y="286"/>
                      <a:pt x="265" y="286"/>
                      <a:pt x="265" y="286"/>
                    </a:cubicBezTo>
                    <a:cubicBezTo>
                      <a:pt x="265" y="286"/>
                      <a:pt x="266" y="296"/>
                      <a:pt x="277" y="296"/>
                    </a:cubicBezTo>
                    <a:cubicBezTo>
                      <a:pt x="288" y="296"/>
                      <a:pt x="288" y="274"/>
                      <a:pt x="293" y="270"/>
                    </a:cubicBezTo>
                    <a:cubicBezTo>
                      <a:pt x="298" y="266"/>
                      <a:pt x="313" y="279"/>
                      <a:pt x="320" y="276"/>
                    </a:cubicBezTo>
                    <a:cubicBezTo>
                      <a:pt x="327" y="273"/>
                      <a:pt x="320" y="255"/>
                      <a:pt x="320" y="255"/>
                    </a:cubicBezTo>
                    <a:cubicBezTo>
                      <a:pt x="332" y="252"/>
                      <a:pt x="332" y="252"/>
                      <a:pt x="332" y="252"/>
                    </a:cubicBezTo>
                    <a:cubicBezTo>
                      <a:pt x="332" y="252"/>
                      <a:pt x="314" y="239"/>
                      <a:pt x="314" y="229"/>
                    </a:cubicBezTo>
                    <a:cubicBezTo>
                      <a:pt x="314" y="219"/>
                      <a:pt x="344" y="233"/>
                      <a:pt x="344" y="233"/>
                    </a:cubicBezTo>
                    <a:cubicBezTo>
                      <a:pt x="344" y="233"/>
                      <a:pt x="345" y="227"/>
                      <a:pt x="345" y="220"/>
                    </a:cubicBezTo>
                    <a:cubicBezTo>
                      <a:pt x="345" y="213"/>
                      <a:pt x="330" y="218"/>
                      <a:pt x="329" y="210"/>
                    </a:cubicBezTo>
                    <a:cubicBezTo>
                      <a:pt x="328" y="202"/>
                      <a:pt x="338" y="193"/>
                      <a:pt x="338" y="193"/>
                    </a:cubicBezTo>
                    <a:cubicBezTo>
                      <a:pt x="328" y="189"/>
                      <a:pt x="328" y="189"/>
                      <a:pt x="328" y="189"/>
                    </a:cubicBezTo>
                    <a:cubicBezTo>
                      <a:pt x="335" y="176"/>
                      <a:pt x="335" y="176"/>
                      <a:pt x="335" y="176"/>
                    </a:cubicBezTo>
                    <a:cubicBezTo>
                      <a:pt x="323" y="175"/>
                      <a:pt x="323" y="175"/>
                      <a:pt x="323" y="175"/>
                    </a:cubicBezTo>
                    <a:cubicBezTo>
                      <a:pt x="318" y="148"/>
                      <a:pt x="318" y="148"/>
                      <a:pt x="318" y="148"/>
                    </a:cubicBezTo>
                    <a:cubicBezTo>
                      <a:pt x="331" y="134"/>
                      <a:pt x="331" y="134"/>
                      <a:pt x="331" y="134"/>
                    </a:cubicBezTo>
                    <a:cubicBezTo>
                      <a:pt x="312" y="115"/>
                      <a:pt x="312" y="115"/>
                      <a:pt x="312" y="115"/>
                    </a:cubicBezTo>
                    <a:cubicBezTo>
                      <a:pt x="312" y="90"/>
                      <a:pt x="312" y="90"/>
                      <a:pt x="312" y="90"/>
                    </a:cubicBezTo>
                    <a:cubicBezTo>
                      <a:pt x="293" y="91"/>
                      <a:pt x="293" y="91"/>
                      <a:pt x="293" y="91"/>
                    </a:cubicBezTo>
                    <a:cubicBezTo>
                      <a:pt x="310" y="68"/>
                      <a:pt x="310" y="68"/>
                      <a:pt x="310" y="68"/>
                    </a:cubicBezTo>
                    <a:cubicBezTo>
                      <a:pt x="287" y="52"/>
                      <a:pt x="287" y="52"/>
                      <a:pt x="287" y="52"/>
                    </a:cubicBezTo>
                    <a:cubicBezTo>
                      <a:pt x="293" y="35"/>
                      <a:pt x="293" y="35"/>
                      <a:pt x="293" y="35"/>
                    </a:cubicBezTo>
                    <a:cubicBezTo>
                      <a:pt x="284" y="26"/>
                      <a:pt x="284" y="26"/>
                      <a:pt x="284" y="26"/>
                    </a:cubicBezTo>
                    <a:cubicBezTo>
                      <a:pt x="284" y="26"/>
                      <a:pt x="291" y="19"/>
                      <a:pt x="275" y="11"/>
                    </a:cubicBezTo>
                    <a:cubicBezTo>
                      <a:pt x="259" y="3"/>
                      <a:pt x="261" y="27"/>
                      <a:pt x="261" y="27"/>
                    </a:cubicBezTo>
                    <a:cubicBezTo>
                      <a:pt x="249" y="36"/>
                      <a:pt x="249" y="36"/>
                      <a:pt x="249" y="36"/>
                    </a:cubicBezTo>
                    <a:cubicBezTo>
                      <a:pt x="249" y="36"/>
                      <a:pt x="227" y="25"/>
                      <a:pt x="222" y="23"/>
                    </a:cubicBezTo>
                    <a:cubicBezTo>
                      <a:pt x="217" y="21"/>
                      <a:pt x="203" y="44"/>
                      <a:pt x="203" y="44"/>
                    </a:cubicBezTo>
                    <a:cubicBezTo>
                      <a:pt x="203" y="44"/>
                      <a:pt x="200" y="23"/>
                      <a:pt x="191" y="23"/>
                    </a:cubicBezTo>
                    <a:cubicBezTo>
                      <a:pt x="182" y="23"/>
                      <a:pt x="178" y="39"/>
                      <a:pt x="174" y="41"/>
                    </a:cubicBezTo>
                    <a:cubicBezTo>
                      <a:pt x="170" y="43"/>
                      <a:pt x="166" y="16"/>
                      <a:pt x="166" y="16"/>
                    </a:cubicBezTo>
                    <a:cubicBezTo>
                      <a:pt x="138" y="17"/>
                      <a:pt x="138" y="17"/>
                      <a:pt x="138" y="17"/>
                    </a:cubicBezTo>
                    <a:cubicBezTo>
                      <a:pt x="138" y="17"/>
                      <a:pt x="129" y="24"/>
                      <a:pt x="122" y="24"/>
                    </a:cubicBezTo>
                    <a:cubicBezTo>
                      <a:pt x="115" y="24"/>
                      <a:pt x="106" y="8"/>
                      <a:pt x="106" y="8"/>
                    </a:cubicBezTo>
                    <a:cubicBezTo>
                      <a:pt x="106" y="8"/>
                      <a:pt x="103" y="16"/>
                      <a:pt x="95" y="14"/>
                    </a:cubicBezTo>
                    <a:cubicBezTo>
                      <a:pt x="87" y="12"/>
                      <a:pt x="87" y="1"/>
                      <a:pt x="87" y="1"/>
                    </a:cubicBezTo>
                    <a:lnTo>
                      <a:pt x="60" y="0"/>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46" name="Ghana">
                <a:extLst>
                  <a:ext uri="{FF2B5EF4-FFF2-40B4-BE49-F238E27FC236}">
                    <a16:creationId xmlns:a16="http://schemas.microsoft.com/office/drawing/2014/main" id="{B207AFE4-217B-4756-AFF6-B26C458FAB11}"/>
                  </a:ext>
                </a:extLst>
              </p:cNvPr>
              <p:cNvSpPr>
                <a:spLocks/>
              </p:cNvSpPr>
              <p:nvPr/>
            </p:nvSpPr>
            <p:spPr bwMode="gray">
              <a:xfrm>
                <a:off x="4500679" y="3263799"/>
                <a:ext cx="352819" cy="462504"/>
              </a:xfrm>
              <a:custGeom>
                <a:avLst/>
                <a:gdLst>
                  <a:gd name="T0" fmla="*/ 185 w 213"/>
                  <a:gd name="T1" fmla="*/ 228 h 349"/>
                  <a:gd name="T2" fmla="*/ 190 w 213"/>
                  <a:gd name="T3" fmla="*/ 205 h 349"/>
                  <a:gd name="T4" fmla="*/ 182 w 213"/>
                  <a:gd name="T5" fmla="*/ 198 h 349"/>
                  <a:gd name="T6" fmla="*/ 185 w 213"/>
                  <a:gd name="T7" fmla="*/ 186 h 349"/>
                  <a:gd name="T8" fmla="*/ 187 w 213"/>
                  <a:gd name="T9" fmla="*/ 157 h 349"/>
                  <a:gd name="T10" fmla="*/ 191 w 213"/>
                  <a:gd name="T11" fmla="*/ 148 h 349"/>
                  <a:gd name="T12" fmla="*/ 173 w 213"/>
                  <a:gd name="T13" fmla="*/ 134 h 349"/>
                  <a:gd name="T14" fmla="*/ 185 w 213"/>
                  <a:gd name="T15" fmla="*/ 123 h 349"/>
                  <a:gd name="T16" fmla="*/ 178 w 213"/>
                  <a:gd name="T17" fmla="*/ 113 h 349"/>
                  <a:gd name="T18" fmla="*/ 182 w 213"/>
                  <a:gd name="T19" fmla="*/ 88 h 349"/>
                  <a:gd name="T20" fmla="*/ 166 w 213"/>
                  <a:gd name="T21" fmla="*/ 91 h 349"/>
                  <a:gd name="T22" fmla="*/ 174 w 213"/>
                  <a:gd name="T23" fmla="*/ 42 h 349"/>
                  <a:gd name="T24" fmla="*/ 152 w 213"/>
                  <a:gd name="T25" fmla="*/ 24 h 349"/>
                  <a:gd name="T26" fmla="*/ 159 w 213"/>
                  <a:gd name="T27" fmla="*/ 15 h 349"/>
                  <a:gd name="T28" fmla="*/ 159 w 213"/>
                  <a:gd name="T29" fmla="*/ 4 h 349"/>
                  <a:gd name="T30" fmla="*/ 145 w 213"/>
                  <a:gd name="T31" fmla="*/ 0 h 349"/>
                  <a:gd name="T32" fmla="*/ 129 w 213"/>
                  <a:gd name="T33" fmla="*/ 10 h 349"/>
                  <a:gd name="T34" fmla="*/ 109 w 213"/>
                  <a:gd name="T35" fmla="*/ 7 h 349"/>
                  <a:gd name="T36" fmla="*/ 98 w 213"/>
                  <a:gd name="T37" fmla="*/ 10 h 349"/>
                  <a:gd name="T38" fmla="*/ 86 w 213"/>
                  <a:gd name="T39" fmla="*/ 7 h 349"/>
                  <a:gd name="T40" fmla="*/ 81 w 213"/>
                  <a:gd name="T41" fmla="*/ 10 h 349"/>
                  <a:gd name="T42" fmla="*/ 26 w 213"/>
                  <a:gd name="T43" fmla="*/ 7 h 349"/>
                  <a:gd name="T44" fmla="*/ 18 w 213"/>
                  <a:gd name="T45" fmla="*/ 24 h 349"/>
                  <a:gd name="T46" fmla="*/ 24 w 213"/>
                  <a:gd name="T47" fmla="*/ 33 h 349"/>
                  <a:gd name="T48" fmla="*/ 25 w 213"/>
                  <a:gd name="T49" fmla="*/ 51 h 349"/>
                  <a:gd name="T50" fmla="*/ 26 w 213"/>
                  <a:gd name="T51" fmla="*/ 87 h 349"/>
                  <a:gd name="T52" fmla="*/ 30 w 213"/>
                  <a:gd name="T53" fmla="*/ 86 h 349"/>
                  <a:gd name="T54" fmla="*/ 34 w 213"/>
                  <a:gd name="T55" fmla="*/ 105 h 349"/>
                  <a:gd name="T56" fmla="*/ 26 w 213"/>
                  <a:gd name="T57" fmla="*/ 106 h 349"/>
                  <a:gd name="T58" fmla="*/ 38 w 213"/>
                  <a:gd name="T59" fmla="*/ 152 h 349"/>
                  <a:gd name="T60" fmla="*/ 21 w 213"/>
                  <a:gd name="T61" fmla="*/ 179 h 349"/>
                  <a:gd name="T62" fmla="*/ 20 w 213"/>
                  <a:gd name="T63" fmla="*/ 209 h 349"/>
                  <a:gd name="T64" fmla="*/ 0 w 213"/>
                  <a:gd name="T65" fmla="*/ 241 h 349"/>
                  <a:gd name="T66" fmla="*/ 13 w 213"/>
                  <a:gd name="T67" fmla="*/ 291 h 349"/>
                  <a:gd name="T68" fmla="*/ 31 w 213"/>
                  <a:gd name="T69" fmla="*/ 297 h 349"/>
                  <a:gd name="T70" fmla="*/ 32 w 213"/>
                  <a:gd name="T71" fmla="*/ 332 h 349"/>
                  <a:gd name="T72" fmla="*/ 47 w 213"/>
                  <a:gd name="T73" fmla="*/ 334 h 349"/>
                  <a:gd name="T74" fmla="*/ 61 w 213"/>
                  <a:gd name="T75" fmla="*/ 345 h 349"/>
                  <a:gd name="T76" fmla="*/ 99 w 213"/>
                  <a:gd name="T77" fmla="*/ 321 h 349"/>
                  <a:gd name="T78" fmla="*/ 117 w 213"/>
                  <a:gd name="T79" fmla="*/ 321 h 349"/>
                  <a:gd name="T80" fmla="*/ 141 w 213"/>
                  <a:gd name="T81" fmla="*/ 302 h 349"/>
                  <a:gd name="T82" fmla="*/ 159 w 213"/>
                  <a:gd name="T83" fmla="*/ 298 h 349"/>
                  <a:gd name="T84" fmla="*/ 173 w 213"/>
                  <a:gd name="T85" fmla="*/ 283 h 349"/>
                  <a:gd name="T86" fmla="*/ 196 w 213"/>
                  <a:gd name="T87" fmla="*/ 287 h 349"/>
                  <a:gd name="T88" fmla="*/ 213 w 213"/>
                  <a:gd name="T89" fmla="*/ 273 h 349"/>
                  <a:gd name="T90" fmla="*/ 193 w 213"/>
                  <a:gd name="T91" fmla="*/ 256 h 349"/>
                  <a:gd name="T92" fmla="*/ 185 w 213"/>
                  <a:gd name="T93" fmla="*/ 228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 h="349">
                    <a:moveTo>
                      <a:pt x="185" y="228"/>
                    </a:moveTo>
                    <a:cubicBezTo>
                      <a:pt x="185" y="228"/>
                      <a:pt x="191" y="211"/>
                      <a:pt x="190" y="205"/>
                    </a:cubicBezTo>
                    <a:cubicBezTo>
                      <a:pt x="189" y="199"/>
                      <a:pt x="182" y="203"/>
                      <a:pt x="182" y="198"/>
                    </a:cubicBezTo>
                    <a:cubicBezTo>
                      <a:pt x="182" y="193"/>
                      <a:pt x="185" y="186"/>
                      <a:pt x="185" y="186"/>
                    </a:cubicBezTo>
                    <a:cubicBezTo>
                      <a:pt x="187" y="157"/>
                      <a:pt x="187" y="157"/>
                      <a:pt x="187" y="157"/>
                    </a:cubicBezTo>
                    <a:cubicBezTo>
                      <a:pt x="187" y="157"/>
                      <a:pt x="192" y="154"/>
                      <a:pt x="191" y="148"/>
                    </a:cubicBezTo>
                    <a:cubicBezTo>
                      <a:pt x="190" y="142"/>
                      <a:pt x="173" y="134"/>
                      <a:pt x="173" y="134"/>
                    </a:cubicBezTo>
                    <a:cubicBezTo>
                      <a:pt x="173" y="134"/>
                      <a:pt x="184" y="126"/>
                      <a:pt x="185" y="123"/>
                    </a:cubicBezTo>
                    <a:cubicBezTo>
                      <a:pt x="186" y="120"/>
                      <a:pt x="178" y="113"/>
                      <a:pt x="178" y="113"/>
                    </a:cubicBezTo>
                    <a:cubicBezTo>
                      <a:pt x="178" y="113"/>
                      <a:pt x="186" y="95"/>
                      <a:pt x="182" y="88"/>
                    </a:cubicBezTo>
                    <a:cubicBezTo>
                      <a:pt x="178" y="81"/>
                      <a:pt x="166" y="91"/>
                      <a:pt x="166" y="91"/>
                    </a:cubicBezTo>
                    <a:cubicBezTo>
                      <a:pt x="174" y="42"/>
                      <a:pt x="174" y="42"/>
                      <a:pt x="174" y="42"/>
                    </a:cubicBezTo>
                    <a:cubicBezTo>
                      <a:pt x="152" y="24"/>
                      <a:pt x="152" y="24"/>
                      <a:pt x="152" y="24"/>
                    </a:cubicBezTo>
                    <a:cubicBezTo>
                      <a:pt x="159" y="15"/>
                      <a:pt x="159" y="15"/>
                      <a:pt x="159" y="15"/>
                    </a:cubicBezTo>
                    <a:cubicBezTo>
                      <a:pt x="159" y="4"/>
                      <a:pt x="159" y="4"/>
                      <a:pt x="159" y="4"/>
                    </a:cubicBezTo>
                    <a:cubicBezTo>
                      <a:pt x="145" y="0"/>
                      <a:pt x="145" y="0"/>
                      <a:pt x="145" y="0"/>
                    </a:cubicBezTo>
                    <a:cubicBezTo>
                      <a:pt x="129" y="10"/>
                      <a:pt x="129" y="10"/>
                      <a:pt x="129" y="10"/>
                    </a:cubicBezTo>
                    <a:cubicBezTo>
                      <a:pt x="109" y="7"/>
                      <a:pt x="109" y="7"/>
                      <a:pt x="109" y="7"/>
                    </a:cubicBezTo>
                    <a:cubicBezTo>
                      <a:pt x="98" y="10"/>
                      <a:pt x="98" y="10"/>
                      <a:pt x="98" y="10"/>
                    </a:cubicBezTo>
                    <a:cubicBezTo>
                      <a:pt x="86" y="7"/>
                      <a:pt x="86" y="7"/>
                      <a:pt x="86" y="7"/>
                    </a:cubicBezTo>
                    <a:cubicBezTo>
                      <a:pt x="81" y="10"/>
                      <a:pt x="81" y="10"/>
                      <a:pt x="81" y="10"/>
                    </a:cubicBezTo>
                    <a:cubicBezTo>
                      <a:pt x="26" y="7"/>
                      <a:pt x="26" y="7"/>
                      <a:pt x="26" y="7"/>
                    </a:cubicBezTo>
                    <a:cubicBezTo>
                      <a:pt x="26" y="7"/>
                      <a:pt x="18" y="16"/>
                      <a:pt x="18" y="24"/>
                    </a:cubicBezTo>
                    <a:cubicBezTo>
                      <a:pt x="18" y="32"/>
                      <a:pt x="24" y="33"/>
                      <a:pt x="24" y="33"/>
                    </a:cubicBezTo>
                    <a:cubicBezTo>
                      <a:pt x="25" y="51"/>
                      <a:pt x="25" y="51"/>
                      <a:pt x="25" y="51"/>
                    </a:cubicBezTo>
                    <a:cubicBezTo>
                      <a:pt x="26" y="87"/>
                      <a:pt x="26" y="87"/>
                      <a:pt x="26" y="87"/>
                    </a:cubicBezTo>
                    <a:cubicBezTo>
                      <a:pt x="30" y="86"/>
                      <a:pt x="30" y="86"/>
                      <a:pt x="30" y="86"/>
                    </a:cubicBezTo>
                    <a:cubicBezTo>
                      <a:pt x="34" y="105"/>
                      <a:pt x="34" y="105"/>
                      <a:pt x="34" y="105"/>
                    </a:cubicBezTo>
                    <a:cubicBezTo>
                      <a:pt x="26" y="106"/>
                      <a:pt x="26" y="106"/>
                      <a:pt x="26" y="106"/>
                    </a:cubicBezTo>
                    <a:cubicBezTo>
                      <a:pt x="26" y="106"/>
                      <a:pt x="38" y="140"/>
                      <a:pt x="38" y="152"/>
                    </a:cubicBezTo>
                    <a:cubicBezTo>
                      <a:pt x="38" y="164"/>
                      <a:pt x="21" y="171"/>
                      <a:pt x="21" y="179"/>
                    </a:cubicBezTo>
                    <a:cubicBezTo>
                      <a:pt x="21" y="187"/>
                      <a:pt x="20" y="209"/>
                      <a:pt x="20" y="209"/>
                    </a:cubicBezTo>
                    <a:cubicBezTo>
                      <a:pt x="20" y="209"/>
                      <a:pt x="0" y="227"/>
                      <a:pt x="0" y="241"/>
                    </a:cubicBezTo>
                    <a:cubicBezTo>
                      <a:pt x="0" y="255"/>
                      <a:pt x="13" y="291"/>
                      <a:pt x="13" y="291"/>
                    </a:cubicBezTo>
                    <a:cubicBezTo>
                      <a:pt x="31" y="297"/>
                      <a:pt x="31" y="297"/>
                      <a:pt x="31" y="297"/>
                    </a:cubicBezTo>
                    <a:cubicBezTo>
                      <a:pt x="32" y="332"/>
                      <a:pt x="32" y="332"/>
                      <a:pt x="32" y="332"/>
                    </a:cubicBezTo>
                    <a:cubicBezTo>
                      <a:pt x="41" y="334"/>
                      <a:pt x="47" y="334"/>
                      <a:pt x="47" y="334"/>
                    </a:cubicBezTo>
                    <a:cubicBezTo>
                      <a:pt x="47" y="334"/>
                      <a:pt x="51" y="349"/>
                      <a:pt x="61" y="345"/>
                    </a:cubicBezTo>
                    <a:cubicBezTo>
                      <a:pt x="71" y="341"/>
                      <a:pt x="92" y="323"/>
                      <a:pt x="99" y="321"/>
                    </a:cubicBezTo>
                    <a:cubicBezTo>
                      <a:pt x="106" y="319"/>
                      <a:pt x="117" y="321"/>
                      <a:pt x="117" y="321"/>
                    </a:cubicBezTo>
                    <a:cubicBezTo>
                      <a:pt x="117" y="321"/>
                      <a:pt x="138" y="303"/>
                      <a:pt x="141" y="302"/>
                    </a:cubicBezTo>
                    <a:cubicBezTo>
                      <a:pt x="144" y="301"/>
                      <a:pt x="159" y="298"/>
                      <a:pt x="159" y="298"/>
                    </a:cubicBezTo>
                    <a:cubicBezTo>
                      <a:pt x="159" y="298"/>
                      <a:pt x="165" y="282"/>
                      <a:pt x="173" y="283"/>
                    </a:cubicBezTo>
                    <a:cubicBezTo>
                      <a:pt x="181" y="284"/>
                      <a:pt x="187" y="292"/>
                      <a:pt x="196" y="287"/>
                    </a:cubicBezTo>
                    <a:cubicBezTo>
                      <a:pt x="201" y="284"/>
                      <a:pt x="207" y="278"/>
                      <a:pt x="213" y="273"/>
                    </a:cubicBezTo>
                    <a:cubicBezTo>
                      <a:pt x="193" y="256"/>
                      <a:pt x="193" y="256"/>
                      <a:pt x="193" y="256"/>
                    </a:cubicBezTo>
                    <a:lnTo>
                      <a:pt x="185" y="228"/>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47" name="Gabon">
                <a:extLst>
                  <a:ext uri="{FF2B5EF4-FFF2-40B4-BE49-F238E27FC236}">
                    <a16:creationId xmlns:a16="http://schemas.microsoft.com/office/drawing/2014/main" id="{776101CE-F6A2-44D6-908C-BFFB6DEB9DE9}"/>
                  </a:ext>
                </a:extLst>
              </p:cNvPr>
              <p:cNvSpPr>
                <a:spLocks/>
              </p:cNvSpPr>
              <p:nvPr/>
            </p:nvSpPr>
            <p:spPr bwMode="gray">
              <a:xfrm>
                <a:off x="5441528" y="3884230"/>
                <a:ext cx="465723" cy="451221"/>
              </a:xfrm>
              <a:custGeom>
                <a:avLst/>
                <a:gdLst>
                  <a:gd name="T0" fmla="*/ 261 w 281"/>
                  <a:gd name="T1" fmla="*/ 153 h 339"/>
                  <a:gd name="T2" fmla="*/ 244 w 281"/>
                  <a:gd name="T3" fmla="*/ 140 h 339"/>
                  <a:gd name="T4" fmla="*/ 254 w 281"/>
                  <a:gd name="T5" fmla="*/ 100 h 339"/>
                  <a:gd name="T6" fmla="*/ 273 w 281"/>
                  <a:gd name="T7" fmla="*/ 74 h 339"/>
                  <a:gd name="T8" fmla="*/ 263 w 281"/>
                  <a:gd name="T9" fmla="*/ 56 h 339"/>
                  <a:gd name="T10" fmla="*/ 229 w 281"/>
                  <a:gd name="T11" fmla="*/ 62 h 339"/>
                  <a:gd name="T12" fmla="*/ 210 w 281"/>
                  <a:gd name="T13" fmla="*/ 36 h 339"/>
                  <a:gd name="T14" fmla="*/ 220 w 281"/>
                  <a:gd name="T15" fmla="*/ 4 h 339"/>
                  <a:gd name="T16" fmla="*/ 177 w 281"/>
                  <a:gd name="T17" fmla="*/ 1 h 339"/>
                  <a:gd name="T18" fmla="*/ 147 w 281"/>
                  <a:gd name="T19" fmla="*/ 9 h 339"/>
                  <a:gd name="T20" fmla="*/ 125 w 281"/>
                  <a:gd name="T21" fmla="*/ 10 h 339"/>
                  <a:gd name="T22" fmla="*/ 128 w 281"/>
                  <a:gd name="T23" fmla="*/ 37 h 339"/>
                  <a:gd name="T24" fmla="*/ 56 w 281"/>
                  <a:gd name="T25" fmla="*/ 75 h 339"/>
                  <a:gd name="T26" fmla="*/ 46 w 281"/>
                  <a:gd name="T27" fmla="*/ 71 h 339"/>
                  <a:gd name="T28" fmla="*/ 40 w 281"/>
                  <a:gd name="T29" fmla="*/ 77 h 339"/>
                  <a:gd name="T30" fmla="*/ 30 w 281"/>
                  <a:gd name="T31" fmla="*/ 107 h 339"/>
                  <a:gd name="T32" fmla="*/ 0 w 281"/>
                  <a:gd name="T33" fmla="*/ 166 h 339"/>
                  <a:gd name="T34" fmla="*/ 28 w 281"/>
                  <a:gd name="T35" fmla="*/ 195 h 339"/>
                  <a:gd name="T36" fmla="*/ 27 w 281"/>
                  <a:gd name="T37" fmla="*/ 228 h 339"/>
                  <a:gd name="T38" fmla="*/ 46 w 281"/>
                  <a:gd name="T39" fmla="*/ 259 h 339"/>
                  <a:gd name="T40" fmla="*/ 61 w 281"/>
                  <a:gd name="T41" fmla="*/ 271 h 339"/>
                  <a:gd name="T42" fmla="*/ 91 w 281"/>
                  <a:gd name="T43" fmla="*/ 311 h 339"/>
                  <a:gd name="T44" fmla="*/ 114 w 281"/>
                  <a:gd name="T45" fmla="*/ 339 h 339"/>
                  <a:gd name="T46" fmla="*/ 133 w 281"/>
                  <a:gd name="T47" fmla="*/ 317 h 339"/>
                  <a:gd name="T48" fmla="*/ 152 w 281"/>
                  <a:gd name="T49" fmla="*/ 304 h 339"/>
                  <a:gd name="T50" fmla="*/ 149 w 281"/>
                  <a:gd name="T51" fmla="*/ 287 h 339"/>
                  <a:gd name="T52" fmla="*/ 139 w 281"/>
                  <a:gd name="T53" fmla="*/ 274 h 339"/>
                  <a:gd name="T54" fmla="*/ 172 w 281"/>
                  <a:gd name="T55" fmla="*/ 257 h 339"/>
                  <a:gd name="T56" fmla="*/ 178 w 281"/>
                  <a:gd name="T57" fmla="*/ 225 h 339"/>
                  <a:gd name="T58" fmla="*/ 204 w 281"/>
                  <a:gd name="T59" fmla="*/ 255 h 339"/>
                  <a:gd name="T60" fmla="*/ 241 w 281"/>
                  <a:gd name="T61" fmla="*/ 239 h 339"/>
                  <a:gd name="T62" fmla="*/ 260 w 281"/>
                  <a:gd name="T63" fmla="*/ 244 h 339"/>
                  <a:gd name="T64" fmla="*/ 269 w 281"/>
                  <a:gd name="T65" fmla="*/ 212 h 339"/>
                  <a:gd name="T66" fmla="*/ 272 w 281"/>
                  <a:gd name="T67" fmla="*/ 17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1" h="339">
                    <a:moveTo>
                      <a:pt x="279" y="160"/>
                    </a:moveTo>
                    <a:cubicBezTo>
                      <a:pt x="277" y="154"/>
                      <a:pt x="261" y="153"/>
                      <a:pt x="261" y="153"/>
                    </a:cubicBezTo>
                    <a:cubicBezTo>
                      <a:pt x="256" y="141"/>
                      <a:pt x="256" y="141"/>
                      <a:pt x="256" y="141"/>
                    </a:cubicBezTo>
                    <a:cubicBezTo>
                      <a:pt x="244" y="140"/>
                      <a:pt x="244" y="140"/>
                      <a:pt x="244" y="140"/>
                    </a:cubicBezTo>
                    <a:cubicBezTo>
                      <a:pt x="245" y="116"/>
                      <a:pt x="245" y="116"/>
                      <a:pt x="245" y="116"/>
                    </a:cubicBezTo>
                    <a:cubicBezTo>
                      <a:pt x="254" y="100"/>
                      <a:pt x="254" y="100"/>
                      <a:pt x="254" y="100"/>
                    </a:cubicBezTo>
                    <a:cubicBezTo>
                      <a:pt x="254" y="100"/>
                      <a:pt x="261" y="101"/>
                      <a:pt x="267" y="94"/>
                    </a:cubicBezTo>
                    <a:cubicBezTo>
                      <a:pt x="273" y="87"/>
                      <a:pt x="273" y="74"/>
                      <a:pt x="273" y="74"/>
                    </a:cubicBezTo>
                    <a:cubicBezTo>
                      <a:pt x="267" y="70"/>
                      <a:pt x="267" y="70"/>
                      <a:pt x="267" y="70"/>
                    </a:cubicBezTo>
                    <a:cubicBezTo>
                      <a:pt x="267" y="70"/>
                      <a:pt x="266" y="60"/>
                      <a:pt x="263" y="56"/>
                    </a:cubicBezTo>
                    <a:cubicBezTo>
                      <a:pt x="260" y="52"/>
                      <a:pt x="248" y="47"/>
                      <a:pt x="243" y="47"/>
                    </a:cubicBezTo>
                    <a:cubicBezTo>
                      <a:pt x="238" y="47"/>
                      <a:pt x="238" y="62"/>
                      <a:pt x="229" y="62"/>
                    </a:cubicBezTo>
                    <a:cubicBezTo>
                      <a:pt x="220" y="62"/>
                      <a:pt x="212" y="57"/>
                      <a:pt x="212" y="57"/>
                    </a:cubicBezTo>
                    <a:cubicBezTo>
                      <a:pt x="210" y="36"/>
                      <a:pt x="210" y="36"/>
                      <a:pt x="210" y="36"/>
                    </a:cubicBezTo>
                    <a:cubicBezTo>
                      <a:pt x="220" y="14"/>
                      <a:pt x="220" y="14"/>
                      <a:pt x="220" y="14"/>
                    </a:cubicBezTo>
                    <a:cubicBezTo>
                      <a:pt x="220" y="4"/>
                      <a:pt x="220" y="4"/>
                      <a:pt x="220" y="4"/>
                    </a:cubicBezTo>
                    <a:cubicBezTo>
                      <a:pt x="188" y="5"/>
                      <a:pt x="188" y="5"/>
                      <a:pt x="188" y="5"/>
                    </a:cubicBezTo>
                    <a:cubicBezTo>
                      <a:pt x="188" y="5"/>
                      <a:pt x="181" y="1"/>
                      <a:pt x="177" y="1"/>
                    </a:cubicBezTo>
                    <a:cubicBezTo>
                      <a:pt x="173" y="1"/>
                      <a:pt x="168" y="9"/>
                      <a:pt x="168" y="9"/>
                    </a:cubicBezTo>
                    <a:cubicBezTo>
                      <a:pt x="147" y="9"/>
                      <a:pt x="147" y="9"/>
                      <a:pt x="147" y="9"/>
                    </a:cubicBezTo>
                    <a:cubicBezTo>
                      <a:pt x="137" y="0"/>
                      <a:pt x="137" y="0"/>
                      <a:pt x="137" y="0"/>
                    </a:cubicBezTo>
                    <a:cubicBezTo>
                      <a:pt x="125" y="10"/>
                      <a:pt x="125" y="10"/>
                      <a:pt x="125" y="10"/>
                    </a:cubicBezTo>
                    <a:cubicBezTo>
                      <a:pt x="122" y="33"/>
                      <a:pt x="122" y="33"/>
                      <a:pt x="122" y="33"/>
                    </a:cubicBezTo>
                    <a:cubicBezTo>
                      <a:pt x="128" y="37"/>
                      <a:pt x="128" y="37"/>
                      <a:pt x="128" y="37"/>
                    </a:cubicBezTo>
                    <a:cubicBezTo>
                      <a:pt x="128" y="37"/>
                      <a:pt x="128" y="72"/>
                      <a:pt x="123" y="73"/>
                    </a:cubicBezTo>
                    <a:cubicBezTo>
                      <a:pt x="118" y="74"/>
                      <a:pt x="56" y="75"/>
                      <a:pt x="56" y="75"/>
                    </a:cubicBezTo>
                    <a:cubicBezTo>
                      <a:pt x="54" y="69"/>
                      <a:pt x="54" y="69"/>
                      <a:pt x="54" y="69"/>
                    </a:cubicBezTo>
                    <a:cubicBezTo>
                      <a:pt x="46" y="71"/>
                      <a:pt x="46" y="71"/>
                      <a:pt x="46" y="71"/>
                    </a:cubicBezTo>
                    <a:cubicBezTo>
                      <a:pt x="47" y="72"/>
                      <a:pt x="48" y="72"/>
                      <a:pt x="48" y="72"/>
                    </a:cubicBezTo>
                    <a:cubicBezTo>
                      <a:pt x="40" y="77"/>
                      <a:pt x="40" y="77"/>
                      <a:pt x="40" y="77"/>
                    </a:cubicBezTo>
                    <a:cubicBezTo>
                      <a:pt x="40" y="77"/>
                      <a:pt x="49" y="105"/>
                      <a:pt x="45" y="107"/>
                    </a:cubicBezTo>
                    <a:cubicBezTo>
                      <a:pt x="41" y="109"/>
                      <a:pt x="30" y="107"/>
                      <a:pt x="30" y="107"/>
                    </a:cubicBezTo>
                    <a:cubicBezTo>
                      <a:pt x="30" y="107"/>
                      <a:pt x="33" y="148"/>
                      <a:pt x="23" y="159"/>
                    </a:cubicBezTo>
                    <a:cubicBezTo>
                      <a:pt x="13" y="170"/>
                      <a:pt x="0" y="166"/>
                      <a:pt x="0" y="166"/>
                    </a:cubicBezTo>
                    <a:cubicBezTo>
                      <a:pt x="17" y="203"/>
                      <a:pt x="17" y="203"/>
                      <a:pt x="17" y="203"/>
                    </a:cubicBezTo>
                    <a:cubicBezTo>
                      <a:pt x="28" y="195"/>
                      <a:pt x="28" y="195"/>
                      <a:pt x="28" y="195"/>
                    </a:cubicBezTo>
                    <a:cubicBezTo>
                      <a:pt x="34" y="208"/>
                      <a:pt x="34" y="208"/>
                      <a:pt x="34" y="208"/>
                    </a:cubicBezTo>
                    <a:cubicBezTo>
                      <a:pt x="34" y="208"/>
                      <a:pt x="25" y="221"/>
                      <a:pt x="27" y="228"/>
                    </a:cubicBezTo>
                    <a:cubicBezTo>
                      <a:pt x="29" y="235"/>
                      <a:pt x="42" y="232"/>
                      <a:pt x="42" y="232"/>
                    </a:cubicBezTo>
                    <a:cubicBezTo>
                      <a:pt x="46" y="259"/>
                      <a:pt x="46" y="259"/>
                      <a:pt x="46" y="259"/>
                    </a:cubicBezTo>
                    <a:cubicBezTo>
                      <a:pt x="66" y="263"/>
                      <a:pt x="66" y="263"/>
                      <a:pt x="66" y="263"/>
                    </a:cubicBezTo>
                    <a:cubicBezTo>
                      <a:pt x="61" y="271"/>
                      <a:pt x="61" y="271"/>
                      <a:pt x="61" y="271"/>
                    </a:cubicBezTo>
                    <a:cubicBezTo>
                      <a:pt x="94" y="306"/>
                      <a:pt x="94" y="306"/>
                      <a:pt x="94" y="306"/>
                    </a:cubicBezTo>
                    <a:cubicBezTo>
                      <a:pt x="91" y="311"/>
                      <a:pt x="91" y="311"/>
                      <a:pt x="91" y="311"/>
                    </a:cubicBezTo>
                    <a:cubicBezTo>
                      <a:pt x="113" y="338"/>
                      <a:pt x="113" y="338"/>
                      <a:pt x="113" y="338"/>
                    </a:cubicBezTo>
                    <a:cubicBezTo>
                      <a:pt x="114" y="339"/>
                      <a:pt x="114" y="339"/>
                      <a:pt x="114" y="339"/>
                    </a:cubicBezTo>
                    <a:cubicBezTo>
                      <a:pt x="119" y="326"/>
                      <a:pt x="119" y="326"/>
                      <a:pt x="119" y="326"/>
                    </a:cubicBezTo>
                    <a:cubicBezTo>
                      <a:pt x="133" y="317"/>
                      <a:pt x="133" y="317"/>
                      <a:pt x="133" y="317"/>
                    </a:cubicBezTo>
                    <a:cubicBezTo>
                      <a:pt x="133" y="317"/>
                      <a:pt x="148" y="335"/>
                      <a:pt x="152" y="326"/>
                    </a:cubicBezTo>
                    <a:cubicBezTo>
                      <a:pt x="156" y="317"/>
                      <a:pt x="152" y="304"/>
                      <a:pt x="152" y="304"/>
                    </a:cubicBezTo>
                    <a:cubicBezTo>
                      <a:pt x="140" y="296"/>
                      <a:pt x="140" y="296"/>
                      <a:pt x="140" y="296"/>
                    </a:cubicBezTo>
                    <a:cubicBezTo>
                      <a:pt x="149" y="287"/>
                      <a:pt x="149" y="287"/>
                      <a:pt x="149" y="287"/>
                    </a:cubicBezTo>
                    <a:cubicBezTo>
                      <a:pt x="132" y="274"/>
                      <a:pt x="132" y="274"/>
                      <a:pt x="132" y="274"/>
                    </a:cubicBezTo>
                    <a:cubicBezTo>
                      <a:pt x="139" y="274"/>
                      <a:pt x="139" y="274"/>
                      <a:pt x="139" y="274"/>
                    </a:cubicBezTo>
                    <a:cubicBezTo>
                      <a:pt x="139" y="274"/>
                      <a:pt x="132" y="249"/>
                      <a:pt x="138" y="251"/>
                    </a:cubicBezTo>
                    <a:cubicBezTo>
                      <a:pt x="144" y="253"/>
                      <a:pt x="168" y="262"/>
                      <a:pt x="172" y="257"/>
                    </a:cubicBezTo>
                    <a:cubicBezTo>
                      <a:pt x="176" y="252"/>
                      <a:pt x="185" y="244"/>
                      <a:pt x="185" y="244"/>
                    </a:cubicBezTo>
                    <a:cubicBezTo>
                      <a:pt x="185" y="244"/>
                      <a:pt x="172" y="226"/>
                      <a:pt x="178" y="225"/>
                    </a:cubicBezTo>
                    <a:cubicBezTo>
                      <a:pt x="184" y="224"/>
                      <a:pt x="195" y="226"/>
                      <a:pt x="195" y="226"/>
                    </a:cubicBezTo>
                    <a:cubicBezTo>
                      <a:pt x="204" y="255"/>
                      <a:pt x="204" y="255"/>
                      <a:pt x="204" y="255"/>
                    </a:cubicBezTo>
                    <a:cubicBezTo>
                      <a:pt x="204" y="255"/>
                      <a:pt x="218" y="256"/>
                      <a:pt x="226" y="254"/>
                    </a:cubicBezTo>
                    <a:cubicBezTo>
                      <a:pt x="234" y="252"/>
                      <a:pt x="237" y="236"/>
                      <a:pt x="241" y="239"/>
                    </a:cubicBezTo>
                    <a:cubicBezTo>
                      <a:pt x="245" y="242"/>
                      <a:pt x="238" y="264"/>
                      <a:pt x="248" y="264"/>
                    </a:cubicBezTo>
                    <a:cubicBezTo>
                      <a:pt x="258" y="264"/>
                      <a:pt x="260" y="258"/>
                      <a:pt x="260" y="244"/>
                    </a:cubicBezTo>
                    <a:cubicBezTo>
                      <a:pt x="260" y="230"/>
                      <a:pt x="273" y="226"/>
                      <a:pt x="273" y="226"/>
                    </a:cubicBezTo>
                    <a:cubicBezTo>
                      <a:pt x="269" y="212"/>
                      <a:pt x="269" y="212"/>
                      <a:pt x="269" y="212"/>
                    </a:cubicBezTo>
                    <a:cubicBezTo>
                      <a:pt x="273" y="201"/>
                      <a:pt x="273" y="201"/>
                      <a:pt x="273" y="201"/>
                    </a:cubicBezTo>
                    <a:cubicBezTo>
                      <a:pt x="272" y="171"/>
                      <a:pt x="272" y="171"/>
                      <a:pt x="272" y="171"/>
                    </a:cubicBezTo>
                    <a:cubicBezTo>
                      <a:pt x="272" y="171"/>
                      <a:pt x="281" y="166"/>
                      <a:pt x="279" y="160"/>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48" name="Ethiopa">
                <a:extLst>
                  <a:ext uri="{FF2B5EF4-FFF2-40B4-BE49-F238E27FC236}">
                    <a16:creationId xmlns:a16="http://schemas.microsoft.com/office/drawing/2014/main" id="{CF0DE5E9-CCDC-48F6-8218-71A62844898E}"/>
                  </a:ext>
                </a:extLst>
              </p:cNvPr>
              <p:cNvSpPr>
                <a:spLocks/>
              </p:cNvSpPr>
              <p:nvPr/>
            </p:nvSpPr>
            <p:spPr bwMode="gray">
              <a:xfrm>
                <a:off x="7346764" y="2993067"/>
                <a:ext cx="1176069" cy="815960"/>
              </a:xfrm>
              <a:custGeom>
                <a:avLst/>
                <a:gdLst>
                  <a:gd name="T0" fmla="*/ 75 w 709"/>
                  <a:gd name="T1" fmla="*/ 428 h 615"/>
                  <a:gd name="T2" fmla="*/ 87 w 709"/>
                  <a:gd name="T3" fmla="*/ 442 h 615"/>
                  <a:gd name="T4" fmla="*/ 96 w 709"/>
                  <a:gd name="T5" fmla="*/ 471 h 615"/>
                  <a:gd name="T6" fmla="*/ 133 w 709"/>
                  <a:gd name="T7" fmla="*/ 513 h 615"/>
                  <a:gd name="T8" fmla="*/ 138 w 709"/>
                  <a:gd name="T9" fmla="*/ 545 h 615"/>
                  <a:gd name="T10" fmla="*/ 191 w 709"/>
                  <a:gd name="T11" fmla="*/ 562 h 615"/>
                  <a:gd name="T12" fmla="*/ 282 w 709"/>
                  <a:gd name="T13" fmla="*/ 606 h 615"/>
                  <a:gd name="T14" fmla="*/ 326 w 709"/>
                  <a:gd name="T15" fmla="*/ 601 h 615"/>
                  <a:gd name="T16" fmla="*/ 360 w 709"/>
                  <a:gd name="T17" fmla="*/ 577 h 615"/>
                  <a:gd name="T18" fmla="*/ 388 w 709"/>
                  <a:gd name="T19" fmla="*/ 585 h 615"/>
                  <a:gd name="T20" fmla="*/ 410 w 709"/>
                  <a:gd name="T21" fmla="*/ 582 h 615"/>
                  <a:gd name="T22" fmla="*/ 434 w 709"/>
                  <a:gd name="T23" fmla="*/ 574 h 615"/>
                  <a:gd name="T24" fmla="*/ 480 w 709"/>
                  <a:gd name="T25" fmla="*/ 549 h 615"/>
                  <a:gd name="T26" fmla="*/ 569 w 709"/>
                  <a:gd name="T27" fmla="*/ 535 h 615"/>
                  <a:gd name="T28" fmla="*/ 661 w 709"/>
                  <a:gd name="T29" fmla="*/ 373 h 615"/>
                  <a:gd name="T30" fmla="*/ 527 w 709"/>
                  <a:gd name="T31" fmla="*/ 320 h 615"/>
                  <a:gd name="T32" fmla="*/ 491 w 709"/>
                  <a:gd name="T33" fmla="*/ 295 h 615"/>
                  <a:gd name="T34" fmla="*/ 462 w 709"/>
                  <a:gd name="T35" fmla="*/ 246 h 615"/>
                  <a:gd name="T36" fmla="*/ 454 w 709"/>
                  <a:gd name="T37" fmla="*/ 230 h 615"/>
                  <a:gd name="T38" fmla="*/ 454 w 709"/>
                  <a:gd name="T39" fmla="*/ 201 h 615"/>
                  <a:gd name="T40" fmla="*/ 419 w 709"/>
                  <a:gd name="T41" fmla="*/ 211 h 615"/>
                  <a:gd name="T42" fmla="*/ 421 w 709"/>
                  <a:gd name="T43" fmla="*/ 164 h 615"/>
                  <a:gd name="T44" fmla="*/ 431 w 709"/>
                  <a:gd name="T45" fmla="*/ 113 h 615"/>
                  <a:gd name="T46" fmla="*/ 408 w 709"/>
                  <a:gd name="T47" fmla="*/ 87 h 615"/>
                  <a:gd name="T48" fmla="*/ 367 w 709"/>
                  <a:gd name="T49" fmla="*/ 46 h 615"/>
                  <a:gd name="T50" fmla="*/ 336 w 709"/>
                  <a:gd name="T51" fmla="*/ 23 h 615"/>
                  <a:gd name="T52" fmla="*/ 306 w 709"/>
                  <a:gd name="T53" fmla="*/ 17 h 615"/>
                  <a:gd name="T54" fmla="*/ 279 w 709"/>
                  <a:gd name="T55" fmla="*/ 11 h 615"/>
                  <a:gd name="T56" fmla="*/ 250 w 709"/>
                  <a:gd name="T57" fmla="*/ 24 h 615"/>
                  <a:gd name="T58" fmla="*/ 224 w 709"/>
                  <a:gd name="T59" fmla="*/ 0 h 615"/>
                  <a:gd name="T60" fmla="*/ 192 w 709"/>
                  <a:gd name="T61" fmla="*/ 21 h 615"/>
                  <a:gd name="T62" fmla="*/ 159 w 709"/>
                  <a:gd name="T63" fmla="*/ 30 h 615"/>
                  <a:gd name="T64" fmla="*/ 143 w 709"/>
                  <a:gd name="T65" fmla="*/ 88 h 615"/>
                  <a:gd name="T66" fmla="*/ 123 w 709"/>
                  <a:gd name="T67" fmla="*/ 116 h 615"/>
                  <a:gd name="T68" fmla="*/ 110 w 709"/>
                  <a:gd name="T69" fmla="*/ 155 h 615"/>
                  <a:gd name="T70" fmla="*/ 96 w 709"/>
                  <a:gd name="T71" fmla="*/ 179 h 615"/>
                  <a:gd name="T72" fmla="*/ 90 w 709"/>
                  <a:gd name="T73" fmla="*/ 221 h 615"/>
                  <a:gd name="T74" fmla="*/ 71 w 709"/>
                  <a:gd name="T75" fmla="*/ 215 h 615"/>
                  <a:gd name="T76" fmla="*/ 65 w 709"/>
                  <a:gd name="T77" fmla="*/ 256 h 615"/>
                  <a:gd name="T78" fmla="*/ 54 w 709"/>
                  <a:gd name="T79" fmla="*/ 305 h 615"/>
                  <a:gd name="T80" fmla="*/ 36 w 709"/>
                  <a:gd name="T81" fmla="*/ 351 h 615"/>
                  <a:gd name="T82" fmla="*/ 8 w 709"/>
                  <a:gd name="T83" fmla="*/ 345 h 615"/>
                  <a:gd name="T84" fmla="*/ 3 w 709"/>
                  <a:gd name="T85" fmla="*/ 383 h 615"/>
                  <a:gd name="T86" fmla="*/ 55 w 709"/>
                  <a:gd name="T87" fmla="*/ 40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9" h="615">
                    <a:moveTo>
                      <a:pt x="60" y="425"/>
                    </a:moveTo>
                    <a:cubicBezTo>
                      <a:pt x="64" y="430"/>
                      <a:pt x="75" y="428"/>
                      <a:pt x="75" y="428"/>
                    </a:cubicBezTo>
                    <a:cubicBezTo>
                      <a:pt x="78" y="441"/>
                      <a:pt x="78" y="441"/>
                      <a:pt x="78" y="441"/>
                    </a:cubicBezTo>
                    <a:cubicBezTo>
                      <a:pt x="87" y="442"/>
                      <a:pt x="87" y="442"/>
                      <a:pt x="87" y="442"/>
                    </a:cubicBezTo>
                    <a:cubicBezTo>
                      <a:pt x="89" y="467"/>
                      <a:pt x="89" y="467"/>
                      <a:pt x="89" y="467"/>
                    </a:cubicBezTo>
                    <a:cubicBezTo>
                      <a:pt x="96" y="471"/>
                      <a:pt x="96" y="471"/>
                      <a:pt x="96" y="471"/>
                    </a:cubicBezTo>
                    <a:cubicBezTo>
                      <a:pt x="96" y="471"/>
                      <a:pt x="98" y="498"/>
                      <a:pt x="108" y="506"/>
                    </a:cubicBezTo>
                    <a:cubicBezTo>
                      <a:pt x="118" y="514"/>
                      <a:pt x="128" y="505"/>
                      <a:pt x="133" y="513"/>
                    </a:cubicBezTo>
                    <a:cubicBezTo>
                      <a:pt x="138" y="521"/>
                      <a:pt x="137" y="535"/>
                      <a:pt x="137" y="535"/>
                    </a:cubicBezTo>
                    <a:cubicBezTo>
                      <a:pt x="138" y="545"/>
                      <a:pt x="138" y="545"/>
                      <a:pt x="138" y="545"/>
                    </a:cubicBezTo>
                    <a:cubicBezTo>
                      <a:pt x="144" y="560"/>
                      <a:pt x="144" y="560"/>
                      <a:pt x="144" y="560"/>
                    </a:cubicBezTo>
                    <a:cubicBezTo>
                      <a:pt x="191" y="562"/>
                      <a:pt x="191" y="562"/>
                      <a:pt x="191" y="562"/>
                    </a:cubicBezTo>
                    <a:cubicBezTo>
                      <a:pt x="242" y="602"/>
                      <a:pt x="242" y="602"/>
                      <a:pt x="242" y="602"/>
                    </a:cubicBezTo>
                    <a:cubicBezTo>
                      <a:pt x="242" y="602"/>
                      <a:pt x="269" y="604"/>
                      <a:pt x="282" y="606"/>
                    </a:cubicBezTo>
                    <a:cubicBezTo>
                      <a:pt x="295" y="608"/>
                      <a:pt x="313" y="615"/>
                      <a:pt x="313" y="615"/>
                    </a:cubicBezTo>
                    <a:cubicBezTo>
                      <a:pt x="326" y="601"/>
                      <a:pt x="326" y="601"/>
                      <a:pt x="326" y="601"/>
                    </a:cubicBezTo>
                    <a:cubicBezTo>
                      <a:pt x="326" y="601"/>
                      <a:pt x="324" y="597"/>
                      <a:pt x="331" y="591"/>
                    </a:cubicBezTo>
                    <a:cubicBezTo>
                      <a:pt x="338" y="585"/>
                      <a:pt x="360" y="577"/>
                      <a:pt x="360" y="577"/>
                    </a:cubicBezTo>
                    <a:cubicBezTo>
                      <a:pt x="372" y="568"/>
                      <a:pt x="372" y="568"/>
                      <a:pt x="372" y="568"/>
                    </a:cubicBezTo>
                    <a:cubicBezTo>
                      <a:pt x="388" y="585"/>
                      <a:pt x="388" y="585"/>
                      <a:pt x="388" y="585"/>
                    </a:cubicBezTo>
                    <a:cubicBezTo>
                      <a:pt x="406" y="586"/>
                      <a:pt x="406" y="586"/>
                      <a:pt x="406" y="586"/>
                    </a:cubicBezTo>
                    <a:cubicBezTo>
                      <a:pt x="410" y="582"/>
                      <a:pt x="410" y="582"/>
                      <a:pt x="410" y="582"/>
                    </a:cubicBezTo>
                    <a:cubicBezTo>
                      <a:pt x="426" y="588"/>
                      <a:pt x="426" y="588"/>
                      <a:pt x="426" y="588"/>
                    </a:cubicBezTo>
                    <a:cubicBezTo>
                      <a:pt x="426" y="588"/>
                      <a:pt x="426" y="577"/>
                      <a:pt x="434" y="574"/>
                    </a:cubicBezTo>
                    <a:cubicBezTo>
                      <a:pt x="442" y="571"/>
                      <a:pt x="467" y="573"/>
                      <a:pt x="473" y="567"/>
                    </a:cubicBezTo>
                    <a:cubicBezTo>
                      <a:pt x="479" y="561"/>
                      <a:pt x="480" y="549"/>
                      <a:pt x="480" y="549"/>
                    </a:cubicBezTo>
                    <a:cubicBezTo>
                      <a:pt x="480" y="549"/>
                      <a:pt x="505" y="537"/>
                      <a:pt x="513" y="535"/>
                    </a:cubicBezTo>
                    <a:cubicBezTo>
                      <a:pt x="521" y="533"/>
                      <a:pt x="569" y="535"/>
                      <a:pt x="569" y="535"/>
                    </a:cubicBezTo>
                    <a:cubicBezTo>
                      <a:pt x="709" y="370"/>
                      <a:pt x="709" y="370"/>
                      <a:pt x="709" y="370"/>
                    </a:cubicBezTo>
                    <a:cubicBezTo>
                      <a:pt x="661" y="373"/>
                      <a:pt x="661" y="373"/>
                      <a:pt x="661" y="373"/>
                    </a:cubicBezTo>
                    <a:cubicBezTo>
                      <a:pt x="661" y="373"/>
                      <a:pt x="628" y="353"/>
                      <a:pt x="609" y="347"/>
                    </a:cubicBezTo>
                    <a:cubicBezTo>
                      <a:pt x="590" y="341"/>
                      <a:pt x="538" y="328"/>
                      <a:pt x="527" y="320"/>
                    </a:cubicBezTo>
                    <a:cubicBezTo>
                      <a:pt x="516" y="312"/>
                      <a:pt x="506" y="295"/>
                      <a:pt x="506" y="295"/>
                    </a:cubicBezTo>
                    <a:cubicBezTo>
                      <a:pt x="491" y="295"/>
                      <a:pt x="491" y="295"/>
                      <a:pt x="491" y="295"/>
                    </a:cubicBezTo>
                    <a:cubicBezTo>
                      <a:pt x="491" y="295"/>
                      <a:pt x="487" y="278"/>
                      <a:pt x="481" y="270"/>
                    </a:cubicBezTo>
                    <a:cubicBezTo>
                      <a:pt x="475" y="262"/>
                      <a:pt x="462" y="246"/>
                      <a:pt x="462" y="246"/>
                    </a:cubicBezTo>
                    <a:cubicBezTo>
                      <a:pt x="463" y="238"/>
                      <a:pt x="463" y="238"/>
                      <a:pt x="463" y="238"/>
                    </a:cubicBezTo>
                    <a:cubicBezTo>
                      <a:pt x="454" y="230"/>
                      <a:pt x="454" y="230"/>
                      <a:pt x="454" y="230"/>
                    </a:cubicBezTo>
                    <a:cubicBezTo>
                      <a:pt x="467" y="210"/>
                      <a:pt x="467" y="210"/>
                      <a:pt x="467" y="210"/>
                    </a:cubicBezTo>
                    <a:cubicBezTo>
                      <a:pt x="463" y="206"/>
                      <a:pt x="458" y="202"/>
                      <a:pt x="454" y="201"/>
                    </a:cubicBezTo>
                    <a:cubicBezTo>
                      <a:pt x="447" y="200"/>
                      <a:pt x="444" y="208"/>
                      <a:pt x="444" y="208"/>
                    </a:cubicBezTo>
                    <a:cubicBezTo>
                      <a:pt x="444" y="208"/>
                      <a:pt x="427" y="212"/>
                      <a:pt x="419" y="211"/>
                    </a:cubicBezTo>
                    <a:cubicBezTo>
                      <a:pt x="411" y="210"/>
                      <a:pt x="408" y="173"/>
                      <a:pt x="408" y="173"/>
                    </a:cubicBezTo>
                    <a:cubicBezTo>
                      <a:pt x="421" y="164"/>
                      <a:pt x="421" y="164"/>
                      <a:pt x="421" y="164"/>
                    </a:cubicBezTo>
                    <a:cubicBezTo>
                      <a:pt x="439" y="125"/>
                      <a:pt x="439" y="125"/>
                      <a:pt x="439" y="125"/>
                    </a:cubicBezTo>
                    <a:cubicBezTo>
                      <a:pt x="431" y="113"/>
                      <a:pt x="431" y="113"/>
                      <a:pt x="431" y="113"/>
                    </a:cubicBezTo>
                    <a:cubicBezTo>
                      <a:pt x="431" y="113"/>
                      <a:pt x="414" y="113"/>
                      <a:pt x="413" y="107"/>
                    </a:cubicBezTo>
                    <a:cubicBezTo>
                      <a:pt x="412" y="101"/>
                      <a:pt x="412" y="92"/>
                      <a:pt x="408" y="87"/>
                    </a:cubicBezTo>
                    <a:cubicBezTo>
                      <a:pt x="404" y="82"/>
                      <a:pt x="386" y="80"/>
                      <a:pt x="382" y="72"/>
                    </a:cubicBezTo>
                    <a:cubicBezTo>
                      <a:pt x="378" y="64"/>
                      <a:pt x="375" y="54"/>
                      <a:pt x="367" y="46"/>
                    </a:cubicBezTo>
                    <a:cubicBezTo>
                      <a:pt x="359" y="38"/>
                      <a:pt x="347" y="37"/>
                      <a:pt x="347" y="37"/>
                    </a:cubicBezTo>
                    <a:cubicBezTo>
                      <a:pt x="336" y="23"/>
                      <a:pt x="336" y="23"/>
                      <a:pt x="336" y="23"/>
                    </a:cubicBezTo>
                    <a:cubicBezTo>
                      <a:pt x="316" y="22"/>
                      <a:pt x="316" y="22"/>
                      <a:pt x="316" y="22"/>
                    </a:cubicBezTo>
                    <a:cubicBezTo>
                      <a:pt x="316" y="22"/>
                      <a:pt x="310" y="17"/>
                      <a:pt x="306" y="17"/>
                    </a:cubicBezTo>
                    <a:cubicBezTo>
                      <a:pt x="302" y="17"/>
                      <a:pt x="291" y="24"/>
                      <a:pt x="288" y="24"/>
                    </a:cubicBezTo>
                    <a:cubicBezTo>
                      <a:pt x="285" y="24"/>
                      <a:pt x="279" y="11"/>
                      <a:pt x="279" y="11"/>
                    </a:cubicBezTo>
                    <a:cubicBezTo>
                      <a:pt x="279" y="11"/>
                      <a:pt x="270" y="24"/>
                      <a:pt x="267" y="24"/>
                    </a:cubicBezTo>
                    <a:cubicBezTo>
                      <a:pt x="264" y="24"/>
                      <a:pt x="250" y="24"/>
                      <a:pt x="250" y="24"/>
                    </a:cubicBezTo>
                    <a:cubicBezTo>
                      <a:pt x="250" y="24"/>
                      <a:pt x="244" y="11"/>
                      <a:pt x="240" y="9"/>
                    </a:cubicBezTo>
                    <a:cubicBezTo>
                      <a:pt x="236" y="7"/>
                      <a:pt x="224" y="0"/>
                      <a:pt x="224" y="0"/>
                    </a:cubicBezTo>
                    <a:cubicBezTo>
                      <a:pt x="224" y="0"/>
                      <a:pt x="216" y="41"/>
                      <a:pt x="208" y="41"/>
                    </a:cubicBezTo>
                    <a:cubicBezTo>
                      <a:pt x="200" y="41"/>
                      <a:pt x="197" y="21"/>
                      <a:pt x="192" y="21"/>
                    </a:cubicBezTo>
                    <a:cubicBezTo>
                      <a:pt x="187" y="21"/>
                      <a:pt x="182" y="31"/>
                      <a:pt x="182" y="31"/>
                    </a:cubicBezTo>
                    <a:cubicBezTo>
                      <a:pt x="159" y="30"/>
                      <a:pt x="159" y="30"/>
                      <a:pt x="159" y="30"/>
                    </a:cubicBezTo>
                    <a:cubicBezTo>
                      <a:pt x="159" y="60"/>
                      <a:pt x="159" y="60"/>
                      <a:pt x="159" y="60"/>
                    </a:cubicBezTo>
                    <a:cubicBezTo>
                      <a:pt x="159" y="60"/>
                      <a:pt x="143" y="80"/>
                      <a:pt x="143" y="88"/>
                    </a:cubicBezTo>
                    <a:cubicBezTo>
                      <a:pt x="143" y="96"/>
                      <a:pt x="145" y="114"/>
                      <a:pt x="145" y="114"/>
                    </a:cubicBezTo>
                    <a:cubicBezTo>
                      <a:pt x="123" y="116"/>
                      <a:pt x="123" y="116"/>
                      <a:pt x="123" y="116"/>
                    </a:cubicBezTo>
                    <a:cubicBezTo>
                      <a:pt x="123" y="116"/>
                      <a:pt x="112" y="130"/>
                      <a:pt x="111" y="135"/>
                    </a:cubicBezTo>
                    <a:cubicBezTo>
                      <a:pt x="110" y="140"/>
                      <a:pt x="115" y="150"/>
                      <a:pt x="110" y="155"/>
                    </a:cubicBezTo>
                    <a:cubicBezTo>
                      <a:pt x="105" y="160"/>
                      <a:pt x="94" y="164"/>
                      <a:pt x="94" y="164"/>
                    </a:cubicBezTo>
                    <a:cubicBezTo>
                      <a:pt x="96" y="179"/>
                      <a:pt x="96" y="179"/>
                      <a:pt x="96" y="179"/>
                    </a:cubicBezTo>
                    <a:cubicBezTo>
                      <a:pt x="89" y="190"/>
                      <a:pt x="89" y="190"/>
                      <a:pt x="89" y="190"/>
                    </a:cubicBezTo>
                    <a:cubicBezTo>
                      <a:pt x="89" y="190"/>
                      <a:pt x="96" y="213"/>
                      <a:pt x="90" y="221"/>
                    </a:cubicBezTo>
                    <a:cubicBezTo>
                      <a:pt x="84" y="229"/>
                      <a:pt x="78" y="226"/>
                      <a:pt x="78" y="226"/>
                    </a:cubicBezTo>
                    <a:cubicBezTo>
                      <a:pt x="78" y="226"/>
                      <a:pt x="76" y="215"/>
                      <a:pt x="71" y="215"/>
                    </a:cubicBezTo>
                    <a:cubicBezTo>
                      <a:pt x="66" y="215"/>
                      <a:pt x="60" y="228"/>
                      <a:pt x="60" y="235"/>
                    </a:cubicBezTo>
                    <a:cubicBezTo>
                      <a:pt x="60" y="242"/>
                      <a:pt x="66" y="253"/>
                      <a:pt x="65" y="256"/>
                    </a:cubicBezTo>
                    <a:cubicBezTo>
                      <a:pt x="64" y="259"/>
                      <a:pt x="49" y="270"/>
                      <a:pt x="48" y="278"/>
                    </a:cubicBezTo>
                    <a:cubicBezTo>
                      <a:pt x="47" y="286"/>
                      <a:pt x="54" y="305"/>
                      <a:pt x="54" y="305"/>
                    </a:cubicBezTo>
                    <a:cubicBezTo>
                      <a:pt x="54" y="305"/>
                      <a:pt x="57" y="336"/>
                      <a:pt x="50" y="341"/>
                    </a:cubicBezTo>
                    <a:cubicBezTo>
                      <a:pt x="43" y="346"/>
                      <a:pt x="36" y="351"/>
                      <a:pt x="36" y="351"/>
                    </a:cubicBezTo>
                    <a:cubicBezTo>
                      <a:pt x="31" y="346"/>
                      <a:pt x="31" y="346"/>
                      <a:pt x="31" y="346"/>
                    </a:cubicBezTo>
                    <a:cubicBezTo>
                      <a:pt x="8" y="345"/>
                      <a:pt x="8" y="345"/>
                      <a:pt x="8" y="345"/>
                    </a:cubicBezTo>
                    <a:cubicBezTo>
                      <a:pt x="10" y="361"/>
                      <a:pt x="10" y="361"/>
                      <a:pt x="10" y="361"/>
                    </a:cubicBezTo>
                    <a:cubicBezTo>
                      <a:pt x="10" y="361"/>
                      <a:pt x="0" y="378"/>
                      <a:pt x="3" y="383"/>
                    </a:cubicBezTo>
                    <a:cubicBezTo>
                      <a:pt x="6" y="388"/>
                      <a:pt x="22" y="382"/>
                      <a:pt x="30" y="386"/>
                    </a:cubicBezTo>
                    <a:cubicBezTo>
                      <a:pt x="38" y="390"/>
                      <a:pt x="55" y="405"/>
                      <a:pt x="55" y="405"/>
                    </a:cubicBezTo>
                    <a:cubicBezTo>
                      <a:pt x="55" y="405"/>
                      <a:pt x="56" y="420"/>
                      <a:pt x="60" y="425"/>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49" name="Equatorial Guinea">
                <a:extLst>
                  <a:ext uri="{FF2B5EF4-FFF2-40B4-BE49-F238E27FC236}">
                    <a16:creationId xmlns:a16="http://schemas.microsoft.com/office/drawing/2014/main" id="{584C5779-8EF6-43A1-83F1-F8D0A549D823}"/>
                  </a:ext>
                </a:extLst>
              </p:cNvPr>
              <p:cNvSpPr>
                <a:spLocks/>
              </p:cNvSpPr>
              <p:nvPr/>
            </p:nvSpPr>
            <p:spPr bwMode="gray">
              <a:xfrm>
                <a:off x="5483867" y="3891749"/>
                <a:ext cx="169354" cy="94006"/>
              </a:xfrm>
              <a:custGeom>
                <a:avLst/>
                <a:gdLst>
                  <a:gd name="T0" fmla="*/ 97 w 103"/>
                  <a:gd name="T1" fmla="*/ 29 h 71"/>
                  <a:gd name="T2" fmla="*/ 100 w 103"/>
                  <a:gd name="T3" fmla="*/ 6 h 71"/>
                  <a:gd name="T4" fmla="*/ 36 w 103"/>
                  <a:gd name="T5" fmla="*/ 6 h 71"/>
                  <a:gd name="T6" fmla="*/ 30 w 103"/>
                  <a:gd name="T7" fmla="*/ 0 h 71"/>
                  <a:gd name="T8" fmla="*/ 24 w 103"/>
                  <a:gd name="T9" fmla="*/ 3 h 71"/>
                  <a:gd name="T10" fmla="*/ 23 w 103"/>
                  <a:gd name="T11" fmla="*/ 29 h 71"/>
                  <a:gd name="T12" fmla="*/ 4 w 103"/>
                  <a:gd name="T13" fmla="*/ 57 h 71"/>
                  <a:gd name="T14" fmla="*/ 21 w 103"/>
                  <a:gd name="T15" fmla="*/ 67 h 71"/>
                  <a:gd name="T16" fmla="*/ 29 w 103"/>
                  <a:gd name="T17" fmla="*/ 65 h 71"/>
                  <a:gd name="T18" fmla="*/ 31 w 103"/>
                  <a:gd name="T19" fmla="*/ 71 h 71"/>
                  <a:gd name="T20" fmla="*/ 98 w 103"/>
                  <a:gd name="T21" fmla="*/ 69 h 71"/>
                  <a:gd name="T22" fmla="*/ 103 w 103"/>
                  <a:gd name="T23" fmla="*/ 33 h 71"/>
                  <a:gd name="T24" fmla="*/ 97 w 103"/>
                  <a:gd name="T25" fmla="*/ 2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71">
                    <a:moveTo>
                      <a:pt x="97" y="29"/>
                    </a:moveTo>
                    <a:cubicBezTo>
                      <a:pt x="100" y="6"/>
                      <a:pt x="100" y="6"/>
                      <a:pt x="100" y="6"/>
                    </a:cubicBezTo>
                    <a:cubicBezTo>
                      <a:pt x="36" y="6"/>
                      <a:pt x="36" y="6"/>
                      <a:pt x="36" y="6"/>
                    </a:cubicBezTo>
                    <a:cubicBezTo>
                      <a:pt x="30" y="0"/>
                      <a:pt x="30" y="0"/>
                      <a:pt x="30" y="0"/>
                    </a:cubicBezTo>
                    <a:cubicBezTo>
                      <a:pt x="24" y="3"/>
                      <a:pt x="24" y="3"/>
                      <a:pt x="24" y="3"/>
                    </a:cubicBezTo>
                    <a:cubicBezTo>
                      <a:pt x="24" y="3"/>
                      <a:pt x="28" y="21"/>
                      <a:pt x="23" y="29"/>
                    </a:cubicBezTo>
                    <a:cubicBezTo>
                      <a:pt x="18" y="37"/>
                      <a:pt x="0" y="50"/>
                      <a:pt x="4" y="57"/>
                    </a:cubicBezTo>
                    <a:cubicBezTo>
                      <a:pt x="7" y="63"/>
                      <a:pt x="17" y="66"/>
                      <a:pt x="21" y="67"/>
                    </a:cubicBezTo>
                    <a:cubicBezTo>
                      <a:pt x="29" y="65"/>
                      <a:pt x="29" y="65"/>
                      <a:pt x="29" y="65"/>
                    </a:cubicBezTo>
                    <a:cubicBezTo>
                      <a:pt x="31" y="71"/>
                      <a:pt x="31" y="71"/>
                      <a:pt x="31" y="71"/>
                    </a:cubicBezTo>
                    <a:cubicBezTo>
                      <a:pt x="31" y="71"/>
                      <a:pt x="93" y="70"/>
                      <a:pt x="98" y="69"/>
                    </a:cubicBezTo>
                    <a:cubicBezTo>
                      <a:pt x="103" y="68"/>
                      <a:pt x="103" y="33"/>
                      <a:pt x="103" y="33"/>
                    </a:cubicBezTo>
                    <a:lnTo>
                      <a:pt x="97" y="29"/>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50" name="Eritrea">
                <a:extLst>
                  <a:ext uri="{FF2B5EF4-FFF2-40B4-BE49-F238E27FC236}">
                    <a16:creationId xmlns:a16="http://schemas.microsoft.com/office/drawing/2014/main" id="{29351528-861A-421A-8DB9-5EAC46D50E0B}"/>
                  </a:ext>
                </a:extLst>
              </p:cNvPr>
              <p:cNvSpPr>
                <a:spLocks/>
              </p:cNvSpPr>
              <p:nvPr/>
            </p:nvSpPr>
            <p:spPr bwMode="gray">
              <a:xfrm>
                <a:off x="7600792" y="2771217"/>
                <a:ext cx="526878" cy="402339"/>
              </a:xfrm>
              <a:custGeom>
                <a:avLst/>
                <a:gdLst>
                  <a:gd name="T0" fmla="*/ 51 w 320"/>
                  <a:gd name="T1" fmla="*/ 35 h 305"/>
                  <a:gd name="T2" fmla="*/ 50 w 320"/>
                  <a:gd name="T3" fmla="*/ 50 h 305"/>
                  <a:gd name="T4" fmla="*/ 31 w 320"/>
                  <a:gd name="T5" fmla="*/ 57 h 305"/>
                  <a:gd name="T6" fmla="*/ 31 w 320"/>
                  <a:gd name="T7" fmla="*/ 67 h 305"/>
                  <a:gd name="T8" fmla="*/ 20 w 320"/>
                  <a:gd name="T9" fmla="*/ 75 h 305"/>
                  <a:gd name="T10" fmla="*/ 26 w 320"/>
                  <a:gd name="T11" fmla="*/ 106 h 305"/>
                  <a:gd name="T12" fmla="*/ 14 w 320"/>
                  <a:gd name="T13" fmla="*/ 126 h 305"/>
                  <a:gd name="T14" fmla="*/ 13 w 320"/>
                  <a:gd name="T15" fmla="*/ 143 h 305"/>
                  <a:gd name="T16" fmla="*/ 1 w 320"/>
                  <a:gd name="T17" fmla="*/ 157 h 305"/>
                  <a:gd name="T18" fmla="*/ 6 w 320"/>
                  <a:gd name="T19" fmla="*/ 167 h 305"/>
                  <a:gd name="T20" fmla="*/ 8 w 320"/>
                  <a:gd name="T21" fmla="*/ 200 h 305"/>
                  <a:gd name="T22" fmla="*/ 31 w 320"/>
                  <a:gd name="T23" fmla="*/ 201 h 305"/>
                  <a:gd name="T24" fmla="*/ 41 w 320"/>
                  <a:gd name="T25" fmla="*/ 191 h 305"/>
                  <a:gd name="T26" fmla="*/ 57 w 320"/>
                  <a:gd name="T27" fmla="*/ 211 h 305"/>
                  <a:gd name="T28" fmla="*/ 73 w 320"/>
                  <a:gd name="T29" fmla="*/ 170 h 305"/>
                  <a:gd name="T30" fmla="*/ 89 w 320"/>
                  <a:gd name="T31" fmla="*/ 179 h 305"/>
                  <a:gd name="T32" fmla="*/ 99 w 320"/>
                  <a:gd name="T33" fmla="*/ 194 h 305"/>
                  <a:gd name="T34" fmla="*/ 116 w 320"/>
                  <a:gd name="T35" fmla="*/ 194 h 305"/>
                  <a:gd name="T36" fmla="*/ 128 w 320"/>
                  <a:gd name="T37" fmla="*/ 181 h 305"/>
                  <a:gd name="T38" fmla="*/ 137 w 320"/>
                  <a:gd name="T39" fmla="*/ 194 h 305"/>
                  <a:gd name="T40" fmla="*/ 155 w 320"/>
                  <a:gd name="T41" fmla="*/ 187 h 305"/>
                  <a:gd name="T42" fmla="*/ 165 w 320"/>
                  <a:gd name="T43" fmla="*/ 192 h 305"/>
                  <a:gd name="T44" fmla="*/ 185 w 320"/>
                  <a:gd name="T45" fmla="*/ 193 h 305"/>
                  <a:gd name="T46" fmla="*/ 196 w 320"/>
                  <a:gd name="T47" fmla="*/ 207 h 305"/>
                  <a:gd name="T48" fmla="*/ 216 w 320"/>
                  <a:gd name="T49" fmla="*/ 216 h 305"/>
                  <a:gd name="T50" fmla="*/ 231 w 320"/>
                  <a:gd name="T51" fmla="*/ 242 h 305"/>
                  <a:gd name="T52" fmla="*/ 257 w 320"/>
                  <a:gd name="T53" fmla="*/ 257 h 305"/>
                  <a:gd name="T54" fmla="*/ 262 w 320"/>
                  <a:gd name="T55" fmla="*/ 277 h 305"/>
                  <a:gd name="T56" fmla="*/ 280 w 320"/>
                  <a:gd name="T57" fmla="*/ 283 h 305"/>
                  <a:gd name="T58" fmla="*/ 288 w 320"/>
                  <a:gd name="T59" fmla="*/ 295 h 305"/>
                  <a:gd name="T60" fmla="*/ 304 w 320"/>
                  <a:gd name="T61" fmla="*/ 305 h 305"/>
                  <a:gd name="T62" fmla="*/ 311 w 320"/>
                  <a:gd name="T63" fmla="*/ 293 h 305"/>
                  <a:gd name="T64" fmla="*/ 320 w 320"/>
                  <a:gd name="T65" fmla="*/ 287 h 305"/>
                  <a:gd name="T66" fmla="*/ 304 w 320"/>
                  <a:gd name="T67" fmla="*/ 268 h 305"/>
                  <a:gd name="T68" fmla="*/ 285 w 320"/>
                  <a:gd name="T69" fmla="*/ 264 h 305"/>
                  <a:gd name="T70" fmla="*/ 283 w 320"/>
                  <a:gd name="T71" fmla="*/ 239 h 305"/>
                  <a:gd name="T72" fmla="*/ 241 w 320"/>
                  <a:gd name="T73" fmla="*/ 216 h 305"/>
                  <a:gd name="T74" fmla="*/ 231 w 320"/>
                  <a:gd name="T75" fmla="*/ 181 h 305"/>
                  <a:gd name="T76" fmla="*/ 204 w 320"/>
                  <a:gd name="T77" fmla="*/ 177 h 305"/>
                  <a:gd name="T78" fmla="*/ 190 w 320"/>
                  <a:gd name="T79" fmla="*/ 159 h 305"/>
                  <a:gd name="T80" fmla="*/ 177 w 320"/>
                  <a:gd name="T81" fmla="*/ 165 h 305"/>
                  <a:gd name="T82" fmla="*/ 169 w 320"/>
                  <a:gd name="T83" fmla="*/ 152 h 305"/>
                  <a:gd name="T84" fmla="*/ 157 w 320"/>
                  <a:gd name="T85" fmla="*/ 149 h 305"/>
                  <a:gd name="T86" fmla="*/ 134 w 320"/>
                  <a:gd name="T87" fmla="*/ 117 h 305"/>
                  <a:gd name="T88" fmla="*/ 128 w 320"/>
                  <a:gd name="T89" fmla="*/ 62 h 305"/>
                  <a:gd name="T90" fmla="*/ 100 w 320"/>
                  <a:gd name="T91" fmla="*/ 1 h 305"/>
                  <a:gd name="T92" fmla="*/ 98 w 320"/>
                  <a:gd name="T93" fmla="*/ 0 h 305"/>
                  <a:gd name="T94" fmla="*/ 87 w 320"/>
                  <a:gd name="T95" fmla="*/ 25 h 305"/>
                  <a:gd name="T96" fmla="*/ 51 w 320"/>
                  <a:gd name="T97" fmla="*/ 3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05">
                    <a:moveTo>
                      <a:pt x="51" y="35"/>
                    </a:moveTo>
                    <a:cubicBezTo>
                      <a:pt x="51" y="35"/>
                      <a:pt x="51" y="43"/>
                      <a:pt x="50" y="50"/>
                    </a:cubicBezTo>
                    <a:cubicBezTo>
                      <a:pt x="49" y="57"/>
                      <a:pt x="31" y="57"/>
                      <a:pt x="31" y="57"/>
                    </a:cubicBezTo>
                    <a:cubicBezTo>
                      <a:pt x="31" y="67"/>
                      <a:pt x="31" y="67"/>
                      <a:pt x="31" y="67"/>
                    </a:cubicBezTo>
                    <a:cubicBezTo>
                      <a:pt x="31" y="67"/>
                      <a:pt x="20" y="72"/>
                      <a:pt x="20" y="75"/>
                    </a:cubicBezTo>
                    <a:cubicBezTo>
                      <a:pt x="20" y="78"/>
                      <a:pt x="26" y="88"/>
                      <a:pt x="26" y="106"/>
                    </a:cubicBezTo>
                    <a:cubicBezTo>
                      <a:pt x="26" y="124"/>
                      <a:pt x="14" y="126"/>
                      <a:pt x="14" y="126"/>
                    </a:cubicBezTo>
                    <a:cubicBezTo>
                      <a:pt x="14" y="126"/>
                      <a:pt x="13" y="136"/>
                      <a:pt x="13" y="143"/>
                    </a:cubicBezTo>
                    <a:cubicBezTo>
                      <a:pt x="13" y="150"/>
                      <a:pt x="2" y="149"/>
                      <a:pt x="1" y="157"/>
                    </a:cubicBezTo>
                    <a:cubicBezTo>
                      <a:pt x="0" y="165"/>
                      <a:pt x="6" y="167"/>
                      <a:pt x="6" y="167"/>
                    </a:cubicBezTo>
                    <a:cubicBezTo>
                      <a:pt x="8" y="200"/>
                      <a:pt x="8" y="200"/>
                      <a:pt x="8" y="200"/>
                    </a:cubicBezTo>
                    <a:cubicBezTo>
                      <a:pt x="31" y="201"/>
                      <a:pt x="31" y="201"/>
                      <a:pt x="31" y="201"/>
                    </a:cubicBezTo>
                    <a:cubicBezTo>
                      <a:pt x="31" y="201"/>
                      <a:pt x="36" y="191"/>
                      <a:pt x="41" y="191"/>
                    </a:cubicBezTo>
                    <a:cubicBezTo>
                      <a:pt x="46" y="191"/>
                      <a:pt x="49" y="211"/>
                      <a:pt x="57" y="211"/>
                    </a:cubicBezTo>
                    <a:cubicBezTo>
                      <a:pt x="65" y="211"/>
                      <a:pt x="73" y="170"/>
                      <a:pt x="73" y="170"/>
                    </a:cubicBezTo>
                    <a:cubicBezTo>
                      <a:pt x="73" y="170"/>
                      <a:pt x="85" y="177"/>
                      <a:pt x="89" y="179"/>
                    </a:cubicBezTo>
                    <a:cubicBezTo>
                      <a:pt x="93" y="181"/>
                      <a:pt x="99" y="194"/>
                      <a:pt x="99" y="194"/>
                    </a:cubicBezTo>
                    <a:cubicBezTo>
                      <a:pt x="99" y="194"/>
                      <a:pt x="113" y="194"/>
                      <a:pt x="116" y="194"/>
                    </a:cubicBezTo>
                    <a:cubicBezTo>
                      <a:pt x="119" y="194"/>
                      <a:pt x="128" y="181"/>
                      <a:pt x="128" y="181"/>
                    </a:cubicBezTo>
                    <a:cubicBezTo>
                      <a:pt x="128" y="181"/>
                      <a:pt x="134" y="194"/>
                      <a:pt x="137" y="194"/>
                    </a:cubicBezTo>
                    <a:cubicBezTo>
                      <a:pt x="140" y="194"/>
                      <a:pt x="151" y="187"/>
                      <a:pt x="155" y="187"/>
                    </a:cubicBezTo>
                    <a:cubicBezTo>
                      <a:pt x="159" y="187"/>
                      <a:pt x="165" y="192"/>
                      <a:pt x="165" y="192"/>
                    </a:cubicBezTo>
                    <a:cubicBezTo>
                      <a:pt x="185" y="193"/>
                      <a:pt x="185" y="193"/>
                      <a:pt x="185" y="193"/>
                    </a:cubicBezTo>
                    <a:cubicBezTo>
                      <a:pt x="196" y="207"/>
                      <a:pt x="196" y="207"/>
                      <a:pt x="196" y="207"/>
                    </a:cubicBezTo>
                    <a:cubicBezTo>
                      <a:pt x="196" y="207"/>
                      <a:pt x="208" y="208"/>
                      <a:pt x="216" y="216"/>
                    </a:cubicBezTo>
                    <a:cubicBezTo>
                      <a:pt x="224" y="224"/>
                      <a:pt x="227" y="234"/>
                      <a:pt x="231" y="242"/>
                    </a:cubicBezTo>
                    <a:cubicBezTo>
                      <a:pt x="235" y="250"/>
                      <a:pt x="253" y="252"/>
                      <a:pt x="257" y="257"/>
                    </a:cubicBezTo>
                    <a:cubicBezTo>
                      <a:pt x="261" y="262"/>
                      <a:pt x="261" y="271"/>
                      <a:pt x="262" y="277"/>
                    </a:cubicBezTo>
                    <a:cubicBezTo>
                      <a:pt x="263" y="283"/>
                      <a:pt x="280" y="283"/>
                      <a:pt x="280" y="283"/>
                    </a:cubicBezTo>
                    <a:cubicBezTo>
                      <a:pt x="288" y="295"/>
                      <a:pt x="288" y="295"/>
                      <a:pt x="288" y="295"/>
                    </a:cubicBezTo>
                    <a:cubicBezTo>
                      <a:pt x="304" y="305"/>
                      <a:pt x="304" y="305"/>
                      <a:pt x="304" y="305"/>
                    </a:cubicBezTo>
                    <a:cubicBezTo>
                      <a:pt x="311" y="293"/>
                      <a:pt x="311" y="293"/>
                      <a:pt x="311" y="293"/>
                    </a:cubicBezTo>
                    <a:cubicBezTo>
                      <a:pt x="320" y="287"/>
                      <a:pt x="320" y="287"/>
                      <a:pt x="320" y="287"/>
                    </a:cubicBezTo>
                    <a:cubicBezTo>
                      <a:pt x="312" y="277"/>
                      <a:pt x="304" y="268"/>
                      <a:pt x="304" y="268"/>
                    </a:cubicBezTo>
                    <a:cubicBezTo>
                      <a:pt x="304" y="268"/>
                      <a:pt x="287" y="271"/>
                      <a:pt x="285" y="264"/>
                    </a:cubicBezTo>
                    <a:cubicBezTo>
                      <a:pt x="283" y="257"/>
                      <a:pt x="283" y="239"/>
                      <a:pt x="283" y="239"/>
                    </a:cubicBezTo>
                    <a:cubicBezTo>
                      <a:pt x="283" y="239"/>
                      <a:pt x="244" y="225"/>
                      <a:pt x="241" y="216"/>
                    </a:cubicBezTo>
                    <a:cubicBezTo>
                      <a:pt x="238" y="207"/>
                      <a:pt x="238" y="185"/>
                      <a:pt x="231" y="181"/>
                    </a:cubicBezTo>
                    <a:cubicBezTo>
                      <a:pt x="224" y="177"/>
                      <a:pt x="207" y="181"/>
                      <a:pt x="204" y="177"/>
                    </a:cubicBezTo>
                    <a:cubicBezTo>
                      <a:pt x="201" y="173"/>
                      <a:pt x="190" y="159"/>
                      <a:pt x="190" y="159"/>
                    </a:cubicBezTo>
                    <a:cubicBezTo>
                      <a:pt x="177" y="165"/>
                      <a:pt x="177" y="165"/>
                      <a:pt x="177" y="165"/>
                    </a:cubicBezTo>
                    <a:cubicBezTo>
                      <a:pt x="169" y="152"/>
                      <a:pt x="169" y="152"/>
                      <a:pt x="169" y="152"/>
                    </a:cubicBezTo>
                    <a:cubicBezTo>
                      <a:pt x="157" y="149"/>
                      <a:pt x="157" y="149"/>
                      <a:pt x="157" y="149"/>
                    </a:cubicBezTo>
                    <a:cubicBezTo>
                      <a:pt x="157" y="149"/>
                      <a:pt x="137" y="129"/>
                      <a:pt x="134" y="117"/>
                    </a:cubicBezTo>
                    <a:cubicBezTo>
                      <a:pt x="131" y="105"/>
                      <a:pt x="135" y="85"/>
                      <a:pt x="128" y="62"/>
                    </a:cubicBezTo>
                    <a:cubicBezTo>
                      <a:pt x="121" y="39"/>
                      <a:pt x="100" y="1"/>
                      <a:pt x="100" y="1"/>
                    </a:cubicBezTo>
                    <a:cubicBezTo>
                      <a:pt x="98" y="0"/>
                      <a:pt x="98" y="0"/>
                      <a:pt x="98" y="0"/>
                    </a:cubicBezTo>
                    <a:cubicBezTo>
                      <a:pt x="96" y="9"/>
                      <a:pt x="92" y="21"/>
                      <a:pt x="87" y="25"/>
                    </a:cubicBezTo>
                    <a:cubicBezTo>
                      <a:pt x="78" y="33"/>
                      <a:pt x="51" y="35"/>
                      <a:pt x="51" y="35"/>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51" name="Egypt">
                <a:extLst>
                  <a:ext uri="{FF2B5EF4-FFF2-40B4-BE49-F238E27FC236}">
                    <a16:creationId xmlns:a16="http://schemas.microsoft.com/office/drawing/2014/main" id="{A5DDCF29-26C4-4789-AE9E-0C4BA7C1D113}"/>
                  </a:ext>
                </a:extLst>
              </p:cNvPr>
              <p:cNvSpPr>
                <a:spLocks/>
              </p:cNvSpPr>
              <p:nvPr/>
            </p:nvSpPr>
            <p:spPr bwMode="gray">
              <a:xfrm>
                <a:off x="6645830" y="1797334"/>
                <a:ext cx="879700" cy="725715"/>
              </a:xfrm>
              <a:custGeom>
                <a:avLst/>
                <a:gdLst>
                  <a:gd name="T0" fmla="*/ 11 w 530"/>
                  <a:gd name="T1" fmla="*/ 13 h 546"/>
                  <a:gd name="T2" fmla="*/ 7 w 530"/>
                  <a:gd name="T3" fmla="*/ 34 h 546"/>
                  <a:gd name="T4" fmla="*/ 17 w 530"/>
                  <a:gd name="T5" fmla="*/ 54 h 546"/>
                  <a:gd name="T6" fmla="*/ 3 w 530"/>
                  <a:gd name="T7" fmla="*/ 82 h 546"/>
                  <a:gd name="T8" fmla="*/ 21 w 530"/>
                  <a:gd name="T9" fmla="*/ 120 h 546"/>
                  <a:gd name="T10" fmla="*/ 34 w 530"/>
                  <a:gd name="T11" fmla="*/ 518 h 546"/>
                  <a:gd name="T12" fmla="*/ 320 w 530"/>
                  <a:gd name="T13" fmla="*/ 522 h 546"/>
                  <a:gd name="T14" fmla="*/ 329 w 530"/>
                  <a:gd name="T15" fmla="*/ 510 h 546"/>
                  <a:gd name="T16" fmla="*/ 334 w 530"/>
                  <a:gd name="T17" fmla="*/ 518 h 546"/>
                  <a:gd name="T18" fmla="*/ 413 w 530"/>
                  <a:gd name="T19" fmla="*/ 521 h 546"/>
                  <a:gd name="T20" fmla="*/ 438 w 530"/>
                  <a:gd name="T21" fmla="*/ 539 h 546"/>
                  <a:gd name="T22" fmla="*/ 460 w 530"/>
                  <a:gd name="T23" fmla="*/ 508 h 546"/>
                  <a:gd name="T24" fmla="*/ 482 w 530"/>
                  <a:gd name="T25" fmla="*/ 505 h 546"/>
                  <a:gd name="T26" fmla="*/ 492 w 530"/>
                  <a:gd name="T27" fmla="*/ 478 h 546"/>
                  <a:gd name="T28" fmla="*/ 509 w 530"/>
                  <a:gd name="T29" fmla="*/ 477 h 546"/>
                  <a:gd name="T30" fmla="*/ 525 w 530"/>
                  <a:gd name="T31" fmla="*/ 462 h 546"/>
                  <a:gd name="T32" fmla="*/ 520 w 530"/>
                  <a:gd name="T33" fmla="*/ 445 h 546"/>
                  <a:gd name="T34" fmla="*/ 518 w 530"/>
                  <a:gd name="T35" fmla="*/ 416 h 546"/>
                  <a:gd name="T36" fmla="*/ 530 w 530"/>
                  <a:gd name="T37" fmla="*/ 415 h 546"/>
                  <a:gd name="T38" fmla="*/ 490 w 530"/>
                  <a:gd name="T39" fmla="*/ 369 h 546"/>
                  <a:gd name="T40" fmla="*/ 469 w 530"/>
                  <a:gd name="T41" fmla="*/ 315 h 546"/>
                  <a:gd name="T42" fmla="*/ 448 w 530"/>
                  <a:gd name="T43" fmla="*/ 288 h 546"/>
                  <a:gd name="T44" fmla="*/ 440 w 530"/>
                  <a:gd name="T45" fmla="*/ 252 h 546"/>
                  <a:gd name="T46" fmla="*/ 415 w 530"/>
                  <a:gd name="T47" fmla="*/ 225 h 546"/>
                  <a:gd name="T48" fmla="*/ 412 w 530"/>
                  <a:gd name="T49" fmla="*/ 204 h 546"/>
                  <a:gd name="T50" fmla="*/ 378 w 530"/>
                  <a:gd name="T51" fmla="*/ 161 h 546"/>
                  <a:gd name="T52" fmla="*/ 368 w 530"/>
                  <a:gd name="T53" fmla="*/ 147 h 546"/>
                  <a:gd name="T54" fmla="*/ 368 w 530"/>
                  <a:gd name="T55" fmla="*/ 126 h 546"/>
                  <a:gd name="T56" fmla="*/ 350 w 530"/>
                  <a:gd name="T57" fmla="*/ 112 h 546"/>
                  <a:gd name="T58" fmla="*/ 361 w 530"/>
                  <a:gd name="T59" fmla="*/ 99 h 546"/>
                  <a:gd name="T60" fmla="*/ 373 w 530"/>
                  <a:gd name="T61" fmla="*/ 107 h 546"/>
                  <a:gd name="T62" fmla="*/ 381 w 530"/>
                  <a:gd name="T63" fmla="*/ 130 h 546"/>
                  <a:gd name="T64" fmla="*/ 395 w 530"/>
                  <a:gd name="T65" fmla="*/ 145 h 546"/>
                  <a:gd name="T66" fmla="*/ 394 w 530"/>
                  <a:gd name="T67" fmla="*/ 162 h 546"/>
                  <a:gd name="T68" fmla="*/ 438 w 530"/>
                  <a:gd name="T69" fmla="*/ 207 h 546"/>
                  <a:gd name="T70" fmla="*/ 456 w 530"/>
                  <a:gd name="T71" fmla="*/ 195 h 546"/>
                  <a:gd name="T72" fmla="*/ 449 w 530"/>
                  <a:gd name="T73" fmla="*/ 183 h 546"/>
                  <a:gd name="T74" fmla="*/ 462 w 530"/>
                  <a:gd name="T75" fmla="*/ 143 h 546"/>
                  <a:gd name="T76" fmla="*/ 471 w 530"/>
                  <a:gd name="T77" fmla="*/ 112 h 546"/>
                  <a:gd name="T78" fmla="*/ 435 w 530"/>
                  <a:gd name="T79" fmla="*/ 19 h 546"/>
                  <a:gd name="T80" fmla="*/ 388 w 530"/>
                  <a:gd name="T81" fmla="*/ 30 h 546"/>
                  <a:gd name="T82" fmla="*/ 373 w 530"/>
                  <a:gd name="T83" fmla="*/ 22 h 546"/>
                  <a:gd name="T84" fmla="*/ 350 w 530"/>
                  <a:gd name="T85" fmla="*/ 26 h 546"/>
                  <a:gd name="T86" fmla="*/ 325 w 530"/>
                  <a:gd name="T87" fmla="*/ 7 h 546"/>
                  <a:gd name="T88" fmla="*/ 288 w 530"/>
                  <a:gd name="T89" fmla="*/ 14 h 546"/>
                  <a:gd name="T90" fmla="*/ 262 w 530"/>
                  <a:gd name="T91" fmla="*/ 11 h 546"/>
                  <a:gd name="T92" fmla="*/ 243 w 530"/>
                  <a:gd name="T93" fmla="*/ 30 h 546"/>
                  <a:gd name="T94" fmla="*/ 227 w 530"/>
                  <a:gd name="T95" fmla="*/ 30 h 546"/>
                  <a:gd name="T96" fmla="*/ 210 w 530"/>
                  <a:gd name="T97" fmla="*/ 43 h 546"/>
                  <a:gd name="T98" fmla="*/ 170 w 530"/>
                  <a:gd name="T99" fmla="*/ 29 h 546"/>
                  <a:gd name="T100" fmla="*/ 140 w 530"/>
                  <a:gd name="T101" fmla="*/ 29 h 546"/>
                  <a:gd name="T102" fmla="*/ 112 w 530"/>
                  <a:gd name="T103" fmla="*/ 13 h 546"/>
                  <a:gd name="T104" fmla="*/ 89 w 530"/>
                  <a:gd name="T105" fmla="*/ 12 h 546"/>
                  <a:gd name="T106" fmla="*/ 60 w 530"/>
                  <a:gd name="T107" fmla="*/ 1 h 546"/>
                  <a:gd name="T108" fmla="*/ 31 w 530"/>
                  <a:gd name="T109" fmla="*/ 6 h 546"/>
                  <a:gd name="T110" fmla="*/ 24 w 530"/>
                  <a:gd name="T111" fmla="*/ 0 h 546"/>
                  <a:gd name="T112" fmla="*/ 11 w 530"/>
                  <a:gd name="T113" fmla="*/ 13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0" h="546">
                    <a:moveTo>
                      <a:pt x="11" y="13"/>
                    </a:moveTo>
                    <a:cubicBezTo>
                      <a:pt x="6" y="16"/>
                      <a:pt x="6" y="30"/>
                      <a:pt x="7" y="34"/>
                    </a:cubicBezTo>
                    <a:cubicBezTo>
                      <a:pt x="8" y="38"/>
                      <a:pt x="20" y="45"/>
                      <a:pt x="17" y="54"/>
                    </a:cubicBezTo>
                    <a:cubicBezTo>
                      <a:pt x="14" y="63"/>
                      <a:pt x="0" y="75"/>
                      <a:pt x="3" y="82"/>
                    </a:cubicBezTo>
                    <a:cubicBezTo>
                      <a:pt x="6" y="89"/>
                      <a:pt x="21" y="107"/>
                      <a:pt x="21" y="120"/>
                    </a:cubicBezTo>
                    <a:cubicBezTo>
                      <a:pt x="21" y="133"/>
                      <a:pt x="34" y="518"/>
                      <a:pt x="34" y="518"/>
                    </a:cubicBezTo>
                    <a:cubicBezTo>
                      <a:pt x="320" y="522"/>
                      <a:pt x="320" y="522"/>
                      <a:pt x="320" y="522"/>
                    </a:cubicBezTo>
                    <a:cubicBezTo>
                      <a:pt x="320" y="522"/>
                      <a:pt x="322" y="512"/>
                      <a:pt x="329" y="510"/>
                    </a:cubicBezTo>
                    <a:cubicBezTo>
                      <a:pt x="336" y="508"/>
                      <a:pt x="334" y="518"/>
                      <a:pt x="334" y="518"/>
                    </a:cubicBezTo>
                    <a:cubicBezTo>
                      <a:pt x="413" y="521"/>
                      <a:pt x="413" y="521"/>
                      <a:pt x="413" y="521"/>
                    </a:cubicBezTo>
                    <a:cubicBezTo>
                      <a:pt x="413" y="521"/>
                      <a:pt x="425" y="546"/>
                      <a:pt x="438" y="539"/>
                    </a:cubicBezTo>
                    <a:cubicBezTo>
                      <a:pt x="451" y="532"/>
                      <a:pt x="450" y="511"/>
                      <a:pt x="460" y="508"/>
                    </a:cubicBezTo>
                    <a:cubicBezTo>
                      <a:pt x="470" y="505"/>
                      <a:pt x="472" y="509"/>
                      <a:pt x="482" y="505"/>
                    </a:cubicBezTo>
                    <a:cubicBezTo>
                      <a:pt x="492" y="501"/>
                      <a:pt x="492" y="478"/>
                      <a:pt x="492" y="478"/>
                    </a:cubicBezTo>
                    <a:cubicBezTo>
                      <a:pt x="509" y="477"/>
                      <a:pt x="509" y="477"/>
                      <a:pt x="509" y="477"/>
                    </a:cubicBezTo>
                    <a:cubicBezTo>
                      <a:pt x="525" y="462"/>
                      <a:pt x="525" y="462"/>
                      <a:pt x="525" y="462"/>
                    </a:cubicBezTo>
                    <a:cubicBezTo>
                      <a:pt x="522" y="456"/>
                      <a:pt x="520" y="450"/>
                      <a:pt x="520" y="445"/>
                    </a:cubicBezTo>
                    <a:cubicBezTo>
                      <a:pt x="519" y="430"/>
                      <a:pt x="518" y="416"/>
                      <a:pt x="518" y="416"/>
                    </a:cubicBezTo>
                    <a:cubicBezTo>
                      <a:pt x="530" y="415"/>
                      <a:pt x="530" y="415"/>
                      <a:pt x="530" y="415"/>
                    </a:cubicBezTo>
                    <a:cubicBezTo>
                      <a:pt x="530" y="415"/>
                      <a:pt x="503" y="397"/>
                      <a:pt x="490" y="369"/>
                    </a:cubicBezTo>
                    <a:cubicBezTo>
                      <a:pt x="477" y="341"/>
                      <a:pt x="478" y="326"/>
                      <a:pt x="469" y="315"/>
                    </a:cubicBezTo>
                    <a:cubicBezTo>
                      <a:pt x="460" y="304"/>
                      <a:pt x="456" y="302"/>
                      <a:pt x="448" y="288"/>
                    </a:cubicBezTo>
                    <a:cubicBezTo>
                      <a:pt x="440" y="274"/>
                      <a:pt x="440" y="252"/>
                      <a:pt x="440" y="252"/>
                    </a:cubicBezTo>
                    <a:cubicBezTo>
                      <a:pt x="415" y="225"/>
                      <a:pt x="415" y="225"/>
                      <a:pt x="415" y="225"/>
                    </a:cubicBezTo>
                    <a:cubicBezTo>
                      <a:pt x="415" y="225"/>
                      <a:pt x="418" y="216"/>
                      <a:pt x="412" y="204"/>
                    </a:cubicBezTo>
                    <a:cubicBezTo>
                      <a:pt x="406" y="192"/>
                      <a:pt x="380" y="170"/>
                      <a:pt x="378" y="161"/>
                    </a:cubicBezTo>
                    <a:cubicBezTo>
                      <a:pt x="376" y="152"/>
                      <a:pt x="368" y="147"/>
                      <a:pt x="368" y="147"/>
                    </a:cubicBezTo>
                    <a:cubicBezTo>
                      <a:pt x="368" y="147"/>
                      <a:pt x="376" y="137"/>
                      <a:pt x="368" y="126"/>
                    </a:cubicBezTo>
                    <a:cubicBezTo>
                      <a:pt x="360" y="115"/>
                      <a:pt x="350" y="112"/>
                      <a:pt x="350" y="112"/>
                    </a:cubicBezTo>
                    <a:cubicBezTo>
                      <a:pt x="361" y="99"/>
                      <a:pt x="361" y="99"/>
                      <a:pt x="361" y="99"/>
                    </a:cubicBezTo>
                    <a:cubicBezTo>
                      <a:pt x="373" y="107"/>
                      <a:pt x="373" y="107"/>
                      <a:pt x="373" y="107"/>
                    </a:cubicBezTo>
                    <a:cubicBezTo>
                      <a:pt x="373" y="107"/>
                      <a:pt x="372" y="124"/>
                      <a:pt x="381" y="130"/>
                    </a:cubicBezTo>
                    <a:cubicBezTo>
                      <a:pt x="390" y="136"/>
                      <a:pt x="395" y="145"/>
                      <a:pt x="395" y="145"/>
                    </a:cubicBezTo>
                    <a:cubicBezTo>
                      <a:pt x="394" y="162"/>
                      <a:pt x="394" y="162"/>
                      <a:pt x="394" y="162"/>
                    </a:cubicBezTo>
                    <a:cubicBezTo>
                      <a:pt x="394" y="162"/>
                      <a:pt x="426" y="214"/>
                      <a:pt x="438" y="207"/>
                    </a:cubicBezTo>
                    <a:cubicBezTo>
                      <a:pt x="450" y="200"/>
                      <a:pt x="456" y="195"/>
                      <a:pt x="456" y="195"/>
                    </a:cubicBezTo>
                    <a:cubicBezTo>
                      <a:pt x="449" y="183"/>
                      <a:pt x="449" y="183"/>
                      <a:pt x="449" y="183"/>
                    </a:cubicBezTo>
                    <a:cubicBezTo>
                      <a:pt x="449" y="183"/>
                      <a:pt x="462" y="157"/>
                      <a:pt x="462" y="143"/>
                    </a:cubicBezTo>
                    <a:cubicBezTo>
                      <a:pt x="462" y="129"/>
                      <a:pt x="471" y="112"/>
                      <a:pt x="471" y="112"/>
                    </a:cubicBezTo>
                    <a:cubicBezTo>
                      <a:pt x="435" y="19"/>
                      <a:pt x="435" y="19"/>
                      <a:pt x="435" y="19"/>
                    </a:cubicBezTo>
                    <a:cubicBezTo>
                      <a:pt x="435" y="19"/>
                      <a:pt x="397" y="34"/>
                      <a:pt x="388" y="30"/>
                    </a:cubicBezTo>
                    <a:cubicBezTo>
                      <a:pt x="379" y="26"/>
                      <a:pt x="373" y="22"/>
                      <a:pt x="373" y="22"/>
                    </a:cubicBezTo>
                    <a:cubicBezTo>
                      <a:pt x="373" y="22"/>
                      <a:pt x="364" y="33"/>
                      <a:pt x="350" y="26"/>
                    </a:cubicBezTo>
                    <a:cubicBezTo>
                      <a:pt x="336" y="19"/>
                      <a:pt x="341" y="10"/>
                      <a:pt x="325" y="7"/>
                    </a:cubicBezTo>
                    <a:cubicBezTo>
                      <a:pt x="309" y="4"/>
                      <a:pt x="288" y="14"/>
                      <a:pt x="288" y="14"/>
                    </a:cubicBezTo>
                    <a:cubicBezTo>
                      <a:pt x="288" y="14"/>
                      <a:pt x="273" y="7"/>
                      <a:pt x="262" y="11"/>
                    </a:cubicBezTo>
                    <a:cubicBezTo>
                      <a:pt x="251" y="15"/>
                      <a:pt x="243" y="30"/>
                      <a:pt x="243" y="30"/>
                    </a:cubicBezTo>
                    <a:cubicBezTo>
                      <a:pt x="243" y="30"/>
                      <a:pt x="231" y="28"/>
                      <a:pt x="227" y="30"/>
                    </a:cubicBezTo>
                    <a:cubicBezTo>
                      <a:pt x="223" y="32"/>
                      <a:pt x="210" y="43"/>
                      <a:pt x="210" y="43"/>
                    </a:cubicBezTo>
                    <a:cubicBezTo>
                      <a:pt x="210" y="43"/>
                      <a:pt x="176" y="29"/>
                      <a:pt x="170" y="29"/>
                    </a:cubicBezTo>
                    <a:cubicBezTo>
                      <a:pt x="164" y="29"/>
                      <a:pt x="153" y="32"/>
                      <a:pt x="140" y="29"/>
                    </a:cubicBezTo>
                    <a:cubicBezTo>
                      <a:pt x="127" y="26"/>
                      <a:pt x="125" y="14"/>
                      <a:pt x="112" y="13"/>
                    </a:cubicBezTo>
                    <a:cubicBezTo>
                      <a:pt x="99" y="12"/>
                      <a:pt x="89" y="12"/>
                      <a:pt x="89" y="12"/>
                    </a:cubicBezTo>
                    <a:cubicBezTo>
                      <a:pt x="89" y="12"/>
                      <a:pt x="69" y="1"/>
                      <a:pt x="60" y="1"/>
                    </a:cubicBezTo>
                    <a:cubicBezTo>
                      <a:pt x="51" y="1"/>
                      <a:pt x="46" y="15"/>
                      <a:pt x="31" y="6"/>
                    </a:cubicBezTo>
                    <a:cubicBezTo>
                      <a:pt x="28" y="4"/>
                      <a:pt x="26" y="2"/>
                      <a:pt x="24" y="0"/>
                    </a:cubicBezTo>
                    <a:cubicBezTo>
                      <a:pt x="21" y="4"/>
                      <a:pt x="15" y="11"/>
                      <a:pt x="11" y="13"/>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52" name="DR Congo">
                <a:extLst>
                  <a:ext uri="{FF2B5EF4-FFF2-40B4-BE49-F238E27FC236}">
                    <a16:creationId xmlns:a16="http://schemas.microsoft.com/office/drawing/2014/main" id="{23CC1FAD-91CA-4712-861D-4F3585FBEDA9}"/>
                  </a:ext>
                </a:extLst>
              </p:cNvPr>
              <p:cNvSpPr>
                <a:spLocks/>
              </p:cNvSpPr>
              <p:nvPr/>
            </p:nvSpPr>
            <p:spPr bwMode="gray">
              <a:xfrm>
                <a:off x="5723788" y="3669894"/>
                <a:ext cx="1495957" cy="1346143"/>
              </a:xfrm>
              <a:custGeom>
                <a:avLst/>
                <a:gdLst>
                  <a:gd name="T0" fmla="*/ 838 w 902"/>
                  <a:gd name="T1" fmla="*/ 264 h 1016"/>
                  <a:gd name="T2" fmla="*/ 853 w 902"/>
                  <a:gd name="T3" fmla="*/ 230 h 1016"/>
                  <a:gd name="T4" fmla="*/ 890 w 902"/>
                  <a:gd name="T5" fmla="*/ 163 h 1016"/>
                  <a:gd name="T6" fmla="*/ 873 w 902"/>
                  <a:gd name="T7" fmla="*/ 127 h 1016"/>
                  <a:gd name="T8" fmla="*/ 869 w 902"/>
                  <a:gd name="T9" fmla="*/ 98 h 1016"/>
                  <a:gd name="T10" fmla="*/ 820 w 902"/>
                  <a:gd name="T11" fmla="*/ 39 h 1016"/>
                  <a:gd name="T12" fmla="*/ 765 w 902"/>
                  <a:gd name="T13" fmla="*/ 61 h 1016"/>
                  <a:gd name="T14" fmla="*/ 713 w 902"/>
                  <a:gd name="T15" fmla="*/ 13 h 1016"/>
                  <a:gd name="T16" fmla="*/ 659 w 902"/>
                  <a:gd name="T17" fmla="*/ 10 h 1016"/>
                  <a:gd name="T18" fmla="*/ 611 w 902"/>
                  <a:gd name="T19" fmla="*/ 23 h 1016"/>
                  <a:gd name="T20" fmla="*/ 560 w 902"/>
                  <a:gd name="T21" fmla="*/ 32 h 1016"/>
                  <a:gd name="T22" fmla="*/ 509 w 902"/>
                  <a:gd name="T23" fmla="*/ 30 h 1016"/>
                  <a:gd name="T24" fmla="*/ 462 w 902"/>
                  <a:gd name="T25" fmla="*/ 63 h 1016"/>
                  <a:gd name="T26" fmla="*/ 394 w 902"/>
                  <a:gd name="T27" fmla="*/ 53 h 1016"/>
                  <a:gd name="T28" fmla="*/ 346 w 902"/>
                  <a:gd name="T29" fmla="*/ 15 h 1016"/>
                  <a:gd name="T30" fmla="*/ 302 w 902"/>
                  <a:gd name="T31" fmla="*/ 72 h 1016"/>
                  <a:gd name="T32" fmla="*/ 301 w 902"/>
                  <a:gd name="T33" fmla="*/ 103 h 1016"/>
                  <a:gd name="T34" fmla="*/ 276 w 902"/>
                  <a:gd name="T35" fmla="*/ 217 h 1016"/>
                  <a:gd name="T36" fmla="*/ 262 w 902"/>
                  <a:gd name="T37" fmla="*/ 289 h 1016"/>
                  <a:gd name="T38" fmla="*/ 213 w 902"/>
                  <a:gd name="T39" fmla="*/ 359 h 1016"/>
                  <a:gd name="T40" fmla="*/ 187 w 902"/>
                  <a:gd name="T41" fmla="*/ 477 h 1016"/>
                  <a:gd name="T42" fmla="*/ 129 w 902"/>
                  <a:gd name="T43" fmla="*/ 540 h 1016"/>
                  <a:gd name="T44" fmla="*/ 83 w 902"/>
                  <a:gd name="T45" fmla="*/ 533 h 1016"/>
                  <a:gd name="T46" fmla="*/ 43 w 902"/>
                  <a:gd name="T47" fmla="*/ 537 h 1016"/>
                  <a:gd name="T48" fmla="*/ 9 w 902"/>
                  <a:gd name="T49" fmla="*/ 565 h 1016"/>
                  <a:gd name="T50" fmla="*/ 12 w 902"/>
                  <a:gd name="T51" fmla="*/ 617 h 1016"/>
                  <a:gd name="T52" fmla="*/ 57 w 902"/>
                  <a:gd name="T53" fmla="*/ 607 h 1016"/>
                  <a:gd name="T54" fmla="*/ 98 w 902"/>
                  <a:gd name="T55" fmla="*/ 611 h 1016"/>
                  <a:gd name="T56" fmla="*/ 153 w 902"/>
                  <a:gd name="T57" fmla="*/ 609 h 1016"/>
                  <a:gd name="T58" fmla="*/ 200 w 902"/>
                  <a:gd name="T59" fmla="*/ 608 h 1016"/>
                  <a:gd name="T60" fmla="*/ 223 w 902"/>
                  <a:gd name="T61" fmla="*/ 664 h 1016"/>
                  <a:gd name="T62" fmla="*/ 240 w 902"/>
                  <a:gd name="T63" fmla="*/ 709 h 1016"/>
                  <a:gd name="T64" fmla="*/ 270 w 902"/>
                  <a:gd name="T65" fmla="*/ 726 h 1016"/>
                  <a:gd name="T66" fmla="*/ 296 w 902"/>
                  <a:gd name="T67" fmla="*/ 724 h 1016"/>
                  <a:gd name="T68" fmla="*/ 337 w 902"/>
                  <a:gd name="T69" fmla="*/ 720 h 1016"/>
                  <a:gd name="T70" fmla="*/ 343 w 902"/>
                  <a:gd name="T71" fmla="*/ 672 h 1016"/>
                  <a:gd name="T72" fmla="*/ 391 w 902"/>
                  <a:gd name="T73" fmla="*/ 678 h 1016"/>
                  <a:gd name="T74" fmla="*/ 452 w 902"/>
                  <a:gd name="T75" fmla="*/ 703 h 1016"/>
                  <a:gd name="T76" fmla="*/ 461 w 902"/>
                  <a:gd name="T77" fmla="*/ 747 h 1016"/>
                  <a:gd name="T78" fmla="*/ 451 w 902"/>
                  <a:gd name="T79" fmla="*/ 799 h 1016"/>
                  <a:gd name="T80" fmla="*/ 471 w 902"/>
                  <a:gd name="T81" fmla="*/ 869 h 1016"/>
                  <a:gd name="T82" fmla="*/ 485 w 902"/>
                  <a:gd name="T83" fmla="*/ 886 h 1016"/>
                  <a:gd name="T84" fmla="*/ 526 w 902"/>
                  <a:gd name="T85" fmla="*/ 880 h 1016"/>
                  <a:gd name="T86" fmla="*/ 556 w 902"/>
                  <a:gd name="T87" fmla="*/ 875 h 1016"/>
                  <a:gd name="T88" fmla="*/ 580 w 902"/>
                  <a:gd name="T89" fmla="*/ 908 h 1016"/>
                  <a:gd name="T90" fmla="*/ 620 w 902"/>
                  <a:gd name="T91" fmla="*/ 919 h 1016"/>
                  <a:gd name="T92" fmla="*/ 708 w 902"/>
                  <a:gd name="T93" fmla="*/ 925 h 1016"/>
                  <a:gd name="T94" fmla="*/ 737 w 902"/>
                  <a:gd name="T95" fmla="*/ 947 h 1016"/>
                  <a:gd name="T96" fmla="*/ 768 w 902"/>
                  <a:gd name="T97" fmla="*/ 978 h 1016"/>
                  <a:gd name="T98" fmla="*/ 799 w 902"/>
                  <a:gd name="T99" fmla="*/ 1012 h 1016"/>
                  <a:gd name="T100" fmla="*/ 827 w 902"/>
                  <a:gd name="T101" fmla="*/ 945 h 1016"/>
                  <a:gd name="T102" fmla="*/ 806 w 902"/>
                  <a:gd name="T103" fmla="*/ 961 h 1016"/>
                  <a:gd name="T104" fmla="*/ 779 w 902"/>
                  <a:gd name="T105" fmla="*/ 866 h 1016"/>
                  <a:gd name="T106" fmla="*/ 761 w 902"/>
                  <a:gd name="T107" fmla="*/ 788 h 1016"/>
                  <a:gd name="T108" fmla="*/ 838 w 902"/>
                  <a:gd name="T109" fmla="*/ 738 h 1016"/>
                  <a:gd name="T110" fmla="*/ 850 w 902"/>
                  <a:gd name="T111" fmla="*/ 710 h 1016"/>
                  <a:gd name="T112" fmla="*/ 828 w 902"/>
                  <a:gd name="T113" fmla="*/ 658 h 1016"/>
                  <a:gd name="T114" fmla="*/ 810 w 902"/>
                  <a:gd name="T115" fmla="*/ 589 h 1016"/>
                  <a:gd name="T116" fmla="*/ 802 w 902"/>
                  <a:gd name="T117" fmla="*/ 502 h 1016"/>
                  <a:gd name="T118" fmla="*/ 816 w 902"/>
                  <a:gd name="T119" fmla="*/ 471 h 1016"/>
                  <a:gd name="T120" fmla="*/ 795 w 902"/>
                  <a:gd name="T121" fmla="*/ 434 h 1016"/>
                  <a:gd name="T122" fmla="*/ 799 w 902"/>
                  <a:gd name="T123" fmla="*/ 384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2" h="1016">
                    <a:moveTo>
                      <a:pt x="828" y="315"/>
                    </a:moveTo>
                    <a:cubicBezTo>
                      <a:pt x="828" y="295"/>
                      <a:pt x="828" y="295"/>
                      <a:pt x="828" y="295"/>
                    </a:cubicBezTo>
                    <a:cubicBezTo>
                      <a:pt x="838" y="264"/>
                      <a:pt x="838" y="264"/>
                      <a:pt x="838" y="264"/>
                    </a:cubicBezTo>
                    <a:cubicBezTo>
                      <a:pt x="840" y="247"/>
                      <a:pt x="840" y="247"/>
                      <a:pt x="840" y="247"/>
                    </a:cubicBezTo>
                    <a:cubicBezTo>
                      <a:pt x="853" y="239"/>
                      <a:pt x="853" y="239"/>
                      <a:pt x="853" y="239"/>
                    </a:cubicBezTo>
                    <a:cubicBezTo>
                      <a:pt x="853" y="230"/>
                      <a:pt x="853" y="230"/>
                      <a:pt x="853" y="230"/>
                    </a:cubicBezTo>
                    <a:cubicBezTo>
                      <a:pt x="869" y="222"/>
                      <a:pt x="869" y="222"/>
                      <a:pt x="869" y="222"/>
                    </a:cubicBezTo>
                    <a:cubicBezTo>
                      <a:pt x="869" y="222"/>
                      <a:pt x="902" y="182"/>
                      <a:pt x="902" y="174"/>
                    </a:cubicBezTo>
                    <a:cubicBezTo>
                      <a:pt x="902" y="166"/>
                      <a:pt x="890" y="163"/>
                      <a:pt x="890" y="163"/>
                    </a:cubicBezTo>
                    <a:cubicBezTo>
                      <a:pt x="890" y="163"/>
                      <a:pt x="879" y="164"/>
                      <a:pt x="876" y="158"/>
                    </a:cubicBezTo>
                    <a:cubicBezTo>
                      <a:pt x="873" y="153"/>
                      <a:pt x="882" y="142"/>
                      <a:pt x="883" y="137"/>
                    </a:cubicBezTo>
                    <a:cubicBezTo>
                      <a:pt x="884" y="131"/>
                      <a:pt x="873" y="127"/>
                      <a:pt x="873" y="127"/>
                    </a:cubicBezTo>
                    <a:cubicBezTo>
                      <a:pt x="886" y="113"/>
                      <a:pt x="886" y="113"/>
                      <a:pt x="886" y="113"/>
                    </a:cubicBezTo>
                    <a:cubicBezTo>
                      <a:pt x="880" y="100"/>
                      <a:pt x="880" y="100"/>
                      <a:pt x="880" y="100"/>
                    </a:cubicBezTo>
                    <a:cubicBezTo>
                      <a:pt x="869" y="98"/>
                      <a:pt x="869" y="98"/>
                      <a:pt x="869" y="98"/>
                    </a:cubicBezTo>
                    <a:cubicBezTo>
                      <a:pt x="866" y="84"/>
                      <a:pt x="866" y="84"/>
                      <a:pt x="866" y="84"/>
                    </a:cubicBezTo>
                    <a:cubicBezTo>
                      <a:pt x="866" y="84"/>
                      <a:pt x="847" y="80"/>
                      <a:pt x="839" y="68"/>
                    </a:cubicBezTo>
                    <a:cubicBezTo>
                      <a:pt x="831" y="56"/>
                      <a:pt x="827" y="39"/>
                      <a:pt x="820" y="39"/>
                    </a:cubicBezTo>
                    <a:cubicBezTo>
                      <a:pt x="813" y="39"/>
                      <a:pt x="814" y="57"/>
                      <a:pt x="803" y="57"/>
                    </a:cubicBezTo>
                    <a:cubicBezTo>
                      <a:pt x="792" y="57"/>
                      <a:pt x="791" y="45"/>
                      <a:pt x="782" y="45"/>
                    </a:cubicBezTo>
                    <a:cubicBezTo>
                      <a:pt x="773" y="45"/>
                      <a:pt x="765" y="61"/>
                      <a:pt x="765" y="61"/>
                    </a:cubicBezTo>
                    <a:cubicBezTo>
                      <a:pt x="734" y="46"/>
                      <a:pt x="734" y="46"/>
                      <a:pt x="734" y="46"/>
                    </a:cubicBezTo>
                    <a:cubicBezTo>
                      <a:pt x="734" y="32"/>
                      <a:pt x="734" y="32"/>
                      <a:pt x="734" y="32"/>
                    </a:cubicBezTo>
                    <a:cubicBezTo>
                      <a:pt x="713" y="13"/>
                      <a:pt x="713" y="13"/>
                      <a:pt x="713" y="13"/>
                    </a:cubicBezTo>
                    <a:cubicBezTo>
                      <a:pt x="709" y="5"/>
                      <a:pt x="709" y="5"/>
                      <a:pt x="709" y="5"/>
                    </a:cubicBezTo>
                    <a:cubicBezTo>
                      <a:pt x="709" y="5"/>
                      <a:pt x="705" y="16"/>
                      <a:pt x="685" y="21"/>
                    </a:cubicBezTo>
                    <a:cubicBezTo>
                      <a:pt x="665" y="26"/>
                      <a:pt x="659" y="10"/>
                      <a:pt x="659" y="10"/>
                    </a:cubicBezTo>
                    <a:cubicBezTo>
                      <a:pt x="638" y="13"/>
                      <a:pt x="638" y="13"/>
                      <a:pt x="638" y="13"/>
                    </a:cubicBezTo>
                    <a:cubicBezTo>
                      <a:pt x="638" y="13"/>
                      <a:pt x="630" y="0"/>
                      <a:pt x="623" y="1"/>
                    </a:cubicBezTo>
                    <a:cubicBezTo>
                      <a:pt x="616" y="2"/>
                      <a:pt x="611" y="23"/>
                      <a:pt x="611" y="23"/>
                    </a:cubicBezTo>
                    <a:cubicBezTo>
                      <a:pt x="611" y="23"/>
                      <a:pt x="593" y="28"/>
                      <a:pt x="589" y="28"/>
                    </a:cubicBezTo>
                    <a:cubicBezTo>
                      <a:pt x="585" y="28"/>
                      <a:pt x="576" y="18"/>
                      <a:pt x="576" y="18"/>
                    </a:cubicBezTo>
                    <a:cubicBezTo>
                      <a:pt x="560" y="32"/>
                      <a:pt x="560" y="32"/>
                      <a:pt x="560" y="32"/>
                    </a:cubicBezTo>
                    <a:cubicBezTo>
                      <a:pt x="548" y="32"/>
                      <a:pt x="548" y="32"/>
                      <a:pt x="548" y="32"/>
                    </a:cubicBezTo>
                    <a:cubicBezTo>
                      <a:pt x="548" y="32"/>
                      <a:pt x="535" y="41"/>
                      <a:pt x="529" y="46"/>
                    </a:cubicBezTo>
                    <a:cubicBezTo>
                      <a:pt x="523" y="51"/>
                      <a:pt x="509" y="30"/>
                      <a:pt x="509" y="30"/>
                    </a:cubicBezTo>
                    <a:cubicBezTo>
                      <a:pt x="509" y="30"/>
                      <a:pt x="502" y="43"/>
                      <a:pt x="495" y="46"/>
                    </a:cubicBezTo>
                    <a:cubicBezTo>
                      <a:pt x="488" y="49"/>
                      <a:pt x="493" y="63"/>
                      <a:pt x="484" y="70"/>
                    </a:cubicBezTo>
                    <a:cubicBezTo>
                      <a:pt x="475" y="77"/>
                      <a:pt x="462" y="63"/>
                      <a:pt x="462" y="63"/>
                    </a:cubicBezTo>
                    <a:cubicBezTo>
                      <a:pt x="462" y="63"/>
                      <a:pt x="444" y="63"/>
                      <a:pt x="434" y="64"/>
                    </a:cubicBezTo>
                    <a:cubicBezTo>
                      <a:pt x="424" y="65"/>
                      <a:pt x="418" y="53"/>
                      <a:pt x="418" y="53"/>
                    </a:cubicBezTo>
                    <a:cubicBezTo>
                      <a:pt x="418" y="53"/>
                      <a:pt x="409" y="53"/>
                      <a:pt x="394" y="53"/>
                    </a:cubicBezTo>
                    <a:cubicBezTo>
                      <a:pt x="379" y="53"/>
                      <a:pt x="391" y="38"/>
                      <a:pt x="388" y="34"/>
                    </a:cubicBezTo>
                    <a:cubicBezTo>
                      <a:pt x="385" y="30"/>
                      <a:pt x="372" y="32"/>
                      <a:pt x="372" y="32"/>
                    </a:cubicBezTo>
                    <a:cubicBezTo>
                      <a:pt x="372" y="32"/>
                      <a:pt x="375" y="17"/>
                      <a:pt x="346" y="15"/>
                    </a:cubicBezTo>
                    <a:cubicBezTo>
                      <a:pt x="317" y="13"/>
                      <a:pt x="327" y="32"/>
                      <a:pt x="317" y="46"/>
                    </a:cubicBezTo>
                    <a:cubicBezTo>
                      <a:pt x="307" y="60"/>
                      <a:pt x="308" y="49"/>
                      <a:pt x="300" y="59"/>
                    </a:cubicBezTo>
                    <a:cubicBezTo>
                      <a:pt x="292" y="69"/>
                      <a:pt x="302" y="72"/>
                      <a:pt x="302" y="72"/>
                    </a:cubicBezTo>
                    <a:cubicBezTo>
                      <a:pt x="302" y="82"/>
                      <a:pt x="302" y="82"/>
                      <a:pt x="302" y="82"/>
                    </a:cubicBezTo>
                    <a:cubicBezTo>
                      <a:pt x="292" y="96"/>
                      <a:pt x="292" y="96"/>
                      <a:pt x="292" y="96"/>
                    </a:cubicBezTo>
                    <a:cubicBezTo>
                      <a:pt x="301" y="103"/>
                      <a:pt x="301" y="103"/>
                      <a:pt x="301" y="103"/>
                    </a:cubicBezTo>
                    <a:cubicBezTo>
                      <a:pt x="301" y="103"/>
                      <a:pt x="301" y="114"/>
                      <a:pt x="301" y="122"/>
                    </a:cubicBezTo>
                    <a:cubicBezTo>
                      <a:pt x="301" y="130"/>
                      <a:pt x="286" y="159"/>
                      <a:pt x="277" y="169"/>
                    </a:cubicBezTo>
                    <a:cubicBezTo>
                      <a:pt x="268" y="179"/>
                      <a:pt x="275" y="206"/>
                      <a:pt x="276" y="217"/>
                    </a:cubicBezTo>
                    <a:cubicBezTo>
                      <a:pt x="277" y="228"/>
                      <a:pt x="267" y="236"/>
                      <a:pt x="265" y="244"/>
                    </a:cubicBezTo>
                    <a:cubicBezTo>
                      <a:pt x="263" y="252"/>
                      <a:pt x="272" y="259"/>
                      <a:pt x="272" y="270"/>
                    </a:cubicBezTo>
                    <a:cubicBezTo>
                      <a:pt x="272" y="281"/>
                      <a:pt x="262" y="289"/>
                      <a:pt x="262" y="289"/>
                    </a:cubicBezTo>
                    <a:cubicBezTo>
                      <a:pt x="259" y="321"/>
                      <a:pt x="259" y="321"/>
                      <a:pt x="259" y="321"/>
                    </a:cubicBezTo>
                    <a:cubicBezTo>
                      <a:pt x="259" y="321"/>
                      <a:pt x="253" y="336"/>
                      <a:pt x="243" y="343"/>
                    </a:cubicBezTo>
                    <a:cubicBezTo>
                      <a:pt x="233" y="350"/>
                      <a:pt x="220" y="356"/>
                      <a:pt x="213" y="359"/>
                    </a:cubicBezTo>
                    <a:cubicBezTo>
                      <a:pt x="206" y="362"/>
                      <a:pt x="206" y="385"/>
                      <a:pt x="205" y="394"/>
                    </a:cubicBezTo>
                    <a:cubicBezTo>
                      <a:pt x="204" y="403"/>
                      <a:pt x="186" y="410"/>
                      <a:pt x="186" y="410"/>
                    </a:cubicBezTo>
                    <a:cubicBezTo>
                      <a:pt x="187" y="477"/>
                      <a:pt x="187" y="477"/>
                      <a:pt x="187" y="477"/>
                    </a:cubicBezTo>
                    <a:cubicBezTo>
                      <a:pt x="170" y="507"/>
                      <a:pt x="170" y="507"/>
                      <a:pt x="170" y="507"/>
                    </a:cubicBezTo>
                    <a:cubicBezTo>
                      <a:pt x="170" y="507"/>
                      <a:pt x="160" y="510"/>
                      <a:pt x="154" y="510"/>
                    </a:cubicBezTo>
                    <a:cubicBezTo>
                      <a:pt x="148" y="510"/>
                      <a:pt x="136" y="531"/>
                      <a:pt x="129" y="540"/>
                    </a:cubicBezTo>
                    <a:cubicBezTo>
                      <a:pt x="122" y="549"/>
                      <a:pt x="119" y="554"/>
                      <a:pt x="104" y="554"/>
                    </a:cubicBezTo>
                    <a:cubicBezTo>
                      <a:pt x="89" y="554"/>
                      <a:pt x="107" y="531"/>
                      <a:pt x="100" y="524"/>
                    </a:cubicBezTo>
                    <a:cubicBezTo>
                      <a:pt x="93" y="517"/>
                      <a:pt x="83" y="533"/>
                      <a:pt x="83" y="533"/>
                    </a:cubicBezTo>
                    <a:cubicBezTo>
                      <a:pt x="70" y="532"/>
                      <a:pt x="70" y="532"/>
                      <a:pt x="70" y="532"/>
                    </a:cubicBezTo>
                    <a:cubicBezTo>
                      <a:pt x="70" y="532"/>
                      <a:pt x="71" y="548"/>
                      <a:pt x="59" y="553"/>
                    </a:cubicBezTo>
                    <a:cubicBezTo>
                      <a:pt x="47" y="558"/>
                      <a:pt x="43" y="537"/>
                      <a:pt x="43" y="537"/>
                    </a:cubicBezTo>
                    <a:cubicBezTo>
                      <a:pt x="36" y="540"/>
                      <a:pt x="36" y="540"/>
                      <a:pt x="36" y="540"/>
                    </a:cubicBezTo>
                    <a:cubicBezTo>
                      <a:pt x="33" y="548"/>
                      <a:pt x="33" y="548"/>
                      <a:pt x="33" y="548"/>
                    </a:cubicBezTo>
                    <a:cubicBezTo>
                      <a:pt x="9" y="565"/>
                      <a:pt x="9" y="565"/>
                      <a:pt x="9" y="565"/>
                    </a:cubicBezTo>
                    <a:cubicBezTo>
                      <a:pt x="9" y="565"/>
                      <a:pt x="21" y="591"/>
                      <a:pt x="13" y="595"/>
                    </a:cubicBezTo>
                    <a:cubicBezTo>
                      <a:pt x="10" y="597"/>
                      <a:pt x="5" y="599"/>
                      <a:pt x="0" y="602"/>
                    </a:cubicBezTo>
                    <a:cubicBezTo>
                      <a:pt x="4" y="605"/>
                      <a:pt x="11" y="612"/>
                      <a:pt x="12" y="617"/>
                    </a:cubicBezTo>
                    <a:cubicBezTo>
                      <a:pt x="35" y="607"/>
                      <a:pt x="35" y="607"/>
                      <a:pt x="35" y="607"/>
                    </a:cubicBezTo>
                    <a:cubicBezTo>
                      <a:pt x="52" y="609"/>
                      <a:pt x="52" y="609"/>
                      <a:pt x="52" y="609"/>
                    </a:cubicBezTo>
                    <a:cubicBezTo>
                      <a:pt x="57" y="607"/>
                      <a:pt x="57" y="607"/>
                      <a:pt x="57" y="607"/>
                    </a:cubicBezTo>
                    <a:cubicBezTo>
                      <a:pt x="65" y="609"/>
                      <a:pt x="65" y="609"/>
                      <a:pt x="65" y="609"/>
                    </a:cubicBezTo>
                    <a:cubicBezTo>
                      <a:pt x="80" y="605"/>
                      <a:pt x="80" y="605"/>
                      <a:pt x="80" y="605"/>
                    </a:cubicBezTo>
                    <a:cubicBezTo>
                      <a:pt x="80" y="605"/>
                      <a:pt x="91" y="612"/>
                      <a:pt x="98" y="611"/>
                    </a:cubicBezTo>
                    <a:cubicBezTo>
                      <a:pt x="105" y="610"/>
                      <a:pt x="123" y="607"/>
                      <a:pt x="123" y="607"/>
                    </a:cubicBezTo>
                    <a:cubicBezTo>
                      <a:pt x="123" y="607"/>
                      <a:pt x="136" y="609"/>
                      <a:pt x="141" y="609"/>
                    </a:cubicBezTo>
                    <a:cubicBezTo>
                      <a:pt x="146" y="609"/>
                      <a:pt x="153" y="609"/>
                      <a:pt x="153" y="609"/>
                    </a:cubicBezTo>
                    <a:cubicBezTo>
                      <a:pt x="163" y="606"/>
                      <a:pt x="163" y="606"/>
                      <a:pt x="163" y="606"/>
                    </a:cubicBezTo>
                    <a:cubicBezTo>
                      <a:pt x="177" y="607"/>
                      <a:pt x="177" y="607"/>
                      <a:pt x="177" y="607"/>
                    </a:cubicBezTo>
                    <a:cubicBezTo>
                      <a:pt x="177" y="607"/>
                      <a:pt x="195" y="599"/>
                      <a:pt x="200" y="608"/>
                    </a:cubicBezTo>
                    <a:cubicBezTo>
                      <a:pt x="205" y="617"/>
                      <a:pt x="211" y="621"/>
                      <a:pt x="211" y="621"/>
                    </a:cubicBezTo>
                    <a:cubicBezTo>
                      <a:pt x="212" y="651"/>
                      <a:pt x="212" y="651"/>
                      <a:pt x="212" y="651"/>
                    </a:cubicBezTo>
                    <a:cubicBezTo>
                      <a:pt x="212" y="651"/>
                      <a:pt x="222" y="658"/>
                      <a:pt x="223" y="664"/>
                    </a:cubicBezTo>
                    <a:cubicBezTo>
                      <a:pt x="224" y="670"/>
                      <a:pt x="222" y="686"/>
                      <a:pt x="222" y="686"/>
                    </a:cubicBezTo>
                    <a:cubicBezTo>
                      <a:pt x="222" y="686"/>
                      <a:pt x="228" y="689"/>
                      <a:pt x="233" y="695"/>
                    </a:cubicBezTo>
                    <a:cubicBezTo>
                      <a:pt x="238" y="701"/>
                      <a:pt x="240" y="709"/>
                      <a:pt x="240" y="709"/>
                    </a:cubicBezTo>
                    <a:cubicBezTo>
                      <a:pt x="246" y="717"/>
                      <a:pt x="246" y="717"/>
                      <a:pt x="246" y="717"/>
                    </a:cubicBezTo>
                    <a:cubicBezTo>
                      <a:pt x="249" y="727"/>
                      <a:pt x="249" y="727"/>
                      <a:pt x="249" y="727"/>
                    </a:cubicBezTo>
                    <a:cubicBezTo>
                      <a:pt x="270" y="726"/>
                      <a:pt x="270" y="726"/>
                      <a:pt x="270" y="726"/>
                    </a:cubicBezTo>
                    <a:cubicBezTo>
                      <a:pt x="277" y="731"/>
                      <a:pt x="277" y="731"/>
                      <a:pt x="277" y="731"/>
                    </a:cubicBezTo>
                    <a:cubicBezTo>
                      <a:pt x="281" y="724"/>
                      <a:pt x="281" y="724"/>
                      <a:pt x="281" y="724"/>
                    </a:cubicBezTo>
                    <a:cubicBezTo>
                      <a:pt x="296" y="724"/>
                      <a:pt x="296" y="724"/>
                      <a:pt x="296" y="724"/>
                    </a:cubicBezTo>
                    <a:cubicBezTo>
                      <a:pt x="303" y="718"/>
                      <a:pt x="303" y="718"/>
                      <a:pt x="303" y="718"/>
                    </a:cubicBezTo>
                    <a:cubicBezTo>
                      <a:pt x="307" y="723"/>
                      <a:pt x="307" y="723"/>
                      <a:pt x="307" y="723"/>
                    </a:cubicBezTo>
                    <a:cubicBezTo>
                      <a:pt x="337" y="720"/>
                      <a:pt x="337" y="720"/>
                      <a:pt x="337" y="720"/>
                    </a:cubicBezTo>
                    <a:cubicBezTo>
                      <a:pt x="337" y="720"/>
                      <a:pt x="336" y="706"/>
                      <a:pt x="339" y="702"/>
                    </a:cubicBezTo>
                    <a:cubicBezTo>
                      <a:pt x="342" y="698"/>
                      <a:pt x="349" y="698"/>
                      <a:pt x="349" y="693"/>
                    </a:cubicBezTo>
                    <a:cubicBezTo>
                      <a:pt x="349" y="688"/>
                      <a:pt x="338" y="676"/>
                      <a:pt x="343" y="672"/>
                    </a:cubicBezTo>
                    <a:cubicBezTo>
                      <a:pt x="348" y="668"/>
                      <a:pt x="377" y="671"/>
                      <a:pt x="377" y="671"/>
                    </a:cubicBezTo>
                    <a:cubicBezTo>
                      <a:pt x="377" y="671"/>
                      <a:pt x="377" y="663"/>
                      <a:pt x="386" y="666"/>
                    </a:cubicBezTo>
                    <a:cubicBezTo>
                      <a:pt x="395" y="669"/>
                      <a:pt x="391" y="678"/>
                      <a:pt x="391" y="678"/>
                    </a:cubicBezTo>
                    <a:cubicBezTo>
                      <a:pt x="392" y="686"/>
                      <a:pt x="392" y="686"/>
                      <a:pt x="392" y="686"/>
                    </a:cubicBezTo>
                    <a:cubicBezTo>
                      <a:pt x="452" y="685"/>
                      <a:pt x="452" y="685"/>
                      <a:pt x="452" y="685"/>
                    </a:cubicBezTo>
                    <a:cubicBezTo>
                      <a:pt x="452" y="703"/>
                      <a:pt x="452" y="703"/>
                      <a:pt x="452" y="703"/>
                    </a:cubicBezTo>
                    <a:cubicBezTo>
                      <a:pt x="445" y="713"/>
                      <a:pt x="445" y="713"/>
                      <a:pt x="445" y="713"/>
                    </a:cubicBezTo>
                    <a:cubicBezTo>
                      <a:pt x="448" y="727"/>
                      <a:pt x="448" y="727"/>
                      <a:pt x="448" y="727"/>
                    </a:cubicBezTo>
                    <a:cubicBezTo>
                      <a:pt x="448" y="727"/>
                      <a:pt x="461" y="740"/>
                      <a:pt x="461" y="747"/>
                    </a:cubicBezTo>
                    <a:cubicBezTo>
                      <a:pt x="461" y="754"/>
                      <a:pt x="453" y="763"/>
                      <a:pt x="453" y="763"/>
                    </a:cubicBezTo>
                    <a:cubicBezTo>
                      <a:pt x="456" y="779"/>
                      <a:pt x="456" y="779"/>
                      <a:pt x="456" y="779"/>
                    </a:cubicBezTo>
                    <a:cubicBezTo>
                      <a:pt x="456" y="779"/>
                      <a:pt x="451" y="791"/>
                      <a:pt x="451" y="799"/>
                    </a:cubicBezTo>
                    <a:cubicBezTo>
                      <a:pt x="451" y="807"/>
                      <a:pt x="457" y="815"/>
                      <a:pt x="464" y="822"/>
                    </a:cubicBezTo>
                    <a:cubicBezTo>
                      <a:pt x="471" y="829"/>
                      <a:pt x="475" y="847"/>
                      <a:pt x="475" y="847"/>
                    </a:cubicBezTo>
                    <a:cubicBezTo>
                      <a:pt x="475" y="847"/>
                      <a:pt x="474" y="862"/>
                      <a:pt x="471" y="869"/>
                    </a:cubicBezTo>
                    <a:cubicBezTo>
                      <a:pt x="468" y="876"/>
                      <a:pt x="465" y="888"/>
                      <a:pt x="468" y="892"/>
                    </a:cubicBezTo>
                    <a:cubicBezTo>
                      <a:pt x="471" y="896"/>
                      <a:pt x="479" y="898"/>
                      <a:pt x="479" y="898"/>
                    </a:cubicBezTo>
                    <a:cubicBezTo>
                      <a:pt x="485" y="886"/>
                      <a:pt x="485" y="886"/>
                      <a:pt x="485" y="886"/>
                    </a:cubicBezTo>
                    <a:cubicBezTo>
                      <a:pt x="503" y="890"/>
                      <a:pt x="503" y="890"/>
                      <a:pt x="503" y="890"/>
                    </a:cubicBezTo>
                    <a:cubicBezTo>
                      <a:pt x="519" y="885"/>
                      <a:pt x="519" y="885"/>
                      <a:pt x="519" y="885"/>
                    </a:cubicBezTo>
                    <a:cubicBezTo>
                      <a:pt x="519" y="885"/>
                      <a:pt x="519" y="880"/>
                      <a:pt x="526" y="880"/>
                    </a:cubicBezTo>
                    <a:cubicBezTo>
                      <a:pt x="533" y="880"/>
                      <a:pt x="537" y="887"/>
                      <a:pt x="537" y="887"/>
                    </a:cubicBezTo>
                    <a:cubicBezTo>
                      <a:pt x="551" y="885"/>
                      <a:pt x="551" y="885"/>
                      <a:pt x="551" y="885"/>
                    </a:cubicBezTo>
                    <a:cubicBezTo>
                      <a:pt x="556" y="875"/>
                      <a:pt x="556" y="875"/>
                      <a:pt x="556" y="875"/>
                    </a:cubicBezTo>
                    <a:cubicBezTo>
                      <a:pt x="561" y="884"/>
                      <a:pt x="561" y="884"/>
                      <a:pt x="561" y="884"/>
                    </a:cubicBezTo>
                    <a:cubicBezTo>
                      <a:pt x="572" y="882"/>
                      <a:pt x="572" y="882"/>
                      <a:pt x="572" y="882"/>
                    </a:cubicBezTo>
                    <a:cubicBezTo>
                      <a:pt x="572" y="882"/>
                      <a:pt x="563" y="907"/>
                      <a:pt x="580" y="908"/>
                    </a:cubicBezTo>
                    <a:cubicBezTo>
                      <a:pt x="597" y="909"/>
                      <a:pt x="583" y="899"/>
                      <a:pt x="583" y="899"/>
                    </a:cubicBezTo>
                    <a:cubicBezTo>
                      <a:pt x="614" y="893"/>
                      <a:pt x="614" y="893"/>
                      <a:pt x="614" y="893"/>
                    </a:cubicBezTo>
                    <a:cubicBezTo>
                      <a:pt x="614" y="893"/>
                      <a:pt x="610" y="912"/>
                      <a:pt x="620" y="919"/>
                    </a:cubicBezTo>
                    <a:cubicBezTo>
                      <a:pt x="630" y="926"/>
                      <a:pt x="682" y="939"/>
                      <a:pt x="687" y="935"/>
                    </a:cubicBezTo>
                    <a:cubicBezTo>
                      <a:pt x="692" y="931"/>
                      <a:pt x="689" y="905"/>
                      <a:pt x="701" y="910"/>
                    </a:cubicBezTo>
                    <a:cubicBezTo>
                      <a:pt x="713" y="915"/>
                      <a:pt x="704" y="920"/>
                      <a:pt x="708" y="925"/>
                    </a:cubicBezTo>
                    <a:cubicBezTo>
                      <a:pt x="712" y="930"/>
                      <a:pt x="722" y="930"/>
                      <a:pt x="722" y="934"/>
                    </a:cubicBezTo>
                    <a:cubicBezTo>
                      <a:pt x="722" y="938"/>
                      <a:pt x="714" y="947"/>
                      <a:pt x="722" y="948"/>
                    </a:cubicBezTo>
                    <a:cubicBezTo>
                      <a:pt x="730" y="949"/>
                      <a:pt x="732" y="943"/>
                      <a:pt x="737" y="947"/>
                    </a:cubicBezTo>
                    <a:cubicBezTo>
                      <a:pt x="742" y="951"/>
                      <a:pt x="741" y="959"/>
                      <a:pt x="745" y="959"/>
                    </a:cubicBezTo>
                    <a:cubicBezTo>
                      <a:pt x="749" y="959"/>
                      <a:pt x="754" y="951"/>
                      <a:pt x="760" y="959"/>
                    </a:cubicBezTo>
                    <a:cubicBezTo>
                      <a:pt x="766" y="967"/>
                      <a:pt x="768" y="978"/>
                      <a:pt x="768" y="978"/>
                    </a:cubicBezTo>
                    <a:cubicBezTo>
                      <a:pt x="768" y="978"/>
                      <a:pt x="774" y="975"/>
                      <a:pt x="779" y="982"/>
                    </a:cubicBezTo>
                    <a:cubicBezTo>
                      <a:pt x="784" y="989"/>
                      <a:pt x="787" y="1012"/>
                      <a:pt x="787" y="1012"/>
                    </a:cubicBezTo>
                    <a:cubicBezTo>
                      <a:pt x="799" y="1012"/>
                      <a:pt x="799" y="1012"/>
                      <a:pt x="799" y="1012"/>
                    </a:cubicBezTo>
                    <a:cubicBezTo>
                      <a:pt x="814" y="1002"/>
                      <a:pt x="814" y="1002"/>
                      <a:pt x="814" y="1002"/>
                    </a:cubicBezTo>
                    <a:cubicBezTo>
                      <a:pt x="814" y="1002"/>
                      <a:pt x="816" y="1016"/>
                      <a:pt x="822" y="1013"/>
                    </a:cubicBezTo>
                    <a:cubicBezTo>
                      <a:pt x="828" y="1010"/>
                      <a:pt x="827" y="945"/>
                      <a:pt x="827" y="945"/>
                    </a:cubicBezTo>
                    <a:cubicBezTo>
                      <a:pt x="819" y="945"/>
                      <a:pt x="819" y="945"/>
                      <a:pt x="819" y="945"/>
                    </a:cubicBezTo>
                    <a:cubicBezTo>
                      <a:pt x="813" y="948"/>
                      <a:pt x="813" y="948"/>
                      <a:pt x="813" y="948"/>
                    </a:cubicBezTo>
                    <a:cubicBezTo>
                      <a:pt x="813" y="948"/>
                      <a:pt x="816" y="961"/>
                      <a:pt x="806" y="961"/>
                    </a:cubicBezTo>
                    <a:cubicBezTo>
                      <a:pt x="796" y="961"/>
                      <a:pt x="784" y="947"/>
                      <a:pt x="778" y="940"/>
                    </a:cubicBezTo>
                    <a:cubicBezTo>
                      <a:pt x="772" y="933"/>
                      <a:pt x="761" y="938"/>
                      <a:pt x="759" y="920"/>
                    </a:cubicBezTo>
                    <a:cubicBezTo>
                      <a:pt x="757" y="902"/>
                      <a:pt x="779" y="880"/>
                      <a:pt x="779" y="866"/>
                    </a:cubicBezTo>
                    <a:cubicBezTo>
                      <a:pt x="779" y="852"/>
                      <a:pt x="775" y="818"/>
                      <a:pt x="775" y="818"/>
                    </a:cubicBezTo>
                    <a:cubicBezTo>
                      <a:pt x="775" y="818"/>
                      <a:pt x="773" y="799"/>
                      <a:pt x="770" y="797"/>
                    </a:cubicBezTo>
                    <a:cubicBezTo>
                      <a:pt x="767" y="795"/>
                      <a:pt x="761" y="788"/>
                      <a:pt x="761" y="788"/>
                    </a:cubicBezTo>
                    <a:cubicBezTo>
                      <a:pt x="761" y="788"/>
                      <a:pt x="788" y="773"/>
                      <a:pt x="788" y="766"/>
                    </a:cubicBezTo>
                    <a:cubicBezTo>
                      <a:pt x="788" y="759"/>
                      <a:pt x="788" y="746"/>
                      <a:pt x="788" y="746"/>
                    </a:cubicBezTo>
                    <a:cubicBezTo>
                      <a:pt x="788" y="746"/>
                      <a:pt x="825" y="741"/>
                      <a:pt x="838" y="738"/>
                    </a:cubicBezTo>
                    <a:cubicBezTo>
                      <a:pt x="842" y="737"/>
                      <a:pt x="849" y="735"/>
                      <a:pt x="857" y="731"/>
                    </a:cubicBezTo>
                    <a:cubicBezTo>
                      <a:pt x="860" y="728"/>
                      <a:pt x="862" y="726"/>
                      <a:pt x="862" y="726"/>
                    </a:cubicBezTo>
                    <a:cubicBezTo>
                      <a:pt x="862" y="726"/>
                      <a:pt x="855" y="714"/>
                      <a:pt x="850" y="710"/>
                    </a:cubicBezTo>
                    <a:cubicBezTo>
                      <a:pt x="846" y="706"/>
                      <a:pt x="849" y="688"/>
                      <a:pt x="849" y="681"/>
                    </a:cubicBezTo>
                    <a:cubicBezTo>
                      <a:pt x="849" y="674"/>
                      <a:pt x="837" y="678"/>
                      <a:pt x="834" y="677"/>
                    </a:cubicBezTo>
                    <a:cubicBezTo>
                      <a:pt x="831" y="676"/>
                      <a:pt x="828" y="666"/>
                      <a:pt x="828" y="658"/>
                    </a:cubicBezTo>
                    <a:cubicBezTo>
                      <a:pt x="828" y="650"/>
                      <a:pt x="819" y="649"/>
                      <a:pt x="812" y="642"/>
                    </a:cubicBezTo>
                    <a:cubicBezTo>
                      <a:pt x="805" y="635"/>
                      <a:pt x="803" y="618"/>
                      <a:pt x="804" y="612"/>
                    </a:cubicBezTo>
                    <a:cubicBezTo>
                      <a:pt x="805" y="606"/>
                      <a:pt x="810" y="596"/>
                      <a:pt x="810" y="589"/>
                    </a:cubicBezTo>
                    <a:cubicBezTo>
                      <a:pt x="810" y="582"/>
                      <a:pt x="800" y="582"/>
                      <a:pt x="796" y="572"/>
                    </a:cubicBezTo>
                    <a:cubicBezTo>
                      <a:pt x="792" y="562"/>
                      <a:pt x="796" y="550"/>
                      <a:pt x="797" y="538"/>
                    </a:cubicBezTo>
                    <a:cubicBezTo>
                      <a:pt x="798" y="526"/>
                      <a:pt x="799" y="515"/>
                      <a:pt x="802" y="502"/>
                    </a:cubicBezTo>
                    <a:cubicBezTo>
                      <a:pt x="804" y="494"/>
                      <a:pt x="810" y="495"/>
                      <a:pt x="814" y="498"/>
                    </a:cubicBezTo>
                    <a:cubicBezTo>
                      <a:pt x="814" y="496"/>
                      <a:pt x="814" y="494"/>
                      <a:pt x="814" y="494"/>
                    </a:cubicBezTo>
                    <a:cubicBezTo>
                      <a:pt x="814" y="494"/>
                      <a:pt x="816" y="480"/>
                      <a:pt x="816" y="471"/>
                    </a:cubicBezTo>
                    <a:cubicBezTo>
                      <a:pt x="816" y="462"/>
                      <a:pt x="801" y="454"/>
                      <a:pt x="801" y="454"/>
                    </a:cubicBezTo>
                    <a:cubicBezTo>
                      <a:pt x="795" y="434"/>
                      <a:pt x="795" y="434"/>
                      <a:pt x="795" y="434"/>
                    </a:cubicBezTo>
                    <a:cubicBezTo>
                      <a:pt x="795" y="434"/>
                      <a:pt x="795" y="434"/>
                      <a:pt x="795" y="434"/>
                    </a:cubicBezTo>
                    <a:cubicBezTo>
                      <a:pt x="791" y="433"/>
                      <a:pt x="787" y="432"/>
                      <a:pt x="786" y="428"/>
                    </a:cubicBezTo>
                    <a:cubicBezTo>
                      <a:pt x="782" y="420"/>
                      <a:pt x="804" y="410"/>
                      <a:pt x="806" y="406"/>
                    </a:cubicBezTo>
                    <a:cubicBezTo>
                      <a:pt x="807" y="403"/>
                      <a:pt x="797" y="392"/>
                      <a:pt x="799" y="384"/>
                    </a:cubicBezTo>
                    <a:cubicBezTo>
                      <a:pt x="800" y="376"/>
                      <a:pt x="824" y="365"/>
                      <a:pt x="824" y="365"/>
                    </a:cubicBezTo>
                    <a:lnTo>
                      <a:pt x="828" y="315"/>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53" name="Côte d'lvoire">
                <a:extLst>
                  <a:ext uri="{FF2B5EF4-FFF2-40B4-BE49-F238E27FC236}">
                    <a16:creationId xmlns:a16="http://schemas.microsoft.com/office/drawing/2014/main" id="{71F438C7-1650-48C9-95C7-668E40FDDE65}"/>
                  </a:ext>
                </a:extLst>
              </p:cNvPr>
              <p:cNvSpPr>
                <a:spLocks/>
              </p:cNvSpPr>
              <p:nvPr/>
            </p:nvSpPr>
            <p:spPr bwMode="gray">
              <a:xfrm>
                <a:off x="4077294" y="3290122"/>
                <a:ext cx="484537" cy="454982"/>
              </a:xfrm>
              <a:custGeom>
                <a:avLst/>
                <a:gdLst>
                  <a:gd name="T0" fmla="*/ 266 w 291"/>
                  <a:gd name="T1" fmla="*/ 269 h 343"/>
                  <a:gd name="T2" fmla="*/ 253 w 291"/>
                  <a:gd name="T3" fmla="*/ 219 h 343"/>
                  <a:gd name="T4" fmla="*/ 273 w 291"/>
                  <a:gd name="T5" fmla="*/ 187 h 343"/>
                  <a:gd name="T6" fmla="*/ 274 w 291"/>
                  <a:gd name="T7" fmla="*/ 157 h 343"/>
                  <a:gd name="T8" fmla="*/ 291 w 291"/>
                  <a:gd name="T9" fmla="*/ 130 h 343"/>
                  <a:gd name="T10" fmla="*/ 279 w 291"/>
                  <a:gd name="T11" fmla="*/ 84 h 343"/>
                  <a:gd name="T12" fmla="*/ 287 w 291"/>
                  <a:gd name="T13" fmla="*/ 83 h 343"/>
                  <a:gd name="T14" fmla="*/ 283 w 291"/>
                  <a:gd name="T15" fmla="*/ 64 h 343"/>
                  <a:gd name="T16" fmla="*/ 271 w 291"/>
                  <a:gd name="T17" fmla="*/ 66 h 343"/>
                  <a:gd name="T18" fmla="*/ 247 w 291"/>
                  <a:gd name="T19" fmla="*/ 41 h 343"/>
                  <a:gd name="T20" fmla="*/ 206 w 291"/>
                  <a:gd name="T21" fmla="*/ 59 h 343"/>
                  <a:gd name="T22" fmla="*/ 186 w 291"/>
                  <a:gd name="T23" fmla="*/ 54 h 343"/>
                  <a:gd name="T24" fmla="*/ 166 w 291"/>
                  <a:gd name="T25" fmla="*/ 22 h 343"/>
                  <a:gd name="T26" fmla="*/ 153 w 291"/>
                  <a:gd name="T27" fmla="*/ 26 h 343"/>
                  <a:gd name="T28" fmla="*/ 150 w 291"/>
                  <a:gd name="T29" fmla="*/ 12 h 343"/>
                  <a:gd name="T30" fmla="*/ 131 w 291"/>
                  <a:gd name="T31" fmla="*/ 26 h 343"/>
                  <a:gd name="T32" fmla="*/ 116 w 291"/>
                  <a:gd name="T33" fmla="*/ 24 h 343"/>
                  <a:gd name="T34" fmla="*/ 116 w 291"/>
                  <a:gd name="T35" fmla="*/ 0 h 343"/>
                  <a:gd name="T36" fmla="*/ 108 w 291"/>
                  <a:gd name="T37" fmla="*/ 13 h 343"/>
                  <a:gd name="T38" fmla="*/ 99 w 291"/>
                  <a:gd name="T39" fmla="*/ 1 h 343"/>
                  <a:gd name="T40" fmla="*/ 95 w 291"/>
                  <a:gd name="T41" fmla="*/ 19 h 343"/>
                  <a:gd name="T42" fmla="*/ 85 w 291"/>
                  <a:gd name="T43" fmla="*/ 19 h 343"/>
                  <a:gd name="T44" fmla="*/ 81 w 291"/>
                  <a:gd name="T45" fmla="*/ 31 h 343"/>
                  <a:gd name="T46" fmla="*/ 55 w 291"/>
                  <a:gd name="T47" fmla="*/ 15 h 343"/>
                  <a:gd name="T48" fmla="*/ 42 w 291"/>
                  <a:gd name="T49" fmla="*/ 30 h 343"/>
                  <a:gd name="T50" fmla="*/ 36 w 291"/>
                  <a:gd name="T51" fmla="*/ 27 h 343"/>
                  <a:gd name="T52" fmla="*/ 23 w 291"/>
                  <a:gd name="T53" fmla="*/ 41 h 343"/>
                  <a:gd name="T54" fmla="*/ 28 w 291"/>
                  <a:gd name="T55" fmla="*/ 68 h 343"/>
                  <a:gd name="T56" fmla="*/ 40 w 291"/>
                  <a:gd name="T57" fmla="*/ 69 h 343"/>
                  <a:gd name="T58" fmla="*/ 33 w 291"/>
                  <a:gd name="T59" fmla="*/ 82 h 343"/>
                  <a:gd name="T60" fmla="*/ 43 w 291"/>
                  <a:gd name="T61" fmla="*/ 86 h 343"/>
                  <a:gd name="T62" fmla="*/ 34 w 291"/>
                  <a:gd name="T63" fmla="*/ 103 h 343"/>
                  <a:gd name="T64" fmla="*/ 50 w 291"/>
                  <a:gd name="T65" fmla="*/ 113 h 343"/>
                  <a:gd name="T66" fmla="*/ 49 w 291"/>
                  <a:gd name="T67" fmla="*/ 126 h 343"/>
                  <a:gd name="T68" fmla="*/ 19 w 291"/>
                  <a:gd name="T69" fmla="*/ 122 h 343"/>
                  <a:gd name="T70" fmla="*/ 37 w 291"/>
                  <a:gd name="T71" fmla="*/ 145 h 343"/>
                  <a:gd name="T72" fmla="*/ 25 w 291"/>
                  <a:gd name="T73" fmla="*/ 148 h 343"/>
                  <a:gd name="T74" fmla="*/ 25 w 291"/>
                  <a:gd name="T75" fmla="*/ 169 h 343"/>
                  <a:gd name="T76" fmla="*/ 2 w 291"/>
                  <a:gd name="T77" fmla="*/ 162 h 343"/>
                  <a:gd name="T78" fmla="*/ 15 w 291"/>
                  <a:gd name="T79" fmla="*/ 196 h 343"/>
                  <a:gd name="T80" fmla="*/ 1 w 291"/>
                  <a:gd name="T81" fmla="*/ 228 h 343"/>
                  <a:gd name="T82" fmla="*/ 14 w 291"/>
                  <a:gd name="T83" fmla="*/ 230 h 343"/>
                  <a:gd name="T84" fmla="*/ 14 w 291"/>
                  <a:gd name="T85" fmla="*/ 240 h 343"/>
                  <a:gd name="T86" fmla="*/ 38 w 291"/>
                  <a:gd name="T87" fmla="*/ 236 h 343"/>
                  <a:gd name="T88" fmla="*/ 39 w 291"/>
                  <a:gd name="T89" fmla="*/ 253 h 343"/>
                  <a:gd name="T90" fmla="*/ 60 w 291"/>
                  <a:gd name="T91" fmla="*/ 282 h 343"/>
                  <a:gd name="T92" fmla="*/ 50 w 291"/>
                  <a:gd name="T93" fmla="*/ 316 h 343"/>
                  <a:gd name="T94" fmla="*/ 51 w 291"/>
                  <a:gd name="T95" fmla="*/ 343 h 343"/>
                  <a:gd name="T96" fmla="*/ 66 w 291"/>
                  <a:gd name="T97" fmla="*/ 331 h 343"/>
                  <a:gd name="T98" fmla="*/ 75 w 291"/>
                  <a:gd name="T99" fmla="*/ 331 h 343"/>
                  <a:gd name="T100" fmla="*/ 85 w 291"/>
                  <a:gd name="T101" fmla="*/ 323 h 343"/>
                  <a:gd name="T102" fmla="*/ 151 w 291"/>
                  <a:gd name="T103" fmla="*/ 300 h 343"/>
                  <a:gd name="T104" fmla="*/ 178 w 291"/>
                  <a:gd name="T105" fmla="*/ 296 h 343"/>
                  <a:gd name="T106" fmla="*/ 218 w 291"/>
                  <a:gd name="T107" fmla="*/ 290 h 343"/>
                  <a:gd name="T108" fmla="*/ 236 w 291"/>
                  <a:gd name="T109" fmla="*/ 299 h 343"/>
                  <a:gd name="T110" fmla="*/ 256 w 291"/>
                  <a:gd name="T111" fmla="*/ 289 h 343"/>
                  <a:gd name="T112" fmla="*/ 273 w 291"/>
                  <a:gd name="T113" fmla="*/ 306 h 343"/>
                  <a:gd name="T114" fmla="*/ 285 w 291"/>
                  <a:gd name="T115" fmla="*/ 310 h 343"/>
                  <a:gd name="T116" fmla="*/ 284 w 291"/>
                  <a:gd name="T117" fmla="*/ 275 h 343"/>
                  <a:gd name="T118" fmla="*/ 266 w 291"/>
                  <a:gd name="T119" fmla="*/ 269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1" h="343">
                    <a:moveTo>
                      <a:pt x="266" y="269"/>
                    </a:moveTo>
                    <a:cubicBezTo>
                      <a:pt x="266" y="269"/>
                      <a:pt x="253" y="233"/>
                      <a:pt x="253" y="219"/>
                    </a:cubicBezTo>
                    <a:cubicBezTo>
                      <a:pt x="253" y="205"/>
                      <a:pt x="273" y="187"/>
                      <a:pt x="273" y="187"/>
                    </a:cubicBezTo>
                    <a:cubicBezTo>
                      <a:pt x="273" y="187"/>
                      <a:pt x="274" y="165"/>
                      <a:pt x="274" y="157"/>
                    </a:cubicBezTo>
                    <a:cubicBezTo>
                      <a:pt x="274" y="149"/>
                      <a:pt x="291" y="142"/>
                      <a:pt x="291" y="130"/>
                    </a:cubicBezTo>
                    <a:cubicBezTo>
                      <a:pt x="291" y="118"/>
                      <a:pt x="279" y="84"/>
                      <a:pt x="279" y="84"/>
                    </a:cubicBezTo>
                    <a:cubicBezTo>
                      <a:pt x="287" y="83"/>
                      <a:pt x="287" y="83"/>
                      <a:pt x="287" y="83"/>
                    </a:cubicBezTo>
                    <a:cubicBezTo>
                      <a:pt x="283" y="64"/>
                      <a:pt x="283" y="64"/>
                      <a:pt x="283" y="64"/>
                    </a:cubicBezTo>
                    <a:cubicBezTo>
                      <a:pt x="271" y="66"/>
                      <a:pt x="271" y="66"/>
                      <a:pt x="271" y="66"/>
                    </a:cubicBezTo>
                    <a:cubicBezTo>
                      <a:pt x="271" y="66"/>
                      <a:pt x="277" y="45"/>
                      <a:pt x="247" y="41"/>
                    </a:cubicBezTo>
                    <a:cubicBezTo>
                      <a:pt x="217" y="37"/>
                      <a:pt x="206" y="59"/>
                      <a:pt x="206" y="59"/>
                    </a:cubicBezTo>
                    <a:cubicBezTo>
                      <a:pt x="206" y="59"/>
                      <a:pt x="196" y="55"/>
                      <a:pt x="186" y="54"/>
                    </a:cubicBezTo>
                    <a:cubicBezTo>
                      <a:pt x="176" y="53"/>
                      <a:pt x="166" y="22"/>
                      <a:pt x="166" y="22"/>
                    </a:cubicBezTo>
                    <a:cubicBezTo>
                      <a:pt x="153" y="26"/>
                      <a:pt x="153" y="26"/>
                      <a:pt x="153" y="26"/>
                    </a:cubicBezTo>
                    <a:cubicBezTo>
                      <a:pt x="150" y="12"/>
                      <a:pt x="150" y="12"/>
                      <a:pt x="150" y="12"/>
                    </a:cubicBezTo>
                    <a:cubicBezTo>
                      <a:pt x="135" y="12"/>
                      <a:pt x="131" y="26"/>
                      <a:pt x="131" y="26"/>
                    </a:cubicBezTo>
                    <a:cubicBezTo>
                      <a:pt x="116" y="24"/>
                      <a:pt x="116" y="24"/>
                      <a:pt x="116" y="24"/>
                    </a:cubicBezTo>
                    <a:cubicBezTo>
                      <a:pt x="116" y="0"/>
                      <a:pt x="116" y="0"/>
                      <a:pt x="116" y="0"/>
                    </a:cubicBezTo>
                    <a:cubicBezTo>
                      <a:pt x="108" y="13"/>
                      <a:pt x="108" y="13"/>
                      <a:pt x="108" y="13"/>
                    </a:cubicBezTo>
                    <a:cubicBezTo>
                      <a:pt x="99" y="1"/>
                      <a:pt x="99" y="1"/>
                      <a:pt x="99" y="1"/>
                    </a:cubicBezTo>
                    <a:cubicBezTo>
                      <a:pt x="95" y="19"/>
                      <a:pt x="95" y="19"/>
                      <a:pt x="95" y="19"/>
                    </a:cubicBezTo>
                    <a:cubicBezTo>
                      <a:pt x="85" y="19"/>
                      <a:pt x="85" y="19"/>
                      <a:pt x="85" y="19"/>
                    </a:cubicBezTo>
                    <a:cubicBezTo>
                      <a:pt x="81" y="31"/>
                      <a:pt x="81" y="31"/>
                      <a:pt x="81" y="31"/>
                    </a:cubicBezTo>
                    <a:cubicBezTo>
                      <a:pt x="81" y="31"/>
                      <a:pt x="71" y="17"/>
                      <a:pt x="55" y="15"/>
                    </a:cubicBezTo>
                    <a:cubicBezTo>
                      <a:pt x="39" y="13"/>
                      <a:pt x="42" y="30"/>
                      <a:pt x="42" y="30"/>
                    </a:cubicBezTo>
                    <a:cubicBezTo>
                      <a:pt x="36" y="27"/>
                      <a:pt x="36" y="27"/>
                      <a:pt x="36" y="27"/>
                    </a:cubicBezTo>
                    <a:cubicBezTo>
                      <a:pt x="23" y="41"/>
                      <a:pt x="23" y="41"/>
                      <a:pt x="23" y="41"/>
                    </a:cubicBezTo>
                    <a:cubicBezTo>
                      <a:pt x="28" y="68"/>
                      <a:pt x="28" y="68"/>
                      <a:pt x="28" y="68"/>
                    </a:cubicBezTo>
                    <a:cubicBezTo>
                      <a:pt x="40" y="69"/>
                      <a:pt x="40" y="69"/>
                      <a:pt x="40" y="69"/>
                    </a:cubicBezTo>
                    <a:cubicBezTo>
                      <a:pt x="33" y="82"/>
                      <a:pt x="33" y="82"/>
                      <a:pt x="33" y="82"/>
                    </a:cubicBezTo>
                    <a:cubicBezTo>
                      <a:pt x="43" y="86"/>
                      <a:pt x="43" y="86"/>
                      <a:pt x="43" y="86"/>
                    </a:cubicBezTo>
                    <a:cubicBezTo>
                      <a:pt x="43" y="86"/>
                      <a:pt x="33" y="95"/>
                      <a:pt x="34" y="103"/>
                    </a:cubicBezTo>
                    <a:cubicBezTo>
                      <a:pt x="35" y="111"/>
                      <a:pt x="50" y="106"/>
                      <a:pt x="50" y="113"/>
                    </a:cubicBezTo>
                    <a:cubicBezTo>
                      <a:pt x="50" y="120"/>
                      <a:pt x="49" y="126"/>
                      <a:pt x="49" y="126"/>
                    </a:cubicBezTo>
                    <a:cubicBezTo>
                      <a:pt x="49" y="126"/>
                      <a:pt x="19" y="112"/>
                      <a:pt x="19" y="122"/>
                    </a:cubicBezTo>
                    <a:cubicBezTo>
                      <a:pt x="19" y="132"/>
                      <a:pt x="37" y="145"/>
                      <a:pt x="37" y="145"/>
                    </a:cubicBezTo>
                    <a:cubicBezTo>
                      <a:pt x="25" y="148"/>
                      <a:pt x="25" y="148"/>
                      <a:pt x="25" y="148"/>
                    </a:cubicBezTo>
                    <a:cubicBezTo>
                      <a:pt x="25" y="148"/>
                      <a:pt x="32" y="166"/>
                      <a:pt x="25" y="169"/>
                    </a:cubicBezTo>
                    <a:cubicBezTo>
                      <a:pt x="19" y="171"/>
                      <a:pt x="9" y="164"/>
                      <a:pt x="2" y="162"/>
                    </a:cubicBezTo>
                    <a:cubicBezTo>
                      <a:pt x="7" y="172"/>
                      <a:pt x="15" y="186"/>
                      <a:pt x="15" y="196"/>
                    </a:cubicBezTo>
                    <a:cubicBezTo>
                      <a:pt x="15" y="211"/>
                      <a:pt x="0" y="225"/>
                      <a:pt x="1" y="228"/>
                    </a:cubicBezTo>
                    <a:cubicBezTo>
                      <a:pt x="2" y="231"/>
                      <a:pt x="14" y="230"/>
                      <a:pt x="14" y="230"/>
                    </a:cubicBezTo>
                    <a:cubicBezTo>
                      <a:pt x="14" y="240"/>
                      <a:pt x="14" y="240"/>
                      <a:pt x="14" y="240"/>
                    </a:cubicBezTo>
                    <a:cubicBezTo>
                      <a:pt x="38" y="236"/>
                      <a:pt x="38" y="236"/>
                      <a:pt x="38" y="236"/>
                    </a:cubicBezTo>
                    <a:cubicBezTo>
                      <a:pt x="39" y="253"/>
                      <a:pt x="39" y="253"/>
                      <a:pt x="39" y="253"/>
                    </a:cubicBezTo>
                    <a:cubicBezTo>
                      <a:pt x="39" y="253"/>
                      <a:pt x="60" y="269"/>
                      <a:pt x="60" y="282"/>
                    </a:cubicBezTo>
                    <a:cubicBezTo>
                      <a:pt x="60" y="295"/>
                      <a:pt x="50" y="316"/>
                      <a:pt x="50" y="316"/>
                    </a:cubicBezTo>
                    <a:cubicBezTo>
                      <a:pt x="51" y="343"/>
                      <a:pt x="51" y="343"/>
                      <a:pt x="51" y="343"/>
                    </a:cubicBezTo>
                    <a:cubicBezTo>
                      <a:pt x="63" y="341"/>
                      <a:pt x="66" y="331"/>
                      <a:pt x="66" y="331"/>
                    </a:cubicBezTo>
                    <a:cubicBezTo>
                      <a:pt x="75" y="331"/>
                      <a:pt x="75" y="331"/>
                      <a:pt x="75" y="331"/>
                    </a:cubicBezTo>
                    <a:cubicBezTo>
                      <a:pt x="85" y="323"/>
                      <a:pt x="85" y="323"/>
                      <a:pt x="85" y="323"/>
                    </a:cubicBezTo>
                    <a:cubicBezTo>
                      <a:pt x="85" y="323"/>
                      <a:pt x="131" y="298"/>
                      <a:pt x="151" y="300"/>
                    </a:cubicBezTo>
                    <a:cubicBezTo>
                      <a:pt x="171" y="302"/>
                      <a:pt x="178" y="296"/>
                      <a:pt x="178" y="296"/>
                    </a:cubicBezTo>
                    <a:cubicBezTo>
                      <a:pt x="178" y="296"/>
                      <a:pt x="209" y="285"/>
                      <a:pt x="218" y="290"/>
                    </a:cubicBezTo>
                    <a:cubicBezTo>
                      <a:pt x="227" y="295"/>
                      <a:pt x="229" y="300"/>
                      <a:pt x="236" y="299"/>
                    </a:cubicBezTo>
                    <a:cubicBezTo>
                      <a:pt x="243" y="298"/>
                      <a:pt x="256" y="289"/>
                      <a:pt x="256" y="289"/>
                    </a:cubicBezTo>
                    <a:cubicBezTo>
                      <a:pt x="256" y="289"/>
                      <a:pt x="257" y="299"/>
                      <a:pt x="273" y="306"/>
                    </a:cubicBezTo>
                    <a:cubicBezTo>
                      <a:pt x="277" y="308"/>
                      <a:pt x="281" y="309"/>
                      <a:pt x="285" y="310"/>
                    </a:cubicBezTo>
                    <a:cubicBezTo>
                      <a:pt x="284" y="275"/>
                      <a:pt x="284" y="275"/>
                      <a:pt x="284" y="275"/>
                    </a:cubicBezTo>
                    <a:lnTo>
                      <a:pt x="266" y="269"/>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54" name="Comoros">
                <a:extLst>
                  <a:ext uri="{FF2B5EF4-FFF2-40B4-BE49-F238E27FC236}">
                    <a16:creationId xmlns:a16="http://schemas.microsoft.com/office/drawing/2014/main" id="{B921F5D5-5F2C-4B80-8501-E4BB2A239CB0}"/>
                  </a:ext>
                </a:extLst>
              </p:cNvPr>
              <p:cNvSpPr>
                <a:spLocks noEditPoints="1"/>
              </p:cNvSpPr>
              <p:nvPr/>
            </p:nvSpPr>
            <p:spPr bwMode="gray">
              <a:xfrm>
                <a:off x="8123244" y="4857160"/>
                <a:ext cx="81673" cy="77159"/>
              </a:xfrm>
              <a:custGeom>
                <a:avLst/>
                <a:gdLst/>
                <a:ahLst/>
                <a:cxnLst>
                  <a:cxn ang="0">
                    <a:pos x="5" y="9"/>
                  </a:cxn>
                  <a:cxn ang="0">
                    <a:pos x="5" y="4"/>
                  </a:cxn>
                  <a:cxn ang="0">
                    <a:pos x="5" y="0"/>
                  </a:cxn>
                  <a:cxn ang="0">
                    <a:pos x="0" y="4"/>
                  </a:cxn>
                  <a:cxn ang="0">
                    <a:pos x="0" y="9"/>
                  </a:cxn>
                  <a:cxn ang="0">
                    <a:pos x="5" y="9"/>
                  </a:cxn>
                  <a:cxn ang="0">
                    <a:pos x="18" y="13"/>
                  </a:cxn>
                  <a:cxn ang="0">
                    <a:pos x="18" y="17"/>
                  </a:cxn>
                  <a:cxn ang="0">
                    <a:pos x="18" y="13"/>
                  </a:cxn>
                  <a:cxn ang="0">
                    <a:pos x="18" y="13"/>
                  </a:cxn>
                </a:cxnLst>
                <a:rect l="0" t="0" r="r" b="b"/>
                <a:pathLst>
                  <a:path w="18" h="17">
                    <a:moveTo>
                      <a:pt x="5" y="9"/>
                    </a:moveTo>
                    <a:lnTo>
                      <a:pt x="5" y="4"/>
                    </a:lnTo>
                    <a:lnTo>
                      <a:pt x="5" y="0"/>
                    </a:lnTo>
                    <a:lnTo>
                      <a:pt x="0" y="4"/>
                    </a:lnTo>
                    <a:lnTo>
                      <a:pt x="0" y="9"/>
                    </a:lnTo>
                    <a:lnTo>
                      <a:pt x="5" y="9"/>
                    </a:lnTo>
                    <a:close/>
                    <a:moveTo>
                      <a:pt x="18" y="13"/>
                    </a:moveTo>
                    <a:lnTo>
                      <a:pt x="18" y="17"/>
                    </a:lnTo>
                    <a:lnTo>
                      <a:pt x="18" y="13"/>
                    </a:lnTo>
                    <a:lnTo>
                      <a:pt x="18" y="13"/>
                    </a:lnTo>
                    <a:close/>
                  </a:path>
                </a:pathLst>
              </a:custGeom>
              <a:solidFill>
                <a:srgbClr val="DEDEDE"/>
              </a:solidFill>
              <a:ln w="9525" cmpd="sng">
                <a:solidFill>
                  <a:schemeClr val="bg1"/>
                </a:solidFill>
                <a:round/>
                <a:headEnd/>
                <a:tailEnd/>
              </a:ln>
            </p:spPr>
            <p:txBody>
              <a:bodyPr/>
              <a:lstStyle/>
              <a:p>
                <a:endParaRPr lang="en-US" sz="1662" dirty="0"/>
              </a:p>
            </p:txBody>
          </p:sp>
          <p:sp>
            <p:nvSpPr>
              <p:cNvPr id="255" name="Chad">
                <a:extLst>
                  <a:ext uri="{FF2B5EF4-FFF2-40B4-BE49-F238E27FC236}">
                    <a16:creationId xmlns:a16="http://schemas.microsoft.com/office/drawing/2014/main" id="{3CCADAE6-FC88-48FC-9591-D78663C619F5}"/>
                  </a:ext>
                </a:extLst>
              </p:cNvPr>
              <p:cNvSpPr>
                <a:spLocks/>
              </p:cNvSpPr>
              <p:nvPr/>
            </p:nvSpPr>
            <p:spPr bwMode="gray">
              <a:xfrm>
                <a:off x="5813173" y="2380160"/>
                <a:ext cx="818542" cy="1150611"/>
              </a:xfrm>
              <a:custGeom>
                <a:avLst/>
                <a:gdLst>
                  <a:gd name="T0" fmla="*/ 496 w 496"/>
                  <a:gd name="T1" fmla="*/ 420 h 866"/>
                  <a:gd name="T2" fmla="*/ 119 w 496"/>
                  <a:gd name="T3" fmla="*/ 0 h 866"/>
                  <a:gd name="T4" fmla="*/ 83 w 496"/>
                  <a:gd name="T5" fmla="*/ 72 h 866"/>
                  <a:gd name="T6" fmla="*/ 95 w 496"/>
                  <a:gd name="T7" fmla="*/ 129 h 866"/>
                  <a:gd name="T8" fmla="*/ 120 w 496"/>
                  <a:gd name="T9" fmla="*/ 169 h 866"/>
                  <a:gd name="T10" fmla="*/ 96 w 496"/>
                  <a:gd name="T11" fmla="*/ 356 h 866"/>
                  <a:gd name="T12" fmla="*/ 13 w 496"/>
                  <a:gd name="T13" fmla="*/ 479 h 866"/>
                  <a:gd name="T14" fmla="*/ 3 w 496"/>
                  <a:gd name="T15" fmla="*/ 526 h 866"/>
                  <a:gd name="T16" fmla="*/ 29 w 496"/>
                  <a:gd name="T17" fmla="*/ 558 h 866"/>
                  <a:gd name="T18" fmla="*/ 29 w 496"/>
                  <a:gd name="T19" fmla="*/ 561 h 866"/>
                  <a:gd name="T20" fmla="*/ 50 w 496"/>
                  <a:gd name="T21" fmla="*/ 576 h 866"/>
                  <a:gd name="T22" fmla="*/ 66 w 496"/>
                  <a:gd name="T23" fmla="*/ 611 h 866"/>
                  <a:gd name="T24" fmla="*/ 74 w 496"/>
                  <a:gd name="T25" fmla="*/ 650 h 866"/>
                  <a:gd name="T26" fmla="*/ 106 w 496"/>
                  <a:gd name="T27" fmla="*/ 724 h 866"/>
                  <a:gd name="T28" fmla="*/ 31 w 496"/>
                  <a:gd name="T29" fmla="*/ 733 h 866"/>
                  <a:gd name="T30" fmla="*/ 87 w 496"/>
                  <a:gd name="T31" fmla="*/ 802 h 866"/>
                  <a:gd name="T32" fmla="*/ 123 w 496"/>
                  <a:gd name="T33" fmla="*/ 860 h 866"/>
                  <a:gd name="T34" fmla="*/ 165 w 496"/>
                  <a:gd name="T35" fmla="*/ 858 h 866"/>
                  <a:gd name="T36" fmla="*/ 248 w 496"/>
                  <a:gd name="T37" fmla="*/ 833 h 866"/>
                  <a:gd name="T38" fmla="*/ 253 w 496"/>
                  <a:gd name="T39" fmla="*/ 788 h 866"/>
                  <a:gd name="T40" fmla="*/ 338 w 496"/>
                  <a:gd name="T41" fmla="*/ 765 h 866"/>
                  <a:gd name="T42" fmla="*/ 378 w 496"/>
                  <a:gd name="T43" fmla="*/ 723 h 866"/>
                  <a:gd name="T44" fmla="*/ 393 w 496"/>
                  <a:gd name="T45" fmla="*/ 691 h 866"/>
                  <a:gd name="T46" fmla="*/ 446 w 496"/>
                  <a:gd name="T47" fmla="*/ 674 h 866"/>
                  <a:gd name="T48" fmla="*/ 451 w 496"/>
                  <a:gd name="T49" fmla="*/ 656 h 866"/>
                  <a:gd name="T50" fmla="*/ 426 w 496"/>
                  <a:gd name="T51" fmla="*/ 625 h 866"/>
                  <a:gd name="T52" fmla="*/ 428 w 496"/>
                  <a:gd name="T53" fmla="*/ 612 h 866"/>
                  <a:gd name="T54" fmla="*/ 406 w 496"/>
                  <a:gd name="T55" fmla="*/ 587 h 866"/>
                  <a:gd name="T56" fmla="*/ 417 w 496"/>
                  <a:gd name="T57" fmla="*/ 549 h 866"/>
                  <a:gd name="T58" fmla="*/ 419 w 496"/>
                  <a:gd name="T59" fmla="*/ 508 h 866"/>
                  <a:gd name="T60" fmla="*/ 425 w 496"/>
                  <a:gd name="T61" fmla="*/ 490 h 866"/>
                  <a:gd name="T62" fmla="*/ 432 w 496"/>
                  <a:gd name="T63" fmla="*/ 474 h 866"/>
                  <a:gd name="T64" fmla="*/ 449 w 496"/>
                  <a:gd name="T65" fmla="*/ 44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6" h="866">
                    <a:moveTo>
                      <a:pt x="451" y="419"/>
                    </a:moveTo>
                    <a:cubicBezTo>
                      <a:pt x="464" y="415"/>
                      <a:pt x="496" y="420"/>
                      <a:pt x="496" y="420"/>
                    </a:cubicBezTo>
                    <a:cubicBezTo>
                      <a:pt x="492" y="216"/>
                      <a:pt x="492" y="216"/>
                      <a:pt x="492" y="216"/>
                    </a:cubicBezTo>
                    <a:cubicBezTo>
                      <a:pt x="119" y="0"/>
                      <a:pt x="119" y="0"/>
                      <a:pt x="119" y="0"/>
                    </a:cubicBezTo>
                    <a:cubicBezTo>
                      <a:pt x="119" y="0"/>
                      <a:pt x="94" y="15"/>
                      <a:pt x="71" y="28"/>
                    </a:cubicBezTo>
                    <a:cubicBezTo>
                      <a:pt x="83" y="72"/>
                      <a:pt x="83" y="72"/>
                      <a:pt x="83" y="72"/>
                    </a:cubicBezTo>
                    <a:cubicBezTo>
                      <a:pt x="76" y="105"/>
                      <a:pt x="76" y="105"/>
                      <a:pt x="76" y="105"/>
                    </a:cubicBezTo>
                    <a:cubicBezTo>
                      <a:pt x="95" y="129"/>
                      <a:pt x="95" y="129"/>
                      <a:pt x="95" y="129"/>
                    </a:cubicBezTo>
                    <a:cubicBezTo>
                      <a:pt x="100" y="145"/>
                      <a:pt x="100" y="145"/>
                      <a:pt x="100" y="145"/>
                    </a:cubicBezTo>
                    <a:cubicBezTo>
                      <a:pt x="120" y="169"/>
                      <a:pt x="120" y="169"/>
                      <a:pt x="120" y="169"/>
                    </a:cubicBezTo>
                    <a:cubicBezTo>
                      <a:pt x="106" y="194"/>
                      <a:pt x="106" y="194"/>
                      <a:pt x="106" y="194"/>
                    </a:cubicBezTo>
                    <a:cubicBezTo>
                      <a:pt x="96" y="356"/>
                      <a:pt x="96" y="356"/>
                      <a:pt x="96" y="356"/>
                    </a:cubicBezTo>
                    <a:cubicBezTo>
                      <a:pt x="96" y="356"/>
                      <a:pt x="46" y="409"/>
                      <a:pt x="35" y="426"/>
                    </a:cubicBezTo>
                    <a:cubicBezTo>
                      <a:pt x="23" y="442"/>
                      <a:pt x="13" y="479"/>
                      <a:pt x="13" y="479"/>
                    </a:cubicBezTo>
                    <a:cubicBezTo>
                      <a:pt x="0" y="484"/>
                      <a:pt x="0" y="484"/>
                      <a:pt x="0" y="484"/>
                    </a:cubicBezTo>
                    <a:cubicBezTo>
                      <a:pt x="3" y="526"/>
                      <a:pt x="3" y="526"/>
                      <a:pt x="3" y="526"/>
                    </a:cubicBezTo>
                    <a:cubicBezTo>
                      <a:pt x="7" y="526"/>
                      <a:pt x="10" y="526"/>
                      <a:pt x="10" y="526"/>
                    </a:cubicBezTo>
                    <a:cubicBezTo>
                      <a:pt x="29" y="558"/>
                      <a:pt x="29" y="558"/>
                      <a:pt x="29" y="558"/>
                    </a:cubicBezTo>
                    <a:cubicBezTo>
                      <a:pt x="29" y="558"/>
                      <a:pt x="29" y="560"/>
                      <a:pt x="29" y="563"/>
                    </a:cubicBezTo>
                    <a:cubicBezTo>
                      <a:pt x="29" y="562"/>
                      <a:pt x="29" y="561"/>
                      <a:pt x="29" y="561"/>
                    </a:cubicBezTo>
                    <a:cubicBezTo>
                      <a:pt x="45" y="559"/>
                      <a:pt x="45" y="559"/>
                      <a:pt x="45" y="559"/>
                    </a:cubicBezTo>
                    <a:cubicBezTo>
                      <a:pt x="45" y="559"/>
                      <a:pt x="46" y="571"/>
                      <a:pt x="50" y="576"/>
                    </a:cubicBezTo>
                    <a:cubicBezTo>
                      <a:pt x="54" y="581"/>
                      <a:pt x="70" y="584"/>
                      <a:pt x="70" y="584"/>
                    </a:cubicBezTo>
                    <a:cubicBezTo>
                      <a:pt x="66" y="611"/>
                      <a:pt x="66" y="611"/>
                      <a:pt x="66" y="611"/>
                    </a:cubicBezTo>
                    <a:cubicBezTo>
                      <a:pt x="66" y="611"/>
                      <a:pt x="80" y="618"/>
                      <a:pt x="80" y="629"/>
                    </a:cubicBezTo>
                    <a:cubicBezTo>
                      <a:pt x="80" y="640"/>
                      <a:pt x="74" y="650"/>
                      <a:pt x="74" y="650"/>
                    </a:cubicBezTo>
                    <a:cubicBezTo>
                      <a:pt x="74" y="650"/>
                      <a:pt x="75" y="678"/>
                      <a:pt x="80" y="692"/>
                    </a:cubicBezTo>
                    <a:cubicBezTo>
                      <a:pt x="85" y="706"/>
                      <a:pt x="106" y="724"/>
                      <a:pt x="106" y="724"/>
                    </a:cubicBezTo>
                    <a:cubicBezTo>
                      <a:pt x="106" y="724"/>
                      <a:pt x="92" y="725"/>
                      <a:pt x="84" y="726"/>
                    </a:cubicBezTo>
                    <a:cubicBezTo>
                      <a:pt x="76" y="727"/>
                      <a:pt x="36" y="720"/>
                      <a:pt x="31" y="733"/>
                    </a:cubicBezTo>
                    <a:cubicBezTo>
                      <a:pt x="26" y="746"/>
                      <a:pt x="41" y="767"/>
                      <a:pt x="49" y="775"/>
                    </a:cubicBezTo>
                    <a:cubicBezTo>
                      <a:pt x="57" y="783"/>
                      <a:pt x="78" y="792"/>
                      <a:pt x="87" y="802"/>
                    </a:cubicBezTo>
                    <a:cubicBezTo>
                      <a:pt x="96" y="812"/>
                      <a:pt x="101" y="859"/>
                      <a:pt x="101" y="859"/>
                    </a:cubicBezTo>
                    <a:cubicBezTo>
                      <a:pt x="101" y="859"/>
                      <a:pt x="113" y="866"/>
                      <a:pt x="123" y="860"/>
                    </a:cubicBezTo>
                    <a:cubicBezTo>
                      <a:pt x="133" y="853"/>
                      <a:pt x="153" y="838"/>
                      <a:pt x="153" y="838"/>
                    </a:cubicBezTo>
                    <a:cubicBezTo>
                      <a:pt x="153" y="838"/>
                      <a:pt x="146" y="863"/>
                      <a:pt x="165" y="858"/>
                    </a:cubicBezTo>
                    <a:cubicBezTo>
                      <a:pt x="183" y="853"/>
                      <a:pt x="178" y="833"/>
                      <a:pt x="196" y="833"/>
                    </a:cubicBezTo>
                    <a:cubicBezTo>
                      <a:pt x="215" y="833"/>
                      <a:pt x="248" y="833"/>
                      <a:pt x="248" y="833"/>
                    </a:cubicBezTo>
                    <a:cubicBezTo>
                      <a:pt x="248" y="833"/>
                      <a:pt x="263" y="811"/>
                      <a:pt x="268" y="805"/>
                    </a:cubicBezTo>
                    <a:cubicBezTo>
                      <a:pt x="273" y="798"/>
                      <a:pt x="253" y="788"/>
                      <a:pt x="253" y="788"/>
                    </a:cubicBezTo>
                    <a:cubicBezTo>
                      <a:pt x="267" y="780"/>
                      <a:pt x="267" y="780"/>
                      <a:pt x="267" y="780"/>
                    </a:cubicBezTo>
                    <a:cubicBezTo>
                      <a:pt x="267" y="780"/>
                      <a:pt x="307" y="780"/>
                      <a:pt x="338" y="765"/>
                    </a:cubicBezTo>
                    <a:cubicBezTo>
                      <a:pt x="370" y="750"/>
                      <a:pt x="365" y="728"/>
                      <a:pt x="365" y="728"/>
                    </a:cubicBezTo>
                    <a:cubicBezTo>
                      <a:pt x="378" y="723"/>
                      <a:pt x="378" y="723"/>
                      <a:pt x="378" y="723"/>
                    </a:cubicBezTo>
                    <a:cubicBezTo>
                      <a:pt x="390" y="711"/>
                      <a:pt x="390" y="711"/>
                      <a:pt x="390" y="711"/>
                    </a:cubicBezTo>
                    <a:cubicBezTo>
                      <a:pt x="393" y="691"/>
                      <a:pt x="393" y="691"/>
                      <a:pt x="393" y="691"/>
                    </a:cubicBezTo>
                    <a:cubicBezTo>
                      <a:pt x="430" y="673"/>
                      <a:pt x="430" y="673"/>
                      <a:pt x="430" y="673"/>
                    </a:cubicBezTo>
                    <a:cubicBezTo>
                      <a:pt x="446" y="674"/>
                      <a:pt x="446" y="674"/>
                      <a:pt x="446" y="674"/>
                    </a:cubicBezTo>
                    <a:cubicBezTo>
                      <a:pt x="445" y="665"/>
                      <a:pt x="445" y="665"/>
                      <a:pt x="445" y="665"/>
                    </a:cubicBezTo>
                    <a:cubicBezTo>
                      <a:pt x="445" y="665"/>
                      <a:pt x="463" y="669"/>
                      <a:pt x="451" y="656"/>
                    </a:cubicBezTo>
                    <a:cubicBezTo>
                      <a:pt x="439" y="643"/>
                      <a:pt x="430" y="642"/>
                      <a:pt x="430" y="642"/>
                    </a:cubicBezTo>
                    <a:cubicBezTo>
                      <a:pt x="426" y="625"/>
                      <a:pt x="426" y="625"/>
                      <a:pt x="426" y="625"/>
                    </a:cubicBezTo>
                    <a:cubicBezTo>
                      <a:pt x="437" y="620"/>
                      <a:pt x="437" y="620"/>
                      <a:pt x="437" y="620"/>
                    </a:cubicBezTo>
                    <a:cubicBezTo>
                      <a:pt x="428" y="612"/>
                      <a:pt x="428" y="612"/>
                      <a:pt x="428" y="612"/>
                    </a:cubicBezTo>
                    <a:cubicBezTo>
                      <a:pt x="428" y="612"/>
                      <a:pt x="430" y="585"/>
                      <a:pt x="423" y="582"/>
                    </a:cubicBezTo>
                    <a:cubicBezTo>
                      <a:pt x="416" y="579"/>
                      <a:pt x="411" y="589"/>
                      <a:pt x="406" y="587"/>
                    </a:cubicBezTo>
                    <a:cubicBezTo>
                      <a:pt x="401" y="585"/>
                      <a:pt x="395" y="580"/>
                      <a:pt x="398" y="569"/>
                    </a:cubicBezTo>
                    <a:cubicBezTo>
                      <a:pt x="401" y="558"/>
                      <a:pt x="415" y="558"/>
                      <a:pt x="417" y="549"/>
                    </a:cubicBezTo>
                    <a:cubicBezTo>
                      <a:pt x="419" y="540"/>
                      <a:pt x="416" y="536"/>
                      <a:pt x="410" y="526"/>
                    </a:cubicBezTo>
                    <a:cubicBezTo>
                      <a:pt x="404" y="516"/>
                      <a:pt x="419" y="508"/>
                      <a:pt x="419" y="508"/>
                    </a:cubicBezTo>
                    <a:cubicBezTo>
                      <a:pt x="430" y="501"/>
                      <a:pt x="430" y="501"/>
                      <a:pt x="430" y="501"/>
                    </a:cubicBezTo>
                    <a:cubicBezTo>
                      <a:pt x="425" y="490"/>
                      <a:pt x="425" y="490"/>
                      <a:pt x="425" y="490"/>
                    </a:cubicBezTo>
                    <a:cubicBezTo>
                      <a:pt x="422" y="474"/>
                      <a:pt x="422" y="474"/>
                      <a:pt x="422" y="474"/>
                    </a:cubicBezTo>
                    <a:cubicBezTo>
                      <a:pt x="432" y="474"/>
                      <a:pt x="432" y="474"/>
                      <a:pt x="432" y="474"/>
                    </a:cubicBezTo>
                    <a:cubicBezTo>
                      <a:pt x="432" y="474"/>
                      <a:pt x="430" y="462"/>
                      <a:pt x="436" y="456"/>
                    </a:cubicBezTo>
                    <a:cubicBezTo>
                      <a:pt x="442" y="450"/>
                      <a:pt x="451" y="450"/>
                      <a:pt x="449" y="442"/>
                    </a:cubicBezTo>
                    <a:cubicBezTo>
                      <a:pt x="447" y="434"/>
                      <a:pt x="438" y="423"/>
                      <a:pt x="451" y="419"/>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56" name="Central African Republic">
                <a:extLst>
                  <a:ext uri="{FF2B5EF4-FFF2-40B4-BE49-F238E27FC236}">
                    <a16:creationId xmlns:a16="http://schemas.microsoft.com/office/drawing/2014/main" id="{226F1F06-44AD-4F26-B69E-48C6CA44F182}"/>
                  </a:ext>
                </a:extLst>
              </p:cNvPr>
              <p:cNvSpPr>
                <a:spLocks/>
              </p:cNvSpPr>
              <p:nvPr/>
            </p:nvSpPr>
            <p:spPr bwMode="gray">
              <a:xfrm>
                <a:off x="5883729" y="3271321"/>
                <a:ext cx="1020825" cy="620431"/>
              </a:xfrm>
              <a:custGeom>
                <a:avLst/>
                <a:gdLst>
                  <a:gd name="T0" fmla="*/ 589 w 614"/>
                  <a:gd name="T1" fmla="*/ 267 h 467"/>
                  <a:gd name="T2" fmla="*/ 575 w 614"/>
                  <a:gd name="T3" fmla="*/ 253 h 467"/>
                  <a:gd name="T4" fmla="*/ 573 w 614"/>
                  <a:gd name="T5" fmla="*/ 236 h 467"/>
                  <a:gd name="T6" fmla="*/ 542 w 614"/>
                  <a:gd name="T7" fmla="*/ 203 h 467"/>
                  <a:gd name="T8" fmla="*/ 521 w 614"/>
                  <a:gd name="T9" fmla="*/ 175 h 467"/>
                  <a:gd name="T10" fmla="*/ 502 w 614"/>
                  <a:gd name="T11" fmla="*/ 152 h 467"/>
                  <a:gd name="T12" fmla="*/ 467 w 614"/>
                  <a:gd name="T13" fmla="*/ 130 h 467"/>
                  <a:gd name="T14" fmla="*/ 433 w 614"/>
                  <a:gd name="T15" fmla="*/ 120 h 467"/>
                  <a:gd name="T16" fmla="*/ 431 w 614"/>
                  <a:gd name="T17" fmla="*/ 102 h 467"/>
                  <a:gd name="T18" fmla="*/ 402 w 614"/>
                  <a:gd name="T19" fmla="*/ 8 h 467"/>
                  <a:gd name="T20" fmla="*/ 385 w 614"/>
                  <a:gd name="T21" fmla="*/ 0 h 467"/>
                  <a:gd name="T22" fmla="*/ 345 w 614"/>
                  <a:gd name="T23" fmla="*/ 38 h 467"/>
                  <a:gd name="T24" fmla="*/ 320 w 614"/>
                  <a:gd name="T25" fmla="*/ 55 h 467"/>
                  <a:gd name="T26" fmla="*/ 222 w 614"/>
                  <a:gd name="T27" fmla="*/ 107 h 467"/>
                  <a:gd name="T28" fmla="*/ 223 w 614"/>
                  <a:gd name="T29" fmla="*/ 132 h 467"/>
                  <a:gd name="T30" fmla="*/ 151 w 614"/>
                  <a:gd name="T31" fmla="*/ 160 h 467"/>
                  <a:gd name="T32" fmla="*/ 108 w 614"/>
                  <a:gd name="T33" fmla="*/ 165 h 467"/>
                  <a:gd name="T34" fmla="*/ 56 w 614"/>
                  <a:gd name="T35" fmla="*/ 186 h 467"/>
                  <a:gd name="T36" fmla="*/ 35 w 614"/>
                  <a:gd name="T37" fmla="*/ 224 h 467"/>
                  <a:gd name="T38" fmla="*/ 24 w 614"/>
                  <a:gd name="T39" fmla="*/ 249 h 467"/>
                  <a:gd name="T40" fmla="*/ 15 w 614"/>
                  <a:gd name="T41" fmla="*/ 273 h 467"/>
                  <a:gd name="T42" fmla="*/ 7 w 614"/>
                  <a:gd name="T43" fmla="*/ 306 h 467"/>
                  <a:gd name="T44" fmla="*/ 19 w 614"/>
                  <a:gd name="T45" fmla="*/ 344 h 467"/>
                  <a:gd name="T46" fmla="*/ 36 w 614"/>
                  <a:gd name="T47" fmla="*/ 381 h 467"/>
                  <a:gd name="T48" fmla="*/ 79 w 614"/>
                  <a:gd name="T49" fmla="*/ 428 h 467"/>
                  <a:gd name="T50" fmla="*/ 83 w 614"/>
                  <a:gd name="T51" fmla="*/ 461 h 467"/>
                  <a:gd name="T52" fmla="*/ 106 w 614"/>
                  <a:gd name="T53" fmla="*/ 441 h 467"/>
                  <a:gd name="T54" fmla="*/ 108 w 614"/>
                  <a:gd name="T55" fmla="*/ 400 h 467"/>
                  <a:gd name="T56" fmla="*/ 147 w 614"/>
                  <a:gd name="T57" fmla="*/ 390 h 467"/>
                  <a:gd name="T58" fmla="*/ 193 w 614"/>
                  <a:gd name="T59" fmla="*/ 394 h 467"/>
                  <a:gd name="T60" fmla="*/ 203 w 614"/>
                  <a:gd name="T61" fmla="*/ 370 h 467"/>
                  <a:gd name="T62" fmla="*/ 218 w 614"/>
                  <a:gd name="T63" fmla="*/ 344 h 467"/>
                  <a:gd name="T64" fmla="*/ 273 w 614"/>
                  <a:gd name="T65" fmla="*/ 330 h 467"/>
                  <a:gd name="T66" fmla="*/ 295 w 614"/>
                  <a:gd name="T67" fmla="*/ 351 h 467"/>
                  <a:gd name="T68" fmla="*/ 335 w 614"/>
                  <a:gd name="T69" fmla="*/ 362 h 467"/>
                  <a:gd name="T70" fmla="*/ 385 w 614"/>
                  <a:gd name="T71" fmla="*/ 368 h 467"/>
                  <a:gd name="T72" fmla="*/ 410 w 614"/>
                  <a:gd name="T73" fmla="*/ 328 h 467"/>
                  <a:gd name="T74" fmla="*/ 449 w 614"/>
                  <a:gd name="T75" fmla="*/ 330 h 467"/>
                  <a:gd name="T76" fmla="*/ 477 w 614"/>
                  <a:gd name="T77" fmla="*/ 316 h 467"/>
                  <a:gd name="T78" fmla="*/ 512 w 614"/>
                  <a:gd name="T79" fmla="*/ 321 h 467"/>
                  <a:gd name="T80" fmla="*/ 539 w 614"/>
                  <a:gd name="T81" fmla="*/ 311 h 467"/>
                  <a:gd name="T82" fmla="*/ 586 w 614"/>
                  <a:gd name="T83" fmla="*/ 319 h 467"/>
                  <a:gd name="T84" fmla="*/ 606 w 614"/>
                  <a:gd name="T85" fmla="*/ 28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4" h="467">
                    <a:moveTo>
                      <a:pt x="606" y="281"/>
                    </a:moveTo>
                    <a:cubicBezTo>
                      <a:pt x="598" y="273"/>
                      <a:pt x="589" y="267"/>
                      <a:pt x="589" y="267"/>
                    </a:cubicBezTo>
                    <a:cubicBezTo>
                      <a:pt x="574" y="266"/>
                      <a:pt x="574" y="266"/>
                      <a:pt x="574" y="266"/>
                    </a:cubicBezTo>
                    <a:cubicBezTo>
                      <a:pt x="575" y="253"/>
                      <a:pt x="575" y="253"/>
                      <a:pt x="575" y="253"/>
                    </a:cubicBezTo>
                    <a:cubicBezTo>
                      <a:pt x="575" y="253"/>
                      <a:pt x="568" y="250"/>
                      <a:pt x="567" y="244"/>
                    </a:cubicBezTo>
                    <a:cubicBezTo>
                      <a:pt x="566" y="238"/>
                      <a:pt x="573" y="244"/>
                      <a:pt x="573" y="236"/>
                    </a:cubicBezTo>
                    <a:cubicBezTo>
                      <a:pt x="573" y="228"/>
                      <a:pt x="558" y="227"/>
                      <a:pt x="558" y="227"/>
                    </a:cubicBezTo>
                    <a:cubicBezTo>
                      <a:pt x="558" y="227"/>
                      <a:pt x="549" y="204"/>
                      <a:pt x="542" y="203"/>
                    </a:cubicBezTo>
                    <a:cubicBezTo>
                      <a:pt x="535" y="202"/>
                      <a:pt x="521" y="200"/>
                      <a:pt x="515" y="190"/>
                    </a:cubicBezTo>
                    <a:cubicBezTo>
                      <a:pt x="509" y="180"/>
                      <a:pt x="524" y="186"/>
                      <a:pt x="521" y="175"/>
                    </a:cubicBezTo>
                    <a:cubicBezTo>
                      <a:pt x="518" y="164"/>
                      <a:pt x="502" y="165"/>
                      <a:pt x="502" y="165"/>
                    </a:cubicBezTo>
                    <a:cubicBezTo>
                      <a:pt x="502" y="152"/>
                      <a:pt x="502" y="152"/>
                      <a:pt x="502" y="152"/>
                    </a:cubicBezTo>
                    <a:cubicBezTo>
                      <a:pt x="502" y="152"/>
                      <a:pt x="472" y="154"/>
                      <a:pt x="466" y="146"/>
                    </a:cubicBezTo>
                    <a:cubicBezTo>
                      <a:pt x="460" y="138"/>
                      <a:pt x="467" y="130"/>
                      <a:pt x="467" y="130"/>
                    </a:cubicBezTo>
                    <a:cubicBezTo>
                      <a:pt x="467" y="123"/>
                      <a:pt x="467" y="123"/>
                      <a:pt x="467" y="123"/>
                    </a:cubicBezTo>
                    <a:cubicBezTo>
                      <a:pt x="433" y="120"/>
                      <a:pt x="433" y="120"/>
                      <a:pt x="433" y="120"/>
                    </a:cubicBezTo>
                    <a:cubicBezTo>
                      <a:pt x="439" y="109"/>
                      <a:pt x="439" y="109"/>
                      <a:pt x="439" y="109"/>
                    </a:cubicBezTo>
                    <a:cubicBezTo>
                      <a:pt x="439" y="109"/>
                      <a:pt x="430" y="112"/>
                      <a:pt x="431" y="102"/>
                    </a:cubicBezTo>
                    <a:cubicBezTo>
                      <a:pt x="432" y="92"/>
                      <a:pt x="447" y="85"/>
                      <a:pt x="443" y="63"/>
                    </a:cubicBezTo>
                    <a:cubicBezTo>
                      <a:pt x="439" y="41"/>
                      <a:pt x="402" y="8"/>
                      <a:pt x="402" y="8"/>
                    </a:cubicBezTo>
                    <a:cubicBezTo>
                      <a:pt x="401" y="1"/>
                      <a:pt x="401" y="1"/>
                      <a:pt x="401" y="1"/>
                    </a:cubicBezTo>
                    <a:cubicBezTo>
                      <a:pt x="385" y="0"/>
                      <a:pt x="385" y="0"/>
                      <a:pt x="385" y="0"/>
                    </a:cubicBezTo>
                    <a:cubicBezTo>
                      <a:pt x="348" y="18"/>
                      <a:pt x="348" y="18"/>
                      <a:pt x="348" y="18"/>
                    </a:cubicBezTo>
                    <a:cubicBezTo>
                      <a:pt x="345" y="38"/>
                      <a:pt x="345" y="38"/>
                      <a:pt x="345" y="38"/>
                    </a:cubicBezTo>
                    <a:cubicBezTo>
                      <a:pt x="333" y="50"/>
                      <a:pt x="333" y="50"/>
                      <a:pt x="333" y="50"/>
                    </a:cubicBezTo>
                    <a:cubicBezTo>
                      <a:pt x="320" y="55"/>
                      <a:pt x="320" y="55"/>
                      <a:pt x="320" y="55"/>
                    </a:cubicBezTo>
                    <a:cubicBezTo>
                      <a:pt x="320" y="55"/>
                      <a:pt x="325" y="77"/>
                      <a:pt x="293" y="92"/>
                    </a:cubicBezTo>
                    <a:cubicBezTo>
                      <a:pt x="262" y="107"/>
                      <a:pt x="222" y="107"/>
                      <a:pt x="222" y="107"/>
                    </a:cubicBezTo>
                    <a:cubicBezTo>
                      <a:pt x="208" y="115"/>
                      <a:pt x="208" y="115"/>
                      <a:pt x="208" y="115"/>
                    </a:cubicBezTo>
                    <a:cubicBezTo>
                      <a:pt x="208" y="115"/>
                      <a:pt x="228" y="125"/>
                      <a:pt x="223" y="132"/>
                    </a:cubicBezTo>
                    <a:cubicBezTo>
                      <a:pt x="218" y="138"/>
                      <a:pt x="203" y="160"/>
                      <a:pt x="203" y="160"/>
                    </a:cubicBezTo>
                    <a:cubicBezTo>
                      <a:pt x="203" y="160"/>
                      <a:pt x="170" y="160"/>
                      <a:pt x="151" y="160"/>
                    </a:cubicBezTo>
                    <a:cubicBezTo>
                      <a:pt x="133" y="160"/>
                      <a:pt x="138" y="180"/>
                      <a:pt x="120" y="185"/>
                    </a:cubicBezTo>
                    <a:cubicBezTo>
                      <a:pt x="101" y="190"/>
                      <a:pt x="108" y="165"/>
                      <a:pt x="108" y="165"/>
                    </a:cubicBezTo>
                    <a:cubicBezTo>
                      <a:pt x="108" y="165"/>
                      <a:pt x="88" y="180"/>
                      <a:pt x="78" y="187"/>
                    </a:cubicBezTo>
                    <a:cubicBezTo>
                      <a:pt x="68" y="193"/>
                      <a:pt x="56" y="186"/>
                      <a:pt x="56" y="186"/>
                    </a:cubicBezTo>
                    <a:cubicBezTo>
                      <a:pt x="56" y="186"/>
                      <a:pt x="38" y="196"/>
                      <a:pt x="37" y="204"/>
                    </a:cubicBezTo>
                    <a:cubicBezTo>
                      <a:pt x="36" y="212"/>
                      <a:pt x="35" y="224"/>
                      <a:pt x="35" y="224"/>
                    </a:cubicBezTo>
                    <a:cubicBezTo>
                      <a:pt x="29" y="224"/>
                      <a:pt x="29" y="224"/>
                      <a:pt x="29" y="224"/>
                    </a:cubicBezTo>
                    <a:cubicBezTo>
                      <a:pt x="24" y="249"/>
                      <a:pt x="24" y="249"/>
                      <a:pt x="24" y="249"/>
                    </a:cubicBezTo>
                    <a:cubicBezTo>
                      <a:pt x="24" y="249"/>
                      <a:pt x="2" y="256"/>
                      <a:pt x="1" y="264"/>
                    </a:cubicBezTo>
                    <a:cubicBezTo>
                      <a:pt x="0" y="272"/>
                      <a:pt x="15" y="273"/>
                      <a:pt x="15" y="273"/>
                    </a:cubicBezTo>
                    <a:cubicBezTo>
                      <a:pt x="14" y="298"/>
                      <a:pt x="14" y="298"/>
                      <a:pt x="14" y="298"/>
                    </a:cubicBezTo>
                    <a:cubicBezTo>
                      <a:pt x="7" y="306"/>
                      <a:pt x="7" y="306"/>
                      <a:pt x="7" y="306"/>
                    </a:cubicBezTo>
                    <a:cubicBezTo>
                      <a:pt x="19" y="313"/>
                      <a:pt x="19" y="313"/>
                      <a:pt x="19" y="313"/>
                    </a:cubicBezTo>
                    <a:cubicBezTo>
                      <a:pt x="19" y="344"/>
                      <a:pt x="19" y="344"/>
                      <a:pt x="19" y="344"/>
                    </a:cubicBezTo>
                    <a:cubicBezTo>
                      <a:pt x="19" y="344"/>
                      <a:pt x="36" y="355"/>
                      <a:pt x="38" y="358"/>
                    </a:cubicBezTo>
                    <a:cubicBezTo>
                      <a:pt x="40" y="361"/>
                      <a:pt x="36" y="381"/>
                      <a:pt x="36" y="381"/>
                    </a:cubicBezTo>
                    <a:cubicBezTo>
                      <a:pt x="36" y="381"/>
                      <a:pt x="47" y="404"/>
                      <a:pt x="57" y="412"/>
                    </a:cubicBezTo>
                    <a:cubicBezTo>
                      <a:pt x="67" y="420"/>
                      <a:pt x="79" y="428"/>
                      <a:pt x="79" y="428"/>
                    </a:cubicBezTo>
                    <a:cubicBezTo>
                      <a:pt x="83" y="442"/>
                      <a:pt x="83" y="442"/>
                      <a:pt x="83" y="442"/>
                    </a:cubicBezTo>
                    <a:cubicBezTo>
                      <a:pt x="83" y="461"/>
                      <a:pt x="83" y="461"/>
                      <a:pt x="83" y="461"/>
                    </a:cubicBezTo>
                    <a:cubicBezTo>
                      <a:pt x="88" y="467"/>
                      <a:pt x="88" y="467"/>
                      <a:pt x="88" y="467"/>
                    </a:cubicBezTo>
                    <a:cubicBezTo>
                      <a:pt x="88" y="467"/>
                      <a:pt x="104" y="448"/>
                      <a:pt x="106" y="441"/>
                    </a:cubicBezTo>
                    <a:cubicBezTo>
                      <a:pt x="108" y="434"/>
                      <a:pt x="98" y="421"/>
                      <a:pt x="98" y="421"/>
                    </a:cubicBezTo>
                    <a:cubicBezTo>
                      <a:pt x="108" y="400"/>
                      <a:pt x="108" y="400"/>
                      <a:pt x="108" y="400"/>
                    </a:cubicBezTo>
                    <a:cubicBezTo>
                      <a:pt x="128" y="401"/>
                      <a:pt x="128" y="401"/>
                      <a:pt x="128" y="401"/>
                    </a:cubicBezTo>
                    <a:cubicBezTo>
                      <a:pt x="128" y="401"/>
                      <a:pt x="141" y="390"/>
                      <a:pt x="147" y="390"/>
                    </a:cubicBezTo>
                    <a:cubicBezTo>
                      <a:pt x="153" y="390"/>
                      <a:pt x="167" y="398"/>
                      <a:pt x="178" y="399"/>
                    </a:cubicBezTo>
                    <a:cubicBezTo>
                      <a:pt x="189" y="400"/>
                      <a:pt x="193" y="394"/>
                      <a:pt x="193" y="394"/>
                    </a:cubicBezTo>
                    <a:cubicBezTo>
                      <a:pt x="203" y="380"/>
                      <a:pt x="203" y="380"/>
                      <a:pt x="203" y="380"/>
                    </a:cubicBezTo>
                    <a:cubicBezTo>
                      <a:pt x="203" y="370"/>
                      <a:pt x="203" y="370"/>
                      <a:pt x="203" y="370"/>
                    </a:cubicBezTo>
                    <a:cubicBezTo>
                      <a:pt x="203" y="370"/>
                      <a:pt x="193" y="367"/>
                      <a:pt x="201" y="357"/>
                    </a:cubicBezTo>
                    <a:cubicBezTo>
                      <a:pt x="209" y="347"/>
                      <a:pt x="208" y="358"/>
                      <a:pt x="218" y="344"/>
                    </a:cubicBezTo>
                    <a:cubicBezTo>
                      <a:pt x="228" y="330"/>
                      <a:pt x="218" y="311"/>
                      <a:pt x="247" y="313"/>
                    </a:cubicBezTo>
                    <a:cubicBezTo>
                      <a:pt x="276" y="315"/>
                      <a:pt x="273" y="330"/>
                      <a:pt x="273" y="330"/>
                    </a:cubicBezTo>
                    <a:cubicBezTo>
                      <a:pt x="273" y="330"/>
                      <a:pt x="286" y="328"/>
                      <a:pt x="289" y="332"/>
                    </a:cubicBezTo>
                    <a:cubicBezTo>
                      <a:pt x="292" y="336"/>
                      <a:pt x="280" y="351"/>
                      <a:pt x="295" y="351"/>
                    </a:cubicBezTo>
                    <a:cubicBezTo>
                      <a:pt x="310" y="351"/>
                      <a:pt x="319" y="351"/>
                      <a:pt x="319" y="351"/>
                    </a:cubicBezTo>
                    <a:cubicBezTo>
                      <a:pt x="319" y="351"/>
                      <a:pt x="325" y="363"/>
                      <a:pt x="335" y="362"/>
                    </a:cubicBezTo>
                    <a:cubicBezTo>
                      <a:pt x="345" y="361"/>
                      <a:pt x="363" y="361"/>
                      <a:pt x="363" y="361"/>
                    </a:cubicBezTo>
                    <a:cubicBezTo>
                      <a:pt x="363" y="361"/>
                      <a:pt x="376" y="375"/>
                      <a:pt x="385" y="368"/>
                    </a:cubicBezTo>
                    <a:cubicBezTo>
                      <a:pt x="394" y="361"/>
                      <a:pt x="389" y="347"/>
                      <a:pt x="396" y="344"/>
                    </a:cubicBezTo>
                    <a:cubicBezTo>
                      <a:pt x="403" y="341"/>
                      <a:pt x="410" y="328"/>
                      <a:pt x="410" y="328"/>
                    </a:cubicBezTo>
                    <a:cubicBezTo>
                      <a:pt x="410" y="328"/>
                      <a:pt x="424" y="349"/>
                      <a:pt x="430" y="344"/>
                    </a:cubicBezTo>
                    <a:cubicBezTo>
                      <a:pt x="436" y="339"/>
                      <a:pt x="449" y="330"/>
                      <a:pt x="449" y="330"/>
                    </a:cubicBezTo>
                    <a:cubicBezTo>
                      <a:pt x="461" y="330"/>
                      <a:pt x="461" y="330"/>
                      <a:pt x="461" y="330"/>
                    </a:cubicBezTo>
                    <a:cubicBezTo>
                      <a:pt x="477" y="316"/>
                      <a:pt x="477" y="316"/>
                      <a:pt x="477" y="316"/>
                    </a:cubicBezTo>
                    <a:cubicBezTo>
                      <a:pt x="477" y="316"/>
                      <a:pt x="486" y="326"/>
                      <a:pt x="490" y="326"/>
                    </a:cubicBezTo>
                    <a:cubicBezTo>
                      <a:pt x="494" y="326"/>
                      <a:pt x="512" y="321"/>
                      <a:pt x="512" y="321"/>
                    </a:cubicBezTo>
                    <a:cubicBezTo>
                      <a:pt x="512" y="321"/>
                      <a:pt x="517" y="300"/>
                      <a:pt x="524" y="299"/>
                    </a:cubicBezTo>
                    <a:cubicBezTo>
                      <a:pt x="531" y="298"/>
                      <a:pt x="539" y="311"/>
                      <a:pt x="539" y="311"/>
                    </a:cubicBezTo>
                    <a:cubicBezTo>
                      <a:pt x="560" y="308"/>
                      <a:pt x="560" y="308"/>
                      <a:pt x="560" y="308"/>
                    </a:cubicBezTo>
                    <a:cubicBezTo>
                      <a:pt x="560" y="308"/>
                      <a:pt x="566" y="324"/>
                      <a:pt x="586" y="319"/>
                    </a:cubicBezTo>
                    <a:cubicBezTo>
                      <a:pt x="606" y="314"/>
                      <a:pt x="610" y="303"/>
                      <a:pt x="610" y="303"/>
                    </a:cubicBezTo>
                    <a:cubicBezTo>
                      <a:pt x="610" y="303"/>
                      <a:pt x="614" y="289"/>
                      <a:pt x="606" y="281"/>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57" name="Cameroon">
                <a:extLst>
                  <a:ext uri="{FF2B5EF4-FFF2-40B4-BE49-F238E27FC236}">
                    <a16:creationId xmlns:a16="http://schemas.microsoft.com/office/drawing/2014/main" id="{2CDF5A0D-839A-45A0-8EA4-6D1FB7CF4AA5}"/>
                  </a:ext>
                </a:extLst>
              </p:cNvPr>
              <p:cNvSpPr>
                <a:spLocks/>
              </p:cNvSpPr>
              <p:nvPr/>
            </p:nvSpPr>
            <p:spPr bwMode="gray">
              <a:xfrm>
                <a:off x="5427419" y="3120913"/>
                <a:ext cx="602145" cy="815960"/>
              </a:xfrm>
              <a:custGeom>
                <a:avLst/>
                <a:gdLst>
                  <a:gd name="T0" fmla="*/ 275 w 363"/>
                  <a:gd name="T1" fmla="*/ 0 h 614"/>
                  <a:gd name="T2" fmla="*/ 263 w 363"/>
                  <a:gd name="T3" fmla="*/ 43 h 614"/>
                  <a:gd name="T4" fmla="*/ 282 w 363"/>
                  <a:gd name="T5" fmla="*/ 70 h 614"/>
                  <a:gd name="T6" fmla="*/ 256 w 363"/>
                  <a:gd name="T7" fmla="*/ 100 h 614"/>
                  <a:gd name="T8" fmla="*/ 236 w 363"/>
                  <a:gd name="T9" fmla="*/ 136 h 614"/>
                  <a:gd name="T10" fmla="*/ 227 w 363"/>
                  <a:gd name="T11" fmla="*/ 159 h 614"/>
                  <a:gd name="T12" fmla="*/ 207 w 363"/>
                  <a:gd name="T13" fmla="*/ 198 h 614"/>
                  <a:gd name="T14" fmla="*/ 181 w 363"/>
                  <a:gd name="T15" fmla="*/ 250 h 614"/>
                  <a:gd name="T16" fmla="*/ 157 w 363"/>
                  <a:gd name="T17" fmla="*/ 302 h 614"/>
                  <a:gd name="T18" fmla="*/ 140 w 363"/>
                  <a:gd name="T19" fmla="*/ 337 h 614"/>
                  <a:gd name="T20" fmla="*/ 119 w 363"/>
                  <a:gd name="T21" fmla="*/ 342 h 614"/>
                  <a:gd name="T22" fmla="*/ 95 w 363"/>
                  <a:gd name="T23" fmla="*/ 334 h 614"/>
                  <a:gd name="T24" fmla="*/ 56 w 363"/>
                  <a:gd name="T25" fmla="*/ 353 h 614"/>
                  <a:gd name="T26" fmla="*/ 13 w 363"/>
                  <a:gd name="T27" fmla="*/ 428 h 614"/>
                  <a:gd name="T28" fmla="*/ 4 w 363"/>
                  <a:gd name="T29" fmla="*/ 449 h 614"/>
                  <a:gd name="T30" fmla="*/ 18 w 363"/>
                  <a:gd name="T31" fmla="*/ 455 h 614"/>
                  <a:gd name="T32" fmla="*/ 44 w 363"/>
                  <a:gd name="T33" fmla="*/ 497 h 614"/>
                  <a:gd name="T34" fmla="*/ 45 w 363"/>
                  <a:gd name="T35" fmla="*/ 504 h 614"/>
                  <a:gd name="T36" fmla="*/ 70 w 363"/>
                  <a:gd name="T37" fmla="*/ 527 h 614"/>
                  <a:gd name="T38" fmla="*/ 61 w 363"/>
                  <a:gd name="T39" fmla="*/ 559 h 614"/>
                  <a:gd name="T40" fmla="*/ 68 w 363"/>
                  <a:gd name="T41" fmla="*/ 586 h 614"/>
                  <a:gd name="T42" fmla="*/ 144 w 363"/>
                  <a:gd name="T43" fmla="*/ 576 h 614"/>
                  <a:gd name="T44" fmla="*/ 175 w 363"/>
                  <a:gd name="T45" fmla="*/ 585 h 614"/>
                  <a:gd name="T46" fmla="*/ 195 w 363"/>
                  <a:gd name="T47" fmla="*/ 581 h 614"/>
                  <a:gd name="T48" fmla="*/ 227 w 363"/>
                  <a:gd name="T49" fmla="*/ 590 h 614"/>
                  <a:gd name="T50" fmla="*/ 320 w 363"/>
                  <a:gd name="T51" fmla="*/ 600 h 614"/>
                  <a:gd name="T52" fmla="*/ 358 w 363"/>
                  <a:gd name="T53" fmla="*/ 614 h 614"/>
                  <a:gd name="T54" fmla="*/ 363 w 363"/>
                  <a:gd name="T55" fmla="*/ 581 h 614"/>
                  <a:gd name="T56" fmla="*/ 358 w 363"/>
                  <a:gd name="T57" fmla="*/ 556 h 614"/>
                  <a:gd name="T58" fmla="*/ 332 w 363"/>
                  <a:gd name="T59" fmla="*/ 526 h 614"/>
                  <a:gd name="T60" fmla="*/ 313 w 363"/>
                  <a:gd name="T61" fmla="*/ 472 h 614"/>
                  <a:gd name="T62" fmla="*/ 294 w 363"/>
                  <a:gd name="T63" fmla="*/ 427 h 614"/>
                  <a:gd name="T64" fmla="*/ 289 w 363"/>
                  <a:gd name="T65" fmla="*/ 412 h 614"/>
                  <a:gd name="T66" fmla="*/ 276 w 363"/>
                  <a:gd name="T67" fmla="*/ 378 h 614"/>
                  <a:gd name="T68" fmla="*/ 304 w 363"/>
                  <a:gd name="T69" fmla="*/ 338 h 614"/>
                  <a:gd name="T70" fmla="*/ 312 w 363"/>
                  <a:gd name="T71" fmla="*/ 318 h 614"/>
                  <a:gd name="T72" fmla="*/ 317 w 363"/>
                  <a:gd name="T73" fmla="*/ 243 h 614"/>
                  <a:gd name="T74" fmla="*/ 261 w 363"/>
                  <a:gd name="T75" fmla="*/ 174 h 614"/>
                  <a:gd name="T76" fmla="*/ 336 w 363"/>
                  <a:gd name="T77" fmla="*/ 165 h 614"/>
                  <a:gd name="T78" fmla="*/ 304 w 363"/>
                  <a:gd name="T79" fmla="*/ 91 h 614"/>
                  <a:gd name="T80" fmla="*/ 296 w 363"/>
                  <a:gd name="T81" fmla="*/ 52 h 614"/>
                  <a:gd name="T82" fmla="*/ 280 w 363"/>
                  <a:gd name="T83" fmla="*/ 17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3" h="614">
                    <a:moveTo>
                      <a:pt x="280" y="17"/>
                    </a:moveTo>
                    <a:cubicBezTo>
                      <a:pt x="276" y="12"/>
                      <a:pt x="275" y="0"/>
                      <a:pt x="275" y="0"/>
                    </a:cubicBezTo>
                    <a:cubicBezTo>
                      <a:pt x="259" y="2"/>
                      <a:pt x="259" y="2"/>
                      <a:pt x="259" y="2"/>
                    </a:cubicBezTo>
                    <a:cubicBezTo>
                      <a:pt x="260" y="11"/>
                      <a:pt x="261" y="40"/>
                      <a:pt x="263" y="43"/>
                    </a:cubicBezTo>
                    <a:cubicBezTo>
                      <a:pt x="265" y="46"/>
                      <a:pt x="284" y="35"/>
                      <a:pt x="285" y="46"/>
                    </a:cubicBezTo>
                    <a:cubicBezTo>
                      <a:pt x="286" y="57"/>
                      <a:pt x="282" y="70"/>
                      <a:pt x="282" y="70"/>
                    </a:cubicBezTo>
                    <a:cubicBezTo>
                      <a:pt x="282" y="70"/>
                      <a:pt x="290" y="79"/>
                      <a:pt x="280" y="88"/>
                    </a:cubicBezTo>
                    <a:cubicBezTo>
                      <a:pt x="270" y="97"/>
                      <a:pt x="256" y="100"/>
                      <a:pt x="256" y="100"/>
                    </a:cubicBezTo>
                    <a:cubicBezTo>
                      <a:pt x="256" y="100"/>
                      <a:pt x="248" y="117"/>
                      <a:pt x="247" y="120"/>
                    </a:cubicBezTo>
                    <a:cubicBezTo>
                      <a:pt x="246" y="123"/>
                      <a:pt x="236" y="136"/>
                      <a:pt x="236" y="136"/>
                    </a:cubicBezTo>
                    <a:cubicBezTo>
                      <a:pt x="234" y="155"/>
                      <a:pt x="234" y="155"/>
                      <a:pt x="234" y="155"/>
                    </a:cubicBezTo>
                    <a:cubicBezTo>
                      <a:pt x="227" y="159"/>
                      <a:pt x="227" y="159"/>
                      <a:pt x="227" y="159"/>
                    </a:cubicBezTo>
                    <a:cubicBezTo>
                      <a:pt x="227" y="159"/>
                      <a:pt x="229" y="180"/>
                      <a:pt x="224" y="189"/>
                    </a:cubicBezTo>
                    <a:cubicBezTo>
                      <a:pt x="219" y="198"/>
                      <a:pt x="209" y="191"/>
                      <a:pt x="207" y="198"/>
                    </a:cubicBezTo>
                    <a:cubicBezTo>
                      <a:pt x="205" y="205"/>
                      <a:pt x="210" y="223"/>
                      <a:pt x="205" y="233"/>
                    </a:cubicBezTo>
                    <a:cubicBezTo>
                      <a:pt x="200" y="243"/>
                      <a:pt x="181" y="250"/>
                      <a:pt x="181" y="250"/>
                    </a:cubicBezTo>
                    <a:cubicBezTo>
                      <a:pt x="173" y="282"/>
                      <a:pt x="173" y="282"/>
                      <a:pt x="173" y="282"/>
                    </a:cubicBezTo>
                    <a:cubicBezTo>
                      <a:pt x="157" y="302"/>
                      <a:pt x="157" y="302"/>
                      <a:pt x="157" y="302"/>
                    </a:cubicBezTo>
                    <a:cubicBezTo>
                      <a:pt x="157" y="302"/>
                      <a:pt x="161" y="316"/>
                      <a:pt x="156" y="322"/>
                    </a:cubicBezTo>
                    <a:cubicBezTo>
                      <a:pt x="151" y="328"/>
                      <a:pt x="140" y="337"/>
                      <a:pt x="140" y="337"/>
                    </a:cubicBezTo>
                    <a:cubicBezTo>
                      <a:pt x="140" y="337"/>
                      <a:pt x="140" y="358"/>
                      <a:pt x="128" y="358"/>
                    </a:cubicBezTo>
                    <a:cubicBezTo>
                      <a:pt x="116" y="358"/>
                      <a:pt x="119" y="342"/>
                      <a:pt x="119" y="342"/>
                    </a:cubicBezTo>
                    <a:cubicBezTo>
                      <a:pt x="119" y="342"/>
                      <a:pt x="105" y="318"/>
                      <a:pt x="98" y="318"/>
                    </a:cubicBezTo>
                    <a:cubicBezTo>
                      <a:pt x="91" y="318"/>
                      <a:pt x="104" y="332"/>
                      <a:pt x="95" y="334"/>
                    </a:cubicBezTo>
                    <a:cubicBezTo>
                      <a:pt x="86" y="336"/>
                      <a:pt x="78" y="323"/>
                      <a:pt x="72" y="328"/>
                    </a:cubicBezTo>
                    <a:cubicBezTo>
                      <a:pt x="66" y="333"/>
                      <a:pt x="56" y="353"/>
                      <a:pt x="56" y="353"/>
                    </a:cubicBezTo>
                    <a:cubicBezTo>
                      <a:pt x="13" y="390"/>
                      <a:pt x="13" y="390"/>
                      <a:pt x="13" y="390"/>
                    </a:cubicBezTo>
                    <a:cubicBezTo>
                      <a:pt x="13" y="390"/>
                      <a:pt x="15" y="422"/>
                      <a:pt x="13" y="428"/>
                    </a:cubicBezTo>
                    <a:cubicBezTo>
                      <a:pt x="11" y="434"/>
                      <a:pt x="4" y="449"/>
                      <a:pt x="4" y="449"/>
                    </a:cubicBezTo>
                    <a:cubicBezTo>
                      <a:pt x="4" y="449"/>
                      <a:pt x="4" y="449"/>
                      <a:pt x="4" y="449"/>
                    </a:cubicBezTo>
                    <a:cubicBezTo>
                      <a:pt x="0" y="458"/>
                      <a:pt x="0" y="458"/>
                      <a:pt x="0" y="458"/>
                    </a:cubicBezTo>
                    <a:cubicBezTo>
                      <a:pt x="18" y="455"/>
                      <a:pt x="18" y="455"/>
                      <a:pt x="18" y="455"/>
                    </a:cubicBezTo>
                    <a:cubicBezTo>
                      <a:pt x="18" y="455"/>
                      <a:pt x="17" y="477"/>
                      <a:pt x="27" y="486"/>
                    </a:cubicBezTo>
                    <a:cubicBezTo>
                      <a:pt x="37" y="495"/>
                      <a:pt x="44" y="497"/>
                      <a:pt x="44" y="497"/>
                    </a:cubicBezTo>
                    <a:cubicBezTo>
                      <a:pt x="58" y="484"/>
                      <a:pt x="58" y="484"/>
                      <a:pt x="58" y="484"/>
                    </a:cubicBezTo>
                    <a:cubicBezTo>
                      <a:pt x="45" y="504"/>
                      <a:pt x="45" y="504"/>
                      <a:pt x="45" y="504"/>
                    </a:cubicBezTo>
                    <a:cubicBezTo>
                      <a:pt x="57" y="522"/>
                      <a:pt x="57" y="522"/>
                      <a:pt x="57" y="522"/>
                    </a:cubicBezTo>
                    <a:cubicBezTo>
                      <a:pt x="70" y="527"/>
                      <a:pt x="70" y="527"/>
                      <a:pt x="70" y="527"/>
                    </a:cubicBezTo>
                    <a:cubicBezTo>
                      <a:pt x="68" y="557"/>
                      <a:pt x="68" y="557"/>
                      <a:pt x="68" y="557"/>
                    </a:cubicBezTo>
                    <a:cubicBezTo>
                      <a:pt x="61" y="559"/>
                      <a:pt x="61" y="559"/>
                      <a:pt x="61" y="559"/>
                    </a:cubicBezTo>
                    <a:cubicBezTo>
                      <a:pt x="62" y="580"/>
                      <a:pt x="62" y="580"/>
                      <a:pt x="62" y="580"/>
                    </a:cubicBezTo>
                    <a:cubicBezTo>
                      <a:pt x="68" y="586"/>
                      <a:pt x="68" y="586"/>
                      <a:pt x="68" y="586"/>
                    </a:cubicBezTo>
                    <a:cubicBezTo>
                      <a:pt x="132" y="586"/>
                      <a:pt x="132" y="586"/>
                      <a:pt x="132" y="586"/>
                    </a:cubicBezTo>
                    <a:cubicBezTo>
                      <a:pt x="144" y="576"/>
                      <a:pt x="144" y="576"/>
                      <a:pt x="144" y="576"/>
                    </a:cubicBezTo>
                    <a:cubicBezTo>
                      <a:pt x="154" y="585"/>
                      <a:pt x="154" y="585"/>
                      <a:pt x="154" y="585"/>
                    </a:cubicBezTo>
                    <a:cubicBezTo>
                      <a:pt x="175" y="585"/>
                      <a:pt x="175" y="585"/>
                      <a:pt x="175" y="585"/>
                    </a:cubicBezTo>
                    <a:cubicBezTo>
                      <a:pt x="175" y="585"/>
                      <a:pt x="180" y="577"/>
                      <a:pt x="184" y="577"/>
                    </a:cubicBezTo>
                    <a:cubicBezTo>
                      <a:pt x="188" y="577"/>
                      <a:pt x="195" y="581"/>
                      <a:pt x="195" y="581"/>
                    </a:cubicBezTo>
                    <a:cubicBezTo>
                      <a:pt x="227" y="580"/>
                      <a:pt x="227" y="580"/>
                      <a:pt x="227" y="580"/>
                    </a:cubicBezTo>
                    <a:cubicBezTo>
                      <a:pt x="227" y="590"/>
                      <a:pt x="227" y="590"/>
                      <a:pt x="227" y="590"/>
                    </a:cubicBezTo>
                    <a:cubicBezTo>
                      <a:pt x="227" y="590"/>
                      <a:pt x="282" y="587"/>
                      <a:pt x="287" y="587"/>
                    </a:cubicBezTo>
                    <a:cubicBezTo>
                      <a:pt x="292" y="587"/>
                      <a:pt x="320" y="600"/>
                      <a:pt x="320" y="600"/>
                    </a:cubicBezTo>
                    <a:cubicBezTo>
                      <a:pt x="340" y="599"/>
                      <a:pt x="340" y="599"/>
                      <a:pt x="340" y="599"/>
                    </a:cubicBezTo>
                    <a:cubicBezTo>
                      <a:pt x="358" y="614"/>
                      <a:pt x="358" y="614"/>
                      <a:pt x="358" y="614"/>
                    </a:cubicBezTo>
                    <a:cubicBezTo>
                      <a:pt x="359" y="587"/>
                      <a:pt x="359" y="587"/>
                      <a:pt x="359" y="587"/>
                    </a:cubicBezTo>
                    <a:cubicBezTo>
                      <a:pt x="363" y="581"/>
                      <a:pt x="363" y="581"/>
                      <a:pt x="363" y="581"/>
                    </a:cubicBezTo>
                    <a:cubicBezTo>
                      <a:pt x="358" y="575"/>
                      <a:pt x="358" y="575"/>
                      <a:pt x="358" y="575"/>
                    </a:cubicBezTo>
                    <a:cubicBezTo>
                      <a:pt x="358" y="556"/>
                      <a:pt x="358" y="556"/>
                      <a:pt x="358" y="556"/>
                    </a:cubicBezTo>
                    <a:cubicBezTo>
                      <a:pt x="354" y="542"/>
                      <a:pt x="354" y="542"/>
                      <a:pt x="354" y="542"/>
                    </a:cubicBezTo>
                    <a:cubicBezTo>
                      <a:pt x="354" y="542"/>
                      <a:pt x="342" y="534"/>
                      <a:pt x="332" y="526"/>
                    </a:cubicBezTo>
                    <a:cubicBezTo>
                      <a:pt x="322" y="518"/>
                      <a:pt x="311" y="495"/>
                      <a:pt x="311" y="495"/>
                    </a:cubicBezTo>
                    <a:cubicBezTo>
                      <a:pt x="311" y="495"/>
                      <a:pt x="315" y="475"/>
                      <a:pt x="313" y="472"/>
                    </a:cubicBezTo>
                    <a:cubicBezTo>
                      <a:pt x="311" y="469"/>
                      <a:pt x="294" y="458"/>
                      <a:pt x="294" y="458"/>
                    </a:cubicBezTo>
                    <a:cubicBezTo>
                      <a:pt x="294" y="427"/>
                      <a:pt x="294" y="427"/>
                      <a:pt x="294" y="427"/>
                    </a:cubicBezTo>
                    <a:cubicBezTo>
                      <a:pt x="282" y="420"/>
                      <a:pt x="282" y="420"/>
                      <a:pt x="282" y="420"/>
                    </a:cubicBezTo>
                    <a:cubicBezTo>
                      <a:pt x="289" y="412"/>
                      <a:pt x="289" y="412"/>
                      <a:pt x="289" y="412"/>
                    </a:cubicBezTo>
                    <a:cubicBezTo>
                      <a:pt x="290" y="387"/>
                      <a:pt x="290" y="387"/>
                      <a:pt x="290" y="387"/>
                    </a:cubicBezTo>
                    <a:cubicBezTo>
                      <a:pt x="290" y="387"/>
                      <a:pt x="275" y="386"/>
                      <a:pt x="276" y="378"/>
                    </a:cubicBezTo>
                    <a:cubicBezTo>
                      <a:pt x="277" y="370"/>
                      <a:pt x="299" y="363"/>
                      <a:pt x="299" y="363"/>
                    </a:cubicBezTo>
                    <a:cubicBezTo>
                      <a:pt x="304" y="338"/>
                      <a:pt x="304" y="338"/>
                      <a:pt x="304" y="338"/>
                    </a:cubicBezTo>
                    <a:cubicBezTo>
                      <a:pt x="310" y="338"/>
                      <a:pt x="310" y="338"/>
                      <a:pt x="310" y="338"/>
                    </a:cubicBezTo>
                    <a:cubicBezTo>
                      <a:pt x="310" y="338"/>
                      <a:pt x="311" y="326"/>
                      <a:pt x="312" y="318"/>
                    </a:cubicBezTo>
                    <a:cubicBezTo>
                      <a:pt x="313" y="310"/>
                      <a:pt x="331" y="300"/>
                      <a:pt x="331" y="300"/>
                    </a:cubicBezTo>
                    <a:cubicBezTo>
                      <a:pt x="331" y="300"/>
                      <a:pt x="326" y="253"/>
                      <a:pt x="317" y="243"/>
                    </a:cubicBezTo>
                    <a:cubicBezTo>
                      <a:pt x="308" y="233"/>
                      <a:pt x="287" y="224"/>
                      <a:pt x="279" y="216"/>
                    </a:cubicBezTo>
                    <a:cubicBezTo>
                      <a:pt x="271" y="208"/>
                      <a:pt x="256" y="187"/>
                      <a:pt x="261" y="174"/>
                    </a:cubicBezTo>
                    <a:cubicBezTo>
                      <a:pt x="266" y="161"/>
                      <a:pt x="306" y="168"/>
                      <a:pt x="314" y="167"/>
                    </a:cubicBezTo>
                    <a:cubicBezTo>
                      <a:pt x="322" y="166"/>
                      <a:pt x="336" y="165"/>
                      <a:pt x="336" y="165"/>
                    </a:cubicBezTo>
                    <a:cubicBezTo>
                      <a:pt x="336" y="165"/>
                      <a:pt x="315" y="147"/>
                      <a:pt x="310" y="133"/>
                    </a:cubicBezTo>
                    <a:cubicBezTo>
                      <a:pt x="305" y="119"/>
                      <a:pt x="304" y="91"/>
                      <a:pt x="304" y="91"/>
                    </a:cubicBezTo>
                    <a:cubicBezTo>
                      <a:pt x="304" y="91"/>
                      <a:pt x="310" y="81"/>
                      <a:pt x="310" y="70"/>
                    </a:cubicBezTo>
                    <a:cubicBezTo>
                      <a:pt x="310" y="59"/>
                      <a:pt x="296" y="52"/>
                      <a:pt x="296" y="52"/>
                    </a:cubicBezTo>
                    <a:cubicBezTo>
                      <a:pt x="300" y="25"/>
                      <a:pt x="300" y="25"/>
                      <a:pt x="300" y="25"/>
                    </a:cubicBezTo>
                    <a:cubicBezTo>
                      <a:pt x="300" y="25"/>
                      <a:pt x="284" y="22"/>
                      <a:pt x="280" y="17"/>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58" name="Burundi">
                <a:extLst>
                  <a:ext uri="{FF2B5EF4-FFF2-40B4-BE49-F238E27FC236}">
                    <a16:creationId xmlns:a16="http://schemas.microsoft.com/office/drawing/2014/main" id="{2EA180C6-5061-4BE4-B330-A61AAAE82846}"/>
                  </a:ext>
                </a:extLst>
              </p:cNvPr>
              <p:cNvSpPr>
                <a:spLocks/>
              </p:cNvSpPr>
              <p:nvPr/>
            </p:nvSpPr>
            <p:spPr bwMode="gray">
              <a:xfrm>
                <a:off x="7040961" y="4226400"/>
                <a:ext cx="141127" cy="150408"/>
              </a:xfrm>
              <a:custGeom>
                <a:avLst/>
                <a:gdLst>
                  <a:gd name="T0" fmla="*/ 21 w 87"/>
                  <a:gd name="T1" fmla="*/ 49 h 112"/>
                  <a:gd name="T2" fmla="*/ 19 w 87"/>
                  <a:gd name="T3" fmla="*/ 72 h 112"/>
                  <a:gd name="T4" fmla="*/ 25 w 87"/>
                  <a:gd name="T5" fmla="*/ 112 h 112"/>
                  <a:gd name="T6" fmla="*/ 45 w 87"/>
                  <a:gd name="T7" fmla="*/ 103 h 112"/>
                  <a:gd name="T8" fmla="*/ 61 w 87"/>
                  <a:gd name="T9" fmla="*/ 68 h 112"/>
                  <a:gd name="T10" fmla="*/ 80 w 87"/>
                  <a:gd name="T11" fmla="*/ 56 h 112"/>
                  <a:gd name="T12" fmla="*/ 78 w 87"/>
                  <a:gd name="T13" fmla="*/ 47 h 112"/>
                  <a:gd name="T14" fmla="*/ 86 w 87"/>
                  <a:gd name="T15" fmla="*/ 44 h 112"/>
                  <a:gd name="T16" fmla="*/ 87 w 87"/>
                  <a:gd name="T17" fmla="*/ 33 h 112"/>
                  <a:gd name="T18" fmla="*/ 65 w 87"/>
                  <a:gd name="T19" fmla="*/ 23 h 112"/>
                  <a:gd name="T20" fmla="*/ 71 w 87"/>
                  <a:gd name="T21" fmla="*/ 0 h 112"/>
                  <a:gd name="T22" fmla="*/ 77 w 87"/>
                  <a:gd name="T23" fmla="*/ 0 h 112"/>
                  <a:gd name="T24" fmla="*/ 74 w 87"/>
                  <a:gd name="T25" fmla="*/ 0 h 112"/>
                  <a:gd name="T26" fmla="*/ 44 w 87"/>
                  <a:gd name="T27" fmla="*/ 0 h 112"/>
                  <a:gd name="T28" fmla="*/ 39 w 87"/>
                  <a:gd name="T29" fmla="*/ 17 h 112"/>
                  <a:gd name="T30" fmla="*/ 22 w 87"/>
                  <a:gd name="T31" fmla="*/ 24 h 112"/>
                  <a:gd name="T32" fmla="*/ 9 w 87"/>
                  <a:gd name="T33" fmla="*/ 11 h 112"/>
                  <a:gd name="T34" fmla="*/ 0 w 87"/>
                  <a:gd name="T35" fmla="*/ 12 h 112"/>
                  <a:gd name="T36" fmla="*/ 6 w 87"/>
                  <a:gd name="T37" fmla="*/ 32 h 112"/>
                  <a:gd name="T38" fmla="*/ 21 w 87"/>
                  <a:gd name="T39" fmla="*/ 4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112">
                    <a:moveTo>
                      <a:pt x="21" y="49"/>
                    </a:moveTo>
                    <a:cubicBezTo>
                      <a:pt x="21" y="58"/>
                      <a:pt x="19" y="72"/>
                      <a:pt x="19" y="72"/>
                    </a:cubicBezTo>
                    <a:cubicBezTo>
                      <a:pt x="19" y="72"/>
                      <a:pt x="19" y="99"/>
                      <a:pt x="25" y="112"/>
                    </a:cubicBezTo>
                    <a:cubicBezTo>
                      <a:pt x="29" y="112"/>
                      <a:pt x="35" y="110"/>
                      <a:pt x="45" y="103"/>
                    </a:cubicBezTo>
                    <a:cubicBezTo>
                      <a:pt x="61" y="91"/>
                      <a:pt x="54" y="81"/>
                      <a:pt x="61" y="68"/>
                    </a:cubicBezTo>
                    <a:cubicBezTo>
                      <a:pt x="68" y="55"/>
                      <a:pt x="80" y="56"/>
                      <a:pt x="80" y="56"/>
                    </a:cubicBezTo>
                    <a:cubicBezTo>
                      <a:pt x="78" y="47"/>
                      <a:pt x="78" y="47"/>
                      <a:pt x="78" y="47"/>
                    </a:cubicBezTo>
                    <a:cubicBezTo>
                      <a:pt x="86" y="44"/>
                      <a:pt x="86" y="44"/>
                      <a:pt x="86" y="44"/>
                    </a:cubicBezTo>
                    <a:cubicBezTo>
                      <a:pt x="87" y="33"/>
                      <a:pt x="87" y="33"/>
                      <a:pt x="87" y="33"/>
                    </a:cubicBezTo>
                    <a:cubicBezTo>
                      <a:pt x="87" y="33"/>
                      <a:pt x="63" y="32"/>
                      <a:pt x="65" y="23"/>
                    </a:cubicBezTo>
                    <a:cubicBezTo>
                      <a:pt x="67" y="14"/>
                      <a:pt x="71" y="0"/>
                      <a:pt x="71" y="0"/>
                    </a:cubicBezTo>
                    <a:cubicBezTo>
                      <a:pt x="71" y="0"/>
                      <a:pt x="74" y="0"/>
                      <a:pt x="77" y="0"/>
                    </a:cubicBezTo>
                    <a:cubicBezTo>
                      <a:pt x="74" y="0"/>
                      <a:pt x="74" y="0"/>
                      <a:pt x="74" y="0"/>
                    </a:cubicBezTo>
                    <a:cubicBezTo>
                      <a:pt x="44" y="0"/>
                      <a:pt x="44" y="0"/>
                      <a:pt x="44" y="0"/>
                    </a:cubicBezTo>
                    <a:cubicBezTo>
                      <a:pt x="39" y="17"/>
                      <a:pt x="39" y="17"/>
                      <a:pt x="39" y="17"/>
                    </a:cubicBezTo>
                    <a:cubicBezTo>
                      <a:pt x="39" y="17"/>
                      <a:pt x="26" y="24"/>
                      <a:pt x="22" y="24"/>
                    </a:cubicBezTo>
                    <a:cubicBezTo>
                      <a:pt x="18" y="24"/>
                      <a:pt x="9" y="11"/>
                      <a:pt x="9" y="11"/>
                    </a:cubicBezTo>
                    <a:cubicBezTo>
                      <a:pt x="9" y="11"/>
                      <a:pt x="5" y="12"/>
                      <a:pt x="0" y="12"/>
                    </a:cubicBezTo>
                    <a:cubicBezTo>
                      <a:pt x="6" y="32"/>
                      <a:pt x="6" y="32"/>
                      <a:pt x="6" y="32"/>
                    </a:cubicBezTo>
                    <a:cubicBezTo>
                      <a:pt x="6" y="32"/>
                      <a:pt x="21" y="40"/>
                      <a:pt x="21" y="49"/>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59" name="Burkina Faso">
                <a:extLst>
                  <a:ext uri="{FF2B5EF4-FFF2-40B4-BE49-F238E27FC236}">
                    <a16:creationId xmlns:a16="http://schemas.microsoft.com/office/drawing/2014/main" id="{735FD4CE-DA11-4B73-B838-F48123B5B5E3}"/>
                  </a:ext>
                </a:extLst>
              </p:cNvPr>
              <p:cNvSpPr>
                <a:spLocks/>
              </p:cNvSpPr>
              <p:nvPr/>
            </p:nvSpPr>
            <p:spPr bwMode="gray">
              <a:xfrm>
                <a:off x="4321915" y="2981787"/>
                <a:ext cx="635074" cy="398578"/>
              </a:xfrm>
              <a:custGeom>
                <a:avLst/>
                <a:gdLst>
                  <a:gd name="T0" fmla="*/ 3 w 382"/>
                  <a:gd name="T1" fmla="*/ 246 h 300"/>
                  <a:gd name="T2" fmla="*/ 19 w 382"/>
                  <a:gd name="T3" fmla="*/ 256 h 300"/>
                  <a:gd name="T4" fmla="*/ 59 w 382"/>
                  <a:gd name="T5" fmla="*/ 293 h 300"/>
                  <a:gd name="T6" fmla="*/ 124 w 382"/>
                  <a:gd name="T7" fmla="*/ 300 h 300"/>
                  <a:gd name="T8" fmla="*/ 132 w 382"/>
                  <a:gd name="T9" fmla="*/ 299 h 300"/>
                  <a:gd name="T10" fmla="*/ 130 w 382"/>
                  <a:gd name="T11" fmla="*/ 245 h 300"/>
                  <a:gd name="T12" fmla="*/ 132 w 382"/>
                  <a:gd name="T13" fmla="*/ 219 h 300"/>
                  <a:gd name="T14" fmla="*/ 192 w 382"/>
                  <a:gd name="T15" fmla="*/ 219 h 300"/>
                  <a:gd name="T16" fmla="*/ 215 w 382"/>
                  <a:gd name="T17" fmla="*/ 219 h 300"/>
                  <a:gd name="T18" fmla="*/ 251 w 382"/>
                  <a:gd name="T19" fmla="*/ 212 h 300"/>
                  <a:gd name="T20" fmla="*/ 276 w 382"/>
                  <a:gd name="T21" fmla="*/ 215 h 300"/>
                  <a:gd name="T22" fmla="*/ 305 w 382"/>
                  <a:gd name="T23" fmla="*/ 221 h 300"/>
                  <a:gd name="T24" fmla="*/ 318 w 382"/>
                  <a:gd name="T25" fmla="*/ 214 h 300"/>
                  <a:gd name="T26" fmla="*/ 357 w 382"/>
                  <a:gd name="T27" fmla="*/ 197 h 300"/>
                  <a:gd name="T28" fmla="*/ 373 w 382"/>
                  <a:gd name="T29" fmla="*/ 183 h 300"/>
                  <a:gd name="T30" fmla="*/ 382 w 382"/>
                  <a:gd name="T31" fmla="*/ 170 h 300"/>
                  <a:gd name="T32" fmla="*/ 360 w 382"/>
                  <a:gd name="T33" fmla="*/ 145 h 300"/>
                  <a:gd name="T34" fmla="*/ 364 w 382"/>
                  <a:gd name="T35" fmla="*/ 126 h 300"/>
                  <a:gd name="T36" fmla="*/ 310 w 382"/>
                  <a:gd name="T37" fmla="*/ 104 h 300"/>
                  <a:gd name="T38" fmla="*/ 312 w 382"/>
                  <a:gd name="T39" fmla="*/ 87 h 300"/>
                  <a:gd name="T40" fmla="*/ 289 w 382"/>
                  <a:gd name="T41" fmla="*/ 72 h 300"/>
                  <a:gd name="T42" fmla="*/ 277 w 382"/>
                  <a:gd name="T43" fmla="*/ 32 h 300"/>
                  <a:gd name="T44" fmla="*/ 260 w 382"/>
                  <a:gd name="T45" fmla="*/ 2 h 300"/>
                  <a:gd name="T46" fmla="*/ 215 w 382"/>
                  <a:gd name="T47" fmla="*/ 12 h 300"/>
                  <a:gd name="T48" fmla="*/ 190 w 382"/>
                  <a:gd name="T49" fmla="*/ 28 h 300"/>
                  <a:gd name="T50" fmla="*/ 169 w 382"/>
                  <a:gd name="T51" fmla="*/ 50 h 300"/>
                  <a:gd name="T52" fmla="*/ 125 w 382"/>
                  <a:gd name="T53" fmla="*/ 72 h 300"/>
                  <a:gd name="T54" fmla="*/ 112 w 382"/>
                  <a:gd name="T55" fmla="*/ 96 h 300"/>
                  <a:gd name="T56" fmla="*/ 76 w 382"/>
                  <a:gd name="T57" fmla="*/ 82 h 300"/>
                  <a:gd name="T58" fmla="*/ 69 w 382"/>
                  <a:gd name="T59" fmla="*/ 121 h 300"/>
                  <a:gd name="T60" fmla="*/ 57 w 382"/>
                  <a:gd name="T61" fmla="*/ 145 h 300"/>
                  <a:gd name="T62" fmla="*/ 48 w 382"/>
                  <a:gd name="T63" fmla="*/ 161 h 300"/>
                  <a:gd name="T64" fmla="*/ 8 w 382"/>
                  <a:gd name="T65" fmla="*/ 173 h 300"/>
                  <a:gd name="T66" fmla="*/ 15 w 382"/>
                  <a:gd name="T67" fmla="*/ 20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2" h="300">
                    <a:moveTo>
                      <a:pt x="0" y="209"/>
                    </a:moveTo>
                    <a:cubicBezTo>
                      <a:pt x="3" y="246"/>
                      <a:pt x="3" y="246"/>
                      <a:pt x="3" y="246"/>
                    </a:cubicBezTo>
                    <a:cubicBezTo>
                      <a:pt x="6" y="260"/>
                      <a:pt x="6" y="260"/>
                      <a:pt x="6" y="260"/>
                    </a:cubicBezTo>
                    <a:cubicBezTo>
                      <a:pt x="19" y="256"/>
                      <a:pt x="19" y="256"/>
                      <a:pt x="19" y="256"/>
                    </a:cubicBezTo>
                    <a:cubicBezTo>
                      <a:pt x="19" y="256"/>
                      <a:pt x="29" y="287"/>
                      <a:pt x="39" y="288"/>
                    </a:cubicBezTo>
                    <a:cubicBezTo>
                      <a:pt x="49" y="289"/>
                      <a:pt x="59" y="293"/>
                      <a:pt x="59" y="293"/>
                    </a:cubicBezTo>
                    <a:cubicBezTo>
                      <a:pt x="59" y="293"/>
                      <a:pt x="70" y="271"/>
                      <a:pt x="100" y="275"/>
                    </a:cubicBezTo>
                    <a:cubicBezTo>
                      <a:pt x="130" y="279"/>
                      <a:pt x="124" y="300"/>
                      <a:pt x="124" y="300"/>
                    </a:cubicBezTo>
                    <a:cubicBezTo>
                      <a:pt x="136" y="298"/>
                      <a:pt x="136" y="298"/>
                      <a:pt x="136" y="298"/>
                    </a:cubicBezTo>
                    <a:cubicBezTo>
                      <a:pt x="132" y="299"/>
                      <a:pt x="132" y="299"/>
                      <a:pt x="132" y="299"/>
                    </a:cubicBezTo>
                    <a:cubicBezTo>
                      <a:pt x="131" y="263"/>
                      <a:pt x="131" y="263"/>
                      <a:pt x="131" y="263"/>
                    </a:cubicBezTo>
                    <a:cubicBezTo>
                      <a:pt x="130" y="245"/>
                      <a:pt x="130" y="245"/>
                      <a:pt x="130" y="245"/>
                    </a:cubicBezTo>
                    <a:cubicBezTo>
                      <a:pt x="130" y="245"/>
                      <a:pt x="124" y="244"/>
                      <a:pt x="124" y="236"/>
                    </a:cubicBezTo>
                    <a:cubicBezTo>
                      <a:pt x="124" y="228"/>
                      <a:pt x="132" y="219"/>
                      <a:pt x="132" y="219"/>
                    </a:cubicBezTo>
                    <a:cubicBezTo>
                      <a:pt x="187" y="222"/>
                      <a:pt x="187" y="222"/>
                      <a:pt x="187" y="222"/>
                    </a:cubicBezTo>
                    <a:cubicBezTo>
                      <a:pt x="192" y="219"/>
                      <a:pt x="192" y="219"/>
                      <a:pt x="192" y="219"/>
                    </a:cubicBezTo>
                    <a:cubicBezTo>
                      <a:pt x="204" y="222"/>
                      <a:pt x="204" y="222"/>
                      <a:pt x="204" y="222"/>
                    </a:cubicBezTo>
                    <a:cubicBezTo>
                      <a:pt x="215" y="219"/>
                      <a:pt x="215" y="219"/>
                      <a:pt x="215" y="219"/>
                    </a:cubicBezTo>
                    <a:cubicBezTo>
                      <a:pt x="235" y="222"/>
                      <a:pt x="235" y="222"/>
                      <a:pt x="235" y="222"/>
                    </a:cubicBezTo>
                    <a:cubicBezTo>
                      <a:pt x="251" y="212"/>
                      <a:pt x="251" y="212"/>
                      <a:pt x="251" y="212"/>
                    </a:cubicBezTo>
                    <a:cubicBezTo>
                      <a:pt x="265" y="216"/>
                      <a:pt x="265" y="216"/>
                      <a:pt x="265" y="216"/>
                    </a:cubicBezTo>
                    <a:cubicBezTo>
                      <a:pt x="276" y="215"/>
                      <a:pt x="276" y="215"/>
                      <a:pt x="276" y="215"/>
                    </a:cubicBezTo>
                    <a:cubicBezTo>
                      <a:pt x="291" y="222"/>
                      <a:pt x="291" y="222"/>
                      <a:pt x="291" y="222"/>
                    </a:cubicBezTo>
                    <a:cubicBezTo>
                      <a:pt x="305" y="221"/>
                      <a:pt x="305" y="221"/>
                      <a:pt x="305" y="221"/>
                    </a:cubicBezTo>
                    <a:cubicBezTo>
                      <a:pt x="310" y="214"/>
                      <a:pt x="310" y="214"/>
                      <a:pt x="310" y="214"/>
                    </a:cubicBezTo>
                    <a:cubicBezTo>
                      <a:pt x="318" y="214"/>
                      <a:pt x="318" y="214"/>
                      <a:pt x="318" y="214"/>
                    </a:cubicBezTo>
                    <a:cubicBezTo>
                      <a:pt x="318" y="214"/>
                      <a:pt x="320" y="200"/>
                      <a:pt x="331" y="195"/>
                    </a:cubicBezTo>
                    <a:cubicBezTo>
                      <a:pt x="331" y="196"/>
                      <a:pt x="357" y="197"/>
                      <a:pt x="357" y="197"/>
                    </a:cubicBezTo>
                    <a:cubicBezTo>
                      <a:pt x="357" y="197"/>
                      <a:pt x="358" y="190"/>
                      <a:pt x="362" y="187"/>
                    </a:cubicBezTo>
                    <a:cubicBezTo>
                      <a:pt x="366" y="184"/>
                      <a:pt x="373" y="183"/>
                      <a:pt x="373" y="183"/>
                    </a:cubicBezTo>
                    <a:cubicBezTo>
                      <a:pt x="376" y="172"/>
                      <a:pt x="376" y="172"/>
                      <a:pt x="376" y="172"/>
                    </a:cubicBezTo>
                    <a:cubicBezTo>
                      <a:pt x="382" y="170"/>
                      <a:pt x="382" y="170"/>
                      <a:pt x="382" y="170"/>
                    </a:cubicBezTo>
                    <a:cubicBezTo>
                      <a:pt x="375" y="167"/>
                      <a:pt x="375" y="167"/>
                      <a:pt x="375" y="167"/>
                    </a:cubicBezTo>
                    <a:cubicBezTo>
                      <a:pt x="360" y="145"/>
                      <a:pt x="360" y="145"/>
                      <a:pt x="360" y="145"/>
                    </a:cubicBezTo>
                    <a:cubicBezTo>
                      <a:pt x="375" y="140"/>
                      <a:pt x="375" y="140"/>
                      <a:pt x="375" y="140"/>
                    </a:cubicBezTo>
                    <a:cubicBezTo>
                      <a:pt x="375" y="140"/>
                      <a:pt x="373" y="130"/>
                      <a:pt x="364" y="126"/>
                    </a:cubicBezTo>
                    <a:cubicBezTo>
                      <a:pt x="355" y="122"/>
                      <a:pt x="356" y="131"/>
                      <a:pt x="344" y="131"/>
                    </a:cubicBezTo>
                    <a:cubicBezTo>
                      <a:pt x="332" y="131"/>
                      <a:pt x="313" y="109"/>
                      <a:pt x="310" y="104"/>
                    </a:cubicBezTo>
                    <a:cubicBezTo>
                      <a:pt x="307" y="99"/>
                      <a:pt x="322" y="88"/>
                      <a:pt x="322" y="88"/>
                    </a:cubicBezTo>
                    <a:cubicBezTo>
                      <a:pt x="312" y="87"/>
                      <a:pt x="312" y="87"/>
                      <a:pt x="312" y="87"/>
                    </a:cubicBezTo>
                    <a:cubicBezTo>
                      <a:pt x="311" y="78"/>
                      <a:pt x="311" y="78"/>
                      <a:pt x="311" y="78"/>
                    </a:cubicBezTo>
                    <a:cubicBezTo>
                      <a:pt x="311" y="78"/>
                      <a:pt x="299" y="79"/>
                      <a:pt x="289" y="72"/>
                    </a:cubicBezTo>
                    <a:cubicBezTo>
                      <a:pt x="279" y="65"/>
                      <a:pt x="280" y="41"/>
                      <a:pt x="280" y="41"/>
                    </a:cubicBezTo>
                    <a:cubicBezTo>
                      <a:pt x="277" y="32"/>
                      <a:pt x="277" y="32"/>
                      <a:pt x="277" y="32"/>
                    </a:cubicBezTo>
                    <a:cubicBezTo>
                      <a:pt x="276" y="9"/>
                      <a:pt x="276" y="9"/>
                      <a:pt x="276" y="9"/>
                    </a:cubicBezTo>
                    <a:cubicBezTo>
                      <a:pt x="260" y="2"/>
                      <a:pt x="260" y="2"/>
                      <a:pt x="260" y="2"/>
                    </a:cubicBezTo>
                    <a:cubicBezTo>
                      <a:pt x="227" y="0"/>
                      <a:pt x="227" y="0"/>
                      <a:pt x="227" y="0"/>
                    </a:cubicBezTo>
                    <a:cubicBezTo>
                      <a:pt x="227" y="0"/>
                      <a:pt x="225" y="8"/>
                      <a:pt x="215" y="12"/>
                    </a:cubicBezTo>
                    <a:cubicBezTo>
                      <a:pt x="205" y="16"/>
                      <a:pt x="201" y="14"/>
                      <a:pt x="201" y="14"/>
                    </a:cubicBezTo>
                    <a:cubicBezTo>
                      <a:pt x="190" y="28"/>
                      <a:pt x="190" y="28"/>
                      <a:pt x="190" y="28"/>
                    </a:cubicBezTo>
                    <a:cubicBezTo>
                      <a:pt x="173" y="28"/>
                      <a:pt x="173" y="28"/>
                      <a:pt x="173" y="28"/>
                    </a:cubicBezTo>
                    <a:cubicBezTo>
                      <a:pt x="173" y="28"/>
                      <a:pt x="172" y="49"/>
                      <a:pt x="169" y="50"/>
                    </a:cubicBezTo>
                    <a:cubicBezTo>
                      <a:pt x="166" y="51"/>
                      <a:pt x="154" y="39"/>
                      <a:pt x="148" y="41"/>
                    </a:cubicBezTo>
                    <a:cubicBezTo>
                      <a:pt x="142" y="43"/>
                      <a:pt x="125" y="72"/>
                      <a:pt x="125" y="72"/>
                    </a:cubicBezTo>
                    <a:cubicBezTo>
                      <a:pt x="112" y="72"/>
                      <a:pt x="112" y="72"/>
                      <a:pt x="112" y="72"/>
                    </a:cubicBezTo>
                    <a:cubicBezTo>
                      <a:pt x="112" y="96"/>
                      <a:pt x="112" y="96"/>
                      <a:pt x="112" y="96"/>
                    </a:cubicBezTo>
                    <a:cubicBezTo>
                      <a:pt x="97" y="101"/>
                      <a:pt x="97" y="101"/>
                      <a:pt x="97" y="101"/>
                    </a:cubicBezTo>
                    <a:cubicBezTo>
                      <a:pt x="76" y="82"/>
                      <a:pt x="76" y="82"/>
                      <a:pt x="76" y="82"/>
                    </a:cubicBezTo>
                    <a:cubicBezTo>
                      <a:pt x="63" y="102"/>
                      <a:pt x="63" y="102"/>
                      <a:pt x="63" y="102"/>
                    </a:cubicBezTo>
                    <a:cubicBezTo>
                      <a:pt x="63" y="102"/>
                      <a:pt x="71" y="116"/>
                      <a:pt x="69" y="121"/>
                    </a:cubicBezTo>
                    <a:cubicBezTo>
                      <a:pt x="67" y="126"/>
                      <a:pt x="55" y="124"/>
                      <a:pt x="55" y="124"/>
                    </a:cubicBezTo>
                    <a:cubicBezTo>
                      <a:pt x="55" y="124"/>
                      <a:pt x="60" y="141"/>
                      <a:pt x="57" y="145"/>
                    </a:cubicBezTo>
                    <a:cubicBezTo>
                      <a:pt x="54" y="149"/>
                      <a:pt x="47" y="150"/>
                      <a:pt x="47" y="150"/>
                    </a:cubicBezTo>
                    <a:cubicBezTo>
                      <a:pt x="47" y="150"/>
                      <a:pt x="60" y="160"/>
                      <a:pt x="48" y="161"/>
                    </a:cubicBezTo>
                    <a:cubicBezTo>
                      <a:pt x="36" y="162"/>
                      <a:pt x="21" y="165"/>
                      <a:pt x="21" y="165"/>
                    </a:cubicBezTo>
                    <a:cubicBezTo>
                      <a:pt x="8" y="173"/>
                      <a:pt x="8" y="173"/>
                      <a:pt x="8" y="173"/>
                    </a:cubicBezTo>
                    <a:cubicBezTo>
                      <a:pt x="23" y="194"/>
                      <a:pt x="23" y="194"/>
                      <a:pt x="23" y="194"/>
                    </a:cubicBezTo>
                    <a:cubicBezTo>
                      <a:pt x="15" y="209"/>
                      <a:pt x="15" y="209"/>
                      <a:pt x="15" y="209"/>
                    </a:cubicBezTo>
                    <a:lnTo>
                      <a:pt x="0" y="209"/>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60" name="Botswana">
                <a:extLst>
                  <a:ext uri="{FF2B5EF4-FFF2-40B4-BE49-F238E27FC236}">
                    <a16:creationId xmlns:a16="http://schemas.microsoft.com/office/drawing/2014/main" id="{8D4B00E9-5031-479F-B68B-92AFE3E4204C}"/>
                  </a:ext>
                </a:extLst>
              </p:cNvPr>
              <p:cNvSpPr>
                <a:spLocks/>
              </p:cNvSpPr>
              <p:nvPr/>
            </p:nvSpPr>
            <p:spPr bwMode="gray">
              <a:xfrm>
                <a:off x="6307117" y="5324374"/>
                <a:ext cx="719751" cy="646751"/>
              </a:xfrm>
              <a:custGeom>
                <a:avLst/>
                <a:gdLst>
                  <a:gd name="T0" fmla="*/ 0 w 433"/>
                  <a:gd name="T1" fmla="*/ 377 h 490"/>
                  <a:gd name="T2" fmla="*/ 22 w 433"/>
                  <a:gd name="T3" fmla="*/ 394 h 490"/>
                  <a:gd name="T4" fmla="*/ 30 w 433"/>
                  <a:gd name="T5" fmla="*/ 423 h 490"/>
                  <a:gd name="T6" fmla="*/ 37 w 433"/>
                  <a:gd name="T7" fmla="*/ 443 h 490"/>
                  <a:gd name="T8" fmla="*/ 27 w 433"/>
                  <a:gd name="T9" fmla="*/ 465 h 490"/>
                  <a:gd name="T10" fmla="*/ 27 w 433"/>
                  <a:gd name="T11" fmla="*/ 487 h 490"/>
                  <a:gd name="T12" fmla="*/ 78 w 433"/>
                  <a:gd name="T13" fmla="*/ 485 h 490"/>
                  <a:gd name="T14" fmla="*/ 83 w 433"/>
                  <a:gd name="T15" fmla="*/ 473 h 490"/>
                  <a:gd name="T16" fmla="*/ 97 w 433"/>
                  <a:gd name="T17" fmla="*/ 474 h 490"/>
                  <a:gd name="T18" fmla="*/ 106 w 433"/>
                  <a:gd name="T19" fmla="*/ 454 h 490"/>
                  <a:gd name="T20" fmla="*/ 124 w 433"/>
                  <a:gd name="T21" fmla="*/ 446 h 490"/>
                  <a:gd name="T22" fmla="*/ 142 w 433"/>
                  <a:gd name="T23" fmla="*/ 401 h 490"/>
                  <a:gd name="T24" fmla="*/ 171 w 433"/>
                  <a:gd name="T25" fmla="*/ 413 h 490"/>
                  <a:gd name="T26" fmla="*/ 181 w 433"/>
                  <a:gd name="T27" fmla="*/ 423 h 490"/>
                  <a:gd name="T28" fmla="*/ 198 w 433"/>
                  <a:gd name="T29" fmla="*/ 424 h 490"/>
                  <a:gd name="T30" fmla="*/ 223 w 433"/>
                  <a:gd name="T31" fmla="*/ 433 h 490"/>
                  <a:gd name="T32" fmla="*/ 236 w 433"/>
                  <a:gd name="T33" fmla="*/ 426 h 490"/>
                  <a:gd name="T34" fmla="*/ 255 w 433"/>
                  <a:gd name="T35" fmla="*/ 426 h 490"/>
                  <a:gd name="T36" fmla="*/ 270 w 433"/>
                  <a:gd name="T37" fmla="*/ 386 h 490"/>
                  <a:gd name="T38" fmla="*/ 284 w 433"/>
                  <a:gd name="T39" fmla="*/ 374 h 490"/>
                  <a:gd name="T40" fmla="*/ 295 w 433"/>
                  <a:gd name="T41" fmla="*/ 371 h 490"/>
                  <a:gd name="T42" fmla="*/ 318 w 433"/>
                  <a:gd name="T43" fmla="*/ 347 h 490"/>
                  <a:gd name="T44" fmla="*/ 329 w 433"/>
                  <a:gd name="T45" fmla="*/ 311 h 490"/>
                  <a:gd name="T46" fmla="*/ 353 w 433"/>
                  <a:gd name="T47" fmla="*/ 298 h 490"/>
                  <a:gd name="T48" fmla="*/ 383 w 433"/>
                  <a:gd name="T49" fmla="*/ 259 h 490"/>
                  <a:gd name="T50" fmla="*/ 412 w 433"/>
                  <a:gd name="T51" fmla="*/ 252 h 490"/>
                  <a:gd name="T52" fmla="*/ 420 w 433"/>
                  <a:gd name="T53" fmla="*/ 236 h 490"/>
                  <a:gd name="T54" fmla="*/ 433 w 433"/>
                  <a:gd name="T55" fmla="*/ 235 h 490"/>
                  <a:gd name="T56" fmla="*/ 414 w 433"/>
                  <a:gd name="T57" fmla="*/ 210 h 490"/>
                  <a:gd name="T58" fmla="*/ 375 w 433"/>
                  <a:gd name="T59" fmla="*/ 202 h 490"/>
                  <a:gd name="T60" fmla="*/ 375 w 433"/>
                  <a:gd name="T61" fmla="*/ 187 h 490"/>
                  <a:gd name="T62" fmla="*/ 363 w 433"/>
                  <a:gd name="T63" fmla="*/ 182 h 490"/>
                  <a:gd name="T64" fmla="*/ 363 w 433"/>
                  <a:gd name="T65" fmla="*/ 164 h 490"/>
                  <a:gd name="T66" fmla="*/ 367 w 433"/>
                  <a:gd name="T67" fmla="*/ 159 h 490"/>
                  <a:gd name="T68" fmla="*/ 365 w 433"/>
                  <a:gd name="T69" fmla="*/ 144 h 490"/>
                  <a:gd name="T70" fmla="*/ 344 w 433"/>
                  <a:gd name="T71" fmla="*/ 143 h 490"/>
                  <a:gd name="T72" fmla="*/ 343 w 433"/>
                  <a:gd name="T73" fmla="*/ 121 h 490"/>
                  <a:gd name="T74" fmla="*/ 323 w 433"/>
                  <a:gd name="T75" fmla="*/ 117 h 490"/>
                  <a:gd name="T76" fmla="*/ 295 w 433"/>
                  <a:gd name="T77" fmla="*/ 96 h 490"/>
                  <a:gd name="T78" fmla="*/ 286 w 433"/>
                  <a:gd name="T79" fmla="*/ 64 h 490"/>
                  <a:gd name="T80" fmla="*/ 276 w 433"/>
                  <a:gd name="T81" fmla="*/ 43 h 490"/>
                  <a:gd name="T82" fmla="*/ 264 w 433"/>
                  <a:gd name="T83" fmla="*/ 39 h 490"/>
                  <a:gd name="T84" fmla="*/ 264 w 433"/>
                  <a:gd name="T85" fmla="*/ 19 h 490"/>
                  <a:gd name="T86" fmla="*/ 255 w 433"/>
                  <a:gd name="T87" fmla="*/ 10 h 490"/>
                  <a:gd name="T88" fmla="*/ 253 w 433"/>
                  <a:gd name="T89" fmla="*/ 0 h 490"/>
                  <a:gd name="T90" fmla="*/ 230 w 433"/>
                  <a:gd name="T91" fmla="*/ 2 h 490"/>
                  <a:gd name="T92" fmla="*/ 219 w 433"/>
                  <a:gd name="T93" fmla="*/ 10 h 490"/>
                  <a:gd name="T94" fmla="*/ 211 w 433"/>
                  <a:gd name="T95" fmla="*/ 10 h 490"/>
                  <a:gd name="T96" fmla="*/ 195 w 433"/>
                  <a:gd name="T97" fmla="*/ 18 h 490"/>
                  <a:gd name="T98" fmla="*/ 177 w 433"/>
                  <a:gd name="T99" fmla="*/ 37 h 490"/>
                  <a:gd name="T100" fmla="*/ 172 w 433"/>
                  <a:gd name="T101" fmla="*/ 24 h 490"/>
                  <a:gd name="T102" fmla="*/ 166 w 433"/>
                  <a:gd name="T103" fmla="*/ 24 h 490"/>
                  <a:gd name="T104" fmla="*/ 159 w 433"/>
                  <a:gd name="T105" fmla="*/ 10 h 490"/>
                  <a:gd name="T106" fmla="*/ 114 w 433"/>
                  <a:gd name="T107" fmla="*/ 20 h 490"/>
                  <a:gd name="T108" fmla="*/ 53 w 433"/>
                  <a:gd name="T109" fmla="*/ 26 h 490"/>
                  <a:gd name="T110" fmla="*/ 53 w 433"/>
                  <a:gd name="T111" fmla="*/ 143 h 490"/>
                  <a:gd name="T112" fmla="*/ 49 w 433"/>
                  <a:gd name="T113" fmla="*/ 147 h 490"/>
                  <a:gd name="T114" fmla="*/ 50 w 433"/>
                  <a:gd name="T115" fmla="*/ 228 h 490"/>
                  <a:gd name="T116" fmla="*/ 2 w 433"/>
                  <a:gd name="T117" fmla="*/ 228 h 490"/>
                  <a:gd name="T118" fmla="*/ 0 w 433"/>
                  <a:gd name="T119" fmla="*/ 377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3" h="490">
                    <a:moveTo>
                      <a:pt x="0" y="377"/>
                    </a:moveTo>
                    <a:cubicBezTo>
                      <a:pt x="9" y="381"/>
                      <a:pt x="18" y="386"/>
                      <a:pt x="22" y="394"/>
                    </a:cubicBezTo>
                    <a:cubicBezTo>
                      <a:pt x="31" y="413"/>
                      <a:pt x="30" y="423"/>
                      <a:pt x="30" y="423"/>
                    </a:cubicBezTo>
                    <a:cubicBezTo>
                      <a:pt x="30" y="423"/>
                      <a:pt x="39" y="434"/>
                      <a:pt x="37" y="443"/>
                    </a:cubicBezTo>
                    <a:cubicBezTo>
                      <a:pt x="35" y="452"/>
                      <a:pt x="27" y="465"/>
                      <a:pt x="27" y="465"/>
                    </a:cubicBezTo>
                    <a:cubicBezTo>
                      <a:pt x="27" y="465"/>
                      <a:pt x="22" y="484"/>
                      <a:pt x="27" y="487"/>
                    </a:cubicBezTo>
                    <a:cubicBezTo>
                      <a:pt x="32" y="490"/>
                      <a:pt x="78" y="485"/>
                      <a:pt x="78" y="485"/>
                    </a:cubicBezTo>
                    <a:cubicBezTo>
                      <a:pt x="78" y="485"/>
                      <a:pt x="79" y="474"/>
                      <a:pt x="83" y="473"/>
                    </a:cubicBezTo>
                    <a:cubicBezTo>
                      <a:pt x="87" y="472"/>
                      <a:pt x="97" y="474"/>
                      <a:pt x="97" y="474"/>
                    </a:cubicBezTo>
                    <a:cubicBezTo>
                      <a:pt x="97" y="474"/>
                      <a:pt x="99" y="457"/>
                      <a:pt x="106" y="454"/>
                    </a:cubicBezTo>
                    <a:cubicBezTo>
                      <a:pt x="113" y="451"/>
                      <a:pt x="124" y="453"/>
                      <a:pt x="124" y="446"/>
                    </a:cubicBezTo>
                    <a:cubicBezTo>
                      <a:pt x="124" y="439"/>
                      <a:pt x="129" y="401"/>
                      <a:pt x="142" y="401"/>
                    </a:cubicBezTo>
                    <a:cubicBezTo>
                      <a:pt x="155" y="401"/>
                      <a:pt x="171" y="413"/>
                      <a:pt x="171" y="413"/>
                    </a:cubicBezTo>
                    <a:cubicBezTo>
                      <a:pt x="181" y="423"/>
                      <a:pt x="181" y="423"/>
                      <a:pt x="181" y="423"/>
                    </a:cubicBezTo>
                    <a:cubicBezTo>
                      <a:pt x="198" y="424"/>
                      <a:pt x="198" y="424"/>
                      <a:pt x="198" y="424"/>
                    </a:cubicBezTo>
                    <a:cubicBezTo>
                      <a:pt x="198" y="424"/>
                      <a:pt x="213" y="435"/>
                      <a:pt x="223" y="433"/>
                    </a:cubicBezTo>
                    <a:cubicBezTo>
                      <a:pt x="233" y="431"/>
                      <a:pt x="236" y="426"/>
                      <a:pt x="236" y="426"/>
                    </a:cubicBezTo>
                    <a:cubicBezTo>
                      <a:pt x="236" y="426"/>
                      <a:pt x="244" y="433"/>
                      <a:pt x="255" y="426"/>
                    </a:cubicBezTo>
                    <a:cubicBezTo>
                      <a:pt x="266" y="419"/>
                      <a:pt x="270" y="386"/>
                      <a:pt x="270" y="386"/>
                    </a:cubicBezTo>
                    <a:cubicBezTo>
                      <a:pt x="284" y="374"/>
                      <a:pt x="284" y="374"/>
                      <a:pt x="284" y="374"/>
                    </a:cubicBezTo>
                    <a:cubicBezTo>
                      <a:pt x="295" y="371"/>
                      <a:pt x="295" y="371"/>
                      <a:pt x="295" y="371"/>
                    </a:cubicBezTo>
                    <a:cubicBezTo>
                      <a:pt x="295" y="371"/>
                      <a:pt x="318" y="353"/>
                      <a:pt x="318" y="347"/>
                    </a:cubicBezTo>
                    <a:cubicBezTo>
                      <a:pt x="318" y="341"/>
                      <a:pt x="319" y="318"/>
                      <a:pt x="329" y="311"/>
                    </a:cubicBezTo>
                    <a:cubicBezTo>
                      <a:pt x="339" y="304"/>
                      <a:pt x="342" y="305"/>
                      <a:pt x="353" y="298"/>
                    </a:cubicBezTo>
                    <a:cubicBezTo>
                      <a:pt x="364" y="291"/>
                      <a:pt x="378" y="265"/>
                      <a:pt x="383" y="259"/>
                    </a:cubicBezTo>
                    <a:cubicBezTo>
                      <a:pt x="388" y="253"/>
                      <a:pt x="412" y="252"/>
                      <a:pt x="412" y="252"/>
                    </a:cubicBezTo>
                    <a:cubicBezTo>
                      <a:pt x="420" y="236"/>
                      <a:pt x="420" y="236"/>
                      <a:pt x="420" y="236"/>
                    </a:cubicBezTo>
                    <a:cubicBezTo>
                      <a:pt x="433" y="235"/>
                      <a:pt x="433" y="235"/>
                      <a:pt x="433" y="235"/>
                    </a:cubicBezTo>
                    <a:cubicBezTo>
                      <a:pt x="430" y="228"/>
                      <a:pt x="424" y="214"/>
                      <a:pt x="414" y="210"/>
                    </a:cubicBezTo>
                    <a:cubicBezTo>
                      <a:pt x="401" y="205"/>
                      <a:pt x="375" y="202"/>
                      <a:pt x="375" y="202"/>
                    </a:cubicBezTo>
                    <a:cubicBezTo>
                      <a:pt x="375" y="202"/>
                      <a:pt x="375" y="194"/>
                      <a:pt x="375" y="187"/>
                    </a:cubicBezTo>
                    <a:cubicBezTo>
                      <a:pt x="375" y="180"/>
                      <a:pt x="363" y="182"/>
                      <a:pt x="363" y="182"/>
                    </a:cubicBezTo>
                    <a:cubicBezTo>
                      <a:pt x="363" y="164"/>
                      <a:pt x="363" y="164"/>
                      <a:pt x="363" y="164"/>
                    </a:cubicBezTo>
                    <a:cubicBezTo>
                      <a:pt x="367" y="159"/>
                      <a:pt x="367" y="159"/>
                      <a:pt x="367" y="159"/>
                    </a:cubicBezTo>
                    <a:cubicBezTo>
                      <a:pt x="365" y="144"/>
                      <a:pt x="365" y="144"/>
                      <a:pt x="365" y="144"/>
                    </a:cubicBezTo>
                    <a:cubicBezTo>
                      <a:pt x="344" y="143"/>
                      <a:pt x="344" y="143"/>
                      <a:pt x="344" y="143"/>
                    </a:cubicBezTo>
                    <a:cubicBezTo>
                      <a:pt x="344" y="143"/>
                      <a:pt x="345" y="128"/>
                      <a:pt x="343" y="121"/>
                    </a:cubicBezTo>
                    <a:cubicBezTo>
                      <a:pt x="341" y="114"/>
                      <a:pt x="323" y="117"/>
                      <a:pt x="323" y="117"/>
                    </a:cubicBezTo>
                    <a:cubicBezTo>
                      <a:pt x="323" y="117"/>
                      <a:pt x="302" y="105"/>
                      <a:pt x="295" y="96"/>
                    </a:cubicBezTo>
                    <a:cubicBezTo>
                      <a:pt x="288" y="87"/>
                      <a:pt x="286" y="64"/>
                      <a:pt x="286" y="64"/>
                    </a:cubicBezTo>
                    <a:cubicBezTo>
                      <a:pt x="286" y="64"/>
                      <a:pt x="280" y="53"/>
                      <a:pt x="276" y="43"/>
                    </a:cubicBezTo>
                    <a:cubicBezTo>
                      <a:pt x="272" y="33"/>
                      <a:pt x="264" y="39"/>
                      <a:pt x="264" y="39"/>
                    </a:cubicBezTo>
                    <a:cubicBezTo>
                      <a:pt x="264" y="19"/>
                      <a:pt x="264" y="19"/>
                      <a:pt x="264" y="19"/>
                    </a:cubicBezTo>
                    <a:cubicBezTo>
                      <a:pt x="255" y="10"/>
                      <a:pt x="255" y="10"/>
                      <a:pt x="255" y="10"/>
                    </a:cubicBezTo>
                    <a:cubicBezTo>
                      <a:pt x="253" y="0"/>
                      <a:pt x="253" y="0"/>
                      <a:pt x="253" y="0"/>
                    </a:cubicBezTo>
                    <a:cubicBezTo>
                      <a:pt x="230" y="2"/>
                      <a:pt x="230" y="2"/>
                      <a:pt x="230" y="2"/>
                    </a:cubicBezTo>
                    <a:cubicBezTo>
                      <a:pt x="219" y="10"/>
                      <a:pt x="219" y="10"/>
                      <a:pt x="219" y="10"/>
                    </a:cubicBezTo>
                    <a:cubicBezTo>
                      <a:pt x="211" y="10"/>
                      <a:pt x="211" y="10"/>
                      <a:pt x="211" y="10"/>
                    </a:cubicBezTo>
                    <a:cubicBezTo>
                      <a:pt x="211" y="10"/>
                      <a:pt x="201" y="12"/>
                      <a:pt x="195" y="18"/>
                    </a:cubicBezTo>
                    <a:cubicBezTo>
                      <a:pt x="190" y="23"/>
                      <a:pt x="180" y="36"/>
                      <a:pt x="177" y="37"/>
                    </a:cubicBezTo>
                    <a:cubicBezTo>
                      <a:pt x="174" y="38"/>
                      <a:pt x="172" y="24"/>
                      <a:pt x="172" y="24"/>
                    </a:cubicBezTo>
                    <a:cubicBezTo>
                      <a:pt x="166" y="24"/>
                      <a:pt x="166" y="24"/>
                      <a:pt x="166" y="24"/>
                    </a:cubicBezTo>
                    <a:cubicBezTo>
                      <a:pt x="166" y="24"/>
                      <a:pt x="168" y="10"/>
                      <a:pt x="159" y="10"/>
                    </a:cubicBezTo>
                    <a:cubicBezTo>
                      <a:pt x="151" y="10"/>
                      <a:pt x="135" y="18"/>
                      <a:pt x="114" y="20"/>
                    </a:cubicBezTo>
                    <a:cubicBezTo>
                      <a:pt x="92" y="23"/>
                      <a:pt x="53" y="26"/>
                      <a:pt x="53" y="26"/>
                    </a:cubicBezTo>
                    <a:cubicBezTo>
                      <a:pt x="53" y="143"/>
                      <a:pt x="53" y="143"/>
                      <a:pt x="53" y="143"/>
                    </a:cubicBezTo>
                    <a:cubicBezTo>
                      <a:pt x="49" y="147"/>
                      <a:pt x="49" y="147"/>
                      <a:pt x="49" y="147"/>
                    </a:cubicBezTo>
                    <a:cubicBezTo>
                      <a:pt x="50" y="228"/>
                      <a:pt x="50" y="228"/>
                      <a:pt x="50" y="228"/>
                    </a:cubicBezTo>
                    <a:cubicBezTo>
                      <a:pt x="2" y="228"/>
                      <a:pt x="2" y="228"/>
                      <a:pt x="2" y="228"/>
                    </a:cubicBezTo>
                    <a:lnTo>
                      <a:pt x="0" y="377"/>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61" name="Benin">
                <a:extLst>
                  <a:ext uri="{FF2B5EF4-FFF2-40B4-BE49-F238E27FC236}">
                    <a16:creationId xmlns:a16="http://schemas.microsoft.com/office/drawing/2014/main" id="{164F24EF-0773-4B0B-97B6-1A93E7793E3F}"/>
                  </a:ext>
                </a:extLst>
              </p:cNvPr>
              <p:cNvSpPr>
                <a:spLocks/>
              </p:cNvSpPr>
              <p:nvPr/>
            </p:nvSpPr>
            <p:spPr bwMode="gray">
              <a:xfrm>
                <a:off x="4820572" y="3173556"/>
                <a:ext cx="249326" cy="439942"/>
              </a:xfrm>
              <a:custGeom>
                <a:avLst/>
                <a:gdLst>
                  <a:gd name="T0" fmla="*/ 94 w 150"/>
                  <a:gd name="T1" fmla="*/ 247 h 332"/>
                  <a:gd name="T2" fmla="*/ 97 w 150"/>
                  <a:gd name="T3" fmla="*/ 228 h 332"/>
                  <a:gd name="T4" fmla="*/ 94 w 150"/>
                  <a:gd name="T5" fmla="*/ 206 h 332"/>
                  <a:gd name="T6" fmla="*/ 96 w 150"/>
                  <a:gd name="T7" fmla="*/ 183 h 332"/>
                  <a:gd name="T8" fmla="*/ 112 w 150"/>
                  <a:gd name="T9" fmla="*/ 177 h 332"/>
                  <a:gd name="T10" fmla="*/ 118 w 150"/>
                  <a:gd name="T11" fmla="*/ 148 h 332"/>
                  <a:gd name="T12" fmla="*/ 133 w 150"/>
                  <a:gd name="T13" fmla="*/ 132 h 332"/>
                  <a:gd name="T14" fmla="*/ 135 w 150"/>
                  <a:gd name="T15" fmla="*/ 105 h 332"/>
                  <a:gd name="T16" fmla="*/ 148 w 150"/>
                  <a:gd name="T17" fmla="*/ 95 h 332"/>
                  <a:gd name="T18" fmla="*/ 144 w 150"/>
                  <a:gd name="T19" fmla="*/ 85 h 332"/>
                  <a:gd name="T20" fmla="*/ 145 w 150"/>
                  <a:gd name="T21" fmla="*/ 76 h 332"/>
                  <a:gd name="T22" fmla="*/ 131 w 150"/>
                  <a:gd name="T23" fmla="*/ 51 h 332"/>
                  <a:gd name="T24" fmla="*/ 139 w 150"/>
                  <a:gd name="T25" fmla="*/ 31 h 332"/>
                  <a:gd name="T26" fmla="*/ 118 w 150"/>
                  <a:gd name="T27" fmla="*/ 22 h 332"/>
                  <a:gd name="T28" fmla="*/ 96 w 150"/>
                  <a:gd name="T29" fmla="*/ 0 h 332"/>
                  <a:gd name="T30" fmla="*/ 79 w 150"/>
                  <a:gd name="T31" fmla="*/ 7 h 332"/>
                  <a:gd name="T32" fmla="*/ 76 w 150"/>
                  <a:gd name="T33" fmla="*/ 23 h 332"/>
                  <a:gd name="T34" fmla="*/ 83 w 150"/>
                  <a:gd name="T35" fmla="*/ 26 h 332"/>
                  <a:gd name="T36" fmla="*/ 77 w 150"/>
                  <a:gd name="T37" fmla="*/ 28 h 332"/>
                  <a:gd name="T38" fmla="*/ 74 w 150"/>
                  <a:gd name="T39" fmla="*/ 39 h 332"/>
                  <a:gd name="T40" fmla="*/ 63 w 150"/>
                  <a:gd name="T41" fmla="*/ 43 h 332"/>
                  <a:gd name="T42" fmla="*/ 58 w 150"/>
                  <a:gd name="T43" fmla="*/ 53 h 332"/>
                  <a:gd name="T44" fmla="*/ 32 w 150"/>
                  <a:gd name="T45" fmla="*/ 51 h 332"/>
                  <a:gd name="T46" fmla="*/ 19 w 150"/>
                  <a:gd name="T47" fmla="*/ 70 h 332"/>
                  <a:gd name="T48" fmla="*/ 11 w 150"/>
                  <a:gd name="T49" fmla="*/ 70 h 332"/>
                  <a:gd name="T50" fmla="*/ 6 w 150"/>
                  <a:gd name="T51" fmla="*/ 77 h 332"/>
                  <a:gd name="T52" fmla="*/ 0 w 150"/>
                  <a:gd name="T53" fmla="*/ 89 h 332"/>
                  <a:gd name="T54" fmla="*/ 1 w 150"/>
                  <a:gd name="T55" fmla="*/ 108 h 332"/>
                  <a:gd name="T56" fmla="*/ 28 w 150"/>
                  <a:gd name="T57" fmla="*/ 131 h 332"/>
                  <a:gd name="T58" fmla="*/ 28 w 150"/>
                  <a:gd name="T59" fmla="*/ 162 h 332"/>
                  <a:gd name="T60" fmla="*/ 40 w 150"/>
                  <a:gd name="T61" fmla="*/ 179 h 332"/>
                  <a:gd name="T62" fmla="*/ 44 w 150"/>
                  <a:gd name="T63" fmla="*/ 206 h 332"/>
                  <a:gd name="T64" fmla="*/ 39 w 150"/>
                  <a:gd name="T65" fmla="*/ 214 h 332"/>
                  <a:gd name="T66" fmla="*/ 38 w 150"/>
                  <a:gd name="T67" fmla="*/ 253 h 332"/>
                  <a:gd name="T68" fmla="*/ 44 w 150"/>
                  <a:gd name="T69" fmla="*/ 259 h 332"/>
                  <a:gd name="T70" fmla="*/ 39 w 150"/>
                  <a:gd name="T71" fmla="*/ 266 h 332"/>
                  <a:gd name="T72" fmla="*/ 41 w 150"/>
                  <a:gd name="T73" fmla="*/ 310 h 332"/>
                  <a:gd name="T74" fmla="*/ 50 w 150"/>
                  <a:gd name="T75" fmla="*/ 329 h 332"/>
                  <a:gd name="T76" fmla="*/ 50 w 150"/>
                  <a:gd name="T77" fmla="*/ 329 h 332"/>
                  <a:gd name="T78" fmla="*/ 73 w 150"/>
                  <a:gd name="T79" fmla="*/ 332 h 332"/>
                  <a:gd name="T80" fmla="*/ 81 w 150"/>
                  <a:gd name="T81" fmla="*/ 318 h 332"/>
                  <a:gd name="T82" fmla="*/ 91 w 150"/>
                  <a:gd name="T83" fmla="*/ 323 h 332"/>
                  <a:gd name="T84" fmla="*/ 95 w 150"/>
                  <a:gd name="T85" fmla="*/ 306 h 332"/>
                  <a:gd name="T86" fmla="*/ 94 w 150"/>
                  <a:gd name="T87" fmla="*/ 24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0" h="332">
                    <a:moveTo>
                      <a:pt x="94" y="247"/>
                    </a:moveTo>
                    <a:cubicBezTo>
                      <a:pt x="97" y="228"/>
                      <a:pt x="97" y="228"/>
                      <a:pt x="97" y="228"/>
                    </a:cubicBezTo>
                    <a:cubicBezTo>
                      <a:pt x="94" y="206"/>
                      <a:pt x="94" y="206"/>
                      <a:pt x="94" y="206"/>
                    </a:cubicBezTo>
                    <a:cubicBezTo>
                      <a:pt x="96" y="183"/>
                      <a:pt x="96" y="183"/>
                      <a:pt x="96" y="183"/>
                    </a:cubicBezTo>
                    <a:cubicBezTo>
                      <a:pt x="96" y="183"/>
                      <a:pt x="104" y="187"/>
                      <a:pt x="112" y="177"/>
                    </a:cubicBezTo>
                    <a:cubicBezTo>
                      <a:pt x="120" y="167"/>
                      <a:pt x="115" y="155"/>
                      <a:pt x="118" y="148"/>
                    </a:cubicBezTo>
                    <a:cubicBezTo>
                      <a:pt x="121" y="141"/>
                      <a:pt x="133" y="132"/>
                      <a:pt x="133" y="132"/>
                    </a:cubicBezTo>
                    <a:cubicBezTo>
                      <a:pt x="135" y="105"/>
                      <a:pt x="135" y="105"/>
                      <a:pt x="135" y="105"/>
                    </a:cubicBezTo>
                    <a:cubicBezTo>
                      <a:pt x="135" y="105"/>
                      <a:pt x="146" y="102"/>
                      <a:pt x="148" y="95"/>
                    </a:cubicBezTo>
                    <a:cubicBezTo>
                      <a:pt x="150" y="88"/>
                      <a:pt x="144" y="85"/>
                      <a:pt x="144" y="85"/>
                    </a:cubicBezTo>
                    <a:cubicBezTo>
                      <a:pt x="144" y="85"/>
                      <a:pt x="145" y="82"/>
                      <a:pt x="145" y="76"/>
                    </a:cubicBezTo>
                    <a:cubicBezTo>
                      <a:pt x="145" y="70"/>
                      <a:pt x="130" y="58"/>
                      <a:pt x="131" y="51"/>
                    </a:cubicBezTo>
                    <a:cubicBezTo>
                      <a:pt x="132" y="44"/>
                      <a:pt x="139" y="31"/>
                      <a:pt x="139" y="31"/>
                    </a:cubicBezTo>
                    <a:cubicBezTo>
                      <a:pt x="139" y="31"/>
                      <a:pt x="123" y="25"/>
                      <a:pt x="118" y="22"/>
                    </a:cubicBezTo>
                    <a:cubicBezTo>
                      <a:pt x="113" y="19"/>
                      <a:pt x="96" y="0"/>
                      <a:pt x="96" y="0"/>
                    </a:cubicBezTo>
                    <a:cubicBezTo>
                      <a:pt x="79" y="7"/>
                      <a:pt x="79" y="7"/>
                      <a:pt x="79" y="7"/>
                    </a:cubicBezTo>
                    <a:cubicBezTo>
                      <a:pt x="76" y="23"/>
                      <a:pt x="76" y="23"/>
                      <a:pt x="76" y="23"/>
                    </a:cubicBezTo>
                    <a:cubicBezTo>
                      <a:pt x="83" y="26"/>
                      <a:pt x="83" y="26"/>
                      <a:pt x="83" y="26"/>
                    </a:cubicBezTo>
                    <a:cubicBezTo>
                      <a:pt x="77" y="28"/>
                      <a:pt x="77" y="28"/>
                      <a:pt x="77" y="28"/>
                    </a:cubicBezTo>
                    <a:cubicBezTo>
                      <a:pt x="74" y="39"/>
                      <a:pt x="74" y="39"/>
                      <a:pt x="74" y="39"/>
                    </a:cubicBezTo>
                    <a:cubicBezTo>
                      <a:pt x="74" y="39"/>
                      <a:pt x="67" y="40"/>
                      <a:pt x="63" y="43"/>
                    </a:cubicBezTo>
                    <a:cubicBezTo>
                      <a:pt x="59" y="46"/>
                      <a:pt x="58" y="53"/>
                      <a:pt x="58" y="53"/>
                    </a:cubicBezTo>
                    <a:cubicBezTo>
                      <a:pt x="58" y="53"/>
                      <a:pt x="32" y="52"/>
                      <a:pt x="32" y="51"/>
                    </a:cubicBezTo>
                    <a:cubicBezTo>
                      <a:pt x="21" y="56"/>
                      <a:pt x="19" y="70"/>
                      <a:pt x="19" y="70"/>
                    </a:cubicBezTo>
                    <a:cubicBezTo>
                      <a:pt x="11" y="70"/>
                      <a:pt x="11" y="70"/>
                      <a:pt x="11" y="70"/>
                    </a:cubicBezTo>
                    <a:cubicBezTo>
                      <a:pt x="6" y="77"/>
                      <a:pt x="6" y="77"/>
                      <a:pt x="6" y="77"/>
                    </a:cubicBezTo>
                    <a:cubicBezTo>
                      <a:pt x="0" y="89"/>
                      <a:pt x="0" y="89"/>
                      <a:pt x="0" y="89"/>
                    </a:cubicBezTo>
                    <a:cubicBezTo>
                      <a:pt x="1" y="108"/>
                      <a:pt x="1" y="108"/>
                      <a:pt x="1" y="108"/>
                    </a:cubicBezTo>
                    <a:cubicBezTo>
                      <a:pt x="1" y="108"/>
                      <a:pt x="26" y="123"/>
                      <a:pt x="28" y="131"/>
                    </a:cubicBezTo>
                    <a:cubicBezTo>
                      <a:pt x="30" y="139"/>
                      <a:pt x="28" y="162"/>
                      <a:pt x="28" y="162"/>
                    </a:cubicBezTo>
                    <a:cubicBezTo>
                      <a:pt x="28" y="162"/>
                      <a:pt x="41" y="171"/>
                      <a:pt x="40" y="179"/>
                    </a:cubicBezTo>
                    <a:cubicBezTo>
                      <a:pt x="39" y="187"/>
                      <a:pt x="44" y="206"/>
                      <a:pt x="44" y="206"/>
                    </a:cubicBezTo>
                    <a:cubicBezTo>
                      <a:pt x="39" y="214"/>
                      <a:pt x="39" y="214"/>
                      <a:pt x="39" y="214"/>
                    </a:cubicBezTo>
                    <a:cubicBezTo>
                      <a:pt x="38" y="253"/>
                      <a:pt x="38" y="253"/>
                      <a:pt x="38" y="253"/>
                    </a:cubicBezTo>
                    <a:cubicBezTo>
                      <a:pt x="44" y="259"/>
                      <a:pt x="44" y="259"/>
                      <a:pt x="44" y="259"/>
                    </a:cubicBezTo>
                    <a:cubicBezTo>
                      <a:pt x="39" y="266"/>
                      <a:pt x="39" y="266"/>
                      <a:pt x="39" y="266"/>
                    </a:cubicBezTo>
                    <a:cubicBezTo>
                      <a:pt x="41" y="310"/>
                      <a:pt x="41" y="310"/>
                      <a:pt x="41" y="310"/>
                    </a:cubicBezTo>
                    <a:cubicBezTo>
                      <a:pt x="41" y="310"/>
                      <a:pt x="50" y="319"/>
                      <a:pt x="50" y="329"/>
                    </a:cubicBezTo>
                    <a:cubicBezTo>
                      <a:pt x="50" y="329"/>
                      <a:pt x="50" y="329"/>
                      <a:pt x="50" y="329"/>
                    </a:cubicBezTo>
                    <a:cubicBezTo>
                      <a:pt x="61" y="330"/>
                      <a:pt x="73" y="332"/>
                      <a:pt x="73" y="332"/>
                    </a:cubicBezTo>
                    <a:cubicBezTo>
                      <a:pt x="81" y="318"/>
                      <a:pt x="81" y="318"/>
                      <a:pt x="81" y="318"/>
                    </a:cubicBezTo>
                    <a:cubicBezTo>
                      <a:pt x="81" y="318"/>
                      <a:pt x="85" y="320"/>
                      <a:pt x="91" y="323"/>
                    </a:cubicBezTo>
                    <a:cubicBezTo>
                      <a:pt x="95" y="306"/>
                      <a:pt x="95" y="306"/>
                      <a:pt x="95" y="306"/>
                    </a:cubicBezTo>
                    <a:lnTo>
                      <a:pt x="94" y="247"/>
                    </a:ln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62" name="Angola">
                <a:extLst>
                  <a:ext uri="{FF2B5EF4-FFF2-40B4-BE49-F238E27FC236}">
                    <a16:creationId xmlns:a16="http://schemas.microsoft.com/office/drawing/2014/main" id="{2062F25F-A1D2-4610-A7B1-CD50EAA7A926}"/>
                  </a:ext>
                </a:extLst>
              </p:cNvPr>
              <p:cNvSpPr>
                <a:spLocks noEditPoints="1"/>
              </p:cNvSpPr>
              <p:nvPr/>
            </p:nvSpPr>
            <p:spPr bwMode="gray">
              <a:xfrm>
                <a:off x="5667332" y="4361767"/>
                <a:ext cx="992601" cy="973885"/>
              </a:xfrm>
              <a:custGeom>
                <a:avLst/>
                <a:gdLst>
                  <a:gd name="T0" fmla="*/ 32 w 597"/>
                  <a:gd name="T1" fmla="*/ 79 h 735"/>
                  <a:gd name="T2" fmla="*/ 41 w 597"/>
                  <a:gd name="T3" fmla="*/ 42 h 735"/>
                  <a:gd name="T4" fmla="*/ 68 w 597"/>
                  <a:gd name="T5" fmla="*/ 17 h 735"/>
                  <a:gd name="T6" fmla="*/ 38 w 597"/>
                  <a:gd name="T7" fmla="*/ 15 h 735"/>
                  <a:gd name="T8" fmla="*/ 27 w 597"/>
                  <a:gd name="T9" fmla="*/ 29 h 735"/>
                  <a:gd name="T10" fmla="*/ 26 w 597"/>
                  <a:gd name="T11" fmla="*/ 39 h 735"/>
                  <a:gd name="T12" fmla="*/ 583 w 597"/>
                  <a:gd name="T13" fmla="*/ 362 h 735"/>
                  <a:gd name="T14" fmla="*/ 558 w 597"/>
                  <a:gd name="T15" fmla="*/ 357 h 735"/>
                  <a:gd name="T16" fmla="*/ 535 w 597"/>
                  <a:gd name="T17" fmla="*/ 367 h 735"/>
                  <a:gd name="T18" fmla="*/ 511 w 597"/>
                  <a:gd name="T19" fmla="*/ 375 h 735"/>
                  <a:gd name="T20" fmla="*/ 503 w 597"/>
                  <a:gd name="T21" fmla="*/ 346 h 735"/>
                  <a:gd name="T22" fmla="*/ 496 w 597"/>
                  <a:gd name="T23" fmla="*/ 299 h 735"/>
                  <a:gd name="T24" fmla="*/ 488 w 597"/>
                  <a:gd name="T25" fmla="*/ 256 h 735"/>
                  <a:gd name="T26" fmla="*/ 493 w 597"/>
                  <a:gd name="T27" fmla="*/ 224 h 735"/>
                  <a:gd name="T28" fmla="*/ 477 w 597"/>
                  <a:gd name="T29" fmla="*/ 190 h 735"/>
                  <a:gd name="T30" fmla="*/ 484 w 597"/>
                  <a:gd name="T31" fmla="*/ 162 h 735"/>
                  <a:gd name="T32" fmla="*/ 423 w 597"/>
                  <a:gd name="T33" fmla="*/ 155 h 735"/>
                  <a:gd name="T34" fmla="*/ 409 w 597"/>
                  <a:gd name="T35" fmla="*/ 148 h 735"/>
                  <a:gd name="T36" fmla="*/ 381 w 597"/>
                  <a:gd name="T37" fmla="*/ 170 h 735"/>
                  <a:gd name="T38" fmla="*/ 369 w 597"/>
                  <a:gd name="T39" fmla="*/ 197 h 735"/>
                  <a:gd name="T40" fmla="*/ 335 w 597"/>
                  <a:gd name="T41" fmla="*/ 195 h 735"/>
                  <a:gd name="T42" fmla="*/ 313 w 597"/>
                  <a:gd name="T43" fmla="*/ 201 h 735"/>
                  <a:gd name="T44" fmla="*/ 302 w 597"/>
                  <a:gd name="T45" fmla="*/ 203 h 735"/>
                  <a:gd name="T46" fmla="*/ 278 w 597"/>
                  <a:gd name="T47" fmla="*/ 194 h 735"/>
                  <a:gd name="T48" fmla="*/ 265 w 597"/>
                  <a:gd name="T49" fmla="*/ 172 h 735"/>
                  <a:gd name="T50" fmla="*/ 255 w 597"/>
                  <a:gd name="T51" fmla="*/ 141 h 735"/>
                  <a:gd name="T52" fmla="*/ 243 w 597"/>
                  <a:gd name="T53" fmla="*/ 98 h 735"/>
                  <a:gd name="T54" fmla="*/ 209 w 597"/>
                  <a:gd name="T55" fmla="*/ 84 h 735"/>
                  <a:gd name="T56" fmla="*/ 185 w 597"/>
                  <a:gd name="T57" fmla="*/ 86 h 735"/>
                  <a:gd name="T58" fmla="*/ 155 w 597"/>
                  <a:gd name="T59" fmla="*/ 84 h 735"/>
                  <a:gd name="T60" fmla="*/ 112 w 597"/>
                  <a:gd name="T61" fmla="*/ 82 h 735"/>
                  <a:gd name="T62" fmla="*/ 89 w 597"/>
                  <a:gd name="T63" fmla="*/ 84 h 735"/>
                  <a:gd name="T64" fmla="*/ 67 w 597"/>
                  <a:gd name="T65" fmla="*/ 84 h 735"/>
                  <a:gd name="T66" fmla="*/ 43 w 597"/>
                  <a:gd name="T67" fmla="*/ 97 h 735"/>
                  <a:gd name="T68" fmla="*/ 48 w 597"/>
                  <a:gd name="T69" fmla="*/ 128 h 735"/>
                  <a:gd name="T70" fmla="*/ 56 w 597"/>
                  <a:gd name="T71" fmla="*/ 157 h 735"/>
                  <a:gd name="T72" fmla="*/ 69 w 597"/>
                  <a:gd name="T73" fmla="*/ 254 h 735"/>
                  <a:gd name="T74" fmla="*/ 75 w 597"/>
                  <a:gd name="T75" fmla="*/ 270 h 735"/>
                  <a:gd name="T76" fmla="*/ 108 w 597"/>
                  <a:gd name="T77" fmla="*/ 388 h 735"/>
                  <a:gd name="T78" fmla="*/ 93 w 597"/>
                  <a:gd name="T79" fmla="*/ 442 h 735"/>
                  <a:gd name="T80" fmla="*/ 66 w 597"/>
                  <a:gd name="T81" fmla="*/ 460 h 735"/>
                  <a:gd name="T82" fmla="*/ 44 w 597"/>
                  <a:gd name="T83" fmla="*/ 484 h 735"/>
                  <a:gd name="T84" fmla="*/ 34 w 597"/>
                  <a:gd name="T85" fmla="*/ 524 h 735"/>
                  <a:gd name="T86" fmla="*/ 21 w 597"/>
                  <a:gd name="T87" fmla="*/ 579 h 735"/>
                  <a:gd name="T88" fmla="*/ 6 w 597"/>
                  <a:gd name="T89" fmla="*/ 618 h 735"/>
                  <a:gd name="T90" fmla="*/ 13 w 597"/>
                  <a:gd name="T91" fmla="*/ 654 h 735"/>
                  <a:gd name="T92" fmla="*/ 3 w 597"/>
                  <a:gd name="T93" fmla="*/ 696 h 735"/>
                  <a:gd name="T94" fmla="*/ 24 w 597"/>
                  <a:gd name="T95" fmla="*/ 691 h 735"/>
                  <a:gd name="T96" fmla="*/ 50 w 597"/>
                  <a:gd name="T97" fmla="*/ 695 h 735"/>
                  <a:gd name="T98" fmla="*/ 81 w 597"/>
                  <a:gd name="T99" fmla="*/ 681 h 735"/>
                  <a:gd name="T100" fmla="*/ 322 w 597"/>
                  <a:gd name="T101" fmla="*/ 703 h 735"/>
                  <a:gd name="T102" fmla="*/ 361 w 597"/>
                  <a:gd name="T103" fmla="*/ 724 h 735"/>
                  <a:gd name="T104" fmla="*/ 411 w 597"/>
                  <a:gd name="T105" fmla="*/ 729 h 735"/>
                  <a:gd name="T106" fmla="*/ 463 w 597"/>
                  <a:gd name="T107" fmla="*/ 735 h 735"/>
                  <a:gd name="T108" fmla="*/ 493 w 597"/>
                  <a:gd name="T109" fmla="*/ 657 h 735"/>
                  <a:gd name="T110" fmla="*/ 487 w 597"/>
                  <a:gd name="T111" fmla="*/ 635 h 735"/>
                  <a:gd name="T112" fmla="*/ 571 w 597"/>
                  <a:gd name="T113" fmla="*/ 470 h 735"/>
                  <a:gd name="T114" fmla="*/ 580 w 597"/>
                  <a:gd name="T115" fmla="*/ 440 h 735"/>
                  <a:gd name="T116" fmla="*/ 585 w 597"/>
                  <a:gd name="T117" fmla="*/ 426 h 735"/>
                  <a:gd name="T118" fmla="*/ 594 w 597"/>
                  <a:gd name="T119" fmla="*/ 3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35">
                    <a:moveTo>
                      <a:pt x="30" y="77"/>
                    </a:moveTo>
                    <a:cubicBezTo>
                      <a:pt x="30" y="77"/>
                      <a:pt x="31" y="78"/>
                      <a:pt x="32" y="79"/>
                    </a:cubicBezTo>
                    <a:cubicBezTo>
                      <a:pt x="37" y="76"/>
                      <a:pt x="42" y="74"/>
                      <a:pt x="45" y="72"/>
                    </a:cubicBezTo>
                    <a:cubicBezTo>
                      <a:pt x="53" y="68"/>
                      <a:pt x="41" y="42"/>
                      <a:pt x="41" y="42"/>
                    </a:cubicBezTo>
                    <a:cubicBezTo>
                      <a:pt x="65" y="25"/>
                      <a:pt x="65" y="25"/>
                      <a:pt x="65" y="25"/>
                    </a:cubicBezTo>
                    <a:cubicBezTo>
                      <a:pt x="68" y="17"/>
                      <a:pt x="68" y="17"/>
                      <a:pt x="68" y="17"/>
                    </a:cubicBezTo>
                    <a:cubicBezTo>
                      <a:pt x="68" y="17"/>
                      <a:pt x="66" y="0"/>
                      <a:pt x="59" y="1"/>
                    </a:cubicBezTo>
                    <a:cubicBezTo>
                      <a:pt x="52" y="2"/>
                      <a:pt x="38" y="15"/>
                      <a:pt x="38" y="15"/>
                    </a:cubicBezTo>
                    <a:cubicBezTo>
                      <a:pt x="38" y="29"/>
                      <a:pt x="38" y="29"/>
                      <a:pt x="38" y="29"/>
                    </a:cubicBezTo>
                    <a:cubicBezTo>
                      <a:pt x="27" y="29"/>
                      <a:pt x="27" y="29"/>
                      <a:pt x="27" y="29"/>
                    </a:cubicBezTo>
                    <a:cubicBezTo>
                      <a:pt x="23" y="35"/>
                      <a:pt x="23" y="35"/>
                      <a:pt x="23" y="35"/>
                    </a:cubicBezTo>
                    <a:cubicBezTo>
                      <a:pt x="26" y="39"/>
                      <a:pt x="26" y="39"/>
                      <a:pt x="26" y="39"/>
                    </a:cubicBezTo>
                    <a:lnTo>
                      <a:pt x="30" y="77"/>
                    </a:lnTo>
                    <a:close/>
                    <a:moveTo>
                      <a:pt x="583" y="362"/>
                    </a:moveTo>
                    <a:cubicBezTo>
                      <a:pt x="569" y="364"/>
                      <a:pt x="569" y="364"/>
                      <a:pt x="569" y="364"/>
                    </a:cubicBezTo>
                    <a:cubicBezTo>
                      <a:pt x="569" y="364"/>
                      <a:pt x="565" y="357"/>
                      <a:pt x="558" y="357"/>
                    </a:cubicBezTo>
                    <a:cubicBezTo>
                      <a:pt x="551" y="357"/>
                      <a:pt x="551" y="362"/>
                      <a:pt x="551" y="362"/>
                    </a:cubicBezTo>
                    <a:cubicBezTo>
                      <a:pt x="535" y="367"/>
                      <a:pt x="535" y="367"/>
                      <a:pt x="535" y="367"/>
                    </a:cubicBezTo>
                    <a:cubicBezTo>
                      <a:pt x="517" y="363"/>
                      <a:pt x="517" y="363"/>
                      <a:pt x="517" y="363"/>
                    </a:cubicBezTo>
                    <a:cubicBezTo>
                      <a:pt x="511" y="375"/>
                      <a:pt x="511" y="375"/>
                      <a:pt x="511" y="375"/>
                    </a:cubicBezTo>
                    <a:cubicBezTo>
                      <a:pt x="511" y="375"/>
                      <a:pt x="503" y="373"/>
                      <a:pt x="500" y="369"/>
                    </a:cubicBezTo>
                    <a:cubicBezTo>
                      <a:pt x="497" y="365"/>
                      <a:pt x="500" y="353"/>
                      <a:pt x="503" y="346"/>
                    </a:cubicBezTo>
                    <a:cubicBezTo>
                      <a:pt x="506" y="339"/>
                      <a:pt x="507" y="324"/>
                      <a:pt x="507" y="324"/>
                    </a:cubicBezTo>
                    <a:cubicBezTo>
                      <a:pt x="507" y="324"/>
                      <a:pt x="503" y="306"/>
                      <a:pt x="496" y="299"/>
                    </a:cubicBezTo>
                    <a:cubicBezTo>
                      <a:pt x="489" y="292"/>
                      <a:pt x="483" y="284"/>
                      <a:pt x="483" y="276"/>
                    </a:cubicBezTo>
                    <a:cubicBezTo>
                      <a:pt x="483" y="268"/>
                      <a:pt x="488" y="256"/>
                      <a:pt x="488" y="256"/>
                    </a:cubicBezTo>
                    <a:cubicBezTo>
                      <a:pt x="485" y="240"/>
                      <a:pt x="485" y="240"/>
                      <a:pt x="485" y="240"/>
                    </a:cubicBezTo>
                    <a:cubicBezTo>
                      <a:pt x="485" y="240"/>
                      <a:pt x="493" y="231"/>
                      <a:pt x="493" y="224"/>
                    </a:cubicBezTo>
                    <a:cubicBezTo>
                      <a:pt x="493" y="217"/>
                      <a:pt x="480" y="204"/>
                      <a:pt x="480" y="204"/>
                    </a:cubicBezTo>
                    <a:cubicBezTo>
                      <a:pt x="477" y="190"/>
                      <a:pt x="477" y="190"/>
                      <a:pt x="477" y="190"/>
                    </a:cubicBezTo>
                    <a:cubicBezTo>
                      <a:pt x="484" y="180"/>
                      <a:pt x="484" y="180"/>
                      <a:pt x="484" y="180"/>
                    </a:cubicBezTo>
                    <a:cubicBezTo>
                      <a:pt x="484" y="162"/>
                      <a:pt x="484" y="162"/>
                      <a:pt x="484" y="162"/>
                    </a:cubicBezTo>
                    <a:cubicBezTo>
                      <a:pt x="424" y="163"/>
                      <a:pt x="424" y="163"/>
                      <a:pt x="424" y="163"/>
                    </a:cubicBezTo>
                    <a:cubicBezTo>
                      <a:pt x="423" y="155"/>
                      <a:pt x="423" y="155"/>
                      <a:pt x="423" y="155"/>
                    </a:cubicBezTo>
                    <a:cubicBezTo>
                      <a:pt x="423" y="155"/>
                      <a:pt x="427" y="146"/>
                      <a:pt x="418" y="143"/>
                    </a:cubicBezTo>
                    <a:cubicBezTo>
                      <a:pt x="409" y="140"/>
                      <a:pt x="409" y="148"/>
                      <a:pt x="409" y="148"/>
                    </a:cubicBezTo>
                    <a:cubicBezTo>
                      <a:pt x="409" y="148"/>
                      <a:pt x="380" y="145"/>
                      <a:pt x="375" y="149"/>
                    </a:cubicBezTo>
                    <a:cubicBezTo>
                      <a:pt x="370" y="153"/>
                      <a:pt x="381" y="165"/>
                      <a:pt x="381" y="170"/>
                    </a:cubicBezTo>
                    <a:cubicBezTo>
                      <a:pt x="381" y="175"/>
                      <a:pt x="374" y="175"/>
                      <a:pt x="371" y="179"/>
                    </a:cubicBezTo>
                    <a:cubicBezTo>
                      <a:pt x="368" y="183"/>
                      <a:pt x="369" y="197"/>
                      <a:pt x="369" y="197"/>
                    </a:cubicBezTo>
                    <a:cubicBezTo>
                      <a:pt x="339" y="200"/>
                      <a:pt x="339" y="200"/>
                      <a:pt x="339" y="200"/>
                    </a:cubicBezTo>
                    <a:cubicBezTo>
                      <a:pt x="335" y="195"/>
                      <a:pt x="335" y="195"/>
                      <a:pt x="335" y="195"/>
                    </a:cubicBezTo>
                    <a:cubicBezTo>
                      <a:pt x="328" y="201"/>
                      <a:pt x="328" y="201"/>
                      <a:pt x="328" y="201"/>
                    </a:cubicBezTo>
                    <a:cubicBezTo>
                      <a:pt x="313" y="201"/>
                      <a:pt x="313" y="201"/>
                      <a:pt x="313" y="201"/>
                    </a:cubicBezTo>
                    <a:cubicBezTo>
                      <a:pt x="309" y="208"/>
                      <a:pt x="309" y="208"/>
                      <a:pt x="309" y="208"/>
                    </a:cubicBezTo>
                    <a:cubicBezTo>
                      <a:pt x="302" y="203"/>
                      <a:pt x="302" y="203"/>
                      <a:pt x="302" y="203"/>
                    </a:cubicBezTo>
                    <a:cubicBezTo>
                      <a:pt x="281" y="204"/>
                      <a:pt x="281" y="204"/>
                      <a:pt x="281" y="204"/>
                    </a:cubicBezTo>
                    <a:cubicBezTo>
                      <a:pt x="278" y="194"/>
                      <a:pt x="278" y="194"/>
                      <a:pt x="278" y="194"/>
                    </a:cubicBezTo>
                    <a:cubicBezTo>
                      <a:pt x="272" y="186"/>
                      <a:pt x="272" y="186"/>
                      <a:pt x="272" y="186"/>
                    </a:cubicBezTo>
                    <a:cubicBezTo>
                      <a:pt x="272" y="186"/>
                      <a:pt x="270" y="178"/>
                      <a:pt x="265" y="172"/>
                    </a:cubicBezTo>
                    <a:cubicBezTo>
                      <a:pt x="260" y="166"/>
                      <a:pt x="254" y="163"/>
                      <a:pt x="254" y="163"/>
                    </a:cubicBezTo>
                    <a:cubicBezTo>
                      <a:pt x="254" y="163"/>
                      <a:pt x="256" y="147"/>
                      <a:pt x="255" y="141"/>
                    </a:cubicBezTo>
                    <a:cubicBezTo>
                      <a:pt x="254" y="135"/>
                      <a:pt x="244" y="128"/>
                      <a:pt x="244" y="128"/>
                    </a:cubicBezTo>
                    <a:cubicBezTo>
                      <a:pt x="243" y="98"/>
                      <a:pt x="243" y="98"/>
                      <a:pt x="243" y="98"/>
                    </a:cubicBezTo>
                    <a:cubicBezTo>
                      <a:pt x="243" y="98"/>
                      <a:pt x="237" y="94"/>
                      <a:pt x="232" y="85"/>
                    </a:cubicBezTo>
                    <a:cubicBezTo>
                      <a:pt x="227" y="76"/>
                      <a:pt x="209" y="84"/>
                      <a:pt x="209" y="84"/>
                    </a:cubicBezTo>
                    <a:cubicBezTo>
                      <a:pt x="195" y="83"/>
                      <a:pt x="195" y="83"/>
                      <a:pt x="195" y="83"/>
                    </a:cubicBezTo>
                    <a:cubicBezTo>
                      <a:pt x="185" y="86"/>
                      <a:pt x="185" y="86"/>
                      <a:pt x="185" y="86"/>
                    </a:cubicBezTo>
                    <a:cubicBezTo>
                      <a:pt x="185" y="86"/>
                      <a:pt x="178" y="86"/>
                      <a:pt x="173" y="86"/>
                    </a:cubicBezTo>
                    <a:cubicBezTo>
                      <a:pt x="168" y="86"/>
                      <a:pt x="155" y="84"/>
                      <a:pt x="155" y="84"/>
                    </a:cubicBezTo>
                    <a:cubicBezTo>
                      <a:pt x="155" y="84"/>
                      <a:pt x="137" y="87"/>
                      <a:pt x="130" y="88"/>
                    </a:cubicBezTo>
                    <a:cubicBezTo>
                      <a:pt x="123" y="89"/>
                      <a:pt x="112" y="82"/>
                      <a:pt x="112" y="82"/>
                    </a:cubicBezTo>
                    <a:cubicBezTo>
                      <a:pt x="97" y="86"/>
                      <a:pt x="97" y="86"/>
                      <a:pt x="97" y="86"/>
                    </a:cubicBezTo>
                    <a:cubicBezTo>
                      <a:pt x="89" y="84"/>
                      <a:pt x="89" y="84"/>
                      <a:pt x="89" y="84"/>
                    </a:cubicBezTo>
                    <a:cubicBezTo>
                      <a:pt x="84" y="86"/>
                      <a:pt x="84" y="86"/>
                      <a:pt x="84" y="86"/>
                    </a:cubicBezTo>
                    <a:cubicBezTo>
                      <a:pt x="67" y="84"/>
                      <a:pt x="67" y="84"/>
                      <a:pt x="67" y="84"/>
                    </a:cubicBezTo>
                    <a:cubicBezTo>
                      <a:pt x="44" y="94"/>
                      <a:pt x="44" y="94"/>
                      <a:pt x="44" y="94"/>
                    </a:cubicBezTo>
                    <a:cubicBezTo>
                      <a:pt x="44" y="95"/>
                      <a:pt x="44" y="96"/>
                      <a:pt x="43" y="97"/>
                    </a:cubicBezTo>
                    <a:cubicBezTo>
                      <a:pt x="37" y="101"/>
                      <a:pt x="32" y="102"/>
                      <a:pt x="32" y="102"/>
                    </a:cubicBezTo>
                    <a:cubicBezTo>
                      <a:pt x="32" y="102"/>
                      <a:pt x="45" y="121"/>
                      <a:pt x="48" y="128"/>
                    </a:cubicBezTo>
                    <a:cubicBezTo>
                      <a:pt x="51" y="135"/>
                      <a:pt x="60" y="138"/>
                      <a:pt x="60" y="138"/>
                    </a:cubicBezTo>
                    <a:cubicBezTo>
                      <a:pt x="56" y="157"/>
                      <a:pt x="56" y="157"/>
                      <a:pt x="56" y="157"/>
                    </a:cubicBezTo>
                    <a:cubicBezTo>
                      <a:pt x="56" y="157"/>
                      <a:pt x="88" y="194"/>
                      <a:pt x="85" y="221"/>
                    </a:cubicBezTo>
                    <a:cubicBezTo>
                      <a:pt x="82" y="248"/>
                      <a:pt x="69" y="254"/>
                      <a:pt x="69" y="254"/>
                    </a:cubicBezTo>
                    <a:cubicBezTo>
                      <a:pt x="68" y="271"/>
                      <a:pt x="68" y="271"/>
                      <a:pt x="68" y="271"/>
                    </a:cubicBezTo>
                    <a:cubicBezTo>
                      <a:pt x="75" y="270"/>
                      <a:pt x="75" y="270"/>
                      <a:pt x="75" y="270"/>
                    </a:cubicBezTo>
                    <a:cubicBezTo>
                      <a:pt x="75" y="270"/>
                      <a:pt x="71" y="293"/>
                      <a:pt x="85" y="314"/>
                    </a:cubicBezTo>
                    <a:cubicBezTo>
                      <a:pt x="99" y="335"/>
                      <a:pt x="111" y="373"/>
                      <a:pt x="108" y="388"/>
                    </a:cubicBezTo>
                    <a:cubicBezTo>
                      <a:pt x="105" y="403"/>
                      <a:pt x="94" y="420"/>
                      <a:pt x="94" y="420"/>
                    </a:cubicBezTo>
                    <a:cubicBezTo>
                      <a:pt x="94" y="420"/>
                      <a:pt x="101" y="436"/>
                      <a:pt x="93" y="442"/>
                    </a:cubicBezTo>
                    <a:cubicBezTo>
                      <a:pt x="85" y="448"/>
                      <a:pt x="72" y="446"/>
                      <a:pt x="72" y="446"/>
                    </a:cubicBezTo>
                    <a:cubicBezTo>
                      <a:pt x="66" y="460"/>
                      <a:pt x="66" y="460"/>
                      <a:pt x="66" y="460"/>
                    </a:cubicBezTo>
                    <a:cubicBezTo>
                      <a:pt x="68" y="475"/>
                      <a:pt x="68" y="475"/>
                      <a:pt x="68" y="475"/>
                    </a:cubicBezTo>
                    <a:cubicBezTo>
                      <a:pt x="68" y="475"/>
                      <a:pt x="43" y="472"/>
                      <a:pt x="44" y="484"/>
                    </a:cubicBezTo>
                    <a:cubicBezTo>
                      <a:pt x="45" y="496"/>
                      <a:pt x="41" y="514"/>
                      <a:pt x="41" y="514"/>
                    </a:cubicBezTo>
                    <a:cubicBezTo>
                      <a:pt x="34" y="524"/>
                      <a:pt x="34" y="524"/>
                      <a:pt x="34" y="524"/>
                    </a:cubicBezTo>
                    <a:cubicBezTo>
                      <a:pt x="34" y="524"/>
                      <a:pt x="38" y="556"/>
                      <a:pt x="35" y="566"/>
                    </a:cubicBezTo>
                    <a:cubicBezTo>
                      <a:pt x="32" y="576"/>
                      <a:pt x="21" y="579"/>
                      <a:pt x="21" y="579"/>
                    </a:cubicBezTo>
                    <a:cubicBezTo>
                      <a:pt x="21" y="606"/>
                      <a:pt x="21" y="606"/>
                      <a:pt x="21" y="606"/>
                    </a:cubicBezTo>
                    <a:cubicBezTo>
                      <a:pt x="6" y="618"/>
                      <a:pt x="6" y="618"/>
                      <a:pt x="6" y="618"/>
                    </a:cubicBezTo>
                    <a:cubicBezTo>
                      <a:pt x="6" y="645"/>
                      <a:pt x="6" y="645"/>
                      <a:pt x="6" y="645"/>
                    </a:cubicBezTo>
                    <a:cubicBezTo>
                      <a:pt x="13" y="654"/>
                      <a:pt x="13" y="654"/>
                      <a:pt x="13" y="654"/>
                    </a:cubicBezTo>
                    <a:cubicBezTo>
                      <a:pt x="0" y="669"/>
                      <a:pt x="0" y="669"/>
                      <a:pt x="0" y="669"/>
                    </a:cubicBezTo>
                    <a:cubicBezTo>
                      <a:pt x="3" y="696"/>
                      <a:pt x="3" y="696"/>
                      <a:pt x="3" y="696"/>
                    </a:cubicBezTo>
                    <a:cubicBezTo>
                      <a:pt x="13" y="695"/>
                      <a:pt x="13" y="695"/>
                      <a:pt x="13" y="695"/>
                    </a:cubicBezTo>
                    <a:cubicBezTo>
                      <a:pt x="24" y="691"/>
                      <a:pt x="24" y="691"/>
                      <a:pt x="24" y="691"/>
                    </a:cubicBezTo>
                    <a:cubicBezTo>
                      <a:pt x="31" y="696"/>
                      <a:pt x="31" y="696"/>
                      <a:pt x="31" y="696"/>
                    </a:cubicBezTo>
                    <a:cubicBezTo>
                      <a:pt x="31" y="696"/>
                      <a:pt x="43" y="696"/>
                      <a:pt x="50" y="695"/>
                    </a:cubicBezTo>
                    <a:cubicBezTo>
                      <a:pt x="57" y="694"/>
                      <a:pt x="61" y="680"/>
                      <a:pt x="61" y="680"/>
                    </a:cubicBezTo>
                    <a:cubicBezTo>
                      <a:pt x="61" y="680"/>
                      <a:pt x="82" y="682"/>
                      <a:pt x="81" y="681"/>
                    </a:cubicBezTo>
                    <a:cubicBezTo>
                      <a:pt x="85" y="692"/>
                      <a:pt x="119" y="705"/>
                      <a:pt x="119" y="705"/>
                    </a:cubicBezTo>
                    <a:cubicBezTo>
                      <a:pt x="322" y="703"/>
                      <a:pt x="322" y="703"/>
                      <a:pt x="322" y="703"/>
                    </a:cubicBezTo>
                    <a:cubicBezTo>
                      <a:pt x="322" y="703"/>
                      <a:pt x="331" y="722"/>
                      <a:pt x="338" y="724"/>
                    </a:cubicBezTo>
                    <a:cubicBezTo>
                      <a:pt x="345" y="726"/>
                      <a:pt x="361" y="724"/>
                      <a:pt x="361" y="724"/>
                    </a:cubicBezTo>
                    <a:cubicBezTo>
                      <a:pt x="365" y="730"/>
                      <a:pt x="365" y="730"/>
                      <a:pt x="365" y="730"/>
                    </a:cubicBezTo>
                    <a:cubicBezTo>
                      <a:pt x="411" y="729"/>
                      <a:pt x="411" y="729"/>
                      <a:pt x="411" y="729"/>
                    </a:cubicBezTo>
                    <a:cubicBezTo>
                      <a:pt x="417" y="735"/>
                      <a:pt x="417" y="735"/>
                      <a:pt x="417" y="735"/>
                    </a:cubicBezTo>
                    <a:cubicBezTo>
                      <a:pt x="417" y="735"/>
                      <a:pt x="435" y="735"/>
                      <a:pt x="463" y="735"/>
                    </a:cubicBezTo>
                    <a:cubicBezTo>
                      <a:pt x="491" y="735"/>
                      <a:pt x="551" y="715"/>
                      <a:pt x="551" y="715"/>
                    </a:cubicBezTo>
                    <a:cubicBezTo>
                      <a:pt x="493" y="657"/>
                      <a:pt x="493" y="657"/>
                      <a:pt x="493" y="657"/>
                    </a:cubicBezTo>
                    <a:cubicBezTo>
                      <a:pt x="493" y="645"/>
                      <a:pt x="493" y="645"/>
                      <a:pt x="493" y="645"/>
                    </a:cubicBezTo>
                    <a:cubicBezTo>
                      <a:pt x="487" y="635"/>
                      <a:pt x="487" y="635"/>
                      <a:pt x="487" y="635"/>
                    </a:cubicBezTo>
                    <a:cubicBezTo>
                      <a:pt x="488" y="468"/>
                      <a:pt x="488" y="468"/>
                      <a:pt x="488" y="468"/>
                    </a:cubicBezTo>
                    <a:cubicBezTo>
                      <a:pt x="571" y="470"/>
                      <a:pt x="571" y="470"/>
                      <a:pt x="571" y="470"/>
                    </a:cubicBezTo>
                    <a:cubicBezTo>
                      <a:pt x="571" y="470"/>
                      <a:pt x="582" y="470"/>
                      <a:pt x="584" y="463"/>
                    </a:cubicBezTo>
                    <a:cubicBezTo>
                      <a:pt x="586" y="456"/>
                      <a:pt x="580" y="440"/>
                      <a:pt x="580" y="440"/>
                    </a:cubicBezTo>
                    <a:cubicBezTo>
                      <a:pt x="593" y="437"/>
                      <a:pt x="593" y="437"/>
                      <a:pt x="593" y="437"/>
                    </a:cubicBezTo>
                    <a:cubicBezTo>
                      <a:pt x="585" y="426"/>
                      <a:pt x="585" y="426"/>
                      <a:pt x="585" y="426"/>
                    </a:cubicBezTo>
                    <a:cubicBezTo>
                      <a:pt x="583" y="391"/>
                      <a:pt x="583" y="391"/>
                      <a:pt x="583" y="391"/>
                    </a:cubicBezTo>
                    <a:cubicBezTo>
                      <a:pt x="583" y="391"/>
                      <a:pt x="591" y="389"/>
                      <a:pt x="594" y="386"/>
                    </a:cubicBezTo>
                    <a:cubicBezTo>
                      <a:pt x="597" y="383"/>
                      <a:pt x="583" y="362"/>
                      <a:pt x="583" y="362"/>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sp>
            <p:nvSpPr>
              <p:cNvPr id="263" name="Algeria">
                <a:extLst>
                  <a:ext uri="{FF2B5EF4-FFF2-40B4-BE49-F238E27FC236}">
                    <a16:creationId xmlns:a16="http://schemas.microsoft.com/office/drawing/2014/main" id="{CDFFD646-B3DD-41BA-BD31-BB9F8EED07B9}"/>
                  </a:ext>
                </a:extLst>
              </p:cNvPr>
              <p:cNvSpPr>
                <a:spLocks/>
              </p:cNvSpPr>
              <p:nvPr/>
            </p:nvSpPr>
            <p:spPr bwMode="gray">
              <a:xfrm>
                <a:off x="4063176" y="1406273"/>
                <a:ext cx="1632382" cy="1301019"/>
              </a:xfrm>
              <a:custGeom>
                <a:avLst/>
                <a:gdLst>
                  <a:gd name="T0" fmla="*/ 212 w 983"/>
                  <a:gd name="T1" fmla="*/ 357 h 981"/>
                  <a:gd name="T2" fmla="*/ 155 w 983"/>
                  <a:gd name="T3" fmla="*/ 390 h 981"/>
                  <a:gd name="T4" fmla="*/ 136 w 983"/>
                  <a:gd name="T5" fmla="*/ 399 h 981"/>
                  <a:gd name="T6" fmla="*/ 111 w 983"/>
                  <a:gd name="T7" fmla="*/ 404 h 981"/>
                  <a:gd name="T8" fmla="*/ 81 w 983"/>
                  <a:gd name="T9" fmla="*/ 417 h 981"/>
                  <a:gd name="T10" fmla="*/ 40 w 983"/>
                  <a:gd name="T11" fmla="*/ 454 h 981"/>
                  <a:gd name="T12" fmla="*/ 35 w 983"/>
                  <a:gd name="T13" fmla="*/ 511 h 981"/>
                  <a:gd name="T14" fmla="*/ 37 w 983"/>
                  <a:gd name="T15" fmla="*/ 513 h 981"/>
                  <a:gd name="T16" fmla="*/ 208 w 983"/>
                  <a:gd name="T17" fmla="*/ 656 h 981"/>
                  <a:gd name="T18" fmla="*/ 481 w 983"/>
                  <a:gd name="T19" fmla="*/ 882 h 981"/>
                  <a:gd name="T20" fmla="*/ 510 w 983"/>
                  <a:gd name="T21" fmla="*/ 904 h 981"/>
                  <a:gd name="T22" fmla="*/ 538 w 983"/>
                  <a:gd name="T23" fmla="*/ 923 h 981"/>
                  <a:gd name="T24" fmla="*/ 582 w 983"/>
                  <a:gd name="T25" fmla="*/ 953 h 981"/>
                  <a:gd name="T26" fmla="*/ 610 w 983"/>
                  <a:gd name="T27" fmla="*/ 973 h 981"/>
                  <a:gd name="T28" fmla="*/ 774 w 983"/>
                  <a:gd name="T29" fmla="*/ 886 h 981"/>
                  <a:gd name="T30" fmla="*/ 963 w 983"/>
                  <a:gd name="T31" fmla="*/ 691 h 981"/>
                  <a:gd name="T32" fmla="*/ 909 w 983"/>
                  <a:gd name="T33" fmla="*/ 684 h 981"/>
                  <a:gd name="T34" fmla="*/ 893 w 983"/>
                  <a:gd name="T35" fmla="*/ 639 h 981"/>
                  <a:gd name="T36" fmla="*/ 889 w 983"/>
                  <a:gd name="T37" fmla="*/ 569 h 981"/>
                  <a:gd name="T38" fmla="*/ 880 w 983"/>
                  <a:gd name="T39" fmla="*/ 515 h 981"/>
                  <a:gd name="T40" fmla="*/ 883 w 983"/>
                  <a:gd name="T41" fmla="*/ 488 h 981"/>
                  <a:gd name="T42" fmla="*/ 862 w 983"/>
                  <a:gd name="T43" fmla="*/ 381 h 981"/>
                  <a:gd name="T44" fmla="*/ 870 w 983"/>
                  <a:gd name="T45" fmla="*/ 373 h 981"/>
                  <a:gd name="T46" fmla="*/ 817 w 983"/>
                  <a:gd name="T47" fmla="*/ 252 h 981"/>
                  <a:gd name="T48" fmla="*/ 789 w 983"/>
                  <a:gd name="T49" fmla="*/ 213 h 981"/>
                  <a:gd name="T50" fmla="*/ 782 w 983"/>
                  <a:gd name="T51" fmla="*/ 194 h 981"/>
                  <a:gd name="T52" fmla="*/ 798 w 983"/>
                  <a:gd name="T53" fmla="*/ 148 h 981"/>
                  <a:gd name="T54" fmla="*/ 820 w 983"/>
                  <a:gd name="T55" fmla="*/ 105 h 981"/>
                  <a:gd name="T56" fmla="*/ 820 w 983"/>
                  <a:gd name="T57" fmla="*/ 38 h 981"/>
                  <a:gd name="T58" fmla="*/ 835 w 983"/>
                  <a:gd name="T59" fmla="*/ 21 h 981"/>
                  <a:gd name="T60" fmla="*/ 815 w 983"/>
                  <a:gd name="T61" fmla="*/ 10 h 981"/>
                  <a:gd name="T62" fmla="*/ 779 w 983"/>
                  <a:gd name="T63" fmla="*/ 3 h 981"/>
                  <a:gd name="T64" fmla="*/ 769 w 983"/>
                  <a:gd name="T65" fmla="*/ 14 h 981"/>
                  <a:gd name="T66" fmla="*/ 728 w 983"/>
                  <a:gd name="T67" fmla="*/ 0 h 981"/>
                  <a:gd name="T68" fmla="*/ 704 w 983"/>
                  <a:gd name="T69" fmla="*/ 14 h 981"/>
                  <a:gd name="T70" fmla="*/ 631 w 983"/>
                  <a:gd name="T71" fmla="*/ 18 h 981"/>
                  <a:gd name="T72" fmla="*/ 545 w 983"/>
                  <a:gd name="T73" fmla="*/ 27 h 981"/>
                  <a:gd name="T74" fmla="*/ 503 w 983"/>
                  <a:gd name="T75" fmla="*/ 33 h 981"/>
                  <a:gd name="T76" fmla="*/ 446 w 983"/>
                  <a:gd name="T77" fmla="*/ 72 h 981"/>
                  <a:gd name="T78" fmla="*/ 355 w 983"/>
                  <a:gd name="T79" fmla="*/ 113 h 981"/>
                  <a:gd name="T80" fmla="*/ 349 w 983"/>
                  <a:gd name="T81" fmla="*/ 112 h 981"/>
                  <a:gd name="T82" fmla="*/ 360 w 983"/>
                  <a:gd name="T83" fmla="*/ 141 h 981"/>
                  <a:gd name="T84" fmla="*/ 365 w 983"/>
                  <a:gd name="T85" fmla="*/ 186 h 981"/>
                  <a:gd name="T86" fmla="*/ 364 w 983"/>
                  <a:gd name="T87" fmla="*/ 218 h 981"/>
                  <a:gd name="T88" fmla="*/ 375 w 983"/>
                  <a:gd name="T89" fmla="*/ 238 h 981"/>
                  <a:gd name="T90" fmla="*/ 382 w 983"/>
                  <a:gd name="T91" fmla="*/ 259 h 981"/>
                  <a:gd name="T92" fmla="*/ 343 w 983"/>
                  <a:gd name="T93" fmla="*/ 274 h 981"/>
                  <a:gd name="T94" fmla="*/ 321 w 983"/>
                  <a:gd name="T95" fmla="*/ 275 h 981"/>
                  <a:gd name="T96" fmla="*/ 303 w 983"/>
                  <a:gd name="T97" fmla="*/ 288 h 981"/>
                  <a:gd name="T98" fmla="*/ 267 w 983"/>
                  <a:gd name="T99" fmla="*/ 318 h 981"/>
                  <a:gd name="T100" fmla="*/ 260 w 983"/>
                  <a:gd name="T101" fmla="*/ 337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3" h="981">
                    <a:moveTo>
                      <a:pt x="242" y="356"/>
                    </a:moveTo>
                    <a:cubicBezTo>
                      <a:pt x="236" y="356"/>
                      <a:pt x="212" y="357"/>
                      <a:pt x="212" y="357"/>
                    </a:cubicBezTo>
                    <a:cubicBezTo>
                      <a:pt x="212" y="357"/>
                      <a:pt x="197" y="388"/>
                      <a:pt x="189" y="391"/>
                    </a:cubicBezTo>
                    <a:cubicBezTo>
                      <a:pt x="181" y="394"/>
                      <a:pt x="155" y="390"/>
                      <a:pt x="155" y="390"/>
                    </a:cubicBezTo>
                    <a:cubicBezTo>
                      <a:pt x="154" y="398"/>
                      <a:pt x="154" y="398"/>
                      <a:pt x="154" y="398"/>
                    </a:cubicBezTo>
                    <a:cubicBezTo>
                      <a:pt x="136" y="399"/>
                      <a:pt x="136" y="399"/>
                      <a:pt x="136" y="399"/>
                    </a:cubicBezTo>
                    <a:cubicBezTo>
                      <a:pt x="136" y="399"/>
                      <a:pt x="136" y="411"/>
                      <a:pt x="130" y="412"/>
                    </a:cubicBezTo>
                    <a:cubicBezTo>
                      <a:pt x="124" y="413"/>
                      <a:pt x="111" y="404"/>
                      <a:pt x="111" y="404"/>
                    </a:cubicBezTo>
                    <a:cubicBezTo>
                      <a:pt x="93" y="418"/>
                      <a:pt x="93" y="418"/>
                      <a:pt x="93" y="418"/>
                    </a:cubicBezTo>
                    <a:cubicBezTo>
                      <a:pt x="81" y="417"/>
                      <a:pt x="81" y="417"/>
                      <a:pt x="81" y="417"/>
                    </a:cubicBezTo>
                    <a:cubicBezTo>
                      <a:pt x="81" y="417"/>
                      <a:pt x="67" y="437"/>
                      <a:pt x="60" y="442"/>
                    </a:cubicBezTo>
                    <a:cubicBezTo>
                      <a:pt x="53" y="447"/>
                      <a:pt x="40" y="454"/>
                      <a:pt x="40" y="454"/>
                    </a:cubicBezTo>
                    <a:cubicBezTo>
                      <a:pt x="37" y="472"/>
                      <a:pt x="37" y="472"/>
                      <a:pt x="37" y="472"/>
                    </a:cubicBezTo>
                    <a:cubicBezTo>
                      <a:pt x="35" y="511"/>
                      <a:pt x="35" y="511"/>
                      <a:pt x="35" y="511"/>
                    </a:cubicBezTo>
                    <a:cubicBezTo>
                      <a:pt x="0" y="511"/>
                      <a:pt x="0" y="511"/>
                      <a:pt x="0" y="511"/>
                    </a:cubicBezTo>
                    <a:cubicBezTo>
                      <a:pt x="37" y="513"/>
                      <a:pt x="37" y="513"/>
                      <a:pt x="37" y="513"/>
                    </a:cubicBezTo>
                    <a:cubicBezTo>
                      <a:pt x="35" y="535"/>
                      <a:pt x="35" y="535"/>
                      <a:pt x="35" y="535"/>
                    </a:cubicBezTo>
                    <a:cubicBezTo>
                      <a:pt x="208" y="656"/>
                      <a:pt x="208" y="656"/>
                      <a:pt x="208" y="656"/>
                    </a:cubicBezTo>
                    <a:cubicBezTo>
                      <a:pt x="482" y="865"/>
                      <a:pt x="482" y="865"/>
                      <a:pt x="482" y="865"/>
                    </a:cubicBezTo>
                    <a:cubicBezTo>
                      <a:pt x="481" y="882"/>
                      <a:pt x="481" y="882"/>
                      <a:pt x="481" y="882"/>
                    </a:cubicBezTo>
                    <a:cubicBezTo>
                      <a:pt x="481" y="882"/>
                      <a:pt x="498" y="878"/>
                      <a:pt x="500" y="886"/>
                    </a:cubicBezTo>
                    <a:cubicBezTo>
                      <a:pt x="502" y="894"/>
                      <a:pt x="500" y="901"/>
                      <a:pt x="510" y="904"/>
                    </a:cubicBezTo>
                    <a:cubicBezTo>
                      <a:pt x="520" y="907"/>
                      <a:pt x="533" y="905"/>
                      <a:pt x="533" y="905"/>
                    </a:cubicBezTo>
                    <a:cubicBezTo>
                      <a:pt x="538" y="923"/>
                      <a:pt x="538" y="923"/>
                      <a:pt x="538" y="923"/>
                    </a:cubicBezTo>
                    <a:cubicBezTo>
                      <a:pt x="538" y="923"/>
                      <a:pt x="561" y="917"/>
                      <a:pt x="571" y="925"/>
                    </a:cubicBezTo>
                    <a:cubicBezTo>
                      <a:pt x="581" y="933"/>
                      <a:pt x="582" y="953"/>
                      <a:pt x="582" y="953"/>
                    </a:cubicBezTo>
                    <a:cubicBezTo>
                      <a:pt x="582" y="953"/>
                      <a:pt x="558" y="967"/>
                      <a:pt x="573" y="974"/>
                    </a:cubicBezTo>
                    <a:cubicBezTo>
                      <a:pt x="588" y="981"/>
                      <a:pt x="610" y="973"/>
                      <a:pt x="610" y="973"/>
                    </a:cubicBezTo>
                    <a:cubicBezTo>
                      <a:pt x="610" y="973"/>
                      <a:pt x="679" y="958"/>
                      <a:pt x="693" y="956"/>
                    </a:cubicBezTo>
                    <a:cubicBezTo>
                      <a:pt x="707" y="954"/>
                      <a:pt x="752" y="901"/>
                      <a:pt x="774" y="886"/>
                    </a:cubicBezTo>
                    <a:cubicBezTo>
                      <a:pt x="796" y="871"/>
                      <a:pt x="983" y="735"/>
                      <a:pt x="983" y="735"/>
                    </a:cubicBezTo>
                    <a:cubicBezTo>
                      <a:pt x="983" y="735"/>
                      <a:pt x="968" y="694"/>
                      <a:pt x="963" y="691"/>
                    </a:cubicBezTo>
                    <a:cubicBezTo>
                      <a:pt x="958" y="688"/>
                      <a:pt x="930" y="675"/>
                      <a:pt x="924" y="678"/>
                    </a:cubicBezTo>
                    <a:cubicBezTo>
                      <a:pt x="918" y="681"/>
                      <a:pt x="913" y="686"/>
                      <a:pt x="909" y="684"/>
                    </a:cubicBezTo>
                    <a:cubicBezTo>
                      <a:pt x="905" y="682"/>
                      <a:pt x="893" y="671"/>
                      <a:pt x="893" y="664"/>
                    </a:cubicBezTo>
                    <a:cubicBezTo>
                      <a:pt x="893" y="657"/>
                      <a:pt x="898" y="647"/>
                      <a:pt x="893" y="639"/>
                    </a:cubicBezTo>
                    <a:cubicBezTo>
                      <a:pt x="888" y="631"/>
                      <a:pt x="861" y="595"/>
                      <a:pt x="862" y="589"/>
                    </a:cubicBezTo>
                    <a:cubicBezTo>
                      <a:pt x="863" y="583"/>
                      <a:pt x="889" y="581"/>
                      <a:pt x="889" y="569"/>
                    </a:cubicBezTo>
                    <a:cubicBezTo>
                      <a:pt x="889" y="557"/>
                      <a:pt x="885" y="551"/>
                      <a:pt x="885" y="551"/>
                    </a:cubicBezTo>
                    <a:cubicBezTo>
                      <a:pt x="880" y="515"/>
                      <a:pt x="880" y="515"/>
                      <a:pt x="880" y="515"/>
                    </a:cubicBezTo>
                    <a:cubicBezTo>
                      <a:pt x="889" y="502"/>
                      <a:pt x="889" y="502"/>
                      <a:pt x="889" y="502"/>
                    </a:cubicBezTo>
                    <a:cubicBezTo>
                      <a:pt x="883" y="488"/>
                      <a:pt x="883" y="488"/>
                      <a:pt x="883" y="488"/>
                    </a:cubicBezTo>
                    <a:cubicBezTo>
                      <a:pt x="883" y="488"/>
                      <a:pt x="892" y="458"/>
                      <a:pt x="891" y="448"/>
                    </a:cubicBezTo>
                    <a:cubicBezTo>
                      <a:pt x="890" y="438"/>
                      <a:pt x="863" y="387"/>
                      <a:pt x="862" y="381"/>
                    </a:cubicBezTo>
                    <a:cubicBezTo>
                      <a:pt x="862" y="378"/>
                      <a:pt x="866" y="376"/>
                      <a:pt x="870" y="373"/>
                    </a:cubicBezTo>
                    <a:cubicBezTo>
                      <a:pt x="870" y="373"/>
                      <a:pt x="870" y="373"/>
                      <a:pt x="870" y="373"/>
                    </a:cubicBezTo>
                    <a:cubicBezTo>
                      <a:pt x="864" y="350"/>
                      <a:pt x="849" y="288"/>
                      <a:pt x="849" y="277"/>
                    </a:cubicBezTo>
                    <a:cubicBezTo>
                      <a:pt x="849" y="264"/>
                      <a:pt x="817" y="252"/>
                      <a:pt x="817" y="252"/>
                    </a:cubicBezTo>
                    <a:cubicBezTo>
                      <a:pt x="817" y="252"/>
                      <a:pt x="817" y="234"/>
                      <a:pt x="816" y="226"/>
                    </a:cubicBezTo>
                    <a:cubicBezTo>
                      <a:pt x="815" y="218"/>
                      <a:pt x="789" y="213"/>
                      <a:pt x="789" y="213"/>
                    </a:cubicBezTo>
                    <a:cubicBezTo>
                      <a:pt x="789" y="194"/>
                      <a:pt x="789" y="194"/>
                      <a:pt x="789" y="194"/>
                    </a:cubicBezTo>
                    <a:cubicBezTo>
                      <a:pt x="782" y="194"/>
                      <a:pt x="782" y="194"/>
                      <a:pt x="782" y="194"/>
                    </a:cubicBezTo>
                    <a:cubicBezTo>
                      <a:pt x="782" y="194"/>
                      <a:pt x="782" y="181"/>
                      <a:pt x="782" y="171"/>
                    </a:cubicBezTo>
                    <a:cubicBezTo>
                      <a:pt x="782" y="161"/>
                      <a:pt x="798" y="148"/>
                      <a:pt x="798" y="148"/>
                    </a:cubicBezTo>
                    <a:cubicBezTo>
                      <a:pt x="812" y="137"/>
                      <a:pt x="812" y="137"/>
                      <a:pt x="812" y="137"/>
                    </a:cubicBezTo>
                    <a:cubicBezTo>
                      <a:pt x="812" y="137"/>
                      <a:pt x="819" y="115"/>
                      <a:pt x="820" y="105"/>
                    </a:cubicBezTo>
                    <a:cubicBezTo>
                      <a:pt x="821" y="95"/>
                      <a:pt x="819" y="83"/>
                      <a:pt x="815" y="76"/>
                    </a:cubicBezTo>
                    <a:cubicBezTo>
                      <a:pt x="811" y="69"/>
                      <a:pt x="820" y="38"/>
                      <a:pt x="820" y="38"/>
                    </a:cubicBezTo>
                    <a:cubicBezTo>
                      <a:pt x="807" y="34"/>
                      <a:pt x="807" y="34"/>
                      <a:pt x="807" y="34"/>
                    </a:cubicBezTo>
                    <a:cubicBezTo>
                      <a:pt x="835" y="21"/>
                      <a:pt x="835" y="21"/>
                      <a:pt x="835" y="21"/>
                    </a:cubicBezTo>
                    <a:cubicBezTo>
                      <a:pt x="835" y="11"/>
                      <a:pt x="835" y="11"/>
                      <a:pt x="835" y="11"/>
                    </a:cubicBezTo>
                    <a:cubicBezTo>
                      <a:pt x="826" y="11"/>
                      <a:pt x="815" y="10"/>
                      <a:pt x="815" y="10"/>
                    </a:cubicBezTo>
                    <a:cubicBezTo>
                      <a:pt x="806" y="15"/>
                      <a:pt x="806" y="15"/>
                      <a:pt x="806" y="15"/>
                    </a:cubicBezTo>
                    <a:cubicBezTo>
                      <a:pt x="779" y="3"/>
                      <a:pt x="779" y="3"/>
                      <a:pt x="779" y="3"/>
                    </a:cubicBezTo>
                    <a:cubicBezTo>
                      <a:pt x="769" y="5"/>
                      <a:pt x="769" y="5"/>
                      <a:pt x="769" y="5"/>
                    </a:cubicBezTo>
                    <a:cubicBezTo>
                      <a:pt x="769" y="14"/>
                      <a:pt x="769" y="14"/>
                      <a:pt x="769" y="14"/>
                    </a:cubicBezTo>
                    <a:cubicBezTo>
                      <a:pt x="744" y="12"/>
                      <a:pt x="744" y="12"/>
                      <a:pt x="744" y="12"/>
                    </a:cubicBezTo>
                    <a:cubicBezTo>
                      <a:pt x="728" y="0"/>
                      <a:pt x="728" y="0"/>
                      <a:pt x="728" y="0"/>
                    </a:cubicBezTo>
                    <a:cubicBezTo>
                      <a:pt x="724" y="19"/>
                      <a:pt x="724" y="19"/>
                      <a:pt x="724" y="19"/>
                    </a:cubicBezTo>
                    <a:cubicBezTo>
                      <a:pt x="704" y="14"/>
                      <a:pt x="704" y="14"/>
                      <a:pt x="704" y="14"/>
                    </a:cubicBezTo>
                    <a:cubicBezTo>
                      <a:pt x="686" y="29"/>
                      <a:pt x="686" y="29"/>
                      <a:pt x="686" y="29"/>
                    </a:cubicBezTo>
                    <a:cubicBezTo>
                      <a:pt x="686" y="29"/>
                      <a:pt x="662" y="17"/>
                      <a:pt x="631" y="18"/>
                    </a:cubicBezTo>
                    <a:cubicBezTo>
                      <a:pt x="600" y="19"/>
                      <a:pt x="599" y="26"/>
                      <a:pt x="585" y="27"/>
                    </a:cubicBezTo>
                    <a:cubicBezTo>
                      <a:pt x="571" y="28"/>
                      <a:pt x="545" y="27"/>
                      <a:pt x="545" y="27"/>
                    </a:cubicBezTo>
                    <a:cubicBezTo>
                      <a:pt x="542" y="34"/>
                      <a:pt x="542" y="34"/>
                      <a:pt x="542" y="34"/>
                    </a:cubicBezTo>
                    <a:cubicBezTo>
                      <a:pt x="503" y="33"/>
                      <a:pt x="503" y="33"/>
                      <a:pt x="503" y="33"/>
                    </a:cubicBezTo>
                    <a:cubicBezTo>
                      <a:pt x="503" y="33"/>
                      <a:pt x="456" y="43"/>
                      <a:pt x="455" y="51"/>
                    </a:cubicBezTo>
                    <a:cubicBezTo>
                      <a:pt x="454" y="59"/>
                      <a:pt x="446" y="72"/>
                      <a:pt x="446" y="72"/>
                    </a:cubicBezTo>
                    <a:cubicBezTo>
                      <a:pt x="446" y="72"/>
                      <a:pt x="396" y="74"/>
                      <a:pt x="394" y="83"/>
                    </a:cubicBezTo>
                    <a:cubicBezTo>
                      <a:pt x="392" y="92"/>
                      <a:pt x="370" y="113"/>
                      <a:pt x="355" y="113"/>
                    </a:cubicBezTo>
                    <a:cubicBezTo>
                      <a:pt x="353" y="113"/>
                      <a:pt x="351" y="113"/>
                      <a:pt x="349" y="112"/>
                    </a:cubicBezTo>
                    <a:cubicBezTo>
                      <a:pt x="349" y="112"/>
                      <a:pt x="349" y="112"/>
                      <a:pt x="349" y="112"/>
                    </a:cubicBezTo>
                    <a:cubicBezTo>
                      <a:pt x="350" y="116"/>
                      <a:pt x="354" y="125"/>
                      <a:pt x="364" y="129"/>
                    </a:cubicBezTo>
                    <a:cubicBezTo>
                      <a:pt x="364" y="130"/>
                      <a:pt x="360" y="141"/>
                      <a:pt x="360" y="141"/>
                    </a:cubicBezTo>
                    <a:cubicBezTo>
                      <a:pt x="368" y="141"/>
                      <a:pt x="368" y="141"/>
                      <a:pt x="368" y="141"/>
                    </a:cubicBezTo>
                    <a:cubicBezTo>
                      <a:pt x="365" y="186"/>
                      <a:pt x="365" y="186"/>
                      <a:pt x="365" y="186"/>
                    </a:cubicBezTo>
                    <a:cubicBezTo>
                      <a:pt x="371" y="197"/>
                      <a:pt x="371" y="197"/>
                      <a:pt x="371" y="197"/>
                    </a:cubicBezTo>
                    <a:cubicBezTo>
                      <a:pt x="364" y="218"/>
                      <a:pt x="364" y="218"/>
                      <a:pt x="364" y="218"/>
                    </a:cubicBezTo>
                    <a:cubicBezTo>
                      <a:pt x="378" y="218"/>
                      <a:pt x="378" y="218"/>
                      <a:pt x="378" y="218"/>
                    </a:cubicBezTo>
                    <a:cubicBezTo>
                      <a:pt x="375" y="238"/>
                      <a:pt x="375" y="238"/>
                      <a:pt x="375" y="238"/>
                    </a:cubicBezTo>
                    <a:cubicBezTo>
                      <a:pt x="393" y="250"/>
                      <a:pt x="393" y="250"/>
                      <a:pt x="393" y="250"/>
                    </a:cubicBezTo>
                    <a:cubicBezTo>
                      <a:pt x="393" y="250"/>
                      <a:pt x="384" y="256"/>
                      <a:pt x="382" y="259"/>
                    </a:cubicBezTo>
                    <a:cubicBezTo>
                      <a:pt x="380" y="262"/>
                      <a:pt x="381" y="269"/>
                      <a:pt x="381" y="269"/>
                    </a:cubicBezTo>
                    <a:cubicBezTo>
                      <a:pt x="343" y="274"/>
                      <a:pt x="343" y="274"/>
                      <a:pt x="343" y="274"/>
                    </a:cubicBezTo>
                    <a:cubicBezTo>
                      <a:pt x="343" y="274"/>
                      <a:pt x="333" y="268"/>
                      <a:pt x="329" y="268"/>
                    </a:cubicBezTo>
                    <a:cubicBezTo>
                      <a:pt x="325" y="268"/>
                      <a:pt x="321" y="275"/>
                      <a:pt x="321" y="275"/>
                    </a:cubicBezTo>
                    <a:cubicBezTo>
                      <a:pt x="321" y="275"/>
                      <a:pt x="313" y="270"/>
                      <a:pt x="308" y="273"/>
                    </a:cubicBezTo>
                    <a:cubicBezTo>
                      <a:pt x="303" y="276"/>
                      <a:pt x="310" y="283"/>
                      <a:pt x="303" y="288"/>
                    </a:cubicBezTo>
                    <a:cubicBezTo>
                      <a:pt x="296" y="293"/>
                      <a:pt x="274" y="287"/>
                      <a:pt x="266" y="294"/>
                    </a:cubicBezTo>
                    <a:cubicBezTo>
                      <a:pt x="258" y="301"/>
                      <a:pt x="267" y="318"/>
                      <a:pt x="267" y="318"/>
                    </a:cubicBezTo>
                    <a:cubicBezTo>
                      <a:pt x="277" y="330"/>
                      <a:pt x="277" y="330"/>
                      <a:pt x="277" y="330"/>
                    </a:cubicBezTo>
                    <a:cubicBezTo>
                      <a:pt x="260" y="337"/>
                      <a:pt x="260" y="337"/>
                      <a:pt x="260" y="337"/>
                    </a:cubicBezTo>
                    <a:cubicBezTo>
                      <a:pt x="260" y="337"/>
                      <a:pt x="248" y="356"/>
                      <a:pt x="242" y="356"/>
                    </a:cubicBezTo>
                    <a:close/>
                  </a:path>
                </a:pathLst>
              </a:custGeom>
              <a:solidFill>
                <a:srgbClr val="DEDEDE"/>
              </a:solidFill>
              <a:ln w="0" cap="flat">
                <a:solidFill>
                  <a:srgbClr val="FFFFFF"/>
                </a:solidFill>
                <a:prstDash val="solid"/>
                <a:miter lim="800000"/>
                <a:headEnd/>
                <a:tailEnd/>
              </a:ln>
            </p:spPr>
            <p:txBody>
              <a:bodyPr vert="horz" wrap="square" lIns="91419" tIns="45709" rIns="91419" bIns="45709" numCol="1" anchor="t" anchorCtr="0" compatLnSpc="1">
                <a:prstTxWarp prst="textNoShape">
                  <a:avLst/>
                </a:prstTxWarp>
              </a:bodyPr>
              <a:lstStyle/>
              <a:p>
                <a:endParaRPr lang="en-US" dirty="0"/>
              </a:p>
            </p:txBody>
          </p:sp>
        </p:grpSp>
      </p:grpSp>
      <p:sp>
        <p:nvSpPr>
          <p:cNvPr id="2" name="Titel 1">
            <a:extLst>
              <a:ext uri="{FF2B5EF4-FFF2-40B4-BE49-F238E27FC236}">
                <a16:creationId xmlns:a16="http://schemas.microsoft.com/office/drawing/2014/main" id="{4C43AC98-C637-4454-9144-531F94627AE7}"/>
              </a:ext>
            </a:extLst>
          </p:cNvPr>
          <p:cNvSpPr>
            <a:spLocks noGrp="1"/>
          </p:cNvSpPr>
          <p:nvPr>
            <p:ph type="title"/>
          </p:nvPr>
        </p:nvSpPr>
        <p:spPr/>
        <p:txBody>
          <a:bodyPr/>
          <a:lstStyle/>
          <a:p>
            <a:r>
              <a:rPr lang="en-US" sz="3000" dirty="0"/>
              <a:t>World infographic</a:t>
            </a:r>
          </a:p>
        </p:txBody>
      </p:sp>
      <p:grpSp>
        <p:nvGrpSpPr>
          <p:cNvPr id="184" name="Gruppieren 183">
            <a:extLst>
              <a:ext uri="{FF2B5EF4-FFF2-40B4-BE49-F238E27FC236}">
                <a16:creationId xmlns:a16="http://schemas.microsoft.com/office/drawing/2014/main" id="{9D932EB3-65DF-4777-8F5B-F9100512CE87}"/>
              </a:ext>
            </a:extLst>
          </p:cNvPr>
          <p:cNvGrpSpPr/>
          <p:nvPr/>
        </p:nvGrpSpPr>
        <p:grpSpPr>
          <a:xfrm>
            <a:off x="551562" y="4087580"/>
            <a:ext cx="1848378" cy="1813561"/>
            <a:chOff x="1051450" y="1269001"/>
            <a:chExt cx="1808394" cy="1808394"/>
          </a:xfrm>
        </p:grpSpPr>
        <p:sp>
          <p:nvSpPr>
            <p:cNvPr id="185" name="MIO_LINE1">
              <a:extLst>
                <a:ext uri="{FF2B5EF4-FFF2-40B4-BE49-F238E27FC236}">
                  <a16:creationId xmlns:a16="http://schemas.microsoft.com/office/drawing/2014/main" id="{05137D0E-6FC3-4F64-9FE2-8ECA43600B7E}"/>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186" name="Diagramm 185">
              <a:extLst>
                <a:ext uri="{FF2B5EF4-FFF2-40B4-BE49-F238E27FC236}">
                  <a16:creationId xmlns:a16="http://schemas.microsoft.com/office/drawing/2014/main" id="{2B93920F-2639-44A6-88B2-4F9BC65AEB9E}"/>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4"/>
            </a:graphicData>
          </a:graphic>
        </p:graphicFrame>
      </p:grpSp>
      <p:grpSp>
        <p:nvGrpSpPr>
          <p:cNvPr id="187" name="Gruppieren 186">
            <a:extLst>
              <a:ext uri="{FF2B5EF4-FFF2-40B4-BE49-F238E27FC236}">
                <a16:creationId xmlns:a16="http://schemas.microsoft.com/office/drawing/2014/main" id="{224126F6-AC17-4E8F-9F1A-EC8B3B9C6F95}"/>
              </a:ext>
            </a:extLst>
          </p:cNvPr>
          <p:cNvGrpSpPr/>
          <p:nvPr/>
        </p:nvGrpSpPr>
        <p:grpSpPr>
          <a:xfrm>
            <a:off x="3633226" y="4087580"/>
            <a:ext cx="1848378" cy="1813561"/>
            <a:chOff x="1051450" y="1269001"/>
            <a:chExt cx="1808394" cy="1808394"/>
          </a:xfrm>
        </p:grpSpPr>
        <p:sp>
          <p:nvSpPr>
            <p:cNvPr id="188" name="MIO_LINE2">
              <a:extLst>
                <a:ext uri="{FF2B5EF4-FFF2-40B4-BE49-F238E27FC236}">
                  <a16:creationId xmlns:a16="http://schemas.microsoft.com/office/drawing/2014/main" id="{A9FECF22-D987-4B3A-87C5-305F02DAF234}"/>
                </a:ext>
              </a:extLst>
            </p:cNvPr>
            <p:cNvSpPr/>
            <p:nvPr/>
          </p:nvSpPr>
          <p:spPr>
            <a:xfrm>
              <a:off x="1288965" y="1506516"/>
              <a:ext cx="1333364" cy="1333364"/>
            </a:xfrm>
            <a:prstGeom prst="ellipse">
              <a:avLst/>
            </a:prstGeom>
            <a:solidFill>
              <a:schemeClr val="bg1"/>
            </a:solidFill>
            <a:ln w="12700" cap="flat" cmpd="sng" algn="ctr">
              <a:solidFill>
                <a:schemeClr val="accent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189" name="Diagramm 188">
              <a:extLst>
                <a:ext uri="{FF2B5EF4-FFF2-40B4-BE49-F238E27FC236}">
                  <a16:creationId xmlns:a16="http://schemas.microsoft.com/office/drawing/2014/main" id="{B16DCBC7-66E3-442A-AD01-EE6F10DBBAD6}"/>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5"/>
            </a:graphicData>
          </a:graphic>
        </p:graphicFrame>
      </p:grpSp>
      <p:grpSp>
        <p:nvGrpSpPr>
          <p:cNvPr id="190" name="Gruppieren 189">
            <a:extLst>
              <a:ext uri="{FF2B5EF4-FFF2-40B4-BE49-F238E27FC236}">
                <a16:creationId xmlns:a16="http://schemas.microsoft.com/office/drawing/2014/main" id="{CF9BB5FD-56E4-4B27-96F1-3A032981812D}"/>
              </a:ext>
            </a:extLst>
          </p:cNvPr>
          <p:cNvGrpSpPr/>
          <p:nvPr/>
        </p:nvGrpSpPr>
        <p:grpSpPr>
          <a:xfrm>
            <a:off x="6710396" y="4087580"/>
            <a:ext cx="1848378" cy="1813561"/>
            <a:chOff x="1051450" y="1269001"/>
            <a:chExt cx="1808394" cy="1808394"/>
          </a:xfrm>
        </p:grpSpPr>
        <p:sp>
          <p:nvSpPr>
            <p:cNvPr id="191" name="MIO_LINE4">
              <a:extLst>
                <a:ext uri="{FF2B5EF4-FFF2-40B4-BE49-F238E27FC236}">
                  <a16:creationId xmlns:a16="http://schemas.microsoft.com/office/drawing/2014/main" id="{8806F692-0179-435A-83F0-B0D026940AE0}"/>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192" name="Diagramm 191">
              <a:extLst>
                <a:ext uri="{FF2B5EF4-FFF2-40B4-BE49-F238E27FC236}">
                  <a16:creationId xmlns:a16="http://schemas.microsoft.com/office/drawing/2014/main" id="{A05840A8-3994-4EE1-9BE6-FABCDCCA4B4B}"/>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6"/>
            </a:graphicData>
          </a:graphic>
        </p:graphicFrame>
      </p:grpSp>
      <p:grpSp>
        <p:nvGrpSpPr>
          <p:cNvPr id="193" name="Gruppieren 192">
            <a:extLst>
              <a:ext uri="{FF2B5EF4-FFF2-40B4-BE49-F238E27FC236}">
                <a16:creationId xmlns:a16="http://schemas.microsoft.com/office/drawing/2014/main" id="{60219464-EB01-4884-8D7C-5301E5EA9865}"/>
              </a:ext>
            </a:extLst>
          </p:cNvPr>
          <p:cNvGrpSpPr/>
          <p:nvPr/>
        </p:nvGrpSpPr>
        <p:grpSpPr>
          <a:xfrm>
            <a:off x="9792060" y="4087580"/>
            <a:ext cx="1848378" cy="1813561"/>
            <a:chOff x="1051450" y="1269001"/>
            <a:chExt cx="1808394" cy="1808394"/>
          </a:xfrm>
        </p:grpSpPr>
        <p:sp>
          <p:nvSpPr>
            <p:cNvPr id="194" name="MIO_LINE5">
              <a:extLst>
                <a:ext uri="{FF2B5EF4-FFF2-40B4-BE49-F238E27FC236}">
                  <a16:creationId xmlns:a16="http://schemas.microsoft.com/office/drawing/2014/main" id="{3D672D17-613F-4BE7-9522-3C7BDCDD2A95}"/>
                </a:ext>
              </a:extLst>
            </p:cNvPr>
            <p:cNvSpPr/>
            <p:nvPr/>
          </p:nvSpPr>
          <p:spPr>
            <a:xfrm>
              <a:off x="1288965" y="1506516"/>
              <a:ext cx="1333364" cy="1333364"/>
            </a:xfrm>
            <a:prstGeom prst="ellipse">
              <a:avLst/>
            </a:prstGeom>
            <a:solidFill>
              <a:schemeClr val="bg1"/>
            </a:solidFill>
            <a:ln w="12700" cap="flat" cmpd="sng" algn="ctr">
              <a:solidFill>
                <a:schemeClr val="accent5"/>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195" name="Diagramm 194">
              <a:extLst>
                <a:ext uri="{FF2B5EF4-FFF2-40B4-BE49-F238E27FC236}">
                  <a16:creationId xmlns:a16="http://schemas.microsoft.com/office/drawing/2014/main" id="{335D28B3-52FB-43DC-8FAC-363D17817096}"/>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7"/>
            </a:graphicData>
          </a:graphic>
        </p:graphicFrame>
      </p:grpSp>
      <p:sp>
        <p:nvSpPr>
          <p:cNvPr id="200" name="Textfeld">
            <a:extLst>
              <a:ext uri="{FF2B5EF4-FFF2-40B4-BE49-F238E27FC236}">
                <a16:creationId xmlns:a16="http://schemas.microsoft.com/office/drawing/2014/main" id="{03B9D1D1-7AF8-4254-AC3B-7D903412F451}"/>
              </a:ext>
            </a:extLst>
          </p:cNvPr>
          <p:cNvSpPr txBox="1"/>
          <p:nvPr/>
        </p:nvSpPr>
        <p:spPr>
          <a:xfrm>
            <a:off x="3633226" y="4691942"/>
            <a:ext cx="1848378" cy="604837"/>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ctr"/>
            <a:r>
              <a:rPr lang="en-US" sz="3600" dirty="0">
                <a:solidFill>
                  <a:schemeClr val="accent1"/>
                </a:solidFill>
              </a:rPr>
              <a:t>80%</a:t>
            </a:r>
          </a:p>
        </p:txBody>
      </p:sp>
      <p:sp>
        <p:nvSpPr>
          <p:cNvPr id="201" name="Textfeld">
            <a:extLst>
              <a:ext uri="{FF2B5EF4-FFF2-40B4-BE49-F238E27FC236}">
                <a16:creationId xmlns:a16="http://schemas.microsoft.com/office/drawing/2014/main" id="{9DE20672-6ED2-48AC-8F62-9072C8405AAE}"/>
              </a:ext>
            </a:extLst>
          </p:cNvPr>
          <p:cNvSpPr txBox="1"/>
          <p:nvPr/>
        </p:nvSpPr>
        <p:spPr>
          <a:xfrm>
            <a:off x="551562" y="4691942"/>
            <a:ext cx="1848378" cy="604837"/>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ctr"/>
            <a:r>
              <a:rPr lang="en-US" sz="3600" dirty="0">
                <a:solidFill>
                  <a:schemeClr val="accent1"/>
                </a:solidFill>
              </a:rPr>
              <a:t>20%</a:t>
            </a:r>
          </a:p>
        </p:txBody>
      </p:sp>
      <p:sp>
        <p:nvSpPr>
          <p:cNvPr id="202" name="Textfeld">
            <a:extLst>
              <a:ext uri="{FF2B5EF4-FFF2-40B4-BE49-F238E27FC236}">
                <a16:creationId xmlns:a16="http://schemas.microsoft.com/office/drawing/2014/main" id="{82E273C7-35E2-4C8A-B5B4-3D153057F29B}"/>
              </a:ext>
            </a:extLst>
          </p:cNvPr>
          <p:cNvSpPr txBox="1"/>
          <p:nvPr/>
        </p:nvSpPr>
        <p:spPr>
          <a:xfrm>
            <a:off x="9792060" y="4691942"/>
            <a:ext cx="1848378" cy="604837"/>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ctr"/>
            <a:r>
              <a:rPr lang="en-US" sz="3600" dirty="0">
                <a:solidFill>
                  <a:schemeClr val="dk1"/>
                </a:solidFill>
              </a:rPr>
              <a:t>40%</a:t>
            </a:r>
          </a:p>
        </p:txBody>
      </p:sp>
      <p:sp>
        <p:nvSpPr>
          <p:cNvPr id="203" name="Textfeld">
            <a:extLst>
              <a:ext uri="{FF2B5EF4-FFF2-40B4-BE49-F238E27FC236}">
                <a16:creationId xmlns:a16="http://schemas.microsoft.com/office/drawing/2014/main" id="{072D6868-229F-40D0-9A73-A38179F7A987}"/>
              </a:ext>
            </a:extLst>
          </p:cNvPr>
          <p:cNvSpPr txBox="1"/>
          <p:nvPr/>
        </p:nvSpPr>
        <p:spPr>
          <a:xfrm>
            <a:off x="6710396" y="4691942"/>
            <a:ext cx="1848378" cy="604837"/>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ctr"/>
            <a:r>
              <a:rPr lang="en-US" sz="3600" dirty="0">
                <a:solidFill>
                  <a:schemeClr val="accent1"/>
                </a:solidFill>
              </a:rPr>
              <a:t>60%</a:t>
            </a:r>
          </a:p>
        </p:txBody>
      </p:sp>
    </p:spTree>
    <p:custDataLst>
      <p:tags r:id="rId1"/>
    </p:custDataLst>
    <p:extLst>
      <p:ext uri="{BB962C8B-B14F-4D97-AF65-F5344CB8AC3E}">
        <p14:creationId xmlns:p14="http://schemas.microsoft.com/office/powerpoint/2010/main" val="3011940714"/>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Rubrik's Cube">
            <a:extLst>
              <a:ext uri="{FF2B5EF4-FFF2-40B4-BE49-F238E27FC236}">
                <a16:creationId xmlns:a16="http://schemas.microsoft.com/office/drawing/2014/main" id="{6B392B24-0448-40F7-B515-E86241CF4CD2}"/>
              </a:ext>
            </a:extLst>
          </p:cNvPr>
          <p:cNvPicPr>
            <a:picLocks noGrp="1" noChangeAspect="1"/>
          </p:cNvPicPr>
          <p:nvPr>
            <p:ph type="pic" sz="quarter" idx="13"/>
            <p:custDataLst>
              <p:tags r:id="rId1"/>
            </p:custDataLst>
          </p:nvPr>
        </p:nvPicPr>
        <p:blipFill>
          <a:blip r:embed="rId3" cstate="screen">
            <a:extLst>
              <a:ext uri="{28A0092B-C50C-407E-A947-70E740481C1C}">
                <a14:useLocalDpi xmlns:a14="http://schemas.microsoft.com/office/drawing/2010/main"/>
              </a:ext>
            </a:extLst>
          </a:blip>
          <a:srcRect t="3986" b="3986"/>
          <a:stretch>
            <a:fillRect/>
          </a:stretch>
        </p:blipFill>
        <p:spPr>
          <a:xfrm>
            <a:off x="1" y="96839"/>
            <a:ext cx="12191345" cy="6760799"/>
          </a:xfrm>
          <a:prstGeom prst="rect">
            <a:avLst/>
          </a:prstGeom>
        </p:spPr>
      </p:pic>
      <p:sp>
        <p:nvSpPr>
          <p:cNvPr id="4" name="Text Placeholder 3">
            <a:extLst>
              <a:ext uri="{FF2B5EF4-FFF2-40B4-BE49-F238E27FC236}">
                <a16:creationId xmlns:a16="http://schemas.microsoft.com/office/drawing/2014/main" id="{2A61C857-538E-4064-9995-38BC2659AACA}"/>
              </a:ext>
            </a:extLst>
          </p:cNvPr>
          <p:cNvSpPr>
            <a:spLocks noGrp="1"/>
          </p:cNvSpPr>
          <p:nvPr>
            <p:ph type="body" sz="quarter" idx="14"/>
          </p:nvPr>
        </p:nvSpPr>
        <p:spPr>
          <a:xfrm>
            <a:off x="0" y="3914775"/>
            <a:ext cx="4960782" cy="738664"/>
          </a:xfrm>
        </p:spPr>
        <p:txBody>
          <a:bodyPr/>
          <a:lstStyle/>
          <a:p>
            <a:r>
              <a:rPr lang="de-DE" dirty="0"/>
              <a:t>Strategy slides</a:t>
            </a:r>
            <a:endParaRPr lang="en-US" dirty="0"/>
          </a:p>
        </p:txBody>
      </p:sp>
    </p:spTree>
    <p:extLst>
      <p:ext uri="{BB962C8B-B14F-4D97-AF65-F5344CB8AC3E}">
        <p14:creationId xmlns:p14="http://schemas.microsoft.com/office/powerpoint/2010/main" val="4093482191"/>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2">
            <a:extLst>
              <a:ext uri="{FF2B5EF4-FFF2-40B4-BE49-F238E27FC236}">
                <a16:creationId xmlns:a16="http://schemas.microsoft.com/office/drawing/2014/main" id="{0FA8E6B4-7CAF-AC48-B931-E88BB28A8226}"/>
              </a:ext>
            </a:extLst>
          </p:cNvPr>
          <p:cNvSpPr>
            <a:spLocks noChangeArrowheads="1"/>
          </p:cNvSpPr>
          <p:nvPr/>
        </p:nvSpPr>
        <p:spPr bwMode="auto">
          <a:xfrm>
            <a:off x="10625487" y="2357746"/>
            <a:ext cx="32962" cy="1063016"/>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3265" dirty="0">
              <a:latin typeface="Lato Light" panose="020F0502020204030203" pitchFamily="34" charset="0"/>
            </a:endParaRPr>
          </a:p>
        </p:txBody>
      </p:sp>
      <p:sp>
        <p:nvSpPr>
          <p:cNvPr id="5" name="Freeform 3">
            <a:extLst>
              <a:ext uri="{FF2B5EF4-FFF2-40B4-BE49-F238E27FC236}">
                <a16:creationId xmlns:a16="http://schemas.microsoft.com/office/drawing/2014/main" id="{E2D087E1-58B2-754E-B1D5-78265FC0D77E}"/>
              </a:ext>
            </a:extLst>
          </p:cNvPr>
          <p:cNvSpPr>
            <a:spLocks noChangeArrowheads="1"/>
          </p:cNvSpPr>
          <p:nvPr/>
        </p:nvSpPr>
        <p:spPr bwMode="auto">
          <a:xfrm>
            <a:off x="10334327" y="2050102"/>
            <a:ext cx="618031" cy="618033"/>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3265" dirty="0">
              <a:latin typeface="Lato Light" panose="020F0502020204030203" pitchFamily="34" charset="0"/>
            </a:endParaRPr>
          </a:p>
        </p:txBody>
      </p:sp>
      <p:sp>
        <p:nvSpPr>
          <p:cNvPr id="7" name="Freeform 5">
            <a:extLst>
              <a:ext uri="{FF2B5EF4-FFF2-40B4-BE49-F238E27FC236}">
                <a16:creationId xmlns:a16="http://schemas.microsoft.com/office/drawing/2014/main" id="{0BF9D6F0-2A0C-3940-BE3C-A3297BA0A95F}"/>
              </a:ext>
            </a:extLst>
          </p:cNvPr>
          <p:cNvSpPr>
            <a:spLocks noChangeArrowheads="1"/>
          </p:cNvSpPr>
          <p:nvPr/>
        </p:nvSpPr>
        <p:spPr bwMode="auto">
          <a:xfrm>
            <a:off x="6593172" y="4709015"/>
            <a:ext cx="32962" cy="1063016"/>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3265" dirty="0">
              <a:latin typeface="Lato Light" panose="020F0502020204030203" pitchFamily="34" charset="0"/>
            </a:endParaRPr>
          </a:p>
        </p:txBody>
      </p:sp>
      <p:sp>
        <p:nvSpPr>
          <p:cNvPr id="8" name="Freeform 6">
            <a:extLst>
              <a:ext uri="{FF2B5EF4-FFF2-40B4-BE49-F238E27FC236}">
                <a16:creationId xmlns:a16="http://schemas.microsoft.com/office/drawing/2014/main" id="{3CF174BF-E4D7-1742-97F8-2E4E60B4D040}"/>
              </a:ext>
            </a:extLst>
          </p:cNvPr>
          <p:cNvSpPr>
            <a:spLocks noChangeArrowheads="1"/>
          </p:cNvSpPr>
          <p:nvPr/>
        </p:nvSpPr>
        <p:spPr bwMode="auto">
          <a:xfrm>
            <a:off x="6299262" y="4401370"/>
            <a:ext cx="618033" cy="618033"/>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3265" dirty="0">
              <a:latin typeface="Lato Light" panose="020F0502020204030203" pitchFamily="34" charset="0"/>
            </a:endParaRPr>
          </a:p>
        </p:txBody>
      </p:sp>
      <p:sp>
        <p:nvSpPr>
          <p:cNvPr id="10" name="Freeform 8">
            <a:extLst>
              <a:ext uri="{FF2B5EF4-FFF2-40B4-BE49-F238E27FC236}">
                <a16:creationId xmlns:a16="http://schemas.microsoft.com/office/drawing/2014/main" id="{D47D9A2D-5F1C-3843-A326-3347F54102A4}"/>
              </a:ext>
            </a:extLst>
          </p:cNvPr>
          <p:cNvSpPr>
            <a:spLocks noChangeArrowheads="1"/>
          </p:cNvSpPr>
          <p:nvPr/>
        </p:nvSpPr>
        <p:spPr bwMode="auto">
          <a:xfrm>
            <a:off x="8823581" y="3810807"/>
            <a:ext cx="32962" cy="1063014"/>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3265" dirty="0">
              <a:latin typeface="Lato Light" panose="020F0502020204030203" pitchFamily="34" charset="0"/>
            </a:endParaRPr>
          </a:p>
        </p:txBody>
      </p:sp>
      <p:sp>
        <p:nvSpPr>
          <p:cNvPr id="11" name="Freeform 9">
            <a:extLst>
              <a:ext uri="{FF2B5EF4-FFF2-40B4-BE49-F238E27FC236}">
                <a16:creationId xmlns:a16="http://schemas.microsoft.com/office/drawing/2014/main" id="{EDFE2790-4AE1-BE44-A460-F0271EF64EBE}"/>
              </a:ext>
            </a:extLst>
          </p:cNvPr>
          <p:cNvSpPr>
            <a:spLocks noChangeArrowheads="1"/>
          </p:cNvSpPr>
          <p:nvPr/>
        </p:nvSpPr>
        <p:spPr bwMode="auto">
          <a:xfrm>
            <a:off x="8529673" y="3500419"/>
            <a:ext cx="620779" cy="620779"/>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3265" dirty="0">
              <a:latin typeface="Lato Light" panose="020F0502020204030203" pitchFamily="34" charset="0"/>
            </a:endParaRPr>
          </a:p>
        </p:txBody>
      </p:sp>
      <p:sp>
        <p:nvSpPr>
          <p:cNvPr id="12" name="Freeform 76">
            <a:extLst>
              <a:ext uri="{FF2B5EF4-FFF2-40B4-BE49-F238E27FC236}">
                <a16:creationId xmlns:a16="http://schemas.microsoft.com/office/drawing/2014/main" id="{AF823FCD-9B05-8844-9017-6666183086A7}"/>
              </a:ext>
            </a:extLst>
          </p:cNvPr>
          <p:cNvSpPr>
            <a:spLocks noChangeArrowheads="1"/>
          </p:cNvSpPr>
          <p:nvPr/>
        </p:nvSpPr>
        <p:spPr bwMode="auto">
          <a:xfrm>
            <a:off x="9282297" y="1337405"/>
            <a:ext cx="615285" cy="480693"/>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3265" dirty="0">
              <a:latin typeface="Lato Light" panose="020F0502020204030203" pitchFamily="34" charset="0"/>
            </a:endParaRPr>
          </a:p>
        </p:txBody>
      </p:sp>
      <p:sp>
        <p:nvSpPr>
          <p:cNvPr id="13" name="Freeform 76">
            <a:extLst>
              <a:ext uri="{FF2B5EF4-FFF2-40B4-BE49-F238E27FC236}">
                <a16:creationId xmlns:a16="http://schemas.microsoft.com/office/drawing/2014/main" id="{CFB685F4-7EA4-5645-BE01-AA88235E6D76}"/>
              </a:ext>
            </a:extLst>
          </p:cNvPr>
          <p:cNvSpPr>
            <a:spLocks noChangeArrowheads="1"/>
          </p:cNvSpPr>
          <p:nvPr/>
        </p:nvSpPr>
        <p:spPr bwMode="auto">
          <a:xfrm>
            <a:off x="9282297" y="1337405"/>
            <a:ext cx="615285" cy="480693"/>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3265" dirty="0">
              <a:latin typeface="Lato Light" panose="020F0502020204030203" pitchFamily="34" charset="0"/>
            </a:endParaRPr>
          </a:p>
        </p:txBody>
      </p:sp>
      <p:sp>
        <p:nvSpPr>
          <p:cNvPr id="14" name="Freeform 77">
            <a:extLst>
              <a:ext uri="{FF2B5EF4-FFF2-40B4-BE49-F238E27FC236}">
                <a16:creationId xmlns:a16="http://schemas.microsoft.com/office/drawing/2014/main" id="{A12A90EB-C2E7-AC47-B110-7F10895D7902}"/>
              </a:ext>
            </a:extLst>
          </p:cNvPr>
          <p:cNvSpPr>
            <a:spLocks noChangeArrowheads="1"/>
          </p:cNvSpPr>
          <p:nvPr/>
        </p:nvSpPr>
        <p:spPr bwMode="auto">
          <a:xfrm>
            <a:off x="9070793" y="1202811"/>
            <a:ext cx="30214" cy="900954"/>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3265" dirty="0">
              <a:latin typeface="Lato Light" panose="020F0502020204030203" pitchFamily="34" charset="0"/>
            </a:endParaRPr>
          </a:p>
        </p:txBody>
      </p:sp>
      <p:sp>
        <p:nvSpPr>
          <p:cNvPr id="15" name="Freeform 78">
            <a:extLst>
              <a:ext uri="{FF2B5EF4-FFF2-40B4-BE49-F238E27FC236}">
                <a16:creationId xmlns:a16="http://schemas.microsoft.com/office/drawing/2014/main" id="{FE60F98B-8536-3143-B031-61679EEBB778}"/>
              </a:ext>
            </a:extLst>
          </p:cNvPr>
          <p:cNvSpPr>
            <a:spLocks noChangeArrowheads="1"/>
          </p:cNvSpPr>
          <p:nvPr/>
        </p:nvSpPr>
        <p:spPr bwMode="auto">
          <a:xfrm>
            <a:off x="9103757" y="1263241"/>
            <a:ext cx="332363" cy="436742"/>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3265" dirty="0">
              <a:latin typeface="Lato Light" panose="020F0502020204030203" pitchFamily="34" charset="0"/>
            </a:endParaRPr>
          </a:p>
        </p:txBody>
      </p:sp>
      <p:sp>
        <p:nvSpPr>
          <p:cNvPr id="16" name="Freeform 79">
            <a:extLst>
              <a:ext uri="{FF2B5EF4-FFF2-40B4-BE49-F238E27FC236}">
                <a16:creationId xmlns:a16="http://schemas.microsoft.com/office/drawing/2014/main" id="{C3D6D435-251A-A649-A067-6129EE8660D6}"/>
              </a:ext>
            </a:extLst>
          </p:cNvPr>
          <p:cNvSpPr>
            <a:spLocks noChangeArrowheads="1"/>
          </p:cNvSpPr>
          <p:nvPr/>
        </p:nvSpPr>
        <p:spPr bwMode="auto">
          <a:xfrm>
            <a:off x="9282298" y="1697236"/>
            <a:ext cx="151076" cy="120860"/>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3265" dirty="0">
              <a:latin typeface="Lato Light" panose="020F0502020204030203" pitchFamily="34" charset="0"/>
            </a:endParaRPr>
          </a:p>
        </p:txBody>
      </p:sp>
      <p:sp>
        <p:nvSpPr>
          <p:cNvPr id="17" name="Freeform 79">
            <a:extLst>
              <a:ext uri="{FF2B5EF4-FFF2-40B4-BE49-F238E27FC236}">
                <a16:creationId xmlns:a16="http://schemas.microsoft.com/office/drawing/2014/main" id="{8229B006-FEA3-5049-B8E0-49321D399914}"/>
              </a:ext>
            </a:extLst>
          </p:cNvPr>
          <p:cNvSpPr>
            <a:spLocks noChangeArrowheads="1"/>
          </p:cNvSpPr>
          <p:nvPr/>
        </p:nvSpPr>
        <p:spPr bwMode="auto">
          <a:xfrm>
            <a:off x="9282298" y="1697236"/>
            <a:ext cx="151076" cy="120860"/>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3265" dirty="0">
              <a:latin typeface="Lato Light" panose="020F0502020204030203" pitchFamily="34" charset="0"/>
            </a:endParaRPr>
          </a:p>
        </p:txBody>
      </p:sp>
      <p:sp>
        <p:nvSpPr>
          <p:cNvPr id="18" name="Freeform 80">
            <a:extLst>
              <a:ext uri="{FF2B5EF4-FFF2-40B4-BE49-F238E27FC236}">
                <a16:creationId xmlns:a16="http://schemas.microsoft.com/office/drawing/2014/main" id="{A1CBD420-2346-5E4A-AF7F-30D3AF7FC853}"/>
              </a:ext>
            </a:extLst>
          </p:cNvPr>
          <p:cNvSpPr>
            <a:spLocks noChangeArrowheads="1"/>
          </p:cNvSpPr>
          <p:nvPr/>
        </p:nvSpPr>
        <p:spPr bwMode="auto">
          <a:xfrm>
            <a:off x="8895001" y="2094391"/>
            <a:ext cx="387296" cy="39687"/>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3265" dirty="0">
              <a:latin typeface="Lato Light" panose="020F0502020204030203" pitchFamily="34" charset="0"/>
            </a:endParaRPr>
          </a:p>
        </p:txBody>
      </p:sp>
      <p:sp>
        <p:nvSpPr>
          <p:cNvPr id="20" name="Freeform 19">
            <a:extLst>
              <a:ext uri="{FF2B5EF4-FFF2-40B4-BE49-F238E27FC236}">
                <a16:creationId xmlns:a16="http://schemas.microsoft.com/office/drawing/2014/main" id="{4F5A023A-F351-D14F-9DB7-98021BC6987C}"/>
              </a:ext>
            </a:extLst>
          </p:cNvPr>
          <p:cNvSpPr>
            <a:spLocks noChangeArrowheads="1"/>
          </p:cNvSpPr>
          <p:nvPr/>
        </p:nvSpPr>
        <p:spPr bwMode="auto">
          <a:xfrm>
            <a:off x="3209104" y="2135255"/>
            <a:ext cx="8224436" cy="4721142"/>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3265" dirty="0">
              <a:latin typeface="Lato Light" panose="020F0502020204030203" pitchFamily="34" charset="0"/>
            </a:endParaRPr>
          </a:p>
        </p:txBody>
      </p:sp>
      <p:sp>
        <p:nvSpPr>
          <p:cNvPr id="21" name="Freeform 20">
            <a:extLst>
              <a:ext uri="{FF2B5EF4-FFF2-40B4-BE49-F238E27FC236}">
                <a16:creationId xmlns:a16="http://schemas.microsoft.com/office/drawing/2014/main" id="{8D8532D6-7E09-C94A-AACF-48E91B43CE18}"/>
              </a:ext>
            </a:extLst>
          </p:cNvPr>
          <p:cNvSpPr>
            <a:spLocks noChangeArrowheads="1"/>
          </p:cNvSpPr>
          <p:nvPr/>
        </p:nvSpPr>
        <p:spPr bwMode="auto">
          <a:xfrm>
            <a:off x="6628882" y="2140745"/>
            <a:ext cx="4119592" cy="4715653"/>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3265" dirty="0">
              <a:latin typeface="Lato Light" panose="020F0502020204030203" pitchFamily="34" charset="0"/>
            </a:endParaRPr>
          </a:p>
        </p:txBody>
      </p:sp>
      <p:sp>
        <p:nvSpPr>
          <p:cNvPr id="22" name="Subtitle 2">
            <a:extLst>
              <a:ext uri="{FF2B5EF4-FFF2-40B4-BE49-F238E27FC236}">
                <a16:creationId xmlns:a16="http://schemas.microsoft.com/office/drawing/2014/main" id="{5C5CD812-0F66-A44E-AA4B-F90ABDAA08E8}"/>
              </a:ext>
            </a:extLst>
          </p:cNvPr>
          <p:cNvSpPr txBox="1">
            <a:spLocks/>
          </p:cNvSpPr>
          <p:nvPr/>
        </p:nvSpPr>
        <p:spPr>
          <a:xfrm>
            <a:off x="871477" y="1751941"/>
            <a:ext cx="3896868" cy="48494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a:t>
            </a:r>
            <a:endPar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endParaRPr>
          </a:p>
        </p:txBody>
      </p:sp>
      <p:sp>
        <p:nvSpPr>
          <p:cNvPr id="23" name="TextBox 22">
            <a:extLst>
              <a:ext uri="{FF2B5EF4-FFF2-40B4-BE49-F238E27FC236}">
                <a16:creationId xmlns:a16="http://schemas.microsoft.com/office/drawing/2014/main" id="{4F5C5495-9348-7F40-9449-AB406DEAAAB7}"/>
              </a:ext>
            </a:extLst>
          </p:cNvPr>
          <p:cNvSpPr txBox="1"/>
          <p:nvPr/>
        </p:nvSpPr>
        <p:spPr>
          <a:xfrm>
            <a:off x="3328912" y="1414809"/>
            <a:ext cx="1439432" cy="338554"/>
          </a:xfrm>
          <a:prstGeom prst="rect">
            <a:avLst/>
          </a:prstGeom>
          <a:noFill/>
        </p:spPr>
        <p:txBody>
          <a:bodyPr wrap="none" rtlCol="0" anchor="b" anchorCtr="0">
            <a:spAutoFit/>
          </a:bodyPr>
          <a:lstStyle/>
          <a:p>
            <a:pPr algn="r"/>
            <a:r>
              <a:rPr lang="en-US" sz="1600" b="1" dirty="0">
                <a:solidFill>
                  <a:schemeClr val="tx2"/>
                </a:solidFill>
                <a:latin typeface="Segoe UI Light" panose="020B0502040204020203" pitchFamily="34" charset="0"/>
                <a:ea typeface="League Spartan" charset="0"/>
                <a:cs typeface="Poppins" pitchFamily="2" charset="77"/>
              </a:rPr>
              <a:t>YOUR TITLE 01</a:t>
            </a:r>
          </a:p>
        </p:txBody>
      </p:sp>
      <p:sp>
        <p:nvSpPr>
          <p:cNvPr id="24" name="Subtitle 2">
            <a:extLst>
              <a:ext uri="{FF2B5EF4-FFF2-40B4-BE49-F238E27FC236}">
                <a16:creationId xmlns:a16="http://schemas.microsoft.com/office/drawing/2014/main" id="{3EC83E82-6DBD-CF47-B9B7-D4B86542393E}"/>
              </a:ext>
            </a:extLst>
          </p:cNvPr>
          <p:cNvSpPr txBox="1">
            <a:spLocks/>
          </p:cNvSpPr>
          <p:nvPr/>
        </p:nvSpPr>
        <p:spPr>
          <a:xfrm>
            <a:off x="871477" y="3062660"/>
            <a:ext cx="3896868" cy="48494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a:t>
            </a:r>
            <a:endPar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endParaRPr>
          </a:p>
        </p:txBody>
      </p:sp>
      <p:sp>
        <p:nvSpPr>
          <p:cNvPr id="25" name="TextBox 24">
            <a:extLst>
              <a:ext uri="{FF2B5EF4-FFF2-40B4-BE49-F238E27FC236}">
                <a16:creationId xmlns:a16="http://schemas.microsoft.com/office/drawing/2014/main" id="{D667B8E4-F91A-6D4A-8FE9-DD7C8D930AF1}"/>
              </a:ext>
            </a:extLst>
          </p:cNvPr>
          <p:cNvSpPr txBox="1"/>
          <p:nvPr/>
        </p:nvSpPr>
        <p:spPr>
          <a:xfrm>
            <a:off x="3296851" y="2725528"/>
            <a:ext cx="1471493" cy="338554"/>
          </a:xfrm>
          <a:prstGeom prst="rect">
            <a:avLst/>
          </a:prstGeom>
          <a:noFill/>
        </p:spPr>
        <p:txBody>
          <a:bodyPr wrap="none" rtlCol="0" anchor="b" anchorCtr="0">
            <a:spAutoFit/>
          </a:bodyPr>
          <a:lstStyle/>
          <a:p>
            <a:pPr algn="r"/>
            <a:r>
              <a:rPr lang="en-US" sz="1600" b="1" dirty="0">
                <a:solidFill>
                  <a:schemeClr val="tx2"/>
                </a:solidFill>
                <a:latin typeface="Segoe UI Light" panose="020B0502040204020203" pitchFamily="34" charset="0"/>
                <a:ea typeface="League Spartan" charset="0"/>
                <a:cs typeface="Poppins" pitchFamily="2" charset="77"/>
              </a:rPr>
              <a:t>YOUR TITLE 02</a:t>
            </a:r>
          </a:p>
        </p:txBody>
      </p:sp>
      <p:sp>
        <p:nvSpPr>
          <p:cNvPr id="26" name="Subtitle 2">
            <a:extLst>
              <a:ext uri="{FF2B5EF4-FFF2-40B4-BE49-F238E27FC236}">
                <a16:creationId xmlns:a16="http://schemas.microsoft.com/office/drawing/2014/main" id="{0D4A5875-E954-C94E-9806-7A84AD8939FA}"/>
              </a:ext>
            </a:extLst>
          </p:cNvPr>
          <p:cNvSpPr txBox="1">
            <a:spLocks/>
          </p:cNvSpPr>
          <p:nvPr/>
        </p:nvSpPr>
        <p:spPr>
          <a:xfrm>
            <a:off x="871477" y="4373379"/>
            <a:ext cx="3896868" cy="48494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a:t>
            </a:r>
            <a:endPar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endParaRPr>
          </a:p>
        </p:txBody>
      </p:sp>
      <p:sp>
        <p:nvSpPr>
          <p:cNvPr id="27" name="TextBox 26">
            <a:extLst>
              <a:ext uri="{FF2B5EF4-FFF2-40B4-BE49-F238E27FC236}">
                <a16:creationId xmlns:a16="http://schemas.microsoft.com/office/drawing/2014/main" id="{50EAA36F-8EDB-F544-9838-5D5FB874129E}"/>
              </a:ext>
            </a:extLst>
          </p:cNvPr>
          <p:cNvSpPr txBox="1"/>
          <p:nvPr/>
        </p:nvSpPr>
        <p:spPr>
          <a:xfrm>
            <a:off x="3296851" y="4036247"/>
            <a:ext cx="1471493" cy="338554"/>
          </a:xfrm>
          <a:prstGeom prst="rect">
            <a:avLst/>
          </a:prstGeom>
          <a:noFill/>
        </p:spPr>
        <p:txBody>
          <a:bodyPr wrap="none" rtlCol="0" anchor="b" anchorCtr="0">
            <a:spAutoFit/>
          </a:bodyPr>
          <a:lstStyle/>
          <a:p>
            <a:pPr algn="r"/>
            <a:r>
              <a:rPr lang="en-US" sz="1600" b="1" dirty="0">
                <a:solidFill>
                  <a:schemeClr val="tx2"/>
                </a:solidFill>
                <a:latin typeface="Segoe UI Light" panose="020B0502040204020203" pitchFamily="34" charset="0"/>
                <a:ea typeface="League Spartan" charset="0"/>
                <a:cs typeface="Poppins" pitchFamily="2" charset="77"/>
              </a:rPr>
              <a:t>YOUR TITLE 03</a:t>
            </a:r>
          </a:p>
        </p:txBody>
      </p:sp>
      <p:sp>
        <p:nvSpPr>
          <p:cNvPr id="28" name="Subtitle 2">
            <a:extLst>
              <a:ext uri="{FF2B5EF4-FFF2-40B4-BE49-F238E27FC236}">
                <a16:creationId xmlns:a16="http://schemas.microsoft.com/office/drawing/2014/main" id="{33C56C49-BE47-CC42-ADC4-B6EB9B2471E7}"/>
              </a:ext>
            </a:extLst>
          </p:cNvPr>
          <p:cNvSpPr txBox="1">
            <a:spLocks/>
          </p:cNvSpPr>
          <p:nvPr/>
        </p:nvSpPr>
        <p:spPr>
          <a:xfrm>
            <a:off x="871477" y="5684099"/>
            <a:ext cx="3896868" cy="48494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a:t>
            </a:r>
            <a:endPar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endParaRPr>
          </a:p>
        </p:txBody>
      </p:sp>
      <p:sp>
        <p:nvSpPr>
          <p:cNvPr id="29" name="TextBox 28">
            <a:extLst>
              <a:ext uri="{FF2B5EF4-FFF2-40B4-BE49-F238E27FC236}">
                <a16:creationId xmlns:a16="http://schemas.microsoft.com/office/drawing/2014/main" id="{69CBA8AF-A9C3-BA41-9043-95D4BB848E02}"/>
              </a:ext>
            </a:extLst>
          </p:cNvPr>
          <p:cNvSpPr txBox="1"/>
          <p:nvPr/>
        </p:nvSpPr>
        <p:spPr>
          <a:xfrm>
            <a:off x="3293646" y="5346967"/>
            <a:ext cx="1474698" cy="338554"/>
          </a:xfrm>
          <a:prstGeom prst="rect">
            <a:avLst/>
          </a:prstGeom>
          <a:noFill/>
        </p:spPr>
        <p:txBody>
          <a:bodyPr wrap="none" rtlCol="0" anchor="b" anchorCtr="0">
            <a:spAutoFit/>
          </a:bodyPr>
          <a:lstStyle/>
          <a:p>
            <a:pPr algn="r"/>
            <a:r>
              <a:rPr lang="en-US" sz="1600" b="1" dirty="0">
                <a:solidFill>
                  <a:schemeClr val="tx2"/>
                </a:solidFill>
                <a:latin typeface="Segoe UI Light" panose="020B0502040204020203" pitchFamily="34" charset="0"/>
                <a:ea typeface="League Spartan" charset="0"/>
                <a:cs typeface="Poppins" pitchFamily="2" charset="77"/>
              </a:rPr>
              <a:t>YOUR TITLE 04</a:t>
            </a:r>
          </a:p>
        </p:txBody>
      </p:sp>
      <p:sp>
        <p:nvSpPr>
          <p:cNvPr id="30" name="Oval 29">
            <a:extLst>
              <a:ext uri="{FF2B5EF4-FFF2-40B4-BE49-F238E27FC236}">
                <a16:creationId xmlns:a16="http://schemas.microsoft.com/office/drawing/2014/main" id="{C78BCBC5-8FB6-6C4A-8983-1C0EE2498FF9}"/>
              </a:ext>
            </a:extLst>
          </p:cNvPr>
          <p:cNvSpPr/>
          <p:nvPr/>
        </p:nvSpPr>
        <p:spPr>
          <a:xfrm>
            <a:off x="4862305" y="1538784"/>
            <a:ext cx="136770" cy="1367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1" name="Oval 30">
            <a:extLst>
              <a:ext uri="{FF2B5EF4-FFF2-40B4-BE49-F238E27FC236}">
                <a16:creationId xmlns:a16="http://schemas.microsoft.com/office/drawing/2014/main" id="{BB14FF50-5A65-C64D-BFC0-58FC36434366}"/>
              </a:ext>
            </a:extLst>
          </p:cNvPr>
          <p:cNvSpPr/>
          <p:nvPr/>
        </p:nvSpPr>
        <p:spPr>
          <a:xfrm>
            <a:off x="4862305" y="2849503"/>
            <a:ext cx="136770" cy="13677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2" name="Oval 31">
            <a:extLst>
              <a:ext uri="{FF2B5EF4-FFF2-40B4-BE49-F238E27FC236}">
                <a16:creationId xmlns:a16="http://schemas.microsoft.com/office/drawing/2014/main" id="{4497A65A-A93B-F247-B447-78BBCE948C8A}"/>
              </a:ext>
            </a:extLst>
          </p:cNvPr>
          <p:cNvSpPr/>
          <p:nvPr/>
        </p:nvSpPr>
        <p:spPr>
          <a:xfrm>
            <a:off x="4862305" y="4160222"/>
            <a:ext cx="136770" cy="13677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3" name="Oval 32">
            <a:extLst>
              <a:ext uri="{FF2B5EF4-FFF2-40B4-BE49-F238E27FC236}">
                <a16:creationId xmlns:a16="http://schemas.microsoft.com/office/drawing/2014/main" id="{72E2846E-4433-D344-9990-101ADD4622E9}"/>
              </a:ext>
            </a:extLst>
          </p:cNvPr>
          <p:cNvSpPr/>
          <p:nvPr/>
        </p:nvSpPr>
        <p:spPr>
          <a:xfrm>
            <a:off x="4862305" y="5470942"/>
            <a:ext cx="136770" cy="13677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5" name="Freeform 1043">
            <a:extLst>
              <a:ext uri="{FF2B5EF4-FFF2-40B4-BE49-F238E27FC236}">
                <a16:creationId xmlns:a16="http://schemas.microsoft.com/office/drawing/2014/main" id="{E928E1B9-AFBB-6647-B16E-2337E0AB07D9}"/>
              </a:ext>
            </a:extLst>
          </p:cNvPr>
          <p:cNvSpPr>
            <a:spLocks noChangeAspect="1" noChangeArrowheads="1"/>
          </p:cNvSpPr>
          <p:nvPr/>
        </p:nvSpPr>
        <p:spPr bwMode="auto">
          <a:xfrm>
            <a:off x="8690729" y="3661933"/>
            <a:ext cx="298666" cy="297750"/>
          </a:xfrm>
          <a:custGeom>
            <a:avLst/>
            <a:gdLst>
              <a:gd name="T0" fmla="*/ 8707233 w 285392"/>
              <a:gd name="T1" fmla="*/ 120119261 h 283805"/>
              <a:gd name="T2" fmla="*/ 29325211 w 285392"/>
              <a:gd name="T3" fmla="*/ 93833658 h 283805"/>
              <a:gd name="T4" fmla="*/ 1831833 w 285392"/>
              <a:gd name="T5" fmla="*/ 90078391 h 283805"/>
              <a:gd name="T6" fmla="*/ 37878854 w 285392"/>
              <a:gd name="T7" fmla="*/ 91956180 h 283805"/>
              <a:gd name="T8" fmla="*/ 32991136 w 285392"/>
              <a:gd name="T9" fmla="*/ 93833658 h 283805"/>
              <a:gd name="T10" fmla="*/ 31158697 w 285392"/>
              <a:gd name="T11" fmla="*/ 123874713 h 283805"/>
              <a:gd name="T12" fmla="*/ 4886724 w 285392"/>
              <a:gd name="T13" fmla="*/ 121997236 h 283805"/>
              <a:gd name="T14" fmla="*/ 1831833 w 285392"/>
              <a:gd name="T15" fmla="*/ 93833658 h 283805"/>
              <a:gd name="T16" fmla="*/ 1831833 w 285392"/>
              <a:gd name="T17" fmla="*/ 90078391 h 283805"/>
              <a:gd name="T18" fmla="*/ 92800544 w 285392"/>
              <a:gd name="T19" fmla="*/ 120088971 h 283805"/>
              <a:gd name="T20" fmla="*/ 113503367 w 285392"/>
              <a:gd name="T21" fmla="*/ 78618555 h 283805"/>
              <a:gd name="T22" fmla="*/ 86053647 w 285392"/>
              <a:gd name="T23" fmla="*/ 74834539 h 283805"/>
              <a:gd name="T24" fmla="*/ 122091277 w 285392"/>
              <a:gd name="T25" fmla="*/ 76569103 h 283805"/>
              <a:gd name="T26" fmla="*/ 117184208 w 285392"/>
              <a:gd name="T27" fmla="*/ 78618555 h 283805"/>
              <a:gd name="T28" fmla="*/ 115343507 w 285392"/>
              <a:gd name="T29" fmla="*/ 123873484 h 283805"/>
              <a:gd name="T30" fmla="*/ 89120569 w 285392"/>
              <a:gd name="T31" fmla="*/ 121981726 h 283805"/>
              <a:gd name="T32" fmla="*/ 86053647 w 285392"/>
              <a:gd name="T33" fmla="*/ 78618555 h 283805"/>
              <a:gd name="T34" fmla="*/ 86053647 w 285392"/>
              <a:gd name="T35" fmla="*/ 74834539 h 283805"/>
              <a:gd name="T36" fmla="*/ 50541167 w 285392"/>
              <a:gd name="T37" fmla="*/ 120082526 h 283805"/>
              <a:gd name="T38" fmla="*/ 71396916 w 285392"/>
              <a:gd name="T39" fmla="*/ 63381523 h 283805"/>
              <a:gd name="T40" fmla="*/ 19278434 w 285392"/>
              <a:gd name="T41" fmla="*/ 63155325 h 283805"/>
              <a:gd name="T42" fmla="*/ 19278434 w 285392"/>
              <a:gd name="T43" fmla="*/ 79274704 h 283805"/>
              <a:gd name="T44" fmla="*/ 19278434 w 285392"/>
              <a:gd name="T45" fmla="*/ 63155325 h 283805"/>
              <a:gd name="T46" fmla="*/ 78144632 w 285392"/>
              <a:gd name="T47" fmla="*/ 59590565 h 283805"/>
              <a:gd name="T48" fmla="*/ 78144632 w 285392"/>
              <a:gd name="T49" fmla="*/ 63222884 h 283805"/>
              <a:gd name="T50" fmla="*/ 75077743 w 285392"/>
              <a:gd name="T51" fmla="*/ 121978098 h 283805"/>
              <a:gd name="T52" fmla="*/ 48854251 w 285392"/>
              <a:gd name="T53" fmla="*/ 123872957 h 283805"/>
              <a:gd name="T54" fmla="*/ 47014093 w 285392"/>
              <a:gd name="T55" fmla="*/ 63222884 h 283805"/>
              <a:gd name="T56" fmla="*/ 42106458 w 285392"/>
              <a:gd name="T57" fmla="*/ 61485446 h 283805"/>
              <a:gd name="T58" fmla="*/ 19278434 w 285392"/>
              <a:gd name="T59" fmla="*/ 59590565 h 283805"/>
              <a:gd name="T60" fmla="*/ 19278434 w 285392"/>
              <a:gd name="T61" fmla="*/ 82994349 h 283805"/>
              <a:gd name="T62" fmla="*/ 19278434 w 285392"/>
              <a:gd name="T63" fmla="*/ 59590565 h 283805"/>
              <a:gd name="T64" fmla="*/ 92687089 w 285392"/>
              <a:gd name="T65" fmla="*/ 53968565 h 283805"/>
              <a:gd name="T66" fmla="*/ 113615111 w 285392"/>
              <a:gd name="T67" fmla="*/ 53968565 h 283805"/>
              <a:gd name="T68" fmla="*/ 103229073 w 285392"/>
              <a:gd name="T69" fmla="*/ 39496003 h 283805"/>
              <a:gd name="T70" fmla="*/ 103229073 w 285392"/>
              <a:gd name="T71" fmla="*/ 68441051 h 283805"/>
              <a:gd name="T72" fmla="*/ 103229073 w 285392"/>
              <a:gd name="T73" fmla="*/ 39496003 h 283805"/>
              <a:gd name="T74" fmla="*/ 77944262 w 285392"/>
              <a:gd name="T75" fmla="*/ 26940346 h 283805"/>
              <a:gd name="T76" fmla="*/ 74025646 w 285392"/>
              <a:gd name="T77" fmla="*/ 26940346 h 283805"/>
              <a:gd name="T78" fmla="*/ 46779056 w 285392"/>
              <a:gd name="T79" fmla="*/ 24944181 h 283805"/>
              <a:gd name="T80" fmla="*/ 46779056 w 285392"/>
              <a:gd name="T81" fmla="*/ 28936426 h 283805"/>
              <a:gd name="T82" fmla="*/ 46779056 w 285392"/>
              <a:gd name="T83" fmla="*/ 24944181 h 283805"/>
              <a:gd name="T84" fmla="*/ 62887936 w 285392"/>
              <a:gd name="T85" fmla="*/ 10215525 h 283805"/>
              <a:gd name="T86" fmla="*/ 69183073 w 285392"/>
              <a:gd name="T87" fmla="*/ 17020252 h 283805"/>
              <a:gd name="T88" fmla="*/ 65805060 w 285392"/>
              <a:gd name="T89" fmla="*/ 18604316 h 283805"/>
              <a:gd name="T90" fmla="*/ 55978363 w 285392"/>
              <a:gd name="T91" fmla="*/ 20186659 h 283805"/>
              <a:gd name="T92" fmla="*/ 69797559 w 285392"/>
              <a:gd name="T93" fmla="*/ 33009494 h 283805"/>
              <a:gd name="T94" fmla="*/ 62887936 w 285392"/>
              <a:gd name="T95" fmla="*/ 42981519 h 283805"/>
              <a:gd name="T96" fmla="*/ 59202993 w 285392"/>
              <a:gd name="T97" fmla="*/ 42981519 h 283805"/>
              <a:gd name="T98" fmla="*/ 52907711 w 285392"/>
              <a:gd name="T99" fmla="*/ 36015826 h 283805"/>
              <a:gd name="T100" fmla="*/ 56285354 w 285392"/>
              <a:gd name="T101" fmla="*/ 34591336 h 283805"/>
              <a:gd name="T102" fmla="*/ 66112435 w 285392"/>
              <a:gd name="T103" fmla="*/ 33009494 h 283805"/>
              <a:gd name="T104" fmla="*/ 52293370 w 285392"/>
              <a:gd name="T105" fmla="*/ 20186659 h 283805"/>
              <a:gd name="T106" fmla="*/ 59202993 w 285392"/>
              <a:gd name="T107" fmla="*/ 10215525 h 283805"/>
              <a:gd name="T108" fmla="*/ 61045167 w 285392"/>
              <a:gd name="T109" fmla="*/ 3770864 h 283805"/>
              <a:gd name="T110" fmla="*/ 61045167 w 285392"/>
              <a:gd name="T111" fmla="*/ 50118642 h 283805"/>
              <a:gd name="T112" fmla="*/ 61045167 w 285392"/>
              <a:gd name="T113" fmla="*/ 3770864 h 283805"/>
              <a:gd name="T114" fmla="*/ 87454813 w 285392"/>
              <a:gd name="T115" fmla="*/ 26866753 h 283805"/>
              <a:gd name="T116" fmla="*/ 34636116 w 285392"/>
              <a:gd name="T117" fmla="*/ 26866753 h 2838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5392" h="283805">
                <a:moveTo>
                  <a:pt x="20351" y="214978"/>
                </a:moveTo>
                <a:lnTo>
                  <a:pt x="20351" y="275201"/>
                </a:lnTo>
                <a:lnTo>
                  <a:pt x="68549" y="275201"/>
                </a:lnTo>
                <a:lnTo>
                  <a:pt x="68549" y="214978"/>
                </a:lnTo>
                <a:lnTo>
                  <a:pt x="20351" y="214978"/>
                </a:lnTo>
                <a:close/>
                <a:moveTo>
                  <a:pt x="4284" y="206375"/>
                </a:moveTo>
                <a:lnTo>
                  <a:pt x="84259" y="206375"/>
                </a:lnTo>
                <a:cubicBezTo>
                  <a:pt x="86401" y="206375"/>
                  <a:pt x="88543" y="208526"/>
                  <a:pt x="88543" y="210677"/>
                </a:cubicBezTo>
                <a:cubicBezTo>
                  <a:pt x="88543" y="213186"/>
                  <a:pt x="86401" y="214978"/>
                  <a:pt x="84259" y="214978"/>
                </a:cubicBezTo>
                <a:lnTo>
                  <a:pt x="77118" y="214978"/>
                </a:lnTo>
                <a:lnTo>
                  <a:pt x="77118" y="279503"/>
                </a:lnTo>
                <a:cubicBezTo>
                  <a:pt x="77118" y="281654"/>
                  <a:pt x="75333" y="283805"/>
                  <a:pt x="72834" y="283805"/>
                </a:cubicBezTo>
                <a:lnTo>
                  <a:pt x="15709" y="283805"/>
                </a:lnTo>
                <a:cubicBezTo>
                  <a:pt x="13567" y="283805"/>
                  <a:pt x="11425" y="281654"/>
                  <a:pt x="11425" y="279503"/>
                </a:cubicBezTo>
                <a:lnTo>
                  <a:pt x="11425" y="214978"/>
                </a:lnTo>
                <a:lnTo>
                  <a:pt x="4284" y="214978"/>
                </a:lnTo>
                <a:cubicBezTo>
                  <a:pt x="2142" y="214978"/>
                  <a:pt x="0" y="213186"/>
                  <a:pt x="0" y="210677"/>
                </a:cubicBezTo>
                <a:cubicBezTo>
                  <a:pt x="0" y="208526"/>
                  <a:pt x="2142" y="206375"/>
                  <a:pt x="4284" y="206375"/>
                </a:cubicBezTo>
                <a:close/>
                <a:moveTo>
                  <a:pt x="216924" y="180120"/>
                </a:moveTo>
                <a:lnTo>
                  <a:pt x="216924" y="275132"/>
                </a:lnTo>
                <a:lnTo>
                  <a:pt x="265317" y="275132"/>
                </a:lnTo>
                <a:lnTo>
                  <a:pt x="265317" y="180120"/>
                </a:lnTo>
                <a:lnTo>
                  <a:pt x="216924" y="180120"/>
                </a:lnTo>
                <a:close/>
                <a:moveTo>
                  <a:pt x="201152" y="171450"/>
                </a:moveTo>
                <a:lnTo>
                  <a:pt x="281090" y="171450"/>
                </a:lnTo>
                <a:cubicBezTo>
                  <a:pt x="283599" y="171450"/>
                  <a:pt x="285392" y="173256"/>
                  <a:pt x="285392" y="175424"/>
                </a:cubicBezTo>
                <a:cubicBezTo>
                  <a:pt x="285392" y="177953"/>
                  <a:pt x="283599" y="180120"/>
                  <a:pt x="281090" y="180120"/>
                </a:cubicBezTo>
                <a:lnTo>
                  <a:pt x="273921" y="180120"/>
                </a:lnTo>
                <a:lnTo>
                  <a:pt x="273921" y="279467"/>
                </a:lnTo>
                <a:cubicBezTo>
                  <a:pt x="273921" y="281634"/>
                  <a:pt x="272128" y="283802"/>
                  <a:pt x="269619" y="283802"/>
                </a:cubicBezTo>
                <a:lnTo>
                  <a:pt x="212623" y="283802"/>
                </a:lnTo>
                <a:cubicBezTo>
                  <a:pt x="210113" y="283802"/>
                  <a:pt x="208321" y="281634"/>
                  <a:pt x="208321" y="279467"/>
                </a:cubicBezTo>
                <a:lnTo>
                  <a:pt x="208321" y="180120"/>
                </a:lnTo>
                <a:lnTo>
                  <a:pt x="201152" y="180120"/>
                </a:lnTo>
                <a:cubicBezTo>
                  <a:pt x="198642" y="180120"/>
                  <a:pt x="196850" y="177953"/>
                  <a:pt x="196850" y="175424"/>
                </a:cubicBezTo>
                <a:cubicBezTo>
                  <a:pt x="196850" y="173256"/>
                  <a:pt x="198642" y="171450"/>
                  <a:pt x="201152" y="171450"/>
                </a:cubicBezTo>
                <a:close/>
                <a:moveTo>
                  <a:pt x="118141" y="145210"/>
                </a:moveTo>
                <a:lnTo>
                  <a:pt x="118141" y="275117"/>
                </a:lnTo>
                <a:lnTo>
                  <a:pt x="166892" y="275117"/>
                </a:lnTo>
                <a:lnTo>
                  <a:pt x="166892" y="145210"/>
                </a:lnTo>
                <a:lnTo>
                  <a:pt x="118141" y="145210"/>
                </a:lnTo>
                <a:close/>
                <a:moveTo>
                  <a:pt x="45062" y="144692"/>
                </a:moveTo>
                <a:cubicBezTo>
                  <a:pt x="34530" y="144692"/>
                  <a:pt x="26178" y="153215"/>
                  <a:pt x="26178" y="163513"/>
                </a:cubicBezTo>
                <a:cubicBezTo>
                  <a:pt x="26178" y="173455"/>
                  <a:pt x="34530" y="181623"/>
                  <a:pt x="45062" y="181623"/>
                </a:cubicBezTo>
                <a:cubicBezTo>
                  <a:pt x="55593" y="181623"/>
                  <a:pt x="63946" y="173455"/>
                  <a:pt x="63946" y="163513"/>
                </a:cubicBezTo>
                <a:cubicBezTo>
                  <a:pt x="63946" y="153215"/>
                  <a:pt x="55593" y="144692"/>
                  <a:pt x="45062" y="144692"/>
                </a:cubicBezTo>
                <a:close/>
                <a:moveTo>
                  <a:pt x="102727" y="136525"/>
                </a:moveTo>
                <a:lnTo>
                  <a:pt x="182665" y="136525"/>
                </a:lnTo>
                <a:cubicBezTo>
                  <a:pt x="185174" y="136525"/>
                  <a:pt x="186967" y="138334"/>
                  <a:pt x="186967" y="140867"/>
                </a:cubicBezTo>
                <a:cubicBezTo>
                  <a:pt x="186967" y="143039"/>
                  <a:pt x="185174" y="144848"/>
                  <a:pt x="182665" y="144848"/>
                </a:cubicBezTo>
                <a:lnTo>
                  <a:pt x="175496" y="144848"/>
                </a:lnTo>
                <a:lnTo>
                  <a:pt x="175496" y="279459"/>
                </a:lnTo>
                <a:cubicBezTo>
                  <a:pt x="175496" y="281630"/>
                  <a:pt x="173703" y="283801"/>
                  <a:pt x="171194" y="283801"/>
                </a:cubicBezTo>
                <a:lnTo>
                  <a:pt x="114198" y="283801"/>
                </a:lnTo>
                <a:cubicBezTo>
                  <a:pt x="111688" y="283801"/>
                  <a:pt x="109896" y="281630"/>
                  <a:pt x="109896" y="279459"/>
                </a:cubicBezTo>
                <a:lnTo>
                  <a:pt x="109896" y="144848"/>
                </a:lnTo>
                <a:lnTo>
                  <a:pt x="102727" y="144848"/>
                </a:lnTo>
                <a:cubicBezTo>
                  <a:pt x="100217" y="144848"/>
                  <a:pt x="98425" y="143039"/>
                  <a:pt x="98425" y="140867"/>
                </a:cubicBezTo>
                <a:cubicBezTo>
                  <a:pt x="98425" y="138334"/>
                  <a:pt x="100217" y="136525"/>
                  <a:pt x="102727" y="136525"/>
                </a:cubicBezTo>
                <a:close/>
                <a:moveTo>
                  <a:pt x="45062" y="136525"/>
                </a:moveTo>
                <a:cubicBezTo>
                  <a:pt x="60315" y="136525"/>
                  <a:pt x="72662" y="148598"/>
                  <a:pt x="72662" y="163513"/>
                </a:cubicBezTo>
                <a:cubicBezTo>
                  <a:pt x="72662" y="178072"/>
                  <a:pt x="60315" y="190145"/>
                  <a:pt x="45062" y="190145"/>
                </a:cubicBezTo>
                <a:cubicBezTo>
                  <a:pt x="29809" y="190145"/>
                  <a:pt x="17462" y="178072"/>
                  <a:pt x="17462" y="163513"/>
                </a:cubicBezTo>
                <a:cubicBezTo>
                  <a:pt x="17462" y="148598"/>
                  <a:pt x="29809" y="136525"/>
                  <a:pt x="45062" y="136525"/>
                </a:cubicBezTo>
                <a:close/>
                <a:moveTo>
                  <a:pt x="241300" y="99138"/>
                </a:moveTo>
                <a:cubicBezTo>
                  <a:pt x="227530" y="99138"/>
                  <a:pt x="216659" y="110310"/>
                  <a:pt x="216659" y="123645"/>
                </a:cubicBezTo>
                <a:cubicBezTo>
                  <a:pt x="216659" y="136980"/>
                  <a:pt x="227530" y="148153"/>
                  <a:pt x="241300" y="148153"/>
                </a:cubicBezTo>
                <a:cubicBezTo>
                  <a:pt x="254707" y="148153"/>
                  <a:pt x="265578" y="136980"/>
                  <a:pt x="265578" y="123645"/>
                </a:cubicBezTo>
                <a:cubicBezTo>
                  <a:pt x="265578" y="110310"/>
                  <a:pt x="254707" y="99138"/>
                  <a:pt x="241300" y="99138"/>
                </a:cubicBezTo>
                <a:close/>
                <a:moveTo>
                  <a:pt x="241300" y="90488"/>
                </a:moveTo>
                <a:cubicBezTo>
                  <a:pt x="259418" y="90488"/>
                  <a:pt x="274275" y="105265"/>
                  <a:pt x="274275" y="123645"/>
                </a:cubicBezTo>
                <a:cubicBezTo>
                  <a:pt x="274275" y="142026"/>
                  <a:pt x="259418" y="156803"/>
                  <a:pt x="241300" y="156803"/>
                </a:cubicBezTo>
                <a:cubicBezTo>
                  <a:pt x="222819" y="156803"/>
                  <a:pt x="207962" y="142026"/>
                  <a:pt x="207962" y="123645"/>
                </a:cubicBezTo>
                <a:cubicBezTo>
                  <a:pt x="207962" y="105265"/>
                  <a:pt x="222819" y="90488"/>
                  <a:pt x="241300" y="90488"/>
                </a:cubicBezTo>
                <a:close/>
                <a:moveTo>
                  <a:pt x="177800" y="57150"/>
                </a:moveTo>
                <a:cubicBezTo>
                  <a:pt x="179998" y="57150"/>
                  <a:pt x="182196" y="59436"/>
                  <a:pt x="182196" y="61722"/>
                </a:cubicBezTo>
                <a:cubicBezTo>
                  <a:pt x="182196" y="64389"/>
                  <a:pt x="179998" y="66294"/>
                  <a:pt x="177800" y="66294"/>
                </a:cubicBezTo>
                <a:cubicBezTo>
                  <a:pt x="175235" y="66294"/>
                  <a:pt x="173037" y="64389"/>
                  <a:pt x="173037" y="61722"/>
                </a:cubicBezTo>
                <a:cubicBezTo>
                  <a:pt x="173037" y="59436"/>
                  <a:pt x="175235" y="57150"/>
                  <a:pt x="177800" y="57150"/>
                </a:cubicBezTo>
                <a:close/>
                <a:moveTo>
                  <a:pt x="109347" y="57150"/>
                </a:moveTo>
                <a:cubicBezTo>
                  <a:pt x="112014" y="57150"/>
                  <a:pt x="113919" y="59436"/>
                  <a:pt x="113919" y="61722"/>
                </a:cubicBezTo>
                <a:cubicBezTo>
                  <a:pt x="113919" y="64389"/>
                  <a:pt x="112014" y="66294"/>
                  <a:pt x="109347" y="66294"/>
                </a:cubicBezTo>
                <a:cubicBezTo>
                  <a:pt x="107061" y="66294"/>
                  <a:pt x="104775" y="64389"/>
                  <a:pt x="104775" y="61722"/>
                </a:cubicBezTo>
                <a:cubicBezTo>
                  <a:pt x="104775" y="59436"/>
                  <a:pt x="107061" y="57150"/>
                  <a:pt x="109347" y="57150"/>
                </a:cubicBezTo>
                <a:close/>
                <a:moveTo>
                  <a:pt x="142695" y="19050"/>
                </a:moveTo>
                <a:cubicBezTo>
                  <a:pt x="145207" y="19050"/>
                  <a:pt x="147002" y="20863"/>
                  <a:pt x="147002" y="23402"/>
                </a:cubicBezTo>
                <a:lnTo>
                  <a:pt x="147002" y="27391"/>
                </a:lnTo>
                <a:cubicBezTo>
                  <a:pt x="153462" y="28842"/>
                  <a:pt x="159205" y="33194"/>
                  <a:pt x="161717" y="38996"/>
                </a:cubicBezTo>
                <a:cubicBezTo>
                  <a:pt x="162435" y="41535"/>
                  <a:pt x="161359" y="43711"/>
                  <a:pt x="159564" y="45162"/>
                </a:cubicBezTo>
                <a:cubicBezTo>
                  <a:pt x="157052" y="45887"/>
                  <a:pt x="154539" y="44799"/>
                  <a:pt x="153821" y="42623"/>
                </a:cubicBezTo>
                <a:cubicBezTo>
                  <a:pt x="152027" y="38634"/>
                  <a:pt x="147720" y="35732"/>
                  <a:pt x="142695" y="35732"/>
                </a:cubicBezTo>
                <a:cubicBezTo>
                  <a:pt x="136235" y="35732"/>
                  <a:pt x="130851" y="40447"/>
                  <a:pt x="130851" y="46250"/>
                </a:cubicBezTo>
                <a:cubicBezTo>
                  <a:pt x="130851" y="53140"/>
                  <a:pt x="134799" y="56404"/>
                  <a:pt x="142695" y="56404"/>
                </a:cubicBezTo>
                <a:cubicBezTo>
                  <a:pt x="157769" y="56404"/>
                  <a:pt x="163153" y="66559"/>
                  <a:pt x="163153" y="75625"/>
                </a:cubicBezTo>
                <a:cubicBezTo>
                  <a:pt x="163153" y="84692"/>
                  <a:pt x="156334" y="92671"/>
                  <a:pt x="147002" y="94484"/>
                </a:cubicBezTo>
                <a:lnTo>
                  <a:pt x="147002" y="98473"/>
                </a:lnTo>
                <a:cubicBezTo>
                  <a:pt x="147002" y="101012"/>
                  <a:pt x="145207" y="102825"/>
                  <a:pt x="142695" y="102825"/>
                </a:cubicBezTo>
                <a:cubicBezTo>
                  <a:pt x="140183" y="102825"/>
                  <a:pt x="138388" y="101012"/>
                  <a:pt x="138388" y="98473"/>
                </a:cubicBezTo>
                <a:lnTo>
                  <a:pt x="138388" y="94121"/>
                </a:lnTo>
                <a:cubicBezTo>
                  <a:pt x="131569" y="93033"/>
                  <a:pt x="126185" y="88681"/>
                  <a:pt x="123673" y="82516"/>
                </a:cubicBezTo>
                <a:cubicBezTo>
                  <a:pt x="122955" y="80340"/>
                  <a:pt x="123673" y="77801"/>
                  <a:pt x="126185" y="77076"/>
                </a:cubicBezTo>
                <a:cubicBezTo>
                  <a:pt x="127980" y="75988"/>
                  <a:pt x="130851" y="77076"/>
                  <a:pt x="131569" y="79252"/>
                </a:cubicBezTo>
                <a:cubicBezTo>
                  <a:pt x="133363" y="83241"/>
                  <a:pt x="138029" y="86143"/>
                  <a:pt x="142695" y="86143"/>
                </a:cubicBezTo>
                <a:cubicBezTo>
                  <a:pt x="149155" y="86143"/>
                  <a:pt x="154539" y="81428"/>
                  <a:pt x="154539" y="75625"/>
                </a:cubicBezTo>
                <a:cubicBezTo>
                  <a:pt x="154539" y="68735"/>
                  <a:pt x="150591" y="65108"/>
                  <a:pt x="142695" y="65108"/>
                </a:cubicBezTo>
                <a:cubicBezTo>
                  <a:pt x="127621" y="65108"/>
                  <a:pt x="122237" y="55316"/>
                  <a:pt x="122237" y="46250"/>
                </a:cubicBezTo>
                <a:cubicBezTo>
                  <a:pt x="122237" y="37183"/>
                  <a:pt x="129415" y="29567"/>
                  <a:pt x="138388" y="27391"/>
                </a:cubicBezTo>
                <a:lnTo>
                  <a:pt x="138388" y="23402"/>
                </a:lnTo>
                <a:cubicBezTo>
                  <a:pt x="138388" y="20863"/>
                  <a:pt x="140183" y="19050"/>
                  <a:pt x="142695" y="19050"/>
                </a:cubicBezTo>
                <a:close/>
                <a:moveTo>
                  <a:pt x="142695" y="8639"/>
                </a:moveTo>
                <a:cubicBezTo>
                  <a:pt x="113264" y="8639"/>
                  <a:pt x="89935" y="32396"/>
                  <a:pt x="89935" y="61552"/>
                </a:cubicBezTo>
                <a:cubicBezTo>
                  <a:pt x="89935" y="90709"/>
                  <a:pt x="113264" y="114826"/>
                  <a:pt x="142695" y="114826"/>
                </a:cubicBezTo>
                <a:cubicBezTo>
                  <a:pt x="171767" y="114826"/>
                  <a:pt x="195814" y="90709"/>
                  <a:pt x="195814" y="61552"/>
                </a:cubicBezTo>
                <a:cubicBezTo>
                  <a:pt x="195814" y="32396"/>
                  <a:pt x="171767" y="8639"/>
                  <a:pt x="142695" y="8639"/>
                </a:cubicBezTo>
                <a:close/>
                <a:moveTo>
                  <a:pt x="142695" y="0"/>
                </a:moveTo>
                <a:cubicBezTo>
                  <a:pt x="176792" y="0"/>
                  <a:pt x="204428" y="27717"/>
                  <a:pt x="204428" y="61552"/>
                </a:cubicBezTo>
                <a:cubicBezTo>
                  <a:pt x="204428" y="95748"/>
                  <a:pt x="176792" y="123465"/>
                  <a:pt x="142695" y="123465"/>
                </a:cubicBezTo>
                <a:cubicBezTo>
                  <a:pt x="108957" y="123465"/>
                  <a:pt x="80962" y="95748"/>
                  <a:pt x="80962" y="61552"/>
                </a:cubicBezTo>
                <a:cubicBezTo>
                  <a:pt x="80962" y="27717"/>
                  <a:pt x="108957" y="0"/>
                  <a:pt x="142695"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36" name="Freeform 1016">
            <a:extLst>
              <a:ext uri="{FF2B5EF4-FFF2-40B4-BE49-F238E27FC236}">
                <a16:creationId xmlns:a16="http://schemas.microsoft.com/office/drawing/2014/main" id="{40FCA97C-FB3F-CA4B-A446-517F4C2D4B0F}"/>
              </a:ext>
            </a:extLst>
          </p:cNvPr>
          <p:cNvSpPr>
            <a:spLocks noChangeAspect="1" noChangeArrowheads="1"/>
          </p:cNvSpPr>
          <p:nvPr/>
        </p:nvSpPr>
        <p:spPr bwMode="auto">
          <a:xfrm>
            <a:off x="6457114" y="4558079"/>
            <a:ext cx="302330" cy="301872"/>
          </a:xfrm>
          <a:custGeom>
            <a:avLst/>
            <a:gdLst>
              <a:gd name="T0" fmla="*/ 67396042 w 288565"/>
              <a:gd name="T1" fmla="*/ 92877014 h 288565"/>
              <a:gd name="T2" fmla="*/ 54034295 w 288565"/>
              <a:gd name="T3" fmla="*/ 102044141 h 288565"/>
              <a:gd name="T4" fmla="*/ 78582751 w 288565"/>
              <a:gd name="T5" fmla="*/ 111366086 h 288565"/>
              <a:gd name="T6" fmla="*/ 82311448 w 288565"/>
              <a:gd name="T7" fmla="*/ 115095226 h 288565"/>
              <a:gd name="T8" fmla="*/ 102509904 w 288565"/>
              <a:gd name="T9" fmla="*/ 95829239 h 288565"/>
              <a:gd name="T10" fmla="*/ 75009190 w 288565"/>
              <a:gd name="T11" fmla="*/ 86196073 h 288565"/>
              <a:gd name="T12" fmla="*/ 90080684 w 288565"/>
              <a:gd name="T13" fmla="*/ 91323631 h 288565"/>
              <a:gd name="T14" fmla="*/ 75009190 w 288565"/>
              <a:gd name="T15" fmla="*/ 86196073 h 288565"/>
              <a:gd name="T16" fmla="*/ 80291529 w 288565"/>
              <a:gd name="T17" fmla="*/ 83710061 h 288565"/>
              <a:gd name="T18" fmla="*/ 78582751 w 288565"/>
              <a:gd name="T19" fmla="*/ 45799888 h 288565"/>
              <a:gd name="T20" fmla="*/ 51237058 w 288565"/>
              <a:gd name="T21" fmla="*/ 80447079 h 288565"/>
              <a:gd name="T22" fmla="*/ 50926900 w 288565"/>
              <a:gd name="T23" fmla="*/ 98625689 h 288565"/>
              <a:gd name="T24" fmla="*/ 66619254 w 288565"/>
              <a:gd name="T25" fmla="*/ 88992399 h 288565"/>
              <a:gd name="T26" fmla="*/ 66308541 w 288565"/>
              <a:gd name="T27" fmla="*/ 70814429 h 288565"/>
              <a:gd name="T28" fmla="*/ 89148378 w 288565"/>
              <a:gd name="T29" fmla="*/ 83865550 h 288565"/>
              <a:gd name="T30" fmla="*/ 97227340 w 288565"/>
              <a:gd name="T31" fmla="*/ 89924978 h 288565"/>
              <a:gd name="T32" fmla="*/ 115095226 w 288565"/>
              <a:gd name="T33" fmla="*/ 82311448 h 288565"/>
              <a:gd name="T34" fmla="*/ 111366086 w 288565"/>
              <a:gd name="T35" fmla="*/ 78427280 h 288565"/>
              <a:gd name="T36" fmla="*/ 82311448 w 288565"/>
              <a:gd name="T37" fmla="*/ 49373187 h 288565"/>
              <a:gd name="T38" fmla="*/ 78582751 w 288565"/>
              <a:gd name="T39" fmla="*/ 45799888 h 288565"/>
              <a:gd name="T40" fmla="*/ 82311448 w 288565"/>
              <a:gd name="T41" fmla="*/ 41915146 h 288565"/>
              <a:gd name="T42" fmla="*/ 124572489 w 288565"/>
              <a:gd name="T43" fmla="*/ 80447079 h 288565"/>
              <a:gd name="T44" fmla="*/ 82311448 w 288565"/>
              <a:gd name="T45" fmla="*/ 118824362 h 288565"/>
              <a:gd name="T46" fmla="*/ 78582751 w 288565"/>
              <a:gd name="T47" fmla="*/ 122708207 h 288565"/>
              <a:gd name="T48" fmla="*/ 38186024 w 288565"/>
              <a:gd name="T49" fmla="*/ 82311448 h 288565"/>
              <a:gd name="T50" fmla="*/ 41915146 w 288565"/>
              <a:gd name="T51" fmla="*/ 78427280 h 288565"/>
              <a:gd name="T52" fmla="*/ 80291529 w 288565"/>
              <a:gd name="T53" fmla="*/ 36321478 h 288565"/>
              <a:gd name="T54" fmla="*/ 44303012 w 288565"/>
              <a:gd name="T55" fmla="*/ 47357010 h 288565"/>
              <a:gd name="T56" fmla="*/ 44303012 w 288565"/>
              <a:gd name="T57" fmla="*/ 0 h 288565"/>
              <a:gd name="T58" fmla="*/ 79402078 w 288565"/>
              <a:gd name="T59" fmla="*/ 28103717 h 288565"/>
              <a:gd name="T60" fmla="*/ 46175228 w 288565"/>
              <a:gd name="T61" fmla="*/ 9470595 h 288565"/>
              <a:gd name="T62" fmla="*/ 42431195 w 288565"/>
              <a:gd name="T63" fmla="*/ 13197165 h 288565"/>
              <a:gd name="T64" fmla="*/ 13103777 w 288565"/>
              <a:gd name="T65" fmla="*/ 42233195 h 288565"/>
              <a:gd name="T66" fmla="*/ 9516619 w 288565"/>
              <a:gd name="T67" fmla="*/ 45959116 h 288565"/>
              <a:gd name="T68" fmla="*/ 27298848 w 288565"/>
              <a:gd name="T69" fmla="*/ 53567658 h 288565"/>
              <a:gd name="T70" fmla="*/ 35566931 w 288565"/>
              <a:gd name="T71" fmla="*/ 47666972 h 288565"/>
              <a:gd name="T72" fmla="*/ 58498606 w 288565"/>
              <a:gd name="T73" fmla="*/ 34624555 h 288565"/>
              <a:gd name="T74" fmla="*/ 34630948 w 288565"/>
              <a:gd name="T75" fmla="*/ 54964819 h 288565"/>
              <a:gd name="T76" fmla="*/ 40870936 w 288565"/>
              <a:gd name="T77" fmla="*/ 63504527 h 288565"/>
              <a:gd name="T78" fmla="*/ 28391035 w 288565"/>
              <a:gd name="T79" fmla="*/ 57138811 h 288565"/>
              <a:gd name="T80" fmla="*/ 17939566 w 288565"/>
              <a:gd name="T81" fmla="*/ 66764779 h 288565"/>
              <a:gd name="T82" fmla="*/ 29015049 w 288565"/>
              <a:gd name="T83" fmla="*/ 79341912 h 288565"/>
              <a:gd name="T84" fmla="*/ 1870721 w 288565"/>
              <a:gd name="T85" fmla="*/ 45959116 h 288565"/>
              <a:gd name="T86" fmla="*/ 5772603 w 288565"/>
              <a:gd name="T87" fmla="*/ 42233195 h 288565"/>
              <a:gd name="T88" fmla="*/ 44303012 w 288565"/>
              <a:gd name="T89" fmla="*/ 0 h 2885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88565" h="288565">
                <a:moveTo>
                  <a:pt x="216584" y="214784"/>
                </a:moveTo>
                <a:cubicBezTo>
                  <a:pt x="212984" y="224862"/>
                  <a:pt x="201107" y="232420"/>
                  <a:pt x="185991" y="232420"/>
                </a:cubicBezTo>
                <a:cubicBezTo>
                  <a:pt x="171595" y="232420"/>
                  <a:pt x="159358" y="224862"/>
                  <a:pt x="156119" y="215144"/>
                </a:cubicBezTo>
                <a:cubicBezTo>
                  <a:pt x="153959" y="215504"/>
                  <a:pt x="151800" y="216224"/>
                  <a:pt x="149640" y="216584"/>
                </a:cubicBezTo>
                <a:cubicBezTo>
                  <a:pt x="144242" y="218023"/>
                  <a:pt x="139563" y="220183"/>
                  <a:pt x="134884" y="222342"/>
                </a:cubicBezTo>
                <a:cubicBezTo>
                  <a:pt x="129126" y="224862"/>
                  <a:pt x="125167" y="230620"/>
                  <a:pt x="125167" y="236379"/>
                </a:cubicBezTo>
                <a:lnTo>
                  <a:pt x="125167" y="238538"/>
                </a:lnTo>
                <a:cubicBezTo>
                  <a:pt x="139203" y="254734"/>
                  <a:pt x="159358" y="265171"/>
                  <a:pt x="182032" y="266611"/>
                </a:cubicBezTo>
                <a:lnTo>
                  <a:pt x="182032" y="257973"/>
                </a:lnTo>
                <a:cubicBezTo>
                  <a:pt x="182032" y="255814"/>
                  <a:pt x="183832" y="253654"/>
                  <a:pt x="185991" y="253654"/>
                </a:cubicBezTo>
                <a:cubicBezTo>
                  <a:pt x="188871" y="253654"/>
                  <a:pt x="190670" y="255814"/>
                  <a:pt x="190670" y="257973"/>
                </a:cubicBezTo>
                <a:lnTo>
                  <a:pt x="190670" y="266611"/>
                </a:lnTo>
                <a:cubicBezTo>
                  <a:pt x="213344" y="265171"/>
                  <a:pt x="233139" y="254734"/>
                  <a:pt x="247176" y="238538"/>
                </a:cubicBezTo>
                <a:lnTo>
                  <a:pt x="247176" y="236379"/>
                </a:lnTo>
                <a:cubicBezTo>
                  <a:pt x="247176" y="230620"/>
                  <a:pt x="243577" y="224862"/>
                  <a:pt x="237458" y="221982"/>
                </a:cubicBezTo>
                <a:cubicBezTo>
                  <a:pt x="233139" y="220183"/>
                  <a:pt x="228460" y="218023"/>
                  <a:pt x="222702" y="216584"/>
                </a:cubicBezTo>
                <a:cubicBezTo>
                  <a:pt x="220902" y="216224"/>
                  <a:pt x="218743" y="215504"/>
                  <a:pt x="216584" y="214784"/>
                </a:cubicBezTo>
                <a:close/>
                <a:moveTo>
                  <a:pt x="173754" y="199668"/>
                </a:moveTo>
                <a:cubicBezTo>
                  <a:pt x="171955" y="204347"/>
                  <a:pt x="168716" y="208666"/>
                  <a:pt x="164037" y="211545"/>
                </a:cubicBezTo>
                <a:cubicBezTo>
                  <a:pt x="165836" y="217663"/>
                  <a:pt x="174474" y="223422"/>
                  <a:pt x="185991" y="223422"/>
                </a:cubicBezTo>
                <a:cubicBezTo>
                  <a:pt x="198228" y="223422"/>
                  <a:pt x="206866" y="217663"/>
                  <a:pt x="208666" y="211545"/>
                </a:cubicBezTo>
                <a:cubicBezTo>
                  <a:pt x="203987" y="208666"/>
                  <a:pt x="200388" y="204347"/>
                  <a:pt x="198948" y="199668"/>
                </a:cubicBezTo>
                <a:cubicBezTo>
                  <a:pt x="194989" y="201467"/>
                  <a:pt x="190670" y="202547"/>
                  <a:pt x="185991" y="202547"/>
                </a:cubicBezTo>
                <a:cubicBezTo>
                  <a:pt x="181672" y="202547"/>
                  <a:pt x="177713" y="201467"/>
                  <a:pt x="173754" y="199668"/>
                </a:cubicBezTo>
                <a:close/>
                <a:moveTo>
                  <a:pt x="185991" y="138843"/>
                </a:moveTo>
                <a:cubicBezTo>
                  <a:pt x="171595" y="138843"/>
                  <a:pt x="162237" y="148921"/>
                  <a:pt x="162237" y="164037"/>
                </a:cubicBezTo>
                <a:cubicBezTo>
                  <a:pt x="162237" y="180593"/>
                  <a:pt x="173035" y="193909"/>
                  <a:pt x="185991" y="193909"/>
                </a:cubicBezTo>
                <a:cubicBezTo>
                  <a:pt x="199668" y="193909"/>
                  <a:pt x="210465" y="180593"/>
                  <a:pt x="210465" y="164037"/>
                </a:cubicBezTo>
                <a:cubicBezTo>
                  <a:pt x="210465" y="148921"/>
                  <a:pt x="200748" y="138843"/>
                  <a:pt x="185991" y="138843"/>
                </a:cubicBezTo>
                <a:close/>
                <a:moveTo>
                  <a:pt x="182032" y="106092"/>
                </a:moveTo>
                <a:cubicBezTo>
                  <a:pt x="141003" y="108251"/>
                  <a:pt x="108251" y="141003"/>
                  <a:pt x="106092" y="181672"/>
                </a:cubicBezTo>
                <a:lnTo>
                  <a:pt x="114369" y="181672"/>
                </a:lnTo>
                <a:cubicBezTo>
                  <a:pt x="116889" y="181672"/>
                  <a:pt x="118688" y="183832"/>
                  <a:pt x="118688" y="186351"/>
                </a:cubicBezTo>
                <a:cubicBezTo>
                  <a:pt x="118688" y="188871"/>
                  <a:pt x="116889" y="190670"/>
                  <a:pt x="114369" y="190670"/>
                </a:cubicBezTo>
                <a:lnTo>
                  <a:pt x="106092" y="190670"/>
                </a:lnTo>
                <a:cubicBezTo>
                  <a:pt x="106811" y="204347"/>
                  <a:pt x="111130" y="217303"/>
                  <a:pt x="117969" y="228461"/>
                </a:cubicBezTo>
                <a:cubicBezTo>
                  <a:pt x="120128" y="222342"/>
                  <a:pt x="124807" y="216944"/>
                  <a:pt x="131285" y="214064"/>
                </a:cubicBezTo>
                <a:cubicBezTo>
                  <a:pt x="135964" y="211905"/>
                  <a:pt x="141363" y="209745"/>
                  <a:pt x="147121" y="208306"/>
                </a:cubicBezTo>
                <a:cubicBezTo>
                  <a:pt x="149281" y="207586"/>
                  <a:pt x="151800" y="206866"/>
                  <a:pt x="154319" y="206146"/>
                </a:cubicBezTo>
                <a:cubicBezTo>
                  <a:pt x="160078" y="205067"/>
                  <a:pt x="164757" y="200388"/>
                  <a:pt x="165836" y="194989"/>
                </a:cubicBezTo>
                <a:cubicBezTo>
                  <a:pt x="166196" y="194989"/>
                  <a:pt x="166196" y="194629"/>
                  <a:pt x="166196" y="194269"/>
                </a:cubicBezTo>
                <a:cubicBezTo>
                  <a:pt x="158638" y="187431"/>
                  <a:pt x="153599" y="176274"/>
                  <a:pt x="153599" y="164037"/>
                </a:cubicBezTo>
                <a:cubicBezTo>
                  <a:pt x="153599" y="144242"/>
                  <a:pt x="166916" y="130206"/>
                  <a:pt x="185991" y="130206"/>
                </a:cubicBezTo>
                <a:cubicBezTo>
                  <a:pt x="205426" y="130206"/>
                  <a:pt x="218743" y="144242"/>
                  <a:pt x="218743" y="164037"/>
                </a:cubicBezTo>
                <a:cubicBezTo>
                  <a:pt x="218743" y="176274"/>
                  <a:pt x="214064" y="187431"/>
                  <a:pt x="206506" y="194269"/>
                </a:cubicBezTo>
                <a:cubicBezTo>
                  <a:pt x="206506" y="194629"/>
                  <a:pt x="206506" y="194629"/>
                  <a:pt x="206506" y="194629"/>
                </a:cubicBezTo>
                <a:cubicBezTo>
                  <a:pt x="207586" y="200388"/>
                  <a:pt x="212265" y="204707"/>
                  <a:pt x="218383" y="206146"/>
                </a:cubicBezTo>
                <a:cubicBezTo>
                  <a:pt x="220542" y="206866"/>
                  <a:pt x="223062" y="207586"/>
                  <a:pt x="225221" y="208306"/>
                </a:cubicBezTo>
                <a:cubicBezTo>
                  <a:pt x="231340" y="209745"/>
                  <a:pt x="236378" y="211905"/>
                  <a:pt x="241057" y="214064"/>
                </a:cubicBezTo>
                <a:cubicBezTo>
                  <a:pt x="247536" y="216944"/>
                  <a:pt x="252214" y="222342"/>
                  <a:pt x="254374" y="228461"/>
                </a:cubicBezTo>
                <a:cubicBezTo>
                  <a:pt x="261572" y="217303"/>
                  <a:pt x="265531" y="204347"/>
                  <a:pt x="266611" y="190670"/>
                </a:cubicBezTo>
                <a:lnTo>
                  <a:pt x="257973" y="190670"/>
                </a:lnTo>
                <a:cubicBezTo>
                  <a:pt x="255814" y="190670"/>
                  <a:pt x="253654" y="188871"/>
                  <a:pt x="253654" y="186351"/>
                </a:cubicBezTo>
                <a:cubicBezTo>
                  <a:pt x="253654" y="183832"/>
                  <a:pt x="255814" y="181672"/>
                  <a:pt x="257973" y="181672"/>
                </a:cubicBezTo>
                <a:lnTo>
                  <a:pt x="266611" y="181672"/>
                </a:lnTo>
                <a:cubicBezTo>
                  <a:pt x="264091" y="141003"/>
                  <a:pt x="231340" y="108251"/>
                  <a:pt x="190670" y="106092"/>
                </a:cubicBezTo>
                <a:lnTo>
                  <a:pt x="190670" y="114370"/>
                </a:lnTo>
                <a:cubicBezTo>
                  <a:pt x="190670" y="116889"/>
                  <a:pt x="188871" y="118688"/>
                  <a:pt x="185991" y="118688"/>
                </a:cubicBezTo>
                <a:cubicBezTo>
                  <a:pt x="183832" y="118688"/>
                  <a:pt x="182032" y="116889"/>
                  <a:pt x="182032" y="114370"/>
                </a:cubicBezTo>
                <a:lnTo>
                  <a:pt x="182032" y="106092"/>
                </a:lnTo>
                <a:close/>
                <a:moveTo>
                  <a:pt x="185991" y="84137"/>
                </a:moveTo>
                <a:cubicBezTo>
                  <a:pt x="188871" y="84137"/>
                  <a:pt x="190670" y="85937"/>
                  <a:pt x="190670" y="88456"/>
                </a:cubicBezTo>
                <a:lnTo>
                  <a:pt x="190670" y="97094"/>
                </a:lnTo>
                <a:cubicBezTo>
                  <a:pt x="236378" y="99613"/>
                  <a:pt x="273089" y="136324"/>
                  <a:pt x="275249" y="181672"/>
                </a:cubicBezTo>
                <a:lnTo>
                  <a:pt x="284246" y="181672"/>
                </a:lnTo>
                <a:cubicBezTo>
                  <a:pt x="286766" y="181672"/>
                  <a:pt x="288565" y="183832"/>
                  <a:pt x="288565" y="186351"/>
                </a:cubicBezTo>
                <a:cubicBezTo>
                  <a:pt x="288565" y="188871"/>
                  <a:pt x="286766" y="190670"/>
                  <a:pt x="284246" y="190670"/>
                </a:cubicBezTo>
                <a:lnTo>
                  <a:pt x="275249" y="190670"/>
                </a:lnTo>
                <a:cubicBezTo>
                  <a:pt x="273089" y="236379"/>
                  <a:pt x="236378" y="273089"/>
                  <a:pt x="190670" y="275249"/>
                </a:cubicBezTo>
                <a:lnTo>
                  <a:pt x="190670" y="284246"/>
                </a:lnTo>
                <a:cubicBezTo>
                  <a:pt x="190670" y="286766"/>
                  <a:pt x="188871" y="288565"/>
                  <a:pt x="185991" y="288565"/>
                </a:cubicBezTo>
                <a:cubicBezTo>
                  <a:pt x="183832" y="288565"/>
                  <a:pt x="182032" y="286766"/>
                  <a:pt x="182032" y="284246"/>
                </a:cubicBezTo>
                <a:lnTo>
                  <a:pt x="182032" y="275249"/>
                </a:lnTo>
                <a:cubicBezTo>
                  <a:pt x="135964" y="273089"/>
                  <a:pt x="99613" y="236379"/>
                  <a:pt x="97094" y="190670"/>
                </a:cubicBezTo>
                <a:lnTo>
                  <a:pt x="88456" y="190670"/>
                </a:lnTo>
                <a:cubicBezTo>
                  <a:pt x="85937" y="190670"/>
                  <a:pt x="84137" y="188871"/>
                  <a:pt x="84137" y="186351"/>
                </a:cubicBezTo>
                <a:cubicBezTo>
                  <a:pt x="84137" y="183832"/>
                  <a:pt x="85937" y="181672"/>
                  <a:pt x="88456" y="181672"/>
                </a:cubicBezTo>
                <a:lnTo>
                  <a:pt x="97094" y="181672"/>
                </a:lnTo>
                <a:cubicBezTo>
                  <a:pt x="99613" y="136324"/>
                  <a:pt x="135964" y="99613"/>
                  <a:pt x="182032" y="97094"/>
                </a:cubicBezTo>
                <a:lnTo>
                  <a:pt x="182032" y="88456"/>
                </a:lnTo>
                <a:cubicBezTo>
                  <a:pt x="182032" y="85937"/>
                  <a:pt x="183832" y="84137"/>
                  <a:pt x="185991" y="84137"/>
                </a:cubicBezTo>
                <a:close/>
                <a:moveTo>
                  <a:pt x="102625" y="55029"/>
                </a:moveTo>
                <a:cubicBezTo>
                  <a:pt x="87810" y="55029"/>
                  <a:pt x="78776" y="64740"/>
                  <a:pt x="78776" y="80206"/>
                </a:cubicBezTo>
                <a:cubicBezTo>
                  <a:pt x="78776" y="96391"/>
                  <a:pt x="89616" y="109699"/>
                  <a:pt x="102625" y="109699"/>
                </a:cubicBezTo>
                <a:cubicBezTo>
                  <a:pt x="115634" y="109699"/>
                  <a:pt x="126475" y="96391"/>
                  <a:pt x="126475" y="80206"/>
                </a:cubicBezTo>
                <a:cubicBezTo>
                  <a:pt x="126475" y="64740"/>
                  <a:pt x="117441" y="55029"/>
                  <a:pt x="102625" y="55029"/>
                </a:cubicBezTo>
                <a:close/>
                <a:moveTo>
                  <a:pt x="102625" y="0"/>
                </a:moveTo>
                <a:cubicBezTo>
                  <a:pt x="105155" y="0"/>
                  <a:pt x="106962" y="1798"/>
                  <a:pt x="106962" y="4316"/>
                </a:cubicBezTo>
                <a:lnTo>
                  <a:pt x="106962" y="12948"/>
                </a:lnTo>
                <a:cubicBezTo>
                  <a:pt x="140206" y="14746"/>
                  <a:pt x="170199" y="34888"/>
                  <a:pt x="183930" y="65100"/>
                </a:cubicBezTo>
                <a:cubicBezTo>
                  <a:pt x="185376" y="67258"/>
                  <a:pt x="184292" y="70135"/>
                  <a:pt x="182124" y="71214"/>
                </a:cubicBezTo>
                <a:cubicBezTo>
                  <a:pt x="179955" y="71933"/>
                  <a:pt x="177065" y="71214"/>
                  <a:pt x="176342" y="68696"/>
                </a:cubicBezTo>
                <a:cubicBezTo>
                  <a:pt x="163694" y="41721"/>
                  <a:pt x="136593" y="23738"/>
                  <a:pt x="106962" y="21939"/>
                </a:cubicBezTo>
                <a:lnTo>
                  <a:pt x="106962" y="30572"/>
                </a:lnTo>
                <a:cubicBezTo>
                  <a:pt x="106962" y="33089"/>
                  <a:pt x="105155" y="34888"/>
                  <a:pt x="102625" y="34888"/>
                </a:cubicBezTo>
                <a:cubicBezTo>
                  <a:pt x="100096" y="34888"/>
                  <a:pt x="98289" y="33089"/>
                  <a:pt x="98289" y="30572"/>
                </a:cubicBezTo>
                <a:lnTo>
                  <a:pt x="98289" y="21939"/>
                </a:lnTo>
                <a:cubicBezTo>
                  <a:pt x="57094" y="24098"/>
                  <a:pt x="24211" y="56827"/>
                  <a:pt x="22043" y="97830"/>
                </a:cubicBezTo>
                <a:lnTo>
                  <a:pt x="30354" y="97830"/>
                </a:lnTo>
                <a:cubicBezTo>
                  <a:pt x="32883" y="97830"/>
                  <a:pt x="35051" y="99628"/>
                  <a:pt x="35051" y="102146"/>
                </a:cubicBezTo>
                <a:cubicBezTo>
                  <a:pt x="35051" y="104664"/>
                  <a:pt x="32883" y="106462"/>
                  <a:pt x="30354" y="106462"/>
                </a:cubicBezTo>
                <a:lnTo>
                  <a:pt x="22043" y="106462"/>
                </a:lnTo>
                <a:cubicBezTo>
                  <a:pt x="22765" y="120129"/>
                  <a:pt x="27102" y="133437"/>
                  <a:pt x="33967" y="144587"/>
                </a:cubicBezTo>
                <a:cubicBezTo>
                  <a:pt x="36136" y="138472"/>
                  <a:pt x="40833" y="133077"/>
                  <a:pt x="47338" y="130200"/>
                </a:cubicBezTo>
                <a:cubicBezTo>
                  <a:pt x="52035" y="127682"/>
                  <a:pt x="57817" y="125884"/>
                  <a:pt x="63237" y="124086"/>
                </a:cubicBezTo>
                <a:cubicBezTo>
                  <a:pt x="65767" y="123366"/>
                  <a:pt x="67935" y="122647"/>
                  <a:pt x="70464" y="121928"/>
                </a:cubicBezTo>
                <a:cubicBezTo>
                  <a:pt x="76607" y="120489"/>
                  <a:pt x="81305" y="116533"/>
                  <a:pt x="82389" y="111138"/>
                </a:cubicBezTo>
                <a:cubicBezTo>
                  <a:pt x="82389" y="110778"/>
                  <a:pt x="82389" y="110418"/>
                  <a:pt x="82389" y="110418"/>
                </a:cubicBezTo>
                <a:cubicBezTo>
                  <a:pt x="74801" y="103225"/>
                  <a:pt x="69742" y="92435"/>
                  <a:pt x="69742" y="80206"/>
                </a:cubicBezTo>
                <a:cubicBezTo>
                  <a:pt x="69742" y="60064"/>
                  <a:pt x="83473" y="46037"/>
                  <a:pt x="102625" y="46037"/>
                </a:cubicBezTo>
                <a:cubicBezTo>
                  <a:pt x="121777" y="46037"/>
                  <a:pt x="135509" y="60064"/>
                  <a:pt x="135509" y="80206"/>
                </a:cubicBezTo>
                <a:cubicBezTo>
                  <a:pt x="135509" y="101067"/>
                  <a:pt x="120693" y="118331"/>
                  <a:pt x="102625" y="118331"/>
                </a:cubicBezTo>
                <a:cubicBezTo>
                  <a:pt x="98289" y="118331"/>
                  <a:pt x="93953" y="117612"/>
                  <a:pt x="89978" y="115454"/>
                </a:cubicBezTo>
                <a:cubicBezTo>
                  <a:pt x="88532" y="120489"/>
                  <a:pt x="84919" y="124805"/>
                  <a:pt x="80221" y="127323"/>
                </a:cubicBezTo>
                <a:cubicBezTo>
                  <a:pt x="81666" y="132358"/>
                  <a:pt x="87448" y="137034"/>
                  <a:pt x="95398" y="138472"/>
                </a:cubicBezTo>
                <a:cubicBezTo>
                  <a:pt x="97928" y="139192"/>
                  <a:pt x="99373" y="141350"/>
                  <a:pt x="98650" y="143867"/>
                </a:cubicBezTo>
                <a:cubicBezTo>
                  <a:pt x="98289" y="146025"/>
                  <a:pt x="96482" y="147104"/>
                  <a:pt x="94675" y="147104"/>
                </a:cubicBezTo>
                <a:cubicBezTo>
                  <a:pt x="94314" y="147104"/>
                  <a:pt x="93953" y="147104"/>
                  <a:pt x="93591" y="147104"/>
                </a:cubicBezTo>
                <a:cubicBezTo>
                  <a:pt x="82750" y="144587"/>
                  <a:pt x="74801" y="138472"/>
                  <a:pt x="72271" y="130560"/>
                </a:cubicBezTo>
                <a:cubicBezTo>
                  <a:pt x="70103" y="131279"/>
                  <a:pt x="67935" y="131998"/>
                  <a:pt x="65767" y="132358"/>
                </a:cubicBezTo>
                <a:cubicBezTo>
                  <a:pt x="60346" y="134156"/>
                  <a:pt x="55649" y="135955"/>
                  <a:pt x="51312" y="137753"/>
                </a:cubicBezTo>
                <a:cubicBezTo>
                  <a:pt x="45169" y="140990"/>
                  <a:pt x="41556" y="146025"/>
                  <a:pt x="41556" y="152140"/>
                </a:cubicBezTo>
                <a:lnTo>
                  <a:pt x="41556" y="154657"/>
                </a:lnTo>
                <a:cubicBezTo>
                  <a:pt x="48783" y="163289"/>
                  <a:pt x="58178" y="170483"/>
                  <a:pt x="69380" y="175518"/>
                </a:cubicBezTo>
                <a:cubicBezTo>
                  <a:pt x="71548" y="176238"/>
                  <a:pt x="72632" y="179115"/>
                  <a:pt x="71548" y="181273"/>
                </a:cubicBezTo>
                <a:cubicBezTo>
                  <a:pt x="70464" y="182712"/>
                  <a:pt x="69019" y="183791"/>
                  <a:pt x="67212" y="183791"/>
                </a:cubicBezTo>
                <a:cubicBezTo>
                  <a:pt x="66851" y="183791"/>
                  <a:pt x="66128" y="183431"/>
                  <a:pt x="65405" y="183431"/>
                </a:cubicBezTo>
                <a:cubicBezTo>
                  <a:pt x="35051" y="169764"/>
                  <a:pt x="14816" y="139551"/>
                  <a:pt x="13370" y="106462"/>
                </a:cubicBezTo>
                <a:lnTo>
                  <a:pt x="4336" y="106462"/>
                </a:lnTo>
                <a:cubicBezTo>
                  <a:pt x="1807" y="106462"/>
                  <a:pt x="0" y="104664"/>
                  <a:pt x="0" y="102146"/>
                </a:cubicBezTo>
                <a:cubicBezTo>
                  <a:pt x="0" y="99628"/>
                  <a:pt x="1807" y="97830"/>
                  <a:pt x="4336" y="97830"/>
                </a:cubicBezTo>
                <a:lnTo>
                  <a:pt x="13370" y="97830"/>
                </a:lnTo>
                <a:cubicBezTo>
                  <a:pt x="15538" y="52152"/>
                  <a:pt x="52397" y="15465"/>
                  <a:pt x="98289" y="13307"/>
                </a:cubicBezTo>
                <a:lnTo>
                  <a:pt x="98289" y="4316"/>
                </a:lnTo>
                <a:cubicBezTo>
                  <a:pt x="98289" y="1798"/>
                  <a:pt x="100096" y="0"/>
                  <a:pt x="102625"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37" name="Freeform 1015">
            <a:extLst>
              <a:ext uri="{FF2B5EF4-FFF2-40B4-BE49-F238E27FC236}">
                <a16:creationId xmlns:a16="http://schemas.microsoft.com/office/drawing/2014/main" id="{87446C57-B3FC-614D-80D3-5A7F860F45B1}"/>
              </a:ext>
            </a:extLst>
          </p:cNvPr>
          <p:cNvSpPr>
            <a:spLocks noChangeAspect="1" noChangeArrowheads="1"/>
          </p:cNvSpPr>
          <p:nvPr/>
        </p:nvSpPr>
        <p:spPr bwMode="auto">
          <a:xfrm>
            <a:off x="10489429" y="2205205"/>
            <a:ext cx="307827" cy="307827"/>
          </a:xfrm>
          <a:custGeom>
            <a:avLst/>
            <a:gdLst>
              <a:gd name="T0" fmla="*/ 92894350 w 293329"/>
              <a:gd name="T1" fmla="*/ 118433575 h 293332"/>
              <a:gd name="T2" fmla="*/ 35298861 w 293329"/>
              <a:gd name="T3" fmla="*/ 116334538 h 293332"/>
              <a:gd name="T4" fmla="*/ 103802883 w 293329"/>
              <a:gd name="T5" fmla="*/ 106852417 h 293332"/>
              <a:gd name="T6" fmla="*/ 102233054 w 293329"/>
              <a:gd name="T7" fmla="*/ 124229474 h 293332"/>
              <a:gd name="T8" fmla="*/ 122478131 w 293329"/>
              <a:gd name="T9" fmla="*/ 109490450 h 293332"/>
              <a:gd name="T10" fmla="*/ 128127419 w 293329"/>
              <a:gd name="T11" fmla="*/ 114299877 h 293332"/>
              <a:gd name="T12" fmla="*/ 100350671 w 293329"/>
              <a:gd name="T13" fmla="*/ 128107914 h 293332"/>
              <a:gd name="T14" fmla="*/ 100978028 w 293329"/>
              <a:gd name="T15" fmla="*/ 107008291 h 293332"/>
              <a:gd name="T16" fmla="*/ 5491820 w 293329"/>
              <a:gd name="T17" fmla="*/ 109490450 h 293332"/>
              <a:gd name="T18" fmla="*/ 25894837 w 293329"/>
              <a:gd name="T19" fmla="*/ 124229474 h 293332"/>
              <a:gd name="T20" fmla="*/ 24324031 w 293329"/>
              <a:gd name="T21" fmla="*/ 106852417 h 293332"/>
              <a:gd name="T22" fmla="*/ 29660244 w 293329"/>
              <a:gd name="T23" fmla="*/ 126246529 h 293332"/>
              <a:gd name="T24" fmla="*/ 0 w 293329"/>
              <a:gd name="T25" fmla="*/ 126246529 h 293332"/>
              <a:gd name="T26" fmla="*/ 5335544 w 293329"/>
              <a:gd name="T27" fmla="*/ 106852417 h 293332"/>
              <a:gd name="T28" fmla="*/ 112874612 w 293329"/>
              <a:gd name="T29" fmla="*/ 103457917 h 293332"/>
              <a:gd name="T30" fmla="*/ 14407902 w 293329"/>
              <a:gd name="T31" fmla="*/ 94675905 h 293332"/>
              <a:gd name="T32" fmla="*/ 18876886 w 293329"/>
              <a:gd name="T33" fmla="*/ 98989521 h 293332"/>
              <a:gd name="T34" fmla="*/ 121195977 w 293329"/>
              <a:gd name="T35" fmla="*/ 98989521 h 293332"/>
              <a:gd name="T36" fmla="*/ 112874612 w 293329"/>
              <a:gd name="T37" fmla="*/ 90824297 h 293332"/>
              <a:gd name="T38" fmla="*/ 14407902 w 293329"/>
              <a:gd name="T39" fmla="*/ 107309241 h 293332"/>
              <a:gd name="T40" fmla="*/ 61680683 w 293329"/>
              <a:gd name="T41" fmla="*/ 80424522 h 293332"/>
              <a:gd name="T42" fmla="*/ 79779208 w 293329"/>
              <a:gd name="T43" fmla="*/ 84424761 h 293332"/>
              <a:gd name="T44" fmla="*/ 61680683 w 293329"/>
              <a:gd name="T45" fmla="*/ 80424522 h 293332"/>
              <a:gd name="T46" fmla="*/ 81667314 w 293329"/>
              <a:gd name="T47" fmla="*/ 69171412 h 293332"/>
              <a:gd name="T48" fmla="*/ 59634523 w 293329"/>
              <a:gd name="T49" fmla="*/ 69171412 h 293332"/>
              <a:gd name="T50" fmla="*/ 52829407 w 293329"/>
              <a:gd name="T51" fmla="*/ 101294408 h 293332"/>
              <a:gd name="T52" fmla="*/ 52829407 w 293329"/>
              <a:gd name="T53" fmla="*/ 53319210 h 293332"/>
              <a:gd name="T54" fmla="*/ 45709624 w 293329"/>
              <a:gd name="T55" fmla="*/ 101294408 h 293332"/>
              <a:gd name="T56" fmla="*/ 45709624 w 293329"/>
              <a:gd name="T57" fmla="*/ 53319210 h 293332"/>
              <a:gd name="T58" fmla="*/ 122310456 w 293329"/>
              <a:gd name="T59" fmla="*/ 43861374 h 293332"/>
              <a:gd name="T60" fmla="*/ 118789962 w 293329"/>
              <a:gd name="T61" fmla="*/ 88430527 h 293332"/>
              <a:gd name="T62" fmla="*/ 119750064 w 293329"/>
              <a:gd name="T63" fmla="*/ 42605218 h 293332"/>
              <a:gd name="T64" fmla="*/ 10610067 w 293329"/>
              <a:gd name="T65" fmla="*/ 84675299 h 293332"/>
              <a:gd name="T66" fmla="*/ 6887197 w 293329"/>
              <a:gd name="T67" fmla="*/ 86095637 h 293332"/>
              <a:gd name="T68" fmla="*/ 45709624 w 293329"/>
              <a:gd name="T69" fmla="*/ 37747513 h 293332"/>
              <a:gd name="T70" fmla="*/ 84157075 w 293329"/>
              <a:gd name="T71" fmla="*/ 49544269 h 293332"/>
              <a:gd name="T72" fmla="*/ 45709624 w 293329"/>
              <a:gd name="T73" fmla="*/ 33971757 h 293332"/>
              <a:gd name="T74" fmla="*/ 90010986 w 293329"/>
              <a:gd name="T75" fmla="*/ 37747513 h 293332"/>
              <a:gd name="T76" fmla="*/ 90010986 w 293329"/>
              <a:gd name="T77" fmla="*/ 49544269 h 293332"/>
              <a:gd name="T78" fmla="*/ 90010986 w 293329"/>
              <a:gd name="T79" fmla="*/ 105226700 h 293332"/>
              <a:gd name="T80" fmla="*/ 36058154 w 293329"/>
              <a:gd name="T81" fmla="*/ 43567238 h 293332"/>
              <a:gd name="T82" fmla="*/ 103959598 w 293329"/>
              <a:gd name="T83" fmla="*/ 18690306 h 293332"/>
              <a:gd name="T84" fmla="*/ 124204060 w 293329"/>
              <a:gd name="T85" fmla="*/ 33532597 h 293332"/>
              <a:gd name="T86" fmla="*/ 122791511 w 293329"/>
              <a:gd name="T87" fmla="*/ 16033920 h 293332"/>
              <a:gd name="T88" fmla="*/ 128127419 w 293329"/>
              <a:gd name="T89" fmla="*/ 35407376 h 293332"/>
              <a:gd name="T90" fmla="*/ 98466986 w 293329"/>
              <a:gd name="T91" fmla="*/ 35407376 h 293332"/>
              <a:gd name="T92" fmla="*/ 103802883 w 293329"/>
              <a:gd name="T93" fmla="*/ 16033920 h 293332"/>
              <a:gd name="T94" fmla="*/ 3767028 w 293329"/>
              <a:gd name="T95" fmla="*/ 23532915 h 293332"/>
              <a:gd name="T96" fmla="*/ 25894837 w 293329"/>
              <a:gd name="T97" fmla="*/ 23532915 h 293332"/>
              <a:gd name="T98" fmla="*/ 26993363 w 293329"/>
              <a:gd name="T99" fmla="*/ 16190190 h 293332"/>
              <a:gd name="T100" fmla="*/ 27777184 w 293329"/>
              <a:gd name="T101" fmla="*/ 37282705 h 293332"/>
              <a:gd name="T102" fmla="*/ 0 w 293329"/>
              <a:gd name="T103" fmla="*/ 23532915 h 293332"/>
              <a:gd name="T104" fmla="*/ 112874612 w 293329"/>
              <a:gd name="T105" fmla="*/ 3696763 h 293332"/>
              <a:gd name="T106" fmla="*/ 117343831 w 293329"/>
              <a:gd name="T107" fmla="*/ 8166289 h 293332"/>
              <a:gd name="T108" fmla="*/ 9939250 w 293329"/>
              <a:gd name="T109" fmla="*/ 8166289 h 293332"/>
              <a:gd name="T110" fmla="*/ 14407902 w 293329"/>
              <a:gd name="T111" fmla="*/ 3696763 h 293332"/>
              <a:gd name="T112" fmla="*/ 96452400 w 293329"/>
              <a:gd name="T113" fmla="*/ 14524121 h 293332"/>
              <a:gd name="T114" fmla="*/ 32709116 w 293329"/>
              <a:gd name="T115" fmla="*/ 15472233 h 293332"/>
              <a:gd name="T116" fmla="*/ 63638755 w 293329"/>
              <a:gd name="T117" fmla="*/ 2959750 h 293332"/>
              <a:gd name="T118" fmla="*/ 112874612 w 293329"/>
              <a:gd name="T119" fmla="*/ 16485959 h 293332"/>
              <a:gd name="T120" fmla="*/ 14407902 w 293329"/>
              <a:gd name="T121" fmla="*/ 0 h 293332"/>
              <a:gd name="T122" fmla="*/ 6241744 w 293329"/>
              <a:gd name="T123" fmla="*/ 8166289 h 2933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3329" h="293332">
                <a:moveTo>
                  <a:pt x="208355" y="263416"/>
                </a:moveTo>
                <a:cubicBezTo>
                  <a:pt x="210511" y="261937"/>
                  <a:pt x="213385" y="262677"/>
                  <a:pt x="214822" y="264895"/>
                </a:cubicBezTo>
                <a:cubicBezTo>
                  <a:pt x="215541" y="267483"/>
                  <a:pt x="214822" y="270071"/>
                  <a:pt x="212667" y="271180"/>
                </a:cubicBezTo>
                <a:cubicBezTo>
                  <a:pt x="192188" y="282640"/>
                  <a:pt x="169194" y="288556"/>
                  <a:pt x="146201" y="288556"/>
                </a:cubicBezTo>
                <a:cubicBezTo>
                  <a:pt x="124284" y="288556"/>
                  <a:pt x="102728" y="283010"/>
                  <a:pt x="82608" y="272659"/>
                </a:cubicBezTo>
                <a:cubicBezTo>
                  <a:pt x="80093" y="271549"/>
                  <a:pt x="79375" y="268592"/>
                  <a:pt x="80812" y="266374"/>
                </a:cubicBezTo>
                <a:cubicBezTo>
                  <a:pt x="81530" y="264155"/>
                  <a:pt x="84405" y="263416"/>
                  <a:pt x="86560" y="264525"/>
                </a:cubicBezTo>
                <a:cubicBezTo>
                  <a:pt x="125003" y="284859"/>
                  <a:pt x="170631" y="284119"/>
                  <a:pt x="208355" y="263416"/>
                </a:cubicBezTo>
                <a:close/>
                <a:moveTo>
                  <a:pt x="237641" y="244663"/>
                </a:moveTo>
                <a:cubicBezTo>
                  <a:pt x="239437" y="246084"/>
                  <a:pt x="239796" y="248926"/>
                  <a:pt x="238000" y="250703"/>
                </a:cubicBezTo>
                <a:cubicBezTo>
                  <a:pt x="235485" y="253900"/>
                  <a:pt x="234048" y="257808"/>
                  <a:pt x="234048" y="261715"/>
                </a:cubicBezTo>
                <a:lnTo>
                  <a:pt x="234048" y="284451"/>
                </a:lnTo>
                <a:lnTo>
                  <a:pt x="284347" y="284451"/>
                </a:lnTo>
                <a:lnTo>
                  <a:pt x="284347" y="261715"/>
                </a:lnTo>
                <a:cubicBezTo>
                  <a:pt x="284347" y="257808"/>
                  <a:pt x="283269" y="253900"/>
                  <a:pt x="280395" y="250703"/>
                </a:cubicBezTo>
                <a:cubicBezTo>
                  <a:pt x="278958" y="248926"/>
                  <a:pt x="278958" y="246084"/>
                  <a:pt x="281113" y="244663"/>
                </a:cubicBezTo>
                <a:cubicBezTo>
                  <a:pt x="282910" y="242887"/>
                  <a:pt x="285784" y="243242"/>
                  <a:pt x="287221" y="245019"/>
                </a:cubicBezTo>
                <a:cubicBezTo>
                  <a:pt x="291173" y="249992"/>
                  <a:pt x="293329" y="255676"/>
                  <a:pt x="293329" y="261715"/>
                </a:cubicBezTo>
                <a:lnTo>
                  <a:pt x="293329" y="289069"/>
                </a:lnTo>
                <a:cubicBezTo>
                  <a:pt x="293329" y="291201"/>
                  <a:pt x="291533" y="293332"/>
                  <a:pt x="288658" y="293332"/>
                </a:cubicBezTo>
                <a:lnTo>
                  <a:pt x="229737" y="293332"/>
                </a:lnTo>
                <a:cubicBezTo>
                  <a:pt x="227222" y="293332"/>
                  <a:pt x="225425" y="291201"/>
                  <a:pt x="225425" y="289069"/>
                </a:cubicBezTo>
                <a:lnTo>
                  <a:pt x="225425" y="261715"/>
                </a:lnTo>
                <a:cubicBezTo>
                  <a:pt x="225425" y="255676"/>
                  <a:pt x="227222" y="249992"/>
                  <a:pt x="231174" y="245019"/>
                </a:cubicBezTo>
                <a:cubicBezTo>
                  <a:pt x="232611" y="243242"/>
                  <a:pt x="235844" y="242887"/>
                  <a:pt x="237641" y="244663"/>
                </a:cubicBezTo>
                <a:close/>
                <a:moveTo>
                  <a:pt x="12215" y="244663"/>
                </a:moveTo>
                <a:cubicBezTo>
                  <a:pt x="14012" y="246084"/>
                  <a:pt x="14371" y="248926"/>
                  <a:pt x="12575" y="250703"/>
                </a:cubicBezTo>
                <a:cubicBezTo>
                  <a:pt x="10419" y="253900"/>
                  <a:pt x="8622" y="257808"/>
                  <a:pt x="8622" y="261715"/>
                </a:cubicBezTo>
                <a:lnTo>
                  <a:pt x="8622" y="284451"/>
                </a:lnTo>
                <a:lnTo>
                  <a:pt x="59281" y="284451"/>
                </a:lnTo>
                <a:lnTo>
                  <a:pt x="59281" y="261715"/>
                </a:lnTo>
                <a:cubicBezTo>
                  <a:pt x="59281" y="257808"/>
                  <a:pt x="57844" y="253900"/>
                  <a:pt x="54969" y="250703"/>
                </a:cubicBezTo>
                <a:cubicBezTo>
                  <a:pt x="53532" y="248926"/>
                  <a:pt x="53892" y="246084"/>
                  <a:pt x="55688" y="244663"/>
                </a:cubicBezTo>
                <a:cubicBezTo>
                  <a:pt x="57844" y="242887"/>
                  <a:pt x="60359" y="243242"/>
                  <a:pt x="61796" y="245019"/>
                </a:cubicBezTo>
                <a:cubicBezTo>
                  <a:pt x="65748" y="249992"/>
                  <a:pt x="67903" y="255676"/>
                  <a:pt x="67903" y="261715"/>
                </a:cubicBezTo>
                <a:lnTo>
                  <a:pt x="67903" y="289069"/>
                </a:lnTo>
                <a:cubicBezTo>
                  <a:pt x="67903" y="291201"/>
                  <a:pt x="65748" y="293332"/>
                  <a:pt x="63592" y="293332"/>
                </a:cubicBezTo>
                <a:lnTo>
                  <a:pt x="4311" y="293332"/>
                </a:lnTo>
                <a:cubicBezTo>
                  <a:pt x="1796" y="293332"/>
                  <a:pt x="0" y="291201"/>
                  <a:pt x="0" y="289069"/>
                </a:cubicBezTo>
                <a:lnTo>
                  <a:pt x="0" y="261715"/>
                </a:lnTo>
                <a:cubicBezTo>
                  <a:pt x="0" y="255676"/>
                  <a:pt x="1796" y="249992"/>
                  <a:pt x="6107" y="245019"/>
                </a:cubicBezTo>
                <a:cubicBezTo>
                  <a:pt x="7545" y="243242"/>
                  <a:pt x="10419" y="242887"/>
                  <a:pt x="12215" y="244663"/>
                </a:cubicBezTo>
                <a:close/>
                <a:moveTo>
                  <a:pt x="258410" y="216782"/>
                </a:moveTo>
                <a:cubicBezTo>
                  <a:pt x="252766" y="216782"/>
                  <a:pt x="248180" y="221368"/>
                  <a:pt x="248180" y="226659"/>
                </a:cubicBezTo>
                <a:cubicBezTo>
                  <a:pt x="248180" y="232304"/>
                  <a:pt x="252766" y="236890"/>
                  <a:pt x="258410" y="236890"/>
                </a:cubicBezTo>
                <a:cubicBezTo>
                  <a:pt x="264055" y="236890"/>
                  <a:pt x="268641" y="232304"/>
                  <a:pt x="268641" y="226659"/>
                </a:cubicBezTo>
                <a:cubicBezTo>
                  <a:pt x="268641" y="221368"/>
                  <a:pt x="264055" y="216782"/>
                  <a:pt x="258410" y="216782"/>
                </a:cubicBezTo>
                <a:close/>
                <a:moveTo>
                  <a:pt x="32985" y="216782"/>
                </a:moveTo>
                <a:cubicBezTo>
                  <a:pt x="27341" y="216782"/>
                  <a:pt x="22754" y="221368"/>
                  <a:pt x="22754" y="226659"/>
                </a:cubicBezTo>
                <a:cubicBezTo>
                  <a:pt x="22754" y="232304"/>
                  <a:pt x="27341" y="236890"/>
                  <a:pt x="32985" y="236890"/>
                </a:cubicBezTo>
                <a:cubicBezTo>
                  <a:pt x="38629" y="236890"/>
                  <a:pt x="43216" y="232304"/>
                  <a:pt x="43216" y="226659"/>
                </a:cubicBezTo>
                <a:cubicBezTo>
                  <a:pt x="43216" y="221368"/>
                  <a:pt x="38629" y="216782"/>
                  <a:pt x="32985" y="216782"/>
                </a:cubicBezTo>
                <a:close/>
                <a:moveTo>
                  <a:pt x="258410" y="207962"/>
                </a:moveTo>
                <a:cubicBezTo>
                  <a:pt x="268994" y="207962"/>
                  <a:pt x="277460" y="216429"/>
                  <a:pt x="277460" y="226659"/>
                </a:cubicBezTo>
                <a:cubicBezTo>
                  <a:pt x="277460" y="237243"/>
                  <a:pt x="268994" y="245709"/>
                  <a:pt x="258410" y="245709"/>
                </a:cubicBezTo>
                <a:cubicBezTo>
                  <a:pt x="248180" y="245709"/>
                  <a:pt x="239713" y="237243"/>
                  <a:pt x="239713" y="226659"/>
                </a:cubicBezTo>
                <a:cubicBezTo>
                  <a:pt x="239713" y="216429"/>
                  <a:pt x="248180" y="207962"/>
                  <a:pt x="258410" y="207962"/>
                </a:cubicBezTo>
                <a:close/>
                <a:moveTo>
                  <a:pt x="32985" y="207962"/>
                </a:moveTo>
                <a:cubicBezTo>
                  <a:pt x="43568" y="207962"/>
                  <a:pt x="52035" y="216429"/>
                  <a:pt x="52035" y="226659"/>
                </a:cubicBezTo>
                <a:cubicBezTo>
                  <a:pt x="52035" y="237243"/>
                  <a:pt x="43568" y="245709"/>
                  <a:pt x="32985" y="245709"/>
                </a:cubicBezTo>
                <a:cubicBezTo>
                  <a:pt x="22754" y="245709"/>
                  <a:pt x="14288" y="237243"/>
                  <a:pt x="14288" y="226659"/>
                </a:cubicBezTo>
                <a:cubicBezTo>
                  <a:pt x="14288" y="216429"/>
                  <a:pt x="22754" y="207962"/>
                  <a:pt x="32985" y="207962"/>
                </a:cubicBezTo>
                <a:close/>
                <a:moveTo>
                  <a:pt x="141209" y="184150"/>
                </a:moveTo>
                <a:lnTo>
                  <a:pt x="182642" y="184150"/>
                </a:lnTo>
                <a:cubicBezTo>
                  <a:pt x="185164" y="184150"/>
                  <a:pt x="186965" y="186348"/>
                  <a:pt x="186965" y="188913"/>
                </a:cubicBezTo>
                <a:cubicBezTo>
                  <a:pt x="186965" y="191477"/>
                  <a:pt x="185164" y="193309"/>
                  <a:pt x="182642" y="193309"/>
                </a:cubicBezTo>
                <a:lnTo>
                  <a:pt x="141209" y="193309"/>
                </a:lnTo>
                <a:cubicBezTo>
                  <a:pt x="138687" y="193309"/>
                  <a:pt x="136525" y="191477"/>
                  <a:pt x="136525" y="188913"/>
                </a:cubicBezTo>
                <a:cubicBezTo>
                  <a:pt x="136525" y="186348"/>
                  <a:pt x="138687" y="184150"/>
                  <a:pt x="141209" y="184150"/>
                </a:cubicBezTo>
                <a:close/>
                <a:moveTo>
                  <a:pt x="141209" y="153987"/>
                </a:moveTo>
                <a:lnTo>
                  <a:pt x="182642" y="153987"/>
                </a:lnTo>
                <a:cubicBezTo>
                  <a:pt x="185164" y="153987"/>
                  <a:pt x="186965" y="155818"/>
                  <a:pt x="186965" y="158383"/>
                </a:cubicBezTo>
                <a:cubicBezTo>
                  <a:pt x="186965" y="160947"/>
                  <a:pt x="185164" y="163145"/>
                  <a:pt x="182642" y="163145"/>
                </a:cubicBezTo>
                <a:lnTo>
                  <a:pt x="141209" y="163145"/>
                </a:lnTo>
                <a:cubicBezTo>
                  <a:pt x="138687" y="163145"/>
                  <a:pt x="136525" y="160947"/>
                  <a:pt x="136525" y="158383"/>
                </a:cubicBezTo>
                <a:cubicBezTo>
                  <a:pt x="136525" y="155818"/>
                  <a:pt x="138687" y="153987"/>
                  <a:pt x="141209" y="153987"/>
                </a:cubicBezTo>
                <a:close/>
                <a:moveTo>
                  <a:pt x="120945" y="122087"/>
                </a:moveTo>
                <a:lnTo>
                  <a:pt x="120945" y="231936"/>
                </a:lnTo>
                <a:lnTo>
                  <a:pt x="201721" y="231936"/>
                </a:lnTo>
                <a:lnTo>
                  <a:pt x="201721" y="122087"/>
                </a:lnTo>
                <a:lnTo>
                  <a:pt x="120945" y="122087"/>
                </a:lnTo>
                <a:close/>
                <a:moveTo>
                  <a:pt x="91243" y="117765"/>
                </a:moveTo>
                <a:lnTo>
                  <a:pt x="91243" y="218610"/>
                </a:lnTo>
                <a:cubicBezTo>
                  <a:pt x="91243" y="225813"/>
                  <a:pt x="97401" y="231936"/>
                  <a:pt x="104645" y="231936"/>
                </a:cubicBezTo>
                <a:lnTo>
                  <a:pt x="112252" y="231936"/>
                </a:lnTo>
                <a:lnTo>
                  <a:pt x="112252" y="122087"/>
                </a:lnTo>
                <a:lnTo>
                  <a:pt x="104645" y="122087"/>
                </a:lnTo>
                <a:cubicBezTo>
                  <a:pt x="99574" y="122087"/>
                  <a:pt x="94865" y="120286"/>
                  <a:pt x="91243" y="117765"/>
                </a:cubicBezTo>
                <a:close/>
                <a:moveTo>
                  <a:pt x="274150" y="97555"/>
                </a:moveTo>
                <a:cubicBezTo>
                  <a:pt x="276714" y="96837"/>
                  <a:pt x="279278" y="98274"/>
                  <a:pt x="280011" y="100430"/>
                </a:cubicBezTo>
                <a:cubicBezTo>
                  <a:pt x="291734" y="132770"/>
                  <a:pt x="291001" y="168344"/>
                  <a:pt x="277813" y="199966"/>
                </a:cubicBezTo>
                <a:cubicBezTo>
                  <a:pt x="277080" y="201763"/>
                  <a:pt x="275249" y="202841"/>
                  <a:pt x="273783" y="202841"/>
                </a:cubicBezTo>
                <a:cubicBezTo>
                  <a:pt x="273051" y="202841"/>
                  <a:pt x="272684" y="202841"/>
                  <a:pt x="271952" y="202482"/>
                </a:cubicBezTo>
                <a:cubicBezTo>
                  <a:pt x="269387" y="201404"/>
                  <a:pt x="268288" y="198888"/>
                  <a:pt x="269387" y="196732"/>
                </a:cubicBezTo>
                <a:cubicBezTo>
                  <a:pt x="281843" y="166907"/>
                  <a:pt x="282209" y="133848"/>
                  <a:pt x="271585" y="103305"/>
                </a:cubicBezTo>
                <a:cubicBezTo>
                  <a:pt x="270853" y="101149"/>
                  <a:pt x="271952" y="98633"/>
                  <a:pt x="274150" y="97555"/>
                </a:cubicBezTo>
                <a:close/>
                <a:moveTo>
                  <a:pt x="20584" y="95972"/>
                </a:moveTo>
                <a:cubicBezTo>
                  <a:pt x="22807" y="96695"/>
                  <a:pt x="24289" y="99224"/>
                  <a:pt x="23177" y="101753"/>
                </a:cubicBezTo>
                <a:cubicBezTo>
                  <a:pt x="12435" y="131379"/>
                  <a:pt x="12806" y="164257"/>
                  <a:pt x="24289" y="193883"/>
                </a:cubicBezTo>
                <a:cubicBezTo>
                  <a:pt x="25029" y="196051"/>
                  <a:pt x="23918" y="198580"/>
                  <a:pt x="21696" y="199664"/>
                </a:cubicBezTo>
                <a:cubicBezTo>
                  <a:pt x="20955" y="199664"/>
                  <a:pt x="20584" y="199664"/>
                  <a:pt x="19844" y="199664"/>
                </a:cubicBezTo>
                <a:cubicBezTo>
                  <a:pt x="17991" y="199664"/>
                  <a:pt x="16510" y="198580"/>
                  <a:pt x="15769" y="197135"/>
                </a:cubicBezTo>
                <a:cubicBezTo>
                  <a:pt x="3545" y="165341"/>
                  <a:pt x="3175" y="130656"/>
                  <a:pt x="14658" y="98863"/>
                </a:cubicBezTo>
                <a:cubicBezTo>
                  <a:pt x="15399" y="96334"/>
                  <a:pt x="17991" y="95250"/>
                  <a:pt x="20584" y="95972"/>
                </a:cubicBezTo>
                <a:close/>
                <a:moveTo>
                  <a:pt x="104645" y="86431"/>
                </a:moveTo>
                <a:cubicBezTo>
                  <a:pt x="97401" y="86431"/>
                  <a:pt x="91243" y="92553"/>
                  <a:pt x="91243" y="99757"/>
                </a:cubicBezTo>
                <a:cubicBezTo>
                  <a:pt x="91243" y="107320"/>
                  <a:pt x="97401" y="113443"/>
                  <a:pt x="104645" y="113443"/>
                </a:cubicBezTo>
                <a:lnTo>
                  <a:pt x="192665" y="113443"/>
                </a:lnTo>
                <a:cubicBezTo>
                  <a:pt x="189405" y="104799"/>
                  <a:pt x="189405" y="95435"/>
                  <a:pt x="192665" y="86431"/>
                </a:cubicBezTo>
                <a:lnTo>
                  <a:pt x="104645" y="86431"/>
                </a:lnTo>
                <a:close/>
                <a:moveTo>
                  <a:pt x="104645" y="77787"/>
                </a:moveTo>
                <a:lnTo>
                  <a:pt x="206067" y="77787"/>
                </a:lnTo>
                <a:cubicBezTo>
                  <a:pt x="208603" y="77787"/>
                  <a:pt x="210776" y="79948"/>
                  <a:pt x="210776" y="82109"/>
                </a:cubicBezTo>
                <a:cubicBezTo>
                  <a:pt x="210776" y="84630"/>
                  <a:pt x="208603" y="86431"/>
                  <a:pt x="206067" y="86431"/>
                </a:cubicBezTo>
                <a:lnTo>
                  <a:pt x="202807" y="86431"/>
                </a:lnTo>
                <a:cubicBezTo>
                  <a:pt x="198098" y="95074"/>
                  <a:pt x="198098" y="104799"/>
                  <a:pt x="202807" y="113443"/>
                </a:cubicBezTo>
                <a:lnTo>
                  <a:pt x="206067" y="113443"/>
                </a:lnTo>
                <a:cubicBezTo>
                  <a:pt x="208603" y="113443"/>
                  <a:pt x="210776" y="115243"/>
                  <a:pt x="210776" y="117765"/>
                </a:cubicBezTo>
                <a:lnTo>
                  <a:pt x="210776" y="236258"/>
                </a:lnTo>
                <a:cubicBezTo>
                  <a:pt x="210776" y="238779"/>
                  <a:pt x="208603" y="240940"/>
                  <a:pt x="206067" y="240940"/>
                </a:cubicBezTo>
                <a:lnTo>
                  <a:pt x="104645" y="240940"/>
                </a:lnTo>
                <a:cubicBezTo>
                  <a:pt x="92330" y="240940"/>
                  <a:pt x="82550" y="230856"/>
                  <a:pt x="82550" y="218610"/>
                </a:cubicBezTo>
                <a:lnTo>
                  <a:pt x="82550" y="99757"/>
                </a:lnTo>
                <a:cubicBezTo>
                  <a:pt x="82550" y="87511"/>
                  <a:pt x="92330" y="77787"/>
                  <a:pt x="104645" y="77787"/>
                </a:cubicBezTo>
                <a:close/>
                <a:moveTo>
                  <a:pt x="237641" y="36713"/>
                </a:moveTo>
                <a:cubicBezTo>
                  <a:pt x="239437" y="37787"/>
                  <a:pt x="239796" y="40649"/>
                  <a:pt x="238000" y="42795"/>
                </a:cubicBezTo>
                <a:cubicBezTo>
                  <a:pt x="235485" y="45657"/>
                  <a:pt x="234048" y="49950"/>
                  <a:pt x="234048" y="53885"/>
                </a:cubicBezTo>
                <a:lnTo>
                  <a:pt x="234048" y="76781"/>
                </a:lnTo>
                <a:lnTo>
                  <a:pt x="284347" y="76781"/>
                </a:lnTo>
                <a:lnTo>
                  <a:pt x="284347" y="53885"/>
                </a:lnTo>
                <a:cubicBezTo>
                  <a:pt x="284347" y="49950"/>
                  <a:pt x="282910" y="45657"/>
                  <a:pt x="280395" y="42795"/>
                </a:cubicBezTo>
                <a:cubicBezTo>
                  <a:pt x="278958" y="40649"/>
                  <a:pt x="278958" y="37787"/>
                  <a:pt x="281113" y="36713"/>
                </a:cubicBezTo>
                <a:cubicBezTo>
                  <a:pt x="282910" y="34925"/>
                  <a:pt x="285784" y="35282"/>
                  <a:pt x="287221" y="37071"/>
                </a:cubicBezTo>
                <a:cubicBezTo>
                  <a:pt x="291173" y="41722"/>
                  <a:pt x="293329" y="47804"/>
                  <a:pt x="293329" y="53885"/>
                </a:cubicBezTo>
                <a:lnTo>
                  <a:pt x="293329" y="81074"/>
                </a:lnTo>
                <a:cubicBezTo>
                  <a:pt x="293329" y="83578"/>
                  <a:pt x="291533" y="85367"/>
                  <a:pt x="288658" y="85367"/>
                </a:cubicBezTo>
                <a:lnTo>
                  <a:pt x="229737" y="85367"/>
                </a:lnTo>
                <a:cubicBezTo>
                  <a:pt x="227222" y="85367"/>
                  <a:pt x="225425" y="83578"/>
                  <a:pt x="225425" y="81074"/>
                </a:cubicBezTo>
                <a:lnTo>
                  <a:pt x="225425" y="53885"/>
                </a:lnTo>
                <a:cubicBezTo>
                  <a:pt x="225425" y="47804"/>
                  <a:pt x="227222" y="41722"/>
                  <a:pt x="231174" y="37071"/>
                </a:cubicBezTo>
                <a:cubicBezTo>
                  <a:pt x="232970" y="35282"/>
                  <a:pt x="235844" y="34925"/>
                  <a:pt x="237641" y="36713"/>
                </a:cubicBezTo>
                <a:close/>
                <a:moveTo>
                  <a:pt x="12215" y="36713"/>
                </a:moveTo>
                <a:cubicBezTo>
                  <a:pt x="14012" y="37787"/>
                  <a:pt x="14371" y="40649"/>
                  <a:pt x="12575" y="42795"/>
                </a:cubicBezTo>
                <a:cubicBezTo>
                  <a:pt x="10419" y="45657"/>
                  <a:pt x="8622" y="49950"/>
                  <a:pt x="8622" y="53885"/>
                </a:cubicBezTo>
                <a:lnTo>
                  <a:pt x="8622" y="76781"/>
                </a:lnTo>
                <a:lnTo>
                  <a:pt x="59281" y="76781"/>
                </a:lnTo>
                <a:lnTo>
                  <a:pt x="59281" y="53885"/>
                </a:lnTo>
                <a:cubicBezTo>
                  <a:pt x="59281" y="49950"/>
                  <a:pt x="57844" y="45657"/>
                  <a:pt x="54969" y="42795"/>
                </a:cubicBezTo>
                <a:cubicBezTo>
                  <a:pt x="53532" y="40649"/>
                  <a:pt x="53892" y="37787"/>
                  <a:pt x="55688" y="36713"/>
                </a:cubicBezTo>
                <a:cubicBezTo>
                  <a:pt x="57844" y="34925"/>
                  <a:pt x="60359" y="35282"/>
                  <a:pt x="61796" y="37071"/>
                </a:cubicBezTo>
                <a:cubicBezTo>
                  <a:pt x="65748" y="41722"/>
                  <a:pt x="67903" y="47804"/>
                  <a:pt x="67903" y="53885"/>
                </a:cubicBezTo>
                <a:lnTo>
                  <a:pt x="67903" y="81074"/>
                </a:lnTo>
                <a:cubicBezTo>
                  <a:pt x="67903" y="83578"/>
                  <a:pt x="65748" y="85367"/>
                  <a:pt x="63592" y="85367"/>
                </a:cubicBezTo>
                <a:lnTo>
                  <a:pt x="4311" y="85367"/>
                </a:lnTo>
                <a:cubicBezTo>
                  <a:pt x="1796" y="85367"/>
                  <a:pt x="0" y="83578"/>
                  <a:pt x="0" y="81074"/>
                </a:cubicBezTo>
                <a:lnTo>
                  <a:pt x="0" y="53885"/>
                </a:lnTo>
                <a:cubicBezTo>
                  <a:pt x="0" y="47804"/>
                  <a:pt x="1796" y="41722"/>
                  <a:pt x="6107" y="37071"/>
                </a:cubicBezTo>
                <a:cubicBezTo>
                  <a:pt x="7545" y="35282"/>
                  <a:pt x="10419" y="34925"/>
                  <a:pt x="12215" y="36713"/>
                </a:cubicBezTo>
                <a:close/>
                <a:moveTo>
                  <a:pt x="258410" y="8466"/>
                </a:moveTo>
                <a:cubicBezTo>
                  <a:pt x="252766" y="8466"/>
                  <a:pt x="248180" y="13405"/>
                  <a:pt x="248180" y="18697"/>
                </a:cubicBezTo>
                <a:cubicBezTo>
                  <a:pt x="248180" y="24341"/>
                  <a:pt x="252766" y="28928"/>
                  <a:pt x="258410" y="28928"/>
                </a:cubicBezTo>
                <a:cubicBezTo>
                  <a:pt x="264055" y="28928"/>
                  <a:pt x="268641" y="24341"/>
                  <a:pt x="268641" y="18697"/>
                </a:cubicBezTo>
                <a:cubicBezTo>
                  <a:pt x="268641" y="13405"/>
                  <a:pt x="264055" y="8466"/>
                  <a:pt x="258410" y="8466"/>
                </a:cubicBezTo>
                <a:close/>
                <a:moveTo>
                  <a:pt x="32985" y="8466"/>
                </a:moveTo>
                <a:cubicBezTo>
                  <a:pt x="27341" y="8466"/>
                  <a:pt x="22754" y="13405"/>
                  <a:pt x="22754" y="18697"/>
                </a:cubicBezTo>
                <a:cubicBezTo>
                  <a:pt x="22754" y="24341"/>
                  <a:pt x="27341" y="28928"/>
                  <a:pt x="32985" y="28928"/>
                </a:cubicBezTo>
                <a:cubicBezTo>
                  <a:pt x="38629" y="28928"/>
                  <a:pt x="43216" y="24341"/>
                  <a:pt x="43216" y="18697"/>
                </a:cubicBezTo>
                <a:cubicBezTo>
                  <a:pt x="43216" y="13405"/>
                  <a:pt x="38629" y="8466"/>
                  <a:pt x="32985" y="8466"/>
                </a:cubicBezTo>
                <a:close/>
                <a:moveTo>
                  <a:pt x="145691" y="6778"/>
                </a:moveTo>
                <a:cubicBezTo>
                  <a:pt x="171211" y="6778"/>
                  <a:pt x="196731" y="13556"/>
                  <a:pt x="219015" y="27113"/>
                </a:cubicBezTo>
                <a:cubicBezTo>
                  <a:pt x="221531" y="28559"/>
                  <a:pt x="221891" y="31089"/>
                  <a:pt x="220813" y="33258"/>
                </a:cubicBezTo>
                <a:cubicBezTo>
                  <a:pt x="219015" y="35427"/>
                  <a:pt x="216499" y="36150"/>
                  <a:pt x="214702" y="34704"/>
                </a:cubicBezTo>
                <a:cubicBezTo>
                  <a:pt x="172648" y="9037"/>
                  <a:pt x="118733" y="9037"/>
                  <a:pt x="77038" y="34704"/>
                </a:cubicBezTo>
                <a:cubicBezTo>
                  <a:pt x="76320" y="35427"/>
                  <a:pt x="75601" y="35427"/>
                  <a:pt x="74882" y="35427"/>
                </a:cubicBezTo>
                <a:cubicBezTo>
                  <a:pt x="73444" y="35427"/>
                  <a:pt x="72006" y="34704"/>
                  <a:pt x="70928" y="33258"/>
                </a:cubicBezTo>
                <a:cubicBezTo>
                  <a:pt x="69850" y="31089"/>
                  <a:pt x="70209" y="28559"/>
                  <a:pt x="72366" y="27113"/>
                </a:cubicBezTo>
                <a:cubicBezTo>
                  <a:pt x="94651" y="13556"/>
                  <a:pt x="120171" y="6778"/>
                  <a:pt x="145691" y="6778"/>
                </a:cubicBezTo>
                <a:close/>
                <a:moveTo>
                  <a:pt x="258410" y="0"/>
                </a:moveTo>
                <a:cubicBezTo>
                  <a:pt x="268994" y="0"/>
                  <a:pt x="277460" y="8466"/>
                  <a:pt x="277460" y="18697"/>
                </a:cubicBezTo>
                <a:cubicBezTo>
                  <a:pt x="277460" y="29280"/>
                  <a:pt x="268994" y="37747"/>
                  <a:pt x="258410" y="37747"/>
                </a:cubicBezTo>
                <a:cubicBezTo>
                  <a:pt x="248180" y="37747"/>
                  <a:pt x="239713" y="29280"/>
                  <a:pt x="239713" y="18697"/>
                </a:cubicBezTo>
                <a:cubicBezTo>
                  <a:pt x="239713" y="8466"/>
                  <a:pt x="248180" y="0"/>
                  <a:pt x="258410" y="0"/>
                </a:cubicBezTo>
                <a:close/>
                <a:moveTo>
                  <a:pt x="32985" y="0"/>
                </a:moveTo>
                <a:cubicBezTo>
                  <a:pt x="43568" y="0"/>
                  <a:pt x="52035" y="8466"/>
                  <a:pt x="52035" y="18697"/>
                </a:cubicBezTo>
                <a:cubicBezTo>
                  <a:pt x="52035" y="29280"/>
                  <a:pt x="43568" y="37747"/>
                  <a:pt x="32985" y="37747"/>
                </a:cubicBezTo>
                <a:cubicBezTo>
                  <a:pt x="22754" y="37747"/>
                  <a:pt x="14288" y="29280"/>
                  <a:pt x="14288" y="18697"/>
                </a:cubicBezTo>
                <a:cubicBezTo>
                  <a:pt x="14288" y="8466"/>
                  <a:pt x="22754" y="0"/>
                  <a:pt x="32985"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34" name="Titel 1">
            <a:extLst>
              <a:ext uri="{FF2B5EF4-FFF2-40B4-BE49-F238E27FC236}">
                <a16:creationId xmlns:a16="http://schemas.microsoft.com/office/drawing/2014/main" id="{1830E6B5-96AC-46CD-A9C4-3DA0903825D6}"/>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Roadmap slide</a:t>
            </a:r>
          </a:p>
        </p:txBody>
      </p:sp>
    </p:spTree>
    <p:custDataLst>
      <p:tags r:id="rId1"/>
    </p:custDataLst>
    <p:extLst>
      <p:ext uri="{BB962C8B-B14F-4D97-AF65-F5344CB8AC3E}">
        <p14:creationId xmlns:p14="http://schemas.microsoft.com/office/powerpoint/2010/main" val="7782380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DDC280F7-DB34-D04B-B3BC-0670A5C67FD1}"/>
              </a:ext>
            </a:extLst>
          </p:cNvPr>
          <p:cNvSpPr/>
          <p:nvPr/>
        </p:nvSpPr>
        <p:spPr>
          <a:xfrm>
            <a:off x="1328335" y="1387574"/>
            <a:ext cx="1249581" cy="124958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5" name="TextBox 4">
            <a:extLst>
              <a:ext uri="{FF2B5EF4-FFF2-40B4-BE49-F238E27FC236}">
                <a16:creationId xmlns:a16="http://schemas.microsoft.com/office/drawing/2014/main" id="{5DCF5551-3C36-EA44-A684-C668E535902F}"/>
              </a:ext>
            </a:extLst>
          </p:cNvPr>
          <p:cNvSpPr txBox="1"/>
          <p:nvPr/>
        </p:nvSpPr>
        <p:spPr>
          <a:xfrm>
            <a:off x="802813" y="2784592"/>
            <a:ext cx="2300630" cy="338554"/>
          </a:xfrm>
          <a:prstGeom prst="rect">
            <a:avLst/>
          </a:prstGeom>
          <a:noFill/>
        </p:spPr>
        <p:txBody>
          <a:bodyPr wrap="none" rtlCol="0" anchor="b"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MORE LEADS ON SALES</a:t>
            </a:r>
          </a:p>
        </p:txBody>
      </p:sp>
      <p:sp>
        <p:nvSpPr>
          <p:cNvPr id="6" name="Subtitle 2">
            <a:extLst>
              <a:ext uri="{FF2B5EF4-FFF2-40B4-BE49-F238E27FC236}">
                <a16:creationId xmlns:a16="http://schemas.microsoft.com/office/drawing/2014/main" id="{BCCE93C0-6089-C54A-A148-1FE158EEF19D}"/>
              </a:ext>
            </a:extLst>
          </p:cNvPr>
          <p:cNvSpPr txBox="1">
            <a:spLocks/>
          </p:cNvSpPr>
          <p:nvPr/>
        </p:nvSpPr>
        <p:spPr>
          <a:xfrm>
            <a:off x="762000" y="3172672"/>
            <a:ext cx="2382251" cy="48494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a:t>
            </a:r>
          </a:p>
        </p:txBody>
      </p:sp>
      <p:sp>
        <p:nvSpPr>
          <p:cNvPr id="10" name="Oval 9">
            <a:extLst>
              <a:ext uri="{FF2B5EF4-FFF2-40B4-BE49-F238E27FC236}">
                <a16:creationId xmlns:a16="http://schemas.microsoft.com/office/drawing/2014/main" id="{95CD3D95-0DE1-C247-ADCB-92210DBDE337}"/>
              </a:ext>
            </a:extLst>
          </p:cNvPr>
          <p:cNvSpPr/>
          <p:nvPr/>
        </p:nvSpPr>
        <p:spPr>
          <a:xfrm>
            <a:off x="4090252" y="1387574"/>
            <a:ext cx="1249581" cy="124958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2" name="TextBox 11">
            <a:extLst>
              <a:ext uri="{FF2B5EF4-FFF2-40B4-BE49-F238E27FC236}">
                <a16:creationId xmlns:a16="http://schemas.microsoft.com/office/drawing/2014/main" id="{D07D773B-D08B-4548-A51E-FB6FDBEC5B39}"/>
              </a:ext>
            </a:extLst>
          </p:cNvPr>
          <p:cNvSpPr txBox="1"/>
          <p:nvPr/>
        </p:nvSpPr>
        <p:spPr>
          <a:xfrm>
            <a:off x="3726345" y="2784592"/>
            <a:ext cx="1977400" cy="338554"/>
          </a:xfrm>
          <a:prstGeom prst="rect">
            <a:avLst/>
          </a:prstGeom>
          <a:noFill/>
        </p:spPr>
        <p:txBody>
          <a:bodyPr wrap="none" rtlCol="0" anchor="b"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WEBSITE ANALYTICS</a:t>
            </a:r>
          </a:p>
        </p:txBody>
      </p:sp>
      <p:sp>
        <p:nvSpPr>
          <p:cNvPr id="13" name="Subtitle 2">
            <a:extLst>
              <a:ext uri="{FF2B5EF4-FFF2-40B4-BE49-F238E27FC236}">
                <a16:creationId xmlns:a16="http://schemas.microsoft.com/office/drawing/2014/main" id="{D99C61B6-BB7E-B842-A15F-FD138FF7575D}"/>
              </a:ext>
            </a:extLst>
          </p:cNvPr>
          <p:cNvSpPr txBox="1">
            <a:spLocks/>
          </p:cNvSpPr>
          <p:nvPr/>
        </p:nvSpPr>
        <p:spPr>
          <a:xfrm>
            <a:off x="3523917" y="3172672"/>
            <a:ext cx="2382251" cy="48494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a:t>
            </a:r>
          </a:p>
        </p:txBody>
      </p:sp>
      <p:sp>
        <p:nvSpPr>
          <p:cNvPr id="15" name="Oval 14">
            <a:extLst>
              <a:ext uri="{FF2B5EF4-FFF2-40B4-BE49-F238E27FC236}">
                <a16:creationId xmlns:a16="http://schemas.microsoft.com/office/drawing/2014/main" id="{0F075EEF-332B-0442-9EF7-C3E4573CFAB6}"/>
              </a:ext>
            </a:extLst>
          </p:cNvPr>
          <p:cNvSpPr/>
          <p:nvPr/>
        </p:nvSpPr>
        <p:spPr>
          <a:xfrm>
            <a:off x="6852168" y="1387574"/>
            <a:ext cx="1249581" cy="124958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7" name="TextBox 16">
            <a:extLst>
              <a:ext uri="{FF2B5EF4-FFF2-40B4-BE49-F238E27FC236}">
                <a16:creationId xmlns:a16="http://schemas.microsoft.com/office/drawing/2014/main" id="{468568DE-545F-7544-83F8-688C81380C59}"/>
              </a:ext>
            </a:extLst>
          </p:cNvPr>
          <p:cNvSpPr txBox="1"/>
          <p:nvPr/>
        </p:nvSpPr>
        <p:spPr>
          <a:xfrm>
            <a:off x="6644041" y="2784592"/>
            <a:ext cx="1665841" cy="338554"/>
          </a:xfrm>
          <a:prstGeom prst="rect">
            <a:avLst/>
          </a:prstGeom>
          <a:noFill/>
        </p:spPr>
        <p:txBody>
          <a:bodyPr wrap="none" rtlCol="0" anchor="b"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SEO MARKETING</a:t>
            </a:r>
          </a:p>
        </p:txBody>
      </p:sp>
      <p:sp>
        <p:nvSpPr>
          <p:cNvPr id="18" name="Subtitle 2">
            <a:extLst>
              <a:ext uri="{FF2B5EF4-FFF2-40B4-BE49-F238E27FC236}">
                <a16:creationId xmlns:a16="http://schemas.microsoft.com/office/drawing/2014/main" id="{B54327A9-E5DA-E045-A625-A2DE9AB74E2D}"/>
              </a:ext>
            </a:extLst>
          </p:cNvPr>
          <p:cNvSpPr txBox="1">
            <a:spLocks/>
          </p:cNvSpPr>
          <p:nvPr/>
        </p:nvSpPr>
        <p:spPr>
          <a:xfrm>
            <a:off x="6285833" y="3172672"/>
            <a:ext cx="2382251" cy="48494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a:t>
            </a:r>
          </a:p>
        </p:txBody>
      </p:sp>
      <p:sp>
        <p:nvSpPr>
          <p:cNvPr id="20" name="Oval 19">
            <a:extLst>
              <a:ext uri="{FF2B5EF4-FFF2-40B4-BE49-F238E27FC236}">
                <a16:creationId xmlns:a16="http://schemas.microsoft.com/office/drawing/2014/main" id="{A3408462-F103-EF48-9105-F6D3F13D94B9}"/>
              </a:ext>
            </a:extLst>
          </p:cNvPr>
          <p:cNvSpPr/>
          <p:nvPr/>
        </p:nvSpPr>
        <p:spPr>
          <a:xfrm>
            <a:off x="9614085" y="1387574"/>
            <a:ext cx="1249581" cy="124958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2" name="TextBox 21">
            <a:extLst>
              <a:ext uri="{FF2B5EF4-FFF2-40B4-BE49-F238E27FC236}">
                <a16:creationId xmlns:a16="http://schemas.microsoft.com/office/drawing/2014/main" id="{E6256177-2F3D-B748-8101-0A530FA11782}"/>
              </a:ext>
            </a:extLst>
          </p:cNvPr>
          <p:cNvSpPr txBox="1"/>
          <p:nvPr/>
        </p:nvSpPr>
        <p:spPr>
          <a:xfrm>
            <a:off x="9773044" y="2784592"/>
            <a:ext cx="931665" cy="338554"/>
          </a:xfrm>
          <a:prstGeom prst="rect">
            <a:avLst/>
          </a:prstGeom>
          <a:noFill/>
        </p:spPr>
        <p:txBody>
          <a:bodyPr wrap="none" rtlCol="0" anchor="b"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TESTING</a:t>
            </a:r>
          </a:p>
        </p:txBody>
      </p:sp>
      <p:sp>
        <p:nvSpPr>
          <p:cNvPr id="23" name="Subtitle 2">
            <a:extLst>
              <a:ext uri="{FF2B5EF4-FFF2-40B4-BE49-F238E27FC236}">
                <a16:creationId xmlns:a16="http://schemas.microsoft.com/office/drawing/2014/main" id="{E37B5D69-2149-6E46-9C1D-9B0F506112A1}"/>
              </a:ext>
            </a:extLst>
          </p:cNvPr>
          <p:cNvSpPr txBox="1">
            <a:spLocks/>
          </p:cNvSpPr>
          <p:nvPr/>
        </p:nvSpPr>
        <p:spPr>
          <a:xfrm>
            <a:off x="9047750" y="3172672"/>
            <a:ext cx="2382251" cy="48494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a:t>
            </a:r>
          </a:p>
        </p:txBody>
      </p:sp>
      <p:sp>
        <p:nvSpPr>
          <p:cNvPr id="83" name="Oval 82">
            <a:extLst>
              <a:ext uri="{FF2B5EF4-FFF2-40B4-BE49-F238E27FC236}">
                <a16:creationId xmlns:a16="http://schemas.microsoft.com/office/drawing/2014/main" id="{F36B50D0-5A89-8642-B5E5-72B731D1C171}"/>
              </a:ext>
            </a:extLst>
          </p:cNvPr>
          <p:cNvSpPr/>
          <p:nvPr/>
        </p:nvSpPr>
        <p:spPr>
          <a:xfrm>
            <a:off x="1328335" y="4085054"/>
            <a:ext cx="1249581" cy="124958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85" name="TextBox 84">
            <a:extLst>
              <a:ext uri="{FF2B5EF4-FFF2-40B4-BE49-F238E27FC236}">
                <a16:creationId xmlns:a16="http://schemas.microsoft.com/office/drawing/2014/main" id="{2163D9B0-8FA2-AD49-9B2C-86C82E193641}"/>
              </a:ext>
            </a:extLst>
          </p:cNvPr>
          <p:cNvSpPr txBox="1"/>
          <p:nvPr/>
        </p:nvSpPr>
        <p:spPr>
          <a:xfrm>
            <a:off x="1272493" y="5482072"/>
            <a:ext cx="1361270" cy="338554"/>
          </a:xfrm>
          <a:prstGeom prst="rect">
            <a:avLst/>
          </a:prstGeom>
          <a:noFill/>
        </p:spPr>
        <p:txBody>
          <a:bodyPr wrap="none" rtlCol="0" anchor="b"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WEBSITE DEV</a:t>
            </a:r>
          </a:p>
        </p:txBody>
      </p:sp>
      <p:sp>
        <p:nvSpPr>
          <p:cNvPr id="86" name="Subtitle 2">
            <a:extLst>
              <a:ext uri="{FF2B5EF4-FFF2-40B4-BE49-F238E27FC236}">
                <a16:creationId xmlns:a16="http://schemas.microsoft.com/office/drawing/2014/main" id="{C8D9046B-3C82-144D-A0FF-CD5C3F6FA082}"/>
              </a:ext>
            </a:extLst>
          </p:cNvPr>
          <p:cNvSpPr txBox="1">
            <a:spLocks/>
          </p:cNvSpPr>
          <p:nvPr/>
        </p:nvSpPr>
        <p:spPr>
          <a:xfrm>
            <a:off x="762000" y="5870152"/>
            <a:ext cx="2382251" cy="48494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a:t>
            </a:r>
          </a:p>
        </p:txBody>
      </p:sp>
      <p:sp>
        <p:nvSpPr>
          <p:cNvPr id="79" name="Oval 78">
            <a:extLst>
              <a:ext uri="{FF2B5EF4-FFF2-40B4-BE49-F238E27FC236}">
                <a16:creationId xmlns:a16="http://schemas.microsoft.com/office/drawing/2014/main" id="{EECBE5D3-877A-1E42-BD2A-A2FD71284846}"/>
              </a:ext>
            </a:extLst>
          </p:cNvPr>
          <p:cNvSpPr/>
          <p:nvPr/>
        </p:nvSpPr>
        <p:spPr>
          <a:xfrm>
            <a:off x="4090252" y="4085054"/>
            <a:ext cx="1249581" cy="124958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81" name="TextBox 80">
            <a:extLst>
              <a:ext uri="{FF2B5EF4-FFF2-40B4-BE49-F238E27FC236}">
                <a16:creationId xmlns:a16="http://schemas.microsoft.com/office/drawing/2014/main" id="{EE8164E9-717D-334F-AA27-AF9F10EE8C65}"/>
              </a:ext>
            </a:extLst>
          </p:cNvPr>
          <p:cNvSpPr txBox="1"/>
          <p:nvPr/>
        </p:nvSpPr>
        <p:spPr>
          <a:xfrm>
            <a:off x="3720669" y="5482072"/>
            <a:ext cx="1988750" cy="338554"/>
          </a:xfrm>
          <a:prstGeom prst="rect">
            <a:avLst/>
          </a:prstGeom>
          <a:noFill/>
        </p:spPr>
        <p:txBody>
          <a:bodyPr wrap="none" rtlCol="0" anchor="b"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CONCEPT &amp; DESIGN</a:t>
            </a:r>
          </a:p>
        </p:txBody>
      </p:sp>
      <p:sp>
        <p:nvSpPr>
          <p:cNvPr id="82" name="Subtitle 2">
            <a:extLst>
              <a:ext uri="{FF2B5EF4-FFF2-40B4-BE49-F238E27FC236}">
                <a16:creationId xmlns:a16="http://schemas.microsoft.com/office/drawing/2014/main" id="{E8618E20-7C2D-E84C-ABDA-819E993B66B1}"/>
              </a:ext>
            </a:extLst>
          </p:cNvPr>
          <p:cNvSpPr txBox="1">
            <a:spLocks/>
          </p:cNvSpPr>
          <p:nvPr/>
        </p:nvSpPr>
        <p:spPr>
          <a:xfrm>
            <a:off x="3523917" y="5870152"/>
            <a:ext cx="2382251" cy="48494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a:t>
            </a:r>
          </a:p>
        </p:txBody>
      </p:sp>
      <p:sp>
        <p:nvSpPr>
          <p:cNvPr id="75" name="Oval 74">
            <a:extLst>
              <a:ext uri="{FF2B5EF4-FFF2-40B4-BE49-F238E27FC236}">
                <a16:creationId xmlns:a16="http://schemas.microsoft.com/office/drawing/2014/main" id="{AF957C70-3EF6-CE47-AA66-CAF0E1EB72B5}"/>
              </a:ext>
            </a:extLst>
          </p:cNvPr>
          <p:cNvSpPr/>
          <p:nvPr/>
        </p:nvSpPr>
        <p:spPr>
          <a:xfrm>
            <a:off x="6852168" y="4085054"/>
            <a:ext cx="1249581" cy="124958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77" name="TextBox 76">
            <a:extLst>
              <a:ext uri="{FF2B5EF4-FFF2-40B4-BE49-F238E27FC236}">
                <a16:creationId xmlns:a16="http://schemas.microsoft.com/office/drawing/2014/main" id="{76D3CD2C-FFF3-D343-8181-4C2F4788238E}"/>
              </a:ext>
            </a:extLst>
          </p:cNvPr>
          <p:cNvSpPr txBox="1"/>
          <p:nvPr/>
        </p:nvSpPr>
        <p:spPr>
          <a:xfrm>
            <a:off x="6432444" y="5482072"/>
            <a:ext cx="2089033" cy="338554"/>
          </a:xfrm>
          <a:prstGeom prst="rect">
            <a:avLst/>
          </a:prstGeom>
          <a:noFill/>
        </p:spPr>
        <p:txBody>
          <a:bodyPr wrap="none" rtlCol="0" anchor="b"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KEYWORD RESEARCH</a:t>
            </a:r>
          </a:p>
        </p:txBody>
      </p:sp>
      <p:sp>
        <p:nvSpPr>
          <p:cNvPr id="78" name="Subtitle 2">
            <a:extLst>
              <a:ext uri="{FF2B5EF4-FFF2-40B4-BE49-F238E27FC236}">
                <a16:creationId xmlns:a16="http://schemas.microsoft.com/office/drawing/2014/main" id="{8F8035E8-E39C-BE41-9705-A051F69748A5}"/>
              </a:ext>
            </a:extLst>
          </p:cNvPr>
          <p:cNvSpPr txBox="1">
            <a:spLocks/>
          </p:cNvSpPr>
          <p:nvPr/>
        </p:nvSpPr>
        <p:spPr>
          <a:xfrm>
            <a:off x="6285833" y="5870152"/>
            <a:ext cx="2382251" cy="48494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a:t>
            </a:r>
          </a:p>
        </p:txBody>
      </p:sp>
      <p:sp>
        <p:nvSpPr>
          <p:cNvPr id="71" name="Oval 70">
            <a:extLst>
              <a:ext uri="{FF2B5EF4-FFF2-40B4-BE49-F238E27FC236}">
                <a16:creationId xmlns:a16="http://schemas.microsoft.com/office/drawing/2014/main" id="{8162C47D-AA44-1A4B-9858-FAC9B0E6A3DB}"/>
              </a:ext>
            </a:extLst>
          </p:cNvPr>
          <p:cNvSpPr/>
          <p:nvPr/>
        </p:nvSpPr>
        <p:spPr>
          <a:xfrm>
            <a:off x="9614085" y="4085054"/>
            <a:ext cx="1249581" cy="124958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73" name="TextBox 72">
            <a:extLst>
              <a:ext uri="{FF2B5EF4-FFF2-40B4-BE49-F238E27FC236}">
                <a16:creationId xmlns:a16="http://schemas.microsoft.com/office/drawing/2014/main" id="{80BEFE8F-76CC-8B48-9DC0-C4FDE01BDA23}"/>
              </a:ext>
            </a:extLst>
          </p:cNvPr>
          <p:cNvSpPr txBox="1"/>
          <p:nvPr/>
        </p:nvSpPr>
        <p:spPr>
          <a:xfrm>
            <a:off x="9243348" y="5482072"/>
            <a:ext cx="1991058" cy="338554"/>
          </a:xfrm>
          <a:prstGeom prst="rect">
            <a:avLst/>
          </a:prstGeom>
          <a:noFill/>
        </p:spPr>
        <p:txBody>
          <a:bodyPr wrap="none" rtlCol="0" anchor="b" anchorCtr="0">
            <a:spAutoFit/>
          </a:bodyPr>
          <a:lstStyle/>
          <a:p>
            <a:pPr algn="ctr"/>
            <a:r>
              <a:rPr lang="en-US" sz="1600" b="1" dirty="0">
                <a:solidFill>
                  <a:schemeClr val="tx2"/>
                </a:solidFill>
                <a:latin typeface="Segoe UI Light" panose="020B0502040204020203" pitchFamily="34" charset="0"/>
                <a:ea typeface="League Spartan" charset="0"/>
                <a:cs typeface="Poppins" pitchFamily="2" charset="77"/>
              </a:rPr>
              <a:t>GOALS &amp; ACTIVITIES</a:t>
            </a:r>
          </a:p>
        </p:txBody>
      </p:sp>
      <p:sp>
        <p:nvSpPr>
          <p:cNvPr id="74" name="Subtitle 2">
            <a:extLst>
              <a:ext uri="{FF2B5EF4-FFF2-40B4-BE49-F238E27FC236}">
                <a16:creationId xmlns:a16="http://schemas.microsoft.com/office/drawing/2014/main" id="{A19CB52D-3171-A142-8B17-BA97C99538BF}"/>
              </a:ext>
            </a:extLst>
          </p:cNvPr>
          <p:cNvSpPr txBox="1">
            <a:spLocks/>
          </p:cNvSpPr>
          <p:nvPr/>
        </p:nvSpPr>
        <p:spPr>
          <a:xfrm>
            <a:off x="9047750" y="5870152"/>
            <a:ext cx="2382251" cy="48494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a:t>
            </a:r>
          </a:p>
        </p:txBody>
      </p:sp>
      <p:sp>
        <p:nvSpPr>
          <p:cNvPr id="28" name="Freeform 938">
            <a:extLst>
              <a:ext uri="{FF2B5EF4-FFF2-40B4-BE49-F238E27FC236}">
                <a16:creationId xmlns:a16="http://schemas.microsoft.com/office/drawing/2014/main" id="{4E805D54-A4F0-3F41-A770-087D4AFC86AF}"/>
              </a:ext>
            </a:extLst>
          </p:cNvPr>
          <p:cNvSpPr>
            <a:spLocks noChangeAspect="1"/>
          </p:cNvSpPr>
          <p:nvPr/>
        </p:nvSpPr>
        <p:spPr bwMode="auto">
          <a:xfrm>
            <a:off x="10006705" y="4477674"/>
            <a:ext cx="464342" cy="464342"/>
          </a:xfrm>
          <a:custGeom>
            <a:avLst/>
            <a:gdLst>
              <a:gd name="T0" fmla="*/ 3908867 w 293327"/>
              <a:gd name="T1" fmla="*/ 9106418 h 293328"/>
              <a:gd name="T2" fmla="*/ 4627651 w 293327"/>
              <a:gd name="T3" fmla="*/ 9106418 h 293328"/>
              <a:gd name="T4" fmla="*/ 4268257 w 293327"/>
              <a:gd name="T5" fmla="*/ 8420867 h 293328"/>
              <a:gd name="T6" fmla="*/ 4268257 w 293327"/>
              <a:gd name="T7" fmla="*/ 9791887 h 293328"/>
              <a:gd name="T8" fmla="*/ 4268257 w 293327"/>
              <a:gd name="T9" fmla="*/ 8420867 h 293328"/>
              <a:gd name="T10" fmla="*/ 2117656 w 293327"/>
              <a:gd name="T11" fmla="*/ 7311654 h 293328"/>
              <a:gd name="T12" fmla="*/ 2829577 w 293327"/>
              <a:gd name="T13" fmla="*/ 7311654 h 293328"/>
              <a:gd name="T14" fmla="*/ 4545752 w 293327"/>
              <a:gd name="T15" fmla="*/ 6800492 h 293328"/>
              <a:gd name="T16" fmla="*/ 4780006 w 293327"/>
              <a:gd name="T17" fmla="*/ 7035809 h 293328"/>
              <a:gd name="T18" fmla="*/ 2085617 w 293327"/>
              <a:gd name="T19" fmla="*/ 9676631 h 293328"/>
              <a:gd name="T20" fmla="*/ 1968489 w 293327"/>
              <a:gd name="T21" fmla="*/ 9402106 h 293328"/>
              <a:gd name="T22" fmla="*/ 2473597 w 293327"/>
              <a:gd name="T23" fmla="*/ 6632828 h 293328"/>
              <a:gd name="T24" fmla="*/ 2473597 w 293327"/>
              <a:gd name="T25" fmla="*/ 8003799 h 293328"/>
              <a:gd name="T26" fmla="*/ 2473597 w 293327"/>
              <a:gd name="T27" fmla="*/ 6632828 h 293328"/>
              <a:gd name="T28" fmla="*/ 339617 w 293327"/>
              <a:gd name="T29" fmla="*/ 10331239 h 293328"/>
              <a:gd name="T30" fmla="*/ 5826363 w 293327"/>
              <a:gd name="T31" fmla="*/ 5507530 h 293328"/>
              <a:gd name="T32" fmla="*/ 5277686 w 293327"/>
              <a:gd name="T33" fmla="*/ 5989807 h 293328"/>
              <a:gd name="T34" fmla="*/ 4951088 w 293327"/>
              <a:gd name="T35" fmla="*/ 5989807 h 293328"/>
              <a:gd name="T36" fmla="*/ 1828917 w 293327"/>
              <a:gd name="T37" fmla="*/ 5507530 h 293328"/>
              <a:gd name="T38" fmla="*/ 1672147 w 293327"/>
              <a:gd name="T39" fmla="*/ 6146314 h 293328"/>
              <a:gd name="T40" fmla="*/ 1515406 w 293327"/>
              <a:gd name="T41" fmla="*/ 5507530 h 293328"/>
              <a:gd name="T42" fmla="*/ 3383445 w 293327"/>
              <a:gd name="T43" fmla="*/ 3786598 h 293328"/>
              <a:gd name="T44" fmla="*/ 4951088 w 293327"/>
              <a:gd name="T45" fmla="*/ 5181596 h 293328"/>
              <a:gd name="T46" fmla="*/ 3383445 w 293327"/>
              <a:gd name="T47" fmla="*/ 3460617 h 293328"/>
              <a:gd name="T48" fmla="*/ 5970084 w 293327"/>
              <a:gd name="T49" fmla="*/ 5181596 h 293328"/>
              <a:gd name="T50" fmla="*/ 6780043 w 293327"/>
              <a:gd name="T51" fmla="*/ 10487700 h 293328"/>
              <a:gd name="T52" fmla="*/ 6623220 w 293327"/>
              <a:gd name="T53" fmla="*/ 10657173 h 293328"/>
              <a:gd name="T54" fmla="*/ 39158 w 293327"/>
              <a:gd name="T55" fmla="*/ 10605053 h 293328"/>
              <a:gd name="T56" fmla="*/ 653138 w 293327"/>
              <a:gd name="T57" fmla="*/ 5325002 h 293328"/>
              <a:gd name="T58" fmla="*/ 1515406 w 293327"/>
              <a:gd name="T59" fmla="*/ 5181596 h 293328"/>
              <a:gd name="T60" fmla="*/ 6823927 w 293327"/>
              <a:gd name="T61" fmla="*/ 326867 h 293328"/>
              <a:gd name="T62" fmla="*/ 5266850 w 293327"/>
              <a:gd name="T63" fmla="*/ 2157483 h 293328"/>
              <a:gd name="T64" fmla="*/ 8393994 w 293327"/>
              <a:gd name="T65" fmla="*/ 1895931 h 293328"/>
              <a:gd name="T66" fmla="*/ 6823927 w 293327"/>
              <a:gd name="T67" fmla="*/ 0 h 293328"/>
              <a:gd name="T68" fmla="*/ 8721089 w 293327"/>
              <a:gd name="T69" fmla="*/ 2157483 h 293328"/>
              <a:gd name="T70" fmla="*/ 9794012 w 293327"/>
              <a:gd name="T71" fmla="*/ 2301333 h 293328"/>
              <a:gd name="T72" fmla="*/ 10618320 w 293327"/>
              <a:gd name="T73" fmla="*/ 9322855 h 293328"/>
              <a:gd name="T74" fmla="*/ 7098646 w 293327"/>
              <a:gd name="T75" fmla="*/ 9388255 h 293328"/>
              <a:gd name="T76" fmla="*/ 7098646 w 293327"/>
              <a:gd name="T77" fmla="*/ 9061388 h 293328"/>
              <a:gd name="T78" fmla="*/ 10160357 w 293327"/>
              <a:gd name="T79" fmla="*/ 7871491 h 293328"/>
              <a:gd name="T80" fmla="*/ 6745385 w 293327"/>
              <a:gd name="T81" fmla="*/ 7701477 h 293328"/>
              <a:gd name="T82" fmla="*/ 10121102 w 293327"/>
              <a:gd name="T83" fmla="*/ 7544584 h 293328"/>
              <a:gd name="T84" fmla="*/ 8721089 w 293327"/>
              <a:gd name="T85" fmla="*/ 2484348 h 293328"/>
              <a:gd name="T86" fmla="*/ 8551042 w 293327"/>
              <a:gd name="T87" fmla="*/ 3347336 h 293328"/>
              <a:gd name="T88" fmla="*/ 8393994 w 293327"/>
              <a:gd name="T89" fmla="*/ 2484348 h 293328"/>
              <a:gd name="T90" fmla="*/ 5266850 w 293327"/>
              <a:gd name="T91" fmla="*/ 3177369 h 293328"/>
              <a:gd name="T92" fmla="*/ 4939746 w 293327"/>
              <a:gd name="T93" fmla="*/ 3177369 h 293328"/>
              <a:gd name="T94" fmla="*/ 4167856 w 293327"/>
              <a:gd name="T95" fmla="*/ 2484348 h 293328"/>
              <a:gd name="T96" fmla="*/ 3893078 w 293327"/>
              <a:gd name="T97" fmla="*/ 3347336 h 293328"/>
              <a:gd name="T98" fmla="*/ 3866909 w 293327"/>
              <a:gd name="T99" fmla="*/ 2301333 h 293328"/>
              <a:gd name="T100" fmla="*/ 4939746 w 293327"/>
              <a:gd name="T101" fmla="*/ 2157483 h 293328"/>
              <a:gd name="T102" fmla="*/ 6823927 w 293327"/>
              <a:gd name="T103" fmla="*/ 0 h 29332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3327" h="293328">
                <a:moveTo>
                  <a:pt x="117475" y="240846"/>
                </a:moveTo>
                <a:cubicBezTo>
                  <a:pt x="111980" y="240846"/>
                  <a:pt x="107584" y="245201"/>
                  <a:pt x="107584" y="250644"/>
                </a:cubicBezTo>
                <a:cubicBezTo>
                  <a:pt x="107584" y="256086"/>
                  <a:pt x="111980" y="260441"/>
                  <a:pt x="117475" y="260441"/>
                </a:cubicBezTo>
                <a:cubicBezTo>
                  <a:pt x="122604" y="260441"/>
                  <a:pt x="127366" y="256086"/>
                  <a:pt x="127366" y="250644"/>
                </a:cubicBezTo>
                <a:cubicBezTo>
                  <a:pt x="127366" y="245201"/>
                  <a:pt x="122604" y="240846"/>
                  <a:pt x="117475" y="240846"/>
                </a:cubicBezTo>
                <a:close/>
                <a:moveTo>
                  <a:pt x="117475" y="231775"/>
                </a:moveTo>
                <a:cubicBezTo>
                  <a:pt x="127733" y="231775"/>
                  <a:pt x="136159" y="240121"/>
                  <a:pt x="136159" y="250644"/>
                </a:cubicBezTo>
                <a:cubicBezTo>
                  <a:pt x="136159" y="260804"/>
                  <a:pt x="127733" y="269512"/>
                  <a:pt x="117475" y="269512"/>
                </a:cubicBezTo>
                <a:cubicBezTo>
                  <a:pt x="106851" y="269512"/>
                  <a:pt x="98425" y="260804"/>
                  <a:pt x="98425" y="250644"/>
                </a:cubicBezTo>
                <a:cubicBezTo>
                  <a:pt x="98425" y="240121"/>
                  <a:pt x="106851" y="231775"/>
                  <a:pt x="117475" y="231775"/>
                </a:cubicBezTo>
                <a:close/>
                <a:moveTo>
                  <a:pt x="68080" y="191354"/>
                </a:moveTo>
                <a:cubicBezTo>
                  <a:pt x="62638" y="191354"/>
                  <a:pt x="58283" y="195751"/>
                  <a:pt x="58283" y="201246"/>
                </a:cubicBezTo>
                <a:cubicBezTo>
                  <a:pt x="58283" y="206741"/>
                  <a:pt x="62638" y="211503"/>
                  <a:pt x="68080" y="211503"/>
                </a:cubicBezTo>
                <a:cubicBezTo>
                  <a:pt x="73523" y="211503"/>
                  <a:pt x="77878" y="206741"/>
                  <a:pt x="77878" y="201246"/>
                </a:cubicBezTo>
                <a:cubicBezTo>
                  <a:pt x="77878" y="195751"/>
                  <a:pt x="73523" y="191354"/>
                  <a:pt x="68080" y="191354"/>
                </a:cubicBezTo>
                <a:close/>
                <a:moveTo>
                  <a:pt x="125111" y="187176"/>
                </a:moveTo>
                <a:cubicBezTo>
                  <a:pt x="126902" y="185737"/>
                  <a:pt x="129409" y="185737"/>
                  <a:pt x="131559" y="187176"/>
                </a:cubicBezTo>
                <a:cubicBezTo>
                  <a:pt x="132992" y="188976"/>
                  <a:pt x="132992" y="191854"/>
                  <a:pt x="131559" y="193653"/>
                </a:cubicBezTo>
                <a:lnTo>
                  <a:pt x="60626" y="264901"/>
                </a:lnTo>
                <a:cubicBezTo>
                  <a:pt x="59552" y="265980"/>
                  <a:pt x="58477" y="266340"/>
                  <a:pt x="57402" y="266340"/>
                </a:cubicBezTo>
                <a:cubicBezTo>
                  <a:pt x="56328" y="266340"/>
                  <a:pt x="54895" y="265980"/>
                  <a:pt x="54178" y="264901"/>
                </a:cubicBezTo>
                <a:cubicBezTo>
                  <a:pt x="52387" y="263102"/>
                  <a:pt x="52387" y="260223"/>
                  <a:pt x="54178" y="258784"/>
                </a:cubicBezTo>
                <a:lnTo>
                  <a:pt x="125111" y="187176"/>
                </a:lnTo>
                <a:close/>
                <a:moveTo>
                  <a:pt x="68080" y="182562"/>
                </a:moveTo>
                <a:cubicBezTo>
                  <a:pt x="78240" y="182562"/>
                  <a:pt x="86949" y="190988"/>
                  <a:pt x="86949" y="201246"/>
                </a:cubicBezTo>
                <a:cubicBezTo>
                  <a:pt x="86949" y="211870"/>
                  <a:pt x="78240" y="220296"/>
                  <a:pt x="68080" y="220296"/>
                </a:cubicBezTo>
                <a:cubicBezTo>
                  <a:pt x="57558" y="220296"/>
                  <a:pt x="49212" y="211870"/>
                  <a:pt x="49212" y="201246"/>
                </a:cubicBezTo>
                <a:cubicBezTo>
                  <a:pt x="49212" y="190988"/>
                  <a:pt x="57558" y="182562"/>
                  <a:pt x="68080" y="182562"/>
                </a:cubicBezTo>
                <a:close/>
                <a:moveTo>
                  <a:pt x="26247" y="151588"/>
                </a:moveTo>
                <a:lnTo>
                  <a:pt x="9348" y="284357"/>
                </a:lnTo>
                <a:lnTo>
                  <a:pt x="177258" y="284357"/>
                </a:lnTo>
                <a:lnTo>
                  <a:pt x="160359" y="151588"/>
                </a:lnTo>
                <a:lnTo>
                  <a:pt x="145258" y="151588"/>
                </a:lnTo>
                <a:lnTo>
                  <a:pt x="145258" y="164864"/>
                </a:lnTo>
                <a:cubicBezTo>
                  <a:pt x="145258" y="167376"/>
                  <a:pt x="143101" y="169171"/>
                  <a:pt x="140943" y="169171"/>
                </a:cubicBezTo>
                <a:cubicBezTo>
                  <a:pt x="138426" y="169171"/>
                  <a:pt x="136269" y="167376"/>
                  <a:pt x="136269" y="164864"/>
                </a:cubicBezTo>
                <a:lnTo>
                  <a:pt x="136269" y="151588"/>
                </a:lnTo>
                <a:lnTo>
                  <a:pt x="50337" y="151588"/>
                </a:lnTo>
                <a:lnTo>
                  <a:pt x="50337" y="164864"/>
                </a:lnTo>
                <a:cubicBezTo>
                  <a:pt x="50337" y="167376"/>
                  <a:pt x="48179" y="169171"/>
                  <a:pt x="46022" y="169171"/>
                </a:cubicBezTo>
                <a:cubicBezTo>
                  <a:pt x="43505" y="169171"/>
                  <a:pt x="41708" y="167376"/>
                  <a:pt x="41708" y="164864"/>
                </a:cubicBezTo>
                <a:lnTo>
                  <a:pt x="41708" y="151588"/>
                </a:lnTo>
                <a:lnTo>
                  <a:pt x="26247" y="151588"/>
                </a:lnTo>
                <a:close/>
                <a:moveTo>
                  <a:pt x="93123" y="104221"/>
                </a:moveTo>
                <a:cubicBezTo>
                  <a:pt x="71191" y="104221"/>
                  <a:pt x="52854" y="121086"/>
                  <a:pt x="50696" y="142617"/>
                </a:cubicBezTo>
                <a:lnTo>
                  <a:pt x="136269" y="142617"/>
                </a:lnTo>
                <a:cubicBezTo>
                  <a:pt x="133752" y="121086"/>
                  <a:pt x="115415" y="104221"/>
                  <a:pt x="93123" y="104221"/>
                </a:cubicBezTo>
                <a:close/>
                <a:moveTo>
                  <a:pt x="93123" y="95250"/>
                </a:moveTo>
                <a:cubicBezTo>
                  <a:pt x="120449" y="95250"/>
                  <a:pt x="142741" y="116063"/>
                  <a:pt x="144898" y="142617"/>
                </a:cubicBezTo>
                <a:lnTo>
                  <a:pt x="164314" y="142617"/>
                </a:lnTo>
                <a:cubicBezTo>
                  <a:pt x="166831" y="142617"/>
                  <a:pt x="168629" y="144411"/>
                  <a:pt x="168988" y="146564"/>
                </a:cubicBezTo>
                <a:lnTo>
                  <a:pt x="186606" y="288663"/>
                </a:lnTo>
                <a:cubicBezTo>
                  <a:pt x="186966" y="289740"/>
                  <a:pt x="186606" y="291175"/>
                  <a:pt x="185527" y="291893"/>
                </a:cubicBezTo>
                <a:cubicBezTo>
                  <a:pt x="184808" y="292969"/>
                  <a:pt x="183370" y="293328"/>
                  <a:pt x="182291" y="293328"/>
                </a:cubicBezTo>
                <a:lnTo>
                  <a:pt x="4314" y="293328"/>
                </a:lnTo>
                <a:cubicBezTo>
                  <a:pt x="3236" y="293328"/>
                  <a:pt x="2157" y="292969"/>
                  <a:pt x="1079" y="291893"/>
                </a:cubicBezTo>
                <a:cubicBezTo>
                  <a:pt x="359" y="291175"/>
                  <a:pt x="0" y="289740"/>
                  <a:pt x="0" y="288663"/>
                </a:cubicBezTo>
                <a:lnTo>
                  <a:pt x="17977" y="146564"/>
                </a:lnTo>
                <a:cubicBezTo>
                  <a:pt x="18337" y="144411"/>
                  <a:pt x="20135" y="142617"/>
                  <a:pt x="22292" y="142617"/>
                </a:cubicBezTo>
                <a:lnTo>
                  <a:pt x="41708" y="142617"/>
                </a:lnTo>
                <a:cubicBezTo>
                  <a:pt x="44224" y="116063"/>
                  <a:pt x="66157" y="95250"/>
                  <a:pt x="93123" y="95250"/>
                </a:cubicBezTo>
                <a:close/>
                <a:moveTo>
                  <a:pt x="187814" y="8997"/>
                </a:moveTo>
                <a:cubicBezTo>
                  <a:pt x="164046" y="8997"/>
                  <a:pt x="144960" y="28431"/>
                  <a:pt x="144960" y="52184"/>
                </a:cubicBezTo>
                <a:lnTo>
                  <a:pt x="144960" y="59382"/>
                </a:lnTo>
                <a:lnTo>
                  <a:pt x="231027" y="59382"/>
                </a:lnTo>
                <a:lnTo>
                  <a:pt x="231027" y="52184"/>
                </a:lnTo>
                <a:cubicBezTo>
                  <a:pt x="231027" y="28431"/>
                  <a:pt x="211941" y="8997"/>
                  <a:pt x="187814" y="8997"/>
                </a:cubicBezTo>
                <a:close/>
                <a:moveTo>
                  <a:pt x="187814" y="0"/>
                </a:moveTo>
                <a:cubicBezTo>
                  <a:pt x="216623" y="0"/>
                  <a:pt x="240030" y="23393"/>
                  <a:pt x="240030" y="52184"/>
                </a:cubicBezTo>
                <a:lnTo>
                  <a:pt x="240030" y="59382"/>
                </a:lnTo>
                <a:lnTo>
                  <a:pt x="265238" y="59382"/>
                </a:lnTo>
                <a:cubicBezTo>
                  <a:pt x="267399" y="59382"/>
                  <a:pt x="269199" y="61182"/>
                  <a:pt x="269560" y="63341"/>
                </a:cubicBezTo>
                <a:lnTo>
                  <a:pt x="293327" y="253004"/>
                </a:lnTo>
                <a:cubicBezTo>
                  <a:pt x="293327" y="254443"/>
                  <a:pt x="292967" y="255523"/>
                  <a:pt x="292247" y="256603"/>
                </a:cubicBezTo>
                <a:cubicBezTo>
                  <a:pt x="291526" y="257682"/>
                  <a:pt x="290086" y="258402"/>
                  <a:pt x="288646" y="258402"/>
                </a:cubicBezTo>
                <a:lnTo>
                  <a:pt x="195376" y="258402"/>
                </a:lnTo>
                <a:cubicBezTo>
                  <a:pt x="192855" y="258402"/>
                  <a:pt x="190695" y="255883"/>
                  <a:pt x="190695" y="253724"/>
                </a:cubicBezTo>
                <a:cubicBezTo>
                  <a:pt x="190695" y="251204"/>
                  <a:pt x="192855" y="249405"/>
                  <a:pt x="195376" y="249405"/>
                </a:cubicBezTo>
                <a:lnTo>
                  <a:pt x="283964" y="249405"/>
                </a:lnTo>
                <a:lnTo>
                  <a:pt x="279643" y="216655"/>
                </a:lnTo>
                <a:lnTo>
                  <a:pt x="190335" y="216655"/>
                </a:lnTo>
                <a:cubicBezTo>
                  <a:pt x="187814" y="216655"/>
                  <a:pt x="185653" y="214855"/>
                  <a:pt x="185653" y="211976"/>
                </a:cubicBezTo>
                <a:cubicBezTo>
                  <a:pt x="185653" y="209817"/>
                  <a:pt x="187814" y="207657"/>
                  <a:pt x="190335" y="207657"/>
                </a:cubicBezTo>
                <a:lnTo>
                  <a:pt x="278562" y="207657"/>
                </a:lnTo>
                <a:lnTo>
                  <a:pt x="261277" y="68379"/>
                </a:lnTo>
                <a:lnTo>
                  <a:pt x="240030" y="68379"/>
                </a:lnTo>
                <a:lnTo>
                  <a:pt x="240030" y="87454"/>
                </a:lnTo>
                <a:cubicBezTo>
                  <a:pt x="240030" y="90333"/>
                  <a:pt x="237870" y="92132"/>
                  <a:pt x="235349" y="92132"/>
                </a:cubicBezTo>
                <a:cubicBezTo>
                  <a:pt x="232828" y="92132"/>
                  <a:pt x="231027" y="90333"/>
                  <a:pt x="231027" y="87454"/>
                </a:cubicBezTo>
                <a:lnTo>
                  <a:pt x="231027" y="68379"/>
                </a:lnTo>
                <a:lnTo>
                  <a:pt x="144960" y="68379"/>
                </a:lnTo>
                <a:lnTo>
                  <a:pt x="144960" y="87454"/>
                </a:lnTo>
                <a:cubicBezTo>
                  <a:pt x="144960" y="90333"/>
                  <a:pt x="142800" y="92132"/>
                  <a:pt x="140639" y="92132"/>
                </a:cubicBezTo>
                <a:cubicBezTo>
                  <a:pt x="138118" y="92132"/>
                  <a:pt x="135957" y="90333"/>
                  <a:pt x="135957" y="87454"/>
                </a:cubicBezTo>
                <a:lnTo>
                  <a:pt x="135957" y="68379"/>
                </a:lnTo>
                <a:lnTo>
                  <a:pt x="114711" y="68379"/>
                </a:lnTo>
                <a:lnTo>
                  <a:pt x="112190" y="88173"/>
                </a:lnTo>
                <a:cubicBezTo>
                  <a:pt x="111830" y="90693"/>
                  <a:pt x="109669" y="92132"/>
                  <a:pt x="107148" y="92132"/>
                </a:cubicBezTo>
                <a:cubicBezTo>
                  <a:pt x="104628" y="91772"/>
                  <a:pt x="103187" y="89613"/>
                  <a:pt x="103547" y="87094"/>
                </a:cubicBezTo>
                <a:lnTo>
                  <a:pt x="106428" y="63341"/>
                </a:lnTo>
                <a:cubicBezTo>
                  <a:pt x="106788" y="61182"/>
                  <a:pt x="108589" y="59382"/>
                  <a:pt x="110750" y="59382"/>
                </a:cubicBezTo>
                <a:lnTo>
                  <a:pt x="135957" y="59382"/>
                </a:lnTo>
                <a:lnTo>
                  <a:pt x="135957" y="52184"/>
                </a:lnTo>
                <a:cubicBezTo>
                  <a:pt x="135957" y="23393"/>
                  <a:pt x="159365" y="0"/>
                  <a:pt x="187814" y="0"/>
                </a:cubicBezTo>
                <a:close/>
              </a:path>
            </a:pathLst>
          </a:custGeom>
          <a:solidFill>
            <a:schemeClr val="bg1"/>
          </a:solidFill>
          <a:ln>
            <a:noFill/>
          </a:ln>
        </p:spPr>
        <p:txBody>
          <a:bodyPr anchor="ctr"/>
          <a:lstStyle/>
          <a:p>
            <a:endParaRPr lang="en-US" sz="900" dirty="0"/>
          </a:p>
        </p:txBody>
      </p:sp>
      <p:sp>
        <p:nvSpPr>
          <p:cNvPr id="29" name="Freeform 939">
            <a:extLst>
              <a:ext uri="{FF2B5EF4-FFF2-40B4-BE49-F238E27FC236}">
                <a16:creationId xmlns:a16="http://schemas.microsoft.com/office/drawing/2014/main" id="{0FD89451-87CD-5C48-B4B7-C9F617919313}"/>
              </a:ext>
            </a:extLst>
          </p:cNvPr>
          <p:cNvSpPr>
            <a:spLocks noChangeAspect="1"/>
          </p:cNvSpPr>
          <p:nvPr/>
        </p:nvSpPr>
        <p:spPr bwMode="auto">
          <a:xfrm>
            <a:off x="7244788" y="4474883"/>
            <a:ext cx="464342" cy="464342"/>
          </a:xfrm>
          <a:custGeom>
            <a:avLst/>
            <a:gdLst>
              <a:gd name="T0" fmla="*/ 3011771 w 293098"/>
              <a:gd name="T1" fmla="*/ 7671040 h 293328"/>
              <a:gd name="T2" fmla="*/ 2676123 w 293098"/>
              <a:gd name="T3" fmla="*/ 7671040 h 293328"/>
              <a:gd name="T4" fmla="*/ 2309547 w 293098"/>
              <a:gd name="T5" fmla="*/ 5317185 h 293328"/>
              <a:gd name="T6" fmla="*/ 3363275 w 293098"/>
              <a:gd name="T7" fmla="*/ 8138882 h 293328"/>
              <a:gd name="T8" fmla="*/ 2309547 w 293098"/>
              <a:gd name="T9" fmla="*/ 5317185 h 293328"/>
              <a:gd name="T10" fmla="*/ 5022963 w 293098"/>
              <a:gd name="T11" fmla="*/ 2025314 h 293328"/>
              <a:gd name="T12" fmla="*/ 4179952 w 293098"/>
              <a:gd name="T13" fmla="*/ 4481167 h 293328"/>
              <a:gd name="T14" fmla="*/ 3692527 w 293098"/>
              <a:gd name="T15" fmla="*/ 8138882 h 293328"/>
              <a:gd name="T16" fmla="*/ 7538815 w 293098"/>
              <a:gd name="T17" fmla="*/ 8138882 h 293328"/>
              <a:gd name="T18" fmla="*/ 7920842 w 293098"/>
              <a:gd name="T19" fmla="*/ 7446510 h 293328"/>
              <a:gd name="T20" fmla="*/ 8026205 w 293098"/>
              <a:gd name="T21" fmla="*/ 7211383 h 293328"/>
              <a:gd name="T22" fmla="*/ 8276464 w 293098"/>
              <a:gd name="T23" fmla="*/ 6453713 h 293328"/>
              <a:gd name="T24" fmla="*/ 8302807 w 293098"/>
              <a:gd name="T25" fmla="*/ 6205512 h 293328"/>
              <a:gd name="T26" fmla="*/ 8250135 w 293098"/>
              <a:gd name="T27" fmla="*/ 5500129 h 293328"/>
              <a:gd name="T28" fmla="*/ 8250135 w 293098"/>
              <a:gd name="T29" fmla="*/ 5173504 h 293328"/>
              <a:gd name="T30" fmla="*/ 8092095 w 293098"/>
              <a:gd name="T31" fmla="*/ 4376701 h 293328"/>
              <a:gd name="T32" fmla="*/ 5971389 w 293098"/>
              <a:gd name="T33" fmla="*/ 4311343 h 293328"/>
              <a:gd name="T34" fmla="*/ 6050359 w 293098"/>
              <a:gd name="T35" fmla="*/ 3057301 h 293328"/>
              <a:gd name="T36" fmla="*/ 5391801 w 293098"/>
              <a:gd name="T37" fmla="*/ 1685660 h 293328"/>
              <a:gd name="T38" fmla="*/ 6300653 w 293098"/>
              <a:gd name="T39" fmla="*/ 4050098 h 293328"/>
              <a:gd name="T40" fmla="*/ 8776992 w 293098"/>
              <a:gd name="T41" fmla="*/ 4768612 h 293328"/>
              <a:gd name="T42" fmla="*/ 8829705 w 293098"/>
              <a:gd name="T43" fmla="*/ 5839741 h 293328"/>
              <a:gd name="T44" fmla="*/ 8737523 w 293098"/>
              <a:gd name="T45" fmla="*/ 6767227 h 293328"/>
              <a:gd name="T46" fmla="*/ 8302807 w 293098"/>
              <a:gd name="T47" fmla="*/ 7681658 h 293328"/>
              <a:gd name="T48" fmla="*/ 7512500 w 293098"/>
              <a:gd name="T49" fmla="*/ 8465448 h 293328"/>
              <a:gd name="T50" fmla="*/ 1545513 w 293098"/>
              <a:gd name="T51" fmla="*/ 8308702 h 293328"/>
              <a:gd name="T52" fmla="*/ 1980236 w 293098"/>
              <a:gd name="T53" fmla="*/ 8138882 h 293328"/>
              <a:gd name="T54" fmla="*/ 636641 w 293098"/>
              <a:gd name="T55" fmla="*/ 5317185 h 293328"/>
              <a:gd name="T56" fmla="*/ 636641 w 293098"/>
              <a:gd name="T57" fmla="*/ 5003760 h 293328"/>
              <a:gd name="T58" fmla="*/ 3942868 w 293098"/>
              <a:gd name="T59" fmla="*/ 4272152 h 293328"/>
              <a:gd name="T60" fmla="*/ 4667318 w 293098"/>
              <a:gd name="T61" fmla="*/ 1946951 h 293328"/>
              <a:gd name="T62" fmla="*/ 5391801 w 293098"/>
              <a:gd name="T63" fmla="*/ 1685660 h 293328"/>
              <a:gd name="T64" fmla="*/ 328914 w 293098"/>
              <a:gd name="T65" fmla="*/ 5328636 h 293328"/>
              <a:gd name="T66" fmla="*/ 7960206 w 293098"/>
              <a:gd name="T67" fmla="*/ 9638465 h 293328"/>
              <a:gd name="T68" fmla="*/ 10341641 w 293098"/>
              <a:gd name="T69" fmla="*/ 10265362 h 293328"/>
              <a:gd name="T70" fmla="*/ 9696987 w 293098"/>
              <a:gd name="T71" fmla="*/ 7901406 h 293328"/>
              <a:gd name="T72" fmla="*/ 5368217 w 293098"/>
              <a:gd name="T73" fmla="*/ 326516 h 293328"/>
              <a:gd name="T74" fmla="*/ 10736365 w 293098"/>
              <a:gd name="T75" fmla="*/ 5328636 h 293328"/>
              <a:gd name="T76" fmla="*/ 10736365 w 293098"/>
              <a:gd name="T77" fmla="*/ 10448194 h 293328"/>
              <a:gd name="T78" fmla="*/ 10578499 w 293098"/>
              <a:gd name="T79" fmla="*/ 10657173 h 293328"/>
              <a:gd name="T80" fmla="*/ 8078583 w 293098"/>
              <a:gd name="T81" fmla="*/ 9938848 h 293328"/>
              <a:gd name="T82" fmla="*/ 0 w 293098"/>
              <a:gd name="T83" fmla="*/ 5328636 h 29332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93098" h="293328">
                <a:moveTo>
                  <a:pt x="77421" y="206375"/>
                </a:moveTo>
                <a:cubicBezTo>
                  <a:pt x="79986" y="206375"/>
                  <a:pt x="82184" y="208573"/>
                  <a:pt x="82184" y="211138"/>
                </a:cubicBezTo>
                <a:cubicBezTo>
                  <a:pt x="82184" y="213702"/>
                  <a:pt x="79986" y="215534"/>
                  <a:pt x="77421" y="215534"/>
                </a:cubicBezTo>
                <a:cubicBezTo>
                  <a:pt x="74857" y="215534"/>
                  <a:pt x="73025" y="213702"/>
                  <a:pt x="73025" y="211138"/>
                </a:cubicBezTo>
                <a:cubicBezTo>
                  <a:pt x="73025" y="208573"/>
                  <a:pt x="74857" y="206375"/>
                  <a:pt x="77421" y="206375"/>
                </a:cubicBezTo>
                <a:close/>
                <a:moveTo>
                  <a:pt x="63021" y="146351"/>
                </a:moveTo>
                <a:lnTo>
                  <a:pt x="63021" y="224014"/>
                </a:lnTo>
                <a:lnTo>
                  <a:pt x="91776" y="224014"/>
                </a:lnTo>
                <a:lnTo>
                  <a:pt x="91776" y="146351"/>
                </a:lnTo>
                <a:lnTo>
                  <a:pt x="63021" y="146351"/>
                </a:lnTo>
                <a:close/>
                <a:moveTo>
                  <a:pt x="146769" y="55026"/>
                </a:moveTo>
                <a:cubicBezTo>
                  <a:pt x="142096" y="55026"/>
                  <a:pt x="138861" y="55385"/>
                  <a:pt x="137064" y="55745"/>
                </a:cubicBezTo>
                <a:cubicBezTo>
                  <a:pt x="138502" y="63655"/>
                  <a:pt x="141018" y="80554"/>
                  <a:pt x="138502" y="88464"/>
                </a:cubicBezTo>
                <a:cubicBezTo>
                  <a:pt x="133829" y="102127"/>
                  <a:pt x="123046" y="113992"/>
                  <a:pt x="114061" y="123340"/>
                </a:cubicBezTo>
                <a:cubicBezTo>
                  <a:pt x="107591" y="130531"/>
                  <a:pt x="100761" y="137722"/>
                  <a:pt x="100761" y="142037"/>
                </a:cubicBezTo>
                <a:lnTo>
                  <a:pt x="100761" y="224014"/>
                </a:lnTo>
                <a:lnTo>
                  <a:pt x="204997" y="224014"/>
                </a:lnTo>
                <a:cubicBezTo>
                  <a:pt x="205357" y="224014"/>
                  <a:pt x="205357" y="224014"/>
                  <a:pt x="205716" y="224014"/>
                </a:cubicBezTo>
                <a:cubicBezTo>
                  <a:pt x="212545" y="223295"/>
                  <a:pt x="217577" y="217901"/>
                  <a:pt x="217577" y="211430"/>
                </a:cubicBezTo>
                <a:cubicBezTo>
                  <a:pt x="217577" y="209272"/>
                  <a:pt x="217218" y="207115"/>
                  <a:pt x="216140" y="204958"/>
                </a:cubicBezTo>
                <a:cubicBezTo>
                  <a:pt x="215421" y="203879"/>
                  <a:pt x="215421" y="202441"/>
                  <a:pt x="216140" y="201003"/>
                </a:cubicBezTo>
                <a:cubicBezTo>
                  <a:pt x="216499" y="199924"/>
                  <a:pt x="217577" y="198845"/>
                  <a:pt x="219015" y="198486"/>
                </a:cubicBezTo>
                <a:cubicBezTo>
                  <a:pt x="225126" y="197407"/>
                  <a:pt x="229439" y="192014"/>
                  <a:pt x="229439" y="186261"/>
                </a:cubicBezTo>
                <a:cubicBezTo>
                  <a:pt x="229439" y="183025"/>
                  <a:pt x="228361" y="179789"/>
                  <a:pt x="225844" y="177632"/>
                </a:cubicBezTo>
                <a:cubicBezTo>
                  <a:pt x="225126" y="176553"/>
                  <a:pt x="224766" y="175475"/>
                  <a:pt x="224766" y="174036"/>
                </a:cubicBezTo>
                <a:cubicBezTo>
                  <a:pt x="224766" y="172598"/>
                  <a:pt x="225485" y="171520"/>
                  <a:pt x="226563" y="170800"/>
                </a:cubicBezTo>
                <a:cubicBezTo>
                  <a:pt x="229798" y="168284"/>
                  <a:pt x="231955" y="164688"/>
                  <a:pt x="231955" y="160733"/>
                </a:cubicBezTo>
                <a:cubicBezTo>
                  <a:pt x="231955" y="154261"/>
                  <a:pt x="228001" y="151385"/>
                  <a:pt x="225126" y="151385"/>
                </a:cubicBezTo>
                <a:cubicBezTo>
                  <a:pt x="222610" y="151385"/>
                  <a:pt x="220812" y="149227"/>
                  <a:pt x="220812" y="146711"/>
                </a:cubicBezTo>
                <a:cubicBezTo>
                  <a:pt x="220812" y="144194"/>
                  <a:pt x="222610" y="142396"/>
                  <a:pt x="225126" y="142396"/>
                </a:cubicBezTo>
                <a:cubicBezTo>
                  <a:pt x="225844" y="142037"/>
                  <a:pt x="230517" y="139520"/>
                  <a:pt x="230517" y="131250"/>
                </a:cubicBezTo>
                <a:cubicBezTo>
                  <a:pt x="230517" y="125138"/>
                  <a:pt x="225485" y="120464"/>
                  <a:pt x="220812" y="120464"/>
                </a:cubicBezTo>
                <a:lnTo>
                  <a:pt x="166538" y="120464"/>
                </a:lnTo>
                <a:cubicBezTo>
                  <a:pt x="165100" y="120464"/>
                  <a:pt x="163662" y="119744"/>
                  <a:pt x="162944" y="118666"/>
                </a:cubicBezTo>
                <a:cubicBezTo>
                  <a:pt x="161865" y="117587"/>
                  <a:pt x="161865" y="116149"/>
                  <a:pt x="162225" y="114711"/>
                </a:cubicBezTo>
                <a:cubicBezTo>
                  <a:pt x="163303" y="110037"/>
                  <a:pt x="166538" y="98172"/>
                  <a:pt x="165100" y="84149"/>
                </a:cubicBezTo>
                <a:cubicBezTo>
                  <a:pt x="163303" y="67610"/>
                  <a:pt x="155755" y="55385"/>
                  <a:pt x="146769" y="55026"/>
                </a:cubicBezTo>
                <a:close/>
                <a:moveTo>
                  <a:pt x="147128" y="46396"/>
                </a:moveTo>
                <a:cubicBezTo>
                  <a:pt x="161146" y="46756"/>
                  <a:pt x="171929" y="61857"/>
                  <a:pt x="173727" y="83430"/>
                </a:cubicBezTo>
                <a:cubicBezTo>
                  <a:pt x="174805" y="94576"/>
                  <a:pt x="173727" y="105003"/>
                  <a:pt x="171929" y="111475"/>
                </a:cubicBezTo>
                <a:lnTo>
                  <a:pt x="220812" y="111475"/>
                </a:lnTo>
                <a:cubicBezTo>
                  <a:pt x="230877" y="111475"/>
                  <a:pt x="239503" y="120823"/>
                  <a:pt x="239503" y="131250"/>
                </a:cubicBezTo>
                <a:cubicBezTo>
                  <a:pt x="239503" y="137722"/>
                  <a:pt x="237346" y="142756"/>
                  <a:pt x="234471" y="146351"/>
                </a:cubicBezTo>
                <a:cubicBezTo>
                  <a:pt x="238065" y="149227"/>
                  <a:pt x="240941" y="154261"/>
                  <a:pt x="240941" y="160733"/>
                </a:cubicBezTo>
                <a:cubicBezTo>
                  <a:pt x="240941" y="165767"/>
                  <a:pt x="238784" y="170800"/>
                  <a:pt x="235190" y="175115"/>
                </a:cubicBezTo>
                <a:cubicBezTo>
                  <a:pt x="237346" y="178351"/>
                  <a:pt x="238425" y="181946"/>
                  <a:pt x="238425" y="186261"/>
                </a:cubicBezTo>
                <a:cubicBezTo>
                  <a:pt x="238425" y="194531"/>
                  <a:pt x="233393" y="202081"/>
                  <a:pt x="225844" y="205677"/>
                </a:cubicBezTo>
                <a:cubicBezTo>
                  <a:pt x="226204" y="207475"/>
                  <a:pt x="226563" y="209272"/>
                  <a:pt x="226563" y="211430"/>
                </a:cubicBezTo>
                <a:cubicBezTo>
                  <a:pt x="226563" y="222576"/>
                  <a:pt x="218296" y="231564"/>
                  <a:pt x="206435" y="232643"/>
                </a:cubicBezTo>
                <a:cubicBezTo>
                  <a:pt x="206435" y="232643"/>
                  <a:pt x="205716" y="233003"/>
                  <a:pt x="204997" y="233003"/>
                </a:cubicBezTo>
                <a:lnTo>
                  <a:pt x="46846" y="233003"/>
                </a:lnTo>
                <a:cubicBezTo>
                  <a:pt x="44330" y="233003"/>
                  <a:pt x="42173" y="230845"/>
                  <a:pt x="42173" y="228688"/>
                </a:cubicBezTo>
                <a:cubicBezTo>
                  <a:pt x="42173" y="226171"/>
                  <a:pt x="44330" y="224014"/>
                  <a:pt x="46846" y="224014"/>
                </a:cubicBezTo>
                <a:lnTo>
                  <a:pt x="54035" y="224014"/>
                </a:lnTo>
                <a:lnTo>
                  <a:pt x="54035" y="146351"/>
                </a:lnTo>
                <a:lnTo>
                  <a:pt x="17373" y="146351"/>
                </a:lnTo>
                <a:cubicBezTo>
                  <a:pt x="14497" y="146351"/>
                  <a:pt x="12700" y="144553"/>
                  <a:pt x="12700" y="142037"/>
                </a:cubicBezTo>
                <a:cubicBezTo>
                  <a:pt x="12700" y="139520"/>
                  <a:pt x="14497" y="137722"/>
                  <a:pt x="17373" y="137722"/>
                </a:cubicBezTo>
                <a:lnTo>
                  <a:pt x="92854" y="137722"/>
                </a:lnTo>
                <a:cubicBezTo>
                  <a:pt x="94651" y="131250"/>
                  <a:pt x="100761" y="125138"/>
                  <a:pt x="107591" y="117587"/>
                </a:cubicBezTo>
                <a:cubicBezTo>
                  <a:pt x="116217" y="108239"/>
                  <a:pt x="125922" y="97452"/>
                  <a:pt x="129876" y="85587"/>
                </a:cubicBezTo>
                <a:cubicBezTo>
                  <a:pt x="131673" y="80194"/>
                  <a:pt x="129157" y="62936"/>
                  <a:pt x="127360" y="53587"/>
                </a:cubicBezTo>
                <a:cubicBezTo>
                  <a:pt x="127000" y="51790"/>
                  <a:pt x="127719" y="49992"/>
                  <a:pt x="129516" y="48913"/>
                </a:cubicBezTo>
                <a:cubicBezTo>
                  <a:pt x="130235" y="48554"/>
                  <a:pt x="135267" y="46037"/>
                  <a:pt x="147128" y="46396"/>
                </a:cubicBezTo>
                <a:close/>
                <a:moveTo>
                  <a:pt x="146485" y="8987"/>
                </a:moveTo>
                <a:cubicBezTo>
                  <a:pt x="70729" y="8987"/>
                  <a:pt x="8976" y="70816"/>
                  <a:pt x="8976" y="146664"/>
                </a:cubicBezTo>
                <a:cubicBezTo>
                  <a:pt x="8976" y="222871"/>
                  <a:pt x="70729" y="284341"/>
                  <a:pt x="146485" y="284341"/>
                </a:cubicBezTo>
                <a:cubicBezTo>
                  <a:pt x="171617" y="284341"/>
                  <a:pt x="196031" y="277870"/>
                  <a:pt x="217214" y="265289"/>
                </a:cubicBezTo>
                <a:cubicBezTo>
                  <a:pt x="218291" y="264570"/>
                  <a:pt x="219727" y="264211"/>
                  <a:pt x="220804" y="264570"/>
                </a:cubicBezTo>
                <a:lnTo>
                  <a:pt x="282198" y="282544"/>
                </a:lnTo>
                <a:lnTo>
                  <a:pt x="264247" y="221074"/>
                </a:lnTo>
                <a:cubicBezTo>
                  <a:pt x="263888" y="219996"/>
                  <a:pt x="264247" y="218558"/>
                  <a:pt x="264606" y="217479"/>
                </a:cubicBezTo>
                <a:cubicBezTo>
                  <a:pt x="277531" y="196271"/>
                  <a:pt x="283993" y="171827"/>
                  <a:pt x="283993" y="146664"/>
                </a:cubicBezTo>
                <a:cubicBezTo>
                  <a:pt x="283993" y="70816"/>
                  <a:pt x="222599" y="8987"/>
                  <a:pt x="146485" y="8987"/>
                </a:cubicBezTo>
                <a:close/>
                <a:moveTo>
                  <a:pt x="146485" y="0"/>
                </a:moveTo>
                <a:cubicBezTo>
                  <a:pt x="227266" y="0"/>
                  <a:pt x="292969" y="66142"/>
                  <a:pt x="292969" y="146664"/>
                </a:cubicBezTo>
                <a:cubicBezTo>
                  <a:pt x="292969" y="172546"/>
                  <a:pt x="286147" y="198068"/>
                  <a:pt x="273222" y="220355"/>
                </a:cubicBezTo>
                <a:lnTo>
                  <a:pt x="292969" y="287576"/>
                </a:lnTo>
                <a:cubicBezTo>
                  <a:pt x="293328" y="289373"/>
                  <a:pt x="292969" y="291171"/>
                  <a:pt x="291533" y="292249"/>
                </a:cubicBezTo>
                <a:cubicBezTo>
                  <a:pt x="290815" y="292968"/>
                  <a:pt x="289738" y="293328"/>
                  <a:pt x="288661" y="293328"/>
                </a:cubicBezTo>
                <a:cubicBezTo>
                  <a:pt x="287943" y="293328"/>
                  <a:pt x="287584" y="293328"/>
                  <a:pt x="287225" y="293328"/>
                </a:cubicBezTo>
                <a:lnTo>
                  <a:pt x="220445" y="273557"/>
                </a:lnTo>
                <a:cubicBezTo>
                  <a:pt x="197826" y="286498"/>
                  <a:pt x="172694" y="293328"/>
                  <a:pt x="146485" y="293328"/>
                </a:cubicBezTo>
                <a:cubicBezTo>
                  <a:pt x="66061" y="293328"/>
                  <a:pt x="0" y="227545"/>
                  <a:pt x="0" y="146664"/>
                </a:cubicBezTo>
                <a:cubicBezTo>
                  <a:pt x="0" y="66142"/>
                  <a:pt x="66061" y="0"/>
                  <a:pt x="146485" y="0"/>
                </a:cubicBezTo>
                <a:close/>
              </a:path>
            </a:pathLst>
          </a:custGeom>
          <a:solidFill>
            <a:schemeClr val="bg1"/>
          </a:solidFill>
          <a:ln>
            <a:noFill/>
          </a:ln>
        </p:spPr>
        <p:txBody>
          <a:bodyPr anchor="ctr"/>
          <a:lstStyle/>
          <a:p>
            <a:endParaRPr lang="en-US" sz="900" dirty="0"/>
          </a:p>
        </p:txBody>
      </p:sp>
      <p:sp>
        <p:nvSpPr>
          <p:cNvPr id="30" name="Freeform 940">
            <a:extLst>
              <a:ext uri="{FF2B5EF4-FFF2-40B4-BE49-F238E27FC236}">
                <a16:creationId xmlns:a16="http://schemas.microsoft.com/office/drawing/2014/main" id="{96CE52B4-D80D-1147-B1DC-49AAF7686E57}"/>
              </a:ext>
            </a:extLst>
          </p:cNvPr>
          <p:cNvSpPr>
            <a:spLocks noChangeAspect="1"/>
          </p:cNvSpPr>
          <p:nvPr/>
        </p:nvSpPr>
        <p:spPr bwMode="auto">
          <a:xfrm>
            <a:off x="1720955" y="4477674"/>
            <a:ext cx="464342" cy="464342"/>
          </a:xfrm>
          <a:custGeom>
            <a:avLst/>
            <a:gdLst>
              <a:gd name="T0" fmla="*/ 10094907 w 293328"/>
              <a:gd name="T1" fmla="*/ 5511422 h 293328"/>
              <a:gd name="T2" fmla="*/ 4550546 w 293328"/>
              <a:gd name="T3" fmla="*/ 4401261 h 293328"/>
              <a:gd name="T4" fmla="*/ 4184428 w 293328"/>
              <a:gd name="T5" fmla="*/ 5798781 h 293328"/>
              <a:gd name="T6" fmla="*/ 5400559 w 293328"/>
              <a:gd name="T7" fmla="*/ 6582348 h 293328"/>
              <a:gd name="T8" fmla="*/ 6472759 w 293328"/>
              <a:gd name="T9" fmla="*/ 5798781 h 293328"/>
              <a:gd name="T10" fmla="*/ 6119705 w 293328"/>
              <a:gd name="T11" fmla="*/ 4401261 h 293328"/>
              <a:gd name="T12" fmla="*/ 5321798 w 293328"/>
              <a:gd name="T13" fmla="*/ 1095835 h 293328"/>
              <a:gd name="T14" fmla="*/ 6224538 w 293328"/>
              <a:gd name="T15" fmla="*/ 1515135 h 293328"/>
              <a:gd name="T16" fmla="*/ 7258088 w 293328"/>
              <a:gd name="T17" fmla="*/ 1764202 h 293328"/>
              <a:gd name="T18" fmla="*/ 7859976 w 293328"/>
              <a:gd name="T19" fmla="*/ 2157309 h 293328"/>
              <a:gd name="T20" fmla="*/ 8461775 w 293328"/>
              <a:gd name="T21" fmla="*/ 3022167 h 293328"/>
              <a:gd name="T22" fmla="*/ 9207529 w 293328"/>
              <a:gd name="T23" fmla="*/ 3703596 h 293328"/>
              <a:gd name="T24" fmla="*/ 9168242 w 293328"/>
              <a:gd name="T25" fmla="*/ 4712642 h 293328"/>
              <a:gd name="T26" fmla="*/ 8815000 w 293328"/>
              <a:gd name="T27" fmla="*/ 4267100 h 293328"/>
              <a:gd name="T28" fmla="*/ 8762695 w 293328"/>
              <a:gd name="T29" fmla="*/ 3677397 h 293328"/>
              <a:gd name="T30" fmla="*/ 8147770 w 293328"/>
              <a:gd name="T31" fmla="*/ 2773181 h 293328"/>
              <a:gd name="T32" fmla="*/ 7624468 w 293328"/>
              <a:gd name="T33" fmla="*/ 2484890 h 293328"/>
              <a:gd name="T34" fmla="*/ 6800175 w 293328"/>
              <a:gd name="T35" fmla="*/ 1711767 h 293328"/>
              <a:gd name="T36" fmla="*/ 5688134 w 293328"/>
              <a:gd name="T37" fmla="*/ 1685538 h 293328"/>
              <a:gd name="T38" fmla="*/ 5112459 w 293328"/>
              <a:gd name="T39" fmla="*/ 1502117 h 293328"/>
              <a:gd name="T40" fmla="*/ 4039633 w 293328"/>
              <a:gd name="T41" fmla="*/ 1724841 h 293328"/>
              <a:gd name="T42" fmla="*/ 3581696 w 293328"/>
              <a:gd name="T43" fmla="*/ 2104830 h 293328"/>
              <a:gd name="T44" fmla="*/ 2561279 w 293328"/>
              <a:gd name="T45" fmla="*/ 2563511 h 293328"/>
              <a:gd name="T46" fmla="*/ 2103257 w 293328"/>
              <a:gd name="T47" fmla="*/ 3585664 h 293328"/>
              <a:gd name="T48" fmla="*/ 1723820 w 293328"/>
              <a:gd name="T49" fmla="*/ 4044268 h 293328"/>
              <a:gd name="T50" fmla="*/ 1501500 w 293328"/>
              <a:gd name="T51" fmla="*/ 5118887 h 293328"/>
              <a:gd name="T52" fmla="*/ 1684654 w 293328"/>
              <a:gd name="T53" fmla="*/ 5695410 h 293328"/>
              <a:gd name="T54" fmla="*/ 1710818 w 293328"/>
              <a:gd name="T55" fmla="*/ 6822380 h 293328"/>
              <a:gd name="T56" fmla="*/ 2495735 w 293328"/>
              <a:gd name="T57" fmla="*/ 7634848 h 293328"/>
              <a:gd name="T58" fmla="*/ 2770578 w 293328"/>
              <a:gd name="T59" fmla="*/ 8159066 h 293328"/>
              <a:gd name="T60" fmla="*/ 3673264 w 293328"/>
              <a:gd name="T61" fmla="*/ 8774958 h 293328"/>
              <a:gd name="T62" fmla="*/ 4261997 w 293328"/>
              <a:gd name="T63" fmla="*/ 8827318 h 293328"/>
              <a:gd name="T64" fmla="*/ 4706832 w 293328"/>
              <a:gd name="T65" fmla="*/ 9181164 h 293328"/>
              <a:gd name="T66" fmla="*/ 3921927 w 293328"/>
              <a:gd name="T67" fmla="*/ 9272849 h 293328"/>
              <a:gd name="T68" fmla="*/ 3280772 w 293328"/>
              <a:gd name="T69" fmla="*/ 8656988 h 293328"/>
              <a:gd name="T70" fmla="*/ 2338782 w 293328"/>
              <a:gd name="T71" fmla="*/ 8316252 h 293328"/>
              <a:gd name="T72" fmla="*/ 1985501 w 293328"/>
              <a:gd name="T73" fmla="*/ 7359697 h 293328"/>
              <a:gd name="T74" fmla="*/ 1422960 w 293328"/>
              <a:gd name="T75" fmla="*/ 6468575 h 293328"/>
              <a:gd name="T76" fmla="*/ 1279018 w 293328"/>
              <a:gd name="T77" fmla="*/ 5760948 h 293328"/>
              <a:gd name="T78" fmla="*/ 1462171 w 293328"/>
              <a:gd name="T79" fmla="*/ 4712642 h 293328"/>
              <a:gd name="T80" fmla="*/ 1409958 w 293328"/>
              <a:gd name="T81" fmla="*/ 3703596 h 293328"/>
              <a:gd name="T82" fmla="*/ 2168654 w 293328"/>
              <a:gd name="T83" fmla="*/ 3022167 h 293328"/>
              <a:gd name="T84" fmla="*/ 2770578 w 293328"/>
              <a:gd name="T85" fmla="*/ 2157309 h 293328"/>
              <a:gd name="T86" fmla="*/ 3372357 w 293328"/>
              <a:gd name="T87" fmla="*/ 1764202 h 293328"/>
              <a:gd name="T88" fmla="*/ 4405936 w 293328"/>
              <a:gd name="T89" fmla="*/ 1515135 h 293328"/>
              <a:gd name="T90" fmla="*/ 5321798 w 293328"/>
              <a:gd name="T91" fmla="*/ 1095835 h 293328"/>
              <a:gd name="T92" fmla="*/ 5165152 w 293328"/>
              <a:gd name="T93" fmla="*/ 10330664 h 293328"/>
              <a:gd name="T94" fmla="*/ 3792097 w 293328"/>
              <a:gd name="T95" fmla="*/ 7705561 h 293328"/>
              <a:gd name="T96" fmla="*/ 3556700 w 293328"/>
              <a:gd name="T97" fmla="*/ 7535724 h 293328"/>
              <a:gd name="T98" fmla="*/ 2563005 w 293328"/>
              <a:gd name="T99" fmla="*/ 4466614 h 293328"/>
              <a:gd name="T100" fmla="*/ 5178176 w 293328"/>
              <a:gd name="T101" fmla="*/ 2546746 h 293328"/>
              <a:gd name="T102" fmla="*/ 7950382 w 293328"/>
              <a:gd name="T103" fmla="*/ 4349099 h 293328"/>
              <a:gd name="T104" fmla="*/ 6799670 w 293328"/>
              <a:gd name="T105" fmla="*/ 5837939 h 293328"/>
              <a:gd name="T106" fmla="*/ 5335118 w 293328"/>
              <a:gd name="T107" fmla="*/ 326516 h 293328"/>
              <a:gd name="T108" fmla="*/ 10617946 w 293328"/>
              <a:gd name="T109" fmla="*/ 5446145 h 293328"/>
              <a:gd name="T110" fmla="*/ 0 w 293328"/>
              <a:gd name="T111" fmla="*/ 5328636 h 29332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93328" h="293328">
                <a:moveTo>
                  <a:pt x="277852" y="151696"/>
                </a:moveTo>
                <a:cubicBezTo>
                  <a:pt x="210908" y="157088"/>
                  <a:pt x="156922" y="211009"/>
                  <a:pt x="151523" y="277870"/>
                </a:cubicBezTo>
                <a:lnTo>
                  <a:pt x="277852" y="151696"/>
                </a:lnTo>
                <a:close/>
                <a:moveTo>
                  <a:pt x="146844" y="81959"/>
                </a:moveTo>
                <a:lnTo>
                  <a:pt x="128489" y="118625"/>
                </a:lnTo>
                <a:cubicBezTo>
                  <a:pt x="127769" y="120423"/>
                  <a:pt x="126689" y="121141"/>
                  <a:pt x="125249" y="121141"/>
                </a:cubicBezTo>
                <a:lnTo>
                  <a:pt x="84579" y="127252"/>
                </a:lnTo>
                <a:lnTo>
                  <a:pt x="114092" y="155651"/>
                </a:lnTo>
                <a:cubicBezTo>
                  <a:pt x="114812" y="156729"/>
                  <a:pt x="115532" y="158167"/>
                  <a:pt x="115172" y="159605"/>
                </a:cubicBezTo>
                <a:lnTo>
                  <a:pt x="108334" y="200225"/>
                </a:lnTo>
                <a:lnTo>
                  <a:pt x="144685" y="181173"/>
                </a:lnTo>
                <a:cubicBezTo>
                  <a:pt x="145764" y="180454"/>
                  <a:pt x="147204" y="180454"/>
                  <a:pt x="148644" y="181173"/>
                </a:cubicBezTo>
                <a:lnTo>
                  <a:pt x="175997" y="195552"/>
                </a:lnTo>
                <a:cubicBezTo>
                  <a:pt x="178156" y="193035"/>
                  <a:pt x="180316" y="190160"/>
                  <a:pt x="182835" y="188003"/>
                </a:cubicBezTo>
                <a:lnTo>
                  <a:pt x="178156" y="159605"/>
                </a:lnTo>
                <a:cubicBezTo>
                  <a:pt x="177797" y="158167"/>
                  <a:pt x="178516" y="156729"/>
                  <a:pt x="179596" y="155651"/>
                </a:cubicBezTo>
                <a:lnTo>
                  <a:pt x="208749" y="127252"/>
                </a:lnTo>
                <a:lnTo>
                  <a:pt x="168439" y="121141"/>
                </a:lnTo>
                <a:cubicBezTo>
                  <a:pt x="166639" y="121141"/>
                  <a:pt x="165560" y="120423"/>
                  <a:pt x="164840" y="118625"/>
                </a:cubicBezTo>
                <a:lnTo>
                  <a:pt x="146844" y="81959"/>
                </a:lnTo>
                <a:close/>
                <a:moveTo>
                  <a:pt x="146477" y="30162"/>
                </a:moveTo>
                <a:cubicBezTo>
                  <a:pt x="150798" y="30162"/>
                  <a:pt x="155119" y="31965"/>
                  <a:pt x="158360" y="35212"/>
                </a:cubicBezTo>
                <a:lnTo>
                  <a:pt x="162681" y="40261"/>
                </a:lnTo>
                <a:cubicBezTo>
                  <a:pt x="165202" y="42425"/>
                  <a:pt x="168443" y="43147"/>
                  <a:pt x="171324" y="41704"/>
                </a:cubicBezTo>
                <a:lnTo>
                  <a:pt x="177806" y="39179"/>
                </a:lnTo>
                <a:cubicBezTo>
                  <a:pt x="181767" y="37376"/>
                  <a:pt x="186448" y="37015"/>
                  <a:pt x="190769" y="38818"/>
                </a:cubicBezTo>
                <a:cubicBezTo>
                  <a:pt x="195091" y="40622"/>
                  <a:pt x="197972" y="44229"/>
                  <a:pt x="199772" y="48557"/>
                </a:cubicBezTo>
                <a:lnTo>
                  <a:pt x="202293" y="54688"/>
                </a:lnTo>
                <a:cubicBezTo>
                  <a:pt x="203373" y="57574"/>
                  <a:pt x="206254" y="59377"/>
                  <a:pt x="209495" y="59738"/>
                </a:cubicBezTo>
                <a:lnTo>
                  <a:pt x="216337" y="59377"/>
                </a:lnTo>
                <a:cubicBezTo>
                  <a:pt x="220658" y="59377"/>
                  <a:pt x="225339" y="60820"/>
                  <a:pt x="228580" y="64427"/>
                </a:cubicBezTo>
                <a:cubicBezTo>
                  <a:pt x="231461" y="67673"/>
                  <a:pt x="233622" y="72001"/>
                  <a:pt x="233262" y="76329"/>
                </a:cubicBezTo>
                <a:lnTo>
                  <a:pt x="232902" y="83182"/>
                </a:lnTo>
                <a:cubicBezTo>
                  <a:pt x="232902" y="86428"/>
                  <a:pt x="235062" y="89314"/>
                  <a:pt x="237943" y="90396"/>
                </a:cubicBezTo>
                <a:lnTo>
                  <a:pt x="244425" y="92920"/>
                </a:lnTo>
                <a:cubicBezTo>
                  <a:pt x="248386" y="94363"/>
                  <a:pt x="251987" y="97609"/>
                  <a:pt x="253428" y="101937"/>
                </a:cubicBezTo>
                <a:cubicBezTo>
                  <a:pt x="255228" y="105905"/>
                  <a:pt x="255228" y="110954"/>
                  <a:pt x="253428" y="114922"/>
                </a:cubicBezTo>
                <a:lnTo>
                  <a:pt x="250547" y="121414"/>
                </a:lnTo>
                <a:cubicBezTo>
                  <a:pt x="249106" y="123939"/>
                  <a:pt x="249826" y="127546"/>
                  <a:pt x="252347" y="129710"/>
                </a:cubicBezTo>
                <a:cubicBezTo>
                  <a:pt x="254148" y="131513"/>
                  <a:pt x="254148" y="134399"/>
                  <a:pt x="252347" y="136202"/>
                </a:cubicBezTo>
                <a:cubicBezTo>
                  <a:pt x="250907" y="137645"/>
                  <a:pt x="248026" y="138005"/>
                  <a:pt x="246225" y="136202"/>
                </a:cubicBezTo>
                <a:cubicBezTo>
                  <a:pt x="241184" y="131513"/>
                  <a:pt x="239744" y="123939"/>
                  <a:pt x="242624" y="117447"/>
                </a:cubicBezTo>
                <a:lnTo>
                  <a:pt x="245145" y="111315"/>
                </a:lnTo>
                <a:cubicBezTo>
                  <a:pt x="246225" y="109512"/>
                  <a:pt x="246225" y="107348"/>
                  <a:pt x="245145" y="105544"/>
                </a:cubicBezTo>
                <a:cubicBezTo>
                  <a:pt x="244785" y="103380"/>
                  <a:pt x="242984" y="101937"/>
                  <a:pt x="241184" y="101216"/>
                </a:cubicBezTo>
                <a:lnTo>
                  <a:pt x="234702" y="98691"/>
                </a:lnTo>
                <a:cubicBezTo>
                  <a:pt x="228220" y="96167"/>
                  <a:pt x="223899" y="90035"/>
                  <a:pt x="224259" y="82821"/>
                </a:cubicBezTo>
                <a:lnTo>
                  <a:pt x="224259" y="76329"/>
                </a:lnTo>
                <a:cubicBezTo>
                  <a:pt x="224259" y="74165"/>
                  <a:pt x="223539" y="72001"/>
                  <a:pt x="222098" y="70558"/>
                </a:cubicBezTo>
                <a:cubicBezTo>
                  <a:pt x="220658" y="69116"/>
                  <a:pt x="218497" y="68394"/>
                  <a:pt x="216337" y="68394"/>
                </a:cubicBezTo>
                <a:lnTo>
                  <a:pt x="209855" y="68394"/>
                </a:lnTo>
                <a:cubicBezTo>
                  <a:pt x="202653" y="68755"/>
                  <a:pt x="196531" y="64427"/>
                  <a:pt x="194010" y="57934"/>
                </a:cubicBezTo>
                <a:lnTo>
                  <a:pt x="191490" y="51442"/>
                </a:lnTo>
                <a:cubicBezTo>
                  <a:pt x="190769" y="49639"/>
                  <a:pt x="189329" y="47835"/>
                  <a:pt x="187168" y="47114"/>
                </a:cubicBezTo>
                <a:cubicBezTo>
                  <a:pt x="185368" y="46393"/>
                  <a:pt x="183207" y="46393"/>
                  <a:pt x="181407" y="47475"/>
                </a:cubicBezTo>
                <a:lnTo>
                  <a:pt x="174925" y="49999"/>
                </a:lnTo>
                <a:cubicBezTo>
                  <a:pt x="168803" y="52885"/>
                  <a:pt x="161241" y="51442"/>
                  <a:pt x="156560" y="46393"/>
                </a:cubicBezTo>
                <a:lnTo>
                  <a:pt x="151878" y="41343"/>
                </a:lnTo>
                <a:cubicBezTo>
                  <a:pt x="150438" y="39900"/>
                  <a:pt x="148637" y="39179"/>
                  <a:pt x="146477" y="39179"/>
                </a:cubicBezTo>
                <a:cubicBezTo>
                  <a:pt x="144316" y="39179"/>
                  <a:pt x="142155" y="39900"/>
                  <a:pt x="140715" y="41343"/>
                </a:cubicBezTo>
                <a:lnTo>
                  <a:pt x="136034" y="46393"/>
                </a:lnTo>
                <a:cubicBezTo>
                  <a:pt x="131352" y="51442"/>
                  <a:pt x="123790" y="52885"/>
                  <a:pt x="117308" y="49999"/>
                </a:cubicBezTo>
                <a:lnTo>
                  <a:pt x="111186" y="47475"/>
                </a:lnTo>
                <a:cubicBezTo>
                  <a:pt x="109386" y="46393"/>
                  <a:pt x="107225" y="46393"/>
                  <a:pt x="105425" y="47114"/>
                </a:cubicBezTo>
                <a:cubicBezTo>
                  <a:pt x="103264" y="47835"/>
                  <a:pt x="101824" y="49639"/>
                  <a:pt x="101104" y="51442"/>
                </a:cubicBezTo>
                <a:lnTo>
                  <a:pt x="98583" y="57934"/>
                </a:lnTo>
                <a:cubicBezTo>
                  <a:pt x="96062" y="64427"/>
                  <a:pt x="89940" y="68755"/>
                  <a:pt x="82738" y="68394"/>
                </a:cubicBezTo>
                <a:lnTo>
                  <a:pt x="76256" y="68394"/>
                </a:lnTo>
                <a:cubicBezTo>
                  <a:pt x="74096" y="68394"/>
                  <a:pt x="71935" y="69116"/>
                  <a:pt x="70495" y="70558"/>
                </a:cubicBezTo>
                <a:cubicBezTo>
                  <a:pt x="69054" y="72001"/>
                  <a:pt x="68334" y="74165"/>
                  <a:pt x="68334" y="76329"/>
                </a:cubicBezTo>
                <a:lnTo>
                  <a:pt x="68694" y="82821"/>
                </a:lnTo>
                <a:cubicBezTo>
                  <a:pt x="68694" y="90035"/>
                  <a:pt x="64373" y="96167"/>
                  <a:pt x="57891" y="98691"/>
                </a:cubicBezTo>
                <a:lnTo>
                  <a:pt x="51409" y="101216"/>
                </a:lnTo>
                <a:cubicBezTo>
                  <a:pt x="49609" y="101937"/>
                  <a:pt x="47808" y="103380"/>
                  <a:pt x="47088" y="105544"/>
                </a:cubicBezTo>
                <a:cubicBezTo>
                  <a:pt x="46368" y="107348"/>
                  <a:pt x="46368" y="109512"/>
                  <a:pt x="47448" y="111315"/>
                </a:cubicBezTo>
                <a:lnTo>
                  <a:pt x="49969" y="117447"/>
                </a:lnTo>
                <a:cubicBezTo>
                  <a:pt x="52850" y="123939"/>
                  <a:pt x="51409" y="131513"/>
                  <a:pt x="46368" y="136202"/>
                </a:cubicBezTo>
                <a:lnTo>
                  <a:pt x="41326" y="140891"/>
                </a:lnTo>
                <a:cubicBezTo>
                  <a:pt x="39886" y="142334"/>
                  <a:pt x="39166" y="144498"/>
                  <a:pt x="39166" y="146301"/>
                </a:cubicBezTo>
                <a:cubicBezTo>
                  <a:pt x="39166" y="148465"/>
                  <a:pt x="39886" y="150629"/>
                  <a:pt x="41326" y="152072"/>
                </a:cubicBezTo>
                <a:lnTo>
                  <a:pt x="46368" y="156761"/>
                </a:lnTo>
                <a:cubicBezTo>
                  <a:pt x="51409" y="161450"/>
                  <a:pt x="52850" y="169024"/>
                  <a:pt x="49969" y="175155"/>
                </a:cubicBezTo>
                <a:lnTo>
                  <a:pt x="47448" y="181648"/>
                </a:lnTo>
                <a:cubicBezTo>
                  <a:pt x="46368" y="183451"/>
                  <a:pt x="46368" y="185615"/>
                  <a:pt x="47088" y="187779"/>
                </a:cubicBezTo>
                <a:cubicBezTo>
                  <a:pt x="47808" y="189583"/>
                  <a:pt x="49609" y="191025"/>
                  <a:pt x="51409" y="191747"/>
                </a:cubicBezTo>
                <a:lnTo>
                  <a:pt x="57891" y="194271"/>
                </a:lnTo>
                <a:cubicBezTo>
                  <a:pt x="64373" y="196796"/>
                  <a:pt x="68694" y="202928"/>
                  <a:pt x="68694" y="210141"/>
                </a:cubicBezTo>
                <a:lnTo>
                  <a:pt x="68334" y="216994"/>
                </a:lnTo>
                <a:cubicBezTo>
                  <a:pt x="68334" y="218798"/>
                  <a:pt x="69054" y="220962"/>
                  <a:pt x="70495" y="222405"/>
                </a:cubicBezTo>
                <a:cubicBezTo>
                  <a:pt x="71935" y="223847"/>
                  <a:pt x="74096" y="224929"/>
                  <a:pt x="76256" y="224569"/>
                </a:cubicBezTo>
                <a:lnTo>
                  <a:pt x="82738" y="224569"/>
                </a:lnTo>
                <a:cubicBezTo>
                  <a:pt x="89940" y="224569"/>
                  <a:pt x="96062" y="228536"/>
                  <a:pt x="98583" y="235028"/>
                </a:cubicBezTo>
                <a:lnTo>
                  <a:pt x="101104" y="241521"/>
                </a:lnTo>
                <a:cubicBezTo>
                  <a:pt x="101824" y="243324"/>
                  <a:pt x="103264" y="245127"/>
                  <a:pt x="105425" y="245488"/>
                </a:cubicBezTo>
                <a:cubicBezTo>
                  <a:pt x="107225" y="246570"/>
                  <a:pt x="109386" y="246570"/>
                  <a:pt x="111186" y="245488"/>
                </a:cubicBezTo>
                <a:lnTo>
                  <a:pt x="117308" y="242963"/>
                </a:lnTo>
                <a:cubicBezTo>
                  <a:pt x="123790" y="240078"/>
                  <a:pt x="131352" y="241521"/>
                  <a:pt x="136034" y="246570"/>
                </a:cubicBezTo>
                <a:cubicBezTo>
                  <a:pt x="137834" y="248373"/>
                  <a:pt x="137834" y="251259"/>
                  <a:pt x="136034" y="252702"/>
                </a:cubicBezTo>
                <a:cubicBezTo>
                  <a:pt x="134233" y="254505"/>
                  <a:pt x="131352" y="254505"/>
                  <a:pt x="129552" y="252702"/>
                </a:cubicBezTo>
                <a:cubicBezTo>
                  <a:pt x="127391" y="250177"/>
                  <a:pt x="123790" y="249816"/>
                  <a:pt x="121269" y="250898"/>
                </a:cubicBezTo>
                <a:lnTo>
                  <a:pt x="114788" y="253784"/>
                </a:lnTo>
                <a:cubicBezTo>
                  <a:pt x="112627" y="254866"/>
                  <a:pt x="110466" y="255226"/>
                  <a:pt x="107946" y="255226"/>
                </a:cubicBezTo>
                <a:cubicBezTo>
                  <a:pt x="105785" y="255226"/>
                  <a:pt x="103624" y="254866"/>
                  <a:pt x="101824" y="253784"/>
                </a:cubicBezTo>
                <a:cubicBezTo>
                  <a:pt x="97863" y="251980"/>
                  <a:pt x="94262" y="248734"/>
                  <a:pt x="92821" y="244406"/>
                </a:cubicBezTo>
                <a:lnTo>
                  <a:pt x="90300" y="238274"/>
                </a:lnTo>
                <a:cubicBezTo>
                  <a:pt x="89220" y="235389"/>
                  <a:pt x="85979" y="233225"/>
                  <a:pt x="83098" y="233225"/>
                </a:cubicBezTo>
                <a:lnTo>
                  <a:pt x="76256" y="233586"/>
                </a:lnTo>
                <a:cubicBezTo>
                  <a:pt x="71935" y="233586"/>
                  <a:pt x="67254" y="231782"/>
                  <a:pt x="64373" y="228897"/>
                </a:cubicBezTo>
                <a:cubicBezTo>
                  <a:pt x="60772" y="225651"/>
                  <a:pt x="59332" y="220962"/>
                  <a:pt x="59332" y="216634"/>
                </a:cubicBezTo>
                <a:lnTo>
                  <a:pt x="59692" y="209781"/>
                </a:lnTo>
                <a:cubicBezTo>
                  <a:pt x="59692" y="206535"/>
                  <a:pt x="57891" y="203649"/>
                  <a:pt x="54650" y="202567"/>
                </a:cubicBezTo>
                <a:lnTo>
                  <a:pt x="48528" y="200042"/>
                </a:lnTo>
                <a:cubicBezTo>
                  <a:pt x="44207" y="198239"/>
                  <a:pt x="40606" y="195354"/>
                  <a:pt x="38806" y="191025"/>
                </a:cubicBezTo>
                <a:cubicBezTo>
                  <a:pt x="37005" y="186697"/>
                  <a:pt x="37365" y="182008"/>
                  <a:pt x="39166" y="178041"/>
                </a:cubicBezTo>
                <a:lnTo>
                  <a:pt x="41686" y="171549"/>
                </a:lnTo>
                <a:cubicBezTo>
                  <a:pt x="43487" y="168663"/>
                  <a:pt x="42407" y="165417"/>
                  <a:pt x="40246" y="162892"/>
                </a:cubicBezTo>
                <a:lnTo>
                  <a:pt x="35205" y="158564"/>
                </a:lnTo>
                <a:cubicBezTo>
                  <a:pt x="32324" y="155318"/>
                  <a:pt x="30163" y="150990"/>
                  <a:pt x="30163" y="146301"/>
                </a:cubicBezTo>
                <a:cubicBezTo>
                  <a:pt x="30163" y="141973"/>
                  <a:pt x="32324" y="137645"/>
                  <a:pt x="35205" y="134399"/>
                </a:cubicBezTo>
                <a:lnTo>
                  <a:pt x="40246" y="129710"/>
                </a:lnTo>
                <a:cubicBezTo>
                  <a:pt x="42407" y="127546"/>
                  <a:pt x="43487" y="123939"/>
                  <a:pt x="41686" y="121414"/>
                </a:cubicBezTo>
                <a:lnTo>
                  <a:pt x="39166" y="114922"/>
                </a:lnTo>
                <a:cubicBezTo>
                  <a:pt x="37365" y="110954"/>
                  <a:pt x="37005" y="105905"/>
                  <a:pt x="38806" y="101937"/>
                </a:cubicBezTo>
                <a:cubicBezTo>
                  <a:pt x="40606" y="97609"/>
                  <a:pt x="44207" y="94363"/>
                  <a:pt x="48528" y="92920"/>
                </a:cubicBezTo>
                <a:lnTo>
                  <a:pt x="54650" y="90396"/>
                </a:lnTo>
                <a:cubicBezTo>
                  <a:pt x="57891" y="89314"/>
                  <a:pt x="59692" y="86428"/>
                  <a:pt x="59692" y="83182"/>
                </a:cubicBezTo>
                <a:lnTo>
                  <a:pt x="59332" y="76329"/>
                </a:lnTo>
                <a:cubicBezTo>
                  <a:pt x="59332" y="71640"/>
                  <a:pt x="60772" y="67673"/>
                  <a:pt x="64373" y="64427"/>
                </a:cubicBezTo>
                <a:cubicBezTo>
                  <a:pt x="67254" y="60820"/>
                  <a:pt x="71575" y="59377"/>
                  <a:pt x="76256" y="59377"/>
                </a:cubicBezTo>
                <a:lnTo>
                  <a:pt x="83098" y="59738"/>
                </a:lnTo>
                <a:cubicBezTo>
                  <a:pt x="86339" y="59377"/>
                  <a:pt x="89220" y="57574"/>
                  <a:pt x="90300" y="54688"/>
                </a:cubicBezTo>
                <a:lnTo>
                  <a:pt x="92821" y="48557"/>
                </a:lnTo>
                <a:cubicBezTo>
                  <a:pt x="94262" y="44229"/>
                  <a:pt x="97863" y="40622"/>
                  <a:pt x="101824" y="38818"/>
                </a:cubicBezTo>
                <a:cubicBezTo>
                  <a:pt x="105785" y="37015"/>
                  <a:pt x="110826" y="37376"/>
                  <a:pt x="114788" y="39179"/>
                </a:cubicBezTo>
                <a:lnTo>
                  <a:pt x="121269" y="41704"/>
                </a:lnTo>
                <a:cubicBezTo>
                  <a:pt x="124150" y="43147"/>
                  <a:pt x="127391" y="42425"/>
                  <a:pt x="129552" y="40261"/>
                </a:cubicBezTo>
                <a:lnTo>
                  <a:pt x="134233" y="35212"/>
                </a:lnTo>
                <a:cubicBezTo>
                  <a:pt x="137474" y="31965"/>
                  <a:pt x="141795" y="30162"/>
                  <a:pt x="146477" y="30162"/>
                </a:cubicBezTo>
                <a:close/>
                <a:moveTo>
                  <a:pt x="146844" y="8987"/>
                </a:moveTo>
                <a:cubicBezTo>
                  <a:pt x="70543" y="8987"/>
                  <a:pt x="8638" y="70816"/>
                  <a:pt x="8638" y="146664"/>
                </a:cubicBezTo>
                <a:cubicBezTo>
                  <a:pt x="8638" y="221434"/>
                  <a:pt x="68383" y="282184"/>
                  <a:pt x="142165" y="284341"/>
                </a:cubicBezTo>
                <a:cubicBezTo>
                  <a:pt x="143245" y="253786"/>
                  <a:pt x="153682" y="225747"/>
                  <a:pt x="170598" y="202741"/>
                </a:cubicBezTo>
                <a:lnTo>
                  <a:pt x="146844" y="189800"/>
                </a:lnTo>
                <a:lnTo>
                  <a:pt x="104375" y="212087"/>
                </a:lnTo>
                <a:cubicBezTo>
                  <a:pt x="103655" y="212447"/>
                  <a:pt x="102935" y="212806"/>
                  <a:pt x="102215" y="212806"/>
                </a:cubicBezTo>
                <a:cubicBezTo>
                  <a:pt x="101495" y="212806"/>
                  <a:pt x="100416" y="212447"/>
                  <a:pt x="99696" y="211728"/>
                </a:cubicBezTo>
                <a:cubicBezTo>
                  <a:pt x="98256" y="211009"/>
                  <a:pt x="97536" y="209212"/>
                  <a:pt x="97896" y="207414"/>
                </a:cubicBezTo>
                <a:lnTo>
                  <a:pt x="105814" y="160683"/>
                </a:lnTo>
                <a:lnTo>
                  <a:pt x="71982" y="127252"/>
                </a:lnTo>
                <a:cubicBezTo>
                  <a:pt x="70543" y="126174"/>
                  <a:pt x="70183" y="124377"/>
                  <a:pt x="70543" y="122939"/>
                </a:cubicBezTo>
                <a:cubicBezTo>
                  <a:pt x="71263" y="121141"/>
                  <a:pt x="72702" y="119704"/>
                  <a:pt x="74142" y="119704"/>
                </a:cubicBezTo>
                <a:lnTo>
                  <a:pt x="121650" y="112874"/>
                </a:lnTo>
                <a:lnTo>
                  <a:pt x="142525" y="70097"/>
                </a:lnTo>
                <a:cubicBezTo>
                  <a:pt x="143965" y="66861"/>
                  <a:pt x="149004" y="66861"/>
                  <a:pt x="150803" y="70097"/>
                </a:cubicBezTo>
                <a:lnTo>
                  <a:pt x="171678" y="112874"/>
                </a:lnTo>
                <a:lnTo>
                  <a:pt x="218826" y="119704"/>
                </a:lnTo>
                <a:cubicBezTo>
                  <a:pt x="220626" y="119704"/>
                  <a:pt x="222066" y="121141"/>
                  <a:pt x="222426" y="122939"/>
                </a:cubicBezTo>
                <a:cubicBezTo>
                  <a:pt x="223145" y="124377"/>
                  <a:pt x="222426" y="126174"/>
                  <a:pt x="221706" y="127252"/>
                </a:cubicBezTo>
                <a:lnTo>
                  <a:pt x="187154" y="160683"/>
                </a:lnTo>
                <a:lnTo>
                  <a:pt x="190753" y="180095"/>
                </a:lnTo>
                <a:cubicBezTo>
                  <a:pt x="215587" y="157448"/>
                  <a:pt x="248339" y="143429"/>
                  <a:pt x="284690" y="142350"/>
                </a:cubicBezTo>
                <a:cubicBezTo>
                  <a:pt x="282171" y="68659"/>
                  <a:pt x="221346" y="8987"/>
                  <a:pt x="146844" y="8987"/>
                </a:cubicBezTo>
                <a:close/>
                <a:moveTo>
                  <a:pt x="146844" y="0"/>
                </a:moveTo>
                <a:cubicBezTo>
                  <a:pt x="227464" y="0"/>
                  <a:pt x="293328" y="66143"/>
                  <a:pt x="293328" y="146664"/>
                </a:cubicBezTo>
                <a:cubicBezTo>
                  <a:pt x="293328" y="148102"/>
                  <a:pt x="292968" y="149180"/>
                  <a:pt x="292248" y="149899"/>
                </a:cubicBezTo>
                <a:lnTo>
                  <a:pt x="149723" y="292249"/>
                </a:lnTo>
                <a:cubicBezTo>
                  <a:pt x="149004" y="292968"/>
                  <a:pt x="147564" y="293328"/>
                  <a:pt x="146844" y="293328"/>
                </a:cubicBezTo>
                <a:cubicBezTo>
                  <a:pt x="65864" y="293328"/>
                  <a:pt x="0" y="227545"/>
                  <a:pt x="0" y="146664"/>
                </a:cubicBezTo>
                <a:cubicBezTo>
                  <a:pt x="0" y="66143"/>
                  <a:pt x="65864" y="0"/>
                  <a:pt x="146844" y="0"/>
                </a:cubicBezTo>
                <a:close/>
              </a:path>
            </a:pathLst>
          </a:custGeom>
          <a:solidFill>
            <a:schemeClr val="bg1"/>
          </a:solidFill>
          <a:ln>
            <a:noFill/>
          </a:ln>
        </p:spPr>
        <p:txBody>
          <a:bodyPr anchor="ctr"/>
          <a:lstStyle/>
          <a:p>
            <a:endParaRPr lang="en-US" sz="900" dirty="0"/>
          </a:p>
        </p:txBody>
      </p:sp>
      <p:sp>
        <p:nvSpPr>
          <p:cNvPr id="31" name="Freeform 941">
            <a:extLst>
              <a:ext uri="{FF2B5EF4-FFF2-40B4-BE49-F238E27FC236}">
                <a16:creationId xmlns:a16="http://schemas.microsoft.com/office/drawing/2014/main" id="{4C26584C-397E-F84B-B64F-18DC7940140E}"/>
              </a:ext>
            </a:extLst>
          </p:cNvPr>
          <p:cNvSpPr>
            <a:spLocks noChangeAspect="1"/>
          </p:cNvSpPr>
          <p:nvPr/>
        </p:nvSpPr>
        <p:spPr bwMode="auto">
          <a:xfrm>
            <a:off x="4482871" y="4474883"/>
            <a:ext cx="464342" cy="464342"/>
          </a:xfrm>
          <a:custGeom>
            <a:avLst/>
            <a:gdLst>
              <a:gd name="T0" fmla="*/ 8791151 w 293297"/>
              <a:gd name="T1" fmla="*/ 9873534 h 293328"/>
              <a:gd name="T2" fmla="*/ 9563036 w 293297"/>
              <a:gd name="T3" fmla="*/ 10265362 h 293328"/>
              <a:gd name="T4" fmla="*/ 10347942 w 293297"/>
              <a:gd name="T5" fmla="*/ 9364179 h 293328"/>
              <a:gd name="T6" fmla="*/ 9876978 w 293297"/>
              <a:gd name="T7" fmla="*/ 8776513 h 293328"/>
              <a:gd name="T8" fmla="*/ 7260594 w 293297"/>
              <a:gd name="T9" fmla="*/ 8358578 h 293328"/>
              <a:gd name="T10" fmla="*/ 9654586 w 293297"/>
              <a:gd name="T11" fmla="*/ 8554467 h 293328"/>
              <a:gd name="T12" fmla="*/ 7208277 w 293297"/>
              <a:gd name="T13" fmla="*/ 6660746 h 293328"/>
              <a:gd name="T14" fmla="*/ 6671911 w 293297"/>
              <a:gd name="T15" fmla="*/ 7209250 h 293328"/>
              <a:gd name="T16" fmla="*/ 7862355 w 293297"/>
              <a:gd name="T17" fmla="*/ 7313723 h 293328"/>
              <a:gd name="T18" fmla="*/ 4099798 w 293297"/>
              <a:gd name="T19" fmla="*/ 2969551 h 293328"/>
              <a:gd name="T20" fmla="*/ 4099798 w 293297"/>
              <a:gd name="T21" fmla="*/ 4156033 h 293328"/>
              <a:gd name="T22" fmla="*/ 4099798 w 293297"/>
              <a:gd name="T23" fmla="*/ 2969551 h 293328"/>
              <a:gd name="T24" fmla="*/ 5010500 w 293297"/>
              <a:gd name="T25" fmla="*/ 3562779 h 293328"/>
              <a:gd name="T26" fmla="*/ 3175872 w 293297"/>
              <a:gd name="T27" fmla="*/ 3562779 h 293328"/>
              <a:gd name="T28" fmla="*/ 4122180 w 293297"/>
              <a:gd name="T29" fmla="*/ 1872354 h 293328"/>
              <a:gd name="T30" fmla="*/ 2417047 w 293297"/>
              <a:gd name="T31" fmla="*/ 3579292 h 293328"/>
              <a:gd name="T32" fmla="*/ 4122180 w 293297"/>
              <a:gd name="T33" fmla="*/ 5995078 h 293328"/>
              <a:gd name="T34" fmla="*/ 5328810 w 293297"/>
              <a:gd name="T35" fmla="*/ 2371298 h 293328"/>
              <a:gd name="T36" fmla="*/ 4122180 w 293297"/>
              <a:gd name="T37" fmla="*/ 1557292 h 293328"/>
              <a:gd name="T38" fmla="*/ 5551781 w 293297"/>
              <a:gd name="T39" fmla="*/ 5010397 h 293328"/>
              <a:gd name="T40" fmla="*/ 6181360 w 293297"/>
              <a:gd name="T41" fmla="*/ 6060737 h 293328"/>
              <a:gd name="T42" fmla="*/ 6181360 w 293297"/>
              <a:gd name="T43" fmla="*/ 6389016 h 293328"/>
              <a:gd name="T44" fmla="*/ 1905551 w 293297"/>
              <a:gd name="T45" fmla="*/ 6231438 h 293328"/>
              <a:gd name="T46" fmla="*/ 3728613 w 293297"/>
              <a:gd name="T47" fmla="*/ 6060737 h 293328"/>
              <a:gd name="T48" fmla="*/ 2692503 w 293297"/>
              <a:gd name="T49" fmla="*/ 2148102 h 293328"/>
              <a:gd name="T50" fmla="*/ 4068543 w 293297"/>
              <a:gd name="T51" fmla="*/ 326516 h 293328"/>
              <a:gd name="T52" fmla="*/ 313994 w 293297"/>
              <a:gd name="T53" fmla="*/ 4074791 h 293328"/>
              <a:gd name="T54" fmla="*/ 4068543 w 293297"/>
              <a:gd name="T55" fmla="*/ 7810025 h 293328"/>
              <a:gd name="T56" fmla="*/ 7823107 w 293297"/>
              <a:gd name="T57" fmla="*/ 4074791 h 293328"/>
              <a:gd name="T58" fmla="*/ 4068543 w 293297"/>
              <a:gd name="T59" fmla="*/ 326516 h 293328"/>
              <a:gd name="T60" fmla="*/ 6946623 w 293297"/>
              <a:gd name="T61" fmla="*/ 1188447 h 293328"/>
              <a:gd name="T62" fmla="*/ 7404468 w 293297"/>
              <a:gd name="T63" fmla="*/ 6399509 h 293328"/>
              <a:gd name="T64" fmla="*/ 8241734 w 293297"/>
              <a:gd name="T65" fmla="*/ 6921938 h 293328"/>
              <a:gd name="T66" fmla="*/ 10491898 w 293297"/>
              <a:gd name="T67" fmla="*/ 8946261 h 293328"/>
              <a:gd name="T68" fmla="*/ 9785448 w 293297"/>
              <a:gd name="T69" fmla="*/ 10487389 h 293328"/>
              <a:gd name="T70" fmla="*/ 8948185 w 293297"/>
              <a:gd name="T71" fmla="*/ 10487389 h 293328"/>
              <a:gd name="T72" fmla="*/ 6933476 w 293297"/>
              <a:gd name="T73" fmla="*/ 8241038 h 293328"/>
              <a:gd name="T74" fmla="*/ 6410235 w 293297"/>
              <a:gd name="T75" fmla="*/ 7405158 h 293328"/>
              <a:gd name="T76" fmla="*/ 1190544 w 293297"/>
              <a:gd name="T77" fmla="*/ 6948058 h 293328"/>
              <a:gd name="T78" fmla="*/ 1190544 w 293297"/>
              <a:gd name="T79" fmla="*/ 1188447 h 29332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297" h="293328">
                <a:moveTo>
                  <a:pt x="271538" y="241564"/>
                </a:moveTo>
                <a:lnTo>
                  <a:pt x="241687" y="271759"/>
                </a:lnTo>
                <a:lnTo>
                  <a:pt x="252117" y="282544"/>
                </a:lnTo>
                <a:cubicBezTo>
                  <a:pt x="254994" y="285419"/>
                  <a:pt x="259670" y="285419"/>
                  <a:pt x="262906" y="282544"/>
                </a:cubicBezTo>
                <a:lnTo>
                  <a:pt x="282328" y="262773"/>
                </a:lnTo>
                <a:cubicBezTo>
                  <a:pt x="283766" y="261694"/>
                  <a:pt x="284486" y="259537"/>
                  <a:pt x="284486" y="257740"/>
                </a:cubicBezTo>
                <a:cubicBezTo>
                  <a:pt x="284486" y="255583"/>
                  <a:pt x="283766" y="253786"/>
                  <a:pt x="282328" y="252348"/>
                </a:cubicBezTo>
                <a:lnTo>
                  <a:pt x="271538" y="241564"/>
                </a:lnTo>
                <a:close/>
                <a:moveTo>
                  <a:pt x="229818" y="200225"/>
                </a:moveTo>
                <a:lnTo>
                  <a:pt x="199608" y="230061"/>
                </a:lnTo>
                <a:lnTo>
                  <a:pt x="235213" y="265289"/>
                </a:lnTo>
                <a:lnTo>
                  <a:pt x="265424" y="235453"/>
                </a:lnTo>
                <a:lnTo>
                  <a:pt x="229818" y="200225"/>
                </a:lnTo>
                <a:close/>
                <a:moveTo>
                  <a:pt x="198169" y="183330"/>
                </a:moveTo>
                <a:cubicBezTo>
                  <a:pt x="196011" y="186206"/>
                  <a:pt x="193493" y="188722"/>
                  <a:pt x="190976" y="191238"/>
                </a:cubicBezTo>
                <a:cubicBezTo>
                  <a:pt x="188458" y="193754"/>
                  <a:pt x="185941" y="195911"/>
                  <a:pt x="183423" y="198428"/>
                </a:cubicBezTo>
                <a:lnTo>
                  <a:pt x="201046" y="216042"/>
                </a:lnTo>
                <a:lnTo>
                  <a:pt x="216152" y="201303"/>
                </a:lnTo>
                <a:lnTo>
                  <a:pt x="198169" y="183330"/>
                </a:lnTo>
                <a:close/>
                <a:moveTo>
                  <a:pt x="112712" y="81734"/>
                </a:moveTo>
                <a:cubicBezTo>
                  <a:pt x="103641" y="81734"/>
                  <a:pt x="96384" y="88991"/>
                  <a:pt x="96384" y="98062"/>
                </a:cubicBezTo>
                <a:cubicBezTo>
                  <a:pt x="96384" y="107134"/>
                  <a:pt x="103641" y="114391"/>
                  <a:pt x="112712" y="114391"/>
                </a:cubicBezTo>
                <a:cubicBezTo>
                  <a:pt x="121784" y="114391"/>
                  <a:pt x="129041" y="107134"/>
                  <a:pt x="129041" y="98062"/>
                </a:cubicBezTo>
                <a:cubicBezTo>
                  <a:pt x="129041" y="88991"/>
                  <a:pt x="121784" y="81734"/>
                  <a:pt x="112712" y="81734"/>
                </a:cubicBezTo>
                <a:close/>
                <a:moveTo>
                  <a:pt x="112712" y="73025"/>
                </a:moveTo>
                <a:cubicBezTo>
                  <a:pt x="126501" y="73025"/>
                  <a:pt x="137749" y="84274"/>
                  <a:pt x="137749" y="98062"/>
                </a:cubicBezTo>
                <a:cubicBezTo>
                  <a:pt x="137749" y="112214"/>
                  <a:pt x="126501" y="123462"/>
                  <a:pt x="112712" y="123462"/>
                </a:cubicBezTo>
                <a:cubicBezTo>
                  <a:pt x="98924" y="123462"/>
                  <a:pt x="87312" y="112214"/>
                  <a:pt x="87312" y="98062"/>
                </a:cubicBezTo>
                <a:cubicBezTo>
                  <a:pt x="87312" y="84274"/>
                  <a:pt x="98924" y="73025"/>
                  <a:pt x="112712" y="73025"/>
                </a:cubicBezTo>
                <a:close/>
                <a:moveTo>
                  <a:pt x="113326" y="51535"/>
                </a:moveTo>
                <a:cubicBezTo>
                  <a:pt x="100706" y="51535"/>
                  <a:pt x="89167" y="56595"/>
                  <a:pt x="80152" y="65268"/>
                </a:cubicBezTo>
                <a:cubicBezTo>
                  <a:pt x="71498" y="74302"/>
                  <a:pt x="66450" y="85867"/>
                  <a:pt x="66450" y="98515"/>
                </a:cubicBezTo>
                <a:cubicBezTo>
                  <a:pt x="66450" y="111163"/>
                  <a:pt x="71498" y="123089"/>
                  <a:pt x="80152" y="131762"/>
                </a:cubicBezTo>
                <a:lnTo>
                  <a:pt x="113326" y="165009"/>
                </a:lnTo>
                <a:lnTo>
                  <a:pt x="146500" y="131762"/>
                </a:lnTo>
                <a:cubicBezTo>
                  <a:pt x="164529" y="113332"/>
                  <a:pt x="164529" y="83698"/>
                  <a:pt x="146500" y="65268"/>
                </a:cubicBezTo>
                <a:cubicBezTo>
                  <a:pt x="137485" y="56595"/>
                  <a:pt x="125946" y="51535"/>
                  <a:pt x="113326" y="51535"/>
                </a:cubicBezTo>
                <a:close/>
                <a:moveTo>
                  <a:pt x="113326" y="42862"/>
                </a:moveTo>
                <a:cubicBezTo>
                  <a:pt x="128110" y="42862"/>
                  <a:pt x="142173" y="48644"/>
                  <a:pt x="152630" y="59124"/>
                </a:cubicBezTo>
                <a:cubicBezTo>
                  <a:pt x="174265" y="80807"/>
                  <a:pt x="174265" y="116223"/>
                  <a:pt x="152630" y="137906"/>
                </a:cubicBezTo>
                <a:lnTo>
                  <a:pt x="124143" y="166816"/>
                </a:lnTo>
                <a:lnTo>
                  <a:pt x="169938" y="166816"/>
                </a:lnTo>
                <a:cubicBezTo>
                  <a:pt x="172101" y="166816"/>
                  <a:pt x="174265" y="168623"/>
                  <a:pt x="174265" y="171514"/>
                </a:cubicBezTo>
                <a:cubicBezTo>
                  <a:pt x="174265" y="173682"/>
                  <a:pt x="172101" y="175851"/>
                  <a:pt x="169938" y="175851"/>
                </a:cubicBezTo>
                <a:lnTo>
                  <a:pt x="56714" y="175851"/>
                </a:lnTo>
                <a:cubicBezTo>
                  <a:pt x="54551" y="175851"/>
                  <a:pt x="52387" y="173682"/>
                  <a:pt x="52387" y="171514"/>
                </a:cubicBezTo>
                <a:cubicBezTo>
                  <a:pt x="52387" y="168623"/>
                  <a:pt x="54551" y="166816"/>
                  <a:pt x="56714" y="166816"/>
                </a:cubicBezTo>
                <a:lnTo>
                  <a:pt x="102508" y="166816"/>
                </a:lnTo>
                <a:lnTo>
                  <a:pt x="74022" y="137906"/>
                </a:lnTo>
                <a:cubicBezTo>
                  <a:pt x="52387" y="116223"/>
                  <a:pt x="52387" y="80807"/>
                  <a:pt x="74022" y="59124"/>
                </a:cubicBezTo>
                <a:cubicBezTo>
                  <a:pt x="84479" y="48644"/>
                  <a:pt x="98542" y="42862"/>
                  <a:pt x="113326" y="42862"/>
                </a:cubicBezTo>
                <a:close/>
                <a:moveTo>
                  <a:pt x="111852" y="8987"/>
                </a:moveTo>
                <a:cubicBezTo>
                  <a:pt x="84159" y="8987"/>
                  <a:pt x="58624" y="19771"/>
                  <a:pt x="38843" y="39182"/>
                </a:cubicBezTo>
                <a:cubicBezTo>
                  <a:pt x="19422" y="58594"/>
                  <a:pt x="8632" y="84476"/>
                  <a:pt x="8632" y="112155"/>
                </a:cubicBezTo>
                <a:cubicBezTo>
                  <a:pt x="8632" y="139474"/>
                  <a:pt x="19422" y="165356"/>
                  <a:pt x="38843" y="185127"/>
                </a:cubicBezTo>
                <a:cubicBezTo>
                  <a:pt x="58624" y="204539"/>
                  <a:pt x="84159" y="214963"/>
                  <a:pt x="111852" y="214963"/>
                </a:cubicBezTo>
                <a:cubicBezTo>
                  <a:pt x="139186" y="214963"/>
                  <a:pt x="165441" y="204539"/>
                  <a:pt x="184862" y="185127"/>
                </a:cubicBezTo>
                <a:cubicBezTo>
                  <a:pt x="204283" y="165356"/>
                  <a:pt x="215073" y="139474"/>
                  <a:pt x="215073" y="112155"/>
                </a:cubicBezTo>
                <a:cubicBezTo>
                  <a:pt x="215073" y="84476"/>
                  <a:pt x="204283" y="58594"/>
                  <a:pt x="184862" y="39182"/>
                </a:cubicBezTo>
                <a:cubicBezTo>
                  <a:pt x="165441" y="19771"/>
                  <a:pt x="139186" y="8987"/>
                  <a:pt x="111852" y="8987"/>
                </a:cubicBezTo>
                <a:close/>
                <a:moveTo>
                  <a:pt x="111852" y="0"/>
                </a:moveTo>
                <a:cubicBezTo>
                  <a:pt x="142063" y="0"/>
                  <a:pt x="170116" y="11863"/>
                  <a:pt x="190976" y="32712"/>
                </a:cubicBezTo>
                <a:cubicBezTo>
                  <a:pt x="212195" y="54280"/>
                  <a:pt x="223704" y="82319"/>
                  <a:pt x="223704" y="112155"/>
                </a:cubicBezTo>
                <a:cubicBezTo>
                  <a:pt x="223704" y="135520"/>
                  <a:pt x="216511" y="157448"/>
                  <a:pt x="203564" y="176140"/>
                </a:cubicBezTo>
                <a:lnTo>
                  <a:pt x="222266" y="194833"/>
                </a:lnTo>
                <a:lnTo>
                  <a:pt x="226582" y="190519"/>
                </a:lnTo>
                <a:cubicBezTo>
                  <a:pt x="228380" y="188722"/>
                  <a:pt x="231257" y="188722"/>
                  <a:pt x="233055" y="190519"/>
                </a:cubicBezTo>
                <a:lnTo>
                  <a:pt x="288442" y="246237"/>
                </a:lnTo>
                <a:cubicBezTo>
                  <a:pt x="294916" y="252348"/>
                  <a:pt x="294916" y="262773"/>
                  <a:pt x="288442" y="269243"/>
                </a:cubicBezTo>
                <a:lnTo>
                  <a:pt x="269021" y="288654"/>
                </a:lnTo>
                <a:cubicBezTo>
                  <a:pt x="265784" y="291890"/>
                  <a:pt x="261828" y="293328"/>
                  <a:pt x="257512" y="293328"/>
                </a:cubicBezTo>
                <a:cubicBezTo>
                  <a:pt x="253196" y="293328"/>
                  <a:pt x="249240" y="291890"/>
                  <a:pt x="246003" y="288654"/>
                </a:cubicBezTo>
                <a:lnTo>
                  <a:pt x="190616" y="233296"/>
                </a:lnTo>
                <a:cubicBezTo>
                  <a:pt x="188458" y="231139"/>
                  <a:pt x="188458" y="228623"/>
                  <a:pt x="190616" y="226826"/>
                </a:cubicBezTo>
                <a:lnTo>
                  <a:pt x="194572" y="222512"/>
                </a:lnTo>
                <a:lnTo>
                  <a:pt x="176230" y="203820"/>
                </a:lnTo>
                <a:cubicBezTo>
                  <a:pt x="157169" y="217120"/>
                  <a:pt x="135230" y="224309"/>
                  <a:pt x="111852" y="224309"/>
                </a:cubicBezTo>
                <a:cubicBezTo>
                  <a:pt x="82001" y="224309"/>
                  <a:pt x="53948" y="212087"/>
                  <a:pt x="32729" y="191238"/>
                </a:cubicBezTo>
                <a:cubicBezTo>
                  <a:pt x="11509" y="170029"/>
                  <a:pt x="0" y="141991"/>
                  <a:pt x="0" y="112155"/>
                </a:cubicBezTo>
                <a:cubicBezTo>
                  <a:pt x="0" y="82319"/>
                  <a:pt x="11509" y="54280"/>
                  <a:pt x="32729" y="32712"/>
                </a:cubicBezTo>
                <a:cubicBezTo>
                  <a:pt x="53948" y="11863"/>
                  <a:pt x="82001" y="0"/>
                  <a:pt x="111852" y="0"/>
                </a:cubicBezTo>
                <a:close/>
              </a:path>
            </a:pathLst>
          </a:custGeom>
          <a:solidFill>
            <a:schemeClr val="bg1"/>
          </a:solidFill>
          <a:ln>
            <a:noFill/>
          </a:ln>
        </p:spPr>
        <p:txBody>
          <a:bodyPr anchor="ctr"/>
          <a:lstStyle/>
          <a:p>
            <a:endParaRPr lang="en-US" sz="900" dirty="0"/>
          </a:p>
        </p:txBody>
      </p:sp>
      <p:sp>
        <p:nvSpPr>
          <p:cNvPr id="32" name="Freeform 946">
            <a:extLst>
              <a:ext uri="{FF2B5EF4-FFF2-40B4-BE49-F238E27FC236}">
                <a16:creationId xmlns:a16="http://schemas.microsoft.com/office/drawing/2014/main" id="{EBE31A32-37E8-274F-81DE-C16E50DA96CE}"/>
              </a:ext>
            </a:extLst>
          </p:cNvPr>
          <p:cNvSpPr>
            <a:spLocks noChangeAspect="1"/>
          </p:cNvSpPr>
          <p:nvPr/>
        </p:nvSpPr>
        <p:spPr bwMode="auto">
          <a:xfrm>
            <a:off x="4482871" y="1780194"/>
            <a:ext cx="464342" cy="464342"/>
          </a:xfrm>
          <a:custGeom>
            <a:avLst/>
            <a:gdLst>
              <a:gd name="T0" fmla="*/ 4969062 w 293328"/>
              <a:gd name="T1" fmla="*/ 7282885 h 293329"/>
              <a:gd name="T2" fmla="*/ 5659663 w 293328"/>
              <a:gd name="T3" fmla="*/ 7282885 h 293329"/>
              <a:gd name="T4" fmla="*/ 2740911 w 293328"/>
              <a:gd name="T5" fmla="*/ 6944731 h 293329"/>
              <a:gd name="T6" fmla="*/ 2740911 w 293328"/>
              <a:gd name="T7" fmla="*/ 7633985 h 293329"/>
              <a:gd name="T8" fmla="*/ 2740911 w 293328"/>
              <a:gd name="T9" fmla="*/ 6944731 h 293329"/>
              <a:gd name="T10" fmla="*/ 7966750 w 293328"/>
              <a:gd name="T11" fmla="*/ 10056064 h 293329"/>
              <a:gd name="T12" fmla="*/ 8658978 w 293328"/>
              <a:gd name="T13" fmla="*/ 8580288 h 293329"/>
              <a:gd name="T14" fmla="*/ 6882751 w 293328"/>
              <a:gd name="T15" fmla="*/ 6882469 h 293329"/>
              <a:gd name="T16" fmla="*/ 3392400 w 293328"/>
              <a:gd name="T17" fmla="*/ 7126814 h 293329"/>
              <a:gd name="T18" fmla="*/ 5320836 w 293328"/>
              <a:gd name="T19" fmla="*/ 6632627 h 293329"/>
              <a:gd name="T20" fmla="*/ 5320836 w 293328"/>
              <a:gd name="T21" fmla="*/ 7946105 h 293329"/>
              <a:gd name="T22" fmla="*/ 3392400 w 293328"/>
              <a:gd name="T23" fmla="*/ 7451954 h 293329"/>
              <a:gd name="T24" fmla="*/ 2076337 w 293328"/>
              <a:gd name="T25" fmla="*/ 7282885 h 293329"/>
              <a:gd name="T26" fmla="*/ 5331523 w 293328"/>
              <a:gd name="T27" fmla="*/ 4284453 h 293329"/>
              <a:gd name="T28" fmla="*/ 5699345 w 293328"/>
              <a:gd name="T29" fmla="*/ 5900416 h 293329"/>
              <a:gd name="T30" fmla="*/ 6513962 w 293328"/>
              <a:gd name="T31" fmla="*/ 4428957 h 293329"/>
              <a:gd name="T32" fmla="*/ 3741779 w 293328"/>
              <a:gd name="T33" fmla="*/ 4087408 h 293329"/>
              <a:gd name="T34" fmla="*/ 4687717 w 293328"/>
              <a:gd name="T35" fmla="*/ 5900416 h 293329"/>
              <a:gd name="T36" fmla="*/ 3741779 w 293328"/>
              <a:gd name="T37" fmla="*/ 4087408 h 293329"/>
              <a:gd name="T38" fmla="*/ 2191466 w 293328"/>
              <a:gd name="T39" fmla="*/ 5545670 h 293329"/>
              <a:gd name="T40" fmla="*/ 3229408 w 293328"/>
              <a:gd name="T41" fmla="*/ 5900416 h 293329"/>
              <a:gd name="T42" fmla="*/ 2191466 w 293328"/>
              <a:gd name="T43" fmla="*/ 3890238 h 293329"/>
              <a:gd name="T44" fmla="*/ 2178323 w 293328"/>
              <a:gd name="T45" fmla="*/ 3561792 h 293329"/>
              <a:gd name="T46" fmla="*/ 6881809 w 293328"/>
              <a:gd name="T47" fmla="*/ 4205615 h 293329"/>
              <a:gd name="T48" fmla="*/ 6330021 w 293328"/>
              <a:gd name="T49" fmla="*/ 5795290 h 293329"/>
              <a:gd name="T50" fmla="*/ 2533066 w 293328"/>
              <a:gd name="T51" fmla="*/ 6215738 h 293329"/>
              <a:gd name="T52" fmla="*/ 1876147 w 293328"/>
              <a:gd name="T53" fmla="*/ 3706342 h 293329"/>
              <a:gd name="T54" fmla="*/ 1153534 w 293328"/>
              <a:gd name="T55" fmla="*/ 2996857 h 293329"/>
              <a:gd name="T56" fmla="*/ 4665432 w 293328"/>
              <a:gd name="T57" fmla="*/ 1384261 h 293329"/>
              <a:gd name="T58" fmla="*/ 7633915 w 293328"/>
              <a:gd name="T59" fmla="*/ 6066344 h 293329"/>
              <a:gd name="T60" fmla="*/ 7425638 w 293328"/>
              <a:gd name="T61" fmla="*/ 6144970 h 293329"/>
              <a:gd name="T62" fmla="*/ 7620913 w 293328"/>
              <a:gd name="T63" fmla="*/ 4676154 h 293329"/>
              <a:gd name="T64" fmla="*/ 2491166 w 293328"/>
              <a:gd name="T65" fmla="*/ 2669484 h 293329"/>
              <a:gd name="T66" fmla="*/ 2256867 w 293328"/>
              <a:gd name="T67" fmla="*/ 2446542 h 293329"/>
              <a:gd name="T68" fmla="*/ 4688611 w 293328"/>
              <a:gd name="T69" fmla="*/ 326507 h 293329"/>
              <a:gd name="T70" fmla="*/ 4688611 w 293328"/>
              <a:gd name="T71" fmla="*/ 9037376 h 293329"/>
              <a:gd name="T72" fmla="*/ 6464809 w 293328"/>
              <a:gd name="T73" fmla="*/ 6673534 h 293329"/>
              <a:gd name="T74" fmla="*/ 6673772 w 293328"/>
              <a:gd name="T75" fmla="*/ 6464583 h 293329"/>
              <a:gd name="T76" fmla="*/ 9050770 w 293328"/>
              <a:gd name="T77" fmla="*/ 4675475 h 293329"/>
              <a:gd name="T78" fmla="*/ 4688611 w 293328"/>
              <a:gd name="T79" fmla="*/ 0 h 293329"/>
              <a:gd name="T80" fmla="*/ 8658978 w 293328"/>
              <a:gd name="T81" fmla="*/ 7156755 h 293329"/>
              <a:gd name="T82" fmla="*/ 10657173 w 293328"/>
              <a:gd name="T83" fmla="*/ 7940368 h 293329"/>
              <a:gd name="T84" fmla="*/ 8854870 w 293328"/>
              <a:gd name="T85" fmla="*/ 8854585 h 293329"/>
              <a:gd name="T86" fmla="*/ 7940637 w 293328"/>
              <a:gd name="T87" fmla="*/ 10656789 h 293329"/>
              <a:gd name="T88" fmla="*/ 7143972 w 293328"/>
              <a:gd name="T89" fmla="*/ 8658652 h 293329"/>
              <a:gd name="T90" fmla="*/ 0 w 293328"/>
              <a:gd name="T91" fmla="*/ 4675475 h 293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93328" h="293329">
                <a:moveTo>
                  <a:pt x="146451" y="191154"/>
                </a:moveTo>
                <a:cubicBezTo>
                  <a:pt x="141071" y="191154"/>
                  <a:pt x="136768" y="195450"/>
                  <a:pt x="136768" y="200461"/>
                </a:cubicBezTo>
                <a:cubicBezTo>
                  <a:pt x="136768" y="205831"/>
                  <a:pt x="141071" y="210126"/>
                  <a:pt x="146451" y="210126"/>
                </a:cubicBezTo>
                <a:cubicBezTo>
                  <a:pt x="151472" y="210126"/>
                  <a:pt x="155776" y="205831"/>
                  <a:pt x="155776" y="200461"/>
                </a:cubicBezTo>
                <a:cubicBezTo>
                  <a:pt x="155776" y="195450"/>
                  <a:pt x="151472" y="191154"/>
                  <a:pt x="146451" y="191154"/>
                </a:cubicBezTo>
                <a:close/>
                <a:moveTo>
                  <a:pt x="75441" y="191154"/>
                </a:moveTo>
                <a:cubicBezTo>
                  <a:pt x="70420" y="191154"/>
                  <a:pt x="66116" y="195450"/>
                  <a:pt x="66116" y="200461"/>
                </a:cubicBezTo>
                <a:cubicBezTo>
                  <a:pt x="66116" y="205831"/>
                  <a:pt x="70420" y="210126"/>
                  <a:pt x="75441" y="210126"/>
                </a:cubicBezTo>
                <a:cubicBezTo>
                  <a:pt x="80462" y="210126"/>
                  <a:pt x="84765" y="205831"/>
                  <a:pt x="84765" y="200461"/>
                </a:cubicBezTo>
                <a:cubicBezTo>
                  <a:pt x="84765" y="195450"/>
                  <a:pt x="80462" y="191154"/>
                  <a:pt x="75441" y="191154"/>
                </a:cubicBezTo>
                <a:close/>
                <a:moveTo>
                  <a:pt x="189441" y="189441"/>
                </a:moveTo>
                <a:lnTo>
                  <a:pt x="219277" y="276793"/>
                </a:lnTo>
                <a:lnTo>
                  <a:pt x="236172" y="238330"/>
                </a:lnTo>
                <a:cubicBezTo>
                  <a:pt x="236531" y="237611"/>
                  <a:pt x="237610" y="236892"/>
                  <a:pt x="238329" y="236173"/>
                </a:cubicBezTo>
                <a:lnTo>
                  <a:pt x="276792" y="219278"/>
                </a:lnTo>
                <a:lnTo>
                  <a:pt x="189441" y="189441"/>
                </a:lnTo>
                <a:close/>
                <a:moveTo>
                  <a:pt x="75441" y="182563"/>
                </a:moveTo>
                <a:cubicBezTo>
                  <a:pt x="84048" y="182563"/>
                  <a:pt x="91221" y="188290"/>
                  <a:pt x="93373" y="196166"/>
                </a:cubicBezTo>
                <a:lnTo>
                  <a:pt x="128519" y="196166"/>
                </a:lnTo>
                <a:cubicBezTo>
                  <a:pt x="130671" y="188290"/>
                  <a:pt x="137844" y="182563"/>
                  <a:pt x="146451" y="182563"/>
                </a:cubicBezTo>
                <a:cubicBezTo>
                  <a:pt x="156493" y="182563"/>
                  <a:pt x="164741" y="190796"/>
                  <a:pt x="164741" y="200461"/>
                </a:cubicBezTo>
                <a:cubicBezTo>
                  <a:pt x="164741" y="210842"/>
                  <a:pt x="156493" y="218717"/>
                  <a:pt x="146451" y="218717"/>
                </a:cubicBezTo>
                <a:cubicBezTo>
                  <a:pt x="137844" y="218717"/>
                  <a:pt x="130671" y="212990"/>
                  <a:pt x="128519" y="205115"/>
                </a:cubicBezTo>
                <a:lnTo>
                  <a:pt x="93373" y="205115"/>
                </a:lnTo>
                <a:cubicBezTo>
                  <a:pt x="91221" y="212990"/>
                  <a:pt x="84048" y="218717"/>
                  <a:pt x="75441" y="218717"/>
                </a:cubicBezTo>
                <a:cubicBezTo>
                  <a:pt x="65399" y="218717"/>
                  <a:pt x="57150" y="210842"/>
                  <a:pt x="57150" y="200461"/>
                </a:cubicBezTo>
                <a:cubicBezTo>
                  <a:pt x="57150" y="190796"/>
                  <a:pt x="65399" y="182563"/>
                  <a:pt x="75441" y="182563"/>
                </a:cubicBezTo>
                <a:close/>
                <a:moveTo>
                  <a:pt x="146744" y="117929"/>
                </a:moveTo>
                <a:lnTo>
                  <a:pt x="138427" y="162409"/>
                </a:lnTo>
                <a:lnTo>
                  <a:pt x="156870" y="162409"/>
                </a:lnTo>
                <a:cubicBezTo>
                  <a:pt x="160848" y="162409"/>
                  <a:pt x="164102" y="159878"/>
                  <a:pt x="165549" y="156262"/>
                </a:cubicBezTo>
                <a:lnTo>
                  <a:pt x="179290" y="121907"/>
                </a:lnTo>
                <a:lnTo>
                  <a:pt x="146744" y="117929"/>
                </a:lnTo>
                <a:close/>
                <a:moveTo>
                  <a:pt x="102989" y="112505"/>
                </a:moveTo>
                <a:lnTo>
                  <a:pt x="97926" y="162409"/>
                </a:lnTo>
                <a:lnTo>
                  <a:pt x="129025" y="162409"/>
                </a:lnTo>
                <a:lnTo>
                  <a:pt x="137704" y="116482"/>
                </a:lnTo>
                <a:lnTo>
                  <a:pt x="102989" y="112505"/>
                </a:lnTo>
                <a:close/>
                <a:moveTo>
                  <a:pt x="60318" y="107080"/>
                </a:moveTo>
                <a:lnTo>
                  <a:pt x="60318" y="152645"/>
                </a:lnTo>
                <a:cubicBezTo>
                  <a:pt x="60318" y="158070"/>
                  <a:pt x="64657" y="162409"/>
                  <a:pt x="69720" y="162409"/>
                </a:cubicBezTo>
                <a:lnTo>
                  <a:pt x="88886" y="162409"/>
                </a:lnTo>
                <a:lnTo>
                  <a:pt x="94310" y="111420"/>
                </a:lnTo>
                <a:lnTo>
                  <a:pt x="60318" y="107080"/>
                </a:lnTo>
                <a:close/>
                <a:moveTo>
                  <a:pt x="36451" y="77788"/>
                </a:moveTo>
                <a:cubicBezTo>
                  <a:pt x="48385" y="77788"/>
                  <a:pt x="58148" y="86829"/>
                  <a:pt x="59956" y="98039"/>
                </a:cubicBezTo>
                <a:lnTo>
                  <a:pt x="186161" y="113589"/>
                </a:lnTo>
                <a:cubicBezTo>
                  <a:pt x="187246" y="113951"/>
                  <a:pt x="188692" y="114674"/>
                  <a:pt x="189415" y="115759"/>
                </a:cubicBezTo>
                <a:cubicBezTo>
                  <a:pt x="190139" y="116844"/>
                  <a:pt x="190139" y="118652"/>
                  <a:pt x="189777" y="119737"/>
                </a:cubicBezTo>
                <a:lnTo>
                  <a:pt x="174227" y="159516"/>
                </a:lnTo>
                <a:cubicBezTo>
                  <a:pt x="171334" y="166387"/>
                  <a:pt x="164464" y="171088"/>
                  <a:pt x="156870" y="171088"/>
                </a:cubicBezTo>
                <a:lnTo>
                  <a:pt x="69720" y="171088"/>
                </a:lnTo>
                <a:cubicBezTo>
                  <a:pt x="59595" y="171088"/>
                  <a:pt x="51639" y="162771"/>
                  <a:pt x="51639" y="152645"/>
                </a:cubicBezTo>
                <a:lnTo>
                  <a:pt x="51639" y="102017"/>
                </a:lnTo>
                <a:cubicBezTo>
                  <a:pt x="51639" y="93700"/>
                  <a:pt x="44768" y="86829"/>
                  <a:pt x="36451" y="86829"/>
                </a:cubicBezTo>
                <a:cubicBezTo>
                  <a:pt x="33920" y="86829"/>
                  <a:pt x="31750" y="84659"/>
                  <a:pt x="31750" y="82489"/>
                </a:cubicBezTo>
                <a:cubicBezTo>
                  <a:pt x="31750" y="79958"/>
                  <a:pt x="33920" y="77788"/>
                  <a:pt x="36451" y="77788"/>
                </a:cubicBezTo>
                <a:close/>
                <a:moveTo>
                  <a:pt x="128412" y="38100"/>
                </a:moveTo>
                <a:cubicBezTo>
                  <a:pt x="178223" y="38100"/>
                  <a:pt x="218717" y="78893"/>
                  <a:pt x="218717" y="128710"/>
                </a:cubicBezTo>
                <a:cubicBezTo>
                  <a:pt x="218717" y="142428"/>
                  <a:pt x="215492" y="155062"/>
                  <a:pt x="210116" y="166975"/>
                </a:cubicBezTo>
                <a:cubicBezTo>
                  <a:pt x="209400" y="168780"/>
                  <a:pt x="207966" y="169502"/>
                  <a:pt x="206174" y="169502"/>
                </a:cubicBezTo>
                <a:cubicBezTo>
                  <a:pt x="205458" y="169502"/>
                  <a:pt x="204741" y="169502"/>
                  <a:pt x="204383" y="169141"/>
                </a:cubicBezTo>
                <a:cubicBezTo>
                  <a:pt x="201874" y="168419"/>
                  <a:pt x="201158" y="165531"/>
                  <a:pt x="202233" y="163365"/>
                </a:cubicBezTo>
                <a:cubicBezTo>
                  <a:pt x="207250" y="152535"/>
                  <a:pt x="209758" y="140984"/>
                  <a:pt x="209758" y="128710"/>
                </a:cubicBezTo>
                <a:cubicBezTo>
                  <a:pt x="209758" y="83585"/>
                  <a:pt x="173206" y="47125"/>
                  <a:pt x="128412" y="47125"/>
                </a:cubicBezTo>
                <a:cubicBezTo>
                  <a:pt x="105836" y="47125"/>
                  <a:pt x="83976" y="56511"/>
                  <a:pt x="68567" y="73478"/>
                </a:cubicBezTo>
                <a:cubicBezTo>
                  <a:pt x="66775" y="75283"/>
                  <a:pt x="64267" y="75283"/>
                  <a:pt x="62117" y="73839"/>
                </a:cubicBezTo>
                <a:cubicBezTo>
                  <a:pt x="60683" y="72034"/>
                  <a:pt x="60325" y="69146"/>
                  <a:pt x="62117" y="67341"/>
                </a:cubicBezTo>
                <a:cubicBezTo>
                  <a:pt x="78959" y="48569"/>
                  <a:pt x="103327" y="38100"/>
                  <a:pt x="128412" y="38100"/>
                </a:cubicBezTo>
                <a:close/>
                <a:moveTo>
                  <a:pt x="129050" y="8987"/>
                </a:moveTo>
                <a:cubicBezTo>
                  <a:pt x="62907" y="8987"/>
                  <a:pt x="8987" y="62548"/>
                  <a:pt x="8987" y="128691"/>
                </a:cubicBezTo>
                <a:cubicBezTo>
                  <a:pt x="8987" y="194834"/>
                  <a:pt x="62907" y="248754"/>
                  <a:pt x="129050" y="248754"/>
                </a:cubicBezTo>
                <a:cubicBezTo>
                  <a:pt x="152775" y="248754"/>
                  <a:pt x="175062" y="241924"/>
                  <a:pt x="193754" y="229702"/>
                </a:cubicBezTo>
                <a:lnTo>
                  <a:pt x="177938" y="183690"/>
                </a:lnTo>
                <a:cubicBezTo>
                  <a:pt x="177219" y="182252"/>
                  <a:pt x="177578" y="180095"/>
                  <a:pt x="179016" y="179017"/>
                </a:cubicBezTo>
                <a:cubicBezTo>
                  <a:pt x="180095" y="177938"/>
                  <a:pt x="181892" y="177219"/>
                  <a:pt x="183689" y="177938"/>
                </a:cubicBezTo>
                <a:lnTo>
                  <a:pt x="230061" y="193755"/>
                </a:lnTo>
                <a:cubicBezTo>
                  <a:pt x="241923" y="175063"/>
                  <a:pt x="249113" y="152775"/>
                  <a:pt x="249113" y="128691"/>
                </a:cubicBezTo>
                <a:cubicBezTo>
                  <a:pt x="249113" y="62548"/>
                  <a:pt x="195192" y="8987"/>
                  <a:pt x="129050" y="8987"/>
                </a:cubicBezTo>
                <a:close/>
                <a:moveTo>
                  <a:pt x="129050" y="0"/>
                </a:moveTo>
                <a:cubicBezTo>
                  <a:pt x="200225" y="0"/>
                  <a:pt x="258100" y="57875"/>
                  <a:pt x="258100" y="128691"/>
                </a:cubicBezTo>
                <a:cubicBezTo>
                  <a:pt x="258100" y="153854"/>
                  <a:pt x="250910" y="176860"/>
                  <a:pt x="238329" y="196990"/>
                </a:cubicBezTo>
                <a:lnTo>
                  <a:pt x="290092" y="214604"/>
                </a:lnTo>
                <a:cubicBezTo>
                  <a:pt x="292249" y="215323"/>
                  <a:pt x="293328" y="216761"/>
                  <a:pt x="293328" y="218559"/>
                </a:cubicBezTo>
                <a:cubicBezTo>
                  <a:pt x="293328" y="220356"/>
                  <a:pt x="292249" y="222153"/>
                  <a:pt x="290811" y="222872"/>
                </a:cubicBezTo>
                <a:lnTo>
                  <a:pt x="243721" y="243722"/>
                </a:lnTo>
                <a:lnTo>
                  <a:pt x="222872" y="290453"/>
                </a:lnTo>
                <a:cubicBezTo>
                  <a:pt x="222153" y="292250"/>
                  <a:pt x="220715" y="293329"/>
                  <a:pt x="218558" y="293329"/>
                </a:cubicBezTo>
                <a:cubicBezTo>
                  <a:pt x="216761" y="292969"/>
                  <a:pt x="214963" y="292250"/>
                  <a:pt x="214604" y="290093"/>
                </a:cubicBezTo>
                <a:lnTo>
                  <a:pt x="196630" y="238330"/>
                </a:lnTo>
                <a:cubicBezTo>
                  <a:pt x="177219" y="250552"/>
                  <a:pt x="153853" y="257741"/>
                  <a:pt x="129050" y="257741"/>
                </a:cubicBezTo>
                <a:cubicBezTo>
                  <a:pt x="57875" y="257741"/>
                  <a:pt x="0" y="199866"/>
                  <a:pt x="0" y="128691"/>
                </a:cubicBezTo>
                <a:cubicBezTo>
                  <a:pt x="0" y="57875"/>
                  <a:pt x="57875" y="0"/>
                  <a:pt x="129050" y="0"/>
                </a:cubicBezTo>
                <a:close/>
              </a:path>
            </a:pathLst>
          </a:custGeom>
          <a:solidFill>
            <a:schemeClr val="bg1"/>
          </a:solidFill>
          <a:ln>
            <a:noFill/>
          </a:ln>
        </p:spPr>
        <p:txBody>
          <a:bodyPr anchor="ctr"/>
          <a:lstStyle/>
          <a:p>
            <a:endParaRPr lang="en-US" sz="900" dirty="0"/>
          </a:p>
        </p:txBody>
      </p:sp>
      <p:sp>
        <p:nvSpPr>
          <p:cNvPr id="33" name="Freeform 947">
            <a:extLst>
              <a:ext uri="{FF2B5EF4-FFF2-40B4-BE49-F238E27FC236}">
                <a16:creationId xmlns:a16="http://schemas.microsoft.com/office/drawing/2014/main" id="{8E843852-5BA6-AE4B-A45D-66DAF79C681F}"/>
              </a:ext>
            </a:extLst>
          </p:cNvPr>
          <p:cNvSpPr>
            <a:spLocks noChangeAspect="1"/>
          </p:cNvSpPr>
          <p:nvPr/>
        </p:nvSpPr>
        <p:spPr bwMode="auto">
          <a:xfrm>
            <a:off x="7244788" y="1780194"/>
            <a:ext cx="464342" cy="464342"/>
          </a:xfrm>
          <a:custGeom>
            <a:avLst/>
            <a:gdLst>
              <a:gd name="T0" fmla="*/ 10229781 w 293081"/>
              <a:gd name="T1" fmla="*/ 10330306 h 293329"/>
              <a:gd name="T2" fmla="*/ 5476924 w 293081"/>
              <a:gd name="T3" fmla="*/ 9533663 h 293329"/>
              <a:gd name="T4" fmla="*/ 4555340 w 293081"/>
              <a:gd name="T5" fmla="*/ 8932903 h 293329"/>
              <a:gd name="T6" fmla="*/ 8187273 w 293081"/>
              <a:gd name="T7" fmla="*/ 4853406 h 293329"/>
              <a:gd name="T8" fmla="*/ 6762806 w 293081"/>
              <a:gd name="T9" fmla="*/ 6446308 h 293329"/>
              <a:gd name="T10" fmla="*/ 7949830 w 293081"/>
              <a:gd name="T11" fmla="*/ 4853406 h 293329"/>
              <a:gd name="T12" fmla="*/ 6162400 w 293081"/>
              <a:gd name="T13" fmla="*/ 5079026 h 293329"/>
              <a:gd name="T14" fmla="*/ 4607171 w 293081"/>
              <a:gd name="T15" fmla="*/ 6393224 h 293329"/>
              <a:gd name="T16" fmla="*/ 3816636 w 293081"/>
              <a:gd name="T17" fmla="*/ 4853406 h 293329"/>
              <a:gd name="T18" fmla="*/ 2748342 w 293081"/>
              <a:gd name="T19" fmla="*/ 6393224 h 293329"/>
              <a:gd name="T20" fmla="*/ 2510957 w 293081"/>
              <a:gd name="T21" fmla="*/ 6167538 h 293329"/>
              <a:gd name="T22" fmla="*/ 1909022 w 293081"/>
              <a:gd name="T23" fmla="*/ 3983213 h 293329"/>
              <a:gd name="T24" fmla="*/ 2777957 w 293081"/>
              <a:gd name="T25" fmla="*/ 7039236 h 293329"/>
              <a:gd name="T26" fmla="*/ 7873078 w 293081"/>
              <a:gd name="T27" fmla="*/ 7078447 h 293329"/>
              <a:gd name="T28" fmla="*/ 9123895 w 293081"/>
              <a:gd name="T29" fmla="*/ 3983213 h 293329"/>
              <a:gd name="T30" fmla="*/ 7109531 w 293081"/>
              <a:gd name="T31" fmla="*/ 3983213 h 293329"/>
              <a:gd name="T32" fmla="*/ 4502645 w 293081"/>
              <a:gd name="T33" fmla="*/ 3983213 h 293329"/>
              <a:gd name="T34" fmla="*/ 8149555 w 293081"/>
              <a:gd name="T35" fmla="*/ 2899289 h 293329"/>
              <a:gd name="T36" fmla="*/ 9716292 w 293081"/>
              <a:gd name="T37" fmla="*/ 3656691 h 293329"/>
              <a:gd name="T38" fmla="*/ 8149555 w 293081"/>
              <a:gd name="T39" fmla="*/ 2899289 h 293329"/>
              <a:gd name="T40" fmla="*/ 6240568 w 293081"/>
              <a:gd name="T41" fmla="*/ 3656691 h 293329"/>
              <a:gd name="T42" fmla="*/ 7820426 w 293081"/>
              <a:gd name="T43" fmla="*/ 2899289 h 293329"/>
              <a:gd name="T44" fmla="*/ 2935990 w 293081"/>
              <a:gd name="T45" fmla="*/ 2951549 h 293329"/>
              <a:gd name="T46" fmla="*/ 5213632 w 293081"/>
              <a:gd name="T47" fmla="*/ 2951549 h 293329"/>
              <a:gd name="T48" fmla="*/ 329206 w 293081"/>
              <a:gd name="T49" fmla="*/ 2899289 h 293329"/>
              <a:gd name="T50" fmla="*/ 1909022 w 293081"/>
              <a:gd name="T51" fmla="*/ 3656691 h 293329"/>
              <a:gd name="T52" fmla="*/ 329206 w 293081"/>
              <a:gd name="T53" fmla="*/ 2899289 h 293329"/>
              <a:gd name="T54" fmla="*/ 10190286 w 293081"/>
              <a:gd name="T55" fmla="*/ 2572821 h 293329"/>
              <a:gd name="T56" fmla="*/ 5542797 w 293081"/>
              <a:gd name="T57" fmla="*/ 1619461 h 293329"/>
              <a:gd name="T58" fmla="*/ 7227999 w 293081"/>
              <a:gd name="T59" fmla="*/ 1619461 h 293329"/>
              <a:gd name="T60" fmla="*/ 3041256 w 293081"/>
              <a:gd name="T61" fmla="*/ 2572821 h 293329"/>
              <a:gd name="T62" fmla="*/ 3515243 w 293081"/>
              <a:gd name="T63" fmla="*/ 1619461 h 293329"/>
              <a:gd name="T64" fmla="*/ 2672629 w 293081"/>
              <a:gd name="T65" fmla="*/ 2572821 h 293329"/>
              <a:gd name="T66" fmla="*/ 1632526 w 293081"/>
              <a:gd name="T67" fmla="*/ 326507 h 293329"/>
              <a:gd name="T68" fmla="*/ 9123895 w 293081"/>
              <a:gd name="T69" fmla="*/ 326507 h 293329"/>
              <a:gd name="T70" fmla="*/ 9281834 w 293081"/>
              <a:gd name="T71" fmla="*/ 0 h 293329"/>
              <a:gd name="T72" fmla="*/ 10690593 w 293081"/>
              <a:gd name="T73" fmla="*/ 2625081 h 293329"/>
              <a:gd name="T74" fmla="*/ 9716292 w 293081"/>
              <a:gd name="T75" fmla="*/ 3983213 h 293329"/>
              <a:gd name="T76" fmla="*/ 9281834 w 293081"/>
              <a:gd name="T77" fmla="*/ 7365715 h 293329"/>
              <a:gd name="T78" fmla="*/ 9071218 w 293081"/>
              <a:gd name="T79" fmla="*/ 8606439 h 293329"/>
              <a:gd name="T80" fmla="*/ 10730065 w 293081"/>
              <a:gd name="T81" fmla="*/ 10552302 h 293329"/>
              <a:gd name="T82" fmla="*/ 13220 w 293081"/>
              <a:gd name="T83" fmla="*/ 10552302 h 293329"/>
              <a:gd name="T84" fmla="*/ 1685204 w 293081"/>
              <a:gd name="T85" fmla="*/ 8606439 h 293329"/>
              <a:gd name="T86" fmla="*/ 1474507 w 293081"/>
              <a:gd name="T87" fmla="*/ 7365715 h 293329"/>
              <a:gd name="T88" fmla="*/ 1040094 w 293081"/>
              <a:gd name="T89" fmla="*/ 3983213 h 293329"/>
              <a:gd name="T90" fmla="*/ 52652 w 293081"/>
              <a:gd name="T91" fmla="*/ 2625081 h 293329"/>
              <a:gd name="T92" fmla="*/ 1474507 w 293081"/>
              <a:gd name="T93" fmla="*/ 0 h 29332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93081" h="293329">
                <a:moveTo>
                  <a:pt x="48110" y="245878"/>
                </a:moveTo>
                <a:lnTo>
                  <a:pt x="14361" y="284342"/>
                </a:lnTo>
                <a:lnTo>
                  <a:pt x="278967" y="284342"/>
                </a:lnTo>
                <a:lnTo>
                  <a:pt x="245218" y="245878"/>
                </a:lnTo>
                <a:lnTo>
                  <a:pt x="169104" y="245878"/>
                </a:lnTo>
                <a:lnTo>
                  <a:pt x="149357" y="262414"/>
                </a:lnTo>
                <a:cubicBezTo>
                  <a:pt x="148639" y="263493"/>
                  <a:pt x="147921" y="263493"/>
                  <a:pt x="146485" y="263493"/>
                </a:cubicBezTo>
                <a:cubicBezTo>
                  <a:pt x="145767" y="263493"/>
                  <a:pt x="144689" y="263493"/>
                  <a:pt x="143612" y="262414"/>
                </a:cubicBezTo>
                <a:lnTo>
                  <a:pt x="124225" y="245878"/>
                </a:lnTo>
                <a:lnTo>
                  <a:pt x="48110" y="245878"/>
                </a:lnTo>
                <a:close/>
                <a:moveTo>
                  <a:pt x="216793" y="133590"/>
                </a:moveTo>
                <a:cubicBezTo>
                  <a:pt x="218591" y="131763"/>
                  <a:pt x="221469" y="131763"/>
                  <a:pt x="223267" y="133590"/>
                </a:cubicBezTo>
                <a:cubicBezTo>
                  <a:pt x="225065" y="135417"/>
                  <a:pt x="225065" y="137974"/>
                  <a:pt x="223267" y="139801"/>
                </a:cubicBezTo>
                <a:lnTo>
                  <a:pt x="187660" y="175973"/>
                </a:lnTo>
                <a:cubicBezTo>
                  <a:pt x="186581" y="176704"/>
                  <a:pt x="185502" y="177435"/>
                  <a:pt x="184423" y="177435"/>
                </a:cubicBezTo>
                <a:cubicBezTo>
                  <a:pt x="183344" y="177435"/>
                  <a:pt x="182265" y="176704"/>
                  <a:pt x="181545" y="175973"/>
                </a:cubicBezTo>
                <a:cubicBezTo>
                  <a:pt x="179387" y="174512"/>
                  <a:pt x="179387" y="171223"/>
                  <a:pt x="181545" y="169762"/>
                </a:cubicBezTo>
                <a:lnTo>
                  <a:pt x="216793" y="133590"/>
                </a:lnTo>
                <a:close/>
                <a:moveTo>
                  <a:pt x="161525" y="133590"/>
                </a:moveTo>
                <a:cubicBezTo>
                  <a:pt x="163337" y="131763"/>
                  <a:pt x="166237" y="131763"/>
                  <a:pt x="168050" y="133590"/>
                </a:cubicBezTo>
                <a:cubicBezTo>
                  <a:pt x="169500" y="135417"/>
                  <a:pt x="169500" y="137974"/>
                  <a:pt x="168050" y="139801"/>
                </a:cubicBezTo>
                <a:lnTo>
                  <a:pt x="131800" y="175973"/>
                </a:lnTo>
                <a:cubicBezTo>
                  <a:pt x="131075" y="176704"/>
                  <a:pt x="129988" y="177435"/>
                  <a:pt x="128900" y="177435"/>
                </a:cubicBezTo>
                <a:cubicBezTo>
                  <a:pt x="127813" y="177435"/>
                  <a:pt x="126725" y="176704"/>
                  <a:pt x="125638" y="175973"/>
                </a:cubicBezTo>
                <a:cubicBezTo>
                  <a:pt x="123825" y="174512"/>
                  <a:pt x="123825" y="171223"/>
                  <a:pt x="125638" y="169762"/>
                </a:cubicBezTo>
                <a:lnTo>
                  <a:pt x="161525" y="133590"/>
                </a:lnTo>
                <a:close/>
                <a:moveTo>
                  <a:pt x="104080" y="133590"/>
                </a:moveTo>
                <a:cubicBezTo>
                  <a:pt x="105878" y="131763"/>
                  <a:pt x="108756" y="131763"/>
                  <a:pt x="110194" y="133590"/>
                </a:cubicBezTo>
                <a:cubicBezTo>
                  <a:pt x="112352" y="135417"/>
                  <a:pt x="112352" y="137974"/>
                  <a:pt x="110194" y="139801"/>
                </a:cubicBezTo>
                <a:lnTo>
                  <a:pt x="74947" y="175973"/>
                </a:lnTo>
                <a:cubicBezTo>
                  <a:pt x="73868" y="176704"/>
                  <a:pt x="72789" y="177435"/>
                  <a:pt x="71710" y="177435"/>
                </a:cubicBezTo>
                <a:cubicBezTo>
                  <a:pt x="70631" y="177435"/>
                  <a:pt x="69193" y="176704"/>
                  <a:pt x="68473" y="175973"/>
                </a:cubicBezTo>
                <a:cubicBezTo>
                  <a:pt x="66675" y="174512"/>
                  <a:pt x="66675" y="171223"/>
                  <a:pt x="68473" y="169762"/>
                </a:cubicBezTo>
                <a:lnTo>
                  <a:pt x="104080" y="133590"/>
                </a:lnTo>
                <a:close/>
                <a:moveTo>
                  <a:pt x="75755" y="96698"/>
                </a:moveTo>
                <a:cubicBezTo>
                  <a:pt x="70370" y="104247"/>
                  <a:pt x="61753" y="109639"/>
                  <a:pt x="52059" y="109639"/>
                </a:cubicBezTo>
                <a:lnTo>
                  <a:pt x="44520" y="109639"/>
                </a:lnTo>
                <a:lnTo>
                  <a:pt x="44520" y="193755"/>
                </a:lnTo>
                <a:lnTo>
                  <a:pt x="75755" y="193755"/>
                </a:lnTo>
                <a:cubicBezTo>
                  <a:pt x="76473" y="193755"/>
                  <a:pt x="77550" y="194474"/>
                  <a:pt x="78628" y="194834"/>
                </a:cubicBezTo>
                <a:lnTo>
                  <a:pt x="146485" y="253427"/>
                </a:lnTo>
                <a:lnTo>
                  <a:pt x="214700" y="194834"/>
                </a:lnTo>
                <a:cubicBezTo>
                  <a:pt x="215418" y="194474"/>
                  <a:pt x="216855" y="193755"/>
                  <a:pt x="217573" y="193755"/>
                </a:cubicBezTo>
                <a:lnTo>
                  <a:pt x="248808" y="193755"/>
                </a:lnTo>
                <a:lnTo>
                  <a:pt x="248808" y="109639"/>
                </a:lnTo>
                <a:lnTo>
                  <a:pt x="241269" y="109639"/>
                </a:lnTo>
                <a:cubicBezTo>
                  <a:pt x="231575" y="109639"/>
                  <a:pt x="222599" y="104247"/>
                  <a:pt x="217573" y="96698"/>
                </a:cubicBezTo>
                <a:cubicBezTo>
                  <a:pt x="212546" y="104247"/>
                  <a:pt x="203929" y="109639"/>
                  <a:pt x="193877" y="109639"/>
                </a:cubicBezTo>
                <a:lnTo>
                  <a:pt x="170181" y="109639"/>
                </a:lnTo>
                <a:cubicBezTo>
                  <a:pt x="160487" y="109639"/>
                  <a:pt x="151511" y="104247"/>
                  <a:pt x="146485" y="96698"/>
                </a:cubicBezTo>
                <a:cubicBezTo>
                  <a:pt x="141458" y="104247"/>
                  <a:pt x="132841" y="109639"/>
                  <a:pt x="122788" y="109639"/>
                </a:cubicBezTo>
                <a:lnTo>
                  <a:pt x="99092" y="109639"/>
                </a:lnTo>
                <a:cubicBezTo>
                  <a:pt x="89398" y="109639"/>
                  <a:pt x="80782" y="104247"/>
                  <a:pt x="75755" y="96698"/>
                </a:cubicBezTo>
                <a:close/>
                <a:moveTo>
                  <a:pt x="222240" y="79802"/>
                </a:moveTo>
                <a:lnTo>
                  <a:pt x="222240" y="81240"/>
                </a:lnTo>
                <a:cubicBezTo>
                  <a:pt x="222240" y="92025"/>
                  <a:pt x="230498" y="100652"/>
                  <a:pt x="241269" y="100652"/>
                </a:cubicBezTo>
                <a:lnTo>
                  <a:pt x="264965" y="100652"/>
                </a:lnTo>
                <a:cubicBezTo>
                  <a:pt x="275377" y="100652"/>
                  <a:pt x="283993" y="92025"/>
                  <a:pt x="283993" y="81240"/>
                </a:cubicBezTo>
                <a:lnTo>
                  <a:pt x="283993" y="79802"/>
                </a:lnTo>
                <a:lnTo>
                  <a:pt x="222240" y="79802"/>
                </a:lnTo>
                <a:close/>
                <a:moveTo>
                  <a:pt x="151152" y="79802"/>
                </a:moveTo>
                <a:lnTo>
                  <a:pt x="151152" y="81240"/>
                </a:lnTo>
                <a:cubicBezTo>
                  <a:pt x="151152" y="92025"/>
                  <a:pt x="159769" y="100652"/>
                  <a:pt x="170181" y="100652"/>
                </a:cubicBezTo>
                <a:lnTo>
                  <a:pt x="193877" y="100652"/>
                </a:lnTo>
                <a:cubicBezTo>
                  <a:pt x="204648" y="100652"/>
                  <a:pt x="213264" y="92025"/>
                  <a:pt x="213264" y="81240"/>
                </a:cubicBezTo>
                <a:lnTo>
                  <a:pt x="213264" y="79802"/>
                </a:lnTo>
                <a:lnTo>
                  <a:pt x="151152" y="79802"/>
                </a:lnTo>
                <a:close/>
                <a:moveTo>
                  <a:pt x="80064" y="79802"/>
                </a:moveTo>
                <a:lnTo>
                  <a:pt x="80064" y="81240"/>
                </a:lnTo>
                <a:cubicBezTo>
                  <a:pt x="80064" y="92025"/>
                  <a:pt x="88680" y="100652"/>
                  <a:pt x="99092" y="100652"/>
                </a:cubicBezTo>
                <a:lnTo>
                  <a:pt x="122788" y="100652"/>
                </a:lnTo>
                <a:cubicBezTo>
                  <a:pt x="133560" y="100652"/>
                  <a:pt x="142176" y="92025"/>
                  <a:pt x="142176" y="81240"/>
                </a:cubicBezTo>
                <a:lnTo>
                  <a:pt x="142176" y="79802"/>
                </a:lnTo>
                <a:lnTo>
                  <a:pt x="80064" y="79802"/>
                </a:lnTo>
                <a:close/>
                <a:moveTo>
                  <a:pt x="8976" y="79802"/>
                </a:moveTo>
                <a:lnTo>
                  <a:pt x="8976" y="81240"/>
                </a:lnTo>
                <a:cubicBezTo>
                  <a:pt x="8976" y="92025"/>
                  <a:pt x="17592" y="100652"/>
                  <a:pt x="28363" y="100652"/>
                </a:cubicBezTo>
                <a:lnTo>
                  <a:pt x="52059" y="100652"/>
                </a:lnTo>
                <a:cubicBezTo>
                  <a:pt x="62471" y="100652"/>
                  <a:pt x="71088" y="92025"/>
                  <a:pt x="71088" y="81240"/>
                </a:cubicBezTo>
                <a:lnTo>
                  <a:pt x="71088" y="79802"/>
                </a:lnTo>
                <a:lnTo>
                  <a:pt x="8976" y="79802"/>
                </a:lnTo>
                <a:close/>
                <a:moveTo>
                  <a:pt x="207161" y="44574"/>
                </a:moveTo>
                <a:lnTo>
                  <a:pt x="220445" y="70816"/>
                </a:lnTo>
                <a:lnTo>
                  <a:pt x="277890" y="70816"/>
                </a:lnTo>
                <a:lnTo>
                  <a:pt x="251322" y="44574"/>
                </a:lnTo>
                <a:lnTo>
                  <a:pt x="207161" y="44574"/>
                </a:lnTo>
                <a:close/>
                <a:moveTo>
                  <a:pt x="151152" y="44574"/>
                </a:moveTo>
                <a:lnTo>
                  <a:pt x="151152" y="70816"/>
                </a:lnTo>
                <a:lnTo>
                  <a:pt x="210392" y="70816"/>
                </a:lnTo>
                <a:lnTo>
                  <a:pt x="197108" y="44574"/>
                </a:lnTo>
                <a:lnTo>
                  <a:pt x="151152" y="44574"/>
                </a:lnTo>
                <a:close/>
                <a:moveTo>
                  <a:pt x="95861" y="44574"/>
                </a:moveTo>
                <a:lnTo>
                  <a:pt x="82936" y="70816"/>
                </a:lnTo>
                <a:lnTo>
                  <a:pt x="142176" y="70816"/>
                </a:lnTo>
                <a:lnTo>
                  <a:pt x="142176" y="44574"/>
                </a:lnTo>
                <a:lnTo>
                  <a:pt x="95861" y="44574"/>
                </a:lnTo>
                <a:close/>
                <a:moveTo>
                  <a:pt x="42006" y="44574"/>
                </a:moveTo>
                <a:lnTo>
                  <a:pt x="15438" y="70816"/>
                </a:lnTo>
                <a:lnTo>
                  <a:pt x="72883" y="70816"/>
                </a:lnTo>
                <a:lnTo>
                  <a:pt x="86167" y="44574"/>
                </a:lnTo>
                <a:lnTo>
                  <a:pt x="42006" y="44574"/>
                </a:lnTo>
                <a:close/>
                <a:moveTo>
                  <a:pt x="44520" y="8987"/>
                </a:moveTo>
                <a:lnTo>
                  <a:pt x="44520" y="35588"/>
                </a:lnTo>
                <a:lnTo>
                  <a:pt x="248808" y="35588"/>
                </a:lnTo>
                <a:lnTo>
                  <a:pt x="248808" y="8987"/>
                </a:lnTo>
                <a:lnTo>
                  <a:pt x="44520" y="8987"/>
                </a:lnTo>
                <a:close/>
                <a:moveTo>
                  <a:pt x="40211" y="0"/>
                </a:moveTo>
                <a:lnTo>
                  <a:pt x="253117" y="0"/>
                </a:lnTo>
                <a:cubicBezTo>
                  <a:pt x="255630" y="0"/>
                  <a:pt x="257784" y="1797"/>
                  <a:pt x="257784" y="4314"/>
                </a:cubicBezTo>
                <a:lnTo>
                  <a:pt x="257784" y="38104"/>
                </a:lnTo>
                <a:lnTo>
                  <a:pt x="291533" y="72254"/>
                </a:lnTo>
                <a:cubicBezTo>
                  <a:pt x="292610" y="73332"/>
                  <a:pt x="292969" y="74410"/>
                  <a:pt x="292969" y="75489"/>
                </a:cubicBezTo>
                <a:lnTo>
                  <a:pt x="292969" y="81240"/>
                </a:lnTo>
                <a:cubicBezTo>
                  <a:pt x="292969" y="97057"/>
                  <a:pt x="280403" y="109639"/>
                  <a:pt x="264965" y="109639"/>
                </a:cubicBezTo>
                <a:lnTo>
                  <a:pt x="257784" y="109639"/>
                </a:lnTo>
                <a:lnTo>
                  <a:pt x="257784" y="198428"/>
                </a:lnTo>
                <a:cubicBezTo>
                  <a:pt x="257784" y="200585"/>
                  <a:pt x="255630" y="202742"/>
                  <a:pt x="253117" y="202742"/>
                </a:cubicBezTo>
                <a:lnTo>
                  <a:pt x="219009" y="202742"/>
                </a:lnTo>
                <a:lnTo>
                  <a:pt x="179156" y="236892"/>
                </a:lnTo>
                <a:lnTo>
                  <a:pt x="247372" y="236892"/>
                </a:lnTo>
                <a:cubicBezTo>
                  <a:pt x="248449" y="236892"/>
                  <a:pt x="249885" y="237611"/>
                  <a:pt x="250603" y="238330"/>
                </a:cubicBezTo>
                <a:lnTo>
                  <a:pt x="291892" y="285780"/>
                </a:lnTo>
                <a:cubicBezTo>
                  <a:pt x="293328" y="287218"/>
                  <a:pt x="293328" y="289015"/>
                  <a:pt x="292610" y="290453"/>
                </a:cubicBezTo>
                <a:cubicBezTo>
                  <a:pt x="291892" y="292250"/>
                  <a:pt x="290456" y="293329"/>
                  <a:pt x="288661" y="293329"/>
                </a:cubicBezTo>
                <a:lnTo>
                  <a:pt x="4667" y="293329"/>
                </a:lnTo>
                <a:cubicBezTo>
                  <a:pt x="2872" y="293329"/>
                  <a:pt x="1077" y="292250"/>
                  <a:pt x="359" y="290453"/>
                </a:cubicBezTo>
                <a:cubicBezTo>
                  <a:pt x="0" y="289015"/>
                  <a:pt x="0" y="287218"/>
                  <a:pt x="1077" y="285780"/>
                </a:cubicBezTo>
                <a:lnTo>
                  <a:pt x="42725" y="238330"/>
                </a:lnTo>
                <a:cubicBezTo>
                  <a:pt x="43443" y="237611"/>
                  <a:pt x="44879" y="236892"/>
                  <a:pt x="45956" y="236892"/>
                </a:cubicBezTo>
                <a:lnTo>
                  <a:pt x="113813" y="236892"/>
                </a:lnTo>
                <a:lnTo>
                  <a:pt x="73960" y="202742"/>
                </a:lnTo>
                <a:lnTo>
                  <a:pt x="40211" y="202742"/>
                </a:lnTo>
                <a:cubicBezTo>
                  <a:pt x="37698" y="202742"/>
                  <a:pt x="35903" y="200585"/>
                  <a:pt x="35903" y="198428"/>
                </a:cubicBezTo>
                <a:lnTo>
                  <a:pt x="35903" y="109639"/>
                </a:lnTo>
                <a:lnTo>
                  <a:pt x="28363" y="109639"/>
                </a:lnTo>
                <a:cubicBezTo>
                  <a:pt x="12925" y="109639"/>
                  <a:pt x="0" y="97057"/>
                  <a:pt x="0" y="81240"/>
                </a:cubicBezTo>
                <a:lnTo>
                  <a:pt x="0" y="75489"/>
                </a:lnTo>
                <a:cubicBezTo>
                  <a:pt x="0" y="74410"/>
                  <a:pt x="359" y="73332"/>
                  <a:pt x="1436" y="72254"/>
                </a:cubicBezTo>
                <a:lnTo>
                  <a:pt x="35903" y="38104"/>
                </a:lnTo>
                <a:lnTo>
                  <a:pt x="35903" y="4314"/>
                </a:lnTo>
                <a:cubicBezTo>
                  <a:pt x="35903" y="1797"/>
                  <a:pt x="37698" y="0"/>
                  <a:pt x="40211" y="0"/>
                </a:cubicBezTo>
                <a:close/>
              </a:path>
            </a:pathLst>
          </a:custGeom>
          <a:solidFill>
            <a:schemeClr val="bg1"/>
          </a:solidFill>
          <a:ln>
            <a:noFill/>
          </a:ln>
        </p:spPr>
        <p:txBody>
          <a:bodyPr anchor="ctr"/>
          <a:lstStyle/>
          <a:p>
            <a:endParaRPr lang="en-US" sz="900" dirty="0"/>
          </a:p>
        </p:txBody>
      </p:sp>
      <p:sp>
        <p:nvSpPr>
          <p:cNvPr id="34" name="Freeform 948">
            <a:extLst>
              <a:ext uri="{FF2B5EF4-FFF2-40B4-BE49-F238E27FC236}">
                <a16:creationId xmlns:a16="http://schemas.microsoft.com/office/drawing/2014/main" id="{6DCAB7DC-AE30-E845-B8BB-AE06F4BF0B42}"/>
              </a:ext>
            </a:extLst>
          </p:cNvPr>
          <p:cNvSpPr>
            <a:spLocks noChangeAspect="1"/>
          </p:cNvSpPr>
          <p:nvPr/>
        </p:nvSpPr>
        <p:spPr bwMode="auto">
          <a:xfrm>
            <a:off x="10006705" y="1807833"/>
            <a:ext cx="464342" cy="409063"/>
          </a:xfrm>
          <a:custGeom>
            <a:avLst/>
            <a:gdLst>
              <a:gd name="T0" fmla="*/ 8349852 w 293328"/>
              <a:gd name="T1" fmla="*/ 8301957 h 258401"/>
              <a:gd name="T2" fmla="*/ 2768565 w 293328"/>
              <a:gd name="T3" fmla="*/ 7968782 h 258401"/>
              <a:gd name="T4" fmla="*/ 2595521 w 293328"/>
              <a:gd name="T5" fmla="*/ 8142044 h 258401"/>
              <a:gd name="T6" fmla="*/ 7427340 w 293328"/>
              <a:gd name="T7" fmla="*/ 8165276 h 258401"/>
              <a:gd name="T8" fmla="*/ 8342689 w 293328"/>
              <a:gd name="T9" fmla="*/ 7246352 h 258401"/>
              <a:gd name="T10" fmla="*/ 2746019 w 293328"/>
              <a:gd name="T11" fmla="*/ 9084214 h 258401"/>
              <a:gd name="T12" fmla="*/ 313909 w 293328"/>
              <a:gd name="T13" fmla="*/ 6379944 h 258401"/>
              <a:gd name="T14" fmla="*/ 1516812 w 293328"/>
              <a:gd name="T15" fmla="*/ 7994594 h 258401"/>
              <a:gd name="T16" fmla="*/ 6028188 w 293328"/>
              <a:gd name="T17" fmla="*/ 7994594 h 258401"/>
              <a:gd name="T18" fmla="*/ 7262820 w 293328"/>
              <a:gd name="T19" fmla="*/ 6005470 h 258401"/>
              <a:gd name="T20" fmla="*/ 8066382 w 293328"/>
              <a:gd name="T21" fmla="*/ 6338572 h 258401"/>
              <a:gd name="T22" fmla="*/ 7262820 w 293328"/>
              <a:gd name="T23" fmla="*/ 6005470 h 258401"/>
              <a:gd name="T24" fmla="*/ 4629065 w 293328"/>
              <a:gd name="T25" fmla="*/ 4108887 h 258401"/>
              <a:gd name="T26" fmla="*/ 5060506 w 293328"/>
              <a:gd name="T27" fmla="*/ 3347514 h 258401"/>
              <a:gd name="T28" fmla="*/ 3334483 w 293328"/>
              <a:gd name="T29" fmla="*/ 6051752 h 258401"/>
              <a:gd name="T30" fmla="*/ 5387413 w 293328"/>
              <a:gd name="T31" fmla="*/ 3347514 h 258401"/>
              <a:gd name="T32" fmla="*/ 5165152 w 293328"/>
              <a:gd name="T33" fmla="*/ 4633951 h 258401"/>
              <a:gd name="T34" fmla="*/ 4145137 w 293328"/>
              <a:gd name="T35" fmla="*/ 4647133 h 258401"/>
              <a:gd name="T36" fmla="*/ 3975178 w 293328"/>
              <a:gd name="T37" fmla="*/ 3347514 h 258401"/>
              <a:gd name="T38" fmla="*/ 1281409 w 293328"/>
              <a:gd name="T39" fmla="*/ 4240142 h 258401"/>
              <a:gd name="T40" fmla="*/ 1725982 w 293328"/>
              <a:gd name="T41" fmla="*/ 4108887 h 258401"/>
              <a:gd name="T42" fmla="*/ 1281409 w 293328"/>
              <a:gd name="T43" fmla="*/ 3347514 h 258401"/>
              <a:gd name="T44" fmla="*/ 3007614 w 293328"/>
              <a:gd name="T45" fmla="*/ 6051752 h 258401"/>
              <a:gd name="T46" fmla="*/ 2366801 w 293328"/>
              <a:gd name="T47" fmla="*/ 4476413 h 258401"/>
              <a:gd name="T48" fmla="*/ 2144534 w 293328"/>
              <a:gd name="T49" fmla="*/ 4633951 h 258401"/>
              <a:gd name="T50" fmla="*/ 1033033 w 293328"/>
              <a:gd name="T51" fmla="*/ 4607672 h 258401"/>
              <a:gd name="T52" fmla="*/ 313909 w 293328"/>
              <a:gd name="T53" fmla="*/ 3347514 h 258401"/>
              <a:gd name="T54" fmla="*/ 8081181 w 293328"/>
              <a:gd name="T55" fmla="*/ 4962172 h 258401"/>
              <a:gd name="T56" fmla="*/ 7636597 w 293328"/>
              <a:gd name="T57" fmla="*/ 2257910 h 258401"/>
              <a:gd name="T58" fmla="*/ 6355072 w 293328"/>
              <a:gd name="T59" fmla="*/ 7994594 h 258401"/>
              <a:gd name="T60" fmla="*/ 9571878 w 293328"/>
              <a:gd name="T61" fmla="*/ 7994594 h 258401"/>
              <a:gd name="T62" fmla="*/ 10343328 w 293328"/>
              <a:gd name="T63" fmla="*/ 7246352 h 258401"/>
              <a:gd name="T64" fmla="*/ 9781055 w 293328"/>
              <a:gd name="T65" fmla="*/ 6918183 h 258401"/>
              <a:gd name="T66" fmla="*/ 9781055 w 293328"/>
              <a:gd name="T67" fmla="*/ 6340609 h 258401"/>
              <a:gd name="T68" fmla="*/ 10343328 w 293328"/>
              <a:gd name="T69" fmla="*/ 6012395 h 258401"/>
              <a:gd name="T70" fmla="*/ 8081181 w 293328"/>
              <a:gd name="T71" fmla="*/ 5290377 h 258401"/>
              <a:gd name="T72" fmla="*/ 6355072 w 293328"/>
              <a:gd name="T73" fmla="*/ 2257910 h 258401"/>
              <a:gd name="T74" fmla="*/ 3112118 w 293328"/>
              <a:gd name="T75" fmla="*/ 1076409 h 258401"/>
              <a:gd name="T76" fmla="*/ 3543702 w 293328"/>
              <a:gd name="T77" fmla="*/ 315023 h 258401"/>
              <a:gd name="T78" fmla="*/ 1830713 w 293328"/>
              <a:gd name="T79" fmla="*/ 3019316 h 258401"/>
              <a:gd name="T80" fmla="*/ 3870609 w 293328"/>
              <a:gd name="T81" fmla="*/ 315023 h 258401"/>
              <a:gd name="T82" fmla="*/ 3713697 w 293328"/>
              <a:gd name="T83" fmla="*/ 1614662 h 258401"/>
              <a:gd name="T84" fmla="*/ 2693707 w 293328"/>
              <a:gd name="T85" fmla="*/ 1601593 h 258401"/>
              <a:gd name="T86" fmla="*/ 2471445 w 293328"/>
              <a:gd name="T87" fmla="*/ 315023 h 258401"/>
              <a:gd name="T88" fmla="*/ 4681277 w 293328"/>
              <a:gd name="T89" fmla="*/ 0 h 258401"/>
              <a:gd name="T90" fmla="*/ 6028188 w 293328"/>
              <a:gd name="T91" fmla="*/ 3019316 h 258401"/>
              <a:gd name="T92" fmla="*/ 7636597 w 293328"/>
              <a:gd name="T93" fmla="*/ 1929718 h 258401"/>
              <a:gd name="T94" fmla="*/ 10657173 w 293328"/>
              <a:gd name="T95" fmla="*/ 5999216 h 258401"/>
              <a:gd name="T96" fmla="*/ 9571878 w 293328"/>
              <a:gd name="T97" fmla="*/ 8322837 h 258401"/>
              <a:gd name="T98" fmla="*/ 3975178 w 293328"/>
              <a:gd name="T99" fmla="*/ 8322837 h 258401"/>
              <a:gd name="T100" fmla="*/ 588459 w 293328"/>
              <a:gd name="T101" fmla="*/ 8322837 h 258401"/>
              <a:gd name="T102" fmla="*/ 0 w 293328"/>
              <a:gd name="T103" fmla="*/ 3189998 h 258401"/>
              <a:gd name="T104" fmla="*/ 1503810 w 293328"/>
              <a:gd name="T105" fmla="*/ 157521 h 25840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3328" h="258401">
                <a:moveTo>
                  <a:pt x="229821" y="219075"/>
                </a:moveTo>
                <a:cubicBezTo>
                  <a:pt x="232386" y="219075"/>
                  <a:pt x="234584" y="220907"/>
                  <a:pt x="234584" y="223838"/>
                </a:cubicBezTo>
                <a:cubicBezTo>
                  <a:pt x="234584" y="226402"/>
                  <a:pt x="232386" y="228234"/>
                  <a:pt x="229821" y="228234"/>
                </a:cubicBezTo>
                <a:cubicBezTo>
                  <a:pt x="227257" y="228234"/>
                  <a:pt x="225425" y="226402"/>
                  <a:pt x="225425" y="223838"/>
                </a:cubicBezTo>
                <a:cubicBezTo>
                  <a:pt x="225425" y="220907"/>
                  <a:pt x="227257" y="219075"/>
                  <a:pt x="229821" y="219075"/>
                </a:cubicBezTo>
                <a:close/>
                <a:moveTo>
                  <a:pt x="76200" y="219075"/>
                </a:moveTo>
                <a:cubicBezTo>
                  <a:pt x="78398" y="219075"/>
                  <a:pt x="80597" y="220907"/>
                  <a:pt x="80597" y="223838"/>
                </a:cubicBezTo>
                <a:cubicBezTo>
                  <a:pt x="80597" y="226402"/>
                  <a:pt x="78398" y="228234"/>
                  <a:pt x="76200" y="228234"/>
                </a:cubicBezTo>
                <a:cubicBezTo>
                  <a:pt x="73636" y="228234"/>
                  <a:pt x="71438" y="226402"/>
                  <a:pt x="71438" y="223838"/>
                </a:cubicBezTo>
                <a:cubicBezTo>
                  <a:pt x="71438" y="220907"/>
                  <a:pt x="73636" y="219075"/>
                  <a:pt x="76200" y="219075"/>
                </a:cubicBezTo>
                <a:close/>
                <a:moveTo>
                  <a:pt x="229624" y="199214"/>
                </a:moveTo>
                <a:cubicBezTo>
                  <a:pt x="215947" y="199214"/>
                  <a:pt x="204430" y="210402"/>
                  <a:pt x="204430" y="224477"/>
                </a:cubicBezTo>
                <a:cubicBezTo>
                  <a:pt x="204430" y="238191"/>
                  <a:pt x="215947" y="249740"/>
                  <a:pt x="229624" y="249740"/>
                </a:cubicBezTo>
                <a:cubicBezTo>
                  <a:pt x="243660" y="249740"/>
                  <a:pt x="254818" y="238191"/>
                  <a:pt x="254818" y="224477"/>
                </a:cubicBezTo>
                <a:cubicBezTo>
                  <a:pt x="254818" y="210402"/>
                  <a:pt x="243660" y="199214"/>
                  <a:pt x="229624" y="199214"/>
                </a:cubicBezTo>
                <a:close/>
                <a:moveTo>
                  <a:pt x="75581" y="199214"/>
                </a:moveTo>
                <a:cubicBezTo>
                  <a:pt x="61545" y="199214"/>
                  <a:pt x="50388" y="210402"/>
                  <a:pt x="50388" y="224477"/>
                </a:cubicBezTo>
                <a:cubicBezTo>
                  <a:pt x="50388" y="238191"/>
                  <a:pt x="61545" y="249740"/>
                  <a:pt x="75581" y="249740"/>
                </a:cubicBezTo>
                <a:cubicBezTo>
                  <a:pt x="89258" y="249740"/>
                  <a:pt x="100415" y="238191"/>
                  <a:pt x="100415" y="224477"/>
                </a:cubicBezTo>
                <a:cubicBezTo>
                  <a:pt x="100415" y="210402"/>
                  <a:pt x="89258" y="199214"/>
                  <a:pt x="75581" y="199214"/>
                </a:cubicBezTo>
                <a:close/>
                <a:moveTo>
                  <a:pt x="8638" y="175395"/>
                </a:moveTo>
                <a:lnTo>
                  <a:pt x="8638" y="212568"/>
                </a:lnTo>
                <a:cubicBezTo>
                  <a:pt x="8638" y="216537"/>
                  <a:pt x="11877" y="219785"/>
                  <a:pt x="16196" y="219785"/>
                </a:cubicBezTo>
                <a:lnTo>
                  <a:pt x="41750" y="219785"/>
                </a:lnTo>
                <a:cubicBezTo>
                  <a:pt x="43909" y="203184"/>
                  <a:pt x="58306" y="190192"/>
                  <a:pt x="75581" y="190192"/>
                </a:cubicBezTo>
                <a:cubicBezTo>
                  <a:pt x="92857" y="190192"/>
                  <a:pt x="106894" y="203184"/>
                  <a:pt x="109413" y="219785"/>
                </a:cubicBezTo>
                <a:lnTo>
                  <a:pt x="165919" y="219785"/>
                </a:lnTo>
                <a:lnTo>
                  <a:pt x="165919" y="175395"/>
                </a:lnTo>
                <a:lnTo>
                  <a:pt x="8638" y="175395"/>
                </a:lnTo>
                <a:close/>
                <a:moveTo>
                  <a:pt x="199901" y="165100"/>
                </a:moveTo>
                <a:lnTo>
                  <a:pt x="222019" y="165100"/>
                </a:lnTo>
                <a:cubicBezTo>
                  <a:pt x="224873" y="165100"/>
                  <a:pt x="226656" y="166932"/>
                  <a:pt x="226656" y="169863"/>
                </a:cubicBezTo>
                <a:cubicBezTo>
                  <a:pt x="226656" y="172061"/>
                  <a:pt x="224873" y="174259"/>
                  <a:pt x="222019" y="174259"/>
                </a:cubicBezTo>
                <a:lnTo>
                  <a:pt x="199901" y="174259"/>
                </a:lnTo>
                <a:cubicBezTo>
                  <a:pt x="197404" y="174259"/>
                  <a:pt x="195263" y="172061"/>
                  <a:pt x="195263" y="169863"/>
                </a:cubicBezTo>
                <a:cubicBezTo>
                  <a:pt x="195263" y="166932"/>
                  <a:pt x="197404" y="165100"/>
                  <a:pt x="199901" y="165100"/>
                </a:cubicBezTo>
                <a:close/>
                <a:moveTo>
                  <a:pt x="118411" y="92028"/>
                </a:moveTo>
                <a:lnTo>
                  <a:pt x="118411" y="116569"/>
                </a:lnTo>
                <a:lnTo>
                  <a:pt x="127409" y="112960"/>
                </a:lnTo>
                <a:cubicBezTo>
                  <a:pt x="128128" y="112599"/>
                  <a:pt x="129208" y="112599"/>
                  <a:pt x="130288" y="112960"/>
                </a:cubicBezTo>
                <a:lnTo>
                  <a:pt x="139286" y="116569"/>
                </a:lnTo>
                <a:lnTo>
                  <a:pt x="139286" y="92028"/>
                </a:lnTo>
                <a:lnTo>
                  <a:pt x="118411" y="92028"/>
                </a:lnTo>
                <a:close/>
                <a:moveTo>
                  <a:pt x="91777" y="92028"/>
                </a:moveTo>
                <a:lnTo>
                  <a:pt x="91777" y="166373"/>
                </a:lnTo>
                <a:lnTo>
                  <a:pt x="165919" y="166373"/>
                </a:lnTo>
                <a:lnTo>
                  <a:pt x="165919" y="92028"/>
                </a:lnTo>
                <a:lnTo>
                  <a:pt x="148284" y="92028"/>
                </a:lnTo>
                <a:lnTo>
                  <a:pt x="148284" y="123065"/>
                </a:lnTo>
                <a:cubicBezTo>
                  <a:pt x="148284" y="124870"/>
                  <a:pt x="147204" y="125952"/>
                  <a:pt x="146124" y="126674"/>
                </a:cubicBezTo>
                <a:cubicBezTo>
                  <a:pt x="145044" y="127757"/>
                  <a:pt x="143245" y="127757"/>
                  <a:pt x="142165" y="127396"/>
                </a:cubicBezTo>
                <a:lnTo>
                  <a:pt x="128848" y="121983"/>
                </a:lnTo>
                <a:lnTo>
                  <a:pt x="115532" y="127396"/>
                </a:lnTo>
                <a:cubicBezTo>
                  <a:pt x="115172" y="127757"/>
                  <a:pt x="114452" y="127757"/>
                  <a:pt x="114092" y="127757"/>
                </a:cubicBezTo>
                <a:cubicBezTo>
                  <a:pt x="113012" y="127757"/>
                  <a:pt x="112292" y="127396"/>
                  <a:pt x="111573" y="126674"/>
                </a:cubicBezTo>
                <a:cubicBezTo>
                  <a:pt x="110493" y="125952"/>
                  <a:pt x="109413" y="124870"/>
                  <a:pt x="109413" y="123065"/>
                </a:cubicBezTo>
                <a:lnTo>
                  <a:pt x="109413" y="92028"/>
                </a:lnTo>
                <a:lnTo>
                  <a:pt x="91777" y="92028"/>
                </a:lnTo>
                <a:close/>
                <a:moveTo>
                  <a:pt x="35271" y="92028"/>
                </a:moveTo>
                <a:lnTo>
                  <a:pt x="35271" y="116569"/>
                </a:lnTo>
                <a:lnTo>
                  <a:pt x="44269" y="112960"/>
                </a:lnTo>
                <a:cubicBezTo>
                  <a:pt x="44629" y="112960"/>
                  <a:pt x="45349" y="112960"/>
                  <a:pt x="45709" y="112960"/>
                </a:cubicBezTo>
                <a:cubicBezTo>
                  <a:pt x="46428" y="112960"/>
                  <a:pt x="46788" y="112960"/>
                  <a:pt x="47508" y="112960"/>
                </a:cubicBezTo>
                <a:lnTo>
                  <a:pt x="56146" y="116569"/>
                </a:lnTo>
                <a:lnTo>
                  <a:pt x="56146" y="92028"/>
                </a:lnTo>
                <a:lnTo>
                  <a:pt x="35271" y="92028"/>
                </a:lnTo>
                <a:close/>
                <a:moveTo>
                  <a:pt x="8638" y="92028"/>
                </a:moveTo>
                <a:lnTo>
                  <a:pt x="8638" y="166373"/>
                </a:lnTo>
                <a:lnTo>
                  <a:pt x="82780" y="166373"/>
                </a:lnTo>
                <a:lnTo>
                  <a:pt x="82780" y="92028"/>
                </a:lnTo>
                <a:lnTo>
                  <a:pt x="65144" y="92028"/>
                </a:lnTo>
                <a:lnTo>
                  <a:pt x="65144" y="123065"/>
                </a:lnTo>
                <a:cubicBezTo>
                  <a:pt x="65144" y="124870"/>
                  <a:pt x="64064" y="125952"/>
                  <a:pt x="63344" y="126674"/>
                </a:cubicBezTo>
                <a:cubicBezTo>
                  <a:pt x="62265" y="127396"/>
                  <a:pt x="61545" y="127757"/>
                  <a:pt x="60825" y="127757"/>
                </a:cubicBezTo>
                <a:cubicBezTo>
                  <a:pt x="60105" y="127757"/>
                  <a:pt x="59385" y="127757"/>
                  <a:pt x="59025" y="127396"/>
                </a:cubicBezTo>
                <a:lnTo>
                  <a:pt x="45709" y="121983"/>
                </a:lnTo>
                <a:lnTo>
                  <a:pt x="32752" y="127396"/>
                </a:lnTo>
                <a:cubicBezTo>
                  <a:pt x="31312" y="127757"/>
                  <a:pt x="29513" y="127757"/>
                  <a:pt x="28433" y="126674"/>
                </a:cubicBezTo>
                <a:cubicBezTo>
                  <a:pt x="27353" y="125952"/>
                  <a:pt x="26273" y="124870"/>
                  <a:pt x="26273" y="123065"/>
                </a:cubicBezTo>
                <a:lnTo>
                  <a:pt x="26273" y="92028"/>
                </a:lnTo>
                <a:lnTo>
                  <a:pt x="8638" y="92028"/>
                </a:lnTo>
                <a:close/>
                <a:moveTo>
                  <a:pt x="204430" y="62074"/>
                </a:moveTo>
                <a:lnTo>
                  <a:pt x="204430" y="118374"/>
                </a:lnTo>
                <a:cubicBezTo>
                  <a:pt x="204430" y="128479"/>
                  <a:pt x="212708" y="136418"/>
                  <a:pt x="222426" y="136418"/>
                </a:cubicBezTo>
                <a:lnTo>
                  <a:pt x="258417" y="136418"/>
                </a:lnTo>
                <a:lnTo>
                  <a:pt x="233223" y="77592"/>
                </a:lnTo>
                <a:cubicBezTo>
                  <a:pt x="229264" y="68209"/>
                  <a:pt x="220266" y="62074"/>
                  <a:pt x="210189" y="62074"/>
                </a:cubicBezTo>
                <a:lnTo>
                  <a:pt x="204430" y="62074"/>
                </a:lnTo>
                <a:close/>
                <a:moveTo>
                  <a:pt x="174917" y="62074"/>
                </a:moveTo>
                <a:lnTo>
                  <a:pt x="174917" y="219785"/>
                </a:lnTo>
                <a:lnTo>
                  <a:pt x="195792" y="219785"/>
                </a:lnTo>
                <a:cubicBezTo>
                  <a:pt x="197952" y="203184"/>
                  <a:pt x="212348" y="190192"/>
                  <a:pt x="229624" y="190192"/>
                </a:cubicBezTo>
                <a:cubicBezTo>
                  <a:pt x="246900" y="190192"/>
                  <a:pt x="261296" y="203184"/>
                  <a:pt x="263456" y="219785"/>
                </a:cubicBezTo>
                <a:lnTo>
                  <a:pt x="277132" y="219785"/>
                </a:lnTo>
                <a:cubicBezTo>
                  <a:pt x="281091" y="219785"/>
                  <a:pt x="284690" y="216537"/>
                  <a:pt x="284690" y="212568"/>
                </a:cubicBezTo>
                <a:lnTo>
                  <a:pt x="284690" y="199214"/>
                </a:lnTo>
                <a:lnTo>
                  <a:pt x="269214" y="199214"/>
                </a:lnTo>
                <a:cubicBezTo>
                  <a:pt x="267055" y="199214"/>
                  <a:pt x="264895" y="197049"/>
                  <a:pt x="264895" y="194523"/>
                </a:cubicBezTo>
                <a:cubicBezTo>
                  <a:pt x="264895" y="191996"/>
                  <a:pt x="267055" y="190192"/>
                  <a:pt x="269214" y="190192"/>
                </a:cubicBezTo>
                <a:lnTo>
                  <a:pt x="284690" y="190192"/>
                </a:lnTo>
                <a:lnTo>
                  <a:pt x="284690" y="174313"/>
                </a:lnTo>
                <a:lnTo>
                  <a:pt x="269214" y="174313"/>
                </a:lnTo>
                <a:cubicBezTo>
                  <a:pt x="267055" y="174313"/>
                  <a:pt x="264895" y="172147"/>
                  <a:pt x="264895" y="169982"/>
                </a:cubicBezTo>
                <a:cubicBezTo>
                  <a:pt x="264895" y="167095"/>
                  <a:pt x="267055" y="165290"/>
                  <a:pt x="269214" y="165290"/>
                </a:cubicBezTo>
                <a:lnTo>
                  <a:pt x="284690" y="165290"/>
                </a:lnTo>
                <a:lnTo>
                  <a:pt x="284690" y="164929"/>
                </a:lnTo>
                <a:cubicBezTo>
                  <a:pt x="284690" y="154102"/>
                  <a:pt x="275693" y="145441"/>
                  <a:pt x="265255" y="145441"/>
                </a:cubicBezTo>
                <a:lnTo>
                  <a:pt x="222426" y="145441"/>
                </a:lnTo>
                <a:cubicBezTo>
                  <a:pt x="207669" y="145441"/>
                  <a:pt x="195432" y="133531"/>
                  <a:pt x="195432" y="118374"/>
                </a:cubicBezTo>
                <a:lnTo>
                  <a:pt x="195432" y="62074"/>
                </a:lnTo>
                <a:lnTo>
                  <a:pt x="174917" y="62074"/>
                </a:lnTo>
                <a:close/>
                <a:moveTo>
                  <a:pt x="77021" y="8661"/>
                </a:moveTo>
                <a:lnTo>
                  <a:pt x="77021" y="33202"/>
                </a:lnTo>
                <a:lnTo>
                  <a:pt x="85659" y="29593"/>
                </a:lnTo>
                <a:cubicBezTo>
                  <a:pt x="86739" y="29232"/>
                  <a:pt x="87818" y="29232"/>
                  <a:pt x="88898" y="29593"/>
                </a:cubicBezTo>
                <a:lnTo>
                  <a:pt x="97536" y="33202"/>
                </a:lnTo>
                <a:lnTo>
                  <a:pt x="97536" y="8661"/>
                </a:lnTo>
                <a:lnTo>
                  <a:pt x="77021" y="8661"/>
                </a:lnTo>
                <a:close/>
                <a:moveTo>
                  <a:pt x="50388" y="8661"/>
                </a:moveTo>
                <a:lnTo>
                  <a:pt x="50388" y="83006"/>
                </a:lnTo>
                <a:lnTo>
                  <a:pt x="124169" y="83006"/>
                </a:lnTo>
                <a:lnTo>
                  <a:pt x="124169" y="8661"/>
                </a:lnTo>
                <a:lnTo>
                  <a:pt x="106534" y="8661"/>
                </a:lnTo>
                <a:lnTo>
                  <a:pt x="106534" y="40059"/>
                </a:lnTo>
                <a:cubicBezTo>
                  <a:pt x="106534" y="41503"/>
                  <a:pt x="105814" y="42946"/>
                  <a:pt x="104734" y="43307"/>
                </a:cubicBezTo>
                <a:cubicBezTo>
                  <a:pt x="104014" y="44029"/>
                  <a:pt x="102935" y="44390"/>
                  <a:pt x="102215" y="44390"/>
                </a:cubicBezTo>
                <a:cubicBezTo>
                  <a:pt x="101855" y="44390"/>
                  <a:pt x="101135" y="44390"/>
                  <a:pt x="100415" y="44029"/>
                </a:cubicBezTo>
                <a:lnTo>
                  <a:pt x="87458" y="38977"/>
                </a:lnTo>
                <a:lnTo>
                  <a:pt x="74142" y="44029"/>
                </a:lnTo>
                <a:cubicBezTo>
                  <a:pt x="72702" y="44751"/>
                  <a:pt x="71262" y="44390"/>
                  <a:pt x="69823" y="43307"/>
                </a:cubicBezTo>
                <a:cubicBezTo>
                  <a:pt x="68743" y="42946"/>
                  <a:pt x="68023" y="41503"/>
                  <a:pt x="68023" y="40059"/>
                </a:cubicBezTo>
                <a:lnTo>
                  <a:pt x="68023" y="8661"/>
                </a:lnTo>
                <a:lnTo>
                  <a:pt x="50388" y="8661"/>
                </a:lnTo>
                <a:close/>
                <a:moveTo>
                  <a:pt x="45709" y="0"/>
                </a:moveTo>
                <a:lnTo>
                  <a:pt x="128848" y="0"/>
                </a:lnTo>
                <a:cubicBezTo>
                  <a:pt x="131368" y="0"/>
                  <a:pt x="133527" y="1804"/>
                  <a:pt x="133527" y="4331"/>
                </a:cubicBezTo>
                <a:lnTo>
                  <a:pt x="133527" y="83006"/>
                </a:lnTo>
                <a:lnTo>
                  <a:pt x="165919" y="83006"/>
                </a:lnTo>
                <a:lnTo>
                  <a:pt x="165919" y="57743"/>
                </a:lnTo>
                <a:cubicBezTo>
                  <a:pt x="165919" y="55578"/>
                  <a:pt x="167719" y="53051"/>
                  <a:pt x="170238" y="53051"/>
                </a:cubicBezTo>
                <a:lnTo>
                  <a:pt x="210189" y="53051"/>
                </a:lnTo>
                <a:cubicBezTo>
                  <a:pt x="223865" y="53051"/>
                  <a:pt x="236102" y="61352"/>
                  <a:pt x="241501" y="73983"/>
                </a:cubicBezTo>
                <a:lnTo>
                  <a:pt x="268134" y="136779"/>
                </a:lnTo>
                <a:cubicBezTo>
                  <a:pt x="282531" y="138223"/>
                  <a:pt x="293328" y="150493"/>
                  <a:pt x="293328" y="164929"/>
                </a:cubicBezTo>
                <a:lnTo>
                  <a:pt x="293328" y="212568"/>
                </a:lnTo>
                <a:cubicBezTo>
                  <a:pt x="293328" y="221590"/>
                  <a:pt x="286130" y="228808"/>
                  <a:pt x="277132" y="228808"/>
                </a:cubicBezTo>
                <a:lnTo>
                  <a:pt x="263456" y="228808"/>
                </a:lnTo>
                <a:cubicBezTo>
                  <a:pt x="261296" y="245409"/>
                  <a:pt x="246900" y="258401"/>
                  <a:pt x="229624" y="258401"/>
                </a:cubicBezTo>
                <a:cubicBezTo>
                  <a:pt x="212348" y="258401"/>
                  <a:pt x="197952" y="245409"/>
                  <a:pt x="195792" y="228808"/>
                </a:cubicBezTo>
                <a:lnTo>
                  <a:pt x="109413" y="228808"/>
                </a:lnTo>
                <a:cubicBezTo>
                  <a:pt x="106894" y="245409"/>
                  <a:pt x="92857" y="258401"/>
                  <a:pt x="75581" y="258401"/>
                </a:cubicBezTo>
                <a:cubicBezTo>
                  <a:pt x="58306" y="258401"/>
                  <a:pt x="43909" y="245409"/>
                  <a:pt x="41750" y="228808"/>
                </a:cubicBezTo>
                <a:lnTo>
                  <a:pt x="16196" y="228808"/>
                </a:lnTo>
                <a:cubicBezTo>
                  <a:pt x="7198" y="228808"/>
                  <a:pt x="0" y="221590"/>
                  <a:pt x="0" y="212568"/>
                </a:cubicBezTo>
                <a:lnTo>
                  <a:pt x="0" y="170704"/>
                </a:lnTo>
                <a:lnTo>
                  <a:pt x="0" y="87697"/>
                </a:lnTo>
                <a:cubicBezTo>
                  <a:pt x="0" y="85171"/>
                  <a:pt x="1799" y="83006"/>
                  <a:pt x="4319" y="83006"/>
                </a:cubicBezTo>
                <a:lnTo>
                  <a:pt x="41390" y="83006"/>
                </a:lnTo>
                <a:lnTo>
                  <a:pt x="41390" y="4331"/>
                </a:lnTo>
                <a:cubicBezTo>
                  <a:pt x="41390" y="1804"/>
                  <a:pt x="43549" y="0"/>
                  <a:pt x="45709" y="0"/>
                </a:cubicBezTo>
                <a:close/>
              </a:path>
            </a:pathLst>
          </a:custGeom>
          <a:solidFill>
            <a:schemeClr val="bg1"/>
          </a:solidFill>
          <a:ln>
            <a:noFill/>
          </a:ln>
        </p:spPr>
        <p:txBody>
          <a:bodyPr anchor="ctr"/>
          <a:lstStyle/>
          <a:p>
            <a:endParaRPr lang="en-US" sz="900" dirty="0"/>
          </a:p>
        </p:txBody>
      </p:sp>
      <p:sp>
        <p:nvSpPr>
          <p:cNvPr id="35" name="Freeform 949">
            <a:extLst>
              <a:ext uri="{FF2B5EF4-FFF2-40B4-BE49-F238E27FC236}">
                <a16:creationId xmlns:a16="http://schemas.microsoft.com/office/drawing/2014/main" id="{A33833FF-6570-D744-802A-D803BCC9A27E}"/>
              </a:ext>
            </a:extLst>
          </p:cNvPr>
          <p:cNvSpPr>
            <a:spLocks noChangeAspect="1"/>
          </p:cNvSpPr>
          <p:nvPr/>
        </p:nvSpPr>
        <p:spPr bwMode="auto">
          <a:xfrm>
            <a:off x="1720955" y="1780194"/>
            <a:ext cx="464342" cy="464342"/>
          </a:xfrm>
          <a:custGeom>
            <a:avLst/>
            <a:gdLst>
              <a:gd name="T0" fmla="*/ 1024419 w 293327"/>
              <a:gd name="T1" fmla="*/ 7648542 h 293759"/>
              <a:gd name="T2" fmla="*/ 692140 w 293327"/>
              <a:gd name="T3" fmla="*/ 7648542 h 293759"/>
              <a:gd name="T4" fmla="*/ 9611389 w 293327"/>
              <a:gd name="T5" fmla="*/ 7458004 h 293759"/>
              <a:gd name="T6" fmla="*/ 7519169 w 293327"/>
              <a:gd name="T7" fmla="*/ 8183367 h 293759"/>
              <a:gd name="T8" fmla="*/ 7506098 w 293327"/>
              <a:gd name="T9" fmla="*/ 8597812 h 293759"/>
              <a:gd name="T10" fmla="*/ 9519895 w 293327"/>
              <a:gd name="T11" fmla="*/ 7885464 h 293759"/>
              <a:gd name="T12" fmla="*/ 9611389 w 293327"/>
              <a:gd name="T13" fmla="*/ 7458004 h 293759"/>
              <a:gd name="T14" fmla="*/ 1673882 w 293327"/>
              <a:gd name="T15" fmla="*/ 9737626 h 293759"/>
              <a:gd name="T16" fmla="*/ 10343687 w 293327"/>
              <a:gd name="T17" fmla="*/ 8170401 h 293759"/>
              <a:gd name="T18" fmla="*/ 9546037 w 293327"/>
              <a:gd name="T19" fmla="*/ 8222154 h 293759"/>
              <a:gd name="T20" fmla="*/ 5871499 w 293327"/>
              <a:gd name="T21" fmla="*/ 9180669 h 293759"/>
              <a:gd name="T22" fmla="*/ 4289181 w 293327"/>
              <a:gd name="T23" fmla="*/ 8895723 h 293759"/>
              <a:gd name="T24" fmla="*/ 6904559 w 293327"/>
              <a:gd name="T25" fmla="*/ 8727317 h 293759"/>
              <a:gd name="T26" fmla="*/ 7087604 w 293327"/>
              <a:gd name="T27" fmla="*/ 7989047 h 293759"/>
              <a:gd name="T28" fmla="*/ 4576905 w 293327"/>
              <a:gd name="T29" fmla="*/ 7548643 h 293759"/>
              <a:gd name="T30" fmla="*/ 313910 w 293327"/>
              <a:gd name="T31" fmla="*/ 7134186 h 293759"/>
              <a:gd name="T32" fmla="*/ 1359972 w 293327"/>
              <a:gd name="T33" fmla="*/ 9685880 h 293759"/>
              <a:gd name="T34" fmla="*/ 313910 w 293327"/>
              <a:gd name="T35" fmla="*/ 7134186 h 293759"/>
              <a:gd name="T36" fmla="*/ 1516917 w 293327"/>
              <a:gd name="T37" fmla="*/ 6810337 h 293759"/>
              <a:gd name="T38" fmla="*/ 6773760 w 293327"/>
              <a:gd name="T39" fmla="*/ 7561594 h 293759"/>
              <a:gd name="T40" fmla="*/ 7414530 w 293327"/>
              <a:gd name="T41" fmla="*/ 7885464 h 293759"/>
              <a:gd name="T42" fmla="*/ 9820647 w 293327"/>
              <a:gd name="T43" fmla="*/ 7198905 h 293759"/>
              <a:gd name="T44" fmla="*/ 10016805 w 293327"/>
              <a:gd name="T45" fmla="*/ 7717049 h 293759"/>
              <a:gd name="T46" fmla="*/ 10657531 w 293327"/>
              <a:gd name="T47" fmla="*/ 8183367 h 293759"/>
              <a:gd name="T48" fmla="*/ 4864577 w 293327"/>
              <a:gd name="T49" fmla="*/ 10501849 h 293759"/>
              <a:gd name="T50" fmla="*/ 156867 w 293327"/>
              <a:gd name="T51" fmla="*/ 10009573 h 293759"/>
              <a:gd name="T52" fmla="*/ 0 w 293327"/>
              <a:gd name="T53" fmla="*/ 6965769 h 293759"/>
              <a:gd name="T54" fmla="*/ 6962182 w 293327"/>
              <a:gd name="T55" fmla="*/ 322741 h 293759"/>
              <a:gd name="T56" fmla="*/ 9881876 w 293327"/>
              <a:gd name="T57" fmla="*/ 1703812 h 293759"/>
              <a:gd name="T58" fmla="*/ 6962182 w 293327"/>
              <a:gd name="T59" fmla="*/ 322741 h 293759"/>
              <a:gd name="T60" fmla="*/ 5233922 w 293327"/>
              <a:gd name="T61" fmla="*/ 3523891 h 293759"/>
              <a:gd name="T62" fmla="*/ 5940931 w 293327"/>
              <a:gd name="T63" fmla="*/ 3188267 h 293759"/>
              <a:gd name="T64" fmla="*/ 6634871 w 293327"/>
              <a:gd name="T65" fmla="*/ 3523891 h 293759"/>
              <a:gd name="T66" fmla="*/ 5233922 w 293327"/>
              <a:gd name="T67" fmla="*/ 322741 h 293759"/>
              <a:gd name="T68" fmla="*/ 2000044 w 293327"/>
              <a:gd name="T69" fmla="*/ 1703812 h 293759"/>
              <a:gd name="T70" fmla="*/ 4906608 w 293327"/>
              <a:gd name="T71" fmla="*/ 322741 h 293759"/>
              <a:gd name="T72" fmla="*/ 1829770 w 293327"/>
              <a:gd name="T73" fmla="*/ 0 h 293759"/>
              <a:gd name="T74" fmla="*/ 10196100 w 293327"/>
              <a:gd name="T75" fmla="*/ 154906 h 293759"/>
              <a:gd name="T76" fmla="*/ 10039022 w 293327"/>
              <a:gd name="T77" fmla="*/ 2013599 h 293759"/>
              <a:gd name="T78" fmla="*/ 9724751 w 293327"/>
              <a:gd name="T79" fmla="*/ 6699326 h 293759"/>
              <a:gd name="T80" fmla="*/ 9397399 w 293327"/>
              <a:gd name="T81" fmla="*/ 6699326 h 293759"/>
              <a:gd name="T82" fmla="*/ 6962182 w 293327"/>
              <a:gd name="T83" fmla="*/ 2013599 h 293759"/>
              <a:gd name="T84" fmla="*/ 6883642 w 293327"/>
              <a:gd name="T85" fmla="*/ 3911178 h 293759"/>
              <a:gd name="T86" fmla="*/ 6726497 w 293327"/>
              <a:gd name="T87" fmla="*/ 3923993 h 293759"/>
              <a:gd name="T88" fmla="*/ 5142310 w 293327"/>
              <a:gd name="T89" fmla="*/ 3923993 h 293759"/>
              <a:gd name="T90" fmla="*/ 4906608 w 293327"/>
              <a:gd name="T91" fmla="*/ 3782032 h 293759"/>
              <a:gd name="T92" fmla="*/ 2484433 w 293327"/>
              <a:gd name="T93" fmla="*/ 2013599 h 293759"/>
              <a:gd name="T94" fmla="*/ 2314248 w 293327"/>
              <a:gd name="T95" fmla="*/ 6531494 h 293759"/>
              <a:gd name="T96" fmla="*/ 2157085 w 293327"/>
              <a:gd name="T97" fmla="*/ 2013599 h 293759"/>
              <a:gd name="T98" fmla="*/ 1672725 w 293327"/>
              <a:gd name="T99" fmla="*/ 1858717 h 293759"/>
              <a:gd name="T100" fmla="*/ 1829770 w 293327"/>
              <a:gd name="T101" fmla="*/ 0 h 2937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3327" h="293759">
                <a:moveTo>
                  <a:pt x="23622" y="209550"/>
                </a:moveTo>
                <a:cubicBezTo>
                  <a:pt x="26289" y="209550"/>
                  <a:pt x="28194" y="211382"/>
                  <a:pt x="28194" y="213946"/>
                </a:cubicBezTo>
                <a:cubicBezTo>
                  <a:pt x="28194" y="216511"/>
                  <a:pt x="26289" y="218709"/>
                  <a:pt x="23622" y="218709"/>
                </a:cubicBezTo>
                <a:cubicBezTo>
                  <a:pt x="20955" y="218709"/>
                  <a:pt x="19050" y="216511"/>
                  <a:pt x="19050" y="213946"/>
                </a:cubicBezTo>
                <a:cubicBezTo>
                  <a:pt x="19050" y="211382"/>
                  <a:pt x="20955" y="209550"/>
                  <a:pt x="23622" y="209550"/>
                </a:cubicBezTo>
                <a:close/>
                <a:moveTo>
                  <a:pt x="264534" y="208615"/>
                </a:moveTo>
                <a:cubicBezTo>
                  <a:pt x="262375" y="207529"/>
                  <a:pt x="251218" y="212239"/>
                  <a:pt x="243300" y="215862"/>
                </a:cubicBezTo>
                <a:cubicBezTo>
                  <a:pt x="233222" y="219847"/>
                  <a:pt x="220985" y="224920"/>
                  <a:pt x="206949" y="228905"/>
                </a:cubicBezTo>
                <a:cubicBezTo>
                  <a:pt x="207309" y="231079"/>
                  <a:pt x="207309" y="233615"/>
                  <a:pt x="207309" y="236151"/>
                </a:cubicBezTo>
                <a:cubicBezTo>
                  <a:pt x="206949" y="237238"/>
                  <a:pt x="206949" y="238688"/>
                  <a:pt x="206589" y="240499"/>
                </a:cubicBezTo>
                <a:cubicBezTo>
                  <a:pt x="229983" y="234340"/>
                  <a:pt x="247259" y="227094"/>
                  <a:pt x="259136" y="222021"/>
                </a:cubicBezTo>
                <a:cubicBezTo>
                  <a:pt x="260216" y="221297"/>
                  <a:pt x="261295" y="220934"/>
                  <a:pt x="262015" y="220572"/>
                </a:cubicBezTo>
                <a:cubicBezTo>
                  <a:pt x="265254" y="217674"/>
                  <a:pt x="267054" y="214775"/>
                  <a:pt x="267054" y="212601"/>
                </a:cubicBezTo>
                <a:cubicBezTo>
                  <a:pt x="267054" y="211877"/>
                  <a:pt x="267054" y="210427"/>
                  <a:pt x="264534" y="208615"/>
                </a:cubicBezTo>
                <a:close/>
                <a:moveTo>
                  <a:pt x="46069" y="199558"/>
                </a:moveTo>
                <a:lnTo>
                  <a:pt x="46069" y="272383"/>
                </a:lnTo>
                <a:cubicBezTo>
                  <a:pt x="66584" y="278542"/>
                  <a:pt x="186434" y="310788"/>
                  <a:pt x="277131" y="237963"/>
                </a:cubicBezTo>
                <a:cubicBezTo>
                  <a:pt x="279291" y="236514"/>
                  <a:pt x="284330" y="232166"/>
                  <a:pt x="284689" y="228543"/>
                </a:cubicBezTo>
                <a:cubicBezTo>
                  <a:pt x="284689" y="227456"/>
                  <a:pt x="284330" y="226007"/>
                  <a:pt x="282170" y="224195"/>
                </a:cubicBezTo>
                <a:cubicBezTo>
                  <a:pt x="280371" y="222746"/>
                  <a:pt x="271733" y="226369"/>
                  <a:pt x="262735" y="229992"/>
                </a:cubicBezTo>
                <a:cubicBezTo>
                  <a:pt x="247979" y="236514"/>
                  <a:pt x="225664" y="245934"/>
                  <a:pt x="192912" y="252818"/>
                </a:cubicBezTo>
                <a:cubicBezTo>
                  <a:pt x="185354" y="255354"/>
                  <a:pt x="174917" y="256803"/>
                  <a:pt x="161600" y="256803"/>
                </a:cubicBezTo>
                <a:cubicBezTo>
                  <a:pt x="150443" y="256803"/>
                  <a:pt x="137126" y="256079"/>
                  <a:pt x="122010" y="253542"/>
                </a:cubicBezTo>
                <a:cubicBezTo>
                  <a:pt x="119491" y="253542"/>
                  <a:pt x="118051" y="251369"/>
                  <a:pt x="118051" y="248832"/>
                </a:cubicBezTo>
                <a:cubicBezTo>
                  <a:pt x="118411" y="246296"/>
                  <a:pt x="120570" y="244485"/>
                  <a:pt x="123090" y="244847"/>
                </a:cubicBezTo>
                <a:cubicBezTo>
                  <a:pt x="163400" y="249919"/>
                  <a:pt x="181395" y="247383"/>
                  <a:pt x="190033" y="244122"/>
                </a:cubicBezTo>
                <a:cubicBezTo>
                  <a:pt x="197951" y="240862"/>
                  <a:pt x="198311" y="236876"/>
                  <a:pt x="198311" y="235427"/>
                </a:cubicBezTo>
                <a:cubicBezTo>
                  <a:pt x="198671" y="229992"/>
                  <a:pt x="197591" y="226007"/>
                  <a:pt x="195072" y="223471"/>
                </a:cubicBezTo>
                <a:cubicBezTo>
                  <a:pt x="191833" y="220210"/>
                  <a:pt x="186794" y="220210"/>
                  <a:pt x="186434" y="220210"/>
                </a:cubicBezTo>
                <a:cubicBezTo>
                  <a:pt x="142885" y="220934"/>
                  <a:pt x="135327" y="216224"/>
                  <a:pt x="125969" y="211152"/>
                </a:cubicBezTo>
                <a:cubicBezTo>
                  <a:pt x="116971" y="205717"/>
                  <a:pt x="106894" y="199558"/>
                  <a:pt x="46069" y="199558"/>
                </a:cubicBezTo>
                <a:close/>
                <a:moveTo>
                  <a:pt x="8638" y="199558"/>
                </a:moveTo>
                <a:lnTo>
                  <a:pt x="8638" y="270933"/>
                </a:lnTo>
                <a:lnTo>
                  <a:pt x="37431" y="270933"/>
                </a:lnTo>
                <a:lnTo>
                  <a:pt x="37431" y="199558"/>
                </a:lnTo>
                <a:lnTo>
                  <a:pt x="8638" y="199558"/>
                </a:lnTo>
                <a:close/>
                <a:moveTo>
                  <a:pt x="4319" y="190500"/>
                </a:moveTo>
                <a:lnTo>
                  <a:pt x="41750" y="190500"/>
                </a:lnTo>
                <a:cubicBezTo>
                  <a:pt x="108693" y="190500"/>
                  <a:pt x="120570" y="197021"/>
                  <a:pt x="130648" y="203181"/>
                </a:cubicBezTo>
                <a:cubicBezTo>
                  <a:pt x="138566" y="207891"/>
                  <a:pt x="145404" y="212239"/>
                  <a:pt x="186434" y="211514"/>
                </a:cubicBezTo>
                <a:cubicBezTo>
                  <a:pt x="186434" y="211514"/>
                  <a:pt x="195072" y="211152"/>
                  <a:pt x="201550" y="216949"/>
                </a:cubicBezTo>
                <a:cubicBezTo>
                  <a:pt x="202270" y="218398"/>
                  <a:pt x="203350" y="219123"/>
                  <a:pt x="204070" y="220572"/>
                </a:cubicBezTo>
                <a:cubicBezTo>
                  <a:pt x="217746" y="216587"/>
                  <a:pt x="229983" y="211514"/>
                  <a:pt x="239701" y="207529"/>
                </a:cubicBezTo>
                <a:cubicBezTo>
                  <a:pt x="254817" y="200645"/>
                  <a:pt x="263815" y="196659"/>
                  <a:pt x="270293" y="201369"/>
                </a:cubicBezTo>
                <a:cubicBezTo>
                  <a:pt x="274612" y="204992"/>
                  <a:pt x="275692" y="209340"/>
                  <a:pt x="276052" y="212239"/>
                </a:cubicBezTo>
                <a:cubicBezTo>
                  <a:pt x="276052" y="213326"/>
                  <a:pt x="275692" y="214775"/>
                  <a:pt x="275692" y="215862"/>
                </a:cubicBezTo>
                <a:cubicBezTo>
                  <a:pt x="280730" y="214413"/>
                  <a:pt x="284689" y="214775"/>
                  <a:pt x="287929" y="217311"/>
                </a:cubicBezTo>
                <a:cubicBezTo>
                  <a:pt x="292608" y="221297"/>
                  <a:pt x="293327" y="226007"/>
                  <a:pt x="293327" y="228905"/>
                </a:cubicBezTo>
                <a:cubicBezTo>
                  <a:pt x="292967" y="237963"/>
                  <a:pt x="283970" y="244485"/>
                  <a:pt x="282890" y="245209"/>
                </a:cubicBezTo>
                <a:cubicBezTo>
                  <a:pt x="234662" y="283252"/>
                  <a:pt x="179236" y="293759"/>
                  <a:pt x="133887" y="293759"/>
                </a:cubicBezTo>
                <a:cubicBezTo>
                  <a:pt x="84579" y="293759"/>
                  <a:pt x="46789" y="281803"/>
                  <a:pt x="41030" y="279991"/>
                </a:cubicBezTo>
                <a:lnTo>
                  <a:pt x="4319" y="279991"/>
                </a:lnTo>
                <a:cubicBezTo>
                  <a:pt x="1799" y="279991"/>
                  <a:pt x="0" y="278180"/>
                  <a:pt x="0" y="275281"/>
                </a:cubicBezTo>
                <a:lnTo>
                  <a:pt x="0" y="194848"/>
                </a:lnTo>
                <a:cubicBezTo>
                  <a:pt x="0" y="192311"/>
                  <a:pt x="1799" y="190500"/>
                  <a:pt x="4319" y="190500"/>
                </a:cubicBezTo>
                <a:close/>
                <a:moveTo>
                  <a:pt x="191620" y="9027"/>
                </a:moveTo>
                <a:lnTo>
                  <a:pt x="191620" y="47661"/>
                </a:lnTo>
                <a:lnTo>
                  <a:pt x="271978" y="47661"/>
                </a:lnTo>
                <a:lnTo>
                  <a:pt x="271978" y="9027"/>
                </a:lnTo>
                <a:lnTo>
                  <a:pt x="191620" y="9027"/>
                </a:lnTo>
                <a:close/>
                <a:moveTo>
                  <a:pt x="144053" y="9027"/>
                </a:moveTo>
                <a:lnTo>
                  <a:pt x="144053" y="98571"/>
                </a:lnTo>
                <a:lnTo>
                  <a:pt x="161350" y="89906"/>
                </a:lnTo>
                <a:cubicBezTo>
                  <a:pt x="162071" y="89184"/>
                  <a:pt x="162792" y="89184"/>
                  <a:pt x="163512" y="89184"/>
                </a:cubicBezTo>
                <a:cubicBezTo>
                  <a:pt x="164233" y="89184"/>
                  <a:pt x="164593" y="89184"/>
                  <a:pt x="165314" y="89906"/>
                </a:cubicBezTo>
                <a:lnTo>
                  <a:pt x="182611" y="98571"/>
                </a:lnTo>
                <a:lnTo>
                  <a:pt x="182611" y="9027"/>
                </a:lnTo>
                <a:lnTo>
                  <a:pt x="144053" y="9027"/>
                </a:lnTo>
                <a:close/>
                <a:moveTo>
                  <a:pt x="55046" y="9027"/>
                </a:moveTo>
                <a:lnTo>
                  <a:pt x="55046" y="47661"/>
                </a:lnTo>
                <a:lnTo>
                  <a:pt x="135044" y="47661"/>
                </a:lnTo>
                <a:lnTo>
                  <a:pt x="135044" y="9027"/>
                </a:lnTo>
                <a:lnTo>
                  <a:pt x="55046" y="9027"/>
                </a:lnTo>
                <a:close/>
                <a:moveTo>
                  <a:pt x="50361" y="0"/>
                </a:moveTo>
                <a:lnTo>
                  <a:pt x="276303" y="0"/>
                </a:lnTo>
                <a:cubicBezTo>
                  <a:pt x="278465" y="0"/>
                  <a:pt x="280627" y="1805"/>
                  <a:pt x="280627" y="4333"/>
                </a:cubicBezTo>
                <a:lnTo>
                  <a:pt x="280627" y="51994"/>
                </a:lnTo>
                <a:cubicBezTo>
                  <a:pt x="280627" y="54521"/>
                  <a:pt x="278465" y="56326"/>
                  <a:pt x="276303" y="56326"/>
                </a:cubicBezTo>
                <a:lnTo>
                  <a:pt x="267654" y="56326"/>
                </a:lnTo>
                <a:lnTo>
                  <a:pt x="267654" y="187394"/>
                </a:lnTo>
                <a:cubicBezTo>
                  <a:pt x="267654" y="189560"/>
                  <a:pt x="265492" y="191727"/>
                  <a:pt x="263330" y="191727"/>
                </a:cubicBezTo>
                <a:cubicBezTo>
                  <a:pt x="260807" y="191727"/>
                  <a:pt x="258645" y="189560"/>
                  <a:pt x="258645" y="187394"/>
                </a:cubicBezTo>
                <a:lnTo>
                  <a:pt x="258645" y="56326"/>
                </a:lnTo>
                <a:lnTo>
                  <a:pt x="191620" y="56326"/>
                </a:lnTo>
                <a:lnTo>
                  <a:pt x="191620" y="105793"/>
                </a:lnTo>
                <a:cubicBezTo>
                  <a:pt x="191620" y="107237"/>
                  <a:pt x="190899" y="108681"/>
                  <a:pt x="189458" y="109403"/>
                </a:cubicBezTo>
                <a:cubicBezTo>
                  <a:pt x="188737" y="110126"/>
                  <a:pt x="188016" y="110126"/>
                  <a:pt x="187296" y="110126"/>
                </a:cubicBezTo>
                <a:cubicBezTo>
                  <a:pt x="186575" y="110126"/>
                  <a:pt x="185494" y="110126"/>
                  <a:pt x="185133" y="109764"/>
                </a:cubicBezTo>
                <a:lnTo>
                  <a:pt x="163512" y="98571"/>
                </a:lnTo>
                <a:lnTo>
                  <a:pt x="141531" y="109764"/>
                </a:lnTo>
                <a:cubicBezTo>
                  <a:pt x="140089" y="110487"/>
                  <a:pt x="138648" y="110487"/>
                  <a:pt x="137206" y="109403"/>
                </a:cubicBezTo>
                <a:cubicBezTo>
                  <a:pt x="136125" y="108681"/>
                  <a:pt x="135044" y="107237"/>
                  <a:pt x="135044" y="105793"/>
                </a:cubicBezTo>
                <a:lnTo>
                  <a:pt x="135044" y="56326"/>
                </a:lnTo>
                <a:lnTo>
                  <a:pt x="68379" y="56326"/>
                </a:lnTo>
                <a:lnTo>
                  <a:pt x="68379" y="178006"/>
                </a:lnTo>
                <a:cubicBezTo>
                  <a:pt x="68379" y="180895"/>
                  <a:pt x="66217" y="182700"/>
                  <a:pt x="63695" y="182700"/>
                </a:cubicBezTo>
                <a:cubicBezTo>
                  <a:pt x="61172" y="182700"/>
                  <a:pt x="59370" y="180895"/>
                  <a:pt x="59370" y="178006"/>
                </a:cubicBezTo>
                <a:lnTo>
                  <a:pt x="59370" y="56326"/>
                </a:lnTo>
                <a:lnTo>
                  <a:pt x="50361" y="56326"/>
                </a:lnTo>
                <a:cubicBezTo>
                  <a:pt x="48199" y="56326"/>
                  <a:pt x="46037" y="54521"/>
                  <a:pt x="46037" y="51994"/>
                </a:cubicBezTo>
                <a:lnTo>
                  <a:pt x="46037" y="4333"/>
                </a:lnTo>
                <a:cubicBezTo>
                  <a:pt x="46037" y="1805"/>
                  <a:pt x="48199" y="0"/>
                  <a:pt x="50361" y="0"/>
                </a:cubicBezTo>
                <a:close/>
              </a:path>
            </a:pathLst>
          </a:custGeom>
          <a:solidFill>
            <a:schemeClr val="bg1"/>
          </a:solidFill>
          <a:ln>
            <a:noFill/>
          </a:ln>
        </p:spPr>
        <p:txBody>
          <a:bodyPr anchor="ctr"/>
          <a:lstStyle/>
          <a:p>
            <a:endParaRPr lang="en-US" sz="900" dirty="0"/>
          </a:p>
        </p:txBody>
      </p:sp>
      <p:sp>
        <p:nvSpPr>
          <p:cNvPr id="36" name="Titel 1">
            <a:extLst>
              <a:ext uri="{FF2B5EF4-FFF2-40B4-BE49-F238E27FC236}">
                <a16:creationId xmlns:a16="http://schemas.microsoft.com/office/drawing/2014/main" id="{C551B6C9-A0F0-49F0-ADC4-14F0B8718B3C}"/>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Business web strategy</a:t>
            </a:r>
          </a:p>
        </p:txBody>
      </p:sp>
    </p:spTree>
    <p:custDataLst>
      <p:tags r:id="rId1"/>
    </p:custDataLst>
    <p:extLst>
      <p:ext uri="{BB962C8B-B14F-4D97-AF65-F5344CB8AC3E}">
        <p14:creationId xmlns:p14="http://schemas.microsoft.com/office/powerpoint/2010/main" val="7499517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0F0FCC2-0FC8-3F41-9E29-3BFB187DB443}"/>
              </a:ext>
            </a:extLst>
          </p:cNvPr>
          <p:cNvGrpSpPr/>
          <p:nvPr/>
        </p:nvGrpSpPr>
        <p:grpSpPr>
          <a:xfrm>
            <a:off x="762000" y="1143000"/>
            <a:ext cx="4572863" cy="5380886"/>
            <a:chOff x="6067960" y="798756"/>
            <a:chExt cx="10409636" cy="12249016"/>
          </a:xfrm>
        </p:grpSpPr>
        <p:sp>
          <p:nvSpPr>
            <p:cNvPr id="3" name="Freeform 2">
              <a:extLst>
                <a:ext uri="{FF2B5EF4-FFF2-40B4-BE49-F238E27FC236}">
                  <a16:creationId xmlns:a16="http://schemas.microsoft.com/office/drawing/2014/main" id="{4585680D-13CD-554E-8C64-303ABF1D3590}"/>
                </a:ext>
              </a:extLst>
            </p:cNvPr>
            <p:cNvSpPr>
              <a:spLocks noChangeArrowheads="1"/>
            </p:cNvSpPr>
            <p:nvPr/>
          </p:nvSpPr>
          <p:spPr bwMode="auto">
            <a:xfrm>
              <a:off x="6067960" y="798756"/>
              <a:ext cx="9562175" cy="12231080"/>
            </a:xfrm>
            <a:custGeom>
              <a:avLst/>
              <a:gdLst>
                <a:gd name="connsiteX0" fmla="*/ 3600848 w 9562175"/>
                <a:gd name="connsiteY0" fmla="*/ 0 h 12231080"/>
                <a:gd name="connsiteX1" fmla="*/ 4496122 w 9562175"/>
                <a:gd name="connsiteY1" fmla="*/ 627521 h 12231080"/>
                <a:gd name="connsiteX2" fmla="*/ 5998308 w 9562175"/>
                <a:gd name="connsiteY2" fmla="*/ 1595633 h 12231080"/>
                <a:gd name="connsiteX3" fmla="*/ 8062832 w 9562175"/>
                <a:gd name="connsiteY3" fmla="*/ 1176249 h 12231080"/>
                <a:gd name="connsiteX4" fmla="*/ 8116388 w 9562175"/>
                <a:gd name="connsiteY4" fmla="*/ 3999583 h 12231080"/>
                <a:gd name="connsiteX5" fmla="*/ 8937365 w 9562175"/>
                <a:gd name="connsiteY5" fmla="*/ 8352169 h 12231080"/>
                <a:gd name="connsiteX6" fmla="*/ 8559246 w 9562175"/>
                <a:gd name="connsiteY6" fmla="*/ 8559315 h 12231080"/>
                <a:gd name="connsiteX7" fmla="*/ 8508054 w 9562175"/>
                <a:gd name="connsiteY7" fmla="*/ 8582243 h 12231080"/>
                <a:gd name="connsiteX8" fmla="*/ 8593241 w 9562175"/>
                <a:gd name="connsiteY8" fmla="*/ 8631261 h 12231080"/>
                <a:gd name="connsiteX9" fmla="*/ 8591281 w 9562175"/>
                <a:gd name="connsiteY9" fmla="*/ 8822646 h 12231080"/>
                <a:gd name="connsiteX10" fmla="*/ 6429098 w 9562175"/>
                <a:gd name="connsiteY10" fmla="*/ 10120278 h 12231080"/>
                <a:gd name="connsiteX11" fmla="*/ 6498497 w 9562175"/>
                <a:gd name="connsiteY11" fmla="*/ 10129969 h 12231080"/>
                <a:gd name="connsiteX12" fmla="*/ 7420314 w 9562175"/>
                <a:gd name="connsiteY12" fmla="*/ 10546695 h 12231080"/>
                <a:gd name="connsiteX13" fmla="*/ 7447440 w 9562175"/>
                <a:gd name="connsiteY13" fmla="*/ 10580981 h 12231080"/>
                <a:gd name="connsiteX14" fmla="*/ 7527912 w 9562175"/>
                <a:gd name="connsiteY14" fmla="*/ 10564954 h 12231080"/>
                <a:gd name="connsiteX15" fmla="*/ 7994178 w 9562175"/>
                <a:gd name="connsiteY15" fmla="*/ 10526594 h 12231080"/>
                <a:gd name="connsiteX16" fmla="*/ 9562175 w 9562175"/>
                <a:gd name="connsiteY16" fmla="*/ 11379490 h 12231080"/>
                <a:gd name="connsiteX17" fmla="*/ 7994178 w 9562175"/>
                <a:gd name="connsiteY17" fmla="*/ 12231080 h 12231080"/>
                <a:gd name="connsiteX18" fmla="*/ 6693976 w 9562175"/>
                <a:gd name="connsiteY18" fmla="*/ 11855571 h 12231080"/>
                <a:gd name="connsiteX19" fmla="*/ 6580039 w 9562175"/>
                <a:gd name="connsiteY19" fmla="*/ 11741570 h 12231080"/>
                <a:gd name="connsiteX20" fmla="*/ 6498497 w 9562175"/>
                <a:gd name="connsiteY20" fmla="*/ 11757799 h 12231080"/>
                <a:gd name="connsiteX21" fmla="*/ 6032037 w 9562175"/>
                <a:gd name="connsiteY21" fmla="*/ 11796155 h 12231080"/>
                <a:gd name="connsiteX22" fmla="*/ 4587855 w 9562175"/>
                <a:gd name="connsiteY22" fmla="*/ 11275442 h 12231080"/>
                <a:gd name="connsiteX23" fmla="*/ 4563810 w 9562175"/>
                <a:gd name="connsiteY23" fmla="*/ 11239729 h 12231080"/>
                <a:gd name="connsiteX24" fmla="*/ 3250582 w 9562175"/>
                <a:gd name="connsiteY24" fmla="*/ 12027861 h 12231080"/>
                <a:gd name="connsiteX25" fmla="*/ 2978190 w 9562175"/>
                <a:gd name="connsiteY25" fmla="*/ 12023942 h 12231080"/>
                <a:gd name="connsiteX26" fmla="*/ 234027 w 9562175"/>
                <a:gd name="connsiteY26" fmla="*/ 10500044 h 12231080"/>
                <a:gd name="connsiteX27" fmla="*/ 236640 w 9562175"/>
                <a:gd name="connsiteY27" fmla="*/ 10309312 h 12231080"/>
                <a:gd name="connsiteX28" fmla="*/ 1618263 w 9562175"/>
                <a:gd name="connsiteY28" fmla="*/ 9455658 h 12231080"/>
                <a:gd name="connsiteX29" fmla="*/ 1409994 w 9562175"/>
                <a:gd name="connsiteY29" fmla="*/ 9246116 h 12231080"/>
                <a:gd name="connsiteX30" fmla="*/ 971866 w 9562175"/>
                <a:gd name="connsiteY30" fmla="*/ 6535488 h 12231080"/>
                <a:gd name="connsiteX31" fmla="*/ 870631 w 9562175"/>
                <a:gd name="connsiteY31" fmla="*/ 3083730 h 12231080"/>
                <a:gd name="connsiteX32" fmla="*/ 1780433 w 9562175"/>
                <a:gd name="connsiteY32" fmla="*/ 1610005 h 12231080"/>
                <a:gd name="connsiteX33" fmla="*/ 3600848 w 9562175"/>
                <a:gd name="connsiteY33" fmla="*/ 0 h 1223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562175" h="12231080">
                  <a:moveTo>
                    <a:pt x="3600848" y="0"/>
                  </a:moveTo>
                  <a:cubicBezTo>
                    <a:pt x="3949565" y="-170"/>
                    <a:pt x="4274060" y="178210"/>
                    <a:pt x="4496122" y="627521"/>
                  </a:cubicBezTo>
                  <a:cubicBezTo>
                    <a:pt x="5130959" y="1913112"/>
                    <a:pt x="5333427" y="1941854"/>
                    <a:pt x="5998308" y="1595633"/>
                  </a:cubicBezTo>
                  <a:cubicBezTo>
                    <a:pt x="6662534" y="1248759"/>
                    <a:pt x="7098821" y="736613"/>
                    <a:pt x="8062832" y="1176249"/>
                  </a:cubicBezTo>
                  <a:cubicBezTo>
                    <a:pt x="8816537" y="1519857"/>
                    <a:pt x="9399777" y="3049762"/>
                    <a:pt x="8116388" y="3999583"/>
                  </a:cubicBezTo>
                  <a:cubicBezTo>
                    <a:pt x="7626545" y="4362135"/>
                    <a:pt x="9662986" y="7833490"/>
                    <a:pt x="8937365" y="8352169"/>
                  </a:cubicBezTo>
                  <a:cubicBezTo>
                    <a:pt x="8848867" y="8415371"/>
                    <a:pt x="8719732" y="8485095"/>
                    <a:pt x="8559246" y="8559315"/>
                  </a:cubicBezTo>
                  <a:lnTo>
                    <a:pt x="8508054" y="8582243"/>
                  </a:lnTo>
                  <a:lnTo>
                    <a:pt x="8593241" y="8631261"/>
                  </a:lnTo>
                  <a:cubicBezTo>
                    <a:pt x="8666401" y="8674372"/>
                    <a:pt x="8665094" y="8780189"/>
                    <a:pt x="8591281" y="8822646"/>
                  </a:cubicBezTo>
                  <a:lnTo>
                    <a:pt x="6429098" y="10120278"/>
                  </a:lnTo>
                  <a:lnTo>
                    <a:pt x="6498497" y="10129969"/>
                  </a:lnTo>
                  <a:cubicBezTo>
                    <a:pt x="6897586" y="10197385"/>
                    <a:pt x="7228358" y="10349036"/>
                    <a:pt x="7420314" y="10546695"/>
                  </a:cubicBezTo>
                  <a:lnTo>
                    <a:pt x="7447440" y="10580981"/>
                  </a:lnTo>
                  <a:lnTo>
                    <a:pt x="7527912" y="10564954"/>
                  </a:lnTo>
                  <a:cubicBezTo>
                    <a:pt x="7675206" y="10540025"/>
                    <a:pt x="7831811" y="10526594"/>
                    <a:pt x="7994178" y="10526594"/>
                  </a:cubicBezTo>
                  <a:cubicBezTo>
                    <a:pt x="8860788" y="10526594"/>
                    <a:pt x="9562175" y="10908634"/>
                    <a:pt x="9562175" y="11379490"/>
                  </a:cubicBezTo>
                  <a:cubicBezTo>
                    <a:pt x="9562175" y="11849693"/>
                    <a:pt x="8860788" y="12231080"/>
                    <a:pt x="7994178" y="12231080"/>
                  </a:cubicBezTo>
                  <a:cubicBezTo>
                    <a:pt x="7452954" y="12231080"/>
                    <a:pt x="6975761" y="12082101"/>
                    <a:pt x="6693976" y="11855571"/>
                  </a:cubicBezTo>
                  <a:lnTo>
                    <a:pt x="6580039" y="11741570"/>
                  </a:lnTo>
                  <a:lnTo>
                    <a:pt x="6498497" y="11757799"/>
                  </a:lnTo>
                  <a:cubicBezTo>
                    <a:pt x="6351141" y="11782724"/>
                    <a:pt x="6194472" y="11796155"/>
                    <a:pt x="6032037" y="11796155"/>
                  </a:cubicBezTo>
                  <a:cubicBezTo>
                    <a:pt x="5382787" y="11796155"/>
                    <a:pt x="4825781" y="11581257"/>
                    <a:pt x="4587855" y="11275442"/>
                  </a:cubicBezTo>
                  <a:lnTo>
                    <a:pt x="4563810" y="11239729"/>
                  </a:lnTo>
                  <a:lnTo>
                    <a:pt x="3250582" y="12027861"/>
                  </a:lnTo>
                  <a:cubicBezTo>
                    <a:pt x="3165663" y="12075544"/>
                    <a:pt x="3061149" y="12074238"/>
                    <a:pt x="2978190" y="12023942"/>
                  </a:cubicBezTo>
                  <a:lnTo>
                    <a:pt x="234027" y="10500044"/>
                  </a:lnTo>
                  <a:cubicBezTo>
                    <a:pt x="161520" y="10456280"/>
                    <a:pt x="162827" y="10351116"/>
                    <a:pt x="236640" y="10309312"/>
                  </a:cubicBezTo>
                  <a:lnTo>
                    <a:pt x="1618263" y="9455658"/>
                  </a:lnTo>
                  <a:lnTo>
                    <a:pt x="1409994" y="9246116"/>
                  </a:lnTo>
                  <a:cubicBezTo>
                    <a:pt x="900484" y="8658575"/>
                    <a:pt x="629833" y="7767268"/>
                    <a:pt x="971866" y="6535488"/>
                  </a:cubicBezTo>
                  <a:cubicBezTo>
                    <a:pt x="1173028" y="5812997"/>
                    <a:pt x="-1238306" y="4253696"/>
                    <a:pt x="870631" y="3083730"/>
                  </a:cubicBezTo>
                  <a:cubicBezTo>
                    <a:pt x="1429705" y="2773438"/>
                    <a:pt x="1611274" y="2356666"/>
                    <a:pt x="1780433" y="1610005"/>
                  </a:cubicBezTo>
                  <a:cubicBezTo>
                    <a:pt x="1949266" y="864936"/>
                    <a:pt x="2833672" y="376"/>
                    <a:pt x="3600848" y="0"/>
                  </a:cubicBezTo>
                  <a:close/>
                </a:path>
              </a:pathLst>
            </a:custGeom>
            <a:solidFill>
              <a:schemeClr val="bg1">
                <a:lumMod val="95000"/>
              </a:schemeClr>
            </a:solidFill>
            <a:ln>
              <a:noFill/>
            </a:ln>
            <a:effectLst/>
          </p:spPr>
          <p:txBody>
            <a:bodyPr wrap="square" anchor="ctr">
              <a:noAutofit/>
            </a:bodyPr>
            <a:lstStyle/>
            <a:p>
              <a:endParaRPr lang="en-US" sz="3266" dirty="0">
                <a:latin typeface="Lato Light" panose="020F0502020204030203" pitchFamily="34" charset="0"/>
              </a:endParaRPr>
            </a:p>
          </p:txBody>
        </p:sp>
        <p:sp>
          <p:nvSpPr>
            <p:cNvPr id="4" name="Freeform 3">
              <a:extLst>
                <a:ext uri="{FF2B5EF4-FFF2-40B4-BE49-F238E27FC236}">
                  <a16:creationId xmlns:a16="http://schemas.microsoft.com/office/drawing/2014/main" id="{78B9F721-5D7B-0949-9A52-A86825CAC315}"/>
                </a:ext>
              </a:extLst>
            </p:cNvPr>
            <p:cNvSpPr>
              <a:spLocks noChangeArrowheads="1"/>
            </p:cNvSpPr>
            <p:nvPr/>
          </p:nvSpPr>
          <p:spPr bwMode="auto">
            <a:xfrm>
              <a:off x="9184671" y="8113815"/>
              <a:ext cx="1716660" cy="4496151"/>
            </a:xfrm>
            <a:custGeom>
              <a:avLst/>
              <a:gdLst>
                <a:gd name="T0" fmla="*/ 1355 w 2628"/>
                <a:gd name="T1" fmla="*/ 434 h 6882"/>
                <a:gd name="T2" fmla="*/ 2627 w 2628"/>
                <a:gd name="T3" fmla="*/ 0 h 6882"/>
                <a:gd name="T4" fmla="*/ 385 w 2628"/>
                <a:gd name="T5" fmla="*/ 6657 h 6882"/>
                <a:gd name="T6" fmla="*/ 0 w 2628"/>
                <a:gd name="T7" fmla="*/ 6881 h 6882"/>
                <a:gd name="T8" fmla="*/ 1355 w 2628"/>
                <a:gd name="T9" fmla="*/ 434 h 6882"/>
              </a:gdLst>
              <a:ahLst/>
              <a:cxnLst>
                <a:cxn ang="0">
                  <a:pos x="T0" y="T1"/>
                </a:cxn>
                <a:cxn ang="0">
                  <a:pos x="T2" y="T3"/>
                </a:cxn>
                <a:cxn ang="0">
                  <a:pos x="T4" y="T5"/>
                </a:cxn>
                <a:cxn ang="0">
                  <a:pos x="T6" y="T7"/>
                </a:cxn>
                <a:cxn ang="0">
                  <a:pos x="T8" y="T9"/>
                </a:cxn>
              </a:cxnLst>
              <a:rect l="0" t="0" r="r" b="b"/>
              <a:pathLst>
                <a:path w="2628" h="6882">
                  <a:moveTo>
                    <a:pt x="1355" y="434"/>
                  </a:moveTo>
                  <a:lnTo>
                    <a:pt x="2627" y="0"/>
                  </a:lnTo>
                  <a:lnTo>
                    <a:pt x="385" y="6657"/>
                  </a:lnTo>
                  <a:lnTo>
                    <a:pt x="0" y="6881"/>
                  </a:lnTo>
                  <a:lnTo>
                    <a:pt x="1355" y="434"/>
                  </a:lnTo>
                </a:path>
              </a:pathLst>
            </a:custGeom>
            <a:solidFill>
              <a:schemeClr val="bg1">
                <a:lumMod val="85000"/>
              </a:schemeClr>
            </a:solidFill>
            <a:ln>
              <a:noFill/>
            </a:ln>
            <a:effectLst/>
          </p:spPr>
          <p:txBody>
            <a:bodyPr wrap="none" anchor="ctr"/>
            <a:lstStyle/>
            <a:p>
              <a:endParaRPr lang="en-US" sz="3266" dirty="0">
                <a:latin typeface="Lato Light" panose="020F0502020204030203" pitchFamily="34" charset="0"/>
              </a:endParaRPr>
            </a:p>
          </p:txBody>
        </p:sp>
        <p:sp>
          <p:nvSpPr>
            <p:cNvPr id="5" name="Freeform 5">
              <a:extLst>
                <a:ext uri="{FF2B5EF4-FFF2-40B4-BE49-F238E27FC236}">
                  <a16:creationId xmlns:a16="http://schemas.microsoft.com/office/drawing/2014/main" id="{88DC408B-ECEB-9E4B-AE7B-CFB6D2742513}"/>
                </a:ext>
              </a:extLst>
            </p:cNvPr>
            <p:cNvSpPr>
              <a:spLocks noChangeArrowheads="1"/>
            </p:cNvSpPr>
            <p:nvPr/>
          </p:nvSpPr>
          <p:spPr bwMode="auto">
            <a:xfrm>
              <a:off x="7047486" y="6855121"/>
              <a:ext cx="1716660" cy="4496153"/>
            </a:xfrm>
            <a:custGeom>
              <a:avLst/>
              <a:gdLst>
                <a:gd name="T0" fmla="*/ 1354 w 2627"/>
                <a:gd name="T1" fmla="*/ 434 h 6882"/>
                <a:gd name="T2" fmla="*/ 2626 w 2627"/>
                <a:gd name="T3" fmla="*/ 0 h 6882"/>
                <a:gd name="T4" fmla="*/ 384 w 2627"/>
                <a:gd name="T5" fmla="*/ 6657 h 6882"/>
                <a:gd name="T6" fmla="*/ 0 w 2627"/>
                <a:gd name="T7" fmla="*/ 6881 h 6882"/>
                <a:gd name="T8" fmla="*/ 1354 w 2627"/>
                <a:gd name="T9" fmla="*/ 434 h 6882"/>
              </a:gdLst>
              <a:ahLst/>
              <a:cxnLst>
                <a:cxn ang="0">
                  <a:pos x="T0" y="T1"/>
                </a:cxn>
                <a:cxn ang="0">
                  <a:pos x="T2" y="T3"/>
                </a:cxn>
                <a:cxn ang="0">
                  <a:pos x="T4" y="T5"/>
                </a:cxn>
                <a:cxn ang="0">
                  <a:pos x="T6" y="T7"/>
                </a:cxn>
                <a:cxn ang="0">
                  <a:pos x="T8" y="T9"/>
                </a:cxn>
              </a:cxnLst>
              <a:rect l="0" t="0" r="r" b="b"/>
              <a:pathLst>
                <a:path w="2627" h="6882">
                  <a:moveTo>
                    <a:pt x="1354" y="434"/>
                  </a:moveTo>
                  <a:lnTo>
                    <a:pt x="2626" y="0"/>
                  </a:lnTo>
                  <a:lnTo>
                    <a:pt x="384" y="6657"/>
                  </a:lnTo>
                  <a:lnTo>
                    <a:pt x="0" y="6881"/>
                  </a:lnTo>
                  <a:lnTo>
                    <a:pt x="1354" y="434"/>
                  </a:lnTo>
                </a:path>
              </a:pathLst>
            </a:custGeom>
            <a:solidFill>
              <a:schemeClr val="bg1">
                <a:lumMod val="85000"/>
              </a:schemeClr>
            </a:solidFill>
            <a:ln>
              <a:noFill/>
            </a:ln>
            <a:effectLst/>
          </p:spPr>
          <p:txBody>
            <a:bodyPr wrap="none" anchor="ctr"/>
            <a:lstStyle/>
            <a:p>
              <a:endParaRPr lang="en-US" sz="3266" dirty="0">
                <a:latin typeface="Lato Light" panose="020F0502020204030203" pitchFamily="34" charset="0"/>
              </a:endParaRPr>
            </a:p>
          </p:txBody>
        </p:sp>
        <p:sp>
          <p:nvSpPr>
            <p:cNvPr id="6" name="Freeform 8">
              <a:extLst>
                <a:ext uri="{FF2B5EF4-FFF2-40B4-BE49-F238E27FC236}">
                  <a16:creationId xmlns:a16="http://schemas.microsoft.com/office/drawing/2014/main" id="{78964C59-E4FF-9D45-A7E8-7005B9D6CC3D}"/>
                </a:ext>
              </a:extLst>
            </p:cNvPr>
            <p:cNvSpPr>
              <a:spLocks noChangeArrowheads="1"/>
            </p:cNvSpPr>
            <p:nvPr/>
          </p:nvSpPr>
          <p:spPr bwMode="auto">
            <a:xfrm>
              <a:off x="8173686" y="4061227"/>
              <a:ext cx="167058" cy="241945"/>
            </a:xfrm>
            <a:custGeom>
              <a:avLst/>
              <a:gdLst>
                <a:gd name="T0" fmla="*/ 253 w 254"/>
                <a:gd name="T1" fmla="*/ 370 h 371"/>
                <a:gd name="T2" fmla="*/ 0 w 254"/>
                <a:gd name="T3" fmla="*/ 219 h 371"/>
                <a:gd name="T4" fmla="*/ 157 w 254"/>
                <a:gd name="T5" fmla="*/ 0 h 371"/>
                <a:gd name="T6" fmla="*/ 253 w 254"/>
                <a:gd name="T7" fmla="*/ 58 h 371"/>
                <a:gd name="T8" fmla="*/ 253 w 254"/>
                <a:gd name="T9" fmla="*/ 370 h 371"/>
              </a:gdLst>
              <a:ahLst/>
              <a:cxnLst>
                <a:cxn ang="0">
                  <a:pos x="T0" y="T1"/>
                </a:cxn>
                <a:cxn ang="0">
                  <a:pos x="T2" y="T3"/>
                </a:cxn>
                <a:cxn ang="0">
                  <a:pos x="T4" y="T5"/>
                </a:cxn>
                <a:cxn ang="0">
                  <a:pos x="T6" y="T7"/>
                </a:cxn>
                <a:cxn ang="0">
                  <a:pos x="T8" y="T9"/>
                </a:cxn>
              </a:cxnLst>
              <a:rect l="0" t="0" r="r" b="b"/>
              <a:pathLst>
                <a:path w="254" h="371">
                  <a:moveTo>
                    <a:pt x="253" y="370"/>
                  </a:moveTo>
                  <a:lnTo>
                    <a:pt x="0" y="219"/>
                  </a:lnTo>
                  <a:lnTo>
                    <a:pt x="157" y="0"/>
                  </a:lnTo>
                  <a:lnTo>
                    <a:pt x="253" y="58"/>
                  </a:lnTo>
                  <a:lnTo>
                    <a:pt x="253" y="370"/>
                  </a:lnTo>
                </a:path>
              </a:pathLst>
            </a:custGeom>
            <a:solidFill>
              <a:srgbClr val="2D999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7" name="Freeform 9">
              <a:extLst>
                <a:ext uri="{FF2B5EF4-FFF2-40B4-BE49-F238E27FC236}">
                  <a16:creationId xmlns:a16="http://schemas.microsoft.com/office/drawing/2014/main" id="{00AF84BB-ADE1-2149-ABC9-097B85A91B05}"/>
                </a:ext>
              </a:extLst>
            </p:cNvPr>
            <p:cNvSpPr>
              <a:spLocks noChangeArrowheads="1"/>
            </p:cNvSpPr>
            <p:nvPr/>
          </p:nvSpPr>
          <p:spPr bwMode="auto">
            <a:xfrm>
              <a:off x="6817062" y="4041066"/>
              <a:ext cx="1486236" cy="2373369"/>
            </a:xfrm>
            <a:custGeom>
              <a:avLst/>
              <a:gdLst>
                <a:gd name="T0" fmla="*/ 1999 w 2275"/>
                <a:gd name="T1" fmla="*/ 2319 h 3635"/>
                <a:gd name="T2" fmla="*/ 119 w 2275"/>
                <a:gd name="T3" fmla="*/ 3602 h 3635"/>
                <a:gd name="T4" fmla="*/ 119 w 2275"/>
                <a:gd name="T5" fmla="*/ 3602 h 3635"/>
                <a:gd name="T6" fmla="*/ 0 w 2275"/>
                <a:gd name="T7" fmla="*/ 3534 h 3635"/>
                <a:gd name="T8" fmla="*/ 0 w 2275"/>
                <a:gd name="T9" fmla="*/ 1428 h 3635"/>
                <a:gd name="T10" fmla="*/ 0 w 2275"/>
                <a:gd name="T11" fmla="*/ 1428 h 3635"/>
                <a:gd name="T12" fmla="*/ 118 w 2275"/>
                <a:gd name="T13" fmla="*/ 1222 h 3635"/>
                <a:gd name="T14" fmla="*/ 2155 w 2275"/>
                <a:gd name="T15" fmla="*/ 31 h 3635"/>
                <a:gd name="T16" fmla="*/ 2155 w 2275"/>
                <a:gd name="T17" fmla="*/ 31 h 3635"/>
                <a:gd name="T18" fmla="*/ 2274 w 2275"/>
                <a:gd name="T19" fmla="*/ 99 h 3635"/>
                <a:gd name="T20" fmla="*/ 2117 w 2275"/>
                <a:gd name="T21" fmla="*/ 2113 h 3635"/>
                <a:gd name="T22" fmla="*/ 2117 w 2275"/>
                <a:gd name="T23" fmla="*/ 2113 h 3635"/>
                <a:gd name="T24" fmla="*/ 1999 w 2275"/>
                <a:gd name="T25" fmla="*/ 2319 h 3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5" h="3635">
                  <a:moveTo>
                    <a:pt x="1999" y="2319"/>
                  </a:moveTo>
                  <a:lnTo>
                    <a:pt x="119" y="3602"/>
                  </a:lnTo>
                  <a:lnTo>
                    <a:pt x="119" y="3602"/>
                  </a:lnTo>
                  <a:cubicBezTo>
                    <a:pt x="66" y="3634"/>
                    <a:pt x="0" y="3596"/>
                    <a:pt x="0" y="3534"/>
                  </a:cubicBezTo>
                  <a:lnTo>
                    <a:pt x="0" y="1428"/>
                  </a:lnTo>
                  <a:lnTo>
                    <a:pt x="0" y="1428"/>
                  </a:lnTo>
                  <a:cubicBezTo>
                    <a:pt x="0" y="1344"/>
                    <a:pt x="44" y="1265"/>
                    <a:pt x="118" y="1222"/>
                  </a:cubicBezTo>
                  <a:lnTo>
                    <a:pt x="2155" y="31"/>
                  </a:lnTo>
                  <a:lnTo>
                    <a:pt x="2155" y="31"/>
                  </a:lnTo>
                  <a:cubicBezTo>
                    <a:pt x="2208" y="0"/>
                    <a:pt x="2274" y="38"/>
                    <a:pt x="2274" y="99"/>
                  </a:cubicBezTo>
                  <a:lnTo>
                    <a:pt x="2117" y="2113"/>
                  </a:lnTo>
                  <a:lnTo>
                    <a:pt x="2117" y="2113"/>
                  </a:lnTo>
                  <a:cubicBezTo>
                    <a:pt x="2117" y="2198"/>
                    <a:pt x="2072" y="2276"/>
                    <a:pt x="1999" y="2319"/>
                  </a:cubicBezTo>
                </a:path>
              </a:pathLst>
            </a:custGeom>
            <a:solidFill>
              <a:schemeClr val="accent2">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8" name="Freeform 10">
              <a:extLst>
                <a:ext uri="{FF2B5EF4-FFF2-40B4-BE49-F238E27FC236}">
                  <a16:creationId xmlns:a16="http://schemas.microsoft.com/office/drawing/2014/main" id="{93BBC96F-76E5-C84F-9ACF-707ED55DE264}"/>
                </a:ext>
              </a:extLst>
            </p:cNvPr>
            <p:cNvSpPr>
              <a:spLocks noChangeArrowheads="1"/>
            </p:cNvSpPr>
            <p:nvPr/>
          </p:nvSpPr>
          <p:spPr bwMode="auto">
            <a:xfrm>
              <a:off x="6877549" y="4078509"/>
              <a:ext cx="1486236" cy="2373369"/>
            </a:xfrm>
            <a:custGeom>
              <a:avLst/>
              <a:gdLst>
                <a:gd name="T0" fmla="*/ 2156 w 2275"/>
                <a:gd name="T1" fmla="*/ 2412 h 3635"/>
                <a:gd name="T2" fmla="*/ 119 w 2275"/>
                <a:gd name="T3" fmla="*/ 3603 h 3635"/>
                <a:gd name="T4" fmla="*/ 119 w 2275"/>
                <a:gd name="T5" fmla="*/ 3603 h 3635"/>
                <a:gd name="T6" fmla="*/ 0 w 2275"/>
                <a:gd name="T7" fmla="*/ 3535 h 3635"/>
                <a:gd name="T8" fmla="*/ 0 w 2275"/>
                <a:gd name="T9" fmla="*/ 1429 h 3635"/>
                <a:gd name="T10" fmla="*/ 0 w 2275"/>
                <a:gd name="T11" fmla="*/ 1429 h 3635"/>
                <a:gd name="T12" fmla="*/ 118 w 2275"/>
                <a:gd name="T13" fmla="*/ 1222 h 3635"/>
                <a:gd name="T14" fmla="*/ 2155 w 2275"/>
                <a:gd name="T15" fmla="*/ 31 h 3635"/>
                <a:gd name="T16" fmla="*/ 2155 w 2275"/>
                <a:gd name="T17" fmla="*/ 31 h 3635"/>
                <a:gd name="T18" fmla="*/ 2274 w 2275"/>
                <a:gd name="T19" fmla="*/ 99 h 3635"/>
                <a:gd name="T20" fmla="*/ 2274 w 2275"/>
                <a:gd name="T21" fmla="*/ 2206 h 3635"/>
                <a:gd name="T22" fmla="*/ 2274 w 2275"/>
                <a:gd name="T23" fmla="*/ 2206 h 3635"/>
                <a:gd name="T24" fmla="*/ 2156 w 2275"/>
                <a:gd name="T25" fmla="*/ 2412 h 3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5" h="3635">
                  <a:moveTo>
                    <a:pt x="2156" y="2412"/>
                  </a:moveTo>
                  <a:lnTo>
                    <a:pt x="119" y="3603"/>
                  </a:lnTo>
                  <a:lnTo>
                    <a:pt x="119" y="3603"/>
                  </a:lnTo>
                  <a:cubicBezTo>
                    <a:pt x="67" y="3634"/>
                    <a:pt x="0" y="3597"/>
                    <a:pt x="0" y="3535"/>
                  </a:cubicBezTo>
                  <a:lnTo>
                    <a:pt x="0" y="1429"/>
                  </a:lnTo>
                  <a:lnTo>
                    <a:pt x="0" y="1429"/>
                  </a:lnTo>
                  <a:cubicBezTo>
                    <a:pt x="0" y="1344"/>
                    <a:pt x="45" y="1265"/>
                    <a:pt x="118" y="1222"/>
                  </a:cubicBezTo>
                  <a:lnTo>
                    <a:pt x="2155" y="31"/>
                  </a:lnTo>
                  <a:lnTo>
                    <a:pt x="2155" y="31"/>
                  </a:lnTo>
                  <a:cubicBezTo>
                    <a:pt x="2208" y="0"/>
                    <a:pt x="2274" y="38"/>
                    <a:pt x="2274" y="99"/>
                  </a:cubicBezTo>
                  <a:lnTo>
                    <a:pt x="2274" y="2206"/>
                  </a:lnTo>
                  <a:lnTo>
                    <a:pt x="2274" y="2206"/>
                  </a:lnTo>
                  <a:cubicBezTo>
                    <a:pt x="2274" y="2291"/>
                    <a:pt x="2229" y="2369"/>
                    <a:pt x="2156" y="2412"/>
                  </a:cubicBezTo>
                </a:path>
              </a:pathLst>
            </a:custGeom>
            <a:solidFill>
              <a:schemeClr val="accent2">
                <a:lumMod val="75000"/>
              </a:schemeClr>
            </a:solidFill>
            <a:ln>
              <a:noFill/>
            </a:ln>
            <a:effectLst/>
          </p:spPr>
          <p:txBody>
            <a:bodyPr wrap="none" anchor="ctr"/>
            <a:lstStyle/>
            <a:p>
              <a:endParaRPr lang="en-US" sz="3266" dirty="0">
                <a:latin typeface="Lato Light" panose="020F0502020204030203" pitchFamily="34" charset="0"/>
              </a:endParaRPr>
            </a:p>
          </p:txBody>
        </p:sp>
        <p:sp>
          <p:nvSpPr>
            <p:cNvPr id="9" name="Freeform 11">
              <a:extLst>
                <a:ext uri="{FF2B5EF4-FFF2-40B4-BE49-F238E27FC236}">
                  <a16:creationId xmlns:a16="http://schemas.microsoft.com/office/drawing/2014/main" id="{D4C12628-F717-7F43-B297-21CF93D7D50A}"/>
                </a:ext>
              </a:extLst>
            </p:cNvPr>
            <p:cNvSpPr>
              <a:spLocks noChangeArrowheads="1"/>
            </p:cNvSpPr>
            <p:nvPr/>
          </p:nvSpPr>
          <p:spPr bwMode="auto">
            <a:xfrm>
              <a:off x="7059007" y="5003088"/>
              <a:ext cx="1163642" cy="751758"/>
            </a:xfrm>
            <a:custGeom>
              <a:avLst/>
              <a:gdLst>
                <a:gd name="T0" fmla="*/ 1748 w 1781"/>
                <a:gd name="T1" fmla="*/ 157 h 1149"/>
                <a:gd name="T2" fmla="*/ 51 w 1781"/>
                <a:gd name="T3" fmla="*/ 1135 h 1149"/>
                <a:gd name="T4" fmla="*/ 51 w 1781"/>
                <a:gd name="T5" fmla="*/ 1135 h 1149"/>
                <a:gd name="T6" fmla="*/ 0 w 1781"/>
                <a:gd name="T7" fmla="*/ 1107 h 1149"/>
                <a:gd name="T8" fmla="*/ 0 w 1781"/>
                <a:gd name="T9" fmla="*/ 1057 h 1149"/>
                <a:gd name="T10" fmla="*/ 0 w 1781"/>
                <a:gd name="T11" fmla="*/ 1057 h 1149"/>
                <a:gd name="T12" fmla="*/ 41 w 1781"/>
                <a:gd name="T13" fmla="*/ 985 h 1149"/>
                <a:gd name="T14" fmla="*/ 1727 w 1781"/>
                <a:gd name="T15" fmla="*/ 14 h 1149"/>
                <a:gd name="T16" fmla="*/ 1727 w 1781"/>
                <a:gd name="T17" fmla="*/ 14 h 1149"/>
                <a:gd name="T18" fmla="*/ 1780 w 1781"/>
                <a:gd name="T19" fmla="*/ 44 h 1149"/>
                <a:gd name="T20" fmla="*/ 1780 w 1781"/>
                <a:gd name="T21" fmla="*/ 101 h 1149"/>
                <a:gd name="T22" fmla="*/ 1780 w 1781"/>
                <a:gd name="T23" fmla="*/ 101 h 1149"/>
                <a:gd name="T24" fmla="*/ 1748 w 1781"/>
                <a:gd name="T25" fmla="*/ 157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1" h="1149">
                  <a:moveTo>
                    <a:pt x="1748" y="157"/>
                  </a:moveTo>
                  <a:lnTo>
                    <a:pt x="51" y="1135"/>
                  </a:lnTo>
                  <a:lnTo>
                    <a:pt x="51" y="1135"/>
                  </a:lnTo>
                  <a:cubicBezTo>
                    <a:pt x="28" y="1148"/>
                    <a:pt x="0" y="1132"/>
                    <a:pt x="0" y="1107"/>
                  </a:cubicBezTo>
                  <a:lnTo>
                    <a:pt x="0" y="1057"/>
                  </a:lnTo>
                  <a:lnTo>
                    <a:pt x="0" y="1057"/>
                  </a:lnTo>
                  <a:cubicBezTo>
                    <a:pt x="0" y="1027"/>
                    <a:pt x="16" y="1000"/>
                    <a:pt x="41" y="985"/>
                  </a:cubicBezTo>
                  <a:lnTo>
                    <a:pt x="1727" y="14"/>
                  </a:lnTo>
                  <a:lnTo>
                    <a:pt x="1727" y="14"/>
                  </a:lnTo>
                  <a:cubicBezTo>
                    <a:pt x="1750" y="0"/>
                    <a:pt x="1780" y="17"/>
                    <a:pt x="1780" y="44"/>
                  </a:cubicBezTo>
                  <a:lnTo>
                    <a:pt x="1780" y="101"/>
                  </a:lnTo>
                  <a:lnTo>
                    <a:pt x="1780" y="101"/>
                  </a:lnTo>
                  <a:cubicBezTo>
                    <a:pt x="1780" y="125"/>
                    <a:pt x="1768" y="145"/>
                    <a:pt x="1748" y="157"/>
                  </a:cubicBezTo>
                </a:path>
              </a:pathLst>
            </a:custGeom>
            <a:solidFill>
              <a:schemeClr val="accent3"/>
            </a:solidFill>
            <a:ln>
              <a:noFill/>
            </a:ln>
            <a:effectLst/>
          </p:spPr>
          <p:txBody>
            <a:bodyPr wrap="none" anchor="ctr"/>
            <a:lstStyle/>
            <a:p>
              <a:endParaRPr lang="en-US" sz="3266" dirty="0">
                <a:latin typeface="Lato Light" panose="020F0502020204030203" pitchFamily="34" charset="0"/>
              </a:endParaRPr>
            </a:p>
          </p:txBody>
        </p:sp>
        <p:sp>
          <p:nvSpPr>
            <p:cNvPr id="10" name="Freeform 12">
              <a:extLst>
                <a:ext uri="{FF2B5EF4-FFF2-40B4-BE49-F238E27FC236}">
                  <a16:creationId xmlns:a16="http://schemas.microsoft.com/office/drawing/2014/main" id="{997868EC-B971-5040-92CC-F54D8FE623A8}"/>
                </a:ext>
              </a:extLst>
            </p:cNvPr>
            <p:cNvSpPr>
              <a:spLocks noChangeArrowheads="1"/>
            </p:cNvSpPr>
            <p:nvPr/>
          </p:nvSpPr>
          <p:spPr bwMode="auto">
            <a:xfrm>
              <a:off x="7059007" y="5201827"/>
              <a:ext cx="1163642" cy="751760"/>
            </a:xfrm>
            <a:custGeom>
              <a:avLst/>
              <a:gdLst>
                <a:gd name="T0" fmla="*/ 1748 w 1781"/>
                <a:gd name="T1" fmla="*/ 158 h 1150"/>
                <a:gd name="T2" fmla="*/ 51 w 1781"/>
                <a:gd name="T3" fmla="*/ 1136 h 1150"/>
                <a:gd name="T4" fmla="*/ 51 w 1781"/>
                <a:gd name="T5" fmla="*/ 1136 h 1150"/>
                <a:gd name="T6" fmla="*/ 0 w 1781"/>
                <a:gd name="T7" fmla="*/ 1107 h 1150"/>
                <a:gd name="T8" fmla="*/ 0 w 1781"/>
                <a:gd name="T9" fmla="*/ 1058 h 1150"/>
                <a:gd name="T10" fmla="*/ 0 w 1781"/>
                <a:gd name="T11" fmla="*/ 1058 h 1150"/>
                <a:gd name="T12" fmla="*/ 41 w 1781"/>
                <a:gd name="T13" fmla="*/ 985 h 1150"/>
                <a:gd name="T14" fmla="*/ 1727 w 1781"/>
                <a:gd name="T15" fmla="*/ 15 h 1150"/>
                <a:gd name="T16" fmla="*/ 1727 w 1781"/>
                <a:gd name="T17" fmla="*/ 15 h 1150"/>
                <a:gd name="T18" fmla="*/ 1780 w 1781"/>
                <a:gd name="T19" fmla="*/ 45 h 1150"/>
                <a:gd name="T20" fmla="*/ 1780 w 1781"/>
                <a:gd name="T21" fmla="*/ 102 h 1150"/>
                <a:gd name="T22" fmla="*/ 1780 w 1781"/>
                <a:gd name="T23" fmla="*/ 102 h 1150"/>
                <a:gd name="T24" fmla="*/ 1748 w 1781"/>
                <a:gd name="T25" fmla="*/ 158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1" h="1150">
                  <a:moveTo>
                    <a:pt x="1748" y="158"/>
                  </a:moveTo>
                  <a:lnTo>
                    <a:pt x="51" y="1136"/>
                  </a:lnTo>
                  <a:lnTo>
                    <a:pt x="51" y="1136"/>
                  </a:lnTo>
                  <a:cubicBezTo>
                    <a:pt x="28" y="1149"/>
                    <a:pt x="0" y="1133"/>
                    <a:pt x="0" y="1107"/>
                  </a:cubicBezTo>
                  <a:lnTo>
                    <a:pt x="0" y="1058"/>
                  </a:lnTo>
                  <a:lnTo>
                    <a:pt x="0" y="1058"/>
                  </a:lnTo>
                  <a:cubicBezTo>
                    <a:pt x="0" y="1028"/>
                    <a:pt x="16" y="1001"/>
                    <a:pt x="41" y="985"/>
                  </a:cubicBezTo>
                  <a:lnTo>
                    <a:pt x="1727" y="15"/>
                  </a:lnTo>
                  <a:lnTo>
                    <a:pt x="1727" y="15"/>
                  </a:lnTo>
                  <a:cubicBezTo>
                    <a:pt x="1750" y="0"/>
                    <a:pt x="1780" y="18"/>
                    <a:pt x="1780" y="45"/>
                  </a:cubicBezTo>
                  <a:lnTo>
                    <a:pt x="1780" y="102"/>
                  </a:lnTo>
                  <a:lnTo>
                    <a:pt x="1780" y="102"/>
                  </a:lnTo>
                  <a:cubicBezTo>
                    <a:pt x="1780" y="125"/>
                    <a:pt x="1768" y="146"/>
                    <a:pt x="1748" y="158"/>
                  </a:cubicBezTo>
                </a:path>
              </a:pathLst>
            </a:custGeom>
            <a:solidFill>
              <a:schemeClr val="accent4"/>
            </a:solidFill>
            <a:ln>
              <a:noFill/>
            </a:ln>
            <a:effectLst/>
          </p:spPr>
          <p:txBody>
            <a:bodyPr wrap="none" anchor="ctr"/>
            <a:lstStyle/>
            <a:p>
              <a:endParaRPr lang="en-US" sz="3266" dirty="0">
                <a:latin typeface="Lato Light" panose="020F0502020204030203" pitchFamily="34" charset="0"/>
              </a:endParaRPr>
            </a:p>
          </p:txBody>
        </p:sp>
        <p:sp>
          <p:nvSpPr>
            <p:cNvPr id="11" name="Freeform 13">
              <a:extLst>
                <a:ext uri="{FF2B5EF4-FFF2-40B4-BE49-F238E27FC236}">
                  <a16:creationId xmlns:a16="http://schemas.microsoft.com/office/drawing/2014/main" id="{501102D7-9C13-DA44-A76C-9FBCFD7E1122}"/>
                </a:ext>
              </a:extLst>
            </p:cNvPr>
            <p:cNvSpPr>
              <a:spLocks noChangeArrowheads="1"/>
            </p:cNvSpPr>
            <p:nvPr/>
          </p:nvSpPr>
          <p:spPr bwMode="auto">
            <a:xfrm>
              <a:off x="7059007" y="5397688"/>
              <a:ext cx="1163642" cy="751760"/>
            </a:xfrm>
            <a:custGeom>
              <a:avLst/>
              <a:gdLst>
                <a:gd name="T0" fmla="*/ 1748 w 1781"/>
                <a:gd name="T1" fmla="*/ 157 h 1150"/>
                <a:gd name="T2" fmla="*/ 51 w 1781"/>
                <a:gd name="T3" fmla="*/ 1136 h 1150"/>
                <a:gd name="T4" fmla="*/ 51 w 1781"/>
                <a:gd name="T5" fmla="*/ 1136 h 1150"/>
                <a:gd name="T6" fmla="*/ 0 w 1781"/>
                <a:gd name="T7" fmla="*/ 1107 h 1150"/>
                <a:gd name="T8" fmla="*/ 0 w 1781"/>
                <a:gd name="T9" fmla="*/ 1057 h 1150"/>
                <a:gd name="T10" fmla="*/ 0 w 1781"/>
                <a:gd name="T11" fmla="*/ 1057 h 1150"/>
                <a:gd name="T12" fmla="*/ 41 w 1781"/>
                <a:gd name="T13" fmla="*/ 985 h 1150"/>
                <a:gd name="T14" fmla="*/ 1727 w 1781"/>
                <a:gd name="T15" fmla="*/ 14 h 1150"/>
                <a:gd name="T16" fmla="*/ 1727 w 1781"/>
                <a:gd name="T17" fmla="*/ 14 h 1150"/>
                <a:gd name="T18" fmla="*/ 1780 w 1781"/>
                <a:gd name="T19" fmla="*/ 45 h 1150"/>
                <a:gd name="T20" fmla="*/ 1780 w 1781"/>
                <a:gd name="T21" fmla="*/ 102 h 1150"/>
                <a:gd name="T22" fmla="*/ 1780 w 1781"/>
                <a:gd name="T23" fmla="*/ 102 h 1150"/>
                <a:gd name="T24" fmla="*/ 1748 w 1781"/>
                <a:gd name="T25" fmla="*/ 157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1" h="1150">
                  <a:moveTo>
                    <a:pt x="1748" y="157"/>
                  </a:moveTo>
                  <a:lnTo>
                    <a:pt x="51" y="1136"/>
                  </a:lnTo>
                  <a:lnTo>
                    <a:pt x="51" y="1136"/>
                  </a:lnTo>
                  <a:cubicBezTo>
                    <a:pt x="28" y="1149"/>
                    <a:pt x="0" y="1133"/>
                    <a:pt x="0" y="1107"/>
                  </a:cubicBezTo>
                  <a:lnTo>
                    <a:pt x="0" y="1057"/>
                  </a:lnTo>
                  <a:lnTo>
                    <a:pt x="0" y="1057"/>
                  </a:lnTo>
                  <a:cubicBezTo>
                    <a:pt x="0" y="1028"/>
                    <a:pt x="16" y="1000"/>
                    <a:pt x="41" y="985"/>
                  </a:cubicBezTo>
                  <a:lnTo>
                    <a:pt x="1727" y="14"/>
                  </a:lnTo>
                  <a:lnTo>
                    <a:pt x="1727" y="14"/>
                  </a:lnTo>
                  <a:cubicBezTo>
                    <a:pt x="1750" y="0"/>
                    <a:pt x="1780" y="18"/>
                    <a:pt x="1780" y="45"/>
                  </a:cubicBezTo>
                  <a:lnTo>
                    <a:pt x="1780" y="102"/>
                  </a:lnTo>
                  <a:lnTo>
                    <a:pt x="1780" y="102"/>
                  </a:lnTo>
                  <a:cubicBezTo>
                    <a:pt x="1780" y="125"/>
                    <a:pt x="1768" y="146"/>
                    <a:pt x="1748" y="157"/>
                  </a:cubicBezTo>
                </a:path>
              </a:pathLst>
            </a:custGeom>
            <a:solidFill>
              <a:schemeClr val="accent2"/>
            </a:solidFill>
            <a:ln>
              <a:noFill/>
            </a:ln>
            <a:effectLst/>
          </p:spPr>
          <p:txBody>
            <a:bodyPr wrap="none" anchor="ctr"/>
            <a:lstStyle/>
            <a:p>
              <a:endParaRPr lang="en-US" sz="3266" dirty="0">
                <a:latin typeface="Lato Light" panose="020F0502020204030203" pitchFamily="34" charset="0"/>
              </a:endParaRPr>
            </a:p>
          </p:txBody>
        </p:sp>
        <p:sp>
          <p:nvSpPr>
            <p:cNvPr id="12" name="Freeform 14">
              <a:extLst>
                <a:ext uri="{FF2B5EF4-FFF2-40B4-BE49-F238E27FC236}">
                  <a16:creationId xmlns:a16="http://schemas.microsoft.com/office/drawing/2014/main" id="{47A243C0-2A51-0349-B6B6-B6E6FB9955C6}"/>
                </a:ext>
              </a:extLst>
            </p:cNvPr>
            <p:cNvSpPr>
              <a:spLocks noChangeArrowheads="1"/>
            </p:cNvSpPr>
            <p:nvPr/>
          </p:nvSpPr>
          <p:spPr bwMode="auto">
            <a:xfrm>
              <a:off x="11998728" y="2802536"/>
              <a:ext cx="63367" cy="241945"/>
            </a:xfrm>
            <a:custGeom>
              <a:avLst/>
              <a:gdLst>
                <a:gd name="T0" fmla="*/ 96 w 97"/>
                <a:gd name="T1" fmla="*/ 371 h 372"/>
                <a:gd name="T2" fmla="*/ 0 w 97"/>
                <a:gd name="T3" fmla="*/ 312 h 372"/>
                <a:gd name="T4" fmla="*/ 0 w 97"/>
                <a:gd name="T5" fmla="*/ 0 h 372"/>
                <a:gd name="T6" fmla="*/ 96 w 97"/>
                <a:gd name="T7" fmla="*/ 58 h 372"/>
                <a:gd name="T8" fmla="*/ 96 w 97"/>
                <a:gd name="T9" fmla="*/ 371 h 372"/>
              </a:gdLst>
              <a:ahLst/>
              <a:cxnLst>
                <a:cxn ang="0">
                  <a:pos x="T0" y="T1"/>
                </a:cxn>
                <a:cxn ang="0">
                  <a:pos x="T2" y="T3"/>
                </a:cxn>
                <a:cxn ang="0">
                  <a:pos x="T4" y="T5"/>
                </a:cxn>
                <a:cxn ang="0">
                  <a:pos x="T6" y="T7"/>
                </a:cxn>
                <a:cxn ang="0">
                  <a:pos x="T8" y="T9"/>
                </a:cxn>
              </a:cxnLst>
              <a:rect l="0" t="0" r="r" b="b"/>
              <a:pathLst>
                <a:path w="97" h="372">
                  <a:moveTo>
                    <a:pt x="96" y="371"/>
                  </a:moveTo>
                  <a:lnTo>
                    <a:pt x="0" y="312"/>
                  </a:lnTo>
                  <a:lnTo>
                    <a:pt x="0" y="0"/>
                  </a:lnTo>
                  <a:lnTo>
                    <a:pt x="96" y="58"/>
                  </a:lnTo>
                  <a:lnTo>
                    <a:pt x="96" y="371"/>
                  </a:lnTo>
                </a:path>
              </a:pathLst>
            </a:custGeom>
            <a:solidFill>
              <a:srgbClr val="CD501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13" name="Freeform 15">
              <a:extLst>
                <a:ext uri="{FF2B5EF4-FFF2-40B4-BE49-F238E27FC236}">
                  <a16:creationId xmlns:a16="http://schemas.microsoft.com/office/drawing/2014/main" id="{B39B8A92-224C-1540-95FE-5C33A7A3BD45}"/>
                </a:ext>
              </a:extLst>
            </p:cNvPr>
            <p:cNvSpPr>
              <a:spLocks noChangeArrowheads="1"/>
            </p:cNvSpPr>
            <p:nvPr/>
          </p:nvSpPr>
          <p:spPr bwMode="auto">
            <a:xfrm>
              <a:off x="13326546" y="904417"/>
              <a:ext cx="167058" cy="285151"/>
            </a:xfrm>
            <a:custGeom>
              <a:avLst/>
              <a:gdLst>
                <a:gd name="T0" fmla="*/ 254 w 255"/>
                <a:gd name="T1" fmla="*/ 434 h 435"/>
                <a:gd name="T2" fmla="*/ 0 w 255"/>
                <a:gd name="T3" fmla="*/ 219 h 435"/>
                <a:gd name="T4" fmla="*/ 158 w 255"/>
                <a:gd name="T5" fmla="*/ 0 h 435"/>
                <a:gd name="T6" fmla="*/ 254 w 255"/>
                <a:gd name="T7" fmla="*/ 58 h 435"/>
                <a:gd name="T8" fmla="*/ 254 w 255"/>
                <a:gd name="T9" fmla="*/ 434 h 435"/>
              </a:gdLst>
              <a:ahLst/>
              <a:cxnLst>
                <a:cxn ang="0">
                  <a:pos x="T0" y="T1"/>
                </a:cxn>
                <a:cxn ang="0">
                  <a:pos x="T2" y="T3"/>
                </a:cxn>
                <a:cxn ang="0">
                  <a:pos x="T4" y="T5"/>
                </a:cxn>
                <a:cxn ang="0">
                  <a:pos x="T6" y="T7"/>
                </a:cxn>
                <a:cxn ang="0">
                  <a:pos x="T8" y="T9"/>
                </a:cxn>
              </a:cxnLst>
              <a:rect l="0" t="0" r="r" b="b"/>
              <a:pathLst>
                <a:path w="255" h="435">
                  <a:moveTo>
                    <a:pt x="254" y="434"/>
                  </a:moveTo>
                  <a:lnTo>
                    <a:pt x="0" y="219"/>
                  </a:lnTo>
                  <a:lnTo>
                    <a:pt x="158" y="0"/>
                  </a:lnTo>
                  <a:lnTo>
                    <a:pt x="254" y="58"/>
                  </a:lnTo>
                  <a:lnTo>
                    <a:pt x="254" y="434"/>
                  </a:lnTo>
                </a:path>
              </a:pathLst>
            </a:custGeom>
            <a:solidFill>
              <a:srgbClr val="CD501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14" name="Freeform 16">
              <a:extLst>
                <a:ext uri="{FF2B5EF4-FFF2-40B4-BE49-F238E27FC236}">
                  <a16:creationId xmlns:a16="http://schemas.microsoft.com/office/drawing/2014/main" id="{5E6F0335-1157-244A-B691-C03675ABD275}"/>
                </a:ext>
              </a:extLst>
            </p:cNvPr>
            <p:cNvSpPr>
              <a:spLocks noChangeArrowheads="1"/>
            </p:cNvSpPr>
            <p:nvPr/>
          </p:nvSpPr>
          <p:spPr bwMode="auto">
            <a:xfrm>
              <a:off x="11972803" y="884255"/>
              <a:ext cx="1486236" cy="2142945"/>
            </a:xfrm>
            <a:custGeom>
              <a:avLst/>
              <a:gdLst>
                <a:gd name="T0" fmla="*/ 1998 w 2275"/>
                <a:gd name="T1" fmla="*/ 1963 h 3279"/>
                <a:gd name="T2" fmla="*/ 118 w 2275"/>
                <a:gd name="T3" fmla="*/ 3247 h 3279"/>
                <a:gd name="T4" fmla="*/ 118 w 2275"/>
                <a:gd name="T5" fmla="*/ 3247 h 3279"/>
                <a:gd name="T6" fmla="*/ 0 w 2275"/>
                <a:gd name="T7" fmla="*/ 3179 h 3279"/>
                <a:gd name="T8" fmla="*/ 0 w 2275"/>
                <a:gd name="T9" fmla="*/ 1429 h 3279"/>
                <a:gd name="T10" fmla="*/ 0 w 2275"/>
                <a:gd name="T11" fmla="*/ 1429 h 3279"/>
                <a:gd name="T12" fmla="*/ 117 w 2275"/>
                <a:gd name="T13" fmla="*/ 1222 h 3279"/>
                <a:gd name="T14" fmla="*/ 2154 w 2275"/>
                <a:gd name="T15" fmla="*/ 31 h 3279"/>
                <a:gd name="T16" fmla="*/ 2154 w 2275"/>
                <a:gd name="T17" fmla="*/ 31 h 3279"/>
                <a:gd name="T18" fmla="*/ 2274 w 2275"/>
                <a:gd name="T19" fmla="*/ 99 h 3279"/>
                <a:gd name="T20" fmla="*/ 2116 w 2275"/>
                <a:gd name="T21" fmla="*/ 1757 h 3279"/>
                <a:gd name="T22" fmla="*/ 2116 w 2275"/>
                <a:gd name="T23" fmla="*/ 1757 h 3279"/>
                <a:gd name="T24" fmla="*/ 1998 w 2275"/>
                <a:gd name="T25" fmla="*/ 1963 h 3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5" h="3279">
                  <a:moveTo>
                    <a:pt x="1998" y="1963"/>
                  </a:moveTo>
                  <a:lnTo>
                    <a:pt x="118" y="3247"/>
                  </a:lnTo>
                  <a:lnTo>
                    <a:pt x="118" y="3247"/>
                  </a:lnTo>
                  <a:cubicBezTo>
                    <a:pt x="66" y="3278"/>
                    <a:pt x="0" y="3240"/>
                    <a:pt x="0" y="3179"/>
                  </a:cubicBezTo>
                  <a:lnTo>
                    <a:pt x="0" y="1429"/>
                  </a:lnTo>
                  <a:lnTo>
                    <a:pt x="0" y="1429"/>
                  </a:lnTo>
                  <a:cubicBezTo>
                    <a:pt x="0" y="1343"/>
                    <a:pt x="44" y="1265"/>
                    <a:pt x="117" y="1222"/>
                  </a:cubicBezTo>
                  <a:lnTo>
                    <a:pt x="2154" y="31"/>
                  </a:lnTo>
                  <a:lnTo>
                    <a:pt x="2154" y="31"/>
                  </a:lnTo>
                  <a:cubicBezTo>
                    <a:pt x="2207" y="0"/>
                    <a:pt x="2274" y="38"/>
                    <a:pt x="2274" y="99"/>
                  </a:cubicBezTo>
                  <a:lnTo>
                    <a:pt x="2116" y="1757"/>
                  </a:lnTo>
                  <a:lnTo>
                    <a:pt x="2116" y="1757"/>
                  </a:lnTo>
                  <a:cubicBezTo>
                    <a:pt x="2116" y="1842"/>
                    <a:pt x="2071" y="1920"/>
                    <a:pt x="1998" y="1963"/>
                  </a:cubicBezTo>
                </a:path>
              </a:pathLst>
            </a:custGeom>
            <a:solidFill>
              <a:schemeClr val="accent4">
                <a:lumMod val="75000"/>
              </a:schemeClr>
            </a:solidFill>
            <a:ln>
              <a:noFill/>
            </a:ln>
            <a:effectLst/>
          </p:spPr>
          <p:txBody>
            <a:bodyPr wrap="none" anchor="ctr"/>
            <a:lstStyle/>
            <a:p>
              <a:endParaRPr lang="en-US" sz="3266" dirty="0">
                <a:latin typeface="Lato Light" panose="020F0502020204030203" pitchFamily="34" charset="0"/>
              </a:endParaRPr>
            </a:p>
          </p:txBody>
        </p:sp>
        <p:sp>
          <p:nvSpPr>
            <p:cNvPr id="15" name="Freeform 17">
              <a:extLst>
                <a:ext uri="{FF2B5EF4-FFF2-40B4-BE49-F238E27FC236}">
                  <a16:creationId xmlns:a16="http://schemas.microsoft.com/office/drawing/2014/main" id="{F522F55B-D9D3-B74C-8EDA-72C1DA49DCAC}"/>
                </a:ext>
              </a:extLst>
            </p:cNvPr>
            <p:cNvSpPr>
              <a:spLocks noChangeArrowheads="1"/>
            </p:cNvSpPr>
            <p:nvPr/>
          </p:nvSpPr>
          <p:spPr bwMode="auto">
            <a:xfrm>
              <a:off x="12033291" y="921698"/>
              <a:ext cx="1486236" cy="2142945"/>
            </a:xfrm>
            <a:custGeom>
              <a:avLst/>
              <a:gdLst>
                <a:gd name="T0" fmla="*/ 2156 w 2275"/>
                <a:gd name="T1" fmla="*/ 2055 h 3279"/>
                <a:gd name="T2" fmla="*/ 119 w 2275"/>
                <a:gd name="T3" fmla="*/ 3247 h 3279"/>
                <a:gd name="T4" fmla="*/ 119 w 2275"/>
                <a:gd name="T5" fmla="*/ 3247 h 3279"/>
                <a:gd name="T6" fmla="*/ 0 w 2275"/>
                <a:gd name="T7" fmla="*/ 3178 h 3279"/>
                <a:gd name="T8" fmla="*/ 0 w 2275"/>
                <a:gd name="T9" fmla="*/ 1428 h 3279"/>
                <a:gd name="T10" fmla="*/ 0 w 2275"/>
                <a:gd name="T11" fmla="*/ 1428 h 3279"/>
                <a:gd name="T12" fmla="*/ 118 w 2275"/>
                <a:gd name="T13" fmla="*/ 1222 h 3279"/>
                <a:gd name="T14" fmla="*/ 2154 w 2275"/>
                <a:gd name="T15" fmla="*/ 31 h 3279"/>
                <a:gd name="T16" fmla="*/ 2154 w 2275"/>
                <a:gd name="T17" fmla="*/ 31 h 3279"/>
                <a:gd name="T18" fmla="*/ 2274 w 2275"/>
                <a:gd name="T19" fmla="*/ 99 h 3279"/>
                <a:gd name="T20" fmla="*/ 2274 w 2275"/>
                <a:gd name="T21" fmla="*/ 1849 h 3279"/>
                <a:gd name="T22" fmla="*/ 2274 w 2275"/>
                <a:gd name="T23" fmla="*/ 1849 h 3279"/>
                <a:gd name="T24" fmla="*/ 2156 w 2275"/>
                <a:gd name="T25" fmla="*/ 2055 h 3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5" h="3279">
                  <a:moveTo>
                    <a:pt x="2156" y="2055"/>
                  </a:moveTo>
                  <a:lnTo>
                    <a:pt x="119" y="3247"/>
                  </a:lnTo>
                  <a:lnTo>
                    <a:pt x="119" y="3247"/>
                  </a:lnTo>
                  <a:cubicBezTo>
                    <a:pt x="66" y="3278"/>
                    <a:pt x="0" y="3239"/>
                    <a:pt x="0" y="3178"/>
                  </a:cubicBezTo>
                  <a:lnTo>
                    <a:pt x="0" y="1428"/>
                  </a:lnTo>
                  <a:lnTo>
                    <a:pt x="0" y="1428"/>
                  </a:lnTo>
                  <a:cubicBezTo>
                    <a:pt x="0" y="1344"/>
                    <a:pt x="44" y="1265"/>
                    <a:pt x="118" y="1222"/>
                  </a:cubicBezTo>
                  <a:lnTo>
                    <a:pt x="2154" y="31"/>
                  </a:lnTo>
                  <a:lnTo>
                    <a:pt x="2154" y="31"/>
                  </a:lnTo>
                  <a:cubicBezTo>
                    <a:pt x="2207" y="0"/>
                    <a:pt x="2274" y="38"/>
                    <a:pt x="2274" y="99"/>
                  </a:cubicBezTo>
                  <a:lnTo>
                    <a:pt x="2274" y="1849"/>
                  </a:lnTo>
                  <a:lnTo>
                    <a:pt x="2274" y="1849"/>
                  </a:lnTo>
                  <a:cubicBezTo>
                    <a:pt x="2274" y="1934"/>
                    <a:pt x="2229" y="2012"/>
                    <a:pt x="2156" y="2055"/>
                  </a:cubicBezTo>
                </a:path>
              </a:pathLst>
            </a:custGeom>
            <a:solidFill>
              <a:schemeClr val="accent4"/>
            </a:solidFill>
            <a:ln>
              <a:noFill/>
            </a:ln>
            <a:effectLst/>
          </p:spPr>
          <p:txBody>
            <a:bodyPr wrap="none" anchor="ctr"/>
            <a:lstStyle/>
            <a:p>
              <a:endParaRPr lang="en-US" sz="3266" dirty="0">
                <a:latin typeface="Lato Light" panose="020F0502020204030203" pitchFamily="34" charset="0"/>
              </a:endParaRPr>
            </a:p>
          </p:txBody>
        </p:sp>
        <p:sp>
          <p:nvSpPr>
            <p:cNvPr id="16" name="Freeform 15">
              <a:extLst>
                <a:ext uri="{FF2B5EF4-FFF2-40B4-BE49-F238E27FC236}">
                  <a16:creationId xmlns:a16="http://schemas.microsoft.com/office/drawing/2014/main" id="{6EF53726-CB27-594B-9FCD-AF6D7553B526}"/>
                </a:ext>
              </a:extLst>
            </p:cNvPr>
            <p:cNvSpPr>
              <a:spLocks noChangeArrowheads="1"/>
            </p:cNvSpPr>
            <p:nvPr/>
          </p:nvSpPr>
          <p:spPr bwMode="auto">
            <a:xfrm>
              <a:off x="12214748" y="1224265"/>
              <a:ext cx="1162990" cy="1528941"/>
            </a:xfrm>
            <a:custGeom>
              <a:avLst/>
              <a:gdLst>
                <a:gd name="connsiteX0" fmla="*/ 811619 w 1162990"/>
                <a:gd name="connsiteY0" fmla="*/ 988059 h 1528941"/>
                <a:gd name="connsiteX1" fmla="*/ 823115 w 1162990"/>
                <a:gd name="connsiteY1" fmla="*/ 1007877 h 1528941"/>
                <a:gd name="connsiteX2" fmla="*/ 823115 w 1162990"/>
                <a:gd name="connsiteY2" fmla="*/ 1045720 h 1528941"/>
                <a:gd name="connsiteX3" fmla="*/ 802243 w 1162990"/>
                <a:gd name="connsiteY3" fmla="*/ 1081606 h 1528941"/>
                <a:gd name="connsiteX4" fmla="*/ 32612 w 1162990"/>
                <a:gd name="connsiteY4" fmla="*/ 1525932 h 1528941"/>
                <a:gd name="connsiteX5" fmla="*/ 1 w 1162990"/>
                <a:gd name="connsiteY5" fmla="*/ 1507010 h 1528941"/>
                <a:gd name="connsiteX6" fmla="*/ 1 w 1162990"/>
                <a:gd name="connsiteY6" fmla="*/ 1475040 h 1528941"/>
                <a:gd name="connsiteX7" fmla="*/ 26742 w 1162990"/>
                <a:gd name="connsiteY7" fmla="*/ 1427410 h 1528941"/>
                <a:gd name="connsiteX8" fmla="*/ 787894 w 1162990"/>
                <a:gd name="connsiteY8" fmla="*/ 988304 h 1528941"/>
                <a:gd name="connsiteX9" fmla="*/ 811619 w 1162990"/>
                <a:gd name="connsiteY9" fmla="*/ 988059 h 1528941"/>
                <a:gd name="connsiteX10" fmla="*/ 327960 w 1162990"/>
                <a:gd name="connsiteY10" fmla="*/ 861188 h 1528941"/>
                <a:gd name="connsiteX11" fmla="*/ 350746 w 1162990"/>
                <a:gd name="connsiteY11" fmla="*/ 884679 h 1528941"/>
                <a:gd name="connsiteX12" fmla="*/ 350746 w 1162990"/>
                <a:gd name="connsiteY12" fmla="*/ 921872 h 1528941"/>
                <a:gd name="connsiteX13" fmla="*/ 329923 w 1162990"/>
                <a:gd name="connsiteY13" fmla="*/ 957761 h 1528941"/>
                <a:gd name="connsiteX14" fmla="*/ 32537 w 1162990"/>
                <a:gd name="connsiteY14" fmla="*/ 1130678 h 1528941"/>
                <a:gd name="connsiteX15" fmla="*/ 0 w 1162990"/>
                <a:gd name="connsiteY15" fmla="*/ 1111755 h 1528941"/>
                <a:gd name="connsiteX16" fmla="*/ 0 w 1162990"/>
                <a:gd name="connsiteY16" fmla="*/ 1079782 h 1528941"/>
                <a:gd name="connsiteX17" fmla="*/ 26680 w 1162990"/>
                <a:gd name="connsiteY17" fmla="*/ 1032800 h 1528941"/>
                <a:gd name="connsiteX18" fmla="*/ 316257 w 1162990"/>
                <a:gd name="connsiteY18" fmla="*/ 864450 h 1528941"/>
                <a:gd name="connsiteX19" fmla="*/ 327960 w 1162990"/>
                <a:gd name="connsiteY19" fmla="*/ 861188 h 1528941"/>
                <a:gd name="connsiteX20" fmla="*/ 1128457 w 1162990"/>
                <a:gd name="connsiteY20" fmla="*/ 780271 h 1528941"/>
                <a:gd name="connsiteX21" fmla="*/ 1162990 w 1162990"/>
                <a:gd name="connsiteY21" fmla="*/ 800504 h 1528941"/>
                <a:gd name="connsiteX22" fmla="*/ 1162990 w 1162990"/>
                <a:gd name="connsiteY22" fmla="*/ 838359 h 1528941"/>
                <a:gd name="connsiteX23" fmla="*/ 1142140 w 1162990"/>
                <a:gd name="connsiteY23" fmla="*/ 874257 h 1528941"/>
                <a:gd name="connsiteX24" fmla="*/ 888681 w 1162990"/>
                <a:gd name="connsiteY24" fmla="*/ 1027637 h 1528941"/>
                <a:gd name="connsiteX25" fmla="*/ 855451 w 1162990"/>
                <a:gd name="connsiteY25" fmla="*/ 1008709 h 1528941"/>
                <a:gd name="connsiteX26" fmla="*/ 855451 w 1162990"/>
                <a:gd name="connsiteY26" fmla="*/ 976075 h 1528941"/>
                <a:gd name="connsiteX27" fmla="*/ 882165 w 1162990"/>
                <a:gd name="connsiteY27" fmla="*/ 929082 h 1528941"/>
                <a:gd name="connsiteX28" fmla="*/ 1128341 w 1162990"/>
                <a:gd name="connsiteY28" fmla="*/ 595954 h 1528941"/>
                <a:gd name="connsiteX29" fmla="*/ 1162988 w 1162990"/>
                <a:gd name="connsiteY29" fmla="*/ 616236 h 1528941"/>
                <a:gd name="connsiteX30" fmla="*/ 1162988 w 1162990"/>
                <a:gd name="connsiteY30" fmla="*/ 654184 h 1528941"/>
                <a:gd name="connsiteX31" fmla="*/ 1142723 w 1162990"/>
                <a:gd name="connsiteY31" fmla="*/ 690169 h 1528941"/>
                <a:gd name="connsiteX32" fmla="*/ 32687 w 1162990"/>
                <a:gd name="connsiteY32" fmla="*/ 1330046 h 1528941"/>
                <a:gd name="connsiteX33" fmla="*/ 0 w 1162990"/>
                <a:gd name="connsiteY33" fmla="*/ 1311072 h 1528941"/>
                <a:gd name="connsiteX34" fmla="*/ 0 w 1162990"/>
                <a:gd name="connsiteY34" fmla="*/ 1278359 h 1528941"/>
                <a:gd name="connsiteX35" fmla="*/ 26803 w 1162990"/>
                <a:gd name="connsiteY35" fmla="*/ 1231906 h 1528941"/>
                <a:gd name="connsiteX36" fmla="*/ 823212 w 1162990"/>
                <a:gd name="connsiteY36" fmla="*/ 581796 h 1528941"/>
                <a:gd name="connsiteX37" fmla="*/ 846153 w 1162990"/>
                <a:gd name="connsiteY37" fmla="*/ 604675 h 1528941"/>
                <a:gd name="connsiteX38" fmla="*/ 846153 w 1162990"/>
                <a:gd name="connsiteY38" fmla="*/ 642570 h 1528941"/>
                <a:gd name="connsiteX39" fmla="*/ 825187 w 1162990"/>
                <a:gd name="connsiteY39" fmla="*/ 678506 h 1528941"/>
                <a:gd name="connsiteX40" fmla="*/ 421600 w 1162990"/>
                <a:gd name="connsiteY40" fmla="*/ 912415 h 1528941"/>
                <a:gd name="connsiteX41" fmla="*/ 388841 w 1162990"/>
                <a:gd name="connsiteY41" fmla="*/ 893467 h 1528941"/>
                <a:gd name="connsiteX42" fmla="*/ 388841 w 1162990"/>
                <a:gd name="connsiteY42" fmla="*/ 860798 h 1528941"/>
                <a:gd name="connsiteX43" fmla="*/ 415703 w 1162990"/>
                <a:gd name="connsiteY43" fmla="*/ 814408 h 1528941"/>
                <a:gd name="connsiteX44" fmla="*/ 811429 w 1162990"/>
                <a:gd name="connsiteY44" fmla="*/ 585073 h 1528941"/>
                <a:gd name="connsiteX45" fmla="*/ 823212 w 1162990"/>
                <a:gd name="connsiteY45" fmla="*/ 581796 h 1528941"/>
                <a:gd name="connsiteX46" fmla="*/ 1134380 w 1162990"/>
                <a:gd name="connsiteY46" fmla="*/ 400324 h 1528941"/>
                <a:gd name="connsiteX47" fmla="*/ 1157229 w 1162990"/>
                <a:gd name="connsiteY47" fmla="*/ 423149 h 1528941"/>
                <a:gd name="connsiteX48" fmla="*/ 1157229 w 1162990"/>
                <a:gd name="connsiteY48" fmla="*/ 460957 h 1528941"/>
                <a:gd name="connsiteX49" fmla="*/ 1136348 w 1162990"/>
                <a:gd name="connsiteY49" fmla="*/ 496809 h 1528941"/>
                <a:gd name="connsiteX50" fmla="*/ 905358 w 1162990"/>
                <a:gd name="connsiteY50" fmla="*/ 633047 h 1528941"/>
                <a:gd name="connsiteX51" fmla="*/ 872732 w 1162990"/>
                <a:gd name="connsiteY51" fmla="*/ 614143 h 1528941"/>
                <a:gd name="connsiteX52" fmla="*/ 872732 w 1162990"/>
                <a:gd name="connsiteY52" fmla="*/ 581550 h 1528941"/>
                <a:gd name="connsiteX53" fmla="*/ 898833 w 1162990"/>
                <a:gd name="connsiteY53" fmla="*/ 535268 h 1528941"/>
                <a:gd name="connsiteX54" fmla="*/ 1122645 w 1162990"/>
                <a:gd name="connsiteY54" fmla="*/ 403593 h 1528941"/>
                <a:gd name="connsiteX55" fmla="*/ 1134380 w 1162990"/>
                <a:gd name="connsiteY55" fmla="*/ 400324 h 1528941"/>
                <a:gd name="connsiteX56" fmla="*/ 523986 w 1162990"/>
                <a:gd name="connsiteY56" fmla="*/ 360306 h 1528941"/>
                <a:gd name="connsiteX57" fmla="*/ 546604 w 1162990"/>
                <a:gd name="connsiteY57" fmla="*/ 383581 h 1528941"/>
                <a:gd name="connsiteX58" fmla="*/ 546604 w 1162990"/>
                <a:gd name="connsiteY58" fmla="*/ 420869 h 1528941"/>
                <a:gd name="connsiteX59" fmla="*/ 525682 w 1162990"/>
                <a:gd name="connsiteY59" fmla="*/ 456850 h 1528941"/>
                <a:gd name="connsiteX60" fmla="*/ 32693 w 1162990"/>
                <a:gd name="connsiteY60" fmla="*/ 744692 h 1528941"/>
                <a:gd name="connsiteX61" fmla="*/ 1 w 1162990"/>
                <a:gd name="connsiteY61" fmla="*/ 725721 h 1528941"/>
                <a:gd name="connsiteX62" fmla="*/ 1 w 1162990"/>
                <a:gd name="connsiteY62" fmla="*/ 693666 h 1528941"/>
                <a:gd name="connsiteX63" fmla="*/ 26808 w 1162990"/>
                <a:gd name="connsiteY63" fmla="*/ 646564 h 1528941"/>
                <a:gd name="connsiteX64" fmla="*/ 511951 w 1162990"/>
                <a:gd name="connsiteY64" fmla="*/ 363955 h 1528941"/>
                <a:gd name="connsiteX65" fmla="*/ 523986 w 1162990"/>
                <a:gd name="connsiteY65" fmla="*/ 360306 h 1528941"/>
                <a:gd name="connsiteX66" fmla="*/ 1140373 w 1162990"/>
                <a:gd name="connsiteY66" fmla="*/ 201610 h 1528941"/>
                <a:gd name="connsiteX67" fmla="*/ 1162988 w 1162990"/>
                <a:gd name="connsiteY67" fmla="*/ 225144 h 1528941"/>
                <a:gd name="connsiteX68" fmla="*/ 1162988 w 1162990"/>
                <a:gd name="connsiteY68" fmla="*/ 262405 h 1528941"/>
                <a:gd name="connsiteX69" fmla="*/ 1142723 w 1162990"/>
                <a:gd name="connsiteY69" fmla="*/ 298358 h 1528941"/>
                <a:gd name="connsiteX70" fmla="*/ 32687 w 1162990"/>
                <a:gd name="connsiteY70" fmla="*/ 938333 h 1528941"/>
                <a:gd name="connsiteX71" fmla="*/ 0 w 1162990"/>
                <a:gd name="connsiteY71" fmla="*/ 919376 h 1528941"/>
                <a:gd name="connsiteX72" fmla="*/ 0 w 1162990"/>
                <a:gd name="connsiteY72" fmla="*/ 886691 h 1528941"/>
                <a:gd name="connsiteX73" fmla="*/ 26803 w 1162990"/>
                <a:gd name="connsiteY73" fmla="*/ 840278 h 1528941"/>
                <a:gd name="connsiteX74" fmla="*/ 1128341 w 1162990"/>
                <a:gd name="connsiteY74" fmla="*/ 204879 h 1528941"/>
                <a:gd name="connsiteX75" fmla="*/ 1140373 w 1162990"/>
                <a:gd name="connsiteY75" fmla="*/ 201610 h 1528941"/>
                <a:gd name="connsiteX76" fmla="*/ 1131532 w 1162990"/>
                <a:gd name="connsiteY76" fmla="*/ 1 h 1528941"/>
                <a:gd name="connsiteX77" fmla="*/ 1154350 w 1162990"/>
                <a:gd name="connsiteY77" fmla="*/ 23582 h 1528941"/>
                <a:gd name="connsiteX78" fmla="*/ 1154350 w 1162990"/>
                <a:gd name="connsiteY78" fmla="*/ 60918 h 1528941"/>
                <a:gd name="connsiteX79" fmla="*/ 1133497 w 1162990"/>
                <a:gd name="connsiteY79" fmla="*/ 97599 h 1528941"/>
                <a:gd name="connsiteX80" fmla="*/ 612176 w 1162990"/>
                <a:gd name="connsiteY80" fmla="*/ 405460 h 1528941"/>
                <a:gd name="connsiteX81" fmla="*/ 578942 w 1162990"/>
                <a:gd name="connsiteY81" fmla="*/ 386464 h 1528941"/>
                <a:gd name="connsiteX82" fmla="*/ 578942 w 1162990"/>
                <a:gd name="connsiteY82" fmla="*/ 353713 h 1528941"/>
                <a:gd name="connsiteX83" fmla="*/ 606311 w 1162990"/>
                <a:gd name="connsiteY83" fmla="*/ 307206 h 1528941"/>
                <a:gd name="connsiteX84" fmla="*/ 1119813 w 1162990"/>
                <a:gd name="connsiteY84" fmla="*/ 3276 h 1528941"/>
                <a:gd name="connsiteX85" fmla="*/ 1131532 w 1162990"/>
                <a:gd name="connsiteY85" fmla="*/ 1 h 152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162990" h="1528941">
                  <a:moveTo>
                    <a:pt x="811619" y="988059"/>
                  </a:moveTo>
                  <a:cubicBezTo>
                    <a:pt x="818386" y="991892"/>
                    <a:pt x="823115" y="999069"/>
                    <a:pt x="823115" y="1007877"/>
                  </a:cubicBezTo>
                  <a:lnTo>
                    <a:pt x="823115" y="1045720"/>
                  </a:lnTo>
                  <a:cubicBezTo>
                    <a:pt x="823115" y="1060074"/>
                    <a:pt x="815288" y="1073776"/>
                    <a:pt x="802243" y="1081606"/>
                  </a:cubicBezTo>
                  <a:lnTo>
                    <a:pt x="32612" y="1525932"/>
                  </a:lnTo>
                  <a:cubicBezTo>
                    <a:pt x="18263" y="1534414"/>
                    <a:pt x="1" y="1523974"/>
                    <a:pt x="1" y="1507010"/>
                  </a:cubicBezTo>
                  <a:lnTo>
                    <a:pt x="1" y="1475040"/>
                  </a:lnTo>
                  <a:cubicBezTo>
                    <a:pt x="1" y="1455466"/>
                    <a:pt x="9784" y="1437849"/>
                    <a:pt x="26742" y="1427410"/>
                  </a:cubicBezTo>
                  <a:lnTo>
                    <a:pt x="787894" y="988304"/>
                  </a:lnTo>
                  <a:cubicBezTo>
                    <a:pt x="796047" y="983736"/>
                    <a:pt x="804852" y="984226"/>
                    <a:pt x="811619" y="988059"/>
                  </a:cubicBezTo>
                  <a:close/>
                  <a:moveTo>
                    <a:pt x="327960" y="861188"/>
                  </a:moveTo>
                  <a:cubicBezTo>
                    <a:pt x="339765" y="861310"/>
                    <a:pt x="350746" y="870976"/>
                    <a:pt x="350746" y="884679"/>
                  </a:cubicBezTo>
                  <a:lnTo>
                    <a:pt x="350746" y="921872"/>
                  </a:lnTo>
                  <a:cubicBezTo>
                    <a:pt x="350746" y="936880"/>
                    <a:pt x="342937" y="950583"/>
                    <a:pt x="329923" y="957761"/>
                  </a:cubicBezTo>
                  <a:lnTo>
                    <a:pt x="32537" y="1130678"/>
                  </a:lnTo>
                  <a:cubicBezTo>
                    <a:pt x="18221" y="1139814"/>
                    <a:pt x="0" y="1128721"/>
                    <a:pt x="0" y="1111755"/>
                  </a:cubicBezTo>
                  <a:lnTo>
                    <a:pt x="0" y="1079782"/>
                  </a:lnTo>
                  <a:cubicBezTo>
                    <a:pt x="0" y="1060206"/>
                    <a:pt x="9761" y="1042588"/>
                    <a:pt x="26680" y="1032800"/>
                  </a:cubicBezTo>
                  <a:lnTo>
                    <a:pt x="316257" y="864450"/>
                  </a:lnTo>
                  <a:cubicBezTo>
                    <a:pt x="319999" y="862166"/>
                    <a:pt x="324025" y="861147"/>
                    <a:pt x="327960" y="861188"/>
                  </a:cubicBezTo>
                  <a:close/>
                  <a:moveTo>
                    <a:pt x="1128457" y="780271"/>
                  </a:moveTo>
                  <a:cubicBezTo>
                    <a:pt x="1143443" y="771786"/>
                    <a:pt x="1162990" y="782882"/>
                    <a:pt x="1162990" y="800504"/>
                  </a:cubicBezTo>
                  <a:lnTo>
                    <a:pt x="1162990" y="838359"/>
                  </a:lnTo>
                  <a:cubicBezTo>
                    <a:pt x="1162990" y="852718"/>
                    <a:pt x="1155172" y="866425"/>
                    <a:pt x="1142140" y="874257"/>
                  </a:cubicBezTo>
                  <a:lnTo>
                    <a:pt x="888681" y="1027637"/>
                  </a:lnTo>
                  <a:cubicBezTo>
                    <a:pt x="873695" y="1036121"/>
                    <a:pt x="855451" y="1025679"/>
                    <a:pt x="855451" y="1008709"/>
                  </a:cubicBezTo>
                  <a:lnTo>
                    <a:pt x="855451" y="976075"/>
                  </a:lnTo>
                  <a:cubicBezTo>
                    <a:pt x="855451" y="957147"/>
                    <a:pt x="865224" y="938872"/>
                    <a:pt x="882165" y="929082"/>
                  </a:cubicBezTo>
                  <a:close/>
                  <a:moveTo>
                    <a:pt x="1128341" y="595954"/>
                  </a:moveTo>
                  <a:cubicBezTo>
                    <a:pt x="1144030" y="587448"/>
                    <a:pt x="1162988" y="598571"/>
                    <a:pt x="1162988" y="616236"/>
                  </a:cubicBezTo>
                  <a:lnTo>
                    <a:pt x="1162988" y="654184"/>
                  </a:lnTo>
                  <a:cubicBezTo>
                    <a:pt x="1162988" y="668578"/>
                    <a:pt x="1155797" y="682317"/>
                    <a:pt x="1142723" y="690169"/>
                  </a:cubicBezTo>
                  <a:lnTo>
                    <a:pt x="32687" y="1330046"/>
                  </a:lnTo>
                  <a:cubicBezTo>
                    <a:pt x="18304" y="1338552"/>
                    <a:pt x="0" y="1328084"/>
                    <a:pt x="0" y="1311072"/>
                  </a:cubicBezTo>
                  <a:lnTo>
                    <a:pt x="0" y="1278359"/>
                  </a:lnTo>
                  <a:cubicBezTo>
                    <a:pt x="0" y="1259385"/>
                    <a:pt x="9806" y="1241720"/>
                    <a:pt x="26803" y="1231906"/>
                  </a:cubicBezTo>
                  <a:close/>
                  <a:moveTo>
                    <a:pt x="823212" y="581796"/>
                  </a:moveTo>
                  <a:cubicBezTo>
                    <a:pt x="835097" y="581888"/>
                    <a:pt x="846153" y="591444"/>
                    <a:pt x="846153" y="604675"/>
                  </a:cubicBezTo>
                  <a:lnTo>
                    <a:pt x="846153" y="642570"/>
                  </a:lnTo>
                  <a:cubicBezTo>
                    <a:pt x="846153" y="657598"/>
                    <a:pt x="838291" y="670666"/>
                    <a:pt x="825187" y="678506"/>
                  </a:cubicBezTo>
                  <a:lnTo>
                    <a:pt x="421600" y="912415"/>
                  </a:lnTo>
                  <a:cubicBezTo>
                    <a:pt x="407186" y="920909"/>
                    <a:pt x="388841" y="910455"/>
                    <a:pt x="388841" y="893467"/>
                  </a:cubicBezTo>
                  <a:lnTo>
                    <a:pt x="388841" y="860798"/>
                  </a:lnTo>
                  <a:cubicBezTo>
                    <a:pt x="388841" y="841850"/>
                    <a:pt x="399324" y="823556"/>
                    <a:pt x="415703" y="814408"/>
                  </a:cubicBezTo>
                  <a:lnTo>
                    <a:pt x="811429" y="585073"/>
                  </a:lnTo>
                  <a:cubicBezTo>
                    <a:pt x="815196" y="582787"/>
                    <a:pt x="819250" y="581766"/>
                    <a:pt x="823212" y="581796"/>
                  </a:cubicBezTo>
                  <a:close/>
                  <a:moveTo>
                    <a:pt x="1134380" y="400324"/>
                  </a:moveTo>
                  <a:cubicBezTo>
                    <a:pt x="1146218" y="400415"/>
                    <a:pt x="1157229" y="409949"/>
                    <a:pt x="1157229" y="423149"/>
                  </a:cubicBezTo>
                  <a:lnTo>
                    <a:pt x="1157229" y="460957"/>
                  </a:lnTo>
                  <a:cubicBezTo>
                    <a:pt x="1157229" y="475949"/>
                    <a:pt x="1149398" y="489638"/>
                    <a:pt x="1136348" y="496809"/>
                  </a:cubicBezTo>
                  <a:lnTo>
                    <a:pt x="905358" y="633047"/>
                  </a:lnTo>
                  <a:cubicBezTo>
                    <a:pt x="891002" y="641521"/>
                    <a:pt x="872732" y="631091"/>
                    <a:pt x="872732" y="614143"/>
                  </a:cubicBezTo>
                  <a:lnTo>
                    <a:pt x="872732" y="581550"/>
                  </a:lnTo>
                  <a:cubicBezTo>
                    <a:pt x="872732" y="562646"/>
                    <a:pt x="882520" y="544394"/>
                    <a:pt x="898833" y="535268"/>
                  </a:cubicBezTo>
                  <a:lnTo>
                    <a:pt x="1122645" y="403593"/>
                  </a:lnTo>
                  <a:cubicBezTo>
                    <a:pt x="1126397" y="401312"/>
                    <a:pt x="1130435" y="400293"/>
                    <a:pt x="1134380" y="400324"/>
                  </a:cubicBezTo>
                  <a:close/>
                  <a:moveTo>
                    <a:pt x="523986" y="360306"/>
                  </a:moveTo>
                  <a:cubicBezTo>
                    <a:pt x="535938" y="360152"/>
                    <a:pt x="546604" y="369843"/>
                    <a:pt x="546604" y="383581"/>
                  </a:cubicBezTo>
                  <a:lnTo>
                    <a:pt x="546604" y="420869"/>
                  </a:lnTo>
                  <a:cubicBezTo>
                    <a:pt x="546604" y="435916"/>
                    <a:pt x="538758" y="449654"/>
                    <a:pt x="525682" y="456850"/>
                  </a:cubicBezTo>
                  <a:lnTo>
                    <a:pt x="32693" y="744692"/>
                  </a:lnTo>
                  <a:cubicBezTo>
                    <a:pt x="18308" y="753851"/>
                    <a:pt x="1" y="742730"/>
                    <a:pt x="1" y="725721"/>
                  </a:cubicBezTo>
                  <a:lnTo>
                    <a:pt x="1" y="693666"/>
                  </a:lnTo>
                  <a:cubicBezTo>
                    <a:pt x="1" y="674040"/>
                    <a:pt x="9808" y="656377"/>
                    <a:pt x="26808" y="646564"/>
                  </a:cubicBezTo>
                  <a:lnTo>
                    <a:pt x="511951" y="363955"/>
                  </a:lnTo>
                  <a:cubicBezTo>
                    <a:pt x="515874" y="361502"/>
                    <a:pt x="520001" y="360357"/>
                    <a:pt x="523986" y="360306"/>
                  </a:cubicBezTo>
                  <a:close/>
                  <a:moveTo>
                    <a:pt x="1140373" y="201610"/>
                  </a:moveTo>
                  <a:cubicBezTo>
                    <a:pt x="1152324" y="201733"/>
                    <a:pt x="1162988" y="211416"/>
                    <a:pt x="1162988" y="225144"/>
                  </a:cubicBezTo>
                  <a:lnTo>
                    <a:pt x="1162988" y="262405"/>
                  </a:lnTo>
                  <a:cubicBezTo>
                    <a:pt x="1162988" y="277440"/>
                    <a:pt x="1155797" y="291168"/>
                    <a:pt x="1142723" y="298358"/>
                  </a:cubicBezTo>
                  <a:lnTo>
                    <a:pt x="32687" y="938333"/>
                  </a:lnTo>
                  <a:cubicBezTo>
                    <a:pt x="18304" y="946831"/>
                    <a:pt x="0" y="936372"/>
                    <a:pt x="0" y="919376"/>
                  </a:cubicBezTo>
                  <a:lnTo>
                    <a:pt x="0" y="886691"/>
                  </a:lnTo>
                  <a:cubicBezTo>
                    <a:pt x="0" y="867733"/>
                    <a:pt x="9806" y="849430"/>
                    <a:pt x="26803" y="840278"/>
                  </a:cubicBezTo>
                  <a:lnTo>
                    <a:pt x="1128341" y="204879"/>
                  </a:lnTo>
                  <a:cubicBezTo>
                    <a:pt x="1132263" y="202591"/>
                    <a:pt x="1136390" y="201569"/>
                    <a:pt x="1140373" y="201610"/>
                  </a:cubicBezTo>
                  <a:close/>
                  <a:moveTo>
                    <a:pt x="1131532" y="1"/>
                  </a:moveTo>
                  <a:cubicBezTo>
                    <a:pt x="1143354" y="124"/>
                    <a:pt x="1154350" y="9826"/>
                    <a:pt x="1154350" y="23582"/>
                  </a:cubicBezTo>
                  <a:lnTo>
                    <a:pt x="1154350" y="60918"/>
                  </a:lnTo>
                  <a:cubicBezTo>
                    <a:pt x="1154350" y="75984"/>
                    <a:pt x="1146531" y="89739"/>
                    <a:pt x="1133497" y="97599"/>
                  </a:cubicBezTo>
                  <a:lnTo>
                    <a:pt x="612176" y="405460"/>
                  </a:lnTo>
                  <a:cubicBezTo>
                    <a:pt x="597188" y="413975"/>
                    <a:pt x="578942" y="403495"/>
                    <a:pt x="578942" y="386464"/>
                  </a:cubicBezTo>
                  <a:lnTo>
                    <a:pt x="578942" y="353713"/>
                  </a:lnTo>
                  <a:cubicBezTo>
                    <a:pt x="578942" y="334717"/>
                    <a:pt x="588717" y="317032"/>
                    <a:pt x="606311" y="307206"/>
                  </a:cubicBezTo>
                  <a:lnTo>
                    <a:pt x="1119813" y="3276"/>
                  </a:lnTo>
                  <a:cubicBezTo>
                    <a:pt x="1123560" y="984"/>
                    <a:pt x="1127592" y="-40"/>
                    <a:pt x="1131532" y="1"/>
                  </a:cubicBezTo>
                  <a:close/>
                </a:path>
              </a:pathLst>
            </a:custGeom>
            <a:solidFill>
              <a:schemeClr val="bg1"/>
            </a:solidFill>
            <a:ln>
              <a:noFill/>
            </a:ln>
            <a:effectLst/>
          </p:spPr>
          <p:txBody>
            <a:bodyPr wrap="square" anchor="ctr">
              <a:noAutofit/>
            </a:bodyPr>
            <a:lstStyle/>
            <a:p>
              <a:endParaRPr lang="en-US" sz="3266" dirty="0">
                <a:latin typeface="Lato Light" panose="020F0502020204030203" pitchFamily="34" charset="0"/>
              </a:endParaRPr>
            </a:p>
          </p:txBody>
        </p:sp>
        <p:sp>
          <p:nvSpPr>
            <p:cNvPr id="17" name="Freeform 27">
              <a:extLst>
                <a:ext uri="{FF2B5EF4-FFF2-40B4-BE49-F238E27FC236}">
                  <a16:creationId xmlns:a16="http://schemas.microsoft.com/office/drawing/2014/main" id="{EF690EBD-3319-0D40-BDBA-5B86F50B4FB7}"/>
                </a:ext>
              </a:extLst>
            </p:cNvPr>
            <p:cNvSpPr>
              <a:spLocks noChangeArrowheads="1"/>
            </p:cNvSpPr>
            <p:nvPr/>
          </p:nvSpPr>
          <p:spPr bwMode="auto">
            <a:xfrm>
              <a:off x="9147228" y="2580752"/>
              <a:ext cx="63367" cy="241945"/>
            </a:xfrm>
            <a:custGeom>
              <a:avLst/>
              <a:gdLst>
                <a:gd name="T0" fmla="*/ 95 w 96"/>
                <a:gd name="T1" fmla="*/ 371 h 372"/>
                <a:gd name="T2" fmla="*/ 0 w 96"/>
                <a:gd name="T3" fmla="*/ 312 h 372"/>
                <a:gd name="T4" fmla="*/ 0 w 96"/>
                <a:gd name="T5" fmla="*/ 0 h 372"/>
                <a:gd name="T6" fmla="*/ 95 w 96"/>
                <a:gd name="T7" fmla="*/ 58 h 372"/>
                <a:gd name="T8" fmla="*/ 95 w 96"/>
                <a:gd name="T9" fmla="*/ 371 h 372"/>
              </a:gdLst>
              <a:ahLst/>
              <a:cxnLst>
                <a:cxn ang="0">
                  <a:pos x="T0" y="T1"/>
                </a:cxn>
                <a:cxn ang="0">
                  <a:pos x="T2" y="T3"/>
                </a:cxn>
                <a:cxn ang="0">
                  <a:pos x="T4" y="T5"/>
                </a:cxn>
                <a:cxn ang="0">
                  <a:pos x="T6" y="T7"/>
                </a:cxn>
                <a:cxn ang="0">
                  <a:pos x="T8" y="T9"/>
                </a:cxn>
              </a:cxnLst>
              <a:rect l="0" t="0" r="r" b="b"/>
              <a:pathLst>
                <a:path w="96" h="372">
                  <a:moveTo>
                    <a:pt x="95" y="371"/>
                  </a:moveTo>
                  <a:lnTo>
                    <a:pt x="0" y="312"/>
                  </a:lnTo>
                  <a:lnTo>
                    <a:pt x="0" y="0"/>
                  </a:lnTo>
                  <a:lnTo>
                    <a:pt x="95" y="58"/>
                  </a:lnTo>
                  <a:lnTo>
                    <a:pt x="95" y="371"/>
                  </a:lnTo>
                </a:path>
              </a:pathLst>
            </a:custGeom>
            <a:solidFill>
              <a:srgbClr val="2D999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18" name="Freeform 28">
              <a:extLst>
                <a:ext uri="{FF2B5EF4-FFF2-40B4-BE49-F238E27FC236}">
                  <a16:creationId xmlns:a16="http://schemas.microsoft.com/office/drawing/2014/main" id="{E4347A37-A020-6949-8526-C723B5C4C663}"/>
                </a:ext>
              </a:extLst>
            </p:cNvPr>
            <p:cNvSpPr>
              <a:spLocks noChangeArrowheads="1"/>
            </p:cNvSpPr>
            <p:nvPr/>
          </p:nvSpPr>
          <p:spPr bwMode="auto">
            <a:xfrm>
              <a:off x="10475047" y="987946"/>
              <a:ext cx="167058" cy="241945"/>
            </a:xfrm>
            <a:custGeom>
              <a:avLst/>
              <a:gdLst>
                <a:gd name="T0" fmla="*/ 253 w 254"/>
                <a:gd name="T1" fmla="*/ 370 h 371"/>
                <a:gd name="T2" fmla="*/ 0 w 254"/>
                <a:gd name="T3" fmla="*/ 219 h 371"/>
                <a:gd name="T4" fmla="*/ 158 w 254"/>
                <a:gd name="T5" fmla="*/ 0 h 371"/>
                <a:gd name="T6" fmla="*/ 253 w 254"/>
                <a:gd name="T7" fmla="*/ 58 h 371"/>
                <a:gd name="T8" fmla="*/ 253 w 254"/>
                <a:gd name="T9" fmla="*/ 370 h 371"/>
              </a:gdLst>
              <a:ahLst/>
              <a:cxnLst>
                <a:cxn ang="0">
                  <a:pos x="T0" y="T1"/>
                </a:cxn>
                <a:cxn ang="0">
                  <a:pos x="T2" y="T3"/>
                </a:cxn>
                <a:cxn ang="0">
                  <a:pos x="T4" y="T5"/>
                </a:cxn>
                <a:cxn ang="0">
                  <a:pos x="T6" y="T7"/>
                </a:cxn>
                <a:cxn ang="0">
                  <a:pos x="T8" y="T9"/>
                </a:cxn>
              </a:cxnLst>
              <a:rect l="0" t="0" r="r" b="b"/>
              <a:pathLst>
                <a:path w="254" h="371">
                  <a:moveTo>
                    <a:pt x="253" y="370"/>
                  </a:moveTo>
                  <a:lnTo>
                    <a:pt x="0" y="219"/>
                  </a:lnTo>
                  <a:lnTo>
                    <a:pt x="158" y="0"/>
                  </a:lnTo>
                  <a:lnTo>
                    <a:pt x="253" y="58"/>
                  </a:lnTo>
                  <a:lnTo>
                    <a:pt x="253" y="370"/>
                  </a:lnTo>
                </a:path>
              </a:pathLst>
            </a:custGeom>
            <a:solidFill>
              <a:srgbClr val="2D999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19" name="Freeform 29">
              <a:extLst>
                <a:ext uri="{FF2B5EF4-FFF2-40B4-BE49-F238E27FC236}">
                  <a16:creationId xmlns:a16="http://schemas.microsoft.com/office/drawing/2014/main" id="{3693EE92-CDD7-EA45-8A81-F8195209528A}"/>
                </a:ext>
              </a:extLst>
            </p:cNvPr>
            <p:cNvSpPr>
              <a:spLocks noChangeArrowheads="1"/>
            </p:cNvSpPr>
            <p:nvPr/>
          </p:nvSpPr>
          <p:spPr bwMode="auto">
            <a:xfrm>
              <a:off x="9118424" y="967783"/>
              <a:ext cx="1486236" cy="1837633"/>
            </a:xfrm>
            <a:custGeom>
              <a:avLst/>
              <a:gdLst>
                <a:gd name="T0" fmla="*/ 1999 w 2275"/>
                <a:gd name="T1" fmla="*/ 1499 h 2815"/>
                <a:gd name="T2" fmla="*/ 119 w 2275"/>
                <a:gd name="T3" fmla="*/ 2783 h 2815"/>
                <a:gd name="T4" fmla="*/ 119 w 2275"/>
                <a:gd name="T5" fmla="*/ 2783 h 2815"/>
                <a:gd name="T6" fmla="*/ 0 w 2275"/>
                <a:gd name="T7" fmla="*/ 2714 h 2815"/>
                <a:gd name="T8" fmla="*/ 0 w 2275"/>
                <a:gd name="T9" fmla="*/ 1428 h 2815"/>
                <a:gd name="T10" fmla="*/ 0 w 2275"/>
                <a:gd name="T11" fmla="*/ 1428 h 2815"/>
                <a:gd name="T12" fmla="*/ 118 w 2275"/>
                <a:gd name="T13" fmla="*/ 1222 h 2815"/>
                <a:gd name="T14" fmla="*/ 2155 w 2275"/>
                <a:gd name="T15" fmla="*/ 31 h 2815"/>
                <a:gd name="T16" fmla="*/ 2155 w 2275"/>
                <a:gd name="T17" fmla="*/ 31 h 2815"/>
                <a:gd name="T18" fmla="*/ 2274 w 2275"/>
                <a:gd name="T19" fmla="*/ 99 h 2815"/>
                <a:gd name="T20" fmla="*/ 2116 w 2275"/>
                <a:gd name="T21" fmla="*/ 1293 h 2815"/>
                <a:gd name="T22" fmla="*/ 2116 w 2275"/>
                <a:gd name="T23" fmla="*/ 1293 h 2815"/>
                <a:gd name="T24" fmla="*/ 1999 w 2275"/>
                <a:gd name="T25" fmla="*/ 1499 h 2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5" h="2815">
                  <a:moveTo>
                    <a:pt x="1999" y="1499"/>
                  </a:moveTo>
                  <a:lnTo>
                    <a:pt x="119" y="2783"/>
                  </a:lnTo>
                  <a:lnTo>
                    <a:pt x="119" y="2783"/>
                  </a:lnTo>
                  <a:cubicBezTo>
                    <a:pt x="66" y="2814"/>
                    <a:pt x="0" y="2776"/>
                    <a:pt x="0" y="2714"/>
                  </a:cubicBezTo>
                  <a:lnTo>
                    <a:pt x="0" y="1428"/>
                  </a:lnTo>
                  <a:lnTo>
                    <a:pt x="0" y="1428"/>
                  </a:lnTo>
                  <a:cubicBezTo>
                    <a:pt x="0" y="1343"/>
                    <a:pt x="44" y="1265"/>
                    <a:pt x="118" y="1222"/>
                  </a:cubicBezTo>
                  <a:lnTo>
                    <a:pt x="2155" y="31"/>
                  </a:lnTo>
                  <a:lnTo>
                    <a:pt x="2155" y="31"/>
                  </a:lnTo>
                  <a:cubicBezTo>
                    <a:pt x="2208" y="0"/>
                    <a:pt x="2274" y="38"/>
                    <a:pt x="2274" y="99"/>
                  </a:cubicBezTo>
                  <a:lnTo>
                    <a:pt x="2116" y="1293"/>
                  </a:lnTo>
                  <a:lnTo>
                    <a:pt x="2116" y="1293"/>
                  </a:lnTo>
                  <a:cubicBezTo>
                    <a:pt x="2116" y="1378"/>
                    <a:pt x="2072" y="1456"/>
                    <a:pt x="1999" y="1499"/>
                  </a:cubicBezTo>
                </a:path>
              </a:pathLst>
            </a:custGeom>
            <a:solidFill>
              <a:schemeClr val="accent6">
                <a:lumMod val="25000"/>
              </a:schemeClr>
            </a:solidFill>
            <a:ln>
              <a:noFill/>
            </a:ln>
            <a:effectLst/>
          </p:spPr>
          <p:txBody>
            <a:bodyPr wrap="none" anchor="ctr"/>
            <a:lstStyle/>
            <a:p>
              <a:endParaRPr lang="en-US" sz="3266" dirty="0">
                <a:latin typeface="Lato Light" panose="020F0502020204030203" pitchFamily="34" charset="0"/>
              </a:endParaRPr>
            </a:p>
          </p:txBody>
        </p:sp>
        <p:sp>
          <p:nvSpPr>
            <p:cNvPr id="20" name="Freeform 30">
              <a:extLst>
                <a:ext uri="{FF2B5EF4-FFF2-40B4-BE49-F238E27FC236}">
                  <a16:creationId xmlns:a16="http://schemas.microsoft.com/office/drawing/2014/main" id="{12C08971-452C-654B-877E-4A183BFDF4F3}"/>
                </a:ext>
              </a:extLst>
            </p:cNvPr>
            <p:cNvSpPr>
              <a:spLocks noChangeArrowheads="1"/>
            </p:cNvSpPr>
            <p:nvPr/>
          </p:nvSpPr>
          <p:spPr bwMode="auto">
            <a:xfrm>
              <a:off x="9181791" y="1005228"/>
              <a:ext cx="1486236" cy="1837633"/>
            </a:xfrm>
            <a:custGeom>
              <a:avLst/>
              <a:gdLst>
                <a:gd name="T0" fmla="*/ 2156 w 2276"/>
                <a:gd name="T1" fmla="*/ 1591 h 2814"/>
                <a:gd name="T2" fmla="*/ 119 w 2276"/>
                <a:gd name="T3" fmla="*/ 2782 h 2814"/>
                <a:gd name="T4" fmla="*/ 119 w 2276"/>
                <a:gd name="T5" fmla="*/ 2782 h 2814"/>
                <a:gd name="T6" fmla="*/ 0 w 2276"/>
                <a:gd name="T7" fmla="*/ 2714 h 2814"/>
                <a:gd name="T8" fmla="*/ 0 w 2276"/>
                <a:gd name="T9" fmla="*/ 1428 h 2814"/>
                <a:gd name="T10" fmla="*/ 0 w 2276"/>
                <a:gd name="T11" fmla="*/ 1428 h 2814"/>
                <a:gd name="T12" fmla="*/ 118 w 2276"/>
                <a:gd name="T13" fmla="*/ 1222 h 2814"/>
                <a:gd name="T14" fmla="*/ 2155 w 2276"/>
                <a:gd name="T15" fmla="*/ 31 h 2814"/>
                <a:gd name="T16" fmla="*/ 2155 w 2276"/>
                <a:gd name="T17" fmla="*/ 31 h 2814"/>
                <a:gd name="T18" fmla="*/ 2275 w 2276"/>
                <a:gd name="T19" fmla="*/ 99 h 2814"/>
                <a:gd name="T20" fmla="*/ 2275 w 2276"/>
                <a:gd name="T21" fmla="*/ 1385 h 2814"/>
                <a:gd name="T22" fmla="*/ 2275 w 2276"/>
                <a:gd name="T23" fmla="*/ 1385 h 2814"/>
                <a:gd name="T24" fmla="*/ 2156 w 2276"/>
                <a:gd name="T25" fmla="*/ 1591 h 2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6" h="2814">
                  <a:moveTo>
                    <a:pt x="2156" y="1591"/>
                  </a:moveTo>
                  <a:lnTo>
                    <a:pt x="119" y="2782"/>
                  </a:lnTo>
                  <a:lnTo>
                    <a:pt x="119" y="2782"/>
                  </a:lnTo>
                  <a:cubicBezTo>
                    <a:pt x="67" y="2813"/>
                    <a:pt x="0" y="2775"/>
                    <a:pt x="0" y="2714"/>
                  </a:cubicBezTo>
                  <a:lnTo>
                    <a:pt x="0" y="1428"/>
                  </a:lnTo>
                  <a:lnTo>
                    <a:pt x="0" y="1428"/>
                  </a:lnTo>
                  <a:cubicBezTo>
                    <a:pt x="0" y="1343"/>
                    <a:pt x="45" y="1265"/>
                    <a:pt x="118" y="1222"/>
                  </a:cubicBezTo>
                  <a:lnTo>
                    <a:pt x="2155" y="31"/>
                  </a:lnTo>
                  <a:lnTo>
                    <a:pt x="2155" y="31"/>
                  </a:lnTo>
                  <a:cubicBezTo>
                    <a:pt x="2208" y="0"/>
                    <a:pt x="2275" y="38"/>
                    <a:pt x="2275" y="99"/>
                  </a:cubicBezTo>
                  <a:lnTo>
                    <a:pt x="2275" y="1385"/>
                  </a:lnTo>
                  <a:lnTo>
                    <a:pt x="2275" y="1385"/>
                  </a:lnTo>
                  <a:cubicBezTo>
                    <a:pt x="2275" y="1470"/>
                    <a:pt x="2229" y="1548"/>
                    <a:pt x="2156" y="1591"/>
                  </a:cubicBezTo>
                </a:path>
              </a:pathLst>
            </a:custGeom>
            <a:solidFill>
              <a:schemeClr val="accent6">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21" name="Freeform 31">
              <a:extLst>
                <a:ext uri="{FF2B5EF4-FFF2-40B4-BE49-F238E27FC236}">
                  <a16:creationId xmlns:a16="http://schemas.microsoft.com/office/drawing/2014/main" id="{196C558F-AA89-6549-B292-7D05CF5FF95C}"/>
                </a:ext>
              </a:extLst>
            </p:cNvPr>
            <p:cNvSpPr>
              <a:spLocks noChangeArrowheads="1"/>
            </p:cNvSpPr>
            <p:nvPr/>
          </p:nvSpPr>
          <p:spPr bwMode="auto">
            <a:xfrm>
              <a:off x="9360370" y="1394067"/>
              <a:ext cx="1163642" cy="751760"/>
            </a:xfrm>
            <a:custGeom>
              <a:avLst/>
              <a:gdLst>
                <a:gd name="T0" fmla="*/ 1748 w 1781"/>
                <a:gd name="T1" fmla="*/ 157 h 1149"/>
                <a:gd name="T2" fmla="*/ 50 w 1781"/>
                <a:gd name="T3" fmla="*/ 1136 h 1149"/>
                <a:gd name="T4" fmla="*/ 50 w 1781"/>
                <a:gd name="T5" fmla="*/ 1136 h 1149"/>
                <a:gd name="T6" fmla="*/ 0 w 1781"/>
                <a:gd name="T7" fmla="*/ 1106 h 1149"/>
                <a:gd name="T8" fmla="*/ 0 w 1781"/>
                <a:gd name="T9" fmla="*/ 1057 h 1149"/>
                <a:gd name="T10" fmla="*/ 0 w 1781"/>
                <a:gd name="T11" fmla="*/ 1057 h 1149"/>
                <a:gd name="T12" fmla="*/ 41 w 1781"/>
                <a:gd name="T13" fmla="*/ 985 h 1149"/>
                <a:gd name="T14" fmla="*/ 1727 w 1781"/>
                <a:gd name="T15" fmla="*/ 14 h 1149"/>
                <a:gd name="T16" fmla="*/ 1727 w 1781"/>
                <a:gd name="T17" fmla="*/ 14 h 1149"/>
                <a:gd name="T18" fmla="*/ 1780 w 1781"/>
                <a:gd name="T19" fmla="*/ 44 h 1149"/>
                <a:gd name="T20" fmla="*/ 1780 w 1781"/>
                <a:gd name="T21" fmla="*/ 102 h 1149"/>
                <a:gd name="T22" fmla="*/ 1780 w 1781"/>
                <a:gd name="T23" fmla="*/ 102 h 1149"/>
                <a:gd name="T24" fmla="*/ 1748 w 1781"/>
                <a:gd name="T25" fmla="*/ 157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1" h="1149">
                  <a:moveTo>
                    <a:pt x="1748" y="157"/>
                  </a:moveTo>
                  <a:lnTo>
                    <a:pt x="50" y="1136"/>
                  </a:lnTo>
                  <a:lnTo>
                    <a:pt x="50" y="1136"/>
                  </a:lnTo>
                  <a:cubicBezTo>
                    <a:pt x="28" y="1148"/>
                    <a:pt x="0" y="1132"/>
                    <a:pt x="0" y="1106"/>
                  </a:cubicBezTo>
                  <a:lnTo>
                    <a:pt x="0" y="1057"/>
                  </a:lnTo>
                  <a:lnTo>
                    <a:pt x="0" y="1057"/>
                  </a:lnTo>
                  <a:cubicBezTo>
                    <a:pt x="0" y="1027"/>
                    <a:pt x="16" y="1000"/>
                    <a:pt x="41" y="985"/>
                  </a:cubicBezTo>
                  <a:lnTo>
                    <a:pt x="1727" y="14"/>
                  </a:lnTo>
                  <a:lnTo>
                    <a:pt x="1727" y="14"/>
                  </a:lnTo>
                  <a:cubicBezTo>
                    <a:pt x="1750" y="0"/>
                    <a:pt x="1780" y="16"/>
                    <a:pt x="1780" y="44"/>
                  </a:cubicBezTo>
                  <a:lnTo>
                    <a:pt x="1780" y="102"/>
                  </a:lnTo>
                  <a:lnTo>
                    <a:pt x="1780" y="102"/>
                  </a:lnTo>
                  <a:cubicBezTo>
                    <a:pt x="1780" y="124"/>
                    <a:pt x="1768" y="145"/>
                    <a:pt x="1748" y="157"/>
                  </a:cubicBezTo>
                </a:path>
              </a:pathLst>
            </a:custGeom>
            <a:solidFill>
              <a:schemeClr val="accent3"/>
            </a:solidFill>
            <a:ln>
              <a:noFill/>
            </a:ln>
            <a:effectLst/>
          </p:spPr>
          <p:txBody>
            <a:bodyPr wrap="none" anchor="ctr"/>
            <a:lstStyle/>
            <a:p>
              <a:endParaRPr lang="en-US" sz="3266" dirty="0">
                <a:latin typeface="Lato Light" panose="020F0502020204030203" pitchFamily="34" charset="0"/>
              </a:endParaRPr>
            </a:p>
          </p:txBody>
        </p:sp>
        <p:sp>
          <p:nvSpPr>
            <p:cNvPr id="22" name="Freeform 32">
              <a:extLst>
                <a:ext uri="{FF2B5EF4-FFF2-40B4-BE49-F238E27FC236}">
                  <a16:creationId xmlns:a16="http://schemas.microsoft.com/office/drawing/2014/main" id="{328D6BE3-3EAD-BF40-9685-13AE85F69A22}"/>
                </a:ext>
              </a:extLst>
            </p:cNvPr>
            <p:cNvSpPr>
              <a:spLocks noChangeArrowheads="1"/>
            </p:cNvSpPr>
            <p:nvPr/>
          </p:nvSpPr>
          <p:spPr bwMode="auto">
            <a:xfrm>
              <a:off x="9360370" y="1592810"/>
              <a:ext cx="1163642" cy="751758"/>
            </a:xfrm>
            <a:custGeom>
              <a:avLst/>
              <a:gdLst>
                <a:gd name="T0" fmla="*/ 1748 w 1781"/>
                <a:gd name="T1" fmla="*/ 156 h 1149"/>
                <a:gd name="T2" fmla="*/ 50 w 1781"/>
                <a:gd name="T3" fmla="*/ 1135 h 1149"/>
                <a:gd name="T4" fmla="*/ 50 w 1781"/>
                <a:gd name="T5" fmla="*/ 1135 h 1149"/>
                <a:gd name="T6" fmla="*/ 0 w 1781"/>
                <a:gd name="T7" fmla="*/ 1106 h 1149"/>
                <a:gd name="T8" fmla="*/ 0 w 1781"/>
                <a:gd name="T9" fmla="*/ 1056 h 1149"/>
                <a:gd name="T10" fmla="*/ 0 w 1781"/>
                <a:gd name="T11" fmla="*/ 1056 h 1149"/>
                <a:gd name="T12" fmla="*/ 41 w 1781"/>
                <a:gd name="T13" fmla="*/ 985 h 1149"/>
                <a:gd name="T14" fmla="*/ 1727 w 1781"/>
                <a:gd name="T15" fmla="*/ 13 h 1149"/>
                <a:gd name="T16" fmla="*/ 1727 w 1781"/>
                <a:gd name="T17" fmla="*/ 13 h 1149"/>
                <a:gd name="T18" fmla="*/ 1780 w 1781"/>
                <a:gd name="T19" fmla="*/ 44 h 1149"/>
                <a:gd name="T20" fmla="*/ 1780 w 1781"/>
                <a:gd name="T21" fmla="*/ 101 h 1149"/>
                <a:gd name="T22" fmla="*/ 1780 w 1781"/>
                <a:gd name="T23" fmla="*/ 101 h 1149"/>
                <a:gd name="T24" fmla="*/ 1748 w 1781"/>
                <a:gd name="T25" fmla="*/ 156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1" h="1149">
                  <a:moveTo>
                    <a:pt x="1748" y="156"/>
                  </a:moveTo>
                  <a:lnTo>
                    <a:pt x="50" y="1135"/>
                  </a:lnTo>
                  <a:lnTo>
                    <a:pt x="50" y="1135"/>
                  </a:lnTo>
                  <a:cubicBezTo>
                    <a:pt x="28" y="1148"/>
                    <a:pt x="0" y="1132"/>
                    <a:pt x="0" y="1106"/>
                  </a:cubicBezTo>
                  <a:lnTo>
                    <a:pt x="0" y="1056"/>
                  </a:lnTo>
                  <a:lnTo>
                    <a:pt x="0" y="1056"/>
                  </a:lnTo>
                  <a:cubicBezTo>
                    <a:pt x="0" y="1027"/>
                    <a:pt x="16" y="1000"/>
                    <a:pt x="41" y="985"/>
                  </a:cubicBezTo>
                  <a:lnTo>
                    <a:pt x="1727" y="13"/>
                  </a:lnTo>
                  <a:lnTo>
                    <a:pt x="1727" y="13"/>
                  </a:lnTo>
                  <a:cubicBezTo>
                    <a:pt x="1750" y="0"/>
                    <a:pt x="1780" y="17"/>
                    <a:pt x="1780" y="44"/>
                  </a:cubicBezTo>
                  <a:lnTo>
                    <a:pt x="1780" y="101"/>
                  </a:lnTo>
                  <a:lnTo>
                    <a:pt x="1780" y="101"/>
                  </a:lnTo>
                  <a:cubicBezTo>
                    <a:pt x="1780" y="124"/>
                    <a:pt x="1768" y="145"/>
                    <a:pt x="1748" y="156"/>
                  </a:cubicBezTo>
                </a:path>
              </a:pathLst>
            </a:custGeom>
            <a:solidFill>
              <a:schemeClr val="accent4"/>
            </a:solidFill>
            <a:ln>
              <a:noFill/>
            </a:ln>
            <a:effectLst/>
          </p:spPr>
          <p:txBody>
            <a:bodyPr wrap="none" anchor="ctr"/>
            <a:lstStyle/>
            <a:p>
              <a:endParaRPr lang="en-US" sz="3266" dirty="0">
                <a:latin typeface="Lato Light" panose="020F0502020204030203" pitchFamily="34" charset="0"/>
              </a:endParaRPr>
            </a:p>
          </p:txBody>
        </p:sp>
        <p:sp>
          <p:nvSpPr>
            <p:cNvPr id="23" name="Freeform 33">
              <a:extLst>
                <a:ext uri="{FF2B5EF4-FFF2-40B4-BE49-F238E27FC236}">
                  <a16:creationId xmlns:a16="http://schemas.microsoft.com/office/drawing/2014/main" id="{A369FEBE-54A5-F547-99C9-258CA9733CCF}"/>
                </a:ext>
              </a:extLst>
            </p:cNvPr>
            <p:cNvSpPr>
              <a:spLocks noChangeArrowheads="1"/>
            </p:cNvSpPr>
            <p:nvPr/>
          </p:nvSpPr>
          <p:spPr bwMode="auto">
            <a:xfrm>
              <a:off x="9360370" y="1788671"/>
              <a:ext cx="1163642" cy="751758"/>
            </a:xfrm>
            <a:custGeom>
              <a:avLst/>
              <a:gdLst>
                <a:gd name="T0" fmla="*/ 1748 w 1781"/>
                <a:gd name="T1" fmla="*/ 158 h 1150"/>
                <a:gd name="T2" fmla="*/ 50 w 1781"/>
                <a:gd name="T3" fmla="*/ 1136 h 1150"/>
                <a:gd name="T4" fmla="*/ 50 w 1781"/>
                <a:gd name="T5" fmla="*/ 1136 h 1150"/>
                <a:gd name="T6" fmla="*/ 0 w 1781"/>
                <a:gd name="T7" fmla="*/ 1107 h 1150"/>
                <a:gd name="T8" fmla="*/ 0 w 1781"/>
                <a:gd name="T9" fmla="*/ 1057 h 1150"/>
                <a:gd name="T10" fmla="*/ 0 w 1781"/>
                <a:gd name="T11" fmla="*/ 1057 h 1150"/>
                <a:gd name="T12" fmla="*/ 41 w 1781"/>
                <a:gd name="T13" fmla="*/ 986 h 1150"/>
                <a:gd name="T14" fmla="*/ 1727 w 1781"/>
                <a:gd name="T15" fmla="*/ 14 h 1150"/>
                <a:gd name="T16" fmla="*/ 1727 w 1781"/>
                <a:gd name="T17" fmla="*/ 14 h 1150"/>
                <a:gd name="T18" fmla="*/ 1780 w 1781"/>
                <a:gd name="T19" fmla="*/ 45 h 1150"/>
                <a:gd name="T20" fmla="*/ 1780 w 1781"/>
                <a:gd name="T21" fmla="*/ 102 h 1150"/>
                <a:gd name="T22" fmla="*/ 1780 w 1781"/>
                <a:gd name="T23" fmla="*/ 102 h 1150"/>
                <a:gd name="T24" fmla="*/ 1748 w 1781"/>
                <a:gd name="T25" fmla="*/ 158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1" h="1150">
                  <a:moveTo>
                    <a:pt x="1748" y="158"/>
                  </a:moveTo>
                  <a:lnTo>
                    <a:pt x="50" y="1136"/>
                  </a:lnTo>
                  <a:lnTo>
                    <a:pt x="50" y="1136"/>
                  </a:lnTo>
                  <a:cubicBezTo>
                    <a:pt x="28" y="1149"/>
                    <a:pt x="0" y="1133"/>
                    <a:pt x="0" y="1107"/>
                  </a:cubicBezTo>
                  <a:lnTo>
                    <a:pt x="0" y="1057"/>
                  </a:lnTo>
                  <a:lnTo>
                    <a:pt x="0" y="1057"/>
                  </a:lnTo>
                  <a:cubicBezTo>
                    <a:pt x="0" y="1028"/>
                    <a:pt x="16" y="1000"/>
                    <a:pt x="41" y="986"/>
                  </a:cubicBezTo>
                  <a:lnTo>
                    <a:pt x="1727" y="14"/>
                  </a:lnTo>
                  <a:lnTo>
                    <a:pt x="1727" y="14"/>
                  </a:lnTo>
                  <a:cubicBezTo>
                    <a:pt x="1750" y="0"/>
                    <a:pt x="1780" y="17"/>
                    <a:pt x="1780" y="45"/>
                  </a:cubicBezTo>
                  <a:lnTo>
                    <a:pt x="1780" y="102"/>
                  </a:lnTo>
                  <a:lnTo>
                    <a:pt x="1780" y="102"/>
                  </a:lnTo>
                  <a:cubicBezTo>
                    <a:pt x="1780" y="125"/>
                    <a:pt x="1768" y="146"/>
                    <a:pt x="1748" y="158"/>
                  </a:cubicBezTo>
                </a:path>
              </a:pathLst>
            </a:custGeom>
            <a:solidFill>
              <a:schemeClr val="accent2"/>
            </a:solidFill>
            <a:ln>
              <a:noFill/>
            </a:ln>
            <a:effectLst/>
          </p:spPr>
          <p:txBody>
            <a:bodyPr wrap="none" anchor="ctr"/>
            <a:lstStyle/>
            <a:p>
              <a:endParaRPr lang="en-US" sz="3266" dirty="0">
                <a:latin typeface="Lato Light" panose="020F0502020204030203" pitchFamily="34" charset="0"/>
              </a:endParaRPr>
            </a:p>
          </p:txBody>
        </p:sp>
        <p:sp>
          <p:nvSpPr>
            <p:cNvPr id="24" name="Freeform 23">
              <a:extLst>
                <a:ext uri="{FF2B5EF4-FFF2-40B4-BE49-F238E27FC236}">
                  <a16:creationId xmlns:a16="http://schemas.microsoft.com/office/drawing/2014/main" id="{4D0FC3BE-A2E4-8746-BE61-E39A42BDBB80}"/>
                </a:ext>
              </a:extLst>
            </p:cNvPr>
            <p:cNvSpPr>
              <a:spLocks noChangeArrowheads="1"/>
            </p:cNvSpPr>
            <p:nvPr/>
          </p:nvSpPr>
          <p:spPr bwMode="auto">
            <a:xfrm>
              <a:off x="6914992" y="5518661"/>
              <a:ext cx="8818832" cy="7087772"/>
            </a:xfrm>
            <a:custGeom>
              <a:avLst/>
              <a:gdLst>
                <a:gd name="connsiteX0" fmla="*/ 8818832 w 8818832"/>
                <a:gd name="connsiteY0" fmla="*/ 0 h 7087772"/>
                <a:gd name="connsiteX1" fmla="*/ 8818832 w 8818832"/>
                <a:gd name="connsiteY1" fmla="*/ 305699 h 7087772"/>
                <a:gd name="connsiteX2" fmla="*/ 8693430 w 8818832"/>
                <a:gd name="connsiteY2" fmla="*/ 522561 h 7087772"/>
                <a:gd name="connsiteX3" fmla="*/ 3478156 w 8818832"/>
                <a:gd name="connsiteY3" fmla="*/ 3634413 h 7087772"/>
                <a:gd name="connsiteX4" fmla="*/ 3154855 w 8818832"/>
                <a:gd name="connsiteY4" fmla="*/ 3630494 h 7087772"/>
                <a:gd name="connsiteX5" fmla="*/ 3014646 w 8818832"/>
                <a:gd name="connsiteY5" fmla="*/ 3551234 h 7087772"/>
                <a:gd name="connsiteX6" fmla="*/ 2271089 w 8818832"/>
                <a:gd name="connsiteY6" fmla="*/ 7087772 h 7087772"/>
                <a:gd name="connsiteX7" fmla="*/ 2137185 w 8818832"/>
                <a:gd name="connsiteY7" fmla="*/ 7007459 h 7087772"/>
                <a:gd name="connsiteX8" fmla="*/ 2869230 w 8818832"/>
                <a:gd name="connsiteY8" fmla="*/ 3469030 h 7087772"/>
                <a:gd name="connsiteX9" fmla="*/ 868604 w 8818832"/>
                <a:gd name="connsiteY9" fmla="*/ 2338080 h 7087772"/>
                <a:gd name="connsiteX10" fmla="*/ 134557 w 8818832"/>
                <a:gd name="connsiteY10" fmla="*/ 5831960 h 7087772"/>
                <a:gd name="connsiteX11" fmla="*/ 0 w 8818832"/>
                <a:gd name="connsiteY11" fmla="*/ 5751647 h 7087772"/>
                <a:gd name="connsiteX12" fmla="*/ 723217 w 8818832"/>
                <a:gd name="connsiteY12" fmla="*/ 2255893 h 7087772"/>
                <a:gd name="connsiteX13" fmla="*/ 622002 w 8818832"/>
                <a:gd name="connsiteY13" fmla="*/ 2198676 h 7087772"/>
                <a:gd name="connsiteX14" fmla="*/ 501172 w 8818832"/>
                <a:gd name="connsiteY14" fmla="*/ 1985080 h 7087772"/>
                <a:gd name="connsiteX15" fmla="*/ 501172 w 8818832"/>
                <a:gd name="connsiteY15" fmla="*/ 1736863 h 7087772"/>
                <a:gd name="connsiteX16" fmla="*/ 796594 w 8818832"/>
                <a:gd name="connsiteY16" fmla="*/ 1901217 h 7087772"/>
                <a:gd name="connsiteX17" fmla="*/ 868741 w 8818832"/>
                <a:gd name="connsiteY17" fmla="*/ 1552484 h 7087772"/>
                <a:gd name="connsiteX18" fmla="*/ 1018974 w 8818832"/>
                <a:gd name="connsiteY18" fmla="*/ 1622351 h 7087772"/>
                <a:gd name="connsiteX19" fmla="*/ 943245 w 8818832"/>
                <a:gd name="connsiteY19" fmla="*/ 1982804 h 7087772"/>
                <a:gd name="connsiteX20" fmla="*/ 2946175 w 8818832"/>
                <a:gd name="connsiteY20" fmla="*/ 3097104 h 7087772"/>
                <a:gd name="connsiteX21" fmla="*/ 3005925 w 8818832"/>
                <a:gd name="connsiteY21" fmla="*/ 2808296 h 7087772"/>
                <a:gd name="connsiteX22" fmla="*/ 3156159 w 8818832"/>
                <a:gd name="connsiteY22" fmla="*/ 2878162 h 7087772"/>
                <a:gd name="connsiteX23" fmla="*/ 3092958 w 8818832"/>
                <a:gd name="connsiteY23" fmla="*/ 3178764 h 7087772"/>
                <a:gd name="connsiteX24" fmla="*/ 3315526 w 8818832"/>
                <a:gd name="connsiteY24" fmla="*/ 3302587 h 708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818832" h="7087772">
                  <a:moveTo>
                    <a:pt x="8818832" y="0"/>
                  </a:moveTo>
                  <a:lnTo>
                    <a:pt x="8818832" y="305699"/>
                  </a:lnTo>
                  <a:cubicBezTo>
                    <a:pt x="8818832" y="395840"/>
                    <a:pt x="8770500" y="478144"/>
                    <a:pt x="8693430" y="522561"/>
                  </a:cubicBezTo>
                  <a:lnTo>
                    <a:pt x="3478156" y="3634413"/>
                  </a:lnTo>
                  <a:cubicBezTo>
                    <a:pt x="3377573" y="3691895"/>
                    <a:pt x="3254131" y="3689935"/>
                    <a:pt x="3154855" y="3630494"/>
                  </a:cubicBezTo>
                  <a:lnTo>
                    <a:pt x="3014646" y="3551234"/>
                  </a:lnTo>
                  <a:lnTo>
                    <a:pt x="2271089" y="7087772"/>
                  </a:lnTo>
                  <a:lnTo>
                    <a:pt x="2137185" y="7007459"/>
                  </a:lnTo>
                  <a:lnTo>
                    <a:pt x="2869230" y="3469030"/>
                  </a:lnTo>
                  <a:lnTo>
                    <a:pt x="868604" y="2338080"/>
                  </a:lnTo>
                  <a:lnTo>
                    <a:pt x="134557" y="5831960"/>
                  </a:lnTo>
                  <a:lnTo>
                    <a:pt x="0" y="5751647"/>
                  </a:lnTo>
                  <a:lnTo>
                    <a:pt x="723217" y="2255893"/>
                  </a:lnTo>
                  <a:lnTo>
                    <a:pt x="622002" y="2198676"/>
                  </a:lnTo>
                  <a:cubicBezTo>
                    <a:pt x="546892" y="2154259"/>
                    <a:pt x="501172" y="2072609"/>
                    <a:pt x="501172" y="1985080"/>
                  </a:cubicBezTo>
                  <a:lnTo>
                    <a:pt x="501172" y="1736863"/>
                  </a:lnTo>
                  <a:lnTo>
                    <a:pt x="796594" y="1901217"/>
                  </a:lnTo>
                  <a:lnTo>
                    <a:pt x="868741" y="1552484"/>
                  </a:lnTo>
                  <a:lnTo>
                    <a:pt x="1018974" y="1622351"/>
                  </a:lnTo>
                  <a:lnTo>
                    <a:pt x="943245" y="1982804"/>
                  </a:lnTo>
                  <a:lnTo>
                    <a:pt x="2946175" y="3097104"/>
                  </a:lnTo>
                  <a:lnTo>
                    <a:pt x="3005925" y="2808296"/>
                  </a:lnTo>
                  <a:lnTo>
                    <a:pt x="3156159" y="2878162"/>
                  </a:lnTo>
                  <a:lnTo>
                    <a:pt x="3092958" y="3178764"/>
                  </a:lnTo>
                  <a:lnTo>
                    <a:pt x="3315526" y="3302587"/>
                  </a:lnTo>
                  <a:close/>
                </a:path>
              </a:pathLst>
            </a:custGeom>
            <a:solidFill>
              <a:schemeClr val="bg1">
                <a:lumMod val="65000"/>
              </a:schemeClr>
            </a:solidFill>
            <a:ln>
              <a:noFill/>
            </a:ln>
            <a:effectLst/>
          </p:spPr>
          <p:txBody>
            <a:bodyPr wrap="square" anchor="ctr">
              <a:noAutofit/>
            </a:bodyPr>
            <a:lstStyle/>
            <a:p>
              <a:endParaRPr lang="en-US" sz="3266" dirty="0">
                <a:latin typeface="Lato Light" panose="020F0502020204030203" pitchFamily="34" charset="0"/>
              </a:endParaRPr>
            </a:p>
          </p:txBody>
        </p:sp>
        <p:sp>
          <p:nvSpPr>
            <p:cNvPr id="25" name="Freeform 35">
              <a:extLst>
                <a:ext uri="{FF2B5EF4-FFF2-40B4-BE49-F238E27FC236}">
                  <a16:creationId xmlns:a16="http://schemas.microsoft.com/office/drawing/2014/main" id="{6D528976-BFDF-4C4B-93FD-1349EE173010}"/>
                </a:ext>
              </a:extLst>
            </p:cNvPr>
            <p:cNvSpPr>
              <a:spLocks noChangeArrowheads="1"/>
            </p:cNvSpPr>
            <p:nvPr/>
          </p:nvSpPr>
          <p:spPr bwMode="auto">
            <a:xfrm>
              <a:off x="10296467" y="5596429"/>
              <a:ext cx="5440892" cy="3568694"/>
            </a:xfrm>
            <a:custGeom>
              <a:avLst/>
              <a:gdLst>
                <a:gd name="T0" fmla="*/ 194 w 8328"/>
                <a:gd name="T1" fmla="*/ 4972 h 5464"/>
                <a:gd name="T2" fmla="*/ 8327 w 8328"/>
                <a:gd name="T3" fmla="*/ 0 h 5464"/>
                <a:gd name="T4" fmla="*/ 8327 w 8328"/>
                <a:gd name="T5" fmla="*/ 334 h 5464"/>
                <a:gd name="T6" fmla="*/ 8327 w 8328"/>
                <a:gd name="T7" fmla="*/ 334 h 5464"/>
                <a:gd name="T8" fmla="*/ 8123 w 8328"/>
                <a:gd name="T9" fmla="*/ 686 h 5464"/>
                <a:gd name="T10" fmla="*/ 217 w 8328"/>
                <a:gd name="T11" fmla="*/ 5404 h 5464"/>
                <a:gd name="T12" fmla="*/ 217 w 8328"/>
                <a:gd name="T13" fmla="*/ 5404 h 5464"/>
                <a:gd name="T14" fmla="*/ 215 w 8328"/>
                <a:gd name="T15" fmla="*/ 5406 h 5464"/>
                <a:gd name="T16" fmla="*/ 215 w 8328"/>
                <a:gd name="T17" fmla="*/ 5406 h 5464"/>
                <a:gd name="T18" fmla="*/ 0 w 8328"/>
                <a:gd name="T19" fmla="*/ 5285 h 5464"/>
                <a:gd name="T20" fmla="*/ 0 w 8328"/>
                <a:gd name="T21" fmla="*/ 5148 h 5464"/>
                <a:gd name="T22" fmla="*/ 0 w 8328"/>
                <a:gd name="T23" fmla="*/ 5148 h 5464"/>
                <a:gd name="T24" fmla="*/ 184 w 8328"/>
                <a:gd name="T25" fmla="*/ 4977 h 5464"/>
                <a:gd name="T26" fmla="*/ 194 w 8328"/>
                <a:gd name="T27" fmla="*/ 4972 h 5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28" h="5464">
                  <a:moveTo>
                    <a:pt x="194" y="4972"/>
                  </a:moveTo>
                  <a:lnTo>
                    <a:pt x="8327" y="0"/>
                  </a:lnTo>
                  <a:lnTo>
                    <a:pt x="8327" y="334"/>
                  </a:lnTo>
                  <a:lnTo>
                    <a:pt x="8327" y="334"/>
                  </a:lnTo>
                  <a:cubicBezTo>
                    <a:pt x="8327" y="479"/>
                    <a:pt x="8249" y="614"/>
                    <a:pt x="8123" y="686"/>
                  </a:cubicBezTo>
                  <a:lnTo>
                    <a:pt x="217" y="5404"/>
                  </a:lnTo>
                  <a:lnTo>
                    <a:pt x="217" y="5404"/>
                  </a:lnTo>
                  <a:cubicBezTo>
                    <a:pt x="217" y="5405"/>
                    <a:pt x="216" y="5405"/>
                    <a:pt x="215" y="5406"/>
                  </a:cubicBezTo>
                  <a:lnTo>
                    <a:pt x="215" y="5406"/>
                  </a:lnTo>
                  <a:cubicBezTo>
                    <a:pt x="121" y="5463"/>
                    <a:pt x="0" y="5395"/>
                    <a:pt x="0" y="5285"/>
                  </a:cubicBezTo>
                  <a:lnTo>
                    <a:pt x="0" y="5148"/>
                  </a:lnTo>
                  <a:lnTo>
                    <a:pt x="0" y="5148"/>
                  </a:lnTo>
                  <a:cubicBezTo>
                    <a:pt x="0" y="5017"/>
                    <a:pt x="71" y="5042"/>
                    <a:pt x="184" y="4977"/>
                  </a:cubicBezTo>
                  <a:lnTo>
                    <a:pt x="194" y="4972"/>
                  </a:lnTo>
                </a:path>
              </a:pathLst>
            </a:custGeom>
            <a:solidFill>
              <a:schemeClr val="bg1">
                <a:lumMod val="85000"/>
              </a:schemeClr>
            </a:solidFill>
            <a:ln>
              <a:noFill/>
            </a:ln>
            <a:effectLst/>
          </p:spPr>
          <p:txBody>
            <a:bodyPr wrap="none" anchor="ctr"/>
            <a:lstStyle/>
            <a:p>
              <a:endParaRPr lang="en-US" sz="3266" dirty="0">
                <a:latin typeface="Lato Light" panose="020F0502020204030203" pitchFamily="34" charset="0"/>
              </a:endParaRPr>
            </a:p>
          </p:txBody>
        </p:sp>
        <p:sp>
          <p:nvSpPr>
            <p:cNvPr id="26" name="Freeform 36">
              <a:extLst>
                <a:ext uri="{FF2B5EF4-FFF2-40B4-BE49-F238E27FC236}">
                  <a16:creationId xmlns:a16="http://schemas.microsoft.com/office/drawing/2014/main" id="{1DE2173E-F077-EB40-9AC7-27B3C0AD6D67}"/>
                </a:ext>
              </a:extLst>
            </p:cNvPr>
            <p:cNvSpPr>
              <a:spLocks noChangeArrowheads="1"/>
            </p:cNvSpPr>
            <p:nvPr/>
          </p:nvSpPr>
          <p:spPr bwMode="auto">
            <a:xfrm>
              <a:off x="7367202" y="5337203"/>
              <a:ext cx="8505532" cy="3554293"/>
            </a:xfrm>
            <a:custGeom>
              <a:avLst/>
              <a:gdLst>
                <a:gd name="T0" fmla="*/ 4868 w 13020"/>
                <a:gd name="T1" fmla="*/ 4875 h 5440"/>
                <a:gd name="T2" fmla="*/ 13019 w 13020"/>
                <a:gd name="T3" fmla="*/ 0 h 5440"/>
                <a:gd name="T4" fmla="*/ 13019 w 13020"/>
                <a:gd name="T5" fmla="*/ 273 h 5440"/>
                <a:gd name="T6" fmla="*/ 13019 w 13020"/>
                <a:gd name="T7" fmla="*/ 273 h 5440"/>
                <a:gd name="T8" fmla="*/ 12921 w 13020"/>
                <a:gd name="T9" fmla="*/ 441 h 5440"/>
                <a:gd name="T10" fmla="*/ 4679 w 13020"/>
                <a:gd name="T11" fmla="*/ 5372 h 5440"/>
                <a:gd name="T12" fmla="*/ 4679 w 13020"/>
                <a:gd name="T13" fmla="*/ 5372 h 5440"/>
                <a:gd name="T14" fmla="*/ 4301 w 13020"/>
                <a:gd name="T15" fmla="*/ 5366 h 5440"/>
                <a:gd name="T16" fmla="*/ 78 w 13020"/>
                <a:gd name="T17" fmla="*/ 3014 h 5440"/>
                <a:gd name="T18" fmla="*/ 78 w 13020"/>
                <a:gd name="T19" fmla="*/ 3014 h 5440"/>
                <a:gd name="T20" fmla="*/ 3 w 13020"/>
                <a:gd name="T21" fmla="*/ 2882 h 5440"/>
                <a:gd name="T22" fmla="*/ 2 w 13020"/>
                <a:gd name="T23" fmla="*/ 2763 h 5440"/>
                <a:gd name="T24" fmla="*/ 2 w 13020"/>
                <a:gd name="T25" fmla="*/ 2763 h 5440"/>
                <a:gd name="T26" fmla="*/ 97 w 13020"/>
                <a:gd name="T27" fmla="*/ 2463 h 5440"/>
                <a:gd name="T28" fmla="*/ 4102 w 13020"/>
                <a:gd name="T29" fmla="*/ 4866 h 5440"/>
                <a:gd name="T30" fmla="*/ 4102 w 13020"/>
                <a:gd name="T31" fmla="*/ 4866 h 5440"/>
                <a:gd name="T32" fmla="*/ 4868 w 13020"/>
                <a:gd name="T33" fmla="*/ 4875 h 5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20" h="5440">
                  <a:moveTo>
                    <a:pt x="4868" y="4875"/>
                  </a:moveTo>
                  <a:lnTo>
                    <a:pt x="13019" y="0"/>
                  </a:lnTo>
                  <a:lnTo>
                    <a:pt x="13019" y="273"/>
                  </a:lnTo>
                  <a:lnTo>
                    <a:pt x="13019" y="273"/>
                  </a:lnTo>
                  <a:cubicBezTo>
                    <a:pt x="13019" y="343"/>
                    <a:pt x="12982" y="407"/>
                    <a:pt x="12921" y="441"/>
                  </a:cubicBezTo>
                  <a:lnTo>
                    <a:pt x="4679" y="5372"/>
                  </a:lnTo>
                  <a:lnTo>
                    <a:pt x="4679" y="5372"/>
                  </a:lnTo>
                  <a:cubicBezTo>
                    <a:pt x="4562" y="5439"/>
                    <a:pt x="4417" y="5437"/>
                    <a:pt x="4301" y="5366"/>
                  </a:cubicBezTo>
                  <a:lnTo>
                    <a:pt x="78" y="3014"/>
                  </a:lnTo>
                  <a:lnTo>
                    <a:pt x="78" y="3014"/>
                  </a:lnTo>
                  <a:cubicBezTo>
                    <a:pt x="32" y="2986"/>
                    <a:pt x="4" y="2936"/>
                    <a:pt x="3" y="2882"/>
                  </a:cubicBezTo>
                  <a:lnTo>
                    <a:pt x="2" y="2763"/>
                  </a:lnTo>
                  <a:lnTo>
                    <a:pt x="2" y="2763"/>
                  </a:lnTo>
                  <a:cubicBezTo>
                    <a:pt x="0" y="2655"/>
                    <a:pt x="34" y="2550"/>
                    <a:pt x="97" y="2463"/>
                  </a:cubicBezTo>
                  <a:lnTo>
                    <a:pt x="4102" y="4866"/>
                  </a:lnTo>
                  <a:lnTo>
                    <a:pt x="4102" y="4866"/>
                  </a:lnTo>
                  <a:cubicBezTo>
                    <a:pt x="4337" y="5007"/>
                    <a:pt x="4630" y="5011"/>
                    <a:pt x="4868" y="4875"/>
                  </a:cubicBezTo>
                </a:path>
              </a:pathLst>
            </a:custGeom>
            <a:solidFill>
              <a:schemeClr val="tx1"/>
            </a:solidFill>
            <a:ln>
              <a:noFill/>
            </a:ln>
            <a:effectLst/>
          </p:spPr>
          <p:txBody>
            <a:bodyPr wrap="none" anchor="ctr"/>
            <a:lstStyle/>
            <a:p>
              <a:endParaRPr lang="en-US" sz="3266" dirty="0">
                <a:latin typeface="Lato Light" panose="020F0502020204030203" pitchFamily="34" charset="0"/>
              </a:endParaRPr>
            </a:p>
          </p:txBody>
        </p:sp>
        <p:sp>
          <p:nvSpPr>
            <p:cNvPr id="27" name="Freeform 37">
              <a:extLst>
                <a:ext uri="{FF2B5EF4-FFF2-40B4-BE49-F238E27FC236}">
                  <a16:creationId xmlns:a16="http://schemas.microsoft.com/office/drawing/2014/main" id="{3AE58DEF-7FF5-9B4C-946E-B84F88840A49}"/>
                </a:ext>
              </a:extLst>
            </p:cNvPr>
            <p:cNvSpPr>
              <a:spLocks noChangeArrowheads="1"/>
            </p:cNvSpPr>
            <p:nvPr/>
          </p:nvSpPr>
          <p:spPr bwMode="auto">
            <a:xfrm>
              <a:off x="7384483" y="3574457"/>
              <a:ext cx="8505532" cy="5112536"/>
            </a:xfrm>
            <a:custGeom>
              <a:avLst/>
              <a:gdLst>
                <a:gd name="T0" fmla="*/ 8526 w 13020"/>
                <a:gd name="T1" fmla="*/ 32 h 7826"/>
                <a:gd name="T2" fmla="*/ 12907 w 13020"/>
                <a:gd name="T3" fmla="*/ 2553 h 7826"/>
                <a:gd name="T4" fmla="*/ 12907 w 13020"/>
                <a:gd name="T5" fmla="*/ 2553 h 7826"/>
                <a:gd name="T6" fmla="*/ 12904 w 13020"/>
                <a:gd name="T7" fmla="*/ 2846 h 7826"/>
                <a:gd name="T8" fmla="*/ 4728 w 13020"/>
                <a:gd name="T9" fmla="*/ 7752 h 7826"/>
                <a:gd name="T10" fmla="*/ 4728 w 13020"/>
                <a:gd name="T11" fmla="*/ 7752 h 7826"/>
                <a:gd name="T12" fmla="*/ 4311 w 13020"/>
                <a:gd name="T13" fmla="*/ 7746 h 7826"/>
                <a:gd name="T14" fmla="*/ 111 w 13020"/>
                <a:gd name="T15" fmla="*/ 5413 h 7826"/>
                <a:gd name="T16" fmla="*/ 111 w 13020"/>
                <a:gd name="T17" fmla="*/ 5413 h 7826"/>
                <a:gd name="T18" fmla="*/ 114 w 13020"/>
                <a:gd name="T19" fmla="*/ 5121 h 7826"/>
                <a:gd name="T20" fmla="*/ 8355 w 13020"/>
                <a:gd name="T21" fmla="*/ 31 h 7826"/>
                <a:gd name="T22" fmla="*/ 8355 w 13020"/>
                <a:gd name="T23" fmla="*/ 31 h 7826"/>
                <a:gd name="T24" fmla="*/ 8526 w 13020"/>
                <a:gd name="T25" fmla="*/ 32 h 7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20" h="7826">
                  <a:moveTo>
                    <a:pt x="8526" y="32"/>
                  </a:moveTo>
                  <a:lnTo>
                    <a:pt x="12907" y="2553"/>
                  </a:lnTo>
                  <a:lnTo>
                    <a:pt x="12907" y="2553"/>
                  </a:lnTo>
                  <a:cubicBezTo>
                    <a:pt x="13019" y="2619"/>
                    <a:pt x="13017" y="2782"/>
                    <a:pt x="12904" y="2846"/>
                  </a:cubicBezTo>
                  <a:lnTo>
                    <a:pt x="4728" y="7752"/>
                  </a:lnTo>
                  <a:lnTo>
                    <a:pt x="4728" y="7752"/>
                  </a:lnTo>
                  <a:cubicBezTo>
                    <a:pt x="4598" y="7825"/>
                    <a:pt x="4438" y="7823"/>
                    <a:pt x="4311" y="7746"/>
                  </a:cubicBezTo>
                  <a:lnTo>
                    <a:pt x="111" y="5413"/>
                  </a:lnTo>
                  <a:lnTo>
                    <a:pt x="111" y="5413"/>
                  </a:lnTo>
                  <a:cubicBezTo>
                    <a:pt x="0" y="5346"/>
                    <a:pt x="1" y="5185"/>
                    <a:pt x="114" y="5121"/>
                  </a:cubicBezTo>
                  <a:lnTo>
                    <a:pt x="8355" y="31"/>
                  </a:lnTo>
                  <a:lnTo>
                    <a:pt x="8355" y="31"/>
                  </a:lnTo>
                  <a:cubicBezTo>
                    <a:pt x="8408" y="0"/>
                    <a:pt x="8474" y="1"/>
                    <a:pt x="8526" y="32"/>
                  </a:cubicBezTo>
                </a:path>
              </a:pathLst>
            </a:custGeom>
            <a:solidFill>
              <a:schemeClr val="bg1">
                <a:lumMod val="85000"/>
              </a:schemeClr>
            </a:solidFill>
            <a:ln>
              <a:noFill/>
            </a:ln>
            <a:effectLst/>
          </p:spPr>
          <p:txBody>
            <a:bodyPr wrap="none" anchor="ctr"/>
            <a:lstStyle/>
            <a:p>
              <a:endParaRPr lang="en-US" sz="3266" dirty="0">
                <a:latin typeface="Lato Light" panose="020F0502020204030203" pitchFamily="34" charset="0"/>
              </a:endParaRPr>
            </a:p>
          </p:txBody>
        </p:sp>
        <p:sp>
          <p:nvSpPr>
            <p:cNvPr id="28" name="Freeform 38">
              <a:extLst>
                <a:ext uri="{FF2B5EF4-FFF2-40B4-BE49-F238E27FC236}">
                  <a16:creationId xmlns:a16="http://schemas.microsoft.com/office/drawing/2014/main" id="{11C08CDD-3310-BB41-A6D0-577033FADCAD}"/>
                </a:ext>
              </a:extLst>
            </p:cNvPr>
            <p:cNvSpPr>
              <a:spLocks noChangeArrowheads="1"/>
            </p:cNvSpPr>
            <p:nvPr/>
          </p:nvSpPr>
          <p:spPr bwMode="auto">
            <a:xfrm>
              <a:off x="7479531" y="3617662"/>
              <a:ext cx="8344237" cy="5020368"/>
            </a:xfrm>
            <a:custGeom>
              <a:avLst/>
              <a:gdLst>
                <a:gd name="T0" fmla="*/ 8413 w 12773"/>
                <a:gd name="T1" fmla="*/ 31 h 7685"/>
                <a:gd name="T2" fmla="*/ 12661 w 12773"/>
                <a:gd name="T3" fmla="*/ 2482 h 7685"/>
                <a:gd name="T4" fmla="*/ 12661 w 12773"/>
                <a:gd name="T5" fmla="*/ 2482 h 7685"/>
                <a:gd name="T6" fmla="*/ 12659 w 12773"/>
                <a:gd name="T7" fmla="*/ 2771 h 7685"/>
                <a:gd name="T8" fmla="*/ 4592 w 12773"/>
                <a:gd name="T9" fmla="*/ 7611 h 7685"/>
                <a:gd name="T10" fmla="*/ 4592 w 12773"/>
                <a:gd name="T11" fmla="*/ 7611 h 7685"/>
                <a:gd name="T12" fmla="*/ 4180 w 12773"/>
                <a:gd name="T13" fmla="*/ 7606 h 7685"/>
                <a:gd name="T14" fmla="*/ 110 w 12773"/>
                <a:gd name="T15" fmla="*/ 5341 h 7685"/>
                <a:gd name="T16" fmla="*/ 110 w 12773"/>
                <a:gd name="T17" fmla="*/ 5341 h 7685"/>
                <a:gd name="T18" fmla="*/ 113 w 12773"/>
                <a:gd name="T19" fmla="*/ 5052 h 7685"/>
                <a:gd name="T20" fmla="*/ 8244 w 12773"/>
                <a:gd name="T21" fmla="*/ 30 h 7685"/>
                <a:gd name="T22" fmla="*/ 8244 w 12773"/>
                <a:gd name="T23" fmla="*/ 30 h 7685"/>
                <a:gd name="T24" fmla="*/ 8413 w 12773"/>
                <a:gd name="T25" fmla="*/ 31 h 7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73" h="7685">
                  <a:moveTo>
                    <a:pt x="8413" y="31"/>
                  </a:moveTo>
                  <a:lnTo>
                    <a:pt x="12661" y="2482"/>
                  </a:lnTo>
                  <a:lnTo>
                    <a:pt x="12661" y="2482"/>
                  </a:lnTo>
                  <a:cubicBezTo>
                    <a:pt x="12772" y="2547"/>
                    <a:pt x="12770" y="2708"/>
                    <a:pt x="12659" y="2771"/>
                  </a:cubicBezTo>
                  <a:lnTo>
                    <a:pt x="4592" y="7611"/>
                  </a:lnTo>
                  <a:lnTo>
                    <a:pt x="4592" y="7611"/>
                  </a:lnTo>
                  <a:cubicBezTo>
                    <a:pt x="4464" y="7684"/>
                    <a:pt x="4306" y="7682"/>
                    <a:pt x="4180" y="7606"/>
                  </a:cubicBezTo>
                  <a:lnTo>
                    <a:pt x="110" y="5341"/>
                  </a:lnTo>
                  <a:lnTo>
                    <a:pt x="110" y="5341"/>
                  </a:lnTo>
                  <a:cubicBezTo>
                    <a:pt x="0" y="5275"/>
                    <a:pt x="2" y="5116"/>
                    <a:pt x="113" y="5052"/>
                  </a:cubicBezTo>
                  <a:lnTo>
                    <a:pt x="8244" y="30"/>
                  </a:lnTo>
                  <a:lnTo>
                    <a:pt x="8244" y="30"/>
                  </a:lnTo>
                  <a:cubicBezTo>
                    <a:pt x="8297" y="0"/>
                    <a:pt x="8362" y="0"/>
                    <a:pt x="8413" y="31"/>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29" name="Freeform 39">
              <a:extLst>
                <a:ext uri="{FF2B5EF4-FFF2-40B4-BE49-F238E27FC236}">
                  <a16:creationId xmlns:a16="http://schemas.microsoft.com/office/drawing/2014/main" id="{DCF9E8CF-87A6-2242-82CB-D80394689FEB}"/>
                </a:ext>
              </a:extLst>
            </p:cNvPr>
            <p:cNvSpPr>
              <a:spLocks noChangeArrowheads="1"/>
            </p:cNvSpPr>
            <p:nvPr/>
          </p:nvSpPr>
          <p:spPr bwMode="auto">
            <a:xfrm>
              <a:off x="8841916" y="4798586"/>
              <a:ext cx="4870590" cy="2851499"/>
            </a:xfrm>
            <a:custGeom>
              <a:avLst/>
              <a:gdLst>
                <a:gd name="T0" fmla="*/ 4373 w 7459"/>
                <a:gd name="T1" fmla="*/ 0 h 4364"/>
                <a:gd name="T2" fmla="*/ 0 w 7459"/>
                <a:gd name="T3" fmla="*/ 2568 h 4364"/>
                <a:gd name="T4" fmla="*/ 3081 w 7459"/>
                <a:gd name="T5" fmla="*/ 4363 h 4364"/>
                <a:gd name="T6" fmla="*/ 7458 w 7459"/>
                <a:gd name="T7" fmla="*/ 1788 h 4364"/>
                <a:gd name="T8" fmla="*/ 4373 w 7459"/>
                <a:gd name="T9" fmla="*/ 0 h 4364"/>
              </a:gdLst>
              <a:ahLst/>
              <a:cxnLst>
                <a:cxn ang="0">
                  <a:pos x="T0" y="T1"/>
                </a:cxn>
                <a:cxn ang="0">
                  <a:pos x="T2" y="T3"/>
                </a:cxn>
                <a:cxn ang="0">
                  <a:pos x="T4" y="T5"/>
                </a:cxn>
                <a:cxn ang="0">
                  <a:pos x="T6" y="T7"/>
                </a:cxn>
                <a:cxn ang="0">
                  <a:pos x="T8" y="T9"/>
                </a:cxn>
              </a:cxnLst>
              <a:rect l="0" t="0" r="r" b="b"/>
              <a:pathLst>
                <a:path w="7459" h="4364">
                  <a:moveTo>
                    <a:pt x="4373" y="0"/>
                  </a:moveTo>
                  <a:lnTo>
                    <a:pt x="0" y="2568"/>
                  </a:lnTo>
                  <a:lnTo>
                    <a:pt x="3081" y="4363"/>
                  </a:lnTo>
                  <a:lnTo>
                    <a:pt x="7458" y="1788"/>
                  </a:lnTo>
                  <a:lnTo>
                    <a:pt x="4373" y="0"/>
                  </a:lnTo>
                </a:path>
              </a:pathLst>
            </a:custGeom>
            <a:solidFill>
              <a:schemeClr val="bg1">
                <a:lumMod val="85000"/>
              </a:schemeClr>
            </a:solidFill>
            <a:ln>
              <a:noFill/>
            </a:ln>
            <a:effectLst/>
          </p:spPr>
          <p:txBody>
            <a:bodyPr wrap="none" anchor="ctr"/>
            <a:lstStyle/>
            <a:p>
              <a:endParaRPr lang="en-US" sz="3266" dirty="0">
                <a:latin typeface="Lato Light" panose="020F0502020204030203" pitchFamily="34" charset="0"/>
              </a:endParaRPr>
            </a:p>
          </p:txBody>
        </p:sp>
        <p:sp>
          <p:nvSpPr>
            <p:cNvPr id="30" name="Freeform 40">
              <a:extLst>
                <a:ext uri="{FF2B5EF4-FFF2-40B4-BE49-F238E27FC236}">
                  <a16:creationId xmlns:a16="http://schemas.microsoft.com/office/drawing/2014/main" id="{86B3BE09-BFA0-6E4B-A32F-A36ADEFA0E54}"/>
                </a:ext>
              </a:extLst>
            </p:cNvPr>
            <p:cNvSpPr>
              <a:spLocks noChangeArrowheads="1"/>
            </p:cNvSpPr>
            <p:nvPr/>
          </p:nvSpPr>
          <p:spPr bwMode="auto">
            <a:xfrm>
              <a:off x="8968649" y="5847015"/>
              <a:ext cx="4674730" cy="1728181"/>
            </a:xfrm>
            <a:custGeom>
              <a:avLst/>
              <a:gdLst>
                <a:gd name="T0" fmla="*/ 0 w 7159"/>
                <a:gd name="T1" fmla="*/ 763 h 2646"/>
                <a:gd name="T2" fmla="*/ 0 w 7159"/>
                <a:gd name="T3" fmla="*/ 922 h 2646"/>
                <a:gd name="T4" fmla="*/ 2944 w 7159"/>
                <a:gd name="T5" fmla="*/ 2645 h 2646"/>
                <a:gd name="T6" fmla="*/ 7158 w 7159"/>
                <a:gd name="T7" fmla="*/ 158 h 2646"/>
                <a:gd name="T8" fmla="*/ 7158 w 7159"/>
                <a:gd name="T9" fmla="*/ 0 h 2646"/>
                <a:gd name="T10" fmla="*/ 0 w 7159"/>
                <a:gd name="T11" fmla="*/ 763 h 2646"/>
              </a:gdLst>
              <a:ahLst/>
              <a:cxnLst>
                <a:cxn ang="0">
                  <a:pos x="T0" y="T1"/>
                </a:cxn>
                <a:cxn ang="0">
                  <a:pos x="T2" y="T3"/>
                </a:cxn>
                <a:cxn ang="0">
                  <a:pos x="T4" y="T5"/>
                </a:cxn>
                <a:cxn ang="0">
                  <a:pos x="T6" y="T7"/>
                </a:cxn>
                <a:cxn ang="0">
                  <a:pos x="T8" y="T9"/>
                </a:cxn>
                <a:cxn ang="0">
                  <a:pos x="T10" y="T11"/>
                </a:cxn>
              </a:cxnLst>
              <a:rect l="0" t="0" r="r" b="b"/>
              <a:pathLst>
                <a:path w="7159" h="2646">
                  <a:moveTo>
                    <a:pt x="0" y="763"/>
                  </a:moveTo>
                  <a:lnTo>
                    <a:pt x="0" y="922"/>
                  </a:lnTo>
                  <a:lnTo>
                    <a:pt x="2944" y="2645"/>
                  </a:lnTo>
                  <a:lnTo>
                    <a:pt x="7158" y="158"/>
                  </a:lnTo>
                  <a:lnTo>
                    <a:pt x="7158" y="0"/>
                  </a:lnTo>
                  <a:lnTo>
                    <a:pt x="0" y="763"/>
                  </a:lnTo>
                </a:path>
              </a:pathLst>
            </a:custGeom>
            <a:solidFill>
              <a:schemeClr val="accent6">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31" name="Freeform 41">
              <a:extLst>
                <a:ext uri="{FF2B5EF4-FFF2-40B4-BE49-F238E27FC236}">
                  <a16:creationId xmlns:a16="http://schemas.microsoft.com/office/drawing/2014/main" id="{CB939103-9EC9-6048-BD3D-ACCDDEA74E56}"/>
                </a:ext>
              </a:extLst>
            </p:cNvPr>
            <p:cNvSpPr>
              <a:spLocks noChangeArrowheads="1"/>
            </p:cNvSpPr>
            <p:nvPr/>
          </p:nvSpPr>
          <p:spPr bwMode="auto">
            <a:xfrm>
              <a:off x="10889810" y="5847015"/>
              <a:ext cx="2753569" cy="1728181"/>
            </a:xfrm>
            <a:custGeom>
              <a:avLst/>
              <a:gdLst>
                <a:gd name="T0" fmla="*/ 0 w 4215"/>
                <a:gd name="T1" fmla="*/ 2487 h 2646"/>
                <a:gd name="T2" fmla="*/ 0 w 4215"/>
                <a:gd name="T3" fmla="*/ 2645 h 2646"/>
                <a:gd name="T4" fmla="*/ 4214 w 4215"/>
                <a:gd name="T5" fmla="*/ 158 h 2646"/>
                <a:gd name="T6" fmla="*/ 4214 w 4215"/>
                <a:gd name="T7" fmla="*/ 0 h 2646"/>
                <a:gd name="T8" fmla="*/ 0 w 4215"/>
                <a:gd name="T9" fmla="*/ 2487 h 2646"/>
              </a:gdLst>
              <a:ahLst/>
              <a:cxnLst>
                <a:cxn ang="0">
                  <a:pos x="T0" y="T1"/>
                </a:cxn>
                <a:cxn ang="0">
                  <a:pos x="T2" y="T3"/>
                </a:cxn>
                <a:cxn ang="0">
                  <a:pos x="T4" y="T5"/>
                </a:cxn>
                <a:cxn ang="0">
                  <a:pos x="T6" y="T7"/>
                </a:cxn>
                <a:cxn ang="0">
                  <a:pos x="T8" y="T9"/>
                </a:cxn>
              </a:cxnLst>
              <a:rect l="0" t="0" r="r" b="b"/>
              <a:pathLst>
                <a:path w="4215" h="2646">
                  <a:moveTo>
                    <a:pt x="0" y="2487"/>
                  </a:moveTo>
                  <a:lnTo>
                    <a:pt x="0" y="2645"/>
                  </a:lnTo>
                  <a:lnTo>
                    <a:pt x="4214" y="158"/>
                  </a:lnTo>
                  <a:lnTo>
                    <a:pt x="4214" y="0"/>
                  </a:lnTo>
                  <a:lnTo>
                    <a:pt x="0" y="2487"/>
                  </a:lnTo>
                </a:path>
              </a:pathLst>
            </a:custGeom>
            <a:solidFill>
              <a:schemeClr val="accent6">
                <a:lumMod val="90000"/>
              </a:schemeClr>
            </a:solidFill>
            <a:ln>
              <a:noFill/>
            </a:ln>
            <a:effectLst/>
          </p:spPr>
          <p:txBody>
            <a:bodyPr wrap="none" anchor="ctr"/>
            <a:lstStyle/>
            <a:p>
              <a:endParaRPr lang="en-US" sz="3266" dirty="0">
                <a:latin typeface="Lato Light" panose="020F0502020204030203" pitchFamily="34" charset="0"/>
              </a:endParaRPr>
            </a:p>
          </p:txBody>
        </p:sp>
        <p:sp>
          <p:nvSpPr>
            <p:cNvPr id="32" name="Freeform 42">
              <a:extLst>
                <a:ext uri="{FF2B5EF4-FFF2-40B4-BE49-F238E27FC236}">
                  <a16:creationId xmlns:a16="http://schemas.microsoft.com/office/drawing/2014/main" id="{9EDB8D9D-F8C3-0C46-8BF6-E8239D3EAC0E}"/>
                </a:ext>
              </a:extLst>
            </p:cNvPr>
            <p:cNvSpPr>
              <a:spLocks noChangeArrowheads="1"/>
            </p:cNvSpPr>
            <p:nvPr/>
          </p:nvSpPr>
          <p:spPr bwMode="auto">
            <a:xfrm>
              <a:off x="8968649" y="4723698"/>
              <a:ext cx="4674730" cy="2747808"/>
            </a:xfrm>
            <a:custGeom>
              <a:avLst/>
              <a:gdLst>
                <a:gd name="T0" fmla="*/ 4210 w 7159"/>
                <a:gd name="T1" fmla="*/ 0 h 4207"/>
                <a:gd name="T2" fmla="*/ 0 w 7159"/>
                <a:gd name="T3" fmla="*/ 2482 h 4207"/>
                <a:gd name="T4" fmla="*/ 2944 w 7159"/>
                <a:gd name="T5" fmla="*/ 4206 h 4207"/>
                <a:gd name="T6" fmla="*/ 7158 w 7159"/>
                <a:gd name="T7" fmla="*/ 1719 h 4207"/>
                <a:gd name="T8" fmla="*/ 4210 w 7159"/>
                <a:gd name="T9" fmla="*/ 0 h 4207"/>
              </a:gdLst>
              <a:ahLst/>
              <a:cxnLst>
                <a:cxn ang="0">
                  <a:pos x="T0" y="T1"/>
                </a:cxn>
                <a:cxn ang="0">
                  <a:pos x="T2" y="T3"/>
                </a:cxn>
                <a:cxn ang="0">
                  <a:pos x="T4" y="T5"/>
                </a:cxn>
                <a:cxn ang="0">
                  <a:pos x="T6" y="T7"/>
                </a:cxn>
                <a:cxn ang="0">
                  <a:pos x="T8" y="T9"/>
                </a:cxn>
              </a:cxnLst>
              <a:rect l="0" t="0" r="r" b="b"/>
              <a:pathLst>
                <a:path w="7159" h="4207">
                  <a:moveTo>
                    <a:pt x="4210" y="0"/>
                  </a:moveTo>
                  <a:lnTo>
                    <a:pt x="0" y="2482"/>
                  </a:lnTo>
                  <a:lnTo>
                    <a:pt x="2944" y="4206"/>
                  </a:lnTo>
                  <a:lnTo>
                    <a:pt x="7158" y="1719"/>
                  </a:lnTo>
                  <a:lnTo>
                    <a:pt x="4210" y="0"/>
                  </a:lnTo>
                </a:path>
              </a:pathLst>
            </a:custGeom>
            <a:solidFill>
              <a:schemeClr val="accent6">
                <a:lumMod val="75000"/>
              </a:schemeClr>
            </a:solidFill>
            <a:ln>
              <a:noFill/>
            </a:ln>
            <a:effectLst/>
          </p:spPr>
          <p:txBody>
            <a:bodyPr wrap="none" anchor="ctr"/>
            <a:lstStyle/>
            <a:p>
              <a:endParaRPr lang="en-US" sz="3266" dirty="0">
                <a:latin typeface="Lato Light" panose="020F0502020204030203" pitchFamily="34" charset="0"/>
              </a:endParaRPr>
            </a:p>
          </p:txBody>
        </p:sp>
        <p:sp>
          <p:nvSpPr>
            <p:cNvPr id="33" name="Freeform 43">
              <a:extLst>
                <a:ext uri="{FF2B5EF4-FFF2-40B4-BE49-F238E27FC236}">
                  <a16:creationId xmlns:a16="http://schemas.microsoft.com/office/drawing/2014/main" id="{0472FDE4-9C37-C342-A1D3-D322CF251487}"/>
                </a:ext>
              </a:extLst>
            </p:cNvPr>
            <p:cNvSpPr>
              <a:spLocks noChangeArrowheads="1"/>
            </p:cNvSpPr>
            <p:nvPr/>
          </p:nvSpPr>
          <p:spPr bwMode="auto">
            <a:xfrm>
              <a:off x="9213474" y="4870593"/>
              <a:ext cx="3562935" cy="2093979"/>
            </a:xfrm>
            <a:custGeom>
              <a:avLst/>
              <a:gdLst>
                <a:gd name="T0" fmla="*/ 3888 w 5455"/>
                <a:gd name="T1" fmla="*/ 0 h 3207"/>
                <a:gd name="T2" fmla="*/ 0 w 5455"/>
                <a:gd name="T3" fmla="*/ 2291 h 3207"/>
                <a:gd name="T4" fmla="*/ 1563 w 5455"/>
                <a:gd name="T5" fmla="*/ 3206 h 3207"/>
                <a:gd name="T6" fmla="*/ 5454 w 5455"/>
                <a:gd name="T7" fmla="*/ 909 h 3207"/>
                <a:gd name="T8" fmla="*/ 3888 w 5455"/>
                <a:gd name="T9" fmla="*/ 0 h 3207"/>
              </a:gdLst>
              <a:ahLst/>
              <a:cxnLst>
                <a:cxn ang="0">
                  <a:pos x="T0" y="T1"/>
                </a:cxn>
                <a:cxn ang="0">
                  <a:pos x="T2" y="T3"/>
                </a:cxn>
                <a:cxn ang="0">
                  <a:pos x="T4" y="T5"/>
                </a:cxn>
                <a:cxn ang="0">
                  <a:pos x="T6" y="T7"/>
                </a:cxn>
                <a:cxn ang="0">
                  <a:pos x="T8" y="T9"/>
                </a:cxn>
              </a:cxnLst>
              <a:rect l="0" t="0" r="r" b="b"/>
              <a:pathLst>
                <a:path w="5455" h="3207">
                  <a:moveTo>
                    <a:pt x="3888" y="0"/>
                  </a:moveTo>
                  <a:lnTo>
                    <a:pt x="0" y="2291"/>
                  </a:lnTo>
                  <a:lnTo>
                    <a:pt x="1563" y="3206"/>
                  </a:lnTo>
                  <a:lnTo>
                    <a:pt x="5454" y="909"/>
                  </a:lnTo>
                  <a:lnTo>
                    <a:pt x="3888" y="0"/>
                  </a:lnTo>
                </a:path>
              </a:pathLst>
            </a:custGeom>
            <a:solidFill>
              <a:schemeClr val="accent6">
                <a:lumMod val="90000"/>
              </a:schemeClr>
            </a:solidFill>
            <a:ln>
              <a:noFill/>
            </a:ln>
            <a:effectLst/>
          </p:spPr>
          <p:txBody>
            <a:bodyPr wrap="none" anchor="ctr"/>
            <a:lstStyle/>
            <a:p>
              <a:endParaRPr lang="en-US" sz="3266" dirty="0">
                <a:latin typeface="Lato Light" panose="020F0502020204030203" pitchFamily="34" charset="0"/>
              </a:endParaRPr>
            </a:p>
          </p:txBody>
        </p:sp>
        <p:sp>
          <p:nvSpPr>
            <p:cNvPr id="34" name="Freeform 44">
              <a:extLst>
                <a:ext uri="{FF2B5EF4-FFF2-40B4-BE49-F238E27FC236}">
                  <a16:creationId xmlns:a16="http://schemas.microsoft.com/office/drawing/2014/main" id="{0F48EA7D-70F3-5544-BD6A-3E5B03F93304}"/>
                </a:ext>
              </a:extLst>
            </p:cNvPr>
            <p:cNvSpPr>
              <a:spLocks noChangeArrowheads="1"/>
            </p:cNvSpPr>
            <p:nvPr/>
          </p:nvSpPr>
          <p:spPr bwMode="auto">
            <a:xfrm>
              <a:off x="11051107" y="6011193"/>
              <a:ext cx="1564005" cy="918816"/>
            </a:xfrm>
            <a:custGeom>
              <a:avLst/>
              <a:gdLst>
                <a:gd name="T0" fmla="*/ 1448 w 2396"/>
                <a:gd name="T1" fmla="*/ 0 h 1408"/>
                <a:gd name="T2" fmla="*/ 0 w 2396"/>
                <a:gd name="T3" fmla="*/ 854 h 1408"/>
                <a:gd name="T4" fmla="*/ 945 w 2396"/>
                <a:gd name="T5" fmla="*/ 1407 h 1408"/>
                <a:gd name="T6" fmla="*/ 2395 w 2396"/>
                <a:gd name="T7" fmla="*/ 552 h 1408"/>
                <a:gd name="T8" fmla="*/ 1448 w 2396"/>
                <a:gd name="T9" fmla="*/ 0 h 1408"/>
              </a:gdLst>
              <a:ahLst/>
              <a:cxnLst>
                <a:cxn ang="0">
                  <a:pos x="T0" y="T1"/>
                </a:cxn>
                <a:cxn ang="0">
                  <a:pos x="T2" y="T3"/>
                </a:cxn>
                <a:cxn ang="0">
                  <a:pos x="T4" y="T5"/>
                </a:cxn>
                <a:cxn ang="0">
                  <a:pos x="T6" y="T7"/>
                </a:cxn>
                <a:cxn ang="0">
                  <a:pos x="T8" y="T9"/>
                </a:cxn>
              </a:cxnLst>
              <a:rect l="0" t="0" r="r" b="b"/>
              <a:pathLst>
                <a:path w="2396" h="1408">
                  <a:moveTo>
                    <a:pt x="1448" y="0"/>
                  </a:moveTo>
                  <a:lnTo>
                    <a:pt x="0" y="854"/>
                  </a:lnTo>
                  <a:lnTo>
                    <a:pt x="945" y="1407"/>
                  </a:lnTo>
                  <a:lnTo>
                    <a:pt x="2395" y="552"/>
                  </a:lnTo>
                  <a:lnTo>
                    <a:pt x="1448" y="0"/>
                  </a:lnTo>
                </a:path>
              </a:pathLst>
            </a:custGeom>
            <a:solidFill>
              <a:schemeClr val="accent6">
                <a:lumMod val="90000"/>
              </a:schemeClr>
            </a:solidFill>
            <a:ln>
              <a:noFill/>
            </a:ln>
            <a:effectLst/>
          </p:spPr>
          <p:txBody>
            <a:bodyPr wrap="none" anchor="ctr"/>
            <a:lstStyle/>
            <a:p>
              <a:endParaRPr lang="en-US" sz="3266" dirty="0">
                <a:latin typeface="Lato Light" panose="020F0502020204030203" pitchFamily="34" charset="0"/>
              </a:endParaRPr>
            </a:p>
          </p:txBody>
        </p:sp>
        <p:sp>
          <p:nvSpPr>
            <p:cNvPr id="35" name="Freeform 45">
              <a:extLst>
                <a:ext uri="{FF2B5EF4-FFF2-40B4-BE49-F238E27FC236}">
                  <a16:creationId xmlns:a16="http://schemas.microsoft.com/office/drawing/2014/main" id="{D8F9784A-F30F-5D49-8897-334C0E6690A0}"/>
                </a:ext>
              </a:extLst>
            </p:cNvPr>
            <p:cNvSpPr>
              <a:spLocks noChangeArrowheads="1"/>
            </p:cNvSpPr>
            <p:nvPr/>
          </p:nvSpPr>
          <p:spPr bwMode="auto">
            <a:xfrm>
              <a:off x="11696294" y="6405793"/>
              <a:ext cx="437806" cy="256348"/>
            </a:xfrm>
            <a:custGeom>
              <a:avLst/>
              <a:gdLst>
                <a:gd name="T0" fmla="*/ 19 w 671"/>
                <a:gd name="T1" fmla="*/ 0 h 393"/>
                <a:gd name="T2" fmla="*/ 0 w 671"/>
                <a:gd name="T3" fmla="*/ 10 h 393"/>
                <a:gd name="T4" fmla="*/ 651 w 671"/>
                <a:gd name="T5" fmla="*/ 392 h 393"/>
                <a:gd name="T6" fmla="*/ 670 w 671"/>
                <a:gd name="T7" fmla="*/ 380 h 393"/>
                <a:gd name="T8" fmla="*/ 19 w 671"/>
                <a:gd name="T9" fmla="*/ 0 h 393"/>
              </a:gdLst>
              <a:ahLst/>
              <a:cxnLst>
                <a:cxn ang="0">
                  <a:pos x="T0" y="T1"/>
                </a:cxn>
                <a:cxn ang="0">
                  <a:pos x="T2" y="T3"/>
                </a:cxn>
                <a:cxn ang="0">
                  <a:pos x="T4" y="T5"/>
                </a:cxn>
                <a:cxn ang="0">
                  <a:pos x="T6" y="T7"/>
                </a:cxn>
                <a:cxn ang="0">
                  <a:pos x="T8" y="T9"/>
                </a:cxn>
              </a:cxnLst>
              <a:rect l="0" t="0" r="r" b="b"/>
              <a:pathLst>
                <a:path w="671" h="393">
                  <a:moveTo>
                    <a:pt x="19" y="0"/>
                  </a:moveTo>
                  <a:lnTo>
                    <a:pt x="0" y="10"/>
                  </a:lnTo>
                  <a:lnTo>
                    <a:pt x="651" y="392"/>
                  </a:lnTo>
                  <a:lnTo>
                    <a:pt x="670" y="380"/>
                  </a:lnTo>
                  <a:lnTo>
                    <a:pt x="19" y="0"/>
                  </a:lnTo>
                </a:path>
              </a:pathLst>
            </a:custGeom>
            <a:solidFill>
              <a:schemeClr val="accent6">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36" name="Freeform 35">
              <a:extLst>
                <a:ext uri="{FF2B5EF4-FFF2-40B4-BE49-F238E27FC236}">
                  <a16:creationId xmlns:a16="http://schemas.microsoft.com/office/drawing/2014/main" id="{434F51CE-16A5-714C-9465-F318853B1A23}"/>
                </a:ext>
              </a:extLst>
            </p:cNvPr>
            <p:cNvSpPr>
              <a:spLocks noChangeArrowheads="1"/>
            </p:cNvSpPr>
            <p:nvPr/>
          </p:nvSpPr>
          <p:spPr bwMode="auto">
            <a:xfrm>
              <a:off x="8888000" y="1932685"/>
              <a:ext cx="2830675" cy="4363004"/>
            </a:xfrm>
            <a:custGeom>
              <a:avLst/>
              <a:gdLst>
                <a:gd name="connsiteX0" fmla="*/ 2750688 w 2830675"/>
                <a:gd name="connsiteY0" fmla="*/ 0 h 4363004"/>
                <a:gd name="connsiteX1" fmla="*/ 2830675 w 2830675"/>
                <a:gd name="connsiteY1" fmla="*/ 48467 h 4363004"/>
                <a:gd name="connsiteX2" fmla="*/ 2830675 w 2830675"/>
                <a:gd name="connsiteY2" fmla="*/ 491876 h 4363004"/>
                <a:gd name="connsiteX3" fmla="*/ 2750688 w 2830675"/>
                <a:gd name="connsiteY3" fmla="*/ 459128 h 4363004"/>
                <a:gd name="connsiteX4" fmla="*/ 2750035 w 2830675"/>
                <a:gd name="connsiteY4" fmla="*/ 0 h 4363004"/>
                <a:gd name="connsiteX5" fmla="*/ 2750035 w 2830675"/>
                <a:gd name="connsiteY5" fmla="*/ 2744923 h 4363004"/>
                <a:gd name="connsiteX6" fmla="*/ 0 w 2830675"/>
                <a:gd name="connsiteY6" fmla="*/ 4363004 h 4363004"/>
                <a:gd name="connsiteX7" fmla="*/ 0 w 2830675"/>
                <a:gd name="connsiteY7" fmla="*/ 1618081 h 436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0675" h="4363004">
                  <a:moveTo>
                    <a:pt x="2750688" y="0"/>
                  </a:moveTo>
                  <a:lnTo>
                    <a:pt x="2830675" y="48467"/>
                  </a:lnTo>
                  <a:lnTo>
                    <a:pt x="2830675" y="491876"/>
                  </a:lnTo>
                  <a:lnTo>
                    <a:pt x="2750688" y="459128"/>
                  </a:lnTo>
                  <a:close/>
                  <a:moveTo>
                    <a:pt x="2750035" y="0"/>
                  </a:moveTo>
                  <a:lnTo>
                    <a:pt x="2750035" y="2744923"/>
                  </a:lnTo>
                  <a:lnTo>
                    <a:pt x="0" y="4363004"/>
                  </a:lnTo>
                  <a:lnTo>
                    <a:pt x="0" y="1618081"/>
                  </a:lnTo>
                  <a:close/>
                </a:path>
              </a:pathLst>
            </a:custGeom>
            <a:solidFill>
              <a:schemeClr val="accent6"/>
            </a:solidFill>
            <a:ln>
              <a:noFill/>
            </a:ln>
            <a:effectLst/>
          </p:spPr>
          <p:txBody>
            <a:bodyPr wrap="square" anchor="ctr">
              <a:noAutofit/>
            </a:bodyPr>
            <a:lstStyle/>
            <a:p>
              <a:endParaRPr lang="en-US" sz="3266" dirty="0">
                <a:latin typeface="Lato Light" panose="020F0502020204030203" pitchFamily="34" charset="0"/>
              </a:endParaRPr>
            </a:p>
          </p:txBody>
        </p:sp>
        <p:sp>
          <p:nvSpPr>
            <p:cNvPr id="37" name="Freeform 48">
              <a:extLst>
                <a:ext uri="{FF2B5EF4-FFF2-40B4-BE49-F238E27FC236}">
                  <a16:creationId xmlns:a16="http://schemas.microsoft.com/office/drawing/2014/main" id="{2947221F-196F-A544-8F19-65585708C991}"/>
                </a:ext>
              </a:extLst>
            </p:cNvPr>
            <p:cNvSpPr>
              <a:spLocks noChangeArrowheads="1"/>
            </p:cNvSpPr>
            <p:nvPr/>
          </p:nvSpPr>
          <p:spPr bwMode="auto">
            <a:xfrm>
              <a:off x="8888001" y="3548535"/>
              <a:ext cx="80648" cy="2793893"/>
            </a:xfrm>
            <a:custGeom>
              <a:avLst/>
              <a:gdLst>
                <a:gd name="T0" fmla="*/ 121 w 122"/>
                <a:gd name="T1" fmla="*/ 74 h 4277"/>
                <a:gd name="T2" fmla="*/ 121 w 122"/>
                <a:gd name="T3" fmla="*/ 4276 h 4277"/>
                <a:gd name="T4" fmla="*/ 0 w 122"/>
                <a:gd name="T5" fmla="*/ 4202 h 4277"/>
                <a:gd name="T6" fmla="*/ 0 w 122"/>
                <a:gd name="T7" fmla="*/ 0 h 4277"/>
                <a:gd name="T8" fmla="*/ 121 w 122"/>
                <a:gd name="T9" fmla="*/ 74 h 4277"/>
              </a:gdLst>
              <a:ahLst/>
              <a:cxnLst>
                <a:cxn ang="0">
                  <a:pos x="T0" y="T1"/>
                </a:cxn>
                <a:cxn ang="0">
                  <a:pos x="T2" y="T3"/>
                </a:cxn>
                <a:cxn ang="0">
                  <a:pos x="T4" y="T5"/>
                </a:cxn>
                <a:cxn ang="0">
                  <a:pos x="T6" y="T7"/>
                </a:cxn>
                <a:cxn ang="0">
                  <a:pos x="T8" y="T9"/>
                </a:cxn>
              </a:cxnLst>
              <a:rect l="0" t="0" r="r" b="b"/>
              <a:pathLst>
                <a:path w="122" h="4277">
                  <a:moveTo>
                    <a:pt x="121" y="74"/>
                  </a:moveTo>
                  <a:lnTo>
                    <a:pt x="121" y="4276"/>
                  </a:lnTo>
                  <a:lnTo>
                    <a:pt x="0" y="4202"/>
                  </a:lnTo>
                  <a:lnTo>
                    <a:pt x="0" y="0"/>
                  </a:lnTo>
                  <a:lnTo>
                    <a:pt x="121" y="74"/>
                  </a:lnTo>
                </a:path>
              </a:pathLst>
            </a:custGeom>
            <a:solidFill>
              <a:schemeClr val="accent6">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38" name="Freeform 49">
              <a:extLst>
                <a:ext uri="{FF2B5EF4-FFF2-40B4-BE49-F238E27FC236}">
                  <a16:creationId xmlns:a16="http://schemas.microsoft.com/office/drawing/2014/main" id="{81F69DC5-5E76-CE41-B3C2-3BDAE836632A}"/>
                </a:ext>
              </a:extLst>
            </p:cNvPr>
            <p:cNvSpPr>
              <a:spLocks noChangeArrowheads="1"/>
            </p:cNvSpPr>
            <p:nvPr/>
          </p:nvSpPr>
          <p:spPr bwMode="auto">
            <a:xfrm>
              <a:off x="8968649" y="1978770"/>
              <a:ext cx="2750688" cy="4363657"/>
            </a:xfrm>
            <a:custGeom>
              <a:avLst/>
              <a:gdLst>
                <a:gd name="T0" fmla="*/ 4210 w 4211"/>
                <a:gd name="T1" fmla="*/ 0 h 6680"/>
                <a:gd name="T2" fmla="*/ 4210 w 4211"/>
                <a:gd name="T3" fmla="*/ 4202 h 6680"/>
                <a:gd name="T4" fmla="*/ 0 w 4211"/>
                <a:gd name="T5" fmla="*/ 6679 h 6680"/>
                <a:gd name="T6" fmla="*/ 0 w 4211"/>
                <a:gd name="T7" fmla="*/ 2477 h 6680"/>
                <a:gd name="T8" fmla="*/ 4210 w 4211"/>
                <a:gd name="T9" fmla="*/ 0 h 6680"/>
              </a:gdLst>
              <a:ahLst/>
              <a:cxnLst>
                <a:cxn ang="0">
                  <a:pos x="T0" y="T1"/>
                </a:cxn>
                <a:cxn ang="0">
                  <a:pos x="T2" y="T3"/>
                </a:cxn>
                <a:cxn ang="0">
                  <a:pos x="T4" y="T5"/>
                </a:cxn>
                <a:cxn ang="0">
                  <a:pos x="T6" y="T7"/>
                </a:cxn>
                <a:cxn ang="0">
                  <a:pos x="T8" y="T9"/>
                </a:cxn>
              </a:cxnLst>
              <a:rect l="0" t="0" r="r" b="b"/>
              <a:pathLst>
                <a:path w="4211" h="6680">
                  <a:moveTo>
                    <a:pt x="4210" y="0"/>
                  </a:moveTo>
                  <a:lnTo>
                    <a:pt x="4210" y="4202"/>
                  </a:lnTo>
                  <a:lnTo>
                    <a:pt x="0" y="6679"/>
                  </a:lnTo>
                  <a:lnTo>
                    <a:pt x="0" y="2477"/>
                  </a:lnTo>
                  <a:lnTo>
                    <a:pt x="4210" y="0"/>
                  </a:lnTo>
                </a:path>
              </a:pathLst>
            </a:custGeom>
            <a:solidFill>
              <a:schemeClr val="accent6">
                <a:lumMod val="25000"/>
              </a:schemeClr>
            </a:solidFill>
            <a:ln>
              <a:noFill/>
            </a:ln>
            <a:effectLst/>
          </p:spPr>
          <p:txBody>
            <a:bodyPr wrap="none" anchor="ctr"/>
            <a:lstStyle/>
            <a:p>
              <a:endParaRPr lang="en-US" sz="3266" dirty="0">
                <a:latin typeface="Lato Light" panose="020F0502020204030203" pitchFamily="34" charset="0"/>
              </a:endParaRPr>
            </a:p>
          </p:txBody>
        </p:sp>
        <p:sp>
          <p:nvSpPr>
            <p:cNvPr id="39" name="Freeform 50">
              <a:extLst>
                <a:ext uri="{FF2B5EF4-FFF2-40B4-BE49-F238E27FC236}">
                  <a16:creationId xmlns:a16="http://schemas.microsoft.com/office/drawing/2014/main" id="{64785DCD-DC09-7742-A6B6-1CFBC0340824}"/>
                </a:ext>
              </a:extLst>
            </p:cNvPr>
            <p:cNvSpPr>
              <a:spLocks noChangeArrowheads="1"/>
            </p:cNvSpPr>
            <p:nvPr/>
          </p:nvSpPr>
          <p:spPr bwMode="auto">
            <a:xfrm>
              <a:off x="9032015" y="2249519"/>
              <a:ext cx="2638357" cy="3954654"/>
            </a:xfrm>
            <a:custGeom>
              <a:avLst/>
              <a:gdLst>
                <a:gd name="T0" fmla="*/ 4001 w 4038"/>
                <a:gd name="T1" fmla="*/ 3759 h 6055"/>
                <a:gd name="T2" fmla="*/ 108 w 4038"/>
                <a:gd name="T3" fmla="*/ 6025 h 6055"/>
                <a:gd name="T4" fmla="*/ 108 w 4038"/>
                <a:gd name="T5" fmla="*/ 6025 h 6055"/>
                <a:gd name="T6" fmla="*/ 0 w 4038"/>
                <a:gd name="T7" fmla="*/ 5964 h 6055"/>
                <a:gd name="T8" fmla="*/ 0 w 4038"/>
                <a:gd name="T9" fmla="*/ 2367 h 6055"/>
                <a:gd name="T10" fmla="*/ 0 w 4038"/>
                <a:gd name="T11" fmla="*/ 2367 h 6055"/>
                <a:gd name="T12" fmla="*/ 36 w 4038"/>
                <a:gd name="T13" fmla="*/ 2305 h 6055"/>
                <a:gd name="T14" fmla="*/ 3929 w 4038"/>
                <a:gd name="T15" fmla="*/ 28 h 6055"/>
                <a:gd name="T16" fmla="*/ 3929 w 4038"/>
                <a:gd name="T17" fmla="*/ 28 h 6055"/>
                <a:gd name="T18" fmla="*/ 4037 w 4038"/>
                <a:gd name="T19" fmla="*/ 90 h 6055"/>
                <a:gd name="T20" fmla="*/ 4037 w 4038"/>
                <a:gd name="T21" fmla="*/ 3697 h 6055"/>
                <a:gd name="T22" fmla="*/ 4037 w 4038"/>
                <a:gd name="T23" fmla="*/ 3697 h 6055"/>
                <a:gd name="T24" fmla="*/ 4001 w 4038"/>
                <a:gd name="T25" fmla="*/ 3759 h 6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8" h="6055">
                  <a:moveTo>
                    <a:pt x="4001" y="3759"/>
                  </a:moveTo>
                  <a:lnTo>
                    <a:pt x="108" y="6025"/>
                  </a:lnTo>
                  <a:lnTo>
                    <a:pt x="108" y="6025"/>
                  </a:lnTo>
                  <a:cubicBezTo>
                    <a:pt x="60" y="6054"/>
                    <a:pt x="0" y="6019"/>
                    <a:pt x="0" y="5964"/>
                  </a:cubicBezTo>
                  <a:lnTo>
                    <a:pt x="0" y="2367"/>
                  </a:lnTo>
                  <a:lnTo>
                    <a:pt x="0" y="2367"/>
                  </a:lnTo>
                  <a:cubicBezTo>
                    <a:pt x="0" y="2342"/>
                    <a:pt x="13" y="2318"/>
                    <a:pt x="36" y="2305"/>
                  </a:cubicBezTo>
                  <a:lnTo>
                    <a:pt x="3929" y="28"/>
                  </a:lnTo>
                  <a:lnTo>
                    <a:pt x="3929" y="28"/>
                  </a:lnTo>
                  <a:cubicBezTo>
                    <a:pt x="3976" y="0"/>
                    <a:pt x="4037" y="34"/>
                    <a:pt x="4037" y="90"/>
                  </a:cubicBezTo>
                  <a:lnTo>
                    <a:pt x="4037" y="3697"/>
                  </a:lnTo>
                  <a:lnTo>
                    <a:pt x="4037" y="3697"/>
                  </a:lnTo>
                  <a:cubicBezTo>
                    <a:pt x="4037" y="3722"/>
                    <a:pt x="4023" y="3746"/>
                    <a:pt x="4001" y="3759"/>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40" name="Freeform 39">
              <a:extLst>
                <a:ext uri="{FF2B5EF4-FFF2-40B4-BE49-F238E27FC236}">
                  <a16:creationId xmlns:a16="http://schemas.microsoft.com/office/drawing/2014/main" id="{813ABA2F-EB63-8C4F-99C7-AF0DE228FBE1}"/>
                </a:ext>
              </a:extLst>
            </p:cNvPr>
            <p:cNvSpPr>
              <a:spLocks noChangeArrowheads="1"/>
            </p:cNvSpPr>
            <p:nvPr/>
          </p:nvSpPr>
          <p:spPr bwMode="auto">
            <a:xfrm>
              <a:off x="9227877" y="2891244"/>
              <a:ext cx="1661280" cy="1141897"/>
            </a:xfrm>
            <a:custGeom>
              <a:avLst/>
              <a:gdLst>
                <a:gd name="connsiteX0" fmla="*/ 419125 w 1661280"/>
                <a:gd name="connsiteY0" fmla="*/ 706482 h 1141897"/>
                <a:gd name="connsiteX1" fmla="*/ 454434 w 1661280"/>
                <a:gd name="connsiteY1" fmla="*/ 741423 h 1141897"/>
                <a:gd name="connsiteX2" fmla="*/ 454434 w 1661280"/>
                <a:gd name="connsiteY2" fmla="*/ 886580 h 1141897"/>
                <a:gd name="connsiteX3" fmla="*/ 436780 w 1661280"/>
                <a:gd name="connsiteY3" fmla="*/ 917312 h 1141897"/>
                <a:gd name="connsiteX4" fmla="*/ 60155 w 1661280"/>
                <a:gd name="connsiteY4" fmla="*/ 1136356 h 1141897"/>
                <a:gd name="connsiteX5" fmla="*/ 0 w 1661280"/>
                <a:gd name="connsiteY5" fmla="*/ 1102355 h 1141897"/>
                <a:gd name="connsiteX6" fmla="*/ 0 w 1661280"/>
                <a:gd name="connsiteY6" fmla="*/ 968967 h 1141897"/>
                <a:gd name="connsiteX7" fmla="*/ 20270 w 1661280"/>
                <a:gd name="connsiteY7" fmla="*/ 934312 h 1141897"/>
                <a:gd name="connsiteX8" fmla="*/ 400817 w 1661280"/>
                <a:gd name="connsiteY8" fmla="*/ 711345 h 1141897"/>
                <a:gd name="connsiteX9" fmla="*/ 419125 w 1661280"/>
                <a:gd name="connsiteY9" fmla="*/ 706482 h 1141897"/>
                <a:gd name="connsiteX10" fmla="*/ 949785 w 1661280"/>
                <a:gd name="connsiteY10" fmla="*/ 395663 h 1141897"/>
                <a:gd name="connsiteX11" fmla="*/ 984412 w 1661280"/>
                <a:gd name="connsiteY11" fmla="*/ 430846 h 1141897"/>
                <a:gd name="connsiteX12" fmla="*/ 984412 w 1661280"/>
                <a:gd name="connsiteY12" fmla="*/ 577444 h 1141897"/>
                <a:gd name="connsiteX13" fmla="*/ 967475 w 1661280"/>
                <a:gd name="connsiteY13" fmla="*/ 607415 h 1141897"/>
                <a:gd name="connsiteX14" fmla="*/ 559697 w 1661280"/>
                <a:gd name="connsiteY14" fmla="*/ 844577 h 1141897"/>
                <a:gd name="connsiteX15" fmla="*/ 506933 w 1661280"/>
                <a:gd name="connsiteY15" fmla="*/ 814606 h 1141897"/>
                <a:gd name="connsiteX16" fmla="*/ 506933 w 1661280"/>
                <a:gd name="connsiteY16" fmla="*/ 669311 h 1141897"/>
                <a:gd name="connsiteX17" fmla="*/ 524521 w 1661280"/>
                <a:gd name="connsiteY17" fmla="*/ 638689 h 1141897"/>
                <a:gd name="connsiteX18" fmla="*/ 931648 w 1661280"/>
                <a:gd name="connsiteY18" fmla="*/ 400875 h 1141897"/>
                <a:gd name="connsiteX19" fmla="*/ 949785 w 1661280"/>
                <a:gd name="connsiteY19" fmla="*/ 395663 h 1141897"/>
                <a:gd name="connsiteX20" fmla="*/ 1629938 w 1661280"/>
                <a:gd name="connsiteY20" fmla="*/ 5 h 1141897"/>
                <a:gd name="connsiteX21" fmla="*/ 1661280 w 1661280"/>
                <a:gd name="connsiteY21" fmla="*/ 31789 h 1141897"/>
                <a:gd name="connsiteX22" fmla="*/ 1661280 w 1661280"/>
                <a:gd name="connsiteY22" fmla="*/ 182684 h 1141897"/>
                <a:gd name="connsiteX23" fmla="*/ 1639775 w 1661280"/>
                <a:gd name="connsiteY23" fmla="*/ 218612 h 1141897"/>
                <a:gd name="connsiteX24" fmla="*/ 1098229 w 1661280"/>
                <a:gd name="connsiteY24" fmla="*/ 534774 h 1141897"/>
                <a:gd name="connsiteX25" fmla="*/ 1051308 w 1661280"/>
                <a:gd name="connsiteY25" fmla="*/ 507992 h 1141897"/>
                <a:gd name="connsiteX26" fmla="*/ 1051308 w 1661280"/>
                <a:gd name="connsiteY26" fmla="*/ 358403 h 1141897"/>
                <a:gd name="connsiteX27" fmla="*/ 1072162 w 1661280"/>
                <a:gd name="connsiteY27" fmla="*/ 321822 h 1141897"/>
                <a:gd name="connsiteX28" fmla="*/ 1613708 w 1661280"/>
                <a:gd name="connsiteY28" fmla="*/ 4353 h 1141897"/>
                <a:gd name="connsiteX29" fmla="*/ 1629938 w 1661280"/>
                <a:gd name="connsiteY29" fmla="*/ 5 h 1141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61280" h="1141897">
                  <a:moveTo>
                    <a:pt x="419125" y="706482"/>
                  </a:moveTo>
                  <a:cubicBezTo>
                    <a:pt x="437515" y="706727"/>
                    <a:pt x="454434" y="721317"/>
                    <a:pt x="454434" y="741423"/>
                  </a:cubicBezTo>
                  <a:lnTo>
                    <a:pt x="454434" y="886580"/>
                  </a:lnTo>
                  <a:cubicBezTo>
                    <a:pt x="454434" y="899004"/>
                    <a:pt x="447896" y="910773"/>
                    <a:pt x="436780" y="917312"/>
                  </a:cubicBezTo>
                  <a:lnTo>
                    <a:pt x="60155" y="1136356"/>
                  </a:lnTo>
                  <a:cubicBezTo>
                    <a:pt x="33347" y="1152048"/>
                    <a:pt x="0" y="1132432"/>
                    <a:pt x="0" y="1102355"/>
                  </a:cubicBezTo>
                  <a:lnTo>
                    <a:pt x="0" y="968967"/>
                  </a:lnTo>
                  <a:cubicBezTo>
                    <a:pt x="0" y="954582"/>
                    <a:pt x="7846" y="941505"/>
                    <a:pt x="20270" y="934312"/>
                  </a:cubicBezTo>
                  <a:lnTo>
                    <a:pt x="400817" y="711345"/>
                  </a:lnTo>
                  <a:cubicBezTo>
                    <a:pt x="406702" y="707912"/>
                    <a:pt x="412995" y="706400"/>
                    <a:pt x="419125" y="706482"/>
                  </a:cubicBezTo>
                  <a:close/>
                  <a:moveTo>
                    <a:pt x="949785" y="395663"/>
                  </a:moveTo>
                  <a:cubicBezTo>
                    <a:pt x="967923" y="395663"/>
                    <a:pt x="984412" y="410322"/>
                    <a:pt x="984412" y="430846"/>
                  </a:cubicBezTo>
                  <a:lnTo>
                    <a:pt x="984412" y="577444"/>
                  </a:lnTo>
                  <a:cubicBezTo>
                    <a:pt x="984412" y="589171"/>
                    <a:pt x="977898" y="600899"/>
                    <a:pt x="967475" y="607415"/>
                  </a:cubicBezTo>
                  <a:lnTo>
                    <a:pt x="559697" y="844577"/>
                  </a:lnTo>
                  <a:cubicBezTo>
                    <a:pt x="536246" y="858260"/>
                    <a:pt x="506933" y="841319"/>
                    <a:pt x="506933" y="814606"/>
                  </a:cubicBezTo>
                  <a:lnTo>
                    <a:pt x="506933" y="669311"/>
                  </a:lnTo>
                  <a:cubicBezTo>
                    <a:pt x="506933" y="656932"/>
                    <a:pt x="513447" y="645204"/>
                    <a:pt x="524521" y="638689"/>
                  </a:cubicBezTo>
                  <a:lnTo>
                    <a:pt x="931648" y="400875"/>
                  </a:lnTo>
                  <a:cubicBezTo>
                    <a:pt x="937511" y="397291"/>
                    <a:pt x="943740" y="395663"/>
                    <a:pt x="949785" y="395663"/>
                  </a:cubicBezTo>
                  <a:close/>
                  <a:moveTo>
                    <a:pt x="1629938" y="5"/>
                  </a:moveTo>
                  <a:cubicBezTo>
                    <a:pt x="1646251" y="311"/>
                    <a:pt x="1661280" y="13662"/>
                    <a:pt x="1661280" y="31789"/>
                  </a:cubicBezTo>
                  <a:lnTo>
                    <a:pt x="1661280" y="182684"/>
                  </a:lnTo>
                  <a:cubicBezTo>
                    <a:pt x="1661280" y="197709"/>
                    <a:pt x="1652809" y="211426"/>
                    <a:pt x="1639775" y="218612"/>
                  </a:cubicBezTo>
                  <a:lnTo>
                    <a:pt x="1098229" y="534774"/>
                  </a:lnTo>
                  <a:cubicBezTo>
                    <a:pt x="1077375" y="547186"/>
                    <a:pt x="1051308" y="532161"/>
                    <a:pt x="1051308" y="507992"/>
                  </a:cubicBezTo>
                  <a:lnTo>
                    <a:pt x="1051308" y="358403"/>
                  </a:lnTo>
                  <a:cubicBezTo>
                    <a:pt x="1051308" y="343379"/>
                    <a:pt x="1059128" y="329661"/>
                    <a:pt x="1072162" y="321822"/>
                  </a:cubicBezTo>
                  <a:lnTo>
                    <a:pt x="1613708" y="4353"/>
                  </a:lnTo>
                  <a:cubicBezTo>
                    <a:pt x="1618921" y="1250"/>
                    <a:pt x="1624501" y="-97"/>
                    <a:pt x="1629938" y="5"/>
                  </a:cubicBezTo>
                  <a:close/>
                </a:path>
              </a:pathLst>
            </a:custGeom>
            <a:solidFill>
              <a:schemeClr val="accent1"/>
            </a:solidFill>
            <a:ln>
              <a:noFill/>
            </a:ln>
            <a:effectLst/>
          </p:spPr>
          <p:txBody>
            <a:bodyPr wrap="square" anchor="ctr">
              <a:noAutofit/>
            </a:bodyPr>
            <a:lstStyle/>
            <a:p>
              <a:endParaRPr lang="en-US" sz="3266" dirty="0">
                <a:latin typeface="Lato Light" panose="020F0502020204030203" pitchFamily="34" charset="0"/>
              </a:endParaRPr>
            </a:p>
          </p:txBody>
        </p:sp>
        <p:sp>
          <p:nvSpPr>
            <p:cNvPr id="41" name="Freeform 54">
              <a:extLst>
                <a:ext uri="{FF2B5EF4-FFF2-40B4-BE49-F238E27FC236}">
                  <a16:creationId xmlns:a16="http://schemas.microsoft.com/office/drawing/2014/main" id="{E26B0416-7E47-FF4B-A8E0-067DA0AE5508}"/>
                </a:ext>
              </a:extLst>
            </p:cNvPr>
            <p:cNvSpPr>
              <a:spLocks noChangeArrowheads="1"/>
            </p:cNvSpPr>
            <p:nvPr/>
          </p:nvSpPr>
          <p:spPr bwMode="auto">
            <a:xfrm>
              <a:off x="9227876" y="2857261"/>
              <a:ext cx="2243755" cy="1497757"/>
            </a:xfrm>
            <a:custGeom>
              <a:avLst/>
              <a:gdLst>
                <a:gd name="T0" fmla="*/ 3402 w 3433"/>
                <a:gd name="T1" fmla="*/ 342 h 2294"/>
                <a:gd name="T2" fmla="*/ 92 w 3433"/>
                <a:gd name="T3" fmla="*/ 2269 h 2294"/>
                <a:gd name="T4" fmla="*/ 92 w 3433"/>
                <a:gd name="T5" fmla="*/ 2269 h 2294"/>
                <a:gd name="T6" fmla="*/ 0 w 3433"/>
                <a:gd name="T7" fmla="*/ 2217 h 2294"/>
                <a:gd name="T8" fmla="*/ 0 w 3433"/>
                <a:gd name="T9" fmla="*/ 2013 h 2294"/>
                <a:gd name="T10" fmla="*/ 0 w 3433"/>
                <a:gd name="T11" fmla="*/ 2013 h 2294"/>
                <a:gd name="T12" fmla="*/ 31 w 3433"/>
                <a:gd name="T13" fmla="*/ 1960 h 2294"/>
                <a:gd name="T14" fmla="*/ 3341 w 3433"/>
                <a:gd name="T15" fmla="*/ 24 h 2294"/>
                <a:gd name="T16" fmla="*/ 3341 w 3433"/>
                <a:gd name="T17" fmla="*/ 24 h 2294"/>
                <a:gd name="T18" fmla="*/ 3432 w 3433"/>
                <a:gd name="T19" fmla="*/ 76 h 2294"/>
                <a:gd name="T20" fmla="*/ 3432 w 3433"/>
                <a:gd name="T21" fmla="*/ 289 h 2294"/>
                <a:gd name="T22" fmla="*/ 3432 w 3433"/>
                <a:gd name="T23" fmla="*/ 289 h 2294"/>
                <a:gd name="T24" fmla="*/ 3402 w 3433"/>
                <a:gd name="T25" fmla="*/ 342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3" h="2294">
                  <a:moveTo>
                    <a:pt x="3402" y="342"/>
                  </a:moveTo>
                  <a:lnTo>
                    <a:pt x="92" y="2269"/>
                  </a:lnTo>
                  <a:lnTo>
                    <a:pt x="92" y="2269"/>
                  </a:lnTo>
                  <a:cubicBezTo>
                    <a:pt x="51" y="2293"/>
                    <a:pt x="0" y="2264"/>
                    <a:pt x="0" y="2217"/>
                  </a:cubicBezTo>
                  <a:lnTo>
                    <a:pt x="0" y="2013"/>
                  </a:lnTo>
                  <a:lnTo>
                    <a:pt x="0" y="2013"/>
                  </a:lnTo>
                  <a:cubicBezTo>
                    <a:pt x="0" y="1991"/>
                    <a:pt x="12" y="1971"/>
                    <a:pt x="31" y="1960"/>
                  </a:cubicBezTo>
                  <a:lnTo>
                    <a:pt x="3341" y="24"/>
                  </a:lnTo>
                  <a:lnTo>
                    <a:pt x="3341" y="24"/>
                  </a:lnTo>
                  <a:cubicBezTo>
                    <a:pt x="3381" y="0"/>
                    <a:pt x="3432" y="29"/>
                    <a:pt x="3432" y="76"/>
                  </a:cubicBezTo>
                  <a:lnTo>
                    <a:pt x="3432" y="289"/>
                  </a:lnTo>
                  <a:lnTo>
                    <a:pt x="3432" y="289"/>
                  </a:lnTo>
                  <a:cubicBezTo>
                    <a:pt x="3432" y="311"/>
                    <a:pt x="3420" y="331"/>
                    <a:pt x="3402" y="342"/>
                  </a:cubicBezTo>
                </a:path>
              </a:pathLst>
            </a:custGeom>
            <a:solidFill>
              <a:schemeClr val="accent2"/>
            </a:solidFill>
            <a:ln>
              <a:noFill/>
            </a:ln>
            <a:effectLst/>
          </p:spPr>
          <p:txBody>
            <a:bodyPr wrap="none" anchor="ctr"/>
            <a:lstStyle/>
            <a:p>
              <a:endParaRPr lang="en-US" sz="3266" dirty="0">
                <a:latin typeface="Lato Light" panose="020F0502020204030203" pitchFamily="34" charset="0"/>
              </a:endParaRPr>
            </a:p>
          </p:txBody>
        </p:sp>
        <p:sp>
          <p:nvSpPr>
            <p:cNvPr id="42" name="Freeform 55">
              <a:extLst>
                <a:ext uri="{FF2B5EF4-FFF2-40B4-BE49-F238E27FC236}">
                  <a16:creationId xmlns:a16="http://schemas.microsoft.com/office/drawing/2014/main" id="{C05F6058-F01E-1846-B833-BC1FBC74DB1D}"/>
                </a:ext>
              </a:extLst>
            </p:cNvPr>
            <p:cNvSpPr>
              <a:spLocks noChangeArrowheads="1"/>
            </p:cNvSpPr>
            <p:nvPr/>
          </p:nvSpPr>
          <p:spPr bwMode="auto">
            <a:xfrm>
              <a:off x="9227876" y="3171215"/>
              <a:ext cx="2243755" cy="1497757"/>
            </a:xfrm>
            <a:custGeom>
              <a:avLst/>
              <a:gdLst>
                <a:gd name="T0" fmla="*/ 3402 w 3433"/>
                <a:gd name="T1" fmla="*/ 342 h 2294"/>
                <a:gd name="T2" fmla="*/ 92 w 3433"/>
                <a:gd name="T3" fmla="*/ 2269 h 2294"/>
                <a:gd name="T4" fmla="*/ 92 w 3433"/>
                <a:gd name="T5" fmla="*/ 2269 h 2294"/>
                <a:gd name="T6" fmla="*/ 0 w 3433"/>
                <a:gd name="T7" fmla="*/ 2217 h 2294"/>
                <a:gd name="T8" fmla="*/ 0 w 3433"/>
                <a:gd name="T9" fmla="*/ 2013 h 2294"/>
                <a:gd name="T10" fmla="*/ 0 w 3433"/>
                <a:gd name="T11" fmla="*/ 2013 h 2294"/>
                <a:gd name="T12" fmla="*/ 31 w 3433"/>
                <a:gd name="T13" fmla="*/ 1960 h 2294"/>
                <a:gd name="T14" fmla="*/ 3341 w 3433"/>
                <a:gd name="T15" fmla="*/ 24 h 2294"/>
                <a:gd name="T16" fmla="*/ 3341 w 3433"/>
                <a:gd name="T17" fmla="*/ 24 h 2294"/>
                <a:gd name="T18" fmla="*/ 3432 w 3433"/>
                <a:gd name="T19" fmla="*/ 77 h 2294"/>
                <a:gd name="T20" fmla="*/ 3432 w 3433"/>
                <a:gd name="T21" fmla="*/ 289 h 2294"/>
                <a:gd name="T22" fmla="*/ 3432 w 3433"/>
                <a:gd name="T23" fmla="*/ 289 h 2294"/>
                <a:gd name="T24" fmla="*/ 3402 w 3433"/>
                <a:gd name="T25" fmla="*/ 342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3" h="2294">
                  <a:moveTo>
                    <a:pt x="3402" y="342"/>
                  </a:moveTo>
                  <a:lnTo>
                    <a:pt x="92" y="2269"/>
                  </a:lnTo>
                  <a:lnTo>
                    <a:pt x="92" y="2269"/>
                  </a:lnTo>
                  <a:cubicBezTo>
                    <a:pt x="51" y="2293"/>
                    <a:pt x="0" y="2264"/>
                    <a:pt x="0" y="2217"/>
                  </a:cubicBezTo>
                  <a:lnTo>
                    <a:pt x="0" y="2013"/>
                  </a:lnTo>
                  <a:lnTo>
                    <a:pt x="0" y="2013"/>
                  </a:lnTo>
                  <a:cubicBezTo>
                    <a:pt x="0" y="1991"/>
                    <a:pt x="12" y="1971"/>
                    <a:pt x="31" y="1960"/>
                  </a:cubicBezTo>
                  <a:lnTo>
                    <a:pt x="3341" y="24"/>
                  </a:lnTo>
                  <a:lnTo>
                    <a:pt x="3341" y="24"/>
                  </a:lnTo>
                  <a:cubicBezTo>
                    <a:pt x="3381" y="0"/>
                    <a:pt x="3432" y="29"/>
                    <a:pt x="3432" y="77"/>
                  </a:cubicBezTo>
                  <a:lnTo>
                    <a:pt x="3432" y="289"/>
                  </a:lnTo>
                  <a:lnTo>
                    <a:pt x="3432" y="289"/>
                  </a:lnTo>
                  <a:cubicBezTo>
                    <a:pt x="3432" y="311"/>
                    <a:pt x="3420" y="331"/>
                    <a:pt x="3402" y="342"/>
                  </a:cubicBezTo>
                </a:path>
              </a:pathLst>
            </a:custGeom>
            <a:solidFill>
              <a:schemeClr val="accent3"/>
            </a:solidFill>
            <a:ln>
              <a:noFill/>
            </a:ln>
            <a:effectLst/>
          </p:spPr>
          <p:txBody>
            <a:bodyPr wrap="none" anchor="ctr"/>
            <a:lstStyle/>
            <a:p>
              <a:endParaRPr lang="en-US" sz="3266" dirty="0">
                <a:latin typeface="Lato Light" panose="020F0502020204030203" pitchFamily="34" charset="0"/>
              </a:endParaRPr>
            </a:p>
          </p:txBody>
        </p:sp>
        <p:sp>
          <p:nvSpPr>
            <p:cNvPr id="43" name="Freeform 42">
              <a:extLst>
                <a:ext uri="{FF2B5EF4-FFF2-40B4-BE49-F238E27FC236}">
                  <a16:creationId xmlns:a16="http://schemas.microsoft.com/office/drawing/2014/main" id="{BBC184BA-40D3-DE4B-A11D-503FD9D43243}"/>
                </a:ext>
              </a:extLst>
            </p:cNvPr>
            <p:cNvSpPr>
              <a:spLocks noChangeArrowheads="1"/>
            </p:cNvSpPr>
            <p:nvPr/>
          </p:nvSpPr>
          <p:spPr bwMode="auto">
            <a:xfrm>
              <a:off x="9227877" y="3492348"/>
              <a:ext cx="2243101" cy="1477302"/>
            </a:xfrm>
            <a:custGeom>
              <a:avLst/>
              <a:gdLst>
                <a:gd name="connsiteX0" fmla="*/ 554963 w 2243101"/>
                <a:gd name="connsiteY0" fmla="*/ 964193 h 1477302"/>
                <a:gd name="connsiteX1" fmla="*/ 592689 w 2243101"/>
                <a:gd name="connsiteY1" fmla="*/ 1002393 h 1477302"/>
                <a:gd name="connsiteX2" fmla="*/ 592689 w 2243101"/>
                <a:gd name="connsiteY2" fmla="*/ 1128767 h 1477302"/>
                <a:gd name="connsiteX3" fmla="*/ 563969 w 2243101"/>
                <a:gd name="connsiteY3" fmla="*/ 1178926 h 1477302"/>
                <a:gd name="connsiteX4" fmla="*/ 60052 w 2243101"/>
                <a:gd name="connsiteY4" fmla="*/ 1472062 h 1477302"/>
                <a:gd name="connsiteX5" fmla="*/ 0 w 2243101"/>
                <a:gd name="connsiteY5" fmla="*/ 1437537 h 1477302"/>
                <a:gd name="connsiteX6" fmla="*/ 0 w 2243101"/>
                <a:gd name="connsiteY6" fmla="*/ 1304649 h 1477302"/>
                <a:gd name="connsiteX7" fmla="*/ 20235 w 2243101"/>
                <a:gd name="connsiteY7" fmla="*/ 1270124 h 1477302"/>
                <a:gd name="connsiteX8" fmla="*/ 535248 w 2243101"/>
                <a:gd name="connsiteY8" fmla="*/ 969170 h 1477302"/>
                <a:gd name="connsiteX9" fmla="*/ 554963 w 2243101"/>
                <a:gd name="connsiteY9" fmla="*/ 964193 h 1477302"/>
                <a:gd name="connsiteX10" fmla="*/ 2203940 w 2243101"/>
                <a:gd name="connsiteY10" fmla="*/ 1 h 1477302"/>
                <a:gd name="connsiteX11" fmla="*/ 2243101 w 2243101"/>
                <a:gd name="connsiteY11" fmla="*/ 40227 h 1477302"/>
                <a:gd name="connsiteX12" fmla="*/ 2243101 w 2243101"/>
                <a:gd name="connsiteY12" fmla="*/ 179336 h 1477302"/>
                <a:gd name="connsiteX13" fmla="*/ 2223490 w 2243101"/>
                <a:gd name="connsiteY13" fmla="*/ 213296 h 1477302"/>
                <a:gd name="connsiteX14" fmla="*/ 702324 w 2243101"/>
                <a:gd name="connsiteY14" fmla="*/ 1098889 h 1477302"/>
                <a:gd name="connsiteX15" fmla="*/ 648067 w 2243101"/>
                <a:gd name="connsiteY15" fmla="*/ 1066888 h 1477302"/>
                <a:gd name="connsiteX16" fmla="*/ 648067 w 2243101"/>
                <a:gd name="connsiteY16" fmla="*/ 936922 h 1477302"/>
                <a:gd name="connsiteX17" fmla="*/ 677484 w 2243101"/>
                <a:gd name="connsiteY17" fmla="*/ 885981 h 1477302"/>
                <a:gd name="connsiteX18" fmla="*/ 2183614 w 2243101"/>
                <a:gd name="connsiteY18" fmla="*/ 5613 h 1477302"/>
                <a:gd name="connsiteX19" fmla="*/ 2203940 w 2243101"/>
                <a:gd name="connsiteY19" fmla="*/ 1 h 1477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3101" h="1477302">
                  <a:moveTo>
                    <a:pt x="554963" y="964193"/>
                  </a:moveTo>
                  <a:cubicBezTo>
                    <a:pt x="574698" y="964651"/>
                    <a:pt x="592689" y="980407"/>
                    <a:pt x="592689" y="1002393"/>
                  </a:cubicBezTo>
                  <a:lnTo>
                    <a:pt x="592689" y="1128767"/>
                  </a:lnTo>
                  <a:cubicBezTo>
                    <a:pt x="592689" y="1149612"/>
                    <a:pt x="581593" y="1168503"/>
                    <a:pt x="563969" y="1178926"/>
                  </a:cubicBezTo>
                  <a:lnTo>
                    <a:pt x="60052" y="1472062"/>
                  </a:lnTo>
                  <a:cubicBezTo>
                    <a:pt x="33290" y="1487045"/>
                    <a:pt x="0" y="1468154"/>
                    <a:pt x="0" y="1437537"/>
                  </a:cubicBezTo>
                  <a:lnTo>
                    <a:pt x="0" y="1304649"/>
                  </a:lnTo>
                  <a:cubicBezTo>
                    <a:pt x="0" y="1290318"/>
                    <a:pt x="7833" y="1277289"/>
                    <a:pt x="20235" y="1270124"/>
                  </a:cubicBezTo>
                  <a:lnTo>
                    <a:pt x="535248" y="969170"/>
                  </a:lnTo>
                  <a:cubicBezTo>
                    <a:pt x="541612" y="965588"/>
                    <a:pt x="548384" y="964040"/>
                    <a:pt x="554963" y="964193"/>
                  </a:cubicBezTo>
                  <a:close/>
                  <a:moveTo>
                    <a:pt x="2203940" y="1"/>
                  </a:moveTo>
                  <a:cubicBezTo>
                    <a:pt x="2224348" y="184"/>
                    <a:pt x="2243101" y="16716"/>
                    <a:pt x="2243101" y="40227"/>
                  </a:cubicBezTo>
                  <a:lnTo>
                    <a:pt x="2243101" y="179336"/>
                  </a:lnTo>
                  <a:cubicBezTo>
                    <a:pt x="2243101" y="193050"/>
                    <a:pt x="2235257" y="206112"/>
                    <a:pt x="2223490" y="213296"/>
                  </a:cubicBezTo>
                  <a:lnTo>
                    <a:pt x="702324" y="1098889"/>
                  </a:lnTo>
                  <a:cubicBezTo>
                    <a:pt x="678137" y="1112604"/>
                    <a:pt x="648067" y="1094971"/>
                    <a:pt x="648067" y="1066888"/>
                  </a:cubicBezTo>
                  <a:lnTo>
                    <a:pt x="648067" y="936922"/>
                  </a:lnTo>
                  <a:cubicBezTo>
                    <a:pt x="648067" y="916023"/>
                    <a:pt x="659180" y="896430"/>
                    <a:pt x="677484" y="885981"/>
                  </a:cubicBezTo>
                  <a:lnTo>
                    <a:pt x="2183614" y="5613"/>
                  </a:lnTo>
                  <a:cubicBezTo>
                    <a:pt x="2190151" y="1695"/>
                    <a:pt x="2197138" y="-61"/>
                    <a:pt x="2203940" y="1"/>
                  </a:cubicBezTo>
                  <a:close/>
                </a:path>
              </a:pathLst>
            </a:custGeom>
            <a:solidFill>
              <a:schemeClr val="accent4"/>
            </a:solidFill>
            <a:ln>
              <a:noFill/>
            </a:ln>
            <a:effectLst/>
          </p:spPr>
          <p:txBody>
            <a:bodyPr wrap="square" anchor="ctr">
              <a:noAutofit/>
            </a:bodyPr>
            <a:lstStyle/>
            <a:p>
              <a:endParaRPr lang="en-US" sz="3266" dirty="0">
                <a:latin typeface="Lato Light" panose="020F0502020204030203" pitchFamily="34" charset="0"/>
              </a:endParaRPr>
            </a:p>
          </p:txBody>
        </p:sp>
        <p:sp>
          <p:nvSpPr>
            <p:cNvPr id="44" name="Freeform 58">
              <a:extLst>
                <a:ext uri="{FF2B5EF4-FFF2-40B4-BE49-F238E27FC236}">
                  <a16:creationId xmlns:a16="http://schemas.microsoft.com/office/drawing/2014/main" id="{B8160152-1F63-0F42-B606-9000E8088D62}"/>
                </a:ext>
              </a:extLst>
            </p:cNvPr>
            <p:cNvSpPr>
              <a:spLocks noChangeArrowheads="1"/>
            </p:cNvSpPr>
            <p:nvPr/>
          </p:nvSpPr>
          <p:spPr bwMode="auto">
            <a:xfrm>
              <a:off x="9227876" y="3796240"/>
              <a:ext cx="2243755" cy="1497757"/>
            </a:xfrm>
            <a:custGeom>
              <a:avLst/>
              <a:gdLst>
                <a:gd name="T0" fmla="*/ 3402 w 3433"/>
                <a:gd name="T1" fmla="*/ 342 h 2294"/>
                <a:gd name="T2" fmla="*/ 92 w 3433"/>
                <a:gd name="T3" fmla="*/ 2270 h 2294"/>
                <a:gd name="T4" fmla="*/ 92 w 3433"/>
                <a:gd name="T5" fmla="*/ 2270 h 2294"/>
                <a:gd name="T6" fmla="*/ 0 w 3433"/>
                <a:gd name="T7" fmla="*/ 2217 h 2294"/>
                <a:gd name="T8" fmla="*/ 0 w 3433"/>
                <a:gd name="T9" fmla="*/ 2013 h 2294"/>
                <a:gd name="T10" fmla="*/ 0 w 3433"/>
                <a:gd name="T11" fmla="*/ 2013 h 2294"/>
                <a:gd name="T12" fmla="*/ 31 w 3433"/>
                <a:gd name="T13" fmla="*/ 1960 h 2294"/>
                <a:gd name="T14" fmla="*/ 3341 w 3433"/>
                <a:gd name="T15" fmla="*/ 24 h 2294"/>
                <a:gd name="T16" fmla="*/ 3341 w 3433"/>
                <a:gd name="T17" fmla="*/ 24 h 2294"/>
                <a:gd name="T18" fmla="*/ 3432 w 3433"/>
                <a:gd name="T19" fmla="*/ 77 h 2294"/>
                <a:gd name="T20" fmla="*/ 3432 w 3433"/>
                <a:gd name="T21" fmla="*/ 290 h 2294"/>
                <a:gd name="T22" fmla="*/ 3432 w 3433"/>
                <a:gd name="T23" fmla="*/ 290 h 2294"/>
                <a:gd name="T24" fmla="*/ 3402 w 3433"/>
                <a:gd name="T25" fmla="*/ 342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3" h="2294">
                  <a:moveTo>
                    <a:pt x="3402" y="342"/>
                  </a:moveTo>
                  <a:lnTo>
                    <a:pt x="92" y="2270"/>
                  </a:lnTo>
                  <a:lnTo>
                    <a:pt x="92" y="2270"/>
                  </a:lnTo>
                  <a:cubicBezTo>
                    <a:pt x="51" y="2293"/>
                    <a:pt x="0" y="2264"/>
                    <a:pt x="0" y="2217"/>
                  </a:cubicBezTo>
                  <a:lnTo>
                    <a:pt x="0" y="2013"/>
                  </a:lnTo>
                  <a:lnTo>
                    <a:pt x="0" y="2013"/>
                  </a:lnTo>
                  <a:cubicBezTo>
                    <a:pt x="0" y="1991"/>
                    <a:pt x="12" y="1971"/>
                    <a:pt x="31" y="1960"/>
                  </a:cubicBezTo>
                  <a:lnTo>
                    <a:pt x="3341" y="24"/>
                  </a:lnTo>
                  <a:lnTo>
                    <a:pt x="3341" y="24"/>
                  </a:lnTo>
                  <a:cubicBezTo>
                    <a:pt x="3381" y="0"/>
                    <a:pt x="3432" y="30"/>
                    <a:pt x="3432" y="77"/>
                  </a:cubicBezTo>
                  <a:lnTo>
                    <a:pt x="3432" y="290"/>
                  </a:lnTo>
                  <a:lnTo>
                    <a:pt x="3432" y="290"/>
                  </a:lnTo>
                  <a:cubicBezTo>
                    <a:pt x="3432" y="311"/>
                    <a:pt x="3420" y="331"/>
                    <a:pt x="3402" y="342"/>
                  </a:cubicBezTo>
                </a:path>
              </a:pathLst>
            </a:custGeom>
            <a:solidFill>
              <a:schemeClr val="accent5"/>
            </a:solidFill>
            <a:ln>
              <a:noFill/>
            </a:ln>
            <a:effectLst/>
          </p:spPr>
          <p:txBody>
            <a:bodyPr wrap="none" anchor="ctr"/>
            <a:lstStyle/>
            <a:p>
              <a:endParaRPr lang="en-US" sz="3266" dirty="0">
                <a:latin typeface="Lato Light" panose="020F0502020204030203" pitchFamily="34" charset="0"/>
              </a:endParaRPr>
            </a:p>
          </p:txBody>
        </p:sp>
        <p:sp>
          <p:nvSpPr>
            <p:cNvPr id="45" name="Freeform 44">
              <a:extLst>
                <a:ext uri="{FF2B5EF4-FFF2-40B4-BE49-F238E27FC236}">
                  <a16:creationId xmlns:a16="http://schemas.microsoft.com/office/drawing/2014/main" id="{92F57B4E-AD25-A54D-BFF4-DD0F47CA8953}"/>
                </a:ext>
              </a:extLst>
            </p:cNvPr>
            <p:cNvSpPr>
              <a:spLocks noChangeArrowheads="1"/>
            </p:cNvSpPr>
            <p:nvPr/>
          </p:nvSpPr>
          <p:spPr bwMode="auto">
            <a:xfrm>
              <a:off x="9227877" y="4117434"/>
              <a:ext cx="2243099" cy="1477208"/>
            </a:xfrm>
            <a:custGeom>
              <a:avLst/>
              <a:gdLst>
                <a:gd name="connsiteX0" fmla="*/ 1682820 w 2243099"/>
                <a:gd name="connsiteY0" fmla="*/ 293738 h 1477208"/>
                <a:gd name="connsiteX1" fmla="*/ 1710247 w 2243099"/>
                <a:gd name="connsiteY1" fmla="*/ 309422 h 1477208"/>
                <a:gd name="connsiteX2" fmla="*/ 1710247 w 2243099"/>
                <a:gd name="connsiteY2" fmla="*/ 472790 h 1477208"/>
                <a:gd name="connsiteX3" fmla="*/ 1680208 w 2243099"/>
                <a:gd name="connsiteY3" fmla="*/ 525068 h 1477208"/>
                <a:gd name="connsiteX4" fmla="*/ 60077 w 2243099"/>
                <a:gd name="connsiteY4" fmla="*/ 1471952 h 1477208"/>
                <a:gd name="connsiteX5" fmla="*/ 0 w 2243099"/>
                <a:gd name="connsiteY5" fmla="*/ 1437318 h 1477208"/>
                <a:gd name="connsiteX6" fmla="*/ 0 w 2243099"/>
                <a:gd name="connsiteY6" fmla="*/ 1304009 h 1477208"/>
                <a:gd name="connsiteX7" fmla="*/ 20243 w 2243099"/>
                <a:gd name="connsiteY7" fmla="*/ 1269375 h 1477208"/>
                <a:gd name="connsiteX8" fmla="*/ 2203873 w 2243099"/>
                <a:gd name="connsiteY8" fmla="*/ 5 h 1477208"/>
                <a:gd name="connsiteX9" fmla="*/ 2243099 w 2243099"/>
                <a:gd name="connsiteY9" fmla="*/ 40036 h 1477208"/>
                <a:gd name="connsiteX10" fmla="*/ 2243099 w 2243099"/>
                <a:gd name="connsiteY10" fmla="*/ 178785 h 1477208"/>
                <a:gd name="connsiteX11" fmla="*/ 2223455 w 2243099"/>
                <a:gd name="connsiteY11" fmla="*/ 212658 h 1477208"/>
                <a:gd name="connsiteX12" fmla="*/ 1803734 w 2243099"/>
                <a:gd name="connsiteY12" fmla="*/ 456283 h 1477208"/>
                <a:gd name="connsiteX13" fmla="*/ 1759863 w 2243099"/>
                <a:gd name="connsiteY13" fmla="*/ 431530 h 1477208"/>
                <a:gd name="connsiteX14" fmla="*/ 1759863 w 2243099"/>
                <a:gd name="connsiteY14" fmla="*/ 286918 h 1477208"/>
                <a:gd name="connsiteX15" fmla="*/ 1790638 w 2243099"/>
                <a:gd name="connsiteY15" fmla="*/ 234805 h 1477208"/>
                <a:gd name="connsiteX16" fmla="*/ 2183513 w 2243099"/>
                <a:gd name="connsiteY16" fmla="*/ 5512 h 1477208"/>
                <a:gd name="connsiteX17" fmla="*/ 2203873 w 2243099"/>
                <a:gd name="connsiteY17" fmla="*/ 5 h 1477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3099" h="1477208">
                  <a:moveTo>
                    <a:pt x="1682820" y="293738"/>
                  </a:moveTo>
                  <a:cubicBezTo>
                    <a:pt x="1695228" y="286550"/>
                    <a:pt x="1710247" y="295699"/>
                    <a:pt x="1710247" y="309422"/>
                  </a:cubicBezTo>
                  <a:lnTo>
                    <a:pt x="1710247" y="472790"/>
                  </a:lnTo>
                  <a:cubicBezTo>
                    <a:pt x="1710247" y="494355"/>
                    <a:pt x="1699146" y="513959"/>
                    <a:pt x="1680208" y="525068"/>
                  </a:cubicBezTo>
                  <a:lnTo>
                    <a:pt x="60077" y="1471952"/>
                  </a:lnTo>
                  <a:cubicBezTo>
                    <a:pt x="33304" y="1486982"/>
                    <a:pt x="0" y="1468031"/>
                    <a:pt x="0" y="1437318"/>
                  </a:cubicBezTo>
                  <a:lnTo>
                    <a:pt x="0" y="1304009"/>
                  </a:lnTo>
                  <a:cubicBezTo>
                    <a:pt x="0" y="1289633"/>
                    <a:pt x="7836" y="1276563"/>
                    <a:pt x="20243" y="1269375"/>
                  </a:cubicBezTo>
                  <a:close/>
                  <a:moveTo>
                    <a:pt x="2203873" y="5"/>
                  </a:moveTo>
                  <a:cubicBezTo>
                    <a:pt x="2224315" y="341"/>
                    <a:pt x="2243099" y="17074"/>
                    <a:pt x="2243099" y="40036"/>
                  </a:cubicBezTo>
                  <a:lnTo>
                    <a:pt x="2243099" y="178785"/>
                  </a:lnTo>
                  <a:cubicBezTo>
                    <a:pt x="2243099" y="193116"/>
                    <a:pt x="2235242" y="206144"/>
                    <a:pt x="2223455" y="212658"/>
                  </a:cubicBezTo>
                  <a:lnTo>
                    <a:pt x="1803734" y="456283"/>
                  </a:lnTo>
                  <a:cubicBezTo>
                    <a:pt x="1784090" y="467357"/>
                    <a:pt x="1759863" y="453677"/>
                    <a:pt x="1759863" y="431530"/>
                  </a:cubicBezTo>
                  <a:lnTo>
                    <a:pt x="1759863" y="286918"/>
                  </a:lnTo>
                  <a:cubicBezTo>
                    <a:pt x="1759863" y="265421"/>
                    <a:pt x="1772304" y="245228"/>
                    <a:pt x="1790638" y="234805"/>
                  </a:cubicBezTo>
                  <a:lnTo>
                    <a:pt x="2183513" y="5512"/>
                  </a:lnTo>
                  <a:cubicBezTo>
                    <a:pt x="2190061" y="1603"/>
                    <a:pt x="2197059" y="-107"/>
                    <a:pt x="2203873" y="5"/>
                  </a:cubicBezTo>
                  <a:close/>
                </a:path>
              </a:pathLst>
            </a:custGeom>
            <a:solidFill>
              <a:schemeClr val="accent6"/>
            </a:solidFill>
            <a:ln>
              <a:noFill/>
            </a:ln>
            <a:effectLst/>
          </p:spPr>
          <p:txBody>
            <a:bodyPr wrap="square" anchor="ctr">
              <a:noAutofit/>
            </a:bodyPr>
            <a:lstStyle/>
            <a:p>
              <a:endParaRPr lang="en-US" sz="3266" dirty="0">
                <a:latin typeface="Lato Light" panose="020F0502020204030203" pitchFamily="34" charset="0"/>
              </a:endParaRPr>
            </a:p>
          </p:txBody>
        </p:sp>
        <p:sp>
          <p:nvSpPr>
            <p:cNvPr id="46" name="Freeform 61">
              <a:extLst>
                <a:ext uri="{FF2B5EF4-FFF2-40B4-BE49-F238E27FC236}">
                  <a16:creationId xmlns:a16="http://schemas.microsoft.com/office/drawing/2014/main" id="{421FBABC-443C-724B-960A-508E16FD2E02}"/>
                </a:ext>
              </a:extLst>
            </p:cNvPr>
            <p:cNvSpPr>
              <a:spLocks noChangeArrowheads="1"/>
            </p:cNvSpPr>
            <p:nvPr/>
          </p:nvSpPr>
          <p:spPr bwMode="auto">
            <a:xfrm>
              <a:off x="9227876" y="4418385"/>
              <a:ext cx="2243755" cy="1497757"/>
            </a:xfrm>
            <a:custGeom>
              <a:avLst/>
              <a:gdLst>
                <a:gd name="T0" fmla="*/ 3402 w 3433"/>
                <a:gd name="T1" fmla="*/ 342 h 2294"/>
                <a:gd name="T2" fmla="*/ 92 w 3433"/>
                <a:gd name="T3" fmla="*/ 2270 h 2294"/>
                <a:gd name="T4" fmla="*/ 92 w 3433"/>
                <a:gd name="T5" fmla="*/ 2270 h 2294"/>
                <a:gd name="T6" fmla="*/ 0 w 3433"/>
                <a:gd name="T7" fmla="*/ 2217 h 2294"/>
                <a:gd name="T8" fmla="*/ 0 w 3433"/>
                <a:gd name="T9" fmla="*/ 2013 h 2294"/>
                <a:gd name="T10" fmla="*/ 0 w 3433"/>
                <a:gd name="T11" fmla="*/ 2013 h 2294"/>
                <a:gd name="T12" fmla="*/ 31 w 3433"/>
                <a:gd name="T13" fmla="*/ 1960 h 2294"/>
                <a:gd name="T14" fmla="*/ 3341 w 3433"/>
                <a:gd name="T15" fmla="*/ 24 h 2294"/>
                <a:gd name="T16" fmla="*/ 3341 w 3433"/>
                <a:gd name="T17" fmla="*/ 24 h 2294"/>
                <a:gd name="T18" fmla="*/ 3432 w 3433"/>
                <a:gd name="T19" fmla="*/ 77 h 2294"/>
                <a:gd name="T20" fmla="*/ 3432 w 3433"/>
                <a:gd name="T21" fmla="*/ 290 h 2294"/>
                <a:gd name="T22" fmla="*/ 3432 w 3433"/>
                <a:gd name="T23" fmla="*/ 290 h 2294"/>
                <a:gd name="T24" fmla="*/ 3402 w 3433"/>
                <a:gd name="T25" fmla="*/ 342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3" h="2294">
                  <a:moveTo>
                    <a:pt x="3402" y="342"/>
                  </a:moveTo>
                  <a:lnTo>
                    <a:pt x="92" y="2270"/>
                  </a:lnTo>
                  <a:lnTo>
                    <a:pt x="92" y="2270"/>
                  </a:lnTo>
                  <a:cubicBezTo>
                    <a:pt x="51" y="2293"/>
                    <a:pt x="0" y="2264"/>
                    <a:pt x="0" y="2217"/>
                  </a:cubicBezTo>
                  <a:lnTo>
                    <a:pt x="0" y="2013"/>
                  </a:lnTo>
                  <a:lnTo>
                    <a:pt x="0" y="2013"/>
                  </a:lnTo>
                  <a:cubicBezTo>
                    <a:pt x="0" y="1992"/>
                    <a:pt x="12" y="1972"/>
                    <a:pt x="31" y="1960"/>
                  </a:cubicBezTo>
                  <a:lnTo>
                    <a:pt x="3341" y="24"/>
                  </a:lnTo>
                  <a:lnTo>
                    <a:pt x="3341" y="24"/>
                  </a:lnTo>
                  <a:cubicBezTo>
                    <a:pt x="3381" y="0"/>
                    <a:pt x="3432" y="30"/>
                    <a:pt x="3432" y="77"/>
                  </a:cubicBezTo>
                  <a:lnTo>
                    <a:pt x="3432" y="290"/>
                  </a:lnTo>
                  <a:lnTo>
                    <a:pt x="3432" y="290"/>
                  </a:lnTo>
                  <a:cubicBezTo>
                    <a:pt x="3432" y="312"/>
                    <a:pt x="3420" y="332"/>
                    <a:pt x="3402" y="342"/>
                  </a:cubicBezTo>
                </a:path>
              </a:pathLst>
            </a:custGeom>
            <a:solidFill>
              <a:schemeClr val="accent1"/>
            </a:solidFill>
            <a:ln>
              <a:noFill/>
            </a:ln>
            <a:effectLst/>
          </p:spPr>
          <p:txBody>
            <a:bodyPr wrap="none" anchor="ctr"/>
            <a:lstStyle/>
            <a:p>
              <a:endParaRPr lang="en-US" sz="3266" dirty="0">
                <a:latin typeface="Lato Light" panose="020F0502020204030203" pitchFamily="34" charset="0"/>
              </a:endParaRPr>
            </a:p>
          </p:txBody>
        </p:sp>
        <p:sp>
          <p:nvSpPr>
            <p:cNvPr id="47" name="Freeform 62">
              <a:extLst>
                <a:ext uri="{FF2B5EF4-FFF2-40B4-BE49-F238E27FC236}">
                  <a16:creationId xmlns:a16="http://schemas.microsoft.com/office/drawing/2014/main" id="{997E1A53-FC46-524A-81E8-00663450C762}"/>
                </a:ext>
              </a:extLst>
            </p:cNvPr>
            <p:cNvSpPr>
              <a:spLocks noChangeArrowheads="1"/>
            </p:cNvSpPr>
            <p:nvPr/>
          </p:nvSpPr>
          <p:spPr bwMode="auto">
            <a:xfrm>
              <a:off x="10325270" y="2848622"/>
              <a:ext cx="34564" cy="72007"/>
            </a:xfrm>
            <a:custGeom>
              <a:avLst/>
              <a:gdLst>
                <a:gd name="T0" fmla="*/ 25 w 52"/>
                <a:gd name="T1" fmla="*/ 9 h 112"/>
                <a:gd name="T2" fmla="*/ 25 w 52"/>
                <a:gd name="T3" fmla="*/ 9 h 112"/>
                <a:gd name="T4" fmla="*/ 51 w 52"/>
                <a:gd name="T5" fmla="*/ 40 h 112"/>
                <a:gd name="T6" fmla="*/ 51 w 52"/>
                <a:gd name="T7" fmla="*/ 40 h 112"/>
                <a:gd name="T8" fmla="*/ 25 w 52"/>
                <a:gd name="T9" fmla="*/ 102 h 112"/>
                <a:gd name="T10" fmla="*/ 25 w 52"/>
                <a:gd name="T11" fmla="*/ 102 h 112"/>
                <a:gd name="T12" fmla="*/ 0 w 52"/>
                <a:gd name="T13" fmla="*/ 71 h 112"/>
                <a:gd name="T14" fmla="*/ 0 w 52"/>
                <a:gd name="T15" fmla="*/ 71 h 112"/>
                <a:gd name="T16" fmla="*/ 25 w 52"/>
                <a:gd name="T17" fmla="*/ 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112">
                  <a:moveTo>
                    <a:pt x="25" y="9"/>
                  </a:moveTo>
                  <a:lnTo>
                    <a:pt x="25" y="9"/>
                  </a:lnTo>
                  <a:cubicBezTo>
                    <a:pt x="39" y="0"/>
                    <a:pt x="51" y="14"/>
                    <a:pt x="51" y="40"/>
                  </a:cubicBezTo>
                  <a:lnTo>
                    <a:pt x="51" y="40"/>
                  </a:lnTo>
                  <a:cubicBezTo>
                    <a:pt x="51" y="66"/>
                    <a:pt x="39" y="93"/>
                    <a:pt x="25" y="102"/>
                  </a:cubicBezTo>
                  <a:lnTo>
                    <a:pt x="25" y="102"/>
                  </a:lnTo>
                  <a:cubicBezTo>
                    <a:pt x="11" y="111"/>
                    <a:pt x="0" y="97"/>
                    <a:pt x="0" y="71"/>
                  </a:cubicBezTo>
                  <a:lnTo>
                    <a:pt x="0" y="71"/>
                  </a:lnTo>
                  <a:cubicBezTo>
                    <a:pt x="0" y="46"/>
                    <a:pt x="11" y="18"/>
                    <a:pt x="25" y="9"/>
                  </a:cubicBezTo>
                </a:path>
              </a:pathLst>
            </a:custGeom>
            <a:solidFill>
              <a:schemeClr val="accent6"/>
            </a:solidFill>
            <a:ln>
              <a:noFill/>
            </a:ln>
            <a:effectLst/>
          </p:spPr>
          <p:txBody>
            <a:bodyPr wrap="none" anchor="ctr"/>
            <a:lstStyle/>
            <a:p>
              <a:endParaRPr lang="en-US" sz="3266" dirty="0">
                <a:latin typeface="Lato Light" panose="020F0502020204030203" pitchFamily="34" charset="0"/>
              </a:endParaRPr>
            </a:p>
          </p:txBody>
        </p:sp>
        <p:sp>
          <p:nvSpPr>
            <p:cNvPr id="48" name="Freeform 47">
              <a:extLst>
                <a:ext uri="{FF2B5EF4-FFF2-40B4-BE49-F238E27FC236}">
                  <a16:creationId xmlns:a16="http://schemas.microsoft.com/office/drawing/2014/main" id="{3539A93D-B3F9-2041-81A6-6E5CF6DC00C5}"/>
                </a:ext>
              </a:extLst>
            </p:cNvPr>
            <p:cNvSpPr>
              <a:spLocks noChangeArrowheads="1"/>
            </p:cNvSpPr>
            <p:nvPr/>
          </p:nvSpPr>
          <p:spPr bwMode="auto">
            <a:xfrm>
              <a:off x="9346021" y="4935726"/>
              <a:ext cx="3296788" cy="1960491"/>
            </a:xfrm>
            <a:custGeom>
              <a:avLst/>
              <a:gdLst>
                <a:gd name="connsiteX0" fmla="*/ 883514 w 3296788"/>
                <a:gd name="connsiteY0" fmla="*/ 1817173 h 1960491"/>
                <a:gd name="connsiteX1" fmla="*/ 899862 w 3296788"/>
                <a:gd name="connsiteY1" fmla="*/ 1820927 h 1960491"/>
                <a:gd name="connsiteX2" fmla="*/ 986398 w 3296788"/>
                <a:gd name="connsiteY2" fmla="*/ 1869893 h 1960491"/>
                <a:gd name="connsiteX3" fmla="*/ 986398 w 3296788"/>
                <a:gd name="connsiteY3" fmla="*/ 1901883 h 1960491"/>
                <a:gd name="connsiteX4" fmla="*/ 893355 w 3296788"/>
                <a:gd name="connsiteY4" fmla="*/ 1955419 h 1960491"/>
                <a:gd name="connsiteX5" fmla="*/ 860172 w 3296788"/>
                <a:gd name="connsiteY5" fmla="*/ 1956724 h 1960491"/>
                <a:gd name="connsiteX6" fmla="*/ 775588 w 3296788"/>
                <a:gd name="connsiteY6" fmla="*/ 1908412 h 1960491"/>
                <a:gd name="connsiteX7" fmla="*/ 775588 w 3296788"/>
                <a:gd name="connsiteY7" fmla="*/ 1876421 h 1960491"/>
                <a:gd name="connsiteX8" fmla="*/ 866679 w 3296788"/>
                <a:gd name="connsiteY8" fmla="*/ 1822233 h 1960491"/>
                <a:gd name="connsiteX9" fmla="*/ 883514 w 3296788"/>
                <a:gd name="connsiteY9" fmla="*/ 1817173 h 1960491"/>
                <a:gd name="connsiteX10" fmla="*/ 1076253 w 3296788"/>
                <a:gd name="connsiteY10" fmla="*/ 1705153 h 1960491"/>
                <a:gd name="connsiteX11" fmla="*/ 1092844 w 3296788"/>
                <a:gd name="connsiteY11" fmla="*/ 1709197 h 1960491"/>
                <a:gd name="connsiteX12" fmla="*/ 1179380 w 3296788"/>
                <a:gd name="connsiteY12" fmla="*/ 1757084 h 1960491"/>
                <a:gd name="connsiteX13" fmla="*/ 1178729 w 3296788"/>
                <a:gd name="connsiteY13" fmla="*/ 1788145 h 1960491"/>
                <a:gd name="connsiteX14" fmla="*/ 1086337 w 3296788"/>
                <a:gd name="connsiteY14" fmla="*/ 1843150 h 1960491"/>
                <a:gd name="connsiteX15" fmla="*/ 1053154 w 3296788"/>
                <a:gd name="connsiteY15" fmla="*/ 1843150 h 1960491"/>
                <a:gd name="connsiteX16" fmla="*/ 968570 w 3296788"/>
                <a:gd name="connsiteY16" fmla="*/ 1795264 h 1960491"/>
                <a:gd name="connsiteX17" fmla="*/ 968570 w 3296788"/>
                <a:gd name="connsiteY17" fmla="*/ 1763555 h 1960491"/>
                <a:gd name="connsiteX18" fmla="*/ 1059661 w 3296788"/>
                <a:gd name="connsiteY18" fmla="*/ 1709844 h 1960491"/>
                <a:gd name="connsiteX19" fmla="*/ 1076253 w 3296788"/>
                <a:gd name="connsiteY19" fmla="*/ 1705153 h 1960491"/>
                <a:gd name="connsiteX20" fmla="*/ 693747 w 3296788"/>
                <a:gd name="connsiteY20" fmla="*/ 1699148 h 1960491"/>
                <a:gd name="connsiteX21" fmla="*/ 710139 w 3296788"/>
                <a:gd name="connsiteY21" fmla="*/ 1703435 h 1960491"/>
                <a:gd name="connsiteX22" fmla="*/ 796915 w 3296788"/>
                <a:gd name="connsiteY22" fmla="*/ 1751969 h 1960491"/>
                <a:gd name="connsiteX23" fmla="*/ 796262 w 3296788"/>
                <a:gd name="connsiteY23" fmla="*/ 1783030 h 1960491"/>
                <a:gd name="connsiteX24" fmla="*/ 703615 w 3296788"/>
                <a:gd name="connsiteY24" fmla="*/ 1837388 h 1960491"/>
                <a:gd name="connsiteX25" fmla="*/ 670340 w 3296788"/>
                <a:gd name="connsiteY25" fmla="*/ 1838035 h 1960491"/>
                <a:gd name="connsiteX26" fmla="*/ 584870 w 3296788"/>
                <a:gd name="connsiteY26" fmla="*/ 1789502 h 1960491"/>
                <a:gd name="connsiteX27" fmla="*/ 584870 w 3296788"/>
                <a:gd name="connsiteY27" fmla="*/ 1758440 h 1960491"/>
                <a:gd name="connsiteX28" fmla="*/ 676865 w 3296788"/>
                <a:gd name="connsiteY28" fmla="*/ 1704082 h 1960491"/>
                <a:gd name="connsiteX29" fmla="*/ 693747 w 3296788"/>
                <a:gd name="connsiteY29" fmla="*/ 1699148 h 1960491"/>
                <a:gd name="connsiteX30" fmla="*/ 1266684 w 3296788"/>
                <a:gd name="connsiteY30" fmla="*/ 1589704 h 1960491"/>
                <a:gd name="connsiteX31" fmla="*/ 1283321 w 3296788"/>
                <a:gd name="connsiteY31" fmla="*/ 1594010 h 1960491"/>
                <a:gd name="connsiteX32" fmla="*/ 1370097 w 3296788"/>
                <a:gd name="connsiteY32" fmla="*/ 1642108 h 1960491"/>
                <a:gd name="connsiteX33" fmla="*/ 1369444 w 3296788"/>
                <a:gd name="connsiteY33" fmla="*/ 1673957 h 1960491"/>
                <a:gd name="connsiteX34" fmla="*/ 1276797 w 3296788"/>
                <a:gd name="connsiteY34" fmla="*/ 1728555 h 1960491"/>
                <a:gd name="connsiteX35" fmla="*/ 1242870 w 3296788"/>
                <a:gd name="connsiteY35" fmla="*/ 1729205 h 1960491"/>
                <a:gd name="connsiteX36" fmla="*/ 1158052 w 3296788"/>
                <a:gd name="connsiteY36" fmla="*/ 1680457 h 1960491"/>
                <a:gd name="connsiteX37" fmla="*/ 1158052 w 3296788"/>
                <a:gd name="connsiteY37" fmla="*/ 1649258 h 1960491"/>
                <a:gd name="connsiteX38" fmla="*/ 1250047 w 3296788"/>
                <a:gd name="connsiteY38" fmla="*/ 1594660 h 1960491"/>
                <a:gd name="connsiteX39" fmla="*/ 1266684 w 3296788"/>
                <a:gd name="connsiteY39" fmla="*/ 1589704 h 1960491"/>
                <a:gd name="connsiteX40" fmla="*/ 883514 w 3296788"/>
                <a:gd name="connsiteY40" fmla="*/ 1586662 h 1960491"/>
                <a:gd name="connsiteX41" fmla="*/ 899862 w 3296788"/>
                <a:gd name="connsiteY41" fmla="*/ 1590480 h 1960491"/>
                <a:gd name="connsiteX42" fmla="*/ 986398 w 3296788"/>
                <a:gd name="connsiteY42" fmla="*/ 1639229 h 1960491"/>
                <a:gd name="connsiteX43" fmla="*/ 986398 w 3296788"/>
                <a:gd name="connsiteY43" fmla="*/ 1670428 h 1960491"/>
                <a:gd name="connsiteX44" fmla="*/ 893355 w 3296788"/>
                <a:gd name="connsiteY44" fmla="*/ 1725026 h 1960491"/>
                <a:gd name="connsiteX45" fmla="*/ 860172 w 3296788"/>
                <a:gd name="connsiteY45" fmla="*/ 1725676 h 1960491"/>
                <a:gd name="connsiteX46" fmla="*/ 775588 w 3296788"/>
                <a:gd name="connsiteY46" fmla="*/ 1676928 h 1960491"/>
                <a:gd name="connsiteX47" fmla="*/ 775588 w 3296788"/>
                <a:gd name="connsiteY47" fmla="*/ 1645729 h 1960491"/>
                <a:gd name="connsiteX48" fmla="*/ 866679 w 3296788"/>
                <a:gd name="connsiteY48" fmla="*/ 1591130 h 1960491"/>
                <a:gd name="connsiteX49" fmla="*/ 883514 w 3296788"/>
                <a:gd name="connsiteY49" fmla="*/ 1586662 h 1960491"/>
                <a:gd name="connsiteX50" fmla="*/ 500433 w 3296788"/>
                <a:gd name="connsiteY50" fmla="*/ 1581063 h 1960491"/>
                <a:gd name="connsiteX51" fmla="*/ 516781 w 3296788"/>
                <a:gd name="connsiteY51" fmla="*/ 1585369 h 1960491"/>
                <a:gd name="connsiteX52" fmla="*/ 603317 w 3296788"/>
                <a:gd name="connsiteY52" fmla="*/ 1633468 h 1960491"/>
                <a:gd name="connsiteX53" fmla="*/ 602666 w 3296788"/>
                <a:gd name="connsiteY53" fmla="*/ 1665317 h 1960491"/>
                <a:gd name="connsiteX54" fmla="*/ 510274 w 3296788"/>
                <a:gd name="connsiteY54" fmla="*/ 1719915 h 1960491"/>
                <a:gd name="connsiteX55" fmla="*/ 477091 w 3296788"/>
                <a:gd name="connsiteY55" fmla="*/ 1719915 h 1960491"/>
                <a:gd name="connsiteX56" fmla="*/ 392507 w 3296788"/>
                <a:gd name="connsiteY56" fmla="*/ 1671817 h 1960491"/>
                <a:gd name="connsiteX57" fmla="*/ 392507 w 3296788"/>
                <a:gd name="connsiteY57" fmla="*/ 1639968 h 1960491"/>
                <a:gd name="connsiteX58" fmla="*/ 483598 w 3296788"/>
                <a:gd name="connsiteY58" fmla="*/ 1586019 h 1960491"/>
                <a:gd name="connsiteX59" fmla="*/ 500433 w 3296788"/>
                <a:gd name="connsiteY59" fmla="*/ 1581063 h 1960491"/>
                <a:gd name="connsiteX60" fmla="*/ 1076251 w 3296788"/>
                <a:gd name="connsiteY60" fmla="*/ 1471929 h 1960491"/>
                <a:gd name="connsiteX61" fmla="*/ 1092842 w 3296788"/>
                <a:gd name="connsiteY61" fmla="*/ 1476539 h 1960491"/>
                <a:gd name="connsiteX62" fmla="*/ 1179378 w 3296788"/>
                <a:gd name="connsiteY62" fmla="*/ 1524426 h 1960491"/>
                <a:gd name="connsiteX63" fmla="*/ 1178727 w 3296788"/>
                <a:gd name="connsiteY63" fmla="*/ 1556135 h 1960491"/>
                <a:gd name="connsiteX64" fmla="*/ 1086335 w 3296788"/>
                <a:gd name="connsiteY64" fmla="*/ 1610493 h 1960491"/>
                <a:gd name="connsiteX65" fmla="*/ 1053152 w 3296788"/>
                <a:gd name="connsiteY65" fmla="*/ 1610493 h 1960491"/>
                <a:gd name="connsiteX66" fmla="*/ 968568 w 3296788"/>
                <a:gd name="connsiteY66" fmla="*/ 1562606 h 1960491"/>
                <a:gd name="connsiteX67" fmla="*/ 968568 w 3296788"/>
                <a:gd name="connsiteY67" fmla="*/ 1530897 h 1960491"/>
                <a:gd name="connsiteX68" fmla="*/ 1059659 w 3296788"/>
                <a:gd name="connsiteY68" fmla="*/ 1476539 h 1960491"/>
                <a:gd name="connsiteX69" fmla="*/ 1076251 w 3296788"/>
                <a:gd name="connsiteY69" fmla="*/ 1471929 h 1960491"/>
                <a:gd name="connsiteX70" fmla="*/ 693747 w 3296788"/>
                <a:gd name="connsiteY70" fmla="*/ 1468975 h 1960491"/>
                <a:gd name="connsiteX71" fmla="*/ 710139 w 3296788"/>
                <a:gd name="connsiteY71" fmla="*/ 1473037 h 1960491"/>
                <a:gd name="connsiteX72" fmla="*/ 796915 w 3296788"/>
                <a:gd name="connsiteY72" fmla="*/ 1521135 h 1960491"/>
                <a:gd name="connsiteX73" fmla="*/ 796262 w 3296788"/>
                <a:gd name="connsiteY73" fmla="*/ 1552984 h 1960491"/>
                <a:gd name="connsiteX74" fmla="*/ 703615 w 3296788"/>
                <a:gd name="connsiteY74" fmla="*/ 1606932 h 1960491"/>
                <a:gd name="connsiteX75" fmla="*/ 670340 w 3296788"/>
                <a:gd name="connsiteY75" fmla="*/ 1607582 h 1960491"/>
                <a:gd name="connsiteX76" fmla="*/ 584870 w 3296788"/>
                <a:gd name="connsiteY76" fmla="*/ 1559484 h 1960491"/>
                <a:gd name="connsiteX77" fmla="*/ 584870 w 3296788"/>
                <a:gd name="connsiteY77" fmla="*/ 1527635 h 1960491"/>
                <a:gd name="connsiteX78" fmla="*/ 676865 w 3296788"/>
                <a:gd name="connsiteY78" fmla="*/ 1473687 h 1960491"/>
                <a:gd name="connsiteX79" fmla="*/ 693747 w 3296788"/>
                <a:gd name="connsiteY79" fmla="*/ 1468975 h 1960491"/>
                <a:gd name="connsiteX80" fmla="*/ 307453 w 3296788"/>
                <a:gd name="connsiteY80" fmla="*/ 1463207 h 1960491"/>
                <a:gd name="connsiteX81" fmla="*/ 323801 w 3296788"/>
                <a:gd name="connsiteY81" fmla="*/ 1467251 h 1960491"/>
                <a:gd name="connsiteX82" fmla="*/ 410337 w 3296788"/>
                <a:gd name="connsiteY82" fmla="*/ 1515138 h 1960491"/>
                <a:gd name="connsiteX83" fmla="*/ 410337 w 3296788"/>
                <a:gd name="connsiteY83" fmla="*/ 1546846 h 1960491"/>
                <a:gd name="connsiteX84" fmla="*/ 317294 w 3296788"/>
                <a:gd name="connsiteY84" fmla="*/ 1601204 h 1960491"/>
                <a:gd name="connsiteX85" fmla="*/ 284111 w 3296788"/>
                <a:gd name="connsiteY85" fmla="*/ 1601204 h 1960491"/>
                <a:gd name="connsiteX86" fmla="*/ 199527 w 3296788"/>
                <a:gd name="connsiteY86" fmla="*/ 1553318 h 1960491"/>
                <a:gd name="connsiteX87" fmla="*/ 199527 w 3296788"/>
                <a:gd name="connsiteY87" fmla="*/ 1521609 h 1960491"/>
                <a:gd name="connsiteX88" fmla="*/ 290618 w 3296788"/>
                <a:gd name="connsiteY88" fmla="*/ 1467898 h 1960491"/>
                <a:gd name="connsiteX89" fmla="*/ 307453 w 3296788"/>
                <a:gd name="connsiteY89" fmla="*/ 1463207 h 1960491"/>
                <a:gd name="connsiteX90" fmla="*/ 1266682 w 3296788"/>
                <a:gd name="connsiteY90" fmla="*/ 1359198 h 1960491"/>
                <a:gd name="connsiteX91" fmla="*/ 1283319 w 3296788"/>
                <a:gd name="connsiteY91" fmla="*/ 1362935 h 1960491"/>
                <a:gd name="connsiteX92" fmla="*/ 1370095 w 3296788"/>
                <a:gd name="connsiteY92" fmla="*/ 1411683 h 1960491"/>
                <a:gd name="connsiteX93" fmla="*/ 1369442 w 3296788"/>
                <a:gd name="connsiteY93" fmla="*/ 1443532 h 1960491"/>
                <a:gd name="connsiteX94" fmla="*/ 1276795 w 3296788"/>
                <a:gd name="connsiteY94" fmla="*/ 1497480 h 1960491"/>
                <a:gd name="connsiteX95" fmla="*/ 1242868 w 3296788"/>
                <a:gd name="connsiteY95" fmla="*/ 1498130 h 1960491"/>
                <a:gd name="connsiteX96" fmla="*/ 1158050 w 3296788"/>
                <a:gd name="connsiteY96" fmla="*/ 1450032 h 1960491"/>
                <a:gd name="connsiteX97" fmla="*/ 1158050 w 3296788"/>
                <a:gd name="connsiteY97" fmla="*/ 1418183 h 1960491"/>
                <a:gd name="connsiteX98" fmla="*/ 1250045 w 3296788"/>
                <a:gd name="connsiteY98" fmla="*/ 1364235 h 1960491"/>
                <a:gd name="connsiteX99" fmla="*/ 1266682 w 3296788"/>
                <a:gd name="connsiteY99" fmla="*/ 1359198 h 1960491"/>
                <a:gd name="connsiteX100" fmla="*/ 117685 w 3296788"/>
                <a:gd name="connsiteY100" fmla="*/ 1356636 h 1960491"/>
                <a:gd name="connsiteX101" fmla="*/ 134077 w 3296788"/>
                <a:gd name="connsiteY101" fmla="*/ 1360680 h 1960491"/>
                <a:gd name="connsiteX102" fmla="*/ 220853 w 3296788"/>
                <a:gd name="connsiteY102" fmla="*/ 1409214 h 1960491"/>
                <a:gd name="connsiteX103" fmla="*/ 220853 w 3296788"/>
                <a:gd name="connsiteY103" fmla="*/ 1440276 h 1960491"/>
                <a:gd name="connsiteX104" fmla="*/ 127553 w 3296788"/>
                <a:gd name="connsiteY104" fmla="*/ 1494634 h 1960491"/>
                <a:gd name="connsiteX105" fmla="*/ 94278 w 3296788"/>
                <a:gd name="connsiteY105" fmla="*/ 1494634 h 1960491"/>
                <a:gd name="connsiteX106" fmla="*/ 8808 w 3296788"/>
                <a:gd name="connsiteY106" fmla="*/ 1446747 h 1960491"/>
                <a:gd name="connsiteX107" fmla="*/ 8808 w 3296788"/>
                <a:gd name="connsiteY107" fmla="*/ 1415685 h 1960491"/>
                <a:gd name="connsiteX108" fmla="*/ 100803 w 3296788"/>
                <a:gd name="connsiteY108" fmla="*/ 1361327 h 1960491"/>
                <a:gd name="connsiteX109" fmla="*/ 117685 w 3296788"/>
                <a:gd name="connsiteY109" fmla="*/ 1356636 h 1960491"/>
                <a:gd name="connsiteX110" fmla="*/ 883514 w 3296788"/>
                <a:gd name="connsiteY110" fmla="*/ 1356634 h 1960491"/>
                <a:gd name="connsiteX111" fmla="*/ 899862 w 3296788"/>
                <a:gd name="connsiteY111" fmla="*/ 1360679 h 1960491"/>
                <a:gd name="connsiteX112" fmla="*/ 986398 w 3296788"/>
                <a:gd name="connsiteY112" fmla="*/ 1409213 h 1960491"/>
                <a:gd name="connsiteX113" fmla="*/ 986398 w 3296788"/>
                <a:gd name="connsiteY113" fmla="*/ 1440274 h 1960491"/>
                <a:gd name="connsiteX114" fmla="*/ 893355 w 3296788"/>
                <a:gd name="connsiteY114" fmla="*/ 1494633 h 1960491"/>
                <a:gd name="connsiteX115" fmla="*/ 860172 w 3296788"/>
                <a:gd name="connsiteY115" fmla="*/ 1494633 h 1960491"/>
                <a:gd name="connsiteX116" fmla="*/ 775588 w 3296788"/>
                <a:gd name="connsiteY116" fmla="*/ 1446746 h 1960491"/>
                <a:gd name="connsiteX117" fmla="*/ 775588 w 3296788"/>
                <a:gd name="connsiteY117" fmla="*/ 1415684 h 1960491"/>
                <a:gd name="connsiteX118" fmla="*/ 866679 w 3296788"/>
                <a:gd name="connsiteY118" fmla="*/ 1361326 h 1960491"/>
                <a:gd name="connsiteX119" fmla="*/ 883514 w 3296788"/>
                <a:gd name="connsiteY119" fmla="*/ 1356634 h 1960491"/>
                <a:gd name="connsiteX120" fmla="*/ 500432 w 3296788"/>
                <a:gd name="connsiteY120" fmla="*/ 1350483 h 1960491"/>
                <a:gd name="connsiteX121" fmla="*/ 516780 w 3296788"/>
                <a:gd name="connsiteY121" fmla="*/ 1354319 h 1960491"/>
                <a:gd name="connsiteX122" fmla="*/ 603316 w 3296788"/>
                <a:gd name="connsiteY122" fmla="*/ 1402631 h 1960491"/>
                <a:gd name="connsiteX123" fmla="*/ 602665 w 3296788"/>
                <a:gd name="connsiteY123" fmla="*/ 1434622 h 1960491"/>
                <a:gd name="connsiteX124" fmla="*/ 510273 w 3296788"/>
                <a:gd name="connsiteY124" fmla="*/ 1489464 h 1960491"/>
                <a:gd name="connsiteX125" fmla="*/ 477090 w 3296788"/>
                <a:gd name="connsiteY125" fmla="*/ 1490116 h 1960491"/>
                <a:gd name="connsiteX126" fmla="*/ 392506 w 3296788"/>
                <a:gd name="connsiteY126" fmla="*/ 1441151 h 1960491"/>
                <a:gd name="connsiteX127" fmla="*/ 392506 w 3296788"/>
                <a:gd name="connsiteY127" fmla="*/ 1409813 h 1960491"/>
                <a:gd name="connsiteX128" fmla="*/ 483597 w 3296788"/>
                <a:gd name="connsiteY128" fmla="*/ 1354972 h 1960491"/>
                <a:gd name="connsiteX129" fmla="*/ 500432 w 3296788"/>
                <a:gd name="connsiteY129" fmla="*/ 1350483 h 1960491"/>
                <a:gd name="connsiteX130" fmla="*/ 1459575 w 3296788"/>
                <a:gd name="connsiteY130" fmla="*/ 1247184 h 1960491"/>
                <a:gd name="connsiteX131" fmla="*/ 1475923 w 3296788"/>
                <a:gd name="connsiteY131" fmla="*/ 1251228 h 1960491"/>
                <a:gd name="connsiteX132" fmla="*/ 1562459 w 3296788"/>
                <a:gd name="connsiteY132" fmla="*/ 1299762 h 1960491"/>
                <a:gd name="connsiteX133" fmla="*/ 1562459 w 3296788"/>
                <a:gd name="connsiteY133" fmla="*/ 1330824 h 1960491"/>
                <a:gd name="connsiteX134" fmla="*/ 1469416 w 3296788"/>
                <a:gd name="connsiteY134" fmla="*/ 1385182 h 1960491"/>
                <a:gd name="connsiteX135" fmla="*/ 1436233 w 3296788"/>
                <a:gd name="connsiteY135" fmla="*/ 1385182 h 1960491"/>
                <a:gd name="connsiteX136" fmla="*/ 1351649 w 3296788"/>
                <a:gd name="connsiteY136" fmla="*/ 1336648 h 1960491"/>
                <a:gd name="connsiteX137" fmla="*/ 1351649 w 3296788"/>
                <a:gd name="connsiteY137" fmla="*/ 1305586 h 1960491"/>
                <a:gd name="connsiteX138" fmla="*/ 1442740 w 3296788"/>
                <a:gd name="connsiteY138" fmla="*/ 1251875 h 1960491"/>
                <a:gd name="connsiteX139" fmla="*/ 1459575 w 3296788"/>
                <a:gd name="connsiteY139" fmla="*/ 1247184 h 1960491"/>
                <a:gd name="connsiteX140" fmla="*/ 307452 w 3296788"/>
                <a:gd name="connsiteY140" fmla="*/ 1241188 h 1960491"/>
                <a:gd name="connsiteX141" fmla="*/ 323800 w 3296788"/>
                <a:gd name="connsiteY141" fmla="*/ 1245494 h 1960491"/>
                <a:gd name="connsiteX142" fmla="*/ 410336 w 3296788"/>
                <a:gd name="connsiteY142" fmla="*/ 1293592 h 1960491"/>
                <a:gd name="connsiteX143" fmla="*/ 410336 w 3296788"/>
                <a:gd name="connsiteY143" fmla="*/ 1325441 h 1960491"/>
                <a:gd name="connsiteX144" fmla="*/ 317293 w 3296788"/>
                <a:gd name="connsiteY144" fmla="*/ 1380040 h 1960491"/>
                <a:gd name="connsiteX145" fmla="*/ 284110 w 3296788"/>
                <a:gd name="connsiteY145" fmla="*/ 1380690 h 1960491"/>
                <a:gd name="connsiteX146" fmla="*/ 199526 w 3296788"/>
                <a:gd name="connsiteY146" fmla="*/ 1331941 h 1960491"/>
                <a:gd name="connsiteX147" fmla="*/ 199526 w 3296788"/>
                <a:gd name="connsiteY147" fmla="*/ 1300742 h 1960491"/>
                <a:gd name="connsiteX148" fmla="*/ 290617 w 3296788"/>
                <a:gd name="connsiteY148" fmla="*/ 1246144 h 1960491"/>
                <a:gd name="connsiteX149" fmla="*/ 307452 w 3296788"/>
                <a:gd name="connsiteY149" fmla="*/ 1241188 h 1960491"/>
                <a:gd name="connsiteX150" fmla="*/ 1076251 w 3296788"/>
                <a:gd name="connsiteY150" fmla="*/ 1241187 h 1960491"/>
                <a:gd name="connsiteX151" fmla="*/ 1092842 w 3296788"/>
                <a:gd name="connsiteY151" fmla="*/ 1245493 h 1960491"/>
                <a:gd name="connsiteX152" fmla="*/ 1179378 w 3296788"/>
                <a:gd name="connsiteY152" fmla="*/ 1293591 h 1960491"/>
                <a:gd name="connsiteX153" fmla="*/ 1178727 w 3296788"/>
                <a:gd name="connsiteY153" fmla="*/ 1325440 h 1960491"/>
                <a:gd name="connsiteX154" fmla="*/ 1086335 w 3296788"/>
                <a:gd name="connsiteY154" fmla="*/ 1380039 h 1960491"/>
                <a:gd name="connsiteX155" fmla="*/ 1053152 w 3296788"/>
                <a:gd name="connsiteY155" fmla="*/ 1380689 h 1960491"/>
                <a:gd name="connsiteX156" fmla="*/ 968568 w 3296788"/>
                <a:gd name="connsiteY156" fmla="*/ 1331940 h 1960491"/>
                <a:gd name="connsiteX157" fmla="*/ 968568 w 3296788"/>
                <a:gd name="connsiteY157" fmla="*/ 1300741 h 1960491"/>
                <a:gd name="connsiteX158" fmla="*/ 1059659 w 3296788"/>
                <a:gd name="connsiteY158" fmla="*/ 1246143 h 1960491"/>
                <a:gd name="connsiteX159" fmla="*/ 1076251 w 3296788"/>
                <a:gd name="connsiteY159" fmla="*/ 1241187 h 1960491"/>
                <a:gd name="connsiteX160" fmla="*/ 693746 w 3296788"/>
                <a:gd name="connsiteY160" fmla="*/ 1238226 h 1960491"/>
                <a:gd name="connsiteX161" fmla="*/ 710138 w 3296788"/>
                <a:gd name="connsiteY161" fmla="*/ 1242614 h 1960491"/>
                <a:gd name="connsiteX162" fmla="*/ 796914 w 3296788"/>
                <a:gd name="connsiteY162" fmla="*/ 1290712 h 1960491"/>
                <a:gd name="connsiteX163" fmla="*/ 796261 w 3296788"/>
                <a:gd name="connsiteY163" fmla="*/ 1321911 h 1960491"/>
                <a:gd name="connsiteX164" fmla="*/ 703614 w 3296788"/>
                <a:gd name="connsiteY164" fmla="*/ 1376509 h 1960491"/>
                <a:gd name="connsiteX165" fmla="*/ 670339 w 3296788"/>
                <a:gd name="connsiteY165" fmla="*/ 1377159 h 1960491"/>
                <a:gd name="connsiteX166" fmla="*/ 584869 w 3296788"/>
                <a:gd name="connsiteY166" fmla="*/ 1328411 h 1960491"/>
                <a:gd name="connsiteX167" fmla="*/ 584869 w 3296788"/>
                <a:gd name="connsiteY167" fmla="*/ 1297212 h 1960491"/>
                <a:gd name="connsiteX168" fmla="*/ 676864 w 3296788"/>
                <a:gd name="connsiteY168" fmla="*/ 1242614 h 1960491"/>
                <a:gd name="connsiteX169" fmla="*/ 693746 w 3296788"/>
                <a:gd name="connsiteY169" fmla="*/ 1238226 h 1960491"/>
                <a:gd name="connsiteX170" fmla="*/ 1649432 w 3296788"/>
                <a:gd name="connsiteY170" fmla="*/ 1134616 h 1960491"/>
                <a:gd name="connsiteX171" fmla="*/ 1666023 w 3296788"/>
                <a:gd name="connsiteY171" fmla="*/ 1138922 h 1960491"/>
                <a:gd name="connsiteX172" fmla="*/ 1752559 w 3296788"/>
                <a:gd name="connsiteY172" fmla="*/ 1187020 h 1960491"/>
                <a:gd name="connsiteX173" fmla="*/ 1751908 w 3296788"/>
                <a:gd name="connsiteY173" fmla="*/ 1218869 h 1960491"/>
                <a:gd name="connsiteX174" fmla="*/ 1659516 w 3296788"/>
                <a:gd name="connsiteY174" fmla="*/ 1273467 h 1960491"/>
                <a:gd name="connsiteX175" fmla="*/ 1625683 w 3296788"/>
                <a:gd name="connsiteY175" fmla="*/ 1274117 h 1960491"/>
                <a:gd name="connsiteX176" fmla="*/ 1541749 w 3296788"/>
                <a:gd name="connsiteY176" fmla="*/ 1225369 h 1960491"/>
                <a:gd name="connsiteX177" fmla="*/ 1541749 w 3296788"/>
                <a:gd name="connsiteY177" fmla="*/ 1194170 h 1960491"/>
                <a:gd name="connsiteX178" fmla="*/ 1632840 w 3296788"/>
                <a:gd name="connsiteY178" fmla="*/ 1139572 h 1960491"/>
                <a:gd name="connsiteX179" fmla="*/ 1649432 w 3296788"/>
                <a:gd name="connsiteY179" fmla="*/ 1134616 h 1960491"/>
                <a:gd name="connsiteX180" fmla="*/ 500431 w 3296788"/>
                <a:gd name="connsiteY180" fmla="*/ 1128774 h 1960491"/>
                <a:gd name="connsiteX181" fmla="*/ 516779 w 3296788"/>
                <a:gd name="connsiteY181" fmla="*/ 1133162 h 1960491"/>
                <a:gd name="connsiteX182" fmla="*/ 603315 w 3296788"/>
                <a:gd name="connsiteY182" fmla="*/ 1181260 h 1960491"/>
                <a:gd name="connsiteX183" fmla="*/ 602664 w 3296788"/>
                <a:gd name="connsiteY183" fmla="*/ 1212459 h 1960491"/>
                <a:gd name="connsiteX184" fmla="*/ 510272 w 3296788"/>
                <a:gd name="connsiteY184" fmla="*/ 1267057 h 1960491"/>
                <a:gd name="connsiteX185" fmla="*/ 477089 w 3296788"/>
                <a:gd name="connsiteY185" fmla="*/ 1267707 h 1960491"/>
                <a:gd name="connsiteX186" fmla="*/ 392505 w 3296788"/>
                <a:gd name="connsiteY186" fmla="*/ 1218959 h 1960491"/>
                <a:gd name="connsiteX187" fmla="*/ 392505 w 3296788"/>
                <a:gd name="connsiteY187" fmla="*/ 1187760 h 1960491"/>
                <a:gd name="connsiteX188" fmla="*/ 483596 w 3296788"/>
                <a:gd name="connsiteY188" fmla="*/ 1133162 h 1960491"/>
                <a:gd name="connsiteX189" fmla="*/ 500431 w 3296788"/>
                <a:gd name="connsiteY189" fmla="*/ 1128774 h 1960491"/>
                <a:gd name="connsiteX190" fmla="*/ 1266682 w 3296788"/>
                <a:gd name="connsiteY190" fmla="*/ 1128773 h 1960491"/>
                <a:gd name="connsiteX191" fmla="*/ 1283319 w 3296788"/>
                <a:gd name="connsiteY191" fmla="*/ 1133161 h 1960491"/>
                <a:gd name="connsiteX192" fmla="*/ 1370095 w 3296788"/>
                <a:gd name="connsiteY192" fmla="*/ 1181259 h 1960491"/>
                <a:gd name="connsiteX193" fmla="*/ 1369442 w 3296788"/>
                <a:gd name="connsiteY193" fmla="*/ 1212458 h 1960491"/>
                <a:gd name="connsiteX194" fmla="*/ 1276795 w 3296788"/>
                <a:gd name="connsiteY194" fmla="*/ 1267056 h 1960491"/>
                <a:gd name="connsiteX195" fmla="*/ 1242868 w 3296788"/>
                <a:gd name="connsiteY195" fmla="*/ 1267706 h 1960491"/>
                <a:gd name="connsiteX196" fmla="*/ 1158050 w 3296788"/>
                <a:gd name="connsiteY196" fmla="*/ 1218958 h 1960491"/>
                <a:gd name="connsiteX197" fmla="*/ 1158050 w 3296788"/>
                <a:gd name="connsiteY197" fmla="*/ 1187759 h 1960491"/>
                <a:gd name="connsiteX198" fmla="*/ 1250045 w 3296788"/>
                <a:gd name="connsiteY198" fmla="*/ 1133161 h 1960491"/>
                <a:gd name="connsiteX199" fmla="*/ 1266682 w 3296788"/>
                <a:gd name="connsiteY199" fmla="*/ 1128773 h 1960491"/>
                <a:gd name="connsiteX200" fmla="*/ 883513 w 3296788"/>
                <a:gd name="connsiteY200" fmla="*/ 1125894 h 1960491"/>
                <a:gd name="connsiteX201" fmla="*/ 899861 w 3296788"/>
                <a:gd name="connsiteY201" fmla="*/ 1129632 h 1960491"/>
                <a:gd name="connsiteX202" fmla="*/ 986397 w 3296788"/>
                <a:gd name="connsiteY202" fmla="*/ 1178380 h 1960491"/>
                <a:gd name="connsiteX203" fmla="*/ 986397 w 3296788"/>
                <a:gd name="connsiteY203" fmla="*/ 1210229 h 1960491"/>
                <a:gd name="connsiteX204" fmla="*/ 893354 w 3296788"/>
                <a:gd name="connsiteY204" fmla="*/ 1264828 h 1960491"/>
                <a:gd name="connsiteX205" fmla="*/ 860171 w 3296788"/>
                <a:gd name="connsiteY205" fmla="*/ 1264828 h 1960491"/>
                <a:gd name="connsiteX206" fmla="*/ 775587 w 3296788"/>
                <a:gd name="connsiteY206" fmla="*/ 1216729 h 1960491"/>
                <a:gd name="connsiteX207" fmla="*/ 775587 w 3296788"/>
                <a:gd name="connsiteY207" fmla="*/ 1184880 h 1960491"/>
                <a:gd name="connsiteX208" fmla="*/ 866678 w 3296788"/>
                <a:gd name="connsiteY208" fmla="*/ 1130932 h 1960491"/>
                <a:gd name="connsiteX209" fmla="*/ 883513 w 3296788"/>
                <a:gd name="connsiteY209" fmla="*/ 1125894 h 1960491"/>
                <a:gd name="connsiteX210" fmla="*/ 1842422 w 3296788"/>
                <a:gd name="connsiteY210" fmla="*/ 1022122 h 1960491"/>
                <a:gd name="connsiteX211" fmla="*/ 1859105 w 3296788"/>
                <a:gd name="connsiteY211" fmla="*/ 1025940 h 1960491"/>
                <a:gd name="connsiteX212" fmla="*/ 1946120 w 3296788"/>
                <a:gd name="connsiteY212" fmla="*/ 1074039 h 1960491"/>
                <a:gd name="connsiteX213" fmla="*/ 1945466 w 3296788"/>
                <a:gd name="connsiteY213" fmla="*/ 1105888 h 1960491"/>
                <a:gd name="connsiteX214" fmla="*/ 1852562 w 3296788"/>
                <a:gd name="connsiteY214" fmla="*/ 1160486 h 1960491"/>
                <a:gd name="connsiteX215" fmla="*/ 1818541 w 3296788"/>
                <a:gd name="connsiteY215" fmla="*/ 1161136 h 1960491"/>
                <a:gd name="connsiteX216" fmla="*/ 1734143 w 3296788"/>
                <a:gd name="connsiteY216" fmla="*/ 1112388 h 1960491"/>
                <a:gd name="connsiteX217" fmla="*/ 1734143 w 3296788"/>
                <a:gd name="connsiteY217" fmla="*/ 1081189 h 1960491"/>
                <a:gd name="connsiteX218" fmla="*/ 1825738 w 3296788"/>
                <a:gd name="connsiteY218" fmla="*/ 1026590 h 1960491"/>
                <a:gd name="connsiteX219" fmla="*/ 1842422 w 3296788"/>
                <a:gd name="connsiteY219" fmla="*/ 1022122 h 1960491"/>
                <a:gd name="connsiteX220" fmla="*/ 693745 w 3296788"/>
                <a:gd name="connsiteY220" fmla="*/ 1016760 h 1960491"/>
                <a:gd name="connsiteX221" fmla="*/ 710137 w 3296788"/>
                <a:gd name="connsiteY221" fmla="*/ 1020805 h 1960491"/>
                <a:gd name="connsiteX222" fmla="*/ 796913 w 3296788"/>
                <a:gd name="connsiteY222" fmla="*/ 1069339 h 1960491"/>
                <a:gd name="connsiteX223" fmla="*/ 796260 w 3296788"/>
                <a:gd name="connsiteY223" fmla="*/ 1101048 h 1960491"/>
                <a:gd name="connsiteX224" fmla="*/ 703613 w 3296788"/>
                <a:gd name="connsiteY224" fmla="*/ 1154758 h 1960491"/>
                <a:gd name="connsiteX225" fmla="*/ 670338 w 3296788"/>
                <a:gd name="connsiteY225" fmla="*/ 1155406 h 1960491"/>
                <a:gd name="connsiteX226" fmla="*/ 584868 w 3296788"/>
                <a:gd name="connsiteY226" fmla="*/ 1107519 h 1960491"/>
                <a:gd name="connsiteX227" fmla="*/ 584868 w 3296788"/>
                <a:gd name="connsiteY227" fmla="*/ 1075810 h 1960491"/>
                <a:gd name="connsiteX228" fmla="*/ 676863 w 3296788"/>
                <a:gd name="connsiteY228" fmla="*/ 1021452 h 1960491"/>
                <a:gd name="connsiteX229" fmla="*/ 693745 w 3296788"/>
                <a:gd name="connsiteY229" fmla="*/ 1016760 h 1960491"/>
                <a:gd name="connsiteX230" fmla="*/ 1459575 w 3296788"/>
                <a:gd name="connsiteY230" fmla="*/ 1016759 h 1960491"/>
                <a:gd name="connsiteX231" fmla="*/ 1475923 w 3296788"/>
                <a:gd name="connsiteY231" fmla="*/ 1020804 h 1960491"/>
                <a:gd name="connsiteX232" fmla="*/ 1562459 w 3296788"/>
                <a:gd name="connsiteY232" fmla="*/ 1069338 h 1960491"/>
                <a:gd name="connsiteX233" fmla="*/ 1562459 w 3296788"/>
                <a:gd name="connsiteY233" fmla="*/ 1101047 h 1960491"/>
                <a:gd name="connsiteX234" fmla="*/ 1469416 w 3296788"/>
                <a:gd name="connsiteY234" fmla="*/ 1154757 h 1960491"/>
                <a:gd name="connsiteX235" fmla="*/ 1436233 w 3296788"/>
                <a:gd name="connsiteY235" fmla="*/ 1155405 h 1960491"/>
                <a:gd name="connsiteX236" fmla="*/ 1351649 w 3296788"/>
                <a:gd name="connsiteY236" fmla="*/ 1107518 h 1960491"/>
                <a:gd name="connsiteX237" fmla="*/ 1351649 w 3296788"/>
                <a:gd name="connsiteY237" fmla="*/ 1075809 h 1960491"/>
                <a:gd name="connsiteX238" fmla="*/ 1442740 w 3296788"/>
                <a:gd name="connsiteY238" fmla="*/ 1021451 h 1960491"/>
                <a:gd name="connsiteX239" fmla="*/ 1459575 w 3296788"/>
                <a:gd name="connsiteY239" fmla="*/ 1016759 h 1960491"/>
                <a:gd name="connsiteX240" fmla="*/ 1076249 w 3296788"/>
                <a:gd name="connsiteY240" fmla="*/ 1011007 h 1960491"/>
                <a:gd name="connsiteX241" fmla="*/ 1092841 w 3296788"/>
                <a:gd name="connsiteY241" fmla="*/ 1015070 h 1960491"/>
                <a:gd name="connsiteX242" fmla="*/ 1179377 w 3296788"/>
                <a:gd name="connsiteY242" fmla="*/ 1063168 h 1960491"/>
                <a:gd name="connsiteX243" fmla="*/ 1178726 w 3296788"/>
                <a:gd name="connsiteY243" fmla="*/ 1095017 h 1960491"/>
                <a:gd name="connsiteX244" fmla="*/ 1086334 w 3296788"/>
                <a:gd name="connsiteY244" fmla="*/ 1148966 h 1960491"/>
                <a:gd name="connsiteX245" fmla="*/ 1053151 w 3296788"/>
                <a:gd name="connsiteY245" fmla="*/ 1149616 h 1960491"/>
                <a:gd name="connsiteX246" fmla="*/ 968567 w 3296788"/>
                <a:gd name="connsiteY246" fmla="*/ 1101517 h 1960491"/>
                <a:gd name="connsiteX247" fmla="*/ 968567 w 3296788"/>
                <a:gd name="connsiteY247" fmla="*/ 1069668 h 1960491"/>
                <a:gd name="connsiteX248" fmla="*/ 1059658 w 3296788"/>
                <a:gd name="connsiteY248" fmla="*/ 1015720 h 1960491"/>
                <a:gd name="connsiteX249" fmla="*/ 1076249 w 3296788"/>
                <a:gd name="connsiteY249" fmla="*/ 1011007 h 1960491"/>
                <a:gd name="connsiteX250" fmla="*/ 2450028 w 3296788"/>
                <a:gd name="connsiteY250" fmla="*/ 912842 h 1960491"/>
                <a:gd name="connsiteX251" fmla="*/ 2466428 w 3296788"/>
                <a:gd name="connsiteY251" fmla="*/ 917178 h 1960491"/>
                <a:gd name="connsiteX252" fmla="*/ 2553241 w 3296788"/>
                <a:gd name="connsiteY252" fmla="*/ 965601 h 1960491"/>
                <a:gd name="connsiteX253" fmla="*/ 2552588 w 3296788"/>
                <a:gd name="connsiteY253" fmla="*/ 997666 h 1960491"/>
                <a:gd name="connsiteX254" fmla="*/ 1475592 w 3296788"/>
                <a:gd name="connsiteY254" fmla="*/ 1621286 h 1960491"/>
                <a:gd name="connsiteX255" fmla="*/ 1442303 w 3296788"/>
                <a:gd name="connsiteY255" fmla="*/ 1621940 h 1960491"/>
                <a:gd name="connsiteX256" fmla="*/ 1357449 w 3296788"/>
                <a:gd name="connsiteY256" fmla="*/ 1573517 h 1960491"/>
                <a:gd name="connsiteX257" fmla="*/ 1357449 w 3296788"/>
                <a:gd name="connsiteY257" fmla="*/ 1541452 h 1960491"/>
                <a:gd name="connsiteX258" fmla="*/ 2433139 w 3296788"/>
                <a:gd name="connsiteY258" fmla="*/ 917832 h 1960491"/>
                <a:gd name="connsiteX259" fmla="*/ 2450028 w 3296788"/>
                <a:gd name="connsiteY259" fmla="*/ 912842 h 1960491"/>
                <a:gd name="connsiteX260" fmla="*/ 2032754 w 3296788"/>
                <a:gd name="connsiteY260" fmla="*/ 907308 h 1960491"/>
                <a:gd name="connsiteX261" fmla="*/ 2049102 w 3296788"/>
                <a:gd name="connsiteY261" fmla="*/ 911352 h 1960491"/>
                <a:gd name="connsiteX262" fmla="*/ 2135638 w 3296788"/>
                <a:gd name="connsiteY262" fmla="*/ 959886 h 1960491"/>
                <a:gd name="connsiteX263" fmla="*/ 2135638 w 3296788"/>
                <a:gd name="connsiteY263" fmla="*/ 991595 h 1960491"/>
                <a:gd name="connsiteX264" fmla="*/ 2042595 w 3296788"/>
                <a:gd name="connsiteY264" fmla="*/ 1045306 h 1960491"/>
                <a:gd name="connsiteX265" fmla="*/ 2009412 w 3296788"/>
                <a:gd name="connsiteY265" fmla="*/ 1045953 h 1960491"/>
                <a:gd name="connsiteX266" fmla="*/ 1924828 w 3296788"/>
                <a:gd name="connsiteY266" fmla="*/ 998066 h 1960491"/>
                <a:gd name="connsiteX267" fmla="*/ 1924828 w 3296788"/>
                <a:gd name="connsiteY267" fmla="*/ 966357 h 1960491"/>
                <a:gd name="connsiteX268" fmla="*/ 2015919 w 3296788"/>
                <a:gd name="connsiteY268" fmla="*/ 911999 h 1960491"/>
                <a:gd name="connsiteX269" fmla="*/ 2032754 w 3296788"/>
                <a:gd name="connsiteY269" fmla="*/ 907308 h 1960491"/>
                <a:gd name="connsiteX270" fmla="*/ 883512 w 3296788"/>
                <a:gd name="connsiteY270" fmla="*/ 904111 h 1960491"/>
                <a:gd name="connsiteX271" fmla="*/ 899860 w 3296788"/>
                <a:gd name="connsiteY271" fmla="*/ 907849 h 1960491"/>
                <a:gd name="connsiteX272" fmla="*/ 986396 w 3296788"/>
                <a:gd name="connsiteY272" fmla="*/ 956597 h 1960491"/>
                <a:gd name="connsiteX273" fmla="*/ 986396 w 3296788"/>
                <a:gd name="connsiteY273" fmla="*/ 987796 h 1960491"/>
                <a:gd name="connsiteX274" fmla="*/ 893353 w 3296788"/>
                <a:gd name="connsiteY274" fmla="*/ 1042394 h 1960491"/>
                <a:gd name="connsiteX275" fmla="*/ 860170 w 3296788"/>
                <a:gd name="connsiteY275" fmla="*/ 1043044 h 1960491"/>
                <a:gd name="connsiteX276" fmla="*/ 775586 w 3296788"/>
                <a:gd name="connsiteY276" fmla="*/ 994946 h 1960491"/>
                <a:gd name="connsiteX277" fmla="*/ 775586 w 3296788"/>
                <a:gd name="connsiteY277" fmla="*/ 963097 h 1960491"/>
                <a:gd name="connsiteX278" fmla="*/ 866677 w 3296788"/>
                <a:gd name="connsiteY278" fmla="*/ 909149 h 1960491"/>
                <a:gd name="connsiteX279" fmla="*/ 883512 w 3296788"/>
                <a:gd name="connsiteY279" fmla="*/ 904111 h 1960491"/>
                <a:gd name="connsiteX280" fmla="*/ 1649432 w 3296788"/>
                <a:gd name="connsiteY280" fmla="*/ 904110 h 1960491"/>
                <a:gd name="connsiteX281" fmla="*/ 1666023 w 3296788"/>
                <a:gd name="connsiteY281" fmla="*/ 907848 h 1960491"/>
                <a:gd name="connsiteX282" fmla="*/ 1752559 w 3296788"/>
                <a:gd name="connsiteY282" fmla="*/ 956596 h 1960491"/>
                <a:gd name="connsiteX283" fmla="*/ 1751908 w 3296788"/>
                <a:gd name="connsiteY283" fmla="*/ 987795 h 1960491"/>
                <a:gd name="connsiteX284" fmla="*/ 1659516 w 3296788"/>
                <a:gd name="connsiteY284" fmla="*/ 1042393 h 1960491"/>
                <a:gd name="connsiteX285" fmla="*/ 1625683 w 3296788"/>
                <a:gd name="connsiteY285" fmla="*/ 1043043 h 1960491"/>
                <a:gd name="connsiteX286" fmla="*/ 1541749 w 3296788"/>
                <a:gd name="connsiteY286" fmla="*/ 994945 h 1960491"/>
                <a:gd name="connsiteX287" fmla="*/ 1541749 w 3296788"/>
                <a:gd name="connsiteY287" fmla="*/ 963096 h 1960491"/>
                <a:gd name="connsiteX288" fmla="*/ 1632840 w 3296788"/>
                <a:gd name="connsiteY288" fmla="*/ 909148 h 1960491"/>
                <a:gd name="connsiteX289" fmla="*/ 1649432 w 3296788"/>
                <a:gd name="connsiteY289" fmla="*/ 904110 h 1960491"/>
                <a:gd name="connsiteX290" fmla="*/ 1266681 w 3296788"/>
                <a:gd name="connsiteY290" fmla="*/ 898432 h 1960491"/>
                <a:gd name="connsiteX291" fmla="*/ 1283318 w 3296788"/>
                <a:gd name="connsiteY291" fmla="*/ 902738 h 1960491"/>
                <a:gd name="connsiteX292" fmla="*/ 1370094 w 3296788"/>
                <a:gd name="connsiteY292" fmla="*/ 950836 h 1960491"/>
                <a:gd name="connsiteX293" fmla="*/ 1369441 w 3296788"/>
                <a:gd name="connsiteY293" fmla="*/ 982685 h 1960491"/>
                <a:gd name="connsiteX294" fmla="*/ 1276794 w 3296788"/>
                <a:gd name="connsiteY294" fmla="*/ 1037283 h 1960491"/>
                <a:gd name="connsiteX295" fmla="*/ 1242867 w 3296788"/>
                <a:gd name="connsiteY295" fmla="*/ 1037283 h 1960491"/>
                <a:gd name="connsiteX296" fmla="*/ 1158049 w 3296788"/>
                <a:gd name="connsiteY296" fmla="*/ 989185 h 1960491"/>
                <a:gd name="connsiteX297" fmla="*/ 1158049 w 3296788"/>
                <a:gd name="connsiteY297" fmla="*/ 957986 h 1960491"/>
                <a:gd name="connsiteX298" fmla="*/ 1250044 w 3296788"/>
                <a:gd name="connsiteY298" fmla="*/ 903388 h 1960491"/>
                <a:gd name="connsiteX299" fmla="*/ 1266681 w 3296788"/>
                <a:gd name="connsiteY299" fmla="*/ 898432 h 1960491"/>
                <a:gd name="connsiteX300" fmla="*/ 2608815 w 3296788"/>
                <a:gd name="connsiteY300" fmla="*/ 800737 h 1960491"/>
                <a:gd name="connsiteX301" fmla="*/ 2625163 w 3296788"/>
                <a:gd name="connsiteY301" fmla="*/ 804781 h 1960491"/>
                <a:gd name="connsiteX302" fmla="*/ 2711699 w 3296788"/>
                <a:gd name="connsiteY302" fmla="*/ 853315 h 1960491"/>
                <a:gd name="connsiteX303" fmla="*/ 2711699 w 3296788"/>
                <a:gd name="connsiteY303" fmla="*/ 885023 h 1960491"/>
                <a:gd name="connsiteX304" fmla="*/ 2618656 w 3296788"/>
                <a:gd name="connsiteY304" fmla="*/ 938734 h 1960491"/>
                <a:gd name="connsiteX305" fmla="*/ 2585473 w 3296788"/>
                <a:gd name="connsiteY305" fmla="*/ 939381 h 1960491"/>
                <a:gd name="connsiteX306" fmla="*/ 2500889 w 3296788"/>
                <a:gd name="connsiteY306" fmla="*/ 891495 h 1960491"/>
                <a:gd name="connsiteX307" fmla="*/ 2500889 w 3296788"/>
                <a:gd name="connsiteY307" fmla="*/ 859786 h 1960491"/>
                <a:gd name="connsiteX308" fmla="*/ 2591980 w 3296788"/>
                <a:gd name="connsiteY308" fmla="*/ 805428 h 1960491"/>
                <a:gd name="connsiteX309" fmla="*/ 2608815 w 3296788"/>
                <a:gd name="connsiteY309" fmla="*/ 800737 h 1960491"/>
                <a:gd name="connsiteX310" fmla="*/ 2225492 w 3296788"/>
                <a:gd name="connsiteY310" fmla="*/ 794740 h 1960491"/>
                <a:gd name="connsiteX311" fmla="*/ 2242083 w 3296788"/>
                <a:gd name="connsiteY311" fmla="*/ 799046 h 1960491"/>
                <a:gd name="connsiteX312" fmla="*/ 2328619 w 3296788"/>
                <a:gd name="connsiteY312" fmla="*/ 847144 h 1960491"/>
                <a:gd name="connsiteX313" fmla="*/ 2327968 w 3296788"/>
                <a:gd name="connsiteY313" fmla="*/ 878343 h 1960491"/>
                <a:gd name="connsiteX314" fmla="*/ 2235576 w 3296788"/>
                <a:gd name="connsiteY314" fmla="*/ 932941 h 1960491"/>
                <a:gd name="connsiteX315" fmla="*/ 2201743 w 3296788"/>
                <a:gd name="connsiteY315" fmla="*/ 933591 h 1960491"/>
                <a:gd name="connsiteX316" fmla="*/ 2117809 w 3296788"/>
                <a:gd name="connsiteY316" fmla="*/ 885493 h 1960491"/>
                <a:gd name="connsiteX317" fmla="*/ 2117809 w 3296788"/>
                <a:gd name="connsiteY317" fmla="*/ 853644 h 1960491"/>
                <a:gd name="connsiteX318" fmla="*/ 2208900 w 3296788"/>
                <a:gd name="connsiteY318" fmla="*/ 799696 h 1960491"/>
                <a:gd name="connsiteX319" fmla="*/ 2225492 w 3296788"/>
                <a:gd name="connsiteY319" fmla="*/ 794740 h 1960491"/>
                <a:gd name="connsiteX320" fmla="*/ 1076248 w 3296788"/>
                <a:gd name="connsiteY320" fmla="*/ 791861 h 1960491"/>
                <a:gd name="connsiteX321" fmla="*/ 1092840 w 3296788"/>
                <a:gd name="connsiteY321" fmla="*/ 796167 h 1960491"/>
                <a:gd name="connsiteX322" fmla="*/ 1179376 w 3296788"/>
                <a:gd name="connsiteY322" fmla="*/ 844265 h 1960491"/>
                <a:gd name="connsiteX323" fmla="*/ 1178725 w 3296788"/>
                <a:gd name="connsiteY323" fmla="*/ 876114 h 1960491"/>
                <a:gd name="connsiteX324" fmla="*/ 1086333 w 3296788"/>
                <a:gd name="connsiteY324" fmla="*/ 930713 h 1960491"/>
                <a:gd name="connsiteX325" fmla="*/ 1053150 w 3296788"/>
                <a:gd name="connsiteY325" fmla="*/ 930713 h 1960491"/>
                <a:gd name="connsiteX326" fmla="*/ 968566 w 3296788"/>
                <a:gd name="connsiteY326" fmla="*/ 882614 h 1960491"/>
                <a:gd name="connsiteX327" fmla="*/ 968566 w 3296788"/>
                <a:gd name="connsiteY327" fmla="*/ 851415 h 1960491"/>
                <a:gd name="connsiteX328" fmla="*/ 1059657 w 3296788"/>
                <a:gd name="connsiteY328" fmla="*/ 796817 h 1960491"/>
                <a:gd name="connsiteX329" fmla="*/ 1076248 w 3296788"/>
                <a:gd name="connsiteY329" fmla="*/ 791861 h 1960491"/>
                <a:gd name="connsiteX330" fmla="*/ 1842422 w 3296788"/>
                <a:gd name="connsiteY330" fmla="*/ 791860 h 1960491"/>
                <a:gd name="connsiteX331" fmla="*/ 1859105 w 3296788"/>
                <a:gd name="connsiteY331" fmla="*/ 796166 h 1960491"/>
                <a:gd name="connsiteX332" fmla="*/ 1946120 w 3296788"/>
                <a:gd name="connsiteY332" fmla="*/ 844264 h 1960491"/>
                <a:gd name="connsiteX333" fmla="*/ 1945466 w 3296788"/>
                <a:gd name="connsiteY333" fmla="*/ 876113 h 1960491"/>
                <a:gd name="connsiteX334" fmla="*/ 1852562 w 3296788"/>
                <a:gd name="connsiteY334" fmla="*/ 930712 h 1960491"/>
                <a:gd name="connsiteX335" fmla="*/ 1818541 w 3296788"/>
                <a:gd name="connsiteY335" fmla="*/ 930712 h 1960491"/>
                <a:gd name="connsiteX336" fmla="*/ 1734143 w 3296788"/>
                <a:gd name="connsiteY336" fmla="*/ 882613 h 1960491"/>
                <a:gd name="connsiteX337" fmla="*/ 1734143 w 3296788"/>
                <a:gd name="connsiteY337" fmla="*/ 851414 h 1960491"/>
                <a:gd name="connsiteX338" fmla="*/ 1825738 w 3296788"/>
                <a:gd name="connsiteY338" fmla="*/ 796816 h 1960491"/>
                <a:gd name="connsiteX339" fmla="*/ 1842422 w 3296788"/>
                <a:gd name="connsiteY339" fmla="*/ 791860 h 1960491"/>
                <a:gd name="connsiteX340" fmla="*/ 1459574 w 3296788"/>
                <a:gd name="connsiteY340" fmla="*/ 785938 h 1960491"/>
                <a:gd name="connsiteX341" fmla="*/ 1475922 w 3296788"/>
                <a:gd name="connsiteY341" fmla="*/ 789757 h 1960491"/>
                <a:gd name="connsiteX342" fmla="*/ 1562458 w 3296788"/>
                <a:gd name="connsiteY342" fmla="*/ 837855 h 1960491"/>
                <a:gd name="connsiteX343" fmla="*/ 1562458 w 3296788"/>
                <a:gd name="connsiteY343" fmla="*/ 869704 h 1960491"/>
                <a:gd name="connsiteX344" fmla="*/ 1469415 w 3296788"/>
                <a:gd name="connsiteY344" fmla="*/ 924303 h 1960491"/>
                <a:gd name="connsiteX345" fmla="*/ 1436232 w 3296788"/>
                <a:gd name="connsiteY345" fmla="*/ 924953 h 1960491"/>
                <a:gd name="connsiteX346" fmla="*/ 1351648 w 3296788"/>
                <a:gd name="connsiteY346" fmla="*/ 876204 h 1960491"/>
                <a:gd name="connsiteX347" fmla="*/ 1351648 w 3296788"/>
                <a:gd name="connsiteY347" fmla="*/ 845005 h 1960491"/>
                <a:gd name="connsiteX348" fmla="*/ 1442739 w 3296788"/>
                <a:gd name="connsiteY348" fmla="*/ 790407 h 1960491"/>
                <a:gd name="connsiteX349" fmla="*/ 1459574 w 3296788"/>
                <a:gd name="connsiteY349" fmla="*/ 785938 h 1960491"/>
                <a:gd name="connsiteX350" fmla="*/ 2801553 w 3296788"/>
                <a:gd name="connsiteY350" fmla="*/ 688169 h 1960491"/>
                <a:gd name="connsiteX351" fmla="*/ 2818144 w 3296788"/>
                <a:gd name="connsiteY351" fmla="*/ 692475 h 1960491"/>
                <a:gd name="connsiteX352" fmla="*/ 2904680 w 3296788"/>
                <a:gd name="connsiteY352" fmla="*/ 740574 h 1960491"/>
                <a:gd name="connsiteX353" fmla="*/ 2904029 w 3296788"/>
                <a:gd name="connsiteY353" fmla="*/ 771773 h 1960491"/>
                <a:gd name="connsiteX354" fmla="*/ 2811637 w 3296788"/>
                <a:gd name="connsiteY354" fmla="*/ 826371 h 1960491"/>
                <a:gd name="connsiteX355" fmla="*/ 2777804 w 3296788"/>
                <a:gd name="connsiteY355" fmla="*/ 827021 h 1960491"/>
                <a:gd name="connsiteX356" fmla="*/ 2693870 w 3296788"/>
                <a:gd name="connsiteY356" fmla="*/ 778273 h 1960491"/>
                <a:gd name="connsiteX357" fmla="*/ 2693870 w 3296788"/>
                <a:gd name="connsiteY357" fmla="*/ 747074 h 1960491"/>
                <a:gd name="connsiteX358" fmla="*/ 2784961 w 3296788"/>
                <a:gd name="connsiteY358" fmla="*/ 693125 h 1960491"/>
                <a:gd name="connsiteX359" fmla="*/ 2801553 w 3296788"/>
                <a:gd name="connsiteY359" fmla="*/ 688169 h 1960491"/>
                <a:gd name="connsiteX360" fmla="*/ 2418803 w 3296788"/>
                <a:gd name="connsiteY360" fmla="*/ 682409 h 1960491"/>
                <a:gd name="connsiteX361" fmla="*/ 2435440 w 3296788"/>
                <a:gd name="connsiteY361" fmla="*/ 686715 h 1960491"/>
                <a:gd name="connsiteX362" fmla="*/ 2522216 w 3296788"/>
                <a:gd name="connsiteY362" fmla="*/ 734814 h 1960491"/>
                <a:gd name="connsiteX363" fmla="*/ 2521563 w 3296788"/>
                <a:gd name="connsiteY363" fmla="*/ 766663 h 1960491"/>
                <a:gd name="connsiteX364" fmla="*/ 2428916 w 3296788"/>
                <a:gd name="connsiteY364" fmla="*/ 821261 h 1960491"/>
                <a:gd name="connsiteX365" fmla="*/ 2394989 w 3296788"/>
                <a:gd name="connsiteY365" fmla="*/ 821261 h 1960491"/>
                <a:gd name="connsiteX366" fmla="*/ 2310171 w 3296788"/>
                <a:gd name="connsiteY366" fmla="*/ 773163 h 1960491"/>
                <a:gd name="connsiteX367" fmla="*/ 2310171 w 3296788"/>
                <a:gd name="connsiteY367" fmla="*/ 741314 h 1960491"/>
                <a:gd name="connsiteX368" fmla="*/ 2402166 w 3296788"/>
                <a:gd name="connsiteY368" fmla="*/ 687365 h 1960491"/>
                <a:gd name="connsiteX369" fmla="*/ 2418803 w 3296788"/>
                <a:gd name="connsiteY369" fmla="*/ 682409 h 1960491"/>
                <a:gd name="connsiteX370" fmla="*/ 1266680 w 3296788"/>
                <a:gd name="connsiteY370" fmla="*/ 676649 h 1960491"/>
                <a:gd name="connsiteX371" fmla="*/ 1283317 w 3296788"/>
                <a:gd name="connsiteY371" fmla="*/ 680955 h 1960491"/>
                <a:gd name="connsiteX372" fmla="*/ 1370093 w 3296788"/>
                <a:gd name="connsiteY372" fmla="*/ 729053 h 1960491"/>
                <a:gd name="connsiteX373" fmla="*/ 1369440 w 3296788"/>
                <a:gd name="connsiteY373" fmla="*/ 760902 h 1960491"/>
                <a:gd name="connsiteX374" fmla="*/ 1276793 w 3296788"/>
                <a:gd name="connsiteY374" fmla="*/ 815501 h 1960491"/>
                <a:gd name="connsiteX375" fmla="*/ 1242866 w 3296788"/>
                <a:gd name="connsiteY375" fmla="*/ 816151 h 1960491"/>
                <a:gd name="connsiteX376" fmla="*/ 1158048 w 3296788"/>
                <a:gd name="connsiteY376" fmla="*/ 767402 h 1960491"/>
                <a:gd name="connsiteX377" fmla="*/ 1158048 w 3296788"/>
                <a:gd name="connsiteY377" fmla="*/ 736203 h 1960491"/>
                <a:gd name="connsiteX378" fmla="*/ 1250043 w 3296788"/>
                <a:gd name="connsiteY378" fmla="*/ 681605 h 1960491"/>
                <a:gd name="connsiteX379" fmla="*/ 1266680 w 3296788"/>
                <a:gd name="connsiteY379" fmla="*/ 676649 h 1960491"/>
                <a:gd name="connsiteX380" fmla="*/ 2032754 w 3296788"/>
                <a:gd name="connsiteY380" fmla="*/ 676648 h 1960491"/>
                <a:gd name="connsiteX381" fmla="*/ 2049102 w 3296788"/>
                <a:gd name="connsiteY381" fmla="*/ 680954 h 1960491"/>
                <a:gd name="connsiteX382" fmla="*/ 2135638 w 3296788"/>
                <a:gd name="connsiteY382" fmla="*/ 729052 h 1960491"/>
                <a:gd name="connsiteX383" fmla="*/ 2135638 w 3296788"/>
                <a:gd name="connsiteY383" fmla="*/ 760901 h 1960491"/>
                <a:gd name="connsiteX384" fmla="*/ 2042595 w 3296788"/>
                <a:gd name="connsiteY384" fmla="*/ 815500 h 1960491"/>
                <a:gd name="connsiteX385" fmla="*/ 2009412 w 3296788"/>
                <a:gd name="connsiteY385" fmla="*/ 816150 h 1960491"/>
                <a:gd name="connsiteX386" fmla="*/ 1924828 w 3296788"/>
                <a:gd name="connsiteY386" fmla="*/ 767401 h 1960491"/>
                <a:gd name="connsiteX387" fmla="*/ 1924828 w 3296788"/>
                <a:gd name="connsiteY387" fmla="*/ 736202 h 1960491"/>
                <a:gd name="connsiteX388" fmla="*/ 2015919 w 3296788"/>
                <a:gd name="connsiteY388" fmla="*/ 681604 h 1960491"/>
                <a:gd name="connsiteX389" fmla="*/ 2032754 w 3296788"/>
                <a:gd name="connsiteY389" fmla="*/ 676648 h 1960491"/>
                <a:gd name="connsiteX390" fmla="*/ 1649431 w 3296788"/>
                <a:gd name="connsiteY390" fmla="*/ 674084 h 1960491"/>
                <a:gd name="connsiteX391" fmla="*/ 1666022 w 3296788"/>
                <a:gd name="connsiteY391" fmla="*/ 678695 h 1960491"/>
                <a:gd name="connsiteX392" fmla="*/ 1752558 w 3296788"/>
                <a:gd name="connsiteY392" fmla="*/ 726581 h 1960491"/>
                <a:gd name="connsiteX393" fmla="*/ 1751907 w 3296788"/>
                <a:gd name="connsiteY393" fmla="*/ 757643 h 1960491"/>
                <a:gd name="connsiteX394" fmla="*/ 1659515 w 3296788"/>
                <a:gd name="connsiteY394" fmla="*/ 812000 h 1960491"/>
                <a:gd name="connsiteX395" fmla="*/ 1625682 w 3296788"/>
                <a:gd name="connsiteY395" fmla="*/ 812648 h 1960491"/>
                <a:gd name="connsiteX396" fmla="*/ 1541748 w 3296788"/>
                <a:gd name="connsiteY396" fmla="*/ 764114 h 1960491"/>
                <a:gd name="connsiteX397" fmla="*/ 1541748 w 3296788"/>
                <a:gd name="connsiteY397" fmla="*/ 733053 h 1960491"/>
                <a:gd name="connsiteX398" fmla="*/ 1632839 w 3296788"/>
                <a:gd name="connsiteY398" fmla="*/ 678695 h 1960491"/>
                <a:gd name="connsiteX399" fmla="*/ 1649431 w 3296788"/>
                <a:gd name="connsiteY399" fmla="*/ 674084 h 1960491"/>
                <a:gd name="connsiteX400" fmla="*/ 2991739 w 3296788"/>
                <a:gd name="connsiteY400" fmla="*/ 575837 h 1960491"/>
                <a:gd name="connsiteX401" fmla="*/ 3008621 w 3296788"/>
                <a:gd name="connsiteY401" fmla="*/ 580143 h 1960491"/>
                <a:gd name="connsiteX402" fmla="*/ 3095397 w 3296788"/>
                <a:gd name="connsiteY402" fmla="*/ 628241 h 1960491"/>
                <a:gd name="connsiteX403" fmla="*/ 3094744 w 3296788"/>
                <a:gd name="connsiteY403" fmla="*/ 660090 h 1960491"/>
                <a:gd name="connsiteX404" fmla="*/ 3002097 w 3296788"/>
                <a:gd name="connsiteY404" fmla="*/ 714688 h 1960491"/>
                <a:gd name="connsiteX405" fmla="*/ 2968170 w 3296788"/>
                <a:gd name="connsiteY405" fmla="*/ 714688 h 1960491"/>
                <a:gd name="connsiteX406" fmla="*/ 2883352 w 3296788"/>
                <a:gd name="connsiteY406" fmla="*/ 666590 h 1960491"/>
                <a:gd name="connsiteX407" fmla="*/ 2883352 w 3296788"/>
                <a:gd name="connsiteY407" fmla="*/ 634741 h 1960491"/>
                <a:gd name="connsiteX408" fmla="*/ 2975347 w 3296788"/>
                <a:gd name="connsiteY408" fmla="*/ 580793 h 1960491"/>
                <a:gd name="connsiteX409" fmla="*/ 2991739 w 3296788"/>
                <a:gd name="connsiteY409" fmla="*/ 575837 h 1960491"/>
                <a:gd name="connsiteX410" fmla="*/ 2608815 w 3296788"/>
                <a:gd name="connsiteY410" fmla="*/ 570076 h 1960491"/>
                <a:gd name="connsiteX411" fmla="*/ 2625163 w 3296788"/>
                <a:gd name="connsiteY411" fmla="*/ 574382 h 1960491"/>
                <a:gd name="connsiteX412" fmla="*/ 2711699 w 3296788"/>
                <a:gd name="connsiteY412" fmla="*/ 622480 h 1960491"/>
                <a:gd name="connsiteX413" fmla="*/ 2711699 w 3296788"/>
                <a:gd name="connsiteY413" fmla="*/ 654329 h 1960491"/>
                <a:gd name="connsiteX414" fmla="*/ 2618656 w 3296788"/>
                <a:gd name="connsiteY414" fmla="*/ 708927 h 1960491"/>
                <a:gd name="connsiteX415" fmla="*/ 2585473 w 3296788"/>
                <a:gd name="connsiteY415" fmla="*/ 708927 h 1960491"/>
                <a:gd name="connsiteX416" fmla="*/ 2500889 w 3296788"/>
                <a:gd name="connsiteY416" fmla="*/ 660829 h 1960491"/>
                <a:gd name="connsiteX417" fmla="*/ 2500889 w 3296788"/>
                <a:gd name="connsiteY417" fmla="*/ 629630 h 1960491"/>
                <a:gd name="connsiteX418" fmla="*/ 2591980 w 3296788"/>
                <a:gd name="connsiteY418" fmla="*/ 575032 h 1960491"/>
                <a:gd name="connsiteX419" fmla="*/ 2608815 w 3296788"/>
                <a:gd name="connsiteY419" fmla="*/ 570076 h 1960491"/>
                <a:gd name="connsiteX420" fmla="*/ 1459573 w 3296788"/>
                <a:gd name="connsiteY420" fmla="*/ 564552 h 1960491"/>
                <a:gd name="connsiteX421" fmla="*/ 1475921 w 3296788"/>
                <a:gd name="connsiteY421" fmla="*/ 568597 h 1960491"/>
                <a:gd name="connsiteX422" fmla="*/ 1562457 w 3296788"/>
                <a:gd name="connsiteY422" fmla="*/ 617130 h 1960491"/>
                <a:gd name="connsiteX423" fmla="*/ 1562457 w 3296788"/>
                <a:gd name="connsiteY423" fmla="*/ 648192 h 1960491"/>
                <a:gd name="connsiteX424" fmla="*/ 1469414 w 3296788"/>
                <a:gd name="connsiteY424" fmla="*/ 702549 h 1960491"/>
                <a:gd name="connsiteX425" fmla="*/ 1436231 w 3296788"/>
                <a:gd name="connsiteY425" fmla="*/ 703197 h 1960491"/>
                <a:gd name="connsiteX426" fmla="*/ 1351647 w 3296788"/>
                <a:gd name="connsiteY426" fmla="*/ 654663 h 1960491"/>
                <a:gd name="connsiteX427" fmla="*/ 1351647 w 3296788"/>
                <a:gd name="connsiteY427" fmla="*/ 623602 h 1960491"/>
                <a:gd name="connsiteX428" fmla="*/ 1442738 w 3296788"/>
                <a:gd name="connsiteY428" fmla="*/ 569244 h 1960491"/>
                <a:gd name="connsiteX429" fmla="*/ 1459573 w 3296788"/>
                <a:gd name="connsiteY429" fmla="*/ 564552 h 1960491"/>
                <a:gd name="connsiteX430" fmla="*/ 2225491 w 3296788"/>
                <a:gd name="connsiteY430" fmla="*/ 564551 h 1960491"/>
                <a:gd name="connsiteX431" fmla="*/ 2242083 w 3296788"/>
                <a:gd name="connsiteY431" fmla="*/ 568596 h 1960491"/>
                <a:gd name="connsiteX432" fmla="*/ 2328619 w 3296788"/>
                <a:gd name="connsiteY432" fmla="*/ 617129 h 1960491"/>
                <a:gd name="connsiteX433" fmla="*/ 2327968 w 3296788"/>
                <a:gd name="connsiteY433" fmla="*/ 648191 h 1960491"/>
                <a:gd name="connsiteX434" fmla="*/ 2235576 w 3296788"/>
                <a:gd name="connsiteY434" fmla="*/ 702548 h 1960491"/>
                <a:gd name="connsiteX435" fmla="*/ 2201743 w 3296788"/>
                <a:gd name="connsiteY435" fmla="*/ 703196 h 1960491"/>
                <a:gd name="connsiteX436" fmla="*/ 2117809 w 3296788"/>
                <a:gd name="connsiteY436" fmla="*/ 654662 h 1960491"/>
                <a:gd name="connsiteX437" fmla="*/ 2117809 w 3296788"/>
                <a:gd name="connsiteY437" fmla="*/ 623601 h 1960491"/>
                <a:gd name="connsiteX438" fmla="*/ 2208900 w 3296788"/>
                <a:gd name="connsiteY438" fmla="*/ 569243 h 1960491"/>
                <a:gd name="connsiteX439" fmla="*/ 2225491 w 3296788"/>
                <a:gd name="connsiteY439" fmla="*/ 564551 h 1960491"/>
                <a:gd name="connsiteX440" fmla="*/ 1842421 w 3296788"/>
                <a:gd name="connsiteY440" fmla="*/ 561274 h 1960491"/>
                <a:gd name="connsiteX441" fmla="*/ 1859104 w 3296788"/>
                <a:gd name="connsiteY441" fmla="*/ 565093 h 1960491"/>
                <a:gd name="connsiteX442" fmla="*/ 1946119 w 3296788"/>
                <a:gd name="connsiteY442" fmla="*/ 613841 h 1960491"/>
                <a:gd name="connsiteX443" fmla="*/ 1945465 w 3296788"/>
                <a:gd name="connsiteY443" fmla="*/ 645690 h 1960491"/>
                <a:gd name="connsiteX444" fmla="*/ 1852561 w 3296788"/>
                <a:gd name="connsiteY444" fmla="*/ 699639 h 1960491"/>
                <a:gd name="connsiteX445" fmla="*/ 1818540 w 3296788"/>
                <a:gd name="connsiteY445" fmla="*/ 700289 h 1960491"/>
                <a:gd name="connsiteX446" fmla="*/ 1734142 w 3296788"/>
                <a:gd name="connsiteY446" fmla="*/ 652190 h 1960491"/>
                <a:gd name="connsiteX447" fmla="*/ 1734142 w 3296788"/>
                <a:gd name="connsiteY447" fmla="*/ 620341 h 1960491"/>
                <a:gd name="connsiteX448" fmla="*/ 1825737 w 3296788"/>
                <a:gd name="connsiteY448" fmla="*/ 565743 h 1960491"/>
                <a:gd name="connsiteX449" fmla="*/ 1842421 w 3296788"/>
                <a:gd name="connsiteY449" fmla="*/ 561274 h 1960491"/>
                <a:gd name="connsiteX450" fmla="*/ 3184875 w 3296788"/>
                <a:gd name="connsiteY450" fmla="*/ 463507 h 1960491"/>
                <a:gd name="connsiteX451" fmla="*/ 3201223 w 3296788"/>
                <a:gd name="connsiteY451" fmla="*/ 467813 h 1960491"/>
                <a:gd name="connsiteX452" fmla="*/ 3287759 w 3296788"/>
                <a:gd name="connsiteY452" fmla="*/ 515912 h 1960491"/>
                <a:gd name="connsiteX453" fmla="*/ 3287759 w 3296788"/>
                <a:gd name="connsiteY453" fmla="*/ 547761 h 1960491"/>
                <a:gd name="connsiteX454" fmla="*/ 3194716 w 3296788"/>
                <a:gd name="connsiteY454" fmla="*/ 602359 h 1960491"/>
                <a:gd name="connsiteX455" fmla="*/ 3161533 w 3296788"/>
                <a:gd name="connsiteY455" fmla="*/ 603009 h 1960491"/>
                <a:gd name="connsiteX456" fmla="*/ 3076949 w 3296788"/>
                <a:gd name="connsiteY456" fmla="*/ 554261 h 1960491"/>
                <a:gd name="connsiteX457" fmla="*/ 3076949 w 3296788"/>
                <a:gd name="connsiteY457" fmla="*/ 523062 h 1960491"/>
                <a:gd name="connsiteX458" fmla="*/ 3168040 w 3296788"/>
                <a:gd name="connsiteY458" fmla="*/ 468463 h 1960491"/>
                <a:gd name="connsiteX459" fmla="*/ 3184875 w 3296788"/>
                <a:gd name="connsiteY459" fmla="*/ 463507 h 1960491"/>
                <a:gd name="connsiteX460" fmla="*/ 2801554 w 3296788"/>
                <a:gd name="connsiteY460" fmla="*/ 457982 h 1960491"/>
                <a:gd name="connsiteX461" fmla="*/ 2818145 w 3296788"/>
                <a:gd name="connsiteY461" fmla="*/ 462026 h 1960491"/>
                <a:gd name="connsiteX462" fmla="*/ 2904681 w 3296788"/>
                <a:gd name="connsiteY462" fmla="*/ 509913 h 1960491"/>
                <a:gd name="connsiteX463" fmla="*/ 2904030 w 3296788"/>
                <a:gd name="connsiteY463" fmla="*/ 541622 h 1960491"/>
                <a:gd name="connsiteX464" fmla="*/ 2811638 w 3296788"/>
                <a:gd name="connsiteY464" fmla="*/ 595980 h 1960491"/>
                <a:gd name="connsiteX465" fmla="*/ 2777805 w 3296788"/>
                <a:gd name="connsiteY465" fmla="*/ 596627 h 1960491"/>
                <a:gd name="connsiteX466" fmla="*/ 2693871 w 3296788"/>
                <a:gd name="connsiteY466" fmla="*/ 548093 h 1960491"/>
                <a:gd name="connsiteX467" fmla="*/ 2693871 w 3296788"/>
                <a:gd name="connsiteY467" fmla="*/ 516384 h 1960491"/>
                <a:gd name="connsiteX468" fmla="*/ 2784962 w 3296788"/>
                <a:gd name="connsiteY468" fmla="*/ 462673 h 1960491"/>
                <a:gd name="connsiteX469" fmla="*/ 2801554 w 3296788"/>
                <a:gd name="connsiteY469" fmla="*/ 457982 h 1960491"/>
                <a:gd name="connsiteX470" fmla="*/ 2418803 w 3296788"/>
                <a:gd name="connsiteY470" fmla="*/ 452220 h 1960491"/>
                <a:gd name="connsiteX471" fmla="*/ 2435440 w 3296788"/>
                <a:gd name="connsiteY471" fmla="*/ 456264 h 1960491"/>
                <a:gd name="connsiteX472" fmla="*/ 2522216 w 3296788"/>
                <a:gd name="connsiteY472" fmla="*/ 504798 h 1960491"/>
                <a:gd name="connsiteX473" fmla="*/ 2521563 w 3296788"/>
                <a:gd name="connsiteY473" fmla="*/ 536507 h 1960491"/>
                <a:gd name="connsiteX474" fmla="*/ 2428916 w 3296788"/>
                <a:gd name="connsiteY474" fmla="*/ 590218 h 1960491"/>
                <a:gd name="connsiteX475" fmla="*/ 2394989 w 3296788"/>
                <a:gd name="connsiteY475" fmla="*/ 590865 h 1960491"/>
                <a:gd name="connsiteX476" fmla="*/ 2310171 w 3296788"/>
                <a:gd name="connsiteY476" fmla="*/ 542978 h 1960491"/>
                <a:gd name="connsiteX477" fmla="*/ 2310171 w 3296788"/>
                <a:gd name="connsiteY477" fmla="*/ 511269 h 1960491"/>
                <a:gd name="connsiteX478" fmla="*/ 2402166 w 3296788"/>
                <a:gd name="connsiteY478" fmla="*/ 456911 h 1960491"/>
                <a:gd name="connsiteX479" fmla="*/ 2418803 w 3296788"/>
                <a:gd name="connsiteY479" fmla="*/ 452220 h 1960491"/>
                <a:gd name="connsiteX480" fmla="*/ 1649430 w 3296788"/>
                <a:gd name="connsiteY480" fmla="*/ 452220 h 1960491"/>
                <a:gd name="connsiteX481" fmla="*/ 1666021 w 3296788"/>
                <a:gd name="connsiteY481" fmla="*/ 456265 h 1960491"/>
                <a:gd name="connsiteX482" fmla="*/ 1752557 w 3296788"/>
                <a:gd name="connsiteY482" fmla="*/ 504799 h 1960491"/>
                <a:gd name="connsiteX483" fmla="*/ 1751906 w 3296788"/>
                <a:gd name="connsiteY483" fmla="*/ 536508 h 1960491"/>
                <a:gd name="connsiteX484" fmla="*/ 1659514 w 3296788"/>
                <a:gd name="connsiteY484" fmla="*/ 590218 h 1960491"/>
                <a:gd name="connsiteX485" fmla="*/ 1625681 w 3296788"/>
                <a:gd name="connsiteY485" fmla="*/ 590866 h 1960491"/>
                <a:gd name="connsiteX486" fmla="*/ 1541747 w 3296788"/>
                <a:gd name="connsiteY486" fmla="*/ 542979 h 1960491"/>
                <a:gd name="connsiteX487" fmla="*/ 1541747 w 3296788"/>
                <a:gd name="connsiteY487" fmla="*/ 511270 h 1960491"/>
                <a:gd name="connsiteX488" fmla="*/ 1632838 w 3296788"/>
                <a:gd name="connsiteY488" fmla="*/ 456912 h 1960491"/>
                <a:gd name="connsiteX489" fmla="*/ 1649430 w 3296788"/>
                <a:gd name="connsiteY489" fmla="*/ 452220 h 1960491"/>
                <a:gd name="connsiteX490" fmla="*/ 2032754 w 3296788"/>
                <a:gd name="connsiteY490" fmla="*/ 446217 h 1960491"/>
                <a:gd name="connsiteX491" fmla="*/ 2049102 w 3296788"/>
                <a:gd name="connsiteY491" fmla="*/ 450504 h 1960491"/>
                <a:gd name="connsiteX492" fmla="*/ 2135638 w 3296788"/>
                <a:gd name="connsiteY492" fmla="*/ 498391 h 1960491"/>
                <a:gd name="connsiteX493" fmla="*/ 2135638 w 3296788"/>
                <a:gd name="connsiteY493" fmla="*/ 529453 h 1960491"/>
                <a:gd name="connsiteX494" fmla="*/ 2042595 w 3296788"/>
                <a:gd name="connsiteY494" fmla="*/ 584458 h 1960491"/>
                <a:gd name="connsiteX495" fmla="*/ 2009412 w 3296788"/>
                <a:gd name="connsiteY495" fmla="*/ 584458 h 1960491"/>
                <a:gd name="connsiteX496" fmla="*/ 1924828 w 3296788"/>
                <a:gd name="connsiteY496" fmla="*/ 535924 h 1960491"/>
                <a:gd name="connsiteX497" fmla="*/ 1924828 w 3296788"/>
                <a:gd name="connsiteY497" fmla="*/ 504862 h 1960491"/>
                <a:gd name="connsiteX498" fmla="*/ 2015919 w 3296788"/>
                <a:gd name="connsiteY498" fmla="*/ 451151 h 1960491"/>
                <a:gd name="connsiteX499" fmla="*/ 2032754 w 3296788"/>
                <a:gd name="connsiteY499" fmla="*/ 446217 h 1960491"/>
                <a:gd name="connsiteX500" fmla="*/ 2991740 w 3296788"/>
                <a:gd name="connsiteY500" fmla="*/ 345333 h 1960491"/>
                <a:gd name="connsiteX501" fmla="*/ 3008622 w 3296788"/>
                <a:gd name="connsiteY501" fmla="*/ 349070 h 1960491"/>
                <a:gd name="connsiteX502" fmla="*/ 3095398 w 3296788"/>
                <a:gd name="connsiteY502" fmla="*/ 397818 h 1960491"/>
                <a:gd name="connsiteX503" fmla="*/ 3094745 w 3296788"/>
                <a:gd name="connsiteY503" fmla="*/ 429667 h 1960491"/>
                <a:gd name="connsiteX504" fmla="*/ 3002098 w 3296788"/>
                <a:gd name="connsiteY504" fmla="*/ 483615 h 1960491"/>
                <a:gd name="connsiteX505" fmla="*/ 2968171 w 3296788"/>
                <a:gd name="connsiteY505" fmla="*/ 484265 h 1960491"/>
                <a:gd name="connsiteX506" fmla="*/ 2883353 w 3296788"/>
                <a:gd name="connsiteY506" fmla="*/ 436167 h 1960491"/>
                <a:gd name="connsiteX507" fmla="*/ 2883353 w 3296788"/>
                <a:gd name="connsiteY507" fmla="*/ 404318 h 1960491"/>
                <a:gd name="connsiteX508" fmla="*/ 2975348 w 3296788"/>
                <a:gd name="connsiteY508" fmla="*/ 350370 h 1960491"/>
                <a:gd name="connsiteX509" fmla="*/ 2991740 w 3296788"/>
                <a:gd name="connsiteY509" fmla="*/ 345333 h 1960491"/>
                <a:gd name="connsiteX510" fmla="*/ 1842420 w 3296788"/>
                <a:gd name="connsiteY510" fmla="*/ 339653 h 1960491"/>
                <a:gd name="connsiteX511" fmla="*/ 1859103 w 3296788"/>
                <a:gd name="connsiteY511" fmla="*/ 343959 h 1960491"/>
                <a:gd name="connsiteX512" fmla="*/ 1946118 w 3296788"/>
                <a:gd name="connsiteY512" fmla="*/ 392057 h 1960491"/>
                <a:gd name="connsiteX513" fmla="*/ 1945464 w 3296788"/>
                <a:gd name="connsiteY513" fmla="*/ 423256 h 1960491"/>
                <a:gd name="connsiteX514" fmla="*/ 1852560 w 3296788"/>
                <a:gd name="connsiteY514" fmla="*/ 477854 h 1960491"/>
                <a:gd name="connsiteX515" fmla="*/ 1818539 w 3296788"/>
                <a:gd name="connsiteY515" fmla="*/ 478504 h 1960491"/>
                <a:gd name="connsiteX516" fmla="*/ 1734141 w 3296788"/>
                <a:gd name="connsiteY516" fmla="*/ 429756 h 1960491"/>
                <a:gd name="connsiteX517" fmla="*/ 1734141 w 3296788"/>
                <a:gd name="connsiteY517" fmla="*/ 398557 h 1960491"/>
                <a:gd name="connsiteX518" fmla="*/ 1825736 w 3296788"/>
                <a:gd name="connsiteY518" fmla="*/ 344609 h 1960491"/>
                <a:gd name="connsiteX519" fmla="*/ 1842420 w 3296788"/>
                <a:gd name="connsiteY519" fmla="*/ 339653 h 1960491"/>
                <a:gd name="connsiteX520" fmla="*/ 2608815 w 3296788"/>
                <a:gd name="connsiteY520" fmla="*/ 339652 h 1960491"/>
                <a:gd name="connsiteX521" fmla="*/ 2625163 w 3296788"/>
                <a:gd name="connsiteY521" fmla="*/ 343958 h 1960491"/>
                <a:gd name="connsiteX522" fmla="*/ 2711699 w 3296788"/>
                <a:gd name="connsiteY522" fmla="*/ 392056 h 1960491"/>
                <a:gd name="connsiteX523" fmla="*/ 2711699 w 3296788"/>
                <a:gd name="connsiteY523" fmla="*/ 423255 h 1960491"/>
                <a:gd name="connsiteX524" fmla="*/ 2618656 w 3296788"/>
                <a:gd name="connsiteY524" fmla="*/ 477853 h 1960491"/>
                <a:gd name="connsiteX525" fmla="*/ 2585473 w 3296788"/>
                <a:gd name="connsiteY525" fmla="*/ 478503 h 1960491"/>
                <a:gd name="connsiteX526" fmla="*/ 2500889 w 3296788"/>
                <a:gd name="connsiteY526" fmla="*/ 429755 h 1960491"/>
                <a:gd name="connsiteX527" fmla="*/ 2500889 w 3296788"/>
                <a:gd name="connsiteY527" fmla="*/ 398556 h 1960491"/>
                <a:gd name="connsiteX528" fmla="*/ 2591980 w 3296788"/>
                <a:gd name="connsiteY528" fmla="*/ 344608 h 1960491"/>
                <a:gd name="connsiteX529" fmla="*/ 2608815 w 3296788"/>
                <a:gd name="connsiteY529" fmla="*/ 339652 h 1960491"/>
                <a:gd name="connsiteX530" fmla="*/ 2225492 w 3296788"/>
                <a:gd name="connsiteY530" fmla="*/ 333811 h 1960491"/>
                <a:gd name="connsiteX531" fmla="*/ 2242083 w 3296788"/>
                <a:gd name="connsiteY531" fmla="*/ 338198 h 1960491"/>
                <a:gd name="connsiteX532" fmla="*/ 2328619 w 3296788"/>
                <a:gd name="connsiteY532" fmla="*/ 386296 h 1960491"/>
                <a:gd name="connsiteX533" fmla="*/ 2327968 w 3296788"/>
                <a:gd name="connsiteY533" fmla="*/ 418145 h 1960491"/>
                <a:gd name="connsiteX534" fmla="*/ 2235576 w 3296788"/>
                <a:gd name="connsiteY534" fmla="*/ 472743 h 1960491"/>
                <a:gd name="connsiteX535" fmla="*/ 2201743 w 3296788"/>
                <a:gd name="connsiteY535" fmla="*/ 472743 h 1960491"/>
                <a:gd name="connsiteX536" fmla="*/ 2117809 w 3296788"/>
                <a:gd name="connsiteY536" fmla="*/ 424645 h 1960491"/>
                <a:gd name="connsiteX537" fmla="*/ 2117809 w 3296788"/>
                <a:gd name="connsiteY537" fmla="*/ 393446 h 1960491"/>
                <a:gd name="connsiteX538" fmla="*/ 2208900 w 3296788"/>
                <a:gd name="connsiteY538" fmla="*/ 338198 h 1960491"/>
                <a:gd name="connsiteX539" fmla="*/ 2225492 w 3296788"/>
                <a:gd name="connsiteY539" fmla="*/ 333811 h 1960491"/>
                <a:gd name="connsiteX540" fmla="*/ 2801554 w 3296788"/>
                <a:gd name="connsiteY540" fmla="*/ 227322 h 1960491"/>
                <a:gd name="connsiteX541" fmla="*/ 2818145 w 3296788"/>
                <a:gd name="connsiteY541" fmla="*/ 231628 h 1960491"/>
                <a:gd name="connsiteX542" fmla="*/ 2904681 w 3296788"/>
                <a:gd name="connsiteY542" fmla="*/ 279727 h 1960491"/>
                <a:gd name="connsiteX543" fmla="*/ 2904030 w 3296788"/>
                <a:gd name="connsiteY543" fmla="*/ 311576 h 1960491"/>
                <a:gd name="connsiteX544" fmla="*/ 2811638 w 3296788"/>
                <a:gd name="connsiteY544" fmla="*/ 366174 h 1960491"/>
                <a:gd name="connsiteX545" fmla="*/ 2777805 w 3296788"/>
                <a:gd name="connsiteY545" fmla="*/ 366174 h 1960491"/>
                <a:gd name="connsiteX546" fmla="*/ 2693871 w 3296788"/>
                <a:gd name="connsiteY546" fmla="*/ 318076 h 1960491"/>
                <a:gd name="connsiteX547" fmla="*/ 2693871 w 3296788"/>
                <a:gd name="connsiteY547" fmla="*/ 286227 h 1960491"/>
                <a:gd name="connsiteX548" fmla="*/ 2784962 w 3296788"/>
                <a:gd name="connsiteY548" fmla="*/ 232278 h 1960491"/>
                <a:gd name="connsiteX549" fmla="*/ 2801554 w 3296788"/>
                <a:gd name="connsiteY549" fmla="*/ 227322 h 1960491"/>
                <a:gd name="connsiteX550" fmla="*/ 2032752 w 3296788"/>
                <a:gd name="connsiteY550" fmla="*/ 227322 h 1960491"/>
                <a:gd name="connsiteX551" fmla="*/ 2049100 w 3296788"/>
                <a:gd name="connsiteY551" fmla="*/ 231628 h 1960491"/>
                <a:gd name="connsiteX552" fmla="*/ 2135636 w 3296788"/>
                <a:gd name="connsiteY552" fmla="*/ 279726 h 1960491"/>
                <a:gd name="connsiteX553" fmla="*/ 2135636 w 3296788"/>
                <a:gd name="connsiteY553" fmla="*/ 311575 h 1960491"/>
                <a:gd name="connsiteX554" fmla="*/ 2042593 w 3296788"/>
                <a:gd name="connsiteY554" fmla="*/ 366174 h 1960491"/>
                <a:gd name="connsiteX555" fmla="*/ 2009410 w 3296788"/>
                <a:gd name="connsiteY555" fmla="*/ 366174 h 1960491"/>
                <a:gd name="connsiteX556" fmla="*/ 1924826 w 3296788"/>
                <a:gd name="connsiteY556" fmla="*/ 318075 h 1960491"/>
                <a:gd name="connsiteX557" fmla="*/ 1924826 w 3296788"/>
                <a:gd name="connsiteY557" fmla="*/ 286226 h 1960491"/>
                <a:gd name="connsiteX558" fmla="*/ 2015917 w 3296788"/>
                <a:gd name="connsiteY558" fmla="*/ 232278 h 1960491"/>
                <a:gd name="connsiteX559" fmla="*/ 2032752 w 3296788"/>
                <a:gd name="connsiteY559" fmla="*/ 227322 h 1960491"/>
                <a:gd name="connsiteX560" fmla="*/ 2418803 w 3296788"/>
                <a:gd name="connsiteY560" fmla="*/ 221560 h 1960491"/>
                <a:gd name="connsiteX561" fmla="*/ 2435440 w 3296788"/>
                <a:gd name="connsiteY561" fmla="*/ 225866 h 1960491"/>
                <a:gd name="connsiteX562" fmla="*/ 2522216 w 3296788"/>
                <a:gd name="connsiteY562" fmla="*/ 273965 h 1960491"/>
                <a:gd name="connsiteX563" fmla="*/ 2521563 w 3296788"/>
                <a:gd name="connsiteY563" fmla="*/ 305814 h 1960491"/>
                <a:gd name="connsiteX564" fmla="*/ 2428916 w 3296788"/>
                <a:gd name="connsiteY564" fmla="*/ 360412 h 1960491"/>
                <a:gd name="connsiteX565" fmla="*/ 2394989 w 3296788"/>
                <a:gd name="connsiteY565" fmla="*/ 361062 h 1960491"/>
                <a:gd name="connsiteX566" fmla="*/ 2310171 w 3296788"/>
                <a:gd name="connsiteY566" fmla="*/ 312314 h 1960491"/>
                <a:gd name="connsiteX567" fmla="*/ 2310171 w 3296788"/>
                <a:gd name="connsiteY567" fmla="*/ 281115 h 1960491"/>
                <a:gd name="connsiteX568" fmla="*/ 2402166 w 3296788"/>
                <a:gd name="connsiteY568" fmla="*/ 226516 h 1960491"/>
                <a:gd name="connsiteX569" fmla="*/ 2418803 w 3296788"/>
                <a:gd name="connsiteY569" fmla="*/ 221560 h 1960491"/>
                <a:gd name="connsiteX570" fmla="*/ 2225490 w 3296788"/>
                <a:gd name="connsiteY570" fmla="*/ 112110 h 1960491"/>
                <a:gd name="connsiteX571" fmla="*/ 2242081 w 3296788"/>
                <a:gd name="connsiteY571" fmla="*/ 116416 h 1960491"/>
                <a:gd name="connsiteX572" fmla="*/ 2328617 w 3296788"/>
                <a:gd name="connsiteY572" fmla="*/ 164514 h 1960491"/>
                <a:gd name="connsiteX573" fmla="*/ 2327966 w 3296788"/>
                <a:gd name="connsiteY573" fmla="*/ 196363 h 1960491"/>
                <a:gd name="connsiteX574" fmla="*/ 2235574 w 3296788"/>
                <a:gd name="connsiteY574" fmla="*/ 250962 h 1960491"/>
                <a:gd name="connsiteX575" fmla="*/ 2201741 w 3296788"/>
                <a:gd name="connsiteY575" fmla="*/ 251612 h 1960491"/>
                <a:gd name="connsiteX576" fmla="*/ 2117807 w 3296788"/>
                <a:gd name="connsiteY576" fmla="*/ 202863 h 1960491"/>
                <a:gd name="connsiteX577" fmla="*/ 2117807 w 3296788"/>
                <a:gd name="connsiteY577" fmla="*/ 171664 h 1960491"/>
                <a:gd name="connsiteX578" fmla="*/ 2208898 w 3296788"/>
                <a:gd name="connsiteY578" fmla="*/ 117066 h 1960491"/>
                <a:gd name="connsiteX579" fmla="*/ 2225490 w 3296788"/>
                <a:gd name="connsiteY579" fmla="*/ 112110 h 1960491"/>
                <a:gd name="connsiteX580" fmla="*/ 2608815 w 3296788"/>
                <a:gd name="connsiteY580" fmla="*/ 109464 h 1960491"/>
                <a:gd name="connsiteX581" fmla="*/ 2625163 w 3296788"/>
                <a:gd name="connsiteY581" fmla="*/ 113508 h 1960491"/>
                <a:gd name="connsiteX582" fmla="*/ 2711699 w 3296788"/>
                <a:gd name="connsiteY582" fmla="*/ 162042 h 1960491"/>
                <a:gd name="connsiteX583" fmla="*/ 2711699 w 3296788"/>
                <a:gd name="connsiteY583" fmla="*/ 193103 h 1960491"/>
                <a:gd name="connsiteX584" fmla="*/ 2618656 w 3296788"/>
                <a:gd name="connsiteY584" fmla="*/ 247461 h 1960491"/>
                <a:gd name="connsiteX585" fmla="*/ 2585473 w 3296788"/>
                <a:gd name="connsiteY585" fmla="*/ 248108 h 1960491"/>
                <a:gd name="connsiteX586" fmla="*/ 2500889 w 3296788"/>
                <a:gd name="connsiteY586" fmla="*/ 199575 h 1960491"/>
                <a:gd name="connsiteX587" fmla="*/ 2500889 w 3296788"/>
                <a:gd name="connsiteY587" fmla="*/ 168513 h 1960491"/>
                <a:gd name="connsiteX588" fmla="*/ 2591980 w 3296788"/>
                <a:gd name="connsiteY588" fmla="*/ 114155 h 1960491"/>
                <a:gd name="connsiteX589" fmla="*/ 2608815 w 3296788"/>
                <a:gd name="connsiteY589" fmla="*/ 109464 h 1960491"/>
                <a:gd name="connsiteX590" fmla="*/ 2418801 w 3296788"/>
                <a:gd name="connsiteY590" fmla="*/ 13 h 1960491"/>
                <a:gd name="connsiteX591" fmla="*/ 2435438 w 3296788"/>
                <a:gd name="connsiteY591" fmla="*/ 4058 h 1960491"/>
                <a:gd name="connsiteX592" fmla="*/ 2522214 w 3296788"/>
                <a:gd name="connsiteY592" fmla="*/ 52591 h 1960491"/>
                <a:gd name="connsiteX593" fmla="*/ 2521561 w 3296788"/>
                <a:gd name="connsiteY593" fmla="*/ 83653 h 1960491"/>
                <a:gd name="connsiteX594" fmla="*/ 2428914 w 3296788"/>
                <a:gd name="connsiteY594" fmla="*/ 138010 h 1960491"/>
                <a:gd name="connsiteX595" fmla="*/ 2394987 w 3296788"/>
                <a:gd name="connsiteY595" fmla="*/ 138658 h 1960491"/>
                <a:gd name="connsiteX596" fmla="*/ 2310169 w 3296788"/>
                <a:gd name="connsiteY596" fmla="*/ 90124 h 1960491"/>
                <a:gd name="connsiteX597" fmla="*/ 2310169 w 3296788"/>
                <a:gd name="connsiteY597" fmla="*/ 59063 h 1960491"/>
                <a:gd name="connsiteX598" fmla="*/ 2402164 w 3296788"/>
                <a:gd name="connsiteY598" fmla="*/ 4705 h 1960491"/>
                <a:gd name="connsiteX599" fmla="*/ 2418801 w 3296788"/>
                <a:gd name="connsiteY599" fmla="*/ 13 h 196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296788" h="1960491">
                  <a:moveTo>
                    <a:pt x="883514" y="1817173"/>
                  </a:moveTo>
                  <a:cubicBezTo>
                    <a:pt x="889289" y="1817010"/>
                    <a:pt x="894982" y="1818316"/>
                    <a:pt x="899862" y="1820927"/>
                  </a:cubicBezTo>
                  <a:lnTo>
                    <a:pt x="986398" y="1869893"/>
                  </a:lnTo>
                  <a:cubicBezTo>
                    <a:pt x="998760" y="1877074"/>
                    <a:pt x="998110" y="1894702"/>
                    <a:pt x="986398" y="1901883"/>
                  </a:cubicBezTo>
                  <a:lnTo>
                    <a:pt x="893355" y="1955419"/>
                  </a:lnTo>
                  <a:cubicBezTo>
                    <a:pt x="883596" y="1961947"/>
                    <a:pt x="870583" y="1961947"/>
                    <a:pt x="860172" y="1956724"/>
                  </a:cubicBezTo>
                  <a:lnTo>
                    <a:pt x="775588" y="1908412"/>
                  </a:lnTo>
                  <a:cubicBezTo>
                    <a:pt x="763226" y="1901230"/>
                    <a:pt x="763877" y="1883603"/>
                    <a:pt x="775588" y="1876421"/>
                  </a:cubicBezTo>
                  <a:lnTo>
                    <a:pt x="866679" y="1822233"/>
                  </a:lnTo>
                  <a:cubicBezTo>
                    <a:pt x="871884" y="1818969"/>
                    <a:pt x="877740" y="1817336"/>
                    <a:pt x="883514" y="1817173"/>
                  </a:cubicBezTo>
                  <a:close/>
                  <a:moveTo>
                    <a:pt x="1076253" y="1705153"/>
                  </a:moveTo>
                  <a:cubicBezTo>
                    <a:pt x="1081946" y="1704991"/>
                    <a:pt x="1087639" y="1706285"/>
                    <a:pt x="1092844" y="1709197"/>
                  </a:cubicBezTo>
                  <a:lnTo>
                    <a:pt x="1179380" y="1757084"/>
                  </a:lnTo>
                  <a:cubicBezTo>
                    <a:pt x="1191742" y="1764202"/>
                    <a:pt x="1191092" y="1781674"/>
                    <a:pt x="1178729" y="1788145"/>
                  </a:cubicBezTo>
                  <a:lnTo>
                    <a:pt x="1086337" y="1843150"/>
                  </a:lnTo>
                  <a:cubicBezTo>
                    <a:pt x="1075927" y="1848974"/>
                    <a:pt x="1062914" y="1849621"/>
                    <a:pt x="1053154" y="1843150"/>
                  </a:cubicBezTo>
                  <a:lnTo>
                    <a:pt x="968570" y="1795264"/>
                  </a:lnTo>
                  <a:cubicBezTo>
                    <a:pt x="956208" y="1788145"/>
                    <a:pt x="956859" y="1771320"/>
                    <a:pt x="968570" y="1763555"/>
                  </a:cubicBezTo>
                  <a:lnTo>
                    <a:pt x="1059661" y="1709844"/>
                  </a:lnTo>
                  <a:cubicBezTo>
                    <a:pt x="1064866" y="1706932"/>
                    <a:pt x="1070559" y="1705315"/>
                    <a:pt x="1076253" y="1705153"/>
                  </a:cubicBezTo>
                  <a:close/>
                  <a:moveTo>
                    <a:pt x="693747" y="1699148"/>
                  </a:moveTo>
                  <a:cubicBezTo>
                    <a:pt x="699537" y="1699067"/>
                    <a:pt x="705246" y="1700523"/>
                    <a:pt x="710139" y="1703435"/>
                  </a:cubicBezTo>
                  <a:lnTo>
                    <a:pt x="796915" y="1751969"/>
                  </a:lnTo>
                  <a:cubicBezTo>
                    <a:pt x="808659" y="1758440"/>
                    <a:pt x="808659" y="1775912"/>
                    <a:pt x="796262" y="1783030"/>
                  </a:cubicBezTo>
                  <a:lnTo>
                    <a:pt x="703615" y="1837388"/>
                  </a:lnTo>
                  <a:cubicBezTo>
                    <a:pt x="693176" y="1843212"/>
                    <a:pt x="680127" y="1843859"/>
                    <a:pt x="670340" y="1838035"/>
                  </a:cubicBezTo>
                  <a:lnTo>
                    <a:pt x="584870" y="1789502"/>
                  </a:lnTo>
                  <a:cubicBezTo>
                    <a:pt x="573126" y="1782383"/>
                    <a:pt x="573126" y="1765558"/>
                    <a:pt x="584870" y="1758440"/>
                  </a:cubicBezTo>
                  <a:lnTo>
                    <a:pt x="676865" y="1704082"/>
                  </a:lnTo>
                  <a:cubicBezTo>
                    <a:pt x="682085" y="1700847"/>
                    <a:pt x="687957" y="1699229"/>
                    <a:pt x="693747" y="1699148"/>
                  </a:cubicBezTo>
                  <a:close/>
                  <a:moveTo>
                    <a:pt x="1266684" y="1589704"/>
                  </a:moveTo>
                  <a:cubicBezTo>
                    <a:pt x="1272393" y="1589623"/>
                    <a:pt x="1278102" y="1591085"/>
                    <a:pt x="1283321" y="1594010"/>
                  </a:cubicBezTo>
                  <a:lnTo>
                    <a:pt x="1370097" y="1642108"/>
                  </a:lnTo>
                  <a:cubicBezTo>
                    <a:pt x="1381841" y="1649258"/>
                    <a:pt x="1381841" y="1666808"/>
                    <a:pt x="1369444" y="1673957"/>
                  </a:cubicBezTo>
                  <a:lnTo>
                    <a:pt x="1276797" y="1728555"/>
                  </a:lnTo>
                  <a:cubicBezTo>
                    <a:pt x="1266358" y="1734405"/>
                    <a:pt x="1253309" y="1734405"/>
                    <a:pt x="1242870" y="1729205"/>
                  </a:cubicBezTo>
                  <a:lnTo>
                    <a:pt x="1158052" y="1680457"/>
                  </a:lnTo>
                  <a:cubicBezTo>
                    <a:pt x="1146308" y="1673307"/>
                    <a:pt x="1146308" y="1656408"/>
                    <a:pt x="1158052" y="1649258"/>
                  </a:cubicBezTo>
                  <a:lnTo>
                    <a:pt x="1250047" y="1594660"/>
                  </a:lnTo>
                  <a:cubicBezTo>
                    <a:pt x="1255266" y="1591410"/>
                    <a:pt x="1260975" y="1589785"/>
                    <a:pt x="1266684" y="1589704"/>
                  </a:cubicBezTo>
                  <a:close/>
                  <a:moveTo>
                    <a:pt x="883514" y="1586662"/>
                  </a:moveTo>
                  <a:cubicBezTo>
                    <a:pt x="889289" y="1586580"/>
                    <a:pt x="894982" y="1587880"/>
                    <a:pt x="899862" y="1590480"/>
                  </a:cubicBezTo>
                  <a:lnTo>
                    <a:pt x="986398" y="1639229"/>
                  </a:lnTo>
                  <a:cubicBezTo>
                    <a:pt x="998760" y="1645729"/>
                    <a:pt x="998110" y="1663278"/>
                    <a:pt x="986398" y="1670428"/>
                  </a:cubicBezTo>
                  <a:lnTo>
                    <a:pt x="893355" y="1725026"/>
                  </a:lnTo>
                  <a:cubicBezTo>
                    <a:pt x="883596" y="1731526"/>
                    <a:pt x="870583" y="1731526"/>
                    <a:pt x="860172" y="1725676"/>
                  </a:cubicBezTo>
                  <a:lnTo>
                    <a:pt x="775588" y="1676928"/>
                  </a:lnTo>
                  <a:cubicBezTo>
                    <a:pt x="763226" y="1670428"/>
                    <a:pt x="763877" y="1652878"/>
                    <a:pt x="775588" y="1645729"/>
                  </a:cubicBezTo>
                  <a:lnTo>
                    <a:pt x="866679" y="1591130"/>
                  </a:lnTo>
                  <a:cubicBezTo>
                    <a:pt x="871884" y="1588205"/>
                    <a:pt x="877740" y="1586743"/>
                    <a:pt x="883514" y="1586662"/>
                  </a:cubicBezTo>
                  <a:close/>
                  <a:moveTo>
                    <a:pt x="500433" y="1581063"/>
                  </a:moveTo>
                  <a:cubicBezTo>
                    <a:pt x="506208" y="1580982"/>
                    <a:pt x="511901" y="1582444"/>
                    <a:pt x="516781" y="1585369"/>
                  </a:cubicBezTo>
                  <a:lnTo>
                    <a:pt x="603317" y="1633468"/>
                  </a:lnTo>
                  <a:cubicBezTo>
                    <a:pt x="615679" y="1639968"/>
                    <a:pt x="615029" y="1658167"/>
                    <a:pt x="602666" y="1665317"/>
                  </a:cubicBezTo>
                  <a:lnTo>
                    <a:pt x="510274" y="1719915"/>
                  </a:lnTo>
                  <a:cubicBezTo>
                    <a:pt x="499864" y="1725765"/>
                    <a:pt x="486851" y="1725765"/>
                    <a:pt x="477091" y="1719915"/>
                  </a:cubicBezTo>
                  <a:lnTo>
                    <a:pt x="392507" y="1671817"/>
                  </a:lnTo>
                  <a:cubicBezTo>
                    <a:pt x="380145" y="1664667"/>
                    <a:pt x="380796" y="1647117"/>
                    <a:pt x="392507" y="1639968"/>
                  </a:cubicBezTo>
                  <a:lnTo>
                    <a:pt x="483598" y="1586019"/>
                  </a:lnTo>
                  <a:cubicBezTo>
                    <a:pt x="488803" y="1582769"/>
                    <a:pt x="494659" y="1581144"/>
                    <a:pt x="500433" y="1581063"/>
                  </a:cubicBezTo>
                  <a:close/>
                  <a:moveTo>
                    <a:pt x="1076251" y="1471929"/>
                  </a:moveTo>
                  <a:cubicBezTo>
                    <a:pt x="1081944" y="1471848"/>
                    <a:pt x="1087637" y="1473304"/>
                    <a:pt x="1092842" y="1476539"/>
                  </a:cubicBezTo>
                  <a:lnTo>
                    <a:pt x="1179378" y="1524426"/>
                  </a:lnTo>
                  <a:cubicBezTo>
                    <a:pt x="1191740" y="1531545"/>
                    <a:pt x="1191090" y="1548370"/>
                    <a:pt x="1178727" y="1556135"/>
                  </a:cubicBezTo>
                  <a:lnTo>
                    <a:pt x="1086335" y="1610493"/>
                  </a:lnTo>
                  <a:cubicBezTo>
                    <a:pt x="1075925" y="1616317"/>
                    <a:pt x="1062912" y="1616317"/>
                    <a:pt x="1053152" y="1610493"/>
                  </a:cubicBezTo>
                  <a:lnTo>
                    <a:pt x="968568" y="1562606"/>
                  </a:lnTo>
                  <a:cubicBezTo>
                    <a:pt x="956206" y="1555488"/>
                    <a:pt x="956857" y="1538016"/>
                    <a:pt x="968568" y="1530897"/>
                  </a:cubicBezTo>
                  <a:lnTo>
                    <a:pt x="1059659" y="1476539"/>
                  </a:lnTo>
                  <a:cubicBezTo>
                    <a:pt x="1064864" y="1473627"/>
                    <a:pt x="1070557" y="1472009"/>
                    <a:pt x="1076251" y="1471929"/>
                  </a:cubicBezTo>
                  <a:close/>
                  <a:moveTo>
                    <a:pt x="693747" y="1468975"/>
                  </a:moveTo>
                  <a:cubicBezTo>
                    <a:pt x="699537" y="1468812"/>
                    <a:pt x="705246" y="1470112"/>
                    <a:pt x="710139" y="1473037"/>
                  </a:cubicBezTo>
                  <a:lnTo>
                    <a:pt x="796915" y="1521135"/>
                  </a:lnTo>
                  <a:cubicBezTo>
                    <a:pt x="808659" y="1528285"/>
                    <a:pt x="808659" y="1545835"/>
                    <a:pt x="796262" y="1552984"/>
                  </a:cubicBezTo>
                  <a:lnTo>
                    <a:pt x="703615" y="1606932"/>
                  </a:lnTo>
                  <a:cubicBezTo>
                    <a:pt x="693176" y="1613432"/>
                    <a:pt x="680127" y="1613432"/>
                    <a:pt x="670340" y="1607582"/>
                  </a:cubicBezTo>
                  <a:lnTo>
                    <a:pt x="584870" y="1559484"/>
                  </a:lnTo>
                  <a:cubicBezTo>
                    <a:pt x="573126" y="1552334"/>
                    <a:pt x="573126" y="1534785"/>
                    <a:pt x="584870" y="1527635"/>
                  </a:cubicBezTo>
                  <a:lnTo>
                    <a:pt x="676865" y="1473687"/>
                  </a:lnTo>
                  <a:cubicBezTo>
                    <a:pt x="682085" y="1470762"/>
                    <a:pt x="687957" y="1469137"/>
                    <a:pt x="693747" y="1468975"/>
                  </a:cubicBezTo>
                  <a:close/>
                  <a:moveTo>
                    <a:pt x="307453" y="1463207"/>
                  </a:moveTo>
                  <a:cubicBezTo>
                    <a:pt x="313228" y="1463045"/>
                    <a:pt x="318921" y="1464339"/>
                    <a:pt x="323801" y="1467251"/>
                  </a:cubicBezTo>
                  <a:lnTo>
                    <a:pt x="410337" y="1515138"/>
                  </a:lnTo>
                  <a:cubicBezTo>
                    <a:pt x="422699" y="1521609"/>
                    <a:pt x="422049" y="1539728"/>
                    <a:pt x="410337" y="1546846"/>
                  </a:cubicBezTo>
                  <a:lnTo>
                    <a:pt x="317294" y="1601204"/>
                  </a:lnTo>
                  <a:cubicBezTo>
                    <a:pt x="307535" y="1607028"/>
                    <a:pt x="294522" y="1607675"/>
                    <a:pt x="284111" y="1601204"/>
                  </a:cubicBezTo>
                  <a:lnTo>
                    <a:pt x="199527" y="1553318"/>
                  </a:lnTo>
                  <a:cubicBezTo>
                    <a:pt x="187165" y="1546199"/>
                    <a:pt x="187816" y="1529374"/>
                    <a:pt x="199527" y="1521609"/>
                  </a:cubicBezTo>
                  <a:lnTo>
                    <a:pt x="290618" y="1467898"/>
                  </a:lnTo>
                  <a:cubicBezTo>
                    <a:pt x="295823" y="1464986"/>
                    <a:pt x="301679" y="1463369"/>
                    <a:pt x="307453" y="1463207"/>
                  </a:cubicBezTo>
                  <a:close/>
                  <a:moveTo>
                    <a:pt x="1266682" y="1359198"/>
                  </a:moveTo>
                  <a:cubicBezTo>
                    <a:pt x="1272391" y="1359035"/>
                    <a:pt x="1278100" y="1360335"/>
                    <a:pt x="1283319" y="1362935"/>
                  </a:cubicBezTo>
                  <a:lnTo>
                    <a:pt x="1370095" y="1411683"/>
                  </a:lnTo>
                  <a:cubicBezTo>
                    <a:pt x="1381839" y="1418833"/>
                    <a:pt x="1381839" y="1436383"/>
                    <a:pt x="1369442" y="1443532"/>
                  </a:cubicBezTo>
                  <a:lnTo>
                    <a:pt x="1276795" y="1497480"/>
                  </a:lnTo>
                  <a:cubicBezTo>
                    <a:pt x="1266356" y="1503980"/>
                    <a:pt x="1253307" y="1503980"/>
                    <a:pt x="1242868" y="1498130"/>
                  </a:cubicBezTo>
                  <a:lnTo>
                    <a:pt x="1158050" y="1450032"/>
                  </a:lnTo>
                  <a:cubicBezTo>
                    <a:pt x="1146306" y="1442882"/>
                    <a:pt x="1146306" y="1425333"/>
                    <a:pt x="1158050" y="1418183"/>
                  </a:cubicBezTo>
                  <a:lnTo>
                    <a:pt x="1250045" y="1364235"/>
                  </a:lnTo>
                  <a:cubicBezTo>
                    <a:pt x="1255265" y="1360985"/>
                    <a:pt x="1260973" y="1359360"/>
                    <a:pt x="1266682" y="1359198"/>
                  </a:cubicBezTo>
                  <a:close/>
                  <a:moveTo>
                    <a:pt x="117685" y="1356636"/>
                  </a:moveTo>
                  <a:cubicBezTo>
                    <a:pt x="123475" y="1356474"/>
                    <a:pt x="129184" y="1357768"/>
                    <a:pt x="134077" y="1360680"/>
                  </a:cubicBezTo>
                  <a:lnTo>
                    <a:pt x="220853" y="1409214"/>
                  </a:lnTo>
                  <a:cubicBezTo>
                    <a:pt x="232597" y="1415685"/>
                    <a:pt x="232597" y="1433158"/>
                    <a:pt x="220853" y="1440276"/>
                  </a:cubicBezTo>
                  <a:lnTo>
                    <a:pt x="127553" y="1494634"/>
                  </a:lnTo>
                  <a:cubicBezTo>
                    <a:pt x="117114" y="1500458"/>
                    <a:pt x="104065" y="1501105"/>
                    <a:pt x="94278" y="1494634"/>
                  </a:cubicBezTo>
                  <a:lnTo>
                    <a:pt x="8808" y="1446747"/>
                  </a:lnTo>
                  <a:cubicBezTo>
                    <a:pt x="-2936" y="1439629"/>
                    <a:pt x="-2936" y="1422804"/>
                    <a:pt x="8808" y="1415685"/>
                  </a:cubicBezTo>
                  <a:lnTo>
                    <a:pt x="100803" y="1361327"/>
                  </a:lnTo>
                  <a:cubicBezTo>
                    <a:pt x="106023" y="1358415"/>
                    <a:pt x="111895" y="1356798"/>
                    <a:pt x="117685" y="1356636"/>
                  </a:cubicBezTo>
                  <a:close/>
                  <a:moveTo>
                    <a:pt x="883514" y="1356634"/>
                  </a:moveTo>
                  <a:cubicBezTo>
                    <a:pt x="889289" y="1356473"/>
                    <a:pt x="894982" y="1357767"/>
                    <a:pt x="899862" y="1360679"/>
                  </a:cubicBezTo>
                  <a:lnTo>
                    <a:pt x="986398" y="1409213"/>
                  </a:lnTo>
                  <a:cubicBezTo>
                    <a:pt x="998760" y="1415684"/>
                    <a:pt x="998110" y="1433156"/>
                    <a:pt x="986398" y="1440274"/>
                  </a:cubicBezTo>
                  <a:lnTo>
                    <a:pt x="893355" y="1494633"/>
                  </a:lnTo>
                  <a:cubicBezTo>
                    <a:pt x="883596" y="1500457"/>
                    <a:pt x="870583" y="1501104"/>
                    <a:pt x="860172" y="1494633"/>
                  </a:cubicBezTo>
                  <a:lnTo>
                    <a:pt x="775588" y="1446746"/>
                  </a:lnTo>
                  <a:cubicBezTo>
                    <a:pt x="763226" y="1439627"/>
                    <a:pt x="763877" y="1422802"/>
                    <a:pt x="775588" y="1415684"/>
                  </a:cubicBezTo>
                  <a:lnTo>
                    <a:pt x="866679" y="1361326"/>
                  </a:lnTo>
                  <a:cubicBezTo>
                    <a:pt x="871884" y="1358414"/>
                    <a:pt x="877740" y="1356796"/>
                    <a:pt x="883514" y="1356634"/>
                  </a:cubicBezTo>
                  <a:close/>
                  <a:moveTo>
                    <a:pt x="500432" y="1350483"/>
                  </a:moveTo>
                  <a:cubicBezTo>
                    <a:pt x="506207" y="1350402"/>
                    <a:pt x="511900" y="1351707"/>
                    <a:pt x="516780" y="1354319"/>
                  </a:cubicBezTo>
                  <a:lnTo>
                    <a:pt x="603316" y="1402631"/>
                  </a:lnTo>
                  <a:cubicBezTo>
                    <a:pt x="615678" y="1409813"/>
                    <a:pt x="615028" y="1427440"/>
                    <a:pt x="602665" y="1434622"/>
                  </a:cubicBezTo>
                  <a:lnTo>
                    <a:pt x="510273" y="1489464"/>
                  </a:lnTo>
                  <a:cubicBezTo>
                    <a:pt x="499863" y="1495339"/>
                    <a:pt x="486850" y="1495339"/>
                    <a:pt x="477090" y="1490116"/>
                  </a:cubicBezTo>
                  <a:lnTo>
                    <a:pt x="392506" y="1441151"/>
                  </a:lnTo>
                  <a:cubicBezTo>
                    <a:pt x="380144" y="1434622"/>
                    <a:pt x="380795" y="1416994"/>
                    <a:pt x="392506" y="1409813"/>
                  </a:cubicBezTo>
                  <a:lnTo>
                    <a:pt x="483597" y="1354972"/>
                  </a:lnTo>
                  <a:cubicBezTo>
                    <a:pt x="488802" y="1352034"/>
                    <a:pt x="494658" y="1350565"/>
                    <a:pt x="500432" y="1350483"/>
                  </a:cubicBezTo>
                  <a:close/>
                  <a:moveTo>
                    <a:pt x="1459575" y="1247184"/>
                  </a:moveTo>
                  <a:cubicBezTo>
                    <a:pt x="1465350" y="1247022"/>
                    <a:pt x="1471043" y="1248316"/>
                    <a:pt x="1475923" y="1251228"/>
                  </a:cubicBezTo>
                  <a:lnTo>
                    <a:pt x="1562459" y="1299762"/>
                  </a:lnTo>
                  <a:cubicBezTo>
                    <a:pt x="1574821" y="1305586"/>
                    <a:pt x="1574171" y="1323059"/>
                    <a:pt x="1562459" y="1330824"/>
                  </a:cubicBezTo>
                  <a:lnTo>
                    <a:pt x="1469416" y="1385182"/>
                  </a:lnTo>
                  <a:cubicBezTo>
                    <a:pt x="1459657" y="1391006"/>
                    <a:pt x="1446644" y="1391653"/>
                    <a:pt x="1436233" y="1385182"/>
                  </a:cubicBezTo>
                  <a:lnTo>
                    <a:pt x="1351649" y="1336648"/>
                  </a:lnTo>
                  <a:cubicBezTo>
                    <a:pt x="1339287" y="1330177"/>
                    <a:pt x="1339938" y="1313352"/>
                    <a:pt x="1351649" y="1305586"/>
                  </a:cubicBezTo>
                  <a:lnTo>
                    <a:pt x="1442740" y="1251875"/>
                  </a:lnTo>
                  <a:cubicBezTo>
                    <a:pt x="1447945" y="1248963"/>
                    <a:pt x="1453801" y="1247345"/>
                    <a:pt x="1459575" y="1247184"/>
                  </a:cubicBezTo>
                  <a:close/>
                  <a:moveTo>
                    <a:pt x="307452" y="1241188"/>
                  </a:moveTo>
                  <a:cubicBezTo>
                    <a:pt x="313227" y="1241106"/>
                    <a:pt x="318920" y="1242569"/>
                    <a:pt x="323800" y="1245494"/>
                  </a:cubicBezTo>
                  <a:lnTo>
                    <a:pt x="410336" y="1293592"/>
                  </a:lnTo>
                  <a:cubicBezTo>
                    <a:pt x="422698" y="1300742"/>
                    <a:pt x="422048" y="1318292"/>
                    <a:pt x="410336" y="1325441"/>
                  </a:cubicBezTo>
                  <a:lnTo>
                    <a:pt x="317293" y="1380040"/>
                  </a:lnTo>
                  <a:cubicBezTo>
                    <a:pt x="307534" y="1385890"/>
                    <a:pt x="294521" y="1385890"/>
                    <a:pt x="284110" y="1380690"/>
                  </a:cubicBezTo>
                  <a:lnTo>
                    <a:pt x="199526" y="1331941"/>
                  </a:lnTo>
                  <a:cubicBezTo>
                    <a:pt x="187164" y="1324791"/>
                    <a:pt x="187815" y="1307892"/>
                    <a:pt x="199526" y="1300742"/>
                  </a:cubicBezTo>
                  <a:lnTo>
                    <a:pt x="290617" y="1246144"/>
                  </a:lnTo>
                  <a:cubicBezTo>
                    <a:pt x="295822" y="1242894"/>
                    <a:pt x="301678" y="1241269"/>
                    <a:pt x="307452" y="1241188"/>
                  </a:cubicBezTo>
                  <a:close/>
                  <a:moveTo>
                    <a:pt x="1076251" y="1241187"/>
                  </a:moveTo>
                  <a:cubicBezTo>
                    <a:pt x="1081944" y="1241105"/>
                    <a:pt x="1087637" y="1242568"/>
                    <a:pt x="1092842" y="1245493"/>
                  </a:cubicBezTo>
                  <a:lnTo>
                    <a:pt x="1179378" y="1293591"/>
                  </a:lnTo>
                  <a:cubicBezTo>
                    <a:pt x="1191740" y="1300741"/>
                    <a:pt x="1191090" y="1318291"/>
                    <a:pt x="1178727" y="1325440"/>
                  </a:cubicBezTo>
                  <a:lnTo>
                    <a:pt x="1086335" y="1380039"/>
                  </a:lnTo>
                  <a:cubicBezTo>
                    <a:pt x="1075925" y="1385889"/>
                    <a:pt x="1062912" y="1385889"/>
                    <a:pt x="1053152" y="1380689"/>
                  </a:cubicBezTo>
                  <a:lnTo>
                    <a:pt x="968568" y="1331940"/>
                  </a:lnTo>
                  <a:cubicBezTo>
                    <a:pt x="956206" y="1324790"/>
                    <a:pt x="956857" y="1307891"/>
                    <a:pt x="968568" y="1300741"/>
                  </a:cubicBezTo>
                  <a:lnTo>
                    <a:pt x="1059659" y="1246143"/>
                  </a:lnTo>
                  <a:cubicBezTo>
                    <a:pt x="1064864" y="1242893"/>
                    <a:pt x="1070557" y="1241268"/>
                    <a:pt x="1076251" y="1241187"/>
                  </a:cubicBezTo>
                  <a:close/>
                  <a:moveTo>
                    <a:pt x="693746" y="1238226"/>
                  </a:moveTo>
                  <a:cubicBezTo>
                    <a:pt x="699536" y="1238226"/>
                    <a:pt x="705245" y="1239689"/>
                    <a:pt x="710138" y="1242614"/>
                  </a:cubicBezTo>
                  <a:lnTo>
                    <a:pt x="796914" y="1290712"/>
                  </a:lnTo>
                  <a:cubicBezTo>
                    <a:pt x="808658" y="1297212"/>
                    <a:pt x="808658" y="1314761"/>
                    <a:pt x="796261" y="1321911"/>
                  </a:cubicBezTo>
                  <a:lnTo>
                    <a:pt x="703614" y="1376509"/>
                  </a:lnTo>
                  <a:cubicBezTo>
                    <a:pt x="693175" y="1383009"/>
                    <a:pt x="680126" y="1383009"/>
                    <a:pt x="670339" y="1377159"/>
                  </a:cubicBezTo>
                  <a:lnTo>
                    <a:pt x="584869" y="1328411"/>
                  </a:lnTo>
                  <a:cubicBezTo>
                    <a:pt x="573125" y="1321911"/>
                    <a:pt x="573125" y="1304361"/>
                    <a:pt x="584869" y="1297212"/>
                  </a:cubicBezTo>
                  <a:lnTo>
                    <a:pt x="676864" y="1242614"/>
                  </a:lnTo>
                  <a:cubicBezTo>
                    <a:pt x="682084" y="1239689"/>
                    <a:pt x="687956" y="1238226"/>
                    <a:pt x="693746" y="1238226"/>
                  </a:cubicBezTo>
                  <a:close/>
                  <a:moveTo>
                    <a:pt x="1649432" y="1134616"/>
                  </a:moveTo>
                  <a:cubicBezTo>
                    <a:pt x="1655125" y="1134535"/>
                    <a:pt x="1660818" y="1135997"/>
                    <a:pt x="1666023" y="1138922"/>
                  </a:cubicBezTo>
                  <a:lnTo>
                    <a:pt x="1752559" y="1187020"/>
                  </a:lnTo>
                  <a:cubicBezTo>
                    <a:pt x="1764921" y="1194170"/>
                    <a:pt x="1764271" y="1211720"/>
                    <a:pt x="1751908" y="1218869"/>
                  </a:cubicBezTo>
                  <a:lnTo>
                    <a:pt x="1659516" y="1273467"/>
                  </a:lnTo>
                  <a:cubicBezTo>
                    <a:pt x="1649106" y="1279317"/>
                    <a:pt x="1636093" y="1279317"/>
                    <a:pt x="1625683" y="1274117"/>
                  </a:cubicBezTo>
                  <a:lnTo>
                    <a:pt x="1541749" y="1225369"/>
                  </a:lnTo>
                  <a:cubicBezTo>
                    <a:pt x="1529387" y="1218219"/>
                    <a:pt x="1530038" y="1201320"/>
                    <a:pt x="1541749" y="1194170"/>
                  </a:cubicBezTo>
                  <a:lnTo>
                    <a:pt x="1632840" y="1139572"/>
                  </a:lnTo>
                  <a:cubicBezTo>
                    <a:pt x="1638045" y="1136322"/>
                    <a:pt x="1643738" y="1134697"/>
                    <a:pt x="1649432" y="1134616"/>
                  </a:cubicBezTo>
                  <a:close/>
                  <a:moveTo>
                    <a:pt x="500431" y="1128774"/>
                  </a:moveTo>
                  <a:cubicBezTo>
                    <a:pt x="506206" y="1128774"/>
                    <a:pt x="511899" y="1130237"/>
                    <a:pt x="516779" y="1133162"/>
                  </a:cubicBezTo>
                  <a:lnTo>
                    <a:pt x="603315" y="1181260"/>
                  </a:lnTo>
                  <a:cubicBezTo>
                    <a:pt x="615677" y="1187760"/>
                    <a:pt x="615027" y="1205309"/>
                    <a:pt x="602664" y="1212459"/>
                  </a:cubicBezTo>
                  <a:lnTo>
                    <a:pt x="510272" y="1267057"/>
                  </a:lnTo>
                  <a:cubicBezTo>
                    <a:pt x="499862" y="1273557"/>
                    <a:pt x="486849" y="1273557"/>
                    <a:pt x="477089" y="1267707"/>
                  </a:cubicBezTo>
                  <a:lnTo>
                    <a:pt x="392505" y="1218959"/>
                  </a:lnTo>
                  <a:cubicBezTo>
                    <a:pt x="380143" y="1212459"/>
                    <a:pt x="380794" y="1194909"/>
                    <a:pt x="392505" y="1187760"/>
                  </a:cubicBezTo>
                  <a:lnTo>
                    <a:pt x="483596" y="1133162"/>
                  </a:lnTo>
                  <a:cubicBezTo>
                    <a:pt x="488801" y="1130237"/>
                    <a:pt x="494657" y="1128774"/>
                    <a:pt x="500431" y="1128774"/>
                  </a:cubicBezTo>
                  <a:close/>
                  <a:moveTo>
                    <a:pt x="1266682" y="1128773"/>
                  </a:moveTo>
                  <a:cubicBezTo>
                    <a:pt x="1272391" y="1128773"/>
                    <a:pt x="1278100" y="1130236"/>
                    <a:pt x="1283319" y="1133161"/>
                  </a:cubicBezTo>
                  <a:lnTo>
                    <a:pt x="1370095" y="1181259"/>
                  </a:lnTo>
                  <a:cubicBezTo>
                    <a:pt x="1381839" y="1187759"/>
                    <a:pt x="1381839" y="1205308"/>
                    <a:pt x="1369442" y="1212458"/>
                  </a:cubicBezTo>
                  <a:lnTo>
                    <a:pt x="1276795" y="1267056"/>
                  </a:lnTo>
                  <a:cubicBezTo>
                    <a:pt x="1266356" y="1273556"/>
                    <a:pt x="1253307" y="1273556"/>
                    <a:pt x="1242868" y="1267706"/>
                  </a:cubicBezTo>
                  <a:lnTo>
                    <a:pt x="1158050" y="1218958"/>
                  </a:lnTo>
                  <a:cubicBezTo>
                    <a:pt x="1146306" y="1212458"/>
                    <a:pt x="1146306" y="1194908"/>
                    <a:pt x="1158050" y="1187759"/>
                  </a:cubicBezTo>
                  <a:lnTo>
                    <a:pt x="1250045" y="1133161"/>
                  </a:lnTo>
                  <a:cubicBezTo>
                    <a:pt x="1255264" y="1130236"/>
                    <a:pt x="1260973" y="1128773"/>
                    <a:pt x="1266682" y="1128773"/>
                  </a:cubicBezTo>
                  <a:close/>
                  <a:moveTo>
                    <a:pt x="883513" y="1125894"/>
                  </a:moveTo>
                  <a:cubicBezTo>
                    <a:pt x="889288" y="1125732"/>
                    <a:pt x="894981" y="1127032"/>
                    <a:pt x="899861" y="1129632"/>
                  </a:cubicBezTo>
                  <a:lnTo>
                    <a:pt x="986397" y="1178380"/>
                  </a:lnTo>
                  <a:cubicBezTo>
                    <a:pt x="998759" y="1185530"/>
                    <a:pt x="998109" y="1203080"/>
                    <a:pt x="986397" y="1210229"/>
                  </a:cubicBezTo>
                  <a:lnTo>
                    <a:pt x="893354" y="1264828"/>
                  </a:lnTo>
                  <a:cubicBezTo>
                    <a:pt x="883595" y="1270678"/>
                    <a:pt x="870582" y="1270678"/>
                    <a:pt x="860171" y="1264828"/>
                  </a:cubicBezTo>
                  <a:lnTo>
                    <a:pt x="775587" y="1216729"/>
                  </a:lnTo>
                  <a:cubicBezTo>
                    <a:pt x="763225" y="1209579"/>
                    <a:pt x="763876" y="1192030"/>
                    <a:pt x="775587" y="1184880"/>
                  </a:cubicBezTo>
                  <a:lnTo>
                    <a:pt x="866678" y="1130932"/>
                  </a:lnTo>
                  <a:cubicBezTo>
                    <a:pt x="871883" y="1127682"/>
                    <a:pt x="877739" y="1126057"/>
                    <a:pt x="883513" y="1125894"/>
                  </a:cubicBezTo>
                  <a:close/>
                  <a:moveTo>
                    <a:pt x="1842422" y="1022122"/>
                  </a:moveTo>
                  <a:cubicBezTo>
                    <a:pt x="1848146" y="1022040"/>
                    <a:pt x="1853871" y="1023340"/>
                    <a:pt x="1859105" y="1025940"/>
                  </a:cubicBezTo>
                  <a:lnTo>
                    <a:pt x="1946120" y="1074039"/>
                  </a:lnTo>
                  <a:cubicBezTo>
                    <a:pt x="1957897" y="1081189"/>
                    <a:pt x="1957897" y="1098738"/>
                    <a:pt x="1945466" y="1105888"/>
                  </a:cubicBezTo>
                  <a:lnTo>
                    <a:pt x="1852562" y="1160486"/>
                  </a:lnTo>
                  <a:cubicBezTo>
                    <a:pt x="1842094" y="1166986"/>
                    <a:pt x="1829009" y="1166986"/>
                    <a:pt x="1818541" y="1161136"/>
                  </a:cubicBezTo>
                  <a:lnTo>
                    <a:pt x="1734143" y="1112388"/>
                  </a:lnTo>
                  <a:cubicBezTo>
                    <a:pt x="1722366" y="1105888"/>
                    <a:pt x="1722366" y="1088338"/>
                    <a:pt x="1734143" y="1081189"/>
                  </a:cubicBezTo>
                  <a:lnTo>
                    <a:pt x="1825738" y="1026590"/>
                  </a:lnTo>
                  <a:cubicBezTo>
                    <a:pt x="1830972" y="1023665"/>
                    <a:pt x="1836697" y="1022203"/>
                    <a:pt x="1842422" y="1022122"/>
                  </a:cubicBezTo>
                  <a:close/>
                  <a:moveTo>
                    <a:pt x="693745" y="1016760"/>
                  </a:moveTo>
                  <a:cubicBezTo>
                    <a:pt x="699535" y="1016599"/>
                    <a:pt x="705244" y="1017893"/>
                    <a:pt x="710137" y="1020805"/>
                  </a:cubicBezTo>
                  <a:lnTo>
                    <a:pt x="796913" y="1069339"/>
                  </a:lnTo>
                  <a:cubicBezTo>
                    <a:pt x="808657" y="1076457"/>
                    <a:pt x="808657" y="1093282"/>
                    <a:pt x="796260" y="1101048"/>
                  </a:cubicBezTo>
                  <a:lnTo>
                    <a:pt x="703613" y="1154758"/>
                  </a:lnTo>
                  <a:cubicBezTo>
                    <a:pt x="693174" y="1161230"/>
                    <a:pt x="680125" y="1161230"/>
                    <a:pt x="670338" y="1155406"/>
                  </a:cubicBezTo>
                  <a:lnTo>
                    <a:pt x="584868" y="1107519"/>
                  </a:lnTo>
                  <a:cubicBezTo>
                    <a:pt x="573124" y="1100400"/>
                    <a:pt x="573124" y="1082928"/>
                    <a:pt x="584868" y="1075810"/>
                  </a:cubicBezTo>
                  <a:lnTo>
                    <a:pt x="676863" y="1021452"/>
                  </a:lnTo>
                  <a:cubicBezTo>
                    <a:pt x="682082" y="1018540"/>
                    <a:pt x="687954" y="1016922"/>
                    <a:pt x="693745" y="1016760"/>
                  </a:cubicBezTo>
                  <a:close/>
                  <a:moveTo>
                    <a:pt x="1459575" y="1016759"/>
                  </a:moveTo>
                  <a:cubicBezTo>
                    <a:pt x="1465350" y="1016598"/>
                    <a:pt x="1471043" y="1017892"/>
                    <a:pt x="1475923" y="1020804"/>
                  </a:cubicBezTo>
                  <a:lnTo>
                    <a:pt x="1562459" y="1069338"/>
                  </a:lnTo>
                  <a:cubicBezTo>
                    <a:pt x="1574821" y="1076456"/>
                    <a:pt x="1574171" y="1093281"/>
                    <a:pt x="1562459" y="1101047"/>
                  </a:cubicBezTo>
                  <a:lnTo>
                    <a:pt x="1469416" y="1154757"/>
                  </a:lnTo>
                  <a:cubicBezTo>
                    <a:pt x="1459657" y="1161229"/>
                    <a:pt x="1446644" y="1161229"/>
                    <a:pt x="1436233" y="1155405"/>
                  </a:cubicBezTo>
                  <a:lnTo>
                    <a:pt x="1351649" y="1107518"/>
                  </a:lnTo>
                  <a:cubicBezTo>
                    <a:pt x="1339287" y="1100399"/>
                    <a:pt x="1339938" y="1082927"/>
                    <a:pt x="1351649" y="1075809"/>
                  </a:cubicBezTo>
                  <a:lnTo>
                    <a:pt x="1442740" y="1021451"/>
                  </a:lnTo>
                  <a:cubicBezTo>
                    <a:pt x="1447945" y="1018539"/>
                    <a:pt x="1453801" y="1016921"/>
                    <a:pt x="1459575" y="1016759"/>
                  </a:cubicBezTo>
                  <a:close/>
                  <a:moveTo>
                    <a:pt x="1076249" y="1011007"/>
                  </a:moveTo>
                  <a:cubicBezTo>
                    <a:pt x="1081943" y="1010845"/>
                    <a:pt x="1087636" y="1012145"/>
                    <a:pt x="1092841" y="1015070"/>
                  </a:cubicBezTo>
                  <a:lnTo>
                    <a:pt x="1179377" y="1063168"/>
                  </a:lnTo>
                  <a:cubicBezTo>
                    <a:pt x="1191739" y="1070318"/>
                    <a:pt x="1191089" y="1087868"/>
                    <a:pt x="1178726" y="1095017"/>
                  </a:cubicBezTo>
                  <a:lnTo>
                    <a:pt x="1086334" y="1148966"/>
                  </a:lnTo>
                  <a:cubicBezTo>
                    <a:pt x="1075924" y="1155466"/>
                    <a:pt x="1062911" y="1155466"/>
                    <a:pt x="1053151" y="1149616"/>
                  </a:cubicBezTo>
                  <a:lnTo>
                    <a:pt x="968567" y="1101517"/>
                  </a:lnTo>
                  <a:cubicBezTo>
                    <a:pt x="956205" y="1095017"/>
                    <a:pt x="956856" y="1076818"/>
                    <a:pt x="968567" y="1069668"/>
                  </a:cubicBezTo>
                  <a:lnTo>
                    <a:pt x="1059658" y="1015720"/>
                  </a:lnTo>
                  <a:cubicBezTo>
                    <a:pt x="1064863" y="1012795"/>
                    <a:pt x="1070556" y="1011170"/>
                    <a:pt x="1076249" y="1011007"/>
                  </a:cubicBezTo>
                  <a:close/>
                  <a:moveTo>
                    <a:pt x="2450028" y="912842"/>
                  </a:moveTo>
                  <a:cubicBezTo>
                    <a:pt x="2455821" y="912761"/>
                    <a:pt x="2461532" y="914233"/>
                    <a:pt x="2466428" y="917178"/>
                  </a:cubicBezTo>
                  <a:lnTo>
                    <a:pt x="2553241" y="965601"/>
                  </a:lnTo>
                  <a:cubicBezTo>
                    <a:pt x="2565642" y="972800"/>
                    <a:pt x="2564989" y="990468"/>
                    <a:pt x="2552588" y="997666"/>
                  </a:cubicBezTo>
                  <a:lnTo>
                    <a:pt x="1475592" y="1621286"/>
                  </a:lnTo>
                  <a:cubicBezTo>
                    <a:pt x="1465801" y="1627830"/>
                    <a:pt x="1452747" y="1627830"/>
                    <a:pt x="1442303" y="1621940"/>
                  </a:cubicBezTo>
                  <a:lnTo>
                    <a:pt x="1357449" y="1573517"/>
                  </a:lnTo>
                  <a:cubicBezTo>
                    <a:pt x="1345047" y="1566319"/>
                    <a:pt x="1345700" y="1548650"/>
                    <a:pt x="1357449" y="1541452"/>
                  </a:cubicBezTo>
                  <a:lnTo>
                    <a:pt x="2433139" y="917832"/>
                  </a:lnTo>
                  <a:cubicBezTo>
                    <a:pt x="2438361" y="914560"/>
                    <a:pt x="2444236" y="912924"/>
                    <a:pt x="2450028" y="912842"/>
                  </a:cubicBezTo>
                  <a:close/>
                  <a:moveTo>
                    <a:pt x="2032754" y="907308"/>
                  </a:moveTo>
                  <a:cubicBezTo>
                    <a:pt x="2038529" y="907146"/>
                    <a:pt x="2044222" y="908440"/>
                    <a:pt x="2049102" y="911352"/>
                  </a:cubicBezTo>
                  <a:lnTo>
                    <a:pt x="2135638" y="959886"/>
                  </a:lnTo>
                  <a:cubicBezTo>
                    <a:pt x="2148000" y="966357"/>
                    <a:pt x="2147350" y="983830"/>
                    <a:pt x="2135638" y="991595"/>
                  </a:cubicBezTo>
                  <a:lnTo>
                    <a:pt x="2042595" y="1045306"/>
                  </a:lnTo>
                  <a:cubicBezTo>
                    <a:pt x="2032836" y="1051777"/>
                    <a:pt x="2019823" y="1051777"/>
                    <a:pt x="2009412" y="1045953"/>
                  </a:cubicBezTo>
                  <a:lnTo>
                    <a:pt x="1924828" y="998066"/>
                  </a:lnTo>
                  <a:cubicBezTo>
                    <a:pt x="1912466" y="990948"/>
                    <a:pt x="1913117" y="973476"/>
                    <a:pt x="1924828" y="966357"/>
                  </a:cubicBezTo>
                  <a:lnTo>
                    <a:pt x="2015919" y="911999"/>
                  </a:lnTo>
                  <a:cubicBezTo>
                    <a:pt x="2021124" y="909087"/>
                    <a:pt x="2026980" y="907470"/>
                    <a:pt x="2032754" y="907308"/>
                  </a:cubicBezTo>
                  <a:close/>
                  <a:moveTo>
                    <a:pt x="883512" y="904111"/>
                  </a:moveTo>
                  <a:cubicBezTo>
                    <a:pt x="889287" y="903949"/>
                    <a:pt x="894980" y="905249"/>
                    <a:pt x="899860" y="907849"/>
                  </a:cubicBezTo>
                  <a:lnTo>
                    <a:pt x="986396" y="956597"/>
                  </a:lnTo>
                  <a:cubicBezTo>
                    <a:pt x="998758" y="963747"/>
                    <a:pt x="998108" y="981296"/>
                    <a:pt x="986396" y="987796"/>
                  </a:cubicBezTo>
                  <a:lnTo>
                    <a:pt x="893353" y="1042394"/>
                  </a:lnTo>
                  <a:cubicBezTo>
                    <a:pt x="883594" y="1048894"/>
                    <a:pt x="870581" y="1048894"/>
                    <a:pt x="860170" y="1043044"/>
                  </a:cubicBezTo>
                  <a:lnTo>
                    <a:pt x="775586" y="994946"/>
                  </a:lnTo>
                  <a:cubicBezTo>
                    <a:pt x="763224" y="987796"/>
                    <a:pt x="763875" y="970246"/>
                    <a:pt x="775586" y="963097"/>
                  </a:cubicBezTo>
                  <a:lnTo>
                    <a:pt x="866677" y="909149"/>
                  </a:lnTo>
                  <a:cubicBezTo>
                    <a:pt x="871882" y="905899"/>
                    <a:pt x="877738" y="904274"/>
                    <a:pt x="883512" y="904111"/>
                  </a:cubicBezTo>
                  <a:close/>
                  <a:moveTo>
                    <a:pt x="1649432" y="904110"/>
                  </a:moveTo>
                  <a:cubicBezTo>
                    <a:pt x="1655125" y="903948"/>
                    <a:pt x="1660818" y="905248"/>
                    <a:pt x="1666023" y="907848"/>
                  </a:cubicBezTo>
                  <a:lnTo>
                    <a:pt x="1752559" y="956596"/>
                  </a:lnTo>
                  <a:cubicBezTo>
                    <a:pt x="1764921" y="963746"/>
                    <a:pt x="1764271" y="981295"/>
                    <a:pt x="1751908" y="987795"/>
                  </a:cubicBezTo>
                  <a:lnTo>
                    <a:pt x="1659516" y="1042393"/>
                  </a:lnTo>
                  <a:cubicBezTo>
                    <a:pt x="1649106" y="1048893"/>
                    <a:pt x="1636093" y="1048893"/>
                    <a:pt x="1625683" y="1043043"/>
                  </a:cubicBezTo>
                  <a:lnTo>
                    <a:pt x="1541749" y="994945"/>
                  </a:lnTo>
                  <a:cubicBezTo>
                    <a:pt x="1529387" y="987795"/>
                    <a:pt x="1530038" y="970245"/>
                    <a:pt x="1541749" y="963096"/>
                  </a:cubicBezTo>
                  <a:lnTo>
                    <a:pt x="1632840" y="909148"/>
                  </a:lnTo>
                  <a:cubicBezTo>
                    <a:pt x="1638045" y="905898"/>
                    <a:pt x="1643738" y="904273"/>
                    <a:pt x="1649432" y="904110"/>
                  </a:cubicBezTo>
                  <a:close/>
                  <a:moveTo>
                    <a:pt x="1266681" y="898432"/>
                  </a:moveTo>
                  <a:cubicBezTo>
                    <a:pt x="1272390" y="898350"/>
                    <a:pt x="1278098" y="899813"/>
                    <a:pt x="1283318" y="902738"/>
                  </a:cubicBezTo>
                  <a:lnTo>
                    <a:pt x="1370094" y="950836"/>
                  </a:lnTo>
                  <a:cubicBezTo>
                    <a:pt x="1381838" y="957986"/>
                    <a:pt x="1381838" y="975535"/>
                    <a:pt x="1369441" y="982685"/>
                  </a:cubicBezTo>
                  <a:lnTo>
                    <a:pt x="1276794" y="1037283"/>
                  </a:lnTo>
                  <a:cubicBezTo>
                    <a:pt x="1266355" y="1043133"/>
                    <a:pt x="1253306" y="1043133"/>
                    <a:pt x="1242867" y="1037283"/>
                  </a:cubicBezTo>
                  <a:lnTo>
                    <a:pt x="1158049" y="989185"/>
                  </a:lnTo>
                  <a:cubicBezTo>
                    <a:pt x="1146305" y="982035"/>
                    <a:pt x="1146305" y="965135"/>
                    <a:pt x="1158049" y="957986"/>
                  </a:cubicBezTo>
                  <a:lnTo>
                    <a:pt x="1250044" y="903388"/>
                  </a:lnTo>
                  <a:cubicBezTo>
                    <a:pt x="1255264" y="900138"/>
                    <a:pt x="1260972" y="898513"/>
                    <a:pt x="1266681" y="898432"/>
                  </a:cubicBezTo>
                  <a:close/>
                  <a:moveTo>
                    <a:pt x="2608815" y="800737"/>
                  </a:moveTo>
                  <a:cubicBezTo>
                    <a:pt x="2614590" y="800575"/>
                    <a:pt x="2620283" y="801869"/>
                    <a:pt x="2625163" y="804781"/>
                  </a:cubicBezTo>
                  <a:lnTo>
                    <a:pt x="2711699" y="853315"/>
                  </a:lnTo>
                  <a:cubicBezTo>
                    <a:pt x="2724061" y="859786"/>
                    <a:pt x="2723411" y="877905"/>
                    <a:pt x="2711699" y="885023"/>
                  </a:cubicBezTo>
                  <a:lnTo>
                    <a:pt x="2618656" y="938734"/>
                  </a:lnTo>
                  <a:cubicBezTo>
                    <a:pt x="2608897" y="945205"/>
                    <a:pt x="2595884" y="945205"/>
                    <a:pt x="2585473" y="939381"/>
                  </a:cubicBezTo>
                  <a:lnTo>
                    <a:pt x="2500889" y="891495"/>
                  </a:lnTo>
                  <a:cubicBezTo>
                    <a:pt x="2488527" y="884376"/>
                    <a:pt x="2489178" y="866904"/>
                    <a:pt x="2500889" y="859786"/>
                  </a:cubicBezTo>
                  <a:lnTo>
                    <a:pt x="2591980" y="805428"/>
                  </a:lnTo>
                  <a:cubicBezTo>
                    <a:pt x="2597185" y="802516"/>
                    <a:pt x="2603041" y="800898"/>
                    <a:pt x="2608815" y="800737"/>
                  </a:cubicBezTo>
                  <a:close/>
                  <a:moveTo>
                    <a:pt x="2225492" y="794740"/>
                  </a:moveTo>
                  <a:cubicBezTo>
                    <a:pt x="2231185" y="794659"/>
                    <a:pt x="2236878" y="796121"/>
                    <a:pt x="2242083" y="799046"/>
                  </a:cubicBezTo>
                  <a:lnTo>
                    <a:pt x="2328619" y="847144"/>
                  </a:lnTo>
                  <a:cubicBezTo>
                    <a:pt x="2340981" y="854294"/>
                    <a:pt x="2340331" y="871844"/>
                    <a:pt x="2327968" y="878343"/>
                  </a:cubicBezTo>
                  <a:lnTo>
                    <a:pt x="2235576" y="932941"/>
                  </a:lnTo>
                  <a:cubicBezTo>
                    <a:pt x="2225166" y="939441"/>
                    <a:pt x="2212153" y="939441"/>
                    <a:pt x="2201743" y="933591"/>
                  </a:cubicBezTo>
                  <a:lnTo>
                    <a:pt x="2117809" y="885493"/>
                  </a:lnTo>
                  <a:cubicBezTo>
                    <a:pt x="2105447" y="878343"/>
                    <a:pt x="2106098" y="860794"/>
                    <a:pt x="2117809" y="853644"/>
                  </a:cubicBezTo>
                  <a:lnTo>
                    <a:pt x="2208900" y="799696"/>
                  </a:lnTo>
                  <a:cubicBezTo>
                    <a:pt x="2214105" y="796446"/>
                    <a:pt x="2219798" y="794821"/>
                    <a:pt x="2225492" y="794740"/>
                  </a:cubicBezTo>
                  <a:close/>
                  <a:moveTo>
                    <a:pt x="1076248" y="791861"/>
                  </a:moveTo>
                  <a:cubicBezTo>
                    <a:pt x="1081942" y="791779"/>
                    <a:pt x="1087635" y="793242"/>
                    <a:pt x="1092840" y="796167"/>
                  </a:cubicBezTo>
                  <a:lnTo>
                    <a:pt x="1179376" y="844265"/>
                  </a:lnTo>
                  <a:cubicBezTo>
                    <a:pt x="1191738" y="851415"/>
                    <a:pt x="1191088" y="868315"/>
                    <a:pt x="1178725" y="876114"/>
                  </a:cubicBezTo>
                  <a:lnTo>
                    <a:pt x="1086333" y="930713"/>
                  </a:lnTo>
                  <a:cubicBezTo>
                    <a:pt x="1075923" y="936563"/>
                    <a:pt x="1062910" y="936563"/>
                    <a:pt x="1053150" y="930713"/>
                  </a:cubicBezTo>
                  <a:lnTo>
                    <a:pt x="968566" y="882614"/>
                  </a:lnTo>
                  <a:cubicBezTo>
                    <a:pt x="956204" y="875464"/>
                    <a:pt x="956855" y="858565"/>
                    <a:pt x="968566" y="851415"/>
                  </a:cubicBezTo>
                  <a:lnTo>
                    <a:pt x="1059657" y="796817"/>
                  </a:lnTo>
                  <a:cubicBezTo>
                    <a:pt x="1064862" y="793567"/>
                    <a:pt x="1070555" y="791942"/>
                    <a:pt x="1076248" y="791861"/>
                  </a:cubicBezTo>
                  <a:close/>
                  <a:moveTo>
                    <a:pt x="1842422" y="791860"/>
                  </a:moveTo>
                  <a:cubicBezTo>
                    <a:pt x="1848146" y="791778"/>
                    <a:pt x="1853871" y="793241"/>
                    <a:pt x="1859105" y="796166"/>
                  </a:cubicBezTo>
                  <a:lnTo>
                    <a:pt x="1946120" y="844264"/>
                  </a:lnTo>
                  <a:cubicBezTo>
                    <a:pt x="1957897" y="851414"/>
                    <a:pt x="1957897" y="868314"/>
                    <a:pt x="1945466" y="876113"/>
                  </a:cubicBezTo>
                  <a:lnTo>
                    <a:pt x="1852562" y="930712"/>
                  </a:lnTo>
                  <a:cubicBezTo>
                    <a:pt x="1842094" y="936562"/>
                    <a:pt x="1829009" y="936562"/>
                    <a:pt x="1818541" y="930712"/>
                  </a:cubicBezTo>
                  <a:lnTo>
                    <a:pt x="1734143" y="882613"/>
                  </a:lnTo>
                  <a:cubicBezTo>
                    <a:pt x="1722366" y="875463"/>
                    <a:pt x="1722366" y="858564"/>
                    <a:pt x="1734143" y="851414"/>
                  </a:cubicBezTo>
                  <a:lnTo>
                    <a:pt x="1825738" y="796816"/>
                  </a:lnTo>
                  <a:cubicBezTo>
                    <a:pt x="1830972" y="793566"/>
                    <a:pt x="1836697" y="791941"/>
                    <a:pt x="1842422" y="791860"/>
                  </a:cubicBezTo>
                  <a:close/>
                  <a:moveTo>
                    <a:pt x="1459574" y="785938"/>
                  </a:moveTo>
                  <a:cubicBezTo>
                    <a:pt x="1465349" y="785857"/>
                    <a:pt x="1471042" y="787157"/>
                    <a:pt x="1475922" y="789757"/>
                  </a:cubicBezTo>
                  <a:lnTo>
                    <a:pt x="1562458" y="837855"/>
                  </a:lnTo>
                  <a:cubicBezTo>
                    <a:pt x="1574820" y="845005"/>
                    <a:pt x="1574170" y="862555"/>
                    <a:pt x="1562458" y="869704"/>
                  </a:cubicBezTo>
                  <a:lnTo>
                    <a:pt x="1469415" y="924303"/>
                  </a:lnTo>
                  <a:cubicBezTo>
                    <a:pt x="1459656" y="930803"/>
                    <a:pt x="1446643" y="930803"/>
                    <a:pt x="1436232" y="924953"/>
                  </a:cubicBezTo>
                  <a:lnTo>
                    <a:pt x="1351648" y="876204"/>
                  </a:lnTo>
                  <a:cubicBezTo>
                    <a:pt x="1339286" y="869054"/>
                    <a:pt x="1339937" y="852155"/>
                    <a:pt x="1351648" y="845005"/>
                  </a:cubicBezTo>
                  <a:lnTo>
                    <a:pt x="1442739" y="790407"/>
                  </a:lnTo>
                  <a:cubicBezTo>
                    <a:pt x="1447944" y="787482"/>
                    <a:pt x="1453800" y="786019"/>
                    <a:pt x="1459574" y="785938"/>
                  </a:cubicBezTo>
                  <a:close/>
                  <a:moveTo>
                    <a:pt x="2801553" y="688169"/>
                  </a:moveTo>
                  <a:cubicBezTo>
                    <a:pt x="2807246" y="688088"/>
                    <a:pt x="2812939" y="689550"/>
                    <a:pt x="2818144" y="692475"/>
                  </a:cubicBezTo>
                  <a:lnTo>
                    <a:pt x="2904680" y="740574"/>
                  </a:lnTo>
                  <a:cubicBezTo>
                    <a:pt x="2917042" y="747724"/>
                    <a:pt x="2916392" y="765273"/>
                    <a:pt x="2904029" y="771773"/>
                  </a:cubicBezTo>
                  <a:lnTo>
                    <a:pt x="2811637" y="826371"/>
                  </a:lnTo>
                  <a:cubicBezTo>
                    <a:pt x="2801227" y="832871"/>
                    <a:pt x="2788214" y="832871"/>
                    <a:pt x="2777804" y="827021"/>
                  </a:cubicBezTo>
                  <a:lnTo>
                    <a:pt x="2693870" y="778273"/>
                  </a:lnTo>
                  <a:cubicBezTo>
                    <a:pt x="2681508" y="771773"/>
                    <a:pt x="2681508" y="754223"/>
                    <a:pt x="2693870" y="747074"/>
                  </a:cubicBezTo>
                  <a:lnTo>
                    <a:pt x="2784961" y="693125"/>
                  </a:lnTo>
                  <a:cubicBezTo>
                    <a:pt x="2790166" y="689875"/>
                    <a:pt x="2795859" y="688250"/>
                    <a:pt x="2801553" y="688169"/>
                  </a:cubicBezTo>
                  <a:close/>
                  <a:moveTo>
                    <a:pt x="2418803" y="682409"/>
                  </a:moveTo>
                  <a:cubicBezTo>
                    <a:pt x="2424512" y="682328"/>
                    <a:pt x="2430221" y="683790"/>
                    <a:pt x="2435440" y="686715"/>
                  </a:cubicBezTo>
                  <a:lnTo>
                    <a:pt x="2522216" y="734814"/>
                  </a:lnTo>
                  <a:cubicBezTo>
                    <a:pt x="2533960" y="741314"/>
                    <a:pt x="2533960" y="759513"/>
                    <a:pt x="2521563" y="766663"/>
                  </a:cubicBezTo>
                  <a:lnTo>
                    <a:pt x="2428916" y="821261"/>
                  </a:lnTo>
                  <a:cubicBezTo>
                    <a:pt x="2418477" y="827111"/>
                    <a:pt x="2405428" y="827111"/>
                    <a:pt x="2394989" y="821261"/>
                  </a:cubicBezTo>
                  <a:lnTo>
                    <a:pt x="2310171" y="773163"/>
                  </a:lnTo>
                  <a:cubicBezTo>
                    <a:pt x="2298427" y="766013"/>
                    <a:pt x="2298427" y="749113"/>
                    <a:pt x="2310171" y="741314"/>
                  </a:cubicBezTo>
                  <a:lnTo>
                    <a:pt x="2402166" y="687365"/>
                  </a:lnTo>
                  <a:cubicBezTo>
                    <a:pt x="2407385" y="684115"/>
                    <a:pt x="2413094" y="682490"/>
                    <a:pt x="2418803" y="682409"/>
                  </a:cubicBezTo>
                  <a:close/>
                  <a:moveTo>
                    <a:pt x="1266680" y="676649"/>
                  </a:moveTo>
                  <a:cubicBezTo>
                    <a:pt x="1272389" y="676567"/>
                    <a:pt x="1278097" y="678030"/>
                    <a:pt x="1283317" y="680955"/>
                  </a:cubicBezTo>
                  <a:lnTo>
                    <a:pt x="1370093" y="729053"/>
                  </a:lnTo>
                  <a:cubicBezTo>
                    <a:pt x="1381837" y="736203"/>
                    <a:pt x="1381837" y="753753"/>
                    <a:pt x="1369440" y="760902"/>
                  </a:cubicBezTo>
                  <a:lnTo>
                    <a:pt x="1276793" y="815501"/>
                  </a:lnTo>
                  <a:cubicBezTo>
                    <a:pt x="1266354" y="821351"/>
                    <a:pt x="1253305" y="821351"/>
                    <a:pt x="1242866" y="816151"/>
                  </a:cubicBezTo>
                  <a:lnTo>
                    <a:pt x="1158048" y="767402"/>
                  </a:lnTo>
                  <a:cubicBezTo>
                    <a:pt x="1146304" y="760252"/>
                    <a:pt x="1146304" y="743353"/>
                    <a:pt x="1158048" y="736203"/>
                  </a:cubicBezTo>
                  <a:lnTo>
                    <a:pt x="1250043" y="681605"/>
                  </a:lnTo>
                  <a:cubicBezTo>
                    <a:pt x="1255263" y="678355"/>
                    <a:pt x="1260971" y="676730"/>
                    <a:pt x="1266680" y="676649"/>
                  </a:cubicBezTo>
                  <a:close/>
                  <a:moveTo>
                    <a:pt x="2032754" y="676648"/>
                  </a:moveTo>
                  <a:cubicBezTo>
                    <a:pt x="2038529" y="676566"/>
                    <a:pt x="2044222" y="678029"/>
                    <a:pt x="2049102" y="680954"/>
                  </a:cubicBezTo>
                  <a:lnTo>
                    <a:pt x="2135638" y="729052"/>
                  </a:lnTo>
                  <a:cubicBezTo>
                    <a:pt x="2148000" y="736202"/>
                    <a:pt x="2147350" y="753752"/>
                    <a:pt x="2135638" y="760901"/>
                  </a:cubicBezTo>
                  <a:lnTo>
                    <a:pt x="2042595" y="815500"/>
                  </a:lnTo>
                  <a:cubicBezTo>
                    <a:pt x="2032836" y="821350"/>
                    <a:pt x="2019823" y="821350"/>
                    <a:pt x="2009412" y="816150"/>
                  </a:cubicBezTo>
                  <a:lnTo>
                    <a:pt x="1924828" y="767401"/>
                  </a:lnTo>
                  <a:cubicBezTo>
                    <a:pt x="1912466" y="760251"/>
                    <a:pt x="1913117" y="743352"/>
                    <a:pt x="1924828" y="736202"/>
                  </a:cubicBezTo>
                  <a:lnTo>
                    <a:pt x="2015919" y="681604"/>
                  </a:lnTo>
                  <a:cubicBezTo>
                    <a:pt x="2021124" y="678354"/>
                    <a:pt x="2026980" y="676729"/>
                    <a:pt x="2032754" y="676648"/>
                  </a:cubicBezTo>
                  <a:close/>
                  <a:moveTo>
                    <a:pt x="1649431" y="674084"/>
                  </a:moveTo>
                  <a:cubicBezTo>
                    <a:pt x="1655124" y="674003"/>
                    <a:pt x="1660817" y="675459"/>
                    <a:pt x="1666022" y="678695"/>
                  </a:cubicBezTo>
                  <a:lnTo>
                    <a:pt x="1752558" y="726581"/>
                  </a:lnTo>
                  <a:cubicBezTo>
                    <a:pt x="1764920" y="733053"/>
                    <a:pt x="1764270" y="750525"/>
                    <a:pt x="1751907" y="757643"/>
                  </a:cubicBezTo>
                  <a:lnTo>
                    <a:pt x="1659515" y="812000"/>
                  </a:lnTo>
                  <a:cubicBezTo>
                    <a:pt x="1649105" y="818472"/>
                    <a:pt x="1636092" y="818472"/>
                    <a:pt x="1625682" y="812648"/>
                  </a:cubicBezTo>
                  <a:lnTo>
                    <a:pt x="1541748" y="764114"/>
                  </a:lnTo>
                  <a:cubicBezTo>
                    <a:pt x="1529386" y="757643"/>
                    <a:pt x="1530037" y="740171"/>
                    <a:pt x="1541748" y="733053"/>
                  </a:cubicBezTo>
                  <a:lnTo>
                    <a:pt x="1632839" y="678695"/>
                  </a:lnTo>
                  <a:cubicBezTo>
                    <a:pt x="1638044" y="675783"/>
                    <a:pt x="1643737" y="674165"/>
                    <a:pt x="1649431" y="674084"/>
                  </a:cubicBezTo>
                  <a:close/>
                  <a:moveTo>
                    <a:pt x="2991739" y="575837"/>
                  </a:moveTo>
                  <a:cubicBezTo>
                    <a:pt x="2997530" y="575756"/>
                    <a:pt x="3003402" y="577218"/>
                    <a:pt x="3008621" y="580143"/>
                  </a:cubicBezTo>
                  <a:lnTo>
                    <a:pt x="3095397" y="628241"/>
                  </a:lnTo>
                  <a:cubicBezTo>
                    <a:pt x="3107141" y="634741"/>
                    <a:pt x="3107141" y="652941"/>
                    <a:pt x="3094744" y="660090"/>
                  </a:cubicBezTo>
                  <a:lnTo>
                    <a:pt x="3002097" y="714688"/>
                  </a:lnTo>
                  <a:cubicBezTo>
                    <a:pt x="2991658" y="720538"/>
                    <a:pt x="2978609" y="720538"/>
                    <a:pt x="2968170" y="714688"/>
                  </a:cubicBezTo>
                  <a:lnTo>
                    <a:pt x="2883352" y="666590"/>
                  </a:lnTo>
                  <a:cubicBezTo>
                    <a:pt x="2871608" y="659440"/>
                    <a:pt x="2871608" y="642541"/>
                    <a:pt x="2883352" y="634741"/>
                  </a:cubicBezTo>
                  <a:lnTo>
                    <a:pt x="2975347" y="580793"/>
                  </a:lnTo>
                  <a:cubicBezTo>
                    <a:pt x="2980240" y="577543"/>
                    <a:pt x="2985949" y="575918"/>
                    <a:pt x="2991739" y="575837"/>
                  </a:cubicBezTo>
                  <a:close/>
                  <a:moveTo>
                    <a:pt x="2608815" y="570076"/>
                  </a:moveTo>
                  <a:cubicBezTo>
                    <a:pt x="2614590" y="569995"/>
                    <a:pt x="2620283" y="571457"/>
                    <a:pt x="2625163" y="574382"/>
                  </a:cubicBezTo>
                  <a:lnTo>
                    <a:pt x="2711699" y="622480"/>
                  </a:lnTo>
                  <a:cubicBezTo>
                    <a:pt x="2724061" y="629630"/>
                    <a:pt x="2723411" y="647180"/>
                    <a:pt x="2711699" y="654329"/>
                  </a:cubicBezTo>
                  <a:lnTo>
                    <a:pt x="2618656" y="708927"/>
                  </a:lnTo>
                  <a:cubicBezTo>
                    <a:pt x="2608897" y="714777"/>
                    <a:pt x="2595884" y="714777"/>
                    <a:pt x="2585473" y="708927"/>
                  </a:cubicBezTo>
                  <a:lnTo>
                    <a:pt x="2500889" y="660829"/>
                  </a:lnTo>
                  <a:cubicBezTo>
                    <a:pt x="2488527" y="653679"/>
                    <a:pt x="2489178" y="636780"/>
                    <a:pt x="2500889" y="629630"/>
                  </a:cubicBezTo>
                  <a:lnTo>
                    <a:pt x="2591980" y="575032"/>
                  </a:lnTo>
                  <a:cubicBezTo>
                    <a:pt x="2597185" y="571782"/>
                    <a:pt x="2603041" y="570157"/>
                    <a:pt x="2608815" y="570076"/>
                  </a:cubicBezTo>
                  <a:close/>
                  <a:moveTo>
                    <a:pt x="1459573" y="564552"/>
                  </a:moveTo>
                  <a:cubicBezTo>
                    <a:pt x="1465348" y="564391"/>
                    <a:pt x="1471041" y="565685"/>
                    <a:pt x="1475921" y="568597"/>
                  </a:cubicBezTo>
                  <a:lnTo>
                    <a:pt x="1562457" y="617130"/>
                  </a:lnTo>
                  <a:cubicBezTo>
                    <a:pt x="1574819" y="623602"/>
                    <a:pt x="1574169" y="641074"/>
                    <a:pt x="1562457" y="648192"/>
                  </a:cubicBezTo>
                  <a:lnTo>
                    <a:pt x="1469414" y="702549"/>
                  </a:lnTo>
                  <a:cubicBezTo>
                    <a:pt x="1459655" y="709021"/>
                    <a:pt x="1446642" y="709021"/>
                    <a:pt x="1436231" y="703197"/>
                  </a:cubicBezTo>
                  <a:lnTo>
                    <a:pt x="1351647" y="654663"/>
                  </a:lnTo>
                  <a:cubicBezTo>
                    <a:pt x="1339285" y="648192"/>
                    <a:pt x="1339936" y="630720"/>
                    <a:pt x="1351647" y="623602"/>
                  </a:cubicBezTo>
                  <a:lnTo>
                    <a:pt x="1442738" y="569244"/>
                  </a:lnTo>
                  <a:cubicBezTo>
                    <a:pt x="1447943" y="566332"/>
                    <a:pt x="1453799" y="564714"/>
                    <a:pt x="1459573" y="564552"/>
                  </a:cubicBezTo>
                  <a:close/>
                  <a:moveTo>
                    <a:pt x="2225491" y="564551"/>
                  </a:moveTo>
                  <a:cubicBezTo>
                    <a:pt x="2231185" y="564390"/>
                    <a:pt x="2236878" y="565684"/>
                    <a:pt x="2242083" y="568596"/>
                  </a:cubicBezTo>
                  <a:lnTo>
                    <a:pt x="2328619" y="617129"/>
                  </a:lnTo>
                  <a:cubicBezTo>
                    <a:pt x="2340981" y="623601"/>
                    <a:pt x="2340331" y="641073"/>
                    <a:pt x="2327968" y="648191"/>
                  </a:cubicBezTo>
                  <a:lnTo>
                    <a:pt x="2235576" y="702548"/>
                  </a:lnTo>
                  <a:cubicBezTo>
                    <a:pt x="2225166" y="709020"/>
                    <a:pt x="2212153" y="709020"/>
                    <a:pt x="2201743" y="703196"/>
                  </a:cubicBezTo>
                  <a:lnTo>
                    <a:pt x="2117809" y="654662"/>
                  </a:lnTo>
                  <a:cubicBezTo>
                    <a:pt x="2105447" y="648191"/>
                    <a:pt x="2106098" y="630719"/>
                    <a:pt x="2117809" y="623601"/>
                  </a:cubicBezTo>
                  <a:lnTo>
                    <a:pt x="2208900" y="569243"/>
                  </a:lnTo>
                  <a:cubicBezTo>
                    <a:pt x="2214105" y="566331"/>
                    <a:pt x="2219798" y="564713"/>
                    <a:pt x="2225491" y="564551"/>
                  </a:cubicBezTo>
                  <a:close/>
                  <a:moveTo>
                    <a:pt x="1842421" y="561274"/>
                  </a:moveTo>
                  <a:cubicBezTo>
                    <a:pt x="1848145" y="561193"/>
                    <a:pt x="1853870" y="562493"/>
                    <a:pt x="1859104" y="565093"/>
                  </a:cubicBezTo>
                  <a:lnTo>
                    <a:pt x="1946119" y="613841"/>
                  </a:lnTo>
                  <a:cubicBezTo>
                    <a:pt x="1957896" y="620991"/>
                    <a:pt x="1957896" y="637891"/>
                    <a:pt x="1945465" y="645690"/>
                  </a:cubicBezTo>
                  <a:lnTo>
                    <a:pt x="1852561" y="699639"/>
                  </a:lnTo>
                  <a:cubicBezTo>
                    <a:pt x="1842093" y="706139"/>
                    <a:pt x="1829008" y="706139"/>
                    <a:pt x="1818540" y="700289"/>
                  </a:cubicBezTo>
                  <a:lnTo>
                    <a:pt x="1734142" y="652190"/>
                  </a:lnTo>
                  <a:cubicBezTo>
                    <a:pt x="1722365" y="645040"/>
                    <a:pt x="1722365" y="627491"/>
                    <a:pt x="1734142" y="620341"/>
                  </a:cubicBezTo>
                  <a:lnTo>
                    <a:pt x="1825737" y="565743"/>
                  </a:lnTo>
                  <a:cubicBezTo>
                    <a:pt x="1830971" y="562818"/>
                    <a:pt x="1836696" y="561355"/>
                    <a:pt x="1842421" y="561274"/>
                  </a:cubicBezTo>
                  <a:close/>
                  <a:moveTo>
                    <a:pt x="3184875" y="463507"/>
                  </a:moveTo>
                  <a:cubicBezTo>
                    <a:pt x="3190650" y="463426"/>
                    <a:pt x="3196343" y="464888"/>
                    <a:pt x="3201223" y="467813"/>
                  </a:cubicBezTo>
                  <a:lnTo>
                    <a:pt x="3287759" y="515912"/>
                  </a:lnTo>
                  <a:cubicBezTo>
                    <a:pt x="3300121" y="523062"/>
                    <a:pt x="3299471" y="540611"/>
                    <a:pt x="3287759" y="547761"/>
                  </a:cubicBezTo>
                  <a:lnTo>
                    <a:pt x="3194716" y="602359"/>
                  </a:lnTo>
                  <a:cubicBezTo>
                    <a:pt x="3184957" y="608209"/>
                    <a:pt x="3171944" y="608209"/>
                    <a:pt x="3161533" y="603009"/>
                  </a:cubicBezTo>
                  <a:lnTo>
                    <a:pt x="3076949" y="554261"/>
                  </a:lnTo>
                  <a:cubicBezTo>
                    <a:pt x="3064587" y="547111"/>
                    <a:pt x="3065238" y="530211"/>
                    <a:pt x="3076949" y="523062"/>
                  </a:cubicBezTo>
                  <a:lnTo>
                    <a:pt x="3168040" y="468463"/>
                  </a:lnTo>
                  <a:cubicBezTo>
                    <a:pt x="3173245" y="465213"/>
                    <a:pt x="3179101" y="463588"/>
                    <a:pt x="3184875" y="463507"/>
                  </a:cubicBezTo>
                  <a:close/>
                  <a:moveTo>
                    <a:pt x="2801554" y="457982"/>
                  </a:moveTo>
                  <a:cubicBezTo>
                    <a:pt x="2807247" y="457820"/>
                    <a:pt x="2812940" y="459114"/>
                    <a:pt x="2818145" y="462026"/>
                  </a:cubicBezTo>
                  <a:lnTo>
                    <a:pt x="2904681" y="509913"/>
                  </a:lnTo>
                  <a:cubicBezTo>
                    <a:pt x="2917043" y="517031"/>
                    <a:pt x="2916393" y="534504"/>
                    <a:pt x="2904030" y="541622"/>
                  </a:cubicBezTo>
                  <a:lnTo>
                    <a:pt x="2811638" y="595980"/>
                  </a:lnTo>
                  <a:cubicBezTo>
                    <a:pt x="2801228" y="602451"/>
                    <a:pt x="2788215" y="602451"/>
                    <a:pt x="2777805" y="596627"/>
                  </a:cubicBezTo>
                  <a:lnTo>
                    <a:pt x="2693871" y="548093"/>
                  </a:lnTo>
                  <a:cubicBezTo>
                    <a:pt x="2681509" y="541622"/>
                    <a:pt x="2681509" y="524150"/>
                    <a:pt x="2693871" y="516384"/>
                  </a:cubicBezTo>
                  <a:lnTo>
                    <a:pt x="2784962" y="462673"/>
                  </a:lnTo>
                  <a:cubicBezTo>
                    <a:pt x="2790167" y="459761"/>
                    <a:pt x="2795860" y="458144"/>
                    <a:pt x="2801554" y="457982"/>
                  </a:cubicBezTo>
                  <a:close/>
                  <a:moveTo>
                    <a:pt x="2418803" y="452220"/>
                  </a:moveTo>
                  <a:cubicBezTo>
                    <a:pt x="2424512" y="452058"/>
                    <a:pt x="2430221" y="453352"/>
                    <a:pt x="2435440" y="456264"/>
                  </a:cubicBezTo>
                  <a:lnTo>
                    <a:pt x="2522216" y="504798"/>
                  </a:lnTo>
                  <a:cubicBezTo>
                    <a:pt x="2533960" y="511269"/>
                    <a:pt x="2533960" y="528742"/>
                    <a:pt x="2521563" y="536507"/>
                  </a:cubicBezTo>
                  <a:lnTo>
                    <a:pt x="2428916" y="590218"/>
                  </a:lnTo>
                  <a:cubicBezTo>
                    <a:pt x="2418477" y="596042"/>
                    <a:pt x="2405428" y="596689"/>
                    <a:pt x="2394989" y="590865"/>
                  </a:cubicBezTo>
                  <a:lnTo>
                    <a:pt x="2310171" y="542978"/>
                  </a:lnTo>
                  <a:cubicBezTo>
                    <a:pt x="2298427" y="535860"/>
                    <a:pt x="2298427" y="518388"/>
                    <a:pt x="2310171" y="511269"/>
                  </a:cubicBezTo>
                  <a:lnTo>
                    <a:pt x="2402166" y="456911"/>
                  </a:lnTo>
                  <a:cubicBezTo>
                    <a:pt x="2407385" y="453999"/>
                    <a:pt x="2413094" y="452382"/>
                    <a:pt x="2418803" y="452220"/>
                  </a:cubicBezTo>
                  <a:close/>
                  <a:moveTo>
                    <a:pt x="1649430" y="452220"/>
                  </a:moveTo>
                  <a:cubicBezTo>
                    <a:pt x="1655123" y="452059"/>
                    <a:pt x="1660816" y="453353"/>
                    <a:pt x="1666021" y="456265"/>
                  </a:cubicBezTo>
                  <a:lnTo>
                    <a:pt x="1752557" y="504799"/>
                  </a:lnTo>
                  <a:cubicBezTo>
                    <a:pt x="1764919" y="511270"/>
                    <a:pt x="1764269" y="528742"/>
                    <a:pt x="1751906" y="536508"/>
                  </a:cubicBezTo>
                  <a:lnTo>
                    <a:pt x="1659514" y="590218"/>
                  </a:lnTo>
                  <a:cubicBezTo>
                    <a:pt x="1649104" y="596043"/>
                    <a:pt x="1636091" y="596690"/>
                    <a:pt x="1625681" y="590866"/>
                  </a:cubicBezTo>
                  <a:lnTo>
                    <a:pt x="1541747" y="542979"/>
                  </a:lnTo>
                  <a:cubicBezTo>
                    <a:pt x="1529385" y="535860"/>
                    <a:pt x="1530036" y="518388"/>
                    <a:pt x="1541747" y="511270"/>
                  </a:cubicBezTo>
                  <a:lnTo>
                    <a:pt x="1632838" y="456912"/>
                  </a:lnTo>
                  <a:cubicBezTo>
                    <a:pt x="1638043" y="454000"/>
                    <a:pt x="1643736" y="452382"/>
                    <a:pt x="1649430" y="452220"/>
                  </a:cubicBezTo>
                  <a:close/>
                  <a:moveTo>
                    <a:pt x="2032754" y="446217"/>
                  </a:moveTo>
                  <a:cubicBezTo>
                    <a:pt x="2038529" y="446136"/>
                    <a:pt x="2044222" y="447592"/>
                    <a:pt x="2049102" y="450504"/>
                  </a:cubicBezTo>
                  <a:lnTo>
                    <a:pt x="2135638" y="498391"/>
                  </a:lnTo>
                  <a:cubicBezTo>
                    <a:pt x="2148000" y="504862"/>
                    <a:pt x="2147350" y="522335"/>
                    <a:pt x="2135638" y="529453"/>
                  </a:cubicBezTo>
                  <a:lnTo>
                    <a:pt x="2042595" y="584458"/>
                  </a:lnTo>
                  <a:cubicBezTo>
                    <a:pt x="2032836" y="590282"/>
                    <a:pt x="2019823" y="590929"/>
                    <a:pt x="2009412" y="584458"/>
                  </a:cubicBezTo>
                  <a:lnTo>
                    <a:pt x="1924828" y="535924"/>
                  </a:lnTo>
                  <a:cubicBezTo>
                    <a:pt x="1912466" y="529453"/>
                    <a:pt x="1913117" y="512628"/>
                    <a:pt x="1924828" y="504862"/>
                  </a:cubicBezTo>
                  <a:lnTo>
                    <a:pt x="2015919" y="451151"/>
                  </a:lnTo>
                  <a:cubicBezTo>
                    <a:pt x="2021124" y="447916"/>
                    <a:pt x="2026980" y="446298"/>
                    <a:pt x="2032754" y="446217"/>
                  </a:cubicBezTo>
                  <a:close/>
                  <a:moveTo>
                    <a:pt x="2991740" y="345333"/>
                  </a:moveTo>
                  <a:cubicBezTo>
                    <a:pt x="2997530" y="345170"/>
                    <a:pt x="3003402" y="346470"/>
                    <a:pt x="3008622" y="349070"/>
                  </a:cubicBezTo>
                  <a:lnTo>
                    <a:pt x="3095398" y="397818"/>
                  </a:lnTo>
                  <a:cubicBezTo>
                    <a:pt x="3107142" y="404318"/>
                    <a:pt x="3107142" y="422518"/>
                    <a:pt x="3094745" y="429667"/>
                  </a:cubicBezTo>
                  <a:lnTo>
                    <a:pt x="3002098" y="483615"/>
                  </a:lnTo>
                  <a:cubicBezTo>
                    <a:pt x="2991659" y="489465"/>
                    <a:pt x="2978610" y="490115"/>
                    <a:pt x="2968171" y="484265"/>
                  </a:cubicBezTo>
                  <a:lnTo>
                    <a:pt x="2883353" y="436167"/>
                  </a:lnTo>
                  <a:cubicBezTo>
                    <a:pt x="2871609" y="429017"/>
                    <a:pt x="2871609" y="411468"/>
                    <a:pt x="2883353" y="404318"/>
                  </a:cubicBezTo>
                  <a:lnTo>
                    <a:pt x="2975348" y="350370"/>
                  </a:lnTo>
                  <a:cubicBezTo>
                    <a:pt x="2980241" y="347120"/>
                    <a:pt x="2985950" y="345495"/>
                    <a:pt x="2991740" y="345333"/>
                  </a:cubicBezTo>
                  <a:close/>
                  <a:moveTo>
                    <a:pt x="1842420" y="339653"/>
                  </a:moveTo>
                  <a:cubicBezTo>
                    <a:pt x="1848144" y="339571"/>
                    <a:pt x="1853869" y="341034"/>
                    <a:pt x="1859103" y="343959"/>
                  </a:cubicBezTo>
                  <a:lnTo>
                    <a:pt x="1946118" y="392057"/>
                  </a:lnTo>
                  <a:cubicBezTo>
                    <a:pt x="1957895" y="398557"/>
                    <a:pt x="1957895" y="416106"/>
                    <a:pt x="1945464" y="423256"/>
                  </a:cubicBezTo>
                  <a:lnTo>
                    <a:pt x="1852560" y="477854"/>
                  </a:lnTo>
                  <a:cubicBezTo>
                    <a:pt x="1842092" y="484354"/>
                    <a:pt x="1829007" y="484354"/>
                    <a:pt x="1818539" y="478504"/>
                  </a:cubicBezTo>
                  <a:lnTo>
                    <a:pt x="1734141" y="429756"/>
                  </a:lnTo>
                  <a:cubicBezTo>
                    <a:pt x="1722364" y="423256"/>
                    <a:pt x="1722364" y="405706"/>
                    <a:pt x="1734141" y="398557"/>
                  </a:cubicBezTo>
                  <a:lnTo>
                    <a:pt x="1825736" y="344609"/>
                  </a:lnTo>
                  <a:cubicBezTo>
                    <a:pt x="1830970" y="341359"/>
                    <a:pt x="1836695" y="339734"/>
                    <a:pt x="1842420" y="339653"/>
                  </a:cubicBezTo>
                  <a:close/>
                  <a:moveTo>
                    <a:pt x="2608815" y="339652"/>
                  </a:moveTo>
                  <a:cubicBezTo>
                    <a:pt x="2614590" y="339571"/>
                    <a:pt x="2620283" y="341033"/>
                    <a:pt x="2625163" y="343958"/>
                  </a:cubicBezTo>
                  <a:lnTo>
                    <a:pt x="2711699" y="392056"/>
                  </a:lnTo>
                  <a:cubicBezTo>
                    <a:pt x="2724061" y="398556"/>
                    <a:pt x="2723411" y="416106"/>
                    <a:pt x="2711699" y="423255"/>
                  </a:cubicBezTo>
                  <a:lnTo>
                    <a:pt x="2618656" y="477853"/>
                  </a:lnTo>
                  <a:cubicBezTo>
                    <a:pt x="2608897" y="484353"/>
                    <a:pt x="2595884" y="484353"/>
                    <a:pt x="2585473" y="478503"/>
                  </a:cubicBezTo>
                  <a:lnTo>
                    <a:pt x="2500889" y="429755"/>
                  </a:lnTo>
                  <a:cubicBezTo>
                    <a:pt x="2488527" y="423255"/>
                    <a:pt x="2489178" y="405706"/>
                    <a:pt x="2500889" y="398556"/>
                  </a:cubicBezTo>
                  <a:lnTo>
                    <a:pt x="2591980" y="344608"/>
                  </a:lnTo>
                  <a:cubicBezTo>
                    <a:pt x="2597185" y="341358"/>
                    <a:pt x="2603041" y="339733"/>
                    <a:pt x="2608815" y="339652"/>
                  </a:cubicBezTo>
                  <a:close/>
                  <a:moveTo>
                    <a:pt x="2225492" y="333811"/>
                  </a:moveTo>
                  <a:cubicBezTo>
                    <a:pt x="2231185" y="333811"/>
                    <a:pt x="2236878" y="335273"/>
                    <a:pt x="2242083" y="338198"/>
                  </a:cubicBezTo>
                  <a:lnTo>
                    <a:pt x="2328619" y="386296"/>
                  </a:lnTo>
                  <a:cubicBezTo>
                    <a:pt x="2340981" y="393446"/>
                    <a:pt x="2340331" y="410996"/>
                    <a:pt x="2327968" y="418145"/>
                  </a:cubicBezTo>
                  <a:lnTo>
                    <a:pt x="2235576" y="472743"/>
                  </a:lnTo>
                  <a:cubicBezTo>
                    <a:pt x="2225166" y="478593"/>
                    <a:pt x="2212153" y="478593"/>
                    <a:pt x="2201743" y="472743"/>
                  </a:cubicBezTo>
                  <a:lnTo>
                    <a:pt x="2117809" y="424645"/>
                  </a:lnTo>
                  <a:cubicBezTo>
                    <a:pt x="2105447" y="417495"/>
                    <a:pt x="2106098" y="400596"/>
                    <a:pt x="2117809" y="393446"/>
                  </a:cubicBezTo>
                  <a:lnTo>
                    <a:pt x="2208900" y="338198"/>
                  </a:lnTo>
                  <a:cubicBezTo>
                    <a:pt x="2214105" y="335273"/>
                    <a:pt x="2219798" y="333811"/>
                    <a:pt x="2225492" y="333811"/>
                  </a:cubicBezTo>
                  <a:close/>
                  <a:moveTo>
                    <a:pt x="2801554" y="227322"/>
                  </a:moveTo>
                  <a:cubicBezTo>
                    <a:pt x="2807247" y="227241"/>
                    <a:pt x="2812940" y="228703"/>
                    <a:pt x="2818145" y="231628"/>
                  </a:cubicBezTo>
                  <a:lnTo>
                    <a:pt x="2904681" y="279727"/>
                  </a:lnTo>
                  <a:cubicBezTo>
                    <a:pt x="2917043" y="286227"/>
                    <a:pt x="2916393" y="304426"/>
                    <a:pt x="2904030" y="311576"/>
                  </a:cubicBezTo>
                  <a:lnTo>
                    <a:pt x="2811638" y="366174"/>
                  </a:lnTo>
                  <a:cubicBezTo>
                    <a:pt x="2801228" y="372024"/>
                    <a:pt x="2788215" y="372024"/>
                    <a:pt x="2777805" y="366174"/>
                  </a:cubicBezTo>
                  <a:lnTo>
                    <a:pt x="2693871" y="318076"/>
                  </a:lnTo>
                  <a:cubicBezTo>
                    <a:pt x="2681509" y="310926"/>
                    <a:pt x="2681509" y="294026"/>
                    <a:pt x="2693871" y="286227"/>
                  </a:cubicBezTo>
                  <a:lnTo>
                    <a:pt x="2784962" y="232278"/>
                  </a:lnTo>
                  <a:cubicBezTo>
                    <a:pt x="2790167" y="229028"/>
                    <a:pt x="2795860" y="227403"/>
                    <a:pt x="2801554" y="227322"/>
                  </a:cubicBezTo>
                  <a:close/>
                  <a:moveTo>
                    <a:pt x="2032752" y="227322"/>
                  </a:moveTo>
                  <a:cubicBezTo>
                    <a:pt x="2038527" y="227240"/>
                    <a:pt x="2044220" y="228703"/>
                    <a:pt x="2049100" y="231628"/>
                  </a:cubicBezTo>
                  <a:lnTo>
                    <a:pt x="2135636" y="279726"/>
                  </a:lnTo>
                  <a:cubicBezTo>
                    <a:pt x="2147998" y="286226"/>
                    <a:pt x="2147348" y="304426"/>
                    <a:pt x="2135636" y="311575"/>
                  </a:cubicBezTo>
                  <a:lnTo>
                    <a:pt x="2042593" y="366174"/>
                  </a:lnTo>
                  <a:cubicBezTo>
                    <a:pt x="2032834" y="372024"/>
                    <a:pt x="2019821" y="372024"/>
                    <a:pt x="2009410" y="366174"/>
                  </a:cubicBezTo>
                  <a:lnTo>
                    <a:pt x="1924826" y="318075"/>
                  </a:lnTo>
                  <a:cubicBezTo>
                    <a:pt x="1912464" y="310925"/>
                    <a:pt x="1913115" y="294026"/>
                    <a:pt x="1924826" y="286226"/>
                  </a:cubicBezTo>
                  <a:lnTo>
                    <a:pt x="2015917" y="232278"/>
                  </a:lnTo>
                  <a:cubicBezTo>
                    <a:pt x="2021122" y="229028"/>
                    <a:pt x="2026978" y="227403"/>
                    <a:pt x="2032752" y="227322"/>
                  </a:cubicBezTo>
                  <a:close/>
                  <a:moveTo>
                    <a:pt x="2418803" y="221560"/>
                  </a:moveTo>
                  <a:cubicBezTo>
                    <a:pt x="2424512" y="221479"/>
                    <a:pt x="2430221" y="222941"/>
                    <a:pt x="2435440" y="225866"/>
                  </a:cubicBezTo>
                  <a:lnTo>
                    <a:pt x="2522216" y="273965"/>
                  </a:lnTo>
                  <a:cubicBezTo>
                    <a:pt x="2533960" y="281115"/>
                    <a:pt x="2533960" y="298664"/>
                    <a:pt x="2521563" y="305814"/>
                  </a:cubicBezTo>
                  <a:lnTo>
                    <a:pt x="2428916" y="360412"/>
                  </a:lnTo>
                  <a:cubicBezTo>
                    <a:pt x="2418477" y="366262"/>
                    <a:pt x="2405428" y="366262"/>
                    <a:pt x="2394989" y="361062"/>
                  </a:cubicBezTo>
                  <a:lnTo>
                    <a:pt x="2310171" y="312314"/>
                  </a:lnTo>
                  <a:cubicBezTo>
                    <a:pt x="2298427" y="305164"/>
                    <a:pt x="2298427" y="288264"/>
                    <a:pt x="2310171" y="281115"/>
                  </a:cubicBezTo>
                  <a:lnTo>
                    <a:pt x="2402166" y="226516"/>
                  </a:lnTo>
                  <a:cubicBezTo>
                    <a:pt x="2407385" y="223266"/>
                    <a:pt x="2413094" y="221641"/>
                    <a:pt x="2418803" y="221560"/>
                  </a:cubicBezTo>
                  <a:close/>
                  <a:moveTo>
                    <a:pt x="2225490" y="112110"/>
                  </a:moveTo>
                  <a:cubicBezTo>
                    <a:pt x="2231183" y="112028"/>
                    <a:pt x="2236876" y="113491"/>
                    <a:pt x="2242081" y="116416"/>
                  </a:cubicBezTo>
                  <a:lnTo>
                    <a:pt x="2328617" y="164514"/>
                  </a:lnTo>
                  <a:cubicBezTo>
                    <a:pt x="2340979" y="171664"/>
                    <a:pt x="2340329" y="189214"/>
                    <a:pt x="2327966" y="196363"/>
                  </a:cubicBezTo>
                  <a:lnTo>
                    <a:pt x="2235574" y="250962"/>
                  </a:lnTo>
                  <a:cubicBezTo>
                    <a:pt x="2225164" y="256812"/>
                    <a:pt x="2212151" y="256812"/>
                    <a:pt x="2201741" y="251612"/>
                  </a:cubicBezTo>
                  <a:lnTo>
                    <a:pt x="2117807" y="202863"/>
                  </a:lnTo>
                  <a:cubicBezTo>
                    <a:pt x="2105445" y="196363"/>
                    <a:pt x="2106096" y="178164"/>
                    <a:pt x="2117807" y="171664"/>
                  </a:cubicBezTo>
                  <a:lnTo>
                    <a:pt x="2208898" y="117066"/>
                  </a:lnTo>
                  <a:cubicBezTo>
                    <a:pt x="2214103" y="113816"/>
                    <a:pt x="2219796" y="112191"/>
                    <a:pt x="2225490" y="112110"/>
                  </a:cubicBezTo>
                  <a:close/>
                  <a:moveTo>
                    <a:pt x="2608815" y="109464"/>
                  </a:moveTo>
                  <a:cubicBezTo>
                    <a:pt x="2614590" y="109302"/>
                    <a:pt x="2620283" y="110596"/>
                    <a:pt x="2625163" y="113508"/>
                  </a:cubicBezTo>
                  <a:lnTo>
                    <a:pt x="2711699" y="162042"/>
                  </a:lnTo>
                  <a:cubicBezTo>
                    <a:pt x="2724061" y="168513"/>
                    <a:pt x="2723411" y="185985"/>
                    <a:pt x="2711699" y="193103"/>
                  </a:cubicBezTo>
                  <a:lnTo>
                    <a:pt x="2618656" y="247461"/>
                  </a:lnTo>
                  <a:cubicBezTo>
                    <a:pt x="2608897" y="253932"/>
                    <a:pt x="2595884" y="253932"/>
                    <a:pt x="2585473" y="248108"/>
                  </a:cubicBezTo>
                  <a:lnTo>
                    <a:pt x="2500889" y="199575"/>
                  </a:lnTo>
                  <a:cubicBezTo>
                    <a:pt x="2488527" y="193103"/>
                    <a:pt x="2489178" y="175631"/>
                    <a:pt x="2500889" y="168513"/>
                  </a:cubicBezTo>
                  <a:lnTo>
                    <a:pt x="2591980" y="114155"/>
                  </a:lnTo>
                  <a:cubicBezTo>
                    <a:pt x="2597185" y="111243"/>
                    <a:pt x="2603041" y="109626"/>
                    <a:pt x="2608815" y="109464"/>
                  </a:cubicBezTo>
                  <a:close/>
                  <a:moveTo>
                    <a:pt x="2418801" y="13"/>
                  </a:moveTo>
                  <a:cubicBezTo>
                    <a:pt x="2424510" y="-148"/>
                    <a:pt x="2430219" y="1146"/>
                    <a:pt x="2435438" y="4058"/>
                  </a:cubicBezTo>
                  <a:lnTo>
                    <a:pt x="2522214" y="52591"/>
                  </a:lnTo>
                  <a:cubicBezTo>
                    <a:pt x="2533958" y="59063"/>
                    <a:pt x="2533958" y="76535"/>
                    <a:pt x="2521561" y="83653"/>
                  </a:cubicBezTo>
                  <a:lnTo>
                    <a:pt x="2428914" y="138010"/>
                  </a:lnTo>
                  <a:cubicBezTo>
                    <a:pt x="2418475" y="144482"/>
                    <a:pt x="2405426" y="144482"/>
                    <a:pt x="2394987" y="138658"/>
                  </a:cubicBezTo>
                  <a:lnTo>
                    <a:pt x="2310169" y="90124"/>
                  </a:lnTo>
                  <a:cubicBezTo>
                    <a:pt x="2298425" y="83653"/>
                    <a:pt x="2298425" y="66181"/>
                    <a:pt x="2310169" y="59063"/>
                  </a:cubicBezTo>
                  <a:lnTo>
                    <a:pt x="2402164" y="4705"/>
                  </a:lnTo>
                  <a:cubicBezTo>
                    <a:pt x="2407383" y="1793"/>
                    <a:pt x="2413092" y="175"/>
                    <a:pt x="2418801" y="13"/>
                  </a:cubicBezTo>
                  <a:close/>
                </a:path>
              </a:pathLst>
            </a:custGeom>
            <a:solidFill>
              <a:schemeClr val="accent6">
                <a:lumMod val="25000"/>
              </a:schemeClr>
            </a:solidFill>
            <a:ln>
              <a:noFill/>
            </a:ln>
            <a:effectLst/>
          </p:spPr>
          <p:txBody>
            <a:bodyPr wrap="square" anchor="ctr">
              <a:noAutofit/>
            </a:bodyPr>
            <a:lstStyle/>
            <a:p>
              <a:endParaRPr lang="en-US" sz="3266" dirty="0">
                <a:latin typeface="Lato Light" panose="020F0502020204030203" pitchFamily="34" charset="0"/>
              </a:endParaRPr>
            </a:p>
          </p:txBody>
        </p:sp>
        <p:sp>
          <p:nvSpPr>
            <p:cNvPr id="49" name="Freeform 123">
              <a:extLst>
                <a:ext uri="{FF2B5EF4-FFF2-40B4-BE49-F238E27FC236}">
                  <a16:creationId xmlns:a16="http://schemas.microsoft.com/office/drawing/2014/main" id="{6ADDA293-68C4-F448-B2FA-9F33031A6744}"/>
                </a:ext>
              </a:extLst>
            </p:cNvPr>
            <p:cNvSpPr>
              <a:spLocks noChangeArrowheads="1"/>
            </p:cNvSpPr>
            <p:nvPr/>
          </p:nvSpPr>
          <p:spPr bwMode="auto">
            <a:xfrm>
              <a:off x="7894296" y="6690945"/>
              <a:ext cx="1480475" cy="959140"/>
            </a:xfrm>
            <a:custGeom>
              <a:avLst/>
              <a:gdLst>
                <a:gd name="T0" fmla="*/ 0 w 2266"/>
                <a:gd name="T1" fmla="*/ 456 h 1469"/>
                <a:gd name="T2" fmla="*/ 0 w 2266"/>
                <a:gd name="T3" fmla="*/ 456 h 1469"/>
                <a:gd name="T4" fmla="*/ 0 w 2266"/>
                <a:gd name="T5" fmla="*/ 456 h 1469"/>
                <a:gd name="T6" fmla="*/ 0 w 2266"/>
                <a:gd name="T7" fmla="*/ 456 h 1469"/>
                <a:gd name="T8" fmla="*/ 4 w 2266"/>
                <a:gd name="T9" fmla="*/ 429 h 1469"/>
                <a:gd name="T10" fmla="*/ 4 w 2266"/>
                <a:gd name="T11" fmla="*/ 429 h 1469"/>
                <a:gd name="T12" fmla="*/ 63 w 2266"/>
                <a:gd name="T13" fmla="*/ 346 h 1469"/>
                <a:gd name="T14" fmla="*/ 588 w 2266"/>
                <a:gd name="T15" fmla="*/ 44 h 1469"/>
                <a:gd name="T16" fmla="*/ 588 w 2266"/>
                <a:gd name="T17" fmla="*/ 44 h 1469"/>
                <a:gd name="T18" fmla="*/ 871 w 2266"/>
                <a:gd name="T19" fmla="*/ 44 h 1469"/>
                <a:gd name="T20" fmla="*/ 2201 w 2266"/>
                <a:gd name="T21" fmla="*/ 812 h 1469"/>
                <a:gd name="T22" fmla="*/ 2201 w 2266"/>
                <a:gd name="T23" fmla="*/ 812 h 1469"/>
                <a:gd name="T24" fmla="*/ 2259 w 2266"/>
                <a:gd name="T25" fmla="*/ 896 h 1469"/>
                <a:gd name="T26" fmla="*/ 2259 w 2266"/>
                <a:gd name="T27" fmla="*/ 896 h 1469"/>
                <a:gd name="T28" fmla="*/ 2264 w 2266"/>
                <a:gd name="T29" fmla="*/ 918 h 1469"/>
                <a:gd name="T30" fmla="*/ 2264 w 2266"/>
                <a:gd name="T31" fmla="*/ 918 h 1469"/>
                <a:gd name="T32" fmla="*/ 2264 w 2266"/>
                <a:gd name="T33" fmla="*/ 918 h 1469"/>
                <a:gd name="T34" fmla="*/ 2264 w 2266"/>
                <a:gd name="T35" fmla="*/ 921 h 1469"/>
                <a:gd name="T36" fmla="*/ 2264 w 2266"/>
                <a:gd name="T37" fmla="*/ 921 h 1469"/>
                <a:gd name="T38" fmla="*/ 2264 w 2266"/>
                <a:gd name="T39" fmla="*/ 923 h 1469"/>
                <a:gd name="T40" fmla="*/ 2264 w 2266"/>
                <a:gd name="T41" fmla="*/ 923 h 1469"/>
                <a:gd name="T42" fmla="*/ 2264 w 2266"/>
                <a:gd name="T43" fmla="*/ 1035 h 1469"/>
                <a:gd name="T44" fmla="*/ 2264 w 2266"/>
                <a:gd name="T45" fmla="*/ 1035 h 1469"/>
                <a:gd name="T46" fmla="*/ 2206 w 2266"/>
                <a:gd name="T47" fmla="*/ 1119 h 1469"/>
                <a:gd name="T48" fmla="*/ 1679 w 2266"/>
                <a:gd name="T49" fmla="*/ 1422 h 1469"/>
                <a:gd name="T50" fmla="*/ 1679 w 2266"/>
                <a:gd name="T51" fmla="*/ 1422 h 1469"/>
                <a:gd name="T52" fmla="*/ 1396 w 2266"/>
                <a:gd name="T53" fmla="*/ 1422 h 1469"/>
                <a:gd name="T54" fmla="*/ 151 w 2266"/>
                <a:gd name="T55" fmla="*/ 704 h 1469"/>
                <a:gd name="T56" fmla="*/ 151 w 2266"/>
                <a:gd name="T57" fmla="*/ 704 h 1469"/>
                <a:gd name="T58" fmla="*/ 130 w 2266"/>
                <a:gd name="T59" fmla="*/ 692 h 1469"/>
                <a:gd name="T60" fmla="*/ 58 w 2266"/>
                <a:gd name="T61" fmla="*/ 650 h 1469"/>
                <a:gd name="T62" fmla="*/ 58 w 2266"/>
                <a:gd name="T63" fmla="*/ 650 h 1469"/>
                <a:gd name="T64" fmla="*/ 0 w 2266"/>
                <a:gd name="T65" fmla="*/ 570 h 1469"/>
                <a:gd name="T66" fmla="*/ 0 w 2266"/>
                <a:gd name="T67" fmla="*/ 570 h 1469"/>
                <a:gd name="T68" fmla="*/ 0 w 2266"/>
                <a:gd name="T69" fmla="*/ 456 h 1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66" h="1469">
                  <a:moveTo>
                    <a:pt x="0" y="456"/>
                  </a:moveTo>
                  <a:lnTo>
                    <a:pt x="0" y="456"/>
                  </a:lnTo>
                  <a:lnTo>
                    <a:pt x="0" y="456"/>
                  </a:lnTo>
                  <a:lnTo>
                    <a:pt x="0" y="456"/>
                  </a:lnTo>
                  <a:cubicBezTo>
                    <a:pt x="0" y="446"/>
                    <a:pt x="1" y="437"/>
                    <a:pt x="4" y="429"/>
                  </a:cubicBezTo>
                  <a:lnTo>
                    <a:pt x="4" y="429"/>
                  </a:lnTo>
                  <a:cubicBezTo>
                    <a:pt x="4" y="399"/>
                    <a:pt x="24" y="368"/>
                    <a:pt x="63" y="346"/>
                  </a:cubicBezTo>
                  <a:lnTo>
                    <a:pt x="588" y="44"/>
                  </a:lnTo>
                  <a:lnTo>
                    <a:pt x="588" y="44"/>
                  </a:lnTo>
                  <a:cubicBezTo>
                    <a:pt x="666" y="0"/>
                    <a:pt x="793" y="0"/>
                    <a:pt x="871" y="44"/>
                  </a:cubicBezTo>
                  <a:lnTo>
                    <a:pt x="2201" y="812"/>
                  </a:lnTo>
                  <a:lnTo>
                    <a:pt x="2201" y="812"/>
                  </a:lnTo>
                  <a:cubicBezTo>
                    <a:pt x="2241" y="835"/>
                    <a:pt x="2261" y="866"/>
                    <a:pt x="2259" y="896"/>
                  </a:cubicBezTo>
                  <a:lnTo>
                    <a:pt x="2259" y="896"/>
                  </a:lnTo>
                  <a:cubicBezTo>
                    <a:pt x="2262" y="904"/>
                    <a:pt x="2264" y="911"/>
                    <a:pt x="2264" y="918"/>
                  </a:cubicBezTo>
                  <a:lnTo>
                    <a:pt x="2264" y="918"/>
                  </a:lnTo>
                  <a:lnTo>
                    <a:pt x="2264" y="918"/>
                  </a:lnTo>
                  <a:lnTo>
                    <a:pt x="2264" y="921"/>
                  </a:lnTo>
                  <a:lnTo>
                    <a:pt x="2264" y="921"/>
                  </a:lnTo>
                  <a:cubicBezTo>
                    <a:pt x="2264" y="921"/>
                    <a:pt x="2264" y="922"/>
                    <a:pt x="2264" y="923"/>
                  </a:cubicBezTo>
                  <a:lnTo>
                    <a:pt x="2264" y="923"/>
                  </a:lnTo>
                  <a:cubicBezTo>
                    <a:pt x="2264" y="945"/>
                    <a:pt x="2264" y="1025"/>
                    <a:pt x="2264" y="1035"/>
                  </a:cubicBezTo>
                  <a:lnTo>
                    <a:pt x="2264" y="1035"/>
                  </a:lnTo>
                  <a:cubicBezTo>
                    <a:pt x="2265" y="1065"/>
                    <a:pt x="2246" y="1096"/>
                    <a:pt x="2206" y="1119"/>
                  </a:cubicBezTo>
                  <a:lnTo>
                    <a:pt x="1679" y="1422"/>
                  </a:lnTo>
                  <a:lnTo>
                    <a:pt x="1679" y="1422"/>
                  </a:lnTo>
                  <a:cubicBezTo>
                    <a:pt x="1601" y="1468"/>
                    <a:pt x="1474" y="1468"/>
                    <a:pt x="1396" y="1422"/>
                  </a:cubicBezTo>
                  <a:lnTo>
                    <a:pt x="151" y="704"/>
                  </a:lnTo>
                  <a:lnTo>
                    <a:pt x="151" y="704"/>
                  </a:lnTo>
                  <a:lnTo>
                    <a:pt x="130" y="692"/>
                  </a:lnTo>
                  <a:lnTo>
                    <a:pt x="58" y="650"/>
                  </a:lnTo>
                  <a:lnTo>
                    <a:pt x="58" y="650"/>
                  </a:lnTo>
                  <a:cubicBezTo>
                    <a:pt x="20" y="628"/>
                    <a:pt x="0" y="599"/>
                    <a:pt x="0" y="570"/>
                  </a:cubicBezTo>
                  <a:lnTo>
                    <a:pt x="0" y="570"/>
                  </a:lnTo>
                  <a:cubicBezTo>
                    <a:pt x="0" y="550"/>
                    <a:pt x="0" y="482"/>
                    <a:pt x="0" y="456"/>
                  </a:cubicBezTo>
                </a:path>
              </a:pathLst>
            </a:custGeom>
            <a:solidFill>
              <a:schemeClr val="bg1">
                <a:lumMod val="85000"/>
              </a:schemeClr>
            </a:solidFill>
            <a:ln>
              <a:noFill/>
            </a:ln>
            <a:effectLst/>
          </p:spPr>
          <p:txBody>
            <a:bodyPr wrap="none" anchor="ctr"/>
            <a:lstStyle/>
            <a:p>
              <a:endParaRPr lang="en-US" sz="3266" dirty="0">
                <a:latin typeface="Lato Light" panose="020F0502020204030203" pitchFamily="34" charset="0"/>
              </a:endParaRPr>
            </a:p>
          </p:txBody>
        </p:sp>
        <p:sp>
          <p:nvSpPr>
            <p:cNvPr id="50" name="Freeform 124">
              <a:extLst>
                <a:ext uri="{FF2B5EF4-FFF2-40B4-BE49-F238E27FC236}">
                  <a16:creationId xmlns:a16="http://schemas.microsoft.com/office/drawing/2014/main" id="{E5DAB59E-6ABB-D74A-9F5B-24CC1C415D98}"/>
                </a:ext>
              </a:extLst>
            </p:cNvPr>
            <p:cNvSpPr>
              <a:spLocks noChangeArrowheads="1"/>
            </p:cNvSpPr>
            <p:nvPr/>
          </p:nvSpPr>
          <p:spPr bwMode="auto">
            <a:xfrm>
              <a:off x="7997987" y="6719748"/>
              <a:ext cx="1480475" cy="869851"/>
            </a:xfrm>
            <a:custGeom>
              <a:avLst/>
              <a:gdLst>
                <a:gd name="T0" fmla="*/ 2206 w 2266"/>
                <a:gd name="T1" fmla="*/ 816 h 1330"/>
                <a:gd name="T2" fmla="*/ 2206 w 2266"/>
                <a:gd name="T3" fmla="*/ 816 h 1330"/>
                <a:gd name="T4" fmla="*/ 2265 w 2266"/>
                <a:gd name="T5" fmla="*/ 779 h 1330"/>
                <a:gd name="T6" fmla="*/ 2265 w 2266"/>
                <a:gd name="T7" fmla="*/ 779 h 1330"/>
                <a:gd name="T8" fmla="*/ 2265 w 2266"/>
                <a:gd name="T9" fmla="*/ 897 h 1330"/>
                <a:gd name="T10" fmla="*/ 2265 w 2266"/>
                <a:gd name="T11" fmla="*/ 897 h 1330"/>
                <a:gd name="T12" fmla="*/ 2206 w 2266"/>
                <a:gd name="T13" fmla="*/ 980 h 1330"/>
                <a:gd name="T14" fmla="*/ 1680 w 2266"/>
                <a:gd name="T15" fmla="*/ 1284 h 1330"/>
                <a:gd name="T16" fmla="*/ 1680 w 2266"/>
                <a:gd name="T17" fmla="*/ 1284 h 1330"/>
                <a:gd name="T18" fmla="*/ 1396 w 2266"/>
                <a:gd name="T19" fmla="*/ 1284 h 1330"/>
                <a:gd name="T20" fmla="*/ 59 w 2266"/>
                <a:gd name="T21" fmla="*/ 512 h 1330"/>
                <a:gd name="T22" fmla="*/ 59 w 2266"/>
                <a:gd name="T23" fmla="*/ 512 h 1330"/>
                <a:gd name="T24" fmla="*/ 0 w 2266"/>
                <a:gd name="T25" fmla="*/ 431 h 1330"/>
                <a:gd name="T26" fmla="*/ 0 w 2266"/>
                <a:gd name="T27" fmla="*/ 431 h 1330"/>
                <a:gd name="T28" fmla="*/ 0 w 2266"/>
                <a:gd name="T29" fmla="*/ 317 h 1330"/>
                <a:gd name="T30" fmla="*/ 0 w 2266"/>
                <a:gd name="T31" fmla="*/ 317 h 1330"/>
                <a:gd name="T32" fmla="*/ 59 w 2266"/>
                <a:gd name="T33" fmla="*/ 348 h 1330"/>
                <a:gd name="T34" fmla="*/ 586 w 2266"/>
                <a:gd name="T35" fmla="*/ 46 h 1330"/>
                <a:gd name="T36" fmla="*/ 586 w 2266"/>
                <a:gd name="T37" fmla="*/ 46 h 1330"/>
                <a:gd name="T38" fmla="*/ 870 w 2266"/>
                <a:gd name="T39" fmla="*/ 46 h 1330"/>
                <a:gd name="T40" fmla="*/ 2206 w 2266"/>
                <a:gd name="T41" fmla="*/ 816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66" h="1330">
                  <a:moveTo>
                    <a:pt x="2206" y="816"/>
                  </a:moveTo>
                  <a:lnTo>
                    <a:pt x="2206" y="816"/>
                  </a:lnTo>
                  <a:cubicBezTo>
                    <a:pt x="2228" y="829"/>
                    <a:pt x="2265" y="779"/>
                    <a:pt x="2265" y="779"/>
                  </a:cubicBezTo>
                  <a:lnTo>
                    <a:pt x="2265" y="779"/>
                  </a:lnTo>
                  <a:cubicBezTo>
                    <a:pt x="2265" y="779"/>
                    <a:pt x="2265" y="884"/>
                    <a:pt x="2265" y="897"/>
                  </a:cubicBezTo>
                  <a:lnTo>
                    <a:pt x="2265" y="897"/>
                  </a:lnTo>
                  <a:cubicBezTo>
                    <a:pt x="2265" y="927"/>
                    <a:pt x="2246" y="957"/>
                    <a:pt x="2206" y="980"/>
                  </a:cubicBezTo>
                  <a:lnTo>
                    <a:pt x="1680" y="1284"/>
                  </a:lnTo>
                  <a:lnTo>
                    <a:pt x="1680" y="1284"/>
                  </a:lnTo>
                  <a:cubicBezTo>
                    <a:pt x="1602" y="1329"/>
                    <a:pt x="1474" y="1329"/>
                    <a:pt x="1396" y="1284"/>
                  </a:cubicBezTo>
                  <a:lnTo>
                    <a:pt x="59" y="512"/>
                  </a:lnTo>
                  <a:lnTo>
                    <a:pt x="59" y="512"/>
                  </a:lnTo>
                  <a:cubicBezTo>
                    <a:pt x="20" y="489"/>
                    <a:pt x="0" y="460"/>
                    <a:pt x="0" y="431"/>
                  </a:cubicBezTo>
                  <a:lnTo>
                    <a:pt x="0" y="431"/>
                  </a:lnTo>
                  <a:cubicBezTo>
                    <a:pt x="0" y="411"/>
                    <a:pt x="0" y="343"/>
                    <a:pt x="0" y="317"/>
                  </a:cubicBezTo>
                  <a:lnTo>
                    <a:pt x="0" y="317"/>
                  </a:lnTo>
                  <a:cubicBezTo>
                    <a:pt x="0" y="301"/>
                    <a:pt x="41" y="358"/>
                    <a:pt x="59" y="348"/>
                  </a:cubicBezTo>
                  <a:lnTo>
                    <a:pt x="586" y="46"/>
                  </a:lnTo>
                  <a:lnTo>
                    <a:pt x="586" y="46"/>
                  </a:lnTo>
                  <a:cubicBezTo>
                    <a:pt x="664" y="0"/>
                    <a:pt x="792" y="0"/>
                    <a:pt x="870" y="46"/>
                  </a:cubicBezTo>
                  <a:lnTo>
                    <a:pt x="2206" y="816"/>
                  </a:lnTo>
                </a:path>
              </a:pathLst>
            </a:custGeom>
            <a:solidFill>
              <a:schemeClr val="tx2">
                <a:lumMod val="75000"/>
              </a:schemeClr>
            </a:solidFill>
            <a:ln>
              <a:noFill/>
            </a:ln>
            <a:effectLst/>
          </p:spPr>
          <p:txBody>
            <a:bodyPr wrap="none" anchor="ctr"/>
            <a:lstStyle/>
            <a:p>
              <a:endParaRPr lang="en-US" sz="3266" dirty="0">
                <a:latin typeface="Lato Light" panose="020F0502020204030203" pitchFamily="34" charset="0"/>
              </a:endParaRPr>
            </a:p>
          </p:txBody>
        </p:sp>
        <p:sp>
          <p:nvSpPr>
            <p:cNvPr id="51" name="Freeform 125">
              <a:extLst>
                <a:ext uri="{FF2B5EF4-FFF2-40B4-BE49-F238E27FC236}">
                  <a16:creationId xmlns:a16="http://schemas.microsoft.com/office/drawing/2014/main" id="{C21ED94F-F998-C649-8E44-CD7B51672C73}"/>
                </a:ext>
              </a:extLst>
            </p:cNvPr>
            <p:cNvSpPr>
              <a:spLocks noChangeArrowheads="1"/>
            </p:cNvSpPr>
            <p:nvPr/>
          </p:nvSpPr>
          <p:spPr bwMode="auto">
            <a:xfrm>
              <a:off x="7983585" y="6647740"/>
              <a:ext cx="1506397" cy="869851"/>
            </a:xfrm>
            <a:custGeom>
              <a:avLst/>
              <a:gdLst>
                <a:gd name="T0" fmla="*/ 2226 w 2305"/>
                <a:gd name="T1" fmla="*/ 816 h 1330"/>
                <a:gd name="T2" fmla="*/ 2226 w 2305"/>
                <a:gd name="T3" fmla="*/ 816 h 1330"/>
                <a:gd name="T4" fmla="*/ 2226 w 2305"/>
                <a:gd name="T5" fmla="*/ 979 h 1330"/>
                <a:gd name="T6" fmla="*/ 1700 w 2305"/>
                <a:gd name="T7" fmla="*/ 1283 h 1330"/>
                <a:gd name="T8" fmla="*/ 1700 w 2305"/>
                <a:gd name="T9" fmla="*/ 1283 h 1330"/>
                <a:gd name="T10" fmla="*/ 1416 w 2305"/>
                <a:gd name="T11" fmla="*/ 1283 h 1330"/>
                <a:gd name="T12" fmla="*/ 79 w 2305"/>
                <a:gd name="T13" fmla="*/ 511 h 1330"/>
                <a:gd name="T14" fmla="*/ 79 w 2305"/>
                <a:gd name="T15" fmla="*/ 511 h 1330"/>
                <a:gd name="T16" fmla="*/ 79 w 2305"/>
                <a:gd name="T17" fmla="*/ 347 h 1330"/>
                <a:gd name="T18" fmla="*/ 606 w 2305"/>
                <a:gd name="T19" fmla="*/ 45 h 1330"/>
                <a:gd name="T20" fmla="*/ 606 w 2305"/>
                <a:gd name="T21" fmla="*/ 45 h 1330"/>
                <a:gd name="T22" fmla="*/ 890 w 2305"/>
                <a:gd name="T23" fmla="*/ 45 h 1330"/>
                <a:gd name="T24" fmla="*/ 2226 w 2305"/>
                <a:gd name="T25" fmla="*/ 816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05" h="1330">
                  <a:moveTo>
                    <a:pt x="2226" y="816"/>
                  </a:moveTo>
                  <a:lnTo>
                    <a:pt x="2226" y="816"/>
                  </a:lnTo>
                  <a:cubicBezTo>
                    <a:pt x="2304" y="861"/>
                    <a:pt x="2304" y="935"/>
                    <a:pt x="2226" y="979"/>
                  </a:cubicBezTo>
                  <a:lnTo>
                    <a:pt x="1700" y="1283"/>
                  </a:lnTo>
                  <a:lnTo>
                    <a:pt x="1700" y="1283"/>
                  </a:lnTo>
                  <a:cubicBezTo>
                    <a:pt x="1622" y="1329"/>
                    <a:pt x="1494" y="1329"/>
                    <a:pt x="1416" y="1283"/>
                  </a:cubicBezTo>
                  <a:lnTo>
                    <a:pt x="79" y="511"/>
                  </a:lnTo>
                  <a:lnTo>
                    <a:pt x="79" y="511"/>
                  </a:lnTo>
                  <a:cubicBezTo>
                    <a:pt x="0" y="466"/>
                    <a:pt x="0" y="392"/>
                    <a:pt x="79" y="347"/>
                  </a:cubicBezTo>
                  <a:lnTo>
                    <a:pt x="606" y="45"/>
                  </a:lnTo>
                  <a:lnTo>
                    <a:pt x="606" y="45"/>
                  </a:lnTo>
                  <a:cubicBezTo>
                    <a:pt x="684" y="0"/>
                    <a:pt x="812" y="0"/>
                    <a:pt x="890" y="45"/>
                  </a:cubicBezTo>
                  <a:lnTo>
                    <a:pt x="2226" y="816"/>
                  </a:lnTo>
                </a:path>
              </a:pathLst>
            </a:custGeom>
            <a:solidFill>
              <a:schemeClr val="tx2">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52" name="Freeform 126">
              <a:extLst>
                <a:ext uri="{FF2B5EF4-FFF2-40B4-BE49-F238E27FC236}">
                  <a16:creationId xmlns:a16="http://schemas.microsoft.com/office/drawing/2014/main" id="{1D82633F-E2BB-794B-B58E-7FB4C4C5D444}"/>
                </a:ext>
              </a:extLst>
            </p:cNvPr>
            <p:cNvSpPr>
              <a:spLocks noChangeArrowheads="1"/>
            </p:cNvSpPr>
            <p:nvPr/>
          </p:nvSpPr>
          <p:spPr bwMode="auto">
            <a:xfrm>
              <a:off x="7986465" y="6630457"/>
              <a:ext cx="1497757" cy="864091"/>
            </a:xfrm>
            <a:custGeom>
              <a:avLst/>
              <a:gdLst>
                <a:gd name="T0" fmla="*/ 2217 w 2295"/>
                <a:gd name="T1" fmla="*/ 813 h 1324"/>
                <a:gd name="T2" fmla="*/ 2217 w 2295"/>
                <a:gd name="T3" fmla="*/ 813 h 1324"/>
                <a:gd name="T4" fmla="*/ 2217 w 2295"/>
                <a:gd name="T5" fmla="*/ 975 h 1324"/>
                <a:gd name="T6" fmla="*/ 1692 w 2295"/>
                <a:gd name="T7" fmla="*/ 1278 h 1324"/>
                <a:gd name="T8" fmla="*/ 1692 w 2295"/>
                <a:gd name="T9" fmla="*/ 1278 h 1324"/>
                <a:gd name="T10" fmla="*/ 1410 w 2295"/>
                <a:gd name="T11" fmla="*/ 1278 h 1324"/>
                <a:gd name="T12" fmla="*/ 78 w 2295"/>
                <a:gd name="T13" fmla="*/ 509 h 1324"/>
                <a:gd name="T14" fmla="*/ 78 w 2295"/>
                <a:gd name="T15" fmla="*/ 509 h 1324"/>
                <a:gd name="T16" fmla="*/ 78 w 2295"/>
                <a:gd name="T17" fmla="*/ 346 h 1324"/>
                <a:gd name="T18" fmla="*/ 603 w 2295"/>
                <a:gd name="T19" fmla="*/ 45 h 1324"/>
                <a:gd name="T20" fmla="*/ 603 w 2295"/>
                <a:gd name="T21" fmla="*/ 45 h 1324"/>
                <a:gd name="T22" fmla="*/ 886 w 2295"/>
                <a:gd name="T23" fmla="*/ 45 h 1324"/>
                <a:gd name="T24" fmla="*/ 2217 w 2295"/>
                <a:gd name="T25" fmla="*/ 813 h 1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5" h="1324">
                  <a:moveTo>
                    <a:pt x="2217" y="813"/>
                  </a:moveTo>
                  <a:lnTo>
                    <a:pt x="2217" y="813"/>
                  </a:lnTo>
                  <a:cubicBezTo>
                    <a:pt x="2294" y="857"/>
                    <a:pt x="2294" y="931"/>
                    <a:pt x="2217" y="975"/>
                  </a:cubicBezTo>
                  <a:lnTo>
                    <a:pt x="1692" y="1278"/>
                  </a:lnTo>
                  <a:lnTo>
                    <a:pt x="1692" y="1278"/>
                  </a:lnTo>
                  <a:cubicBezTo>
                    <a:pt x="1615" y="1323"/>
                    <a:pt x="1488" y="1323"/>
                    <a:pt x="1410" y="1278"/>
                  </a:cubicBezTo>
                  <a:lnTo>
                    <a:pt x="78" y="509"/>
                  </a:lnTo>
                  <a:lnTo>
                    <a:pt x="78" y="509"/>
                  </a:lnTo>
                  <a:cubicBezTo>
                    <a:pt x="0" y="464"/>
                    <a:pt x="0" y="391"/>
                    <a:pt x="78" y="346"/>
                  </a:cubicBezTo>
                  <a:lnTo>
                    <a:pt x="603" y="45"/>
                  </a:lnTo>
                  <a:lnTo>
                    <a:pt x="603" y="45"/>
                  </a:lnTo>
                  <a:cubicBezTo>
                    <a:pt x="681" y="0"/>
                    <a:pt x="808" y="0"/>
                    <a:pt x="886" y="45"/>
                  </a:cubicBezTo>
                  <a:lnTo>
                    <a:pt x="2217" y="813"/>
                  </a:lnTo>
                </a:path>
              </a:pathLst>
            </a:custGeom>
            <a:solidFill>
              <a:schemeClr val="bg1"/>
            </a:solidFill>
            <a:ln>
              <a:noFill/>
            </a:ln>
            <a:effectLst/>
          </p:spPr>
          <p:txBody>
            <a:bodyPr wrap="none" anchor="ctr"/>
            <a:lstStyle/>
            <a:p>
              <a:endParaRPr lang="en-US" sz="3266" dirty="0">
                <a:latin typeface="Lato Light" panose="020F0502020204030203" pitchFamily="34" charset="0"/>
              </a:endParaRPr>
            </a:p>
          </p:txBody>
        </p:sp>
        <p:sp>
          <p:nvSpPr>
            <p:cNvPr id="53" name="Freeform 127">
              <a:extLst>
                <a:ext uri="{FF2B5EF4-FFF2-40B4-BE49-F238E27FC236}">
                  <a16:creationId xmlns:a16="http://schemas.microsoft.com/office/drawing/2014/main" id="{1A43DBE9-D3F9-BB4B-8C76-880BD4BDE564}"/>
                </a:ext>
              </a:extLst>
            </p:cNvPr>
            <p:cNvSpPr>
              <a:spLocks noChangeArrowheads="1"/>
            </p:cNvSpPr>
            <p:nvPr/>
          </p:nvSpPr>
          <p:spPr bwMode="auto">
            <a:xfrm>
              <a:off x="8064234" y="6679424"/>
              <a:ext cx="1322058" cy="754639"/>
            </a:xfrm>
            <a:custGeom>
              <a:avLst/>
              <a:gdLst>
                <a:gd name="T0" fmla="*/ 2001 w 2026"/>
                <a:gd name="T1" fmla="*/ 826 h 1157"/>
                <a:gd name="T2" fmla="*/ 1497 w 2026"/>
                <a:gd name="T3" fmla="*/ 1117 h 1157"/>
                <a:gd name="T4" fmla="*/ 1497 w 2026"/>
                <a:gd name="T5" fmla="*/ 1117 h 1157"/>
                <a:gd name="T6" fmla="*/ 1283 w 2026"/>
                <a:gd name="T7" fmla="*/ 1117 h 1157"/>
                <a:gd name="T8" fmla="*/ 23 w 2026"/>
                <a:gd name="T9" fmla="*/ 388 h 1157"/>
                <a:gd name="T10" fmla="*/ 23 w 2026"/>
                <a:gd name="T11" fmla="*/ 388 h 1157"/>
                <a:gd name="T12" fmla="*/ 23 w 2026"/>
                <a:gd name="T13" fmla="*/ 328 h 1157"/>
                <a:gd name="T14" fmla="*/ 528 w 2026"/>
                <a:gd name="T15" fmla="*/ 38 h 1157"/>
                <a:gd name="T16" fmla="*/ 528 w 2026"/>
                <a:gd name="T17" fmla="*/ 38 h 1157"/>
                <a:gd name="T18" fmla="*/ 742 w 2026"/>
                <a:gd name="T19" fmla="*/ 38 h 1157"/>
                <a:gd name="T20" fmla="*/ 2001 w 2026"/>
                <a:gd name="T21" fmla="*/ 767 h 1157"/>
                <a:gd name="T22" fmla="*/ 2001 w 2026"/>
                <a:gd name="T23" fmla="*/ 767 h 1157"/>
                <a:gd name="T24" fmla="*/ 2001 w 2026"/>
                <a:gd name="T25" fmla="*/ 826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6" h="1157">
                  <a:moveTo>
                    <a:pt x="2001" y="826"/>
                  </a:moveTo>
                  <a:lnTo>
                    <a:pt x="1497" y="1117"/>
                  </a:lnTo>
                  <a:lnTo>
                    <a:pt x="1497" y="1117"/>
                  </a:lnTo>
                  <a:cubicBezTo>
                    <a:pt x="1430" y="1156"/>
                    <a:pt x="1349" y="1156"/>
                    <a:pt x="1283" y="1117"/>
                  </a:cubicBezTo>
                  <a:lnTo>
                    <a:pt x="23" y="388"/>
                  </a:lnTo>
                  <a:lnTo>
                    <a:pt x="23" y="388"/>
                  </a:lnTo>
                  <a:cubicBezTo>
                    <a:pt x="0" y="375"/>
                    <a:pt x="0" y="342"/>
                    <a:pt x="23" y="328"/>
                  </a:cubicBezTo>
                  <a:lnTo>
                    <a:pt x="528" y="38"/>
                  </a:lnTo>
                  <a:lnTo>
                    <a:pt x="528" y="38"/>
                  </a:lnTo>
                  <a:cubicBezTo>
                    <a:pt x="594" y="0"/>
                    <a:pt x="676" y="0"/>
                    <a:pt x="742" y="38"/>
                  </a:cubicBezTo>
                  <a:lnTo>
                    <a:pt x="2001" y="767"/>
                  </a:lnTo>
                  <a:lnTo>
                    <a:pt x="2001" y="767"/>
                  </a:lnTo>
                  <a:cubicBezTo>
                    <a:pt x="2025" y="780"/>
                    <a:pt x="2025" y="813"/>
                    <a:pt x="2001" y="826"/>
                  </a:cubicBezTo>
                </a:path>
              </a:pathLst>
            </a:custGeom>
            <a:solidFill>
              <a:schemeClr val="bg1">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54" name="Freeform 128">
              <a:extLst>
                <a:ext uri="{FF2B5EF4-FFF2-40B4-BE49-F238E27FC236}">
                  <a16:creationId xmlns:a16="http://schemas.microsoft.com/office/drawing/2014/main" id="{A81A5158-4098-2548-8873-9F1257867415}"/>
                </a:ext>
              </a:extLst>
            </p:cNvPr>
            <p:cNvSpPr>
              <a:spLocks noChangeArrowheads="1"/>
            </p:cNvSpPr>
            <p:nvPr/>
          </p:nvSpPr>
          <p:spPr bwMode="auto">
            <a:xfrm>
              <a:off x="8078635" y="6999136"/>
              <a:ext cx="17282" cy="92170"/>
            </a:xfrm>
            <a:custGeom>
              <a:avLst/>
              <a:gdLst>
                <a:gd name="T0" fmla="*/ 0 w 28"/>
                <a:gd name="T1" fmla="*/ 123 h 140"/>
                <a:gd name="T2" fmla="*/ 27 w 28"/>
                <a:gd name="T3" fmla="*/ 139 h 140"/>
                <a:gd name="T4" fmla="*/ 27 w 28"/>
                <a:gd name="T5" fmla="*/ 16 h 140"/>
                <a:gd name="T6" fmla="*/ 0 w 28"/>
                <a:gd name="T7" fmla="*/ 0 h 140"/>
                <a:gd name="T8" fmla="*/ 0 w 28"/>
                <a:gd name="T9" fmla="*/ 123 h 140"/>
              </a:gdLst>
              <a:ahLst/>
              <a:cxnLst>
                <a:cxn ang="0">
                  <a:pos x="T0" y="T1"/>
                </a:cxn>
                <a:cxn ang="0">
                  <a:pos x="T2" y="T3"/>
                </a:cxn>
                <a:cxn ang="0">
                  <a:pos x="T4" y="T5"/>
                </a:cxn>
                <a:cxn ang="0">
                  <a:pos x="T6" y="T7"/>
                </a:cxn>
                <a:cxn ang="0">
                  <a:pos x="T8" y="T9"/>
                </a:cxn>
              </a:cxnLst>
              <a:rect l="0" t="0" r="r" b="b"/>
              <a:pathLst>
                <a:path w="28" h="140">
                  <a:moveTo>
                    <a:pt x="0" y="123"/>
                  </a:moveTo>
                  <a:lnTo>
                    <a:pt x="27" y="139"/>
                  </a:lnTo>
                  <a:lnTo>
                    <a:pt x="27" y="16"/>
                  </a:lnTo>
                  <a:lnTo>
                    <a:pt x="0" y="0"/>
                  </a:lnTo>
                  <a:lnTo>
                    <a:pt x="0" y="123"/>
                  </a:lnTo>
                </a:path>
              </a:pathLst>
            </a:custGeom>
            <a:solidFill>
              <a:schemeClr val="tx2">
                <a:lumMod val="75000"/>
              </a:schemeClr>
            </a:solidFill>
            <a:ln>
              <a:noFill/>
            </a:ln>
            <a:effectLst/>
          </p:spPr>
          <p:txBody>
            <a:bodyPr wrap="none" anchor="ctr"/>
            <a:lstStyle/>
            <a:p>
              <a:endParaRPr lang="en-US" sz="3266" dirty="0">
                <a:latin typeface="Lato Light" panose="020F0502020204030203" pitchFamily="34" charset="0"/>
              </a:endParaRPr>
            </a:p>
          </p:txBody>
        </p:sp>
        <p:sp>
          <p:nvSpPr>
            <p:cNvPr id="55" name="Freeform 54">
              <a:extLst>
                <a:ext uri="{FF2B5EF4-FFF2-40B4-BE49-F238E27FC236}">
                  <a16:creationId xmlns:a16="http://schemas.microsoft.com/office/drawing/2014/main" id="{9F680A4F-758B-324A-870E-D9FB8228E058}"/>
                </a:ext>
              </a:extLst>
            </p:cNvPr>
            <p:cNvSpPr>
              <a:spLocks noChangeArrowheads="1"/>
            </p:cNvSpPr>
            <p:nvPr/>
          </p:nvSpPr>
          <p:spPr bwMode="auto">
            <a:xfrm>
              <a:off x="6960614" y="4334923"/>
              <a:ext cx="1272442" cy="1168310"/>
            </a:xfrm>
            <a:custGeom>
              <a:avLst/>
              <a:gdLst>
                <a:gd name="connsiteX0" fmla="*/ 461324 w 1272442"/>
                <a:gd name="connsiteY0" fmla="*/ 585318 h 1168310"/>
                <a:gd name="connsiteX1" fmla="*/ 393533 w 1272442"/>
                <a:gd name="connsiteY1" fmla="*/ 591543 h 1168310"/>
                <a:gd name="connsiteX2" fmla="*/ 312090 w 1272442"/>
                <a:gd name="connsiteY2" fmla="*/ 627441 h 1168310"/>
                <a:gd name="connsiteX3" fmla="*/ 191554 w 1272442"/>
                <a:gd name="connsiteY3" fmla="*/ 748189 h 1168310"/>
                <a:gd name="connsiteX4" fmla="*/ 147900 w 1272442"/>
                <a:gd name="connsiteY4" fmla="*/ 910057 h 1168310"/>
                <a:gd name="connsiteX5" fmla="*/ 191554 w 1272442"/>
                <a:gd name="connsiteY5" fmla="*/ 1019057 h 1168310"/>
                <a:gd name="connsiteX6" fmla="*/ 312090 w 1272442"/>
                <a:gd name="connsiteY6" fmla="*/ 996213 h 1168310"/>
                <a:gd name="connsiteX7" fmla="*/ 393533 w 1272442"/>
                <a:gd name="connsiteY7" fmla="*/ 934860 h 1168310"/>
                <a:gd name="connsiteX8" fmla="*/ 432137 w 1272442"/>
                <a:gd name="connsiteY8" fmla="*/ 895127 h 1168310"/>
                <a:gd name="connsiteX9" fmla="*/ 462527 w 1272442"/>
                <a:gd name="connsiteY9" fmla="*/ 858983 h 1168310"/>
                <a:gd name="connsiteX10" fmla="*/ 462527 w 1272442"/>
                <a:gd name="connsiteY10" fmla="*/ 846493 h 1168310"/>
                <a:gd name="connsiteX11" fmla="*/ 565464 w 1272442"/>
                <a:gd name="connsiteY11" fmla="*/ 828234 h 1168310"/>
                <a:gd name="connsiteX12" fmla="*/ 660582 w 1272442"/>
                <a:gd name="connsiteY12" fmla="*/ 784544 h 1168310"/>
                <a:gd name="connsiteX13" fmla="*/ 732247 w 1272442"/>
                <a:gd name="connsiteY13" fmla="*/ 726507 h 1168310"/>
                <a:gd name="connsiteX14" fmla="*/ 757655 w 1272442"/>
                <a:gd name="connsiteY14" fmla="*/ 667167 h 1168310"/>
                <a:gd name="connsiteX15" fmla="*/ 740716 w 1272442"/>
                <a:gd name="connsiteY15" fmla="*/ 636518 h 1168310"/>
                <a:gd name="connsiteX16" fmla="*/ 672961 w 1272442"/>
                <a:gd name="connsiteY16" fmla="*/ 651516 h 1168310"/>
                <a:gd name="connsiteX17" fmla="*/ 618235 w 1272442"/>
                <a:gd name="connsiteY17" fmla="*/ 672383 h 1168310"/>
                <a:gd name="connsiteX18" fmla="*/ 495754 w 1272442"/>
                <a:gd name="connsiteY18" fmla="*/ 688686 h 1168310"/>
                <a:gd name="connsiteX19" fmla="*/ 457967 w 1272442"/>
                <a:gd name="connsiteY19" fmla="*/ 605869 h 1168310"/>
                <a:gd name="connsiteX20" fmla="*/ 841958 w 1272442"/>
                <a:gd name="connsiteY20" fmla="*/ 343988 h 1168310"/>
                <a:gd name="connsiteX21" fmla="*/ 770034 w 1272442"/>
                <a:gd name="connsiteY21" fmla="*/ 361985 h 1168310"/>
                <a:gd name="connsiteX22" fmla="*/ 687945 w 1272442"/>
                <a:gd name="connsiteY22" fmla="*/ 400459 h 1168310"/>
                <a:gd name="connsiteX23" fmla="*/ 611720 w 1272442"/>
                <a:gd name="connsiteY23" fmla="*/ 459800 h 1168310"/>
                <a:gd name="connsiteX24" fmla="*/ 587615 w 1272442"/>
                <a:gd name="connsiteY24" fmla="*/ 518488 h 1168310"/>
                <a:gd name="connsiteX25" fmla="*/ 603902 w 1272442"/>
                <a:gd name="connsiteY25" fmla="*/ 543268 h 1168310"/>
                <a:gd name="connsiteX26" fmla="*/ 663840 w 1272442"/>
                <a:gd name="connsiteY26" fmla="*/ 528922 h 1168310"/>
                <a:gd name="connsiteX27" fmla="*/ 724429 w 1272442"/>
                <a:gd name="connsiteY27" fmla="*/ 504794 h 1168310"/>
                <a:gd name="connsiteX28" fmla="*/ 856032 w 1272442"/>
                <a:gd name="connsiteY28" fmla="*/ 482623 h 1168310"/>
                <a:gd name="connsiteX29" fmla="*/ 895122 w 1272442"/>
                <a:gd name="connsiteY29" fmla="*/ 567396 h 1168310"/>
                <a:gd name="connsiteX30" fmla="*/ 887676 w 1272442"/>
                <a:gd name="connsiteY30" fmla="*/ 615634 h 1168310"/>
                <a:gd name="connsiteX31" fmla="*/ 942785 w 1272442"/>
                <a:gd name="connsiteY31" fmla="*/ 605797 h 1168310"/>
                <a:gd name="connsiteX32" fmla="*/ 1038555 w 1272442"/>
                <a:gd name="connsiteY32" fmla="*/ 562758 h 1168310"/>
                <a:gd name="connsiteX33" fmla="*/ 1110220 w 1272442"/>
                <a:gd name="connsiteY33" fmla="*/ 504070 h 1168310"/>
                <a:gd name="connsiteX34" fmla="*/ 1134977 w 1272442"/>
                <a:gd name="connsiteY34" fmla="*/ 444729 h 1168310"/>
                <a:gd name="connsiteX35" fmla="*/ 1118038 w 1272442"/>
                <a:gd name="connsiteY35" fmla="*/ 414733 h 1168310"/>
                <a:gd name="connsiteX36" fmla="*/ 1050934 w 1272442"/>
                <a:gd name="connsiteY36" fmla="*/ 429731 h 1168310"/>
                <a:gd name="connsiteX37" fmla="*/ 995557 w 1272442"/>
                <a:gd name="connsiteY37" fmla="*/ 450598 h 1168310"/>
                <a:gd name="connsiteX38" fmla="*/ 873727 w 1272442"/>
                <a:gd name="connsiteY38" fmla="*/ 466248 h 1168310"/>
                <a:gd name="connsiteX39" fmla="*/ 835288 w 1272442"/>
                <a:gd name="connsiteY39" fmla="*/ 384084 h 1168310"/>
                <a:gd name="connsiteX40" fmla="*/ 1236610 w 1272442"/>
                <a:gd name="connsiteY40" fmla="*/ 0 h 1168310"/>
                <a:gd name="connsiteX41" fmla="*/ 1236610 w 1272442"/>
                <a:gd name="connsiteY41" fmla="*/ 117377 h 1168310"/>
                <a:gd name="connsiteX42" fmla="*/ 1147355 w 1272442"/>
                <a:gd name="connsiteY42" fmla="*/ 140201 h 1168310"/>
                <a:gd name="connsiteX43" fmla="*/ 1065267 w 1272442"/>
                <a:gd name="connsiteY43" fmla="*/ 178674 h 1168310"/>
                <a:gd name="connsiteX44" fmla="*/ 989693 w 1272442"/>
                <a:gd name="connsiteY44" fmla="*/ 237363 h 1168310"/>
                <a:gd name="connsiteX45" fmla="*/ 964936 w 1272442"/>
                <a:gd name="connsiteY45" fmla="*/ 296051 h 1168310"/>
                <a:gd name="connsiteX46" fmla="*/ 981875 w 1272442"/>
                <a:gd name="connsiteY46" fmla="*/ 321483 h 1168310"/>
                <a:gd name="connsiteX47" fmla="*/ 1041813 w 1272442"/>
                <a:gd name="connsiteY47" fmla="*/ 306485 h 1168310"/>
                <a:gd name="connsiteX48" fmla="*/ 1102402 w 1272442"/>
                <a:gd name="connsiteY48" fmla="*/ 283010 h 1168310"/>
                <a:gd name="connsiteX49" fmla="*/ 1233353 w 1272442"/>
                <a:gd name="connsiteY49" fmla="*/ 260838 h 1168310"/>
                <a:gd name="connsiteX50" fmla="*/ 1272442 w 1272442"/>
                <a:gd name="connsiteY50" fmla="*/ 345611 h 1168310"/>
                <a:gd name="connsiteX51" fmla="*/ 1218368 w 1272442"/>
                <a:gd name="connsiteY51" fmla="*/ 514503 h 1168310"/>
                <a:gd name="connsiteX52" fmla="*/ 1052237 w 1272442"/>
                <a:gd name="connsiteY52" fmla="*/ 657964 h 1168310"/>
                <a:gd name="connsiteX53" fmla="*/ 946043 w 1272442"/>
                <a:gd name="connsiteY53" fmla="*/ 711436 h 1168310"/>
                <a:gd name="connsiteX54" fmla="*/ 840500 w 1272442"/>
                <a:gd name="connsiteY54" fmla="*/ 745345 h 1168310"/>
                <a:gd name="connsiteX55" fmla="*/ 840500 w 1272442"/>
                <a:gd name="connsiteY55" fmla="*/ 736878 h 1168310"/>
                <a:gd name="connsiteX56" fmla="*/ 771907 w 1272442"/>
                <a:gd name="connsiteY56" fmla="*/ 810791 h 1168310"/>
                <a:gd name="connsiteX57" fmla="*/ 674915 w 1272442"/>
                <a:gd name="connsiteY57" fmla="*/ 880402 h 1168310"/>
                <a:gd name="connsiteX58" fmla="*/ 568721 w 1272442"/>
                <a:gd name="connsiteY58" fmla="*/ 933222 h 1168310"/>
                <a:gd name="connsiteX59" fmla="*/ 469789 w 1272442"/>
                <a:gd name="connsiteY59" fmla="*/ 964813 h 1168310"/>
                <a:gd name="connsiteX60" fmla="*/ 389624 w 1272442"/>
                <a:gd name="connsiteY60" fmla="*/ 1043207 h 1168310"/>
                <a:gd name="connsiteX61" fmla="*/ 300362 w 1272442"/>
                <a:gd name="connsiteY61" fmla="*/ 1107171 h 1168310"/>
                <a:gd name="connsiteX62" fmla="*/ 81443 w 1272442"/>
                <a:gd name="connsiteY62" fmla="*/ 1160692 h 1168310"/>
                <a:gd name="connsiteX63" fmla="*/ 0 w 1272442"/>
                <a:gd name="connsiteY63" fmla="*/ 998171 h 1168310"/>
                <a:gd name="connsiteX64" fmla="*/ 81443 w 1272442"/>
                <a:gd name="connsiteY64" fmla="*/ 739704 h 1168310"/>
                <a:gd name="connsiteX65" fmla="*/ 300362 w 1272442"/>
                <a:gd name="connsiteY65" fmla="*/ 530842 h 1168310"/>
                <a:gd name="connsiteX66" fmla="*/ 389624 w 1272442"/>
                <a:gd name="connsiteY66" fmla="*/ 487765 h 1168310"/>
                <a:gd name="connsiteX67" fmla="*/ 471718 w 1272442"/>
                <a:gd name="connsiteY67" fmla="*/ 469489 h 1168310"/>
                <a:gd name="connsiteX68" fmla="*/ 471718 w 1272442"/>
                <a:gd name="connsiteY68" fmla="*/ 523677 h 1168310"/>
                <a:gd name="connsiteX69" fmla="*/ 511390 w 1272442"/>
                <a:gd name="connsiteY69" fmla="*/ 446758 h 1168310"/>
                <a:gd name="connsiteX70" fmla="*/ 665143 w 1272442"/>
                <a:gd name="connsiteY70" fmla="*/ 310469 h 1168310"/>
                <a:gd name="connsiteX71" fmla="*/ 758958 w 1272442"/>
                <a:gd name="connsiteY71" fmla="*/ 260910 h 1168310"/>
                <a:gd name="connsiteX72" fmla="*/ 858638 w 1272442"/>
                <a:gd name="connsiteY72" fmla="*/ 221784 h 1168310"/>
                <a:gd name="connsiteX73" fmla="*/ 858638 w 1272442"/>
                <a:gd name="connsiteY73" fmla="*/ 283639 h 1168310"/>
                <a:gd name="connsiteX74" fmla="*/ 888711 w 1272442"/>
                <a:gd name="connsiteY74" fmla="*/ 224973 h 1168310"/>
                <a:gd name="connsiteX75" fmla="*/ 1042464 w 1272442"/>
                <a:gd name="connsiteY75" fmla="*/ 88685 h 1168310"/>
                <a:gd name="connsiteX76" fmla="*/ 1136280 w 1272442"/>
                <a:gd name="connsiteY76" fmla="*/ 39126 h 1168310"/>
                <a:gd name="connsiteX77" fmla="*/ 1236610 w 1272442"/>
                <a:gd name="connsiteY77" fmla="*/ 0 h 116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272442" h="1168310">
                  <a:moveTo>
                    <a:pt x="461324" y="585318"/>
                  </a:moveTo>
                  <a:lnTo>
                    <a:pt x="393533" y="591543"/>
                  </a:lnTo>
                  <a:cubicBezTo>
                    <a:pt x="367471" y="598723"/>
                    <a:pt x="340758" y="610471"/>
                    <a:pt x="312090" y="627441"/>
                  </a:cubicBezTo>
                  <a:cubicBezTo>
                    <a:pt x="261269" y="658118"/>
                    <a:pt x="220873" y="697932"/>
                    <a:pt x="191554" y="748189"/>
                  </a:cubicBezTo>
                  <a:cubicBezTo>
                    <a:pt x="162234" y="798447"/>
                    <a:pt x="147900" y="852620"/>
                    <a:pt x="147900" y="910057"/>
                  </a:cubicBezTo>
                  <a:cubicBezTo>
                    <a:pt x="147900" y="967494"/>
                    <a:pt x="162234" y="1003393"/>
                    <a:pt x="191554" y="1019057"/>
                  </a:cubicBezTo>
                  <a:cubicBezTo>
                    <a:pt x="220873" y="1034069"/>
                    <a:pt x="261269" y="1026890"/>
                    <a:pt x="312090" y="996213"/>
                  </a:cubicBezTo>
                  <a:cubicBezTo>
                    <a:pt x="340758" y="979243"/>
                    <a:pt x="367471" y="959009"/>
                    <a:pt x="393533" y="934860"/>
                  </a:cubicBezTo>
                  <a:cubicBezTo>
                    <a:pt x="406238" y="922785"/>
                    <a:pt x="419106" y="909568"/>
                    <a:pt x="432137" y="895127"/>
                  </a:cubicBezTo>
                  <a:lnTo>
                    <a:pt x="462527" y="858983"/>
                  </a:lnTo>
                  <a:lnTo>
                    <a:pt x="462527" y="846493"/>
                  </a:lnTo>
                  <a:cubicBezTo>
                    <a:pt x="498360" y="843885"/>
                    <a:pt x="532237" y="838016"/>
                    <a:pt x="565464" y="828234"/>
                  </a:cubicBezTo>
                  <a:cubicBezTo>
                    <a:pt x="598690" y="817801"/>
                    <a:pt x="629962" y="802803"/>
                    <a:pt x="660582" y="784544"/>
                  </a:cubicBezTo>
                  <a:cubicBezTo>
                    <a:pt x="691854" y="766285"/>
                    <a:pt x="715960" y="746722"/>
                    <a:pt x="732247" y="726507"/>
                  </a:cubicBezTo>
                  <a:cubicBezTo>
                    <a:pt x="749186" y="706292"/>
                    <a:pt x="757655" y="686077"/>
                    <a:pt x="757655" y="667167"/>
                  </a:cubicBezTo>
                  <a:cubicBezTo>
                    <a:pt x="757655" y="649560"/>
                    <a:pt x="751792" y="639778"/>
                    <a:pt x="740716" y="636518"/>
                  </a:cubicBezTo>
                  <a:cubicBezTo>
                    <a:pt x="729641" y="634562"/>
                    <a:pt x="706839" y="639126"/>
                    <a:pt x="672961" y="651516"/>
                  </a:cubicBezTo>
                  <a:lnTo>
                    <a:pt x="618235" y="672383"/>
                  </a:lnTo>
                  <a:cubicBezTo>
                    <a:pt x="562858" y="693902"/>
                    <a:pt x="521813" y="699119"/>
                    <a:pt x="495754" y="688686"/>
                  </a:cubicBezTo>
                  <a:cubicBezTo>
                    <a:pt x="470997" y="677600"/>
                    <a:pt x="457967" y="650212"/>
                    <a:pt x="457967" y="605869"/>
                  </a:cubicBezTo>
                  <a:close/>
                  <a:moveTo>
                    <a:pt x="841958" y="343988"/>
                  </a:moveTo>
                  <a:lnTo>
                    <a:pt x="770034" y="361985"/>
                  </a:lnTo>
                  <a:cubicBezTo>
                    <a:pt x="740716" y="372419"/>
                    <a:pt x="713354" y="385461"/>
                    <a:pt x="687945" y="400459"/>
                  </a:cubicBezTo>
                  <a:cubicBezTo>
                    <a:pt x="653416" y="420674"/>
                    <a:pt x="628659" y="440889"/>
                    <a:pt x="611720" y="459800"/>
                  </a:cubicBezTo>
                  <a:cubicBezTo>
                    <a:pt x="595433" y="478710"/>
                    <a:pt x="587615" y="498273"/>
                    <a:pt x="587615" y="518488"/>
                  </a:cubicBezTo>
                  <a:cubicBezTo>
                    <a:pt x="587615" y="532835"/>
                    <a:pt x="592827" y="541312"/>
                    <a:pt x="603902" y="543268"/>
                  </a:cubicBezTo>
                  <a:cubicBezTo>
                    <a:pt x="614978" y="544572"/>
                    <a:pt x="634522" y="540008"/>
                    <a:pt x="663840" y="528922"/>
                  </a:cubicBezTo>
                  <a:lnTo>
                    <a:pt x="724429" y="504794"/>
                  </a:lnTo>
                  <a:cubicBezTo>
                    <a:pt x="786321" y="480015"/>
                    <a:pt x="829972" y="472842"/>
                    <a:pt x="856032" y="482623"/>
                  </a:cubicBezTo>
                  <a:cubicBezTo>
                    <a:pt x="882092" y="492405"/>
                    <a:pt x="895122" y="521097"/>
                    <a:pt x="895122" y="567396"/>
                  </a:cubicBezTo>
                  <a:lnTo>
                    <a:pt x="887676" y="615634"/>
                  </a:lnTo>
                  <a:lnTo>
                    <a:pt x="942785" y="605797"/>
                  </a:lnTo>
                  <a:cubicBezTo>
                    <a:pt x="976012" y="595363"/>
                    <a:pt x="1007935" y="581017"/>
                    <a:pt x="1038555" y="562758"/>
                  </a:cubicBezTo>
                  <a:cubicBezTo>
                    <a:pt x="1069176" y="544500"/>
                    <a:pt x="1093933" y="524937"/>
                    <a:pt x="1110220" y="504070"/>
                  </a:cubicBezTo>
                  <a:cubicBezTo>
                    <a:pt x="1127159" y="483855"/>
                    <a:pt x="1134977" y="464292"/>
                    <a:pt x="1134977" y="444729"/>
                  </a:cubicBezTo>
                  <a:cubicBezTo>
                    <a:pt x="1134977" y="427775"/>
                    <a:pt x="1129113" y="417993"/>
                    <a:pt x="1118038" y="414733"/>
                  </a:cubicBezTo>
                  <a:cubicBezTo>
                    <a:pt x="1106962" y="412124"/>
                    <a:pt x="1084160" y="417341"/>
                    <a:pt x="1050934" y="429731"/>
                  </a:cubicBezTo>
                  <a:lnTo>
                    <a:pt x="995557" y="450598"/>
                  </a:lnTo>
                  <a:cubicBezTo>
                    <a:pt x="940179" y="471465"/>
                    <a:pt x="899135" y="477334"/>
                    <a:pt x="873727" y="466248"/>
                  </a:cubicBezTo>
                  <a:cubicBezTo>
                    <a:pt x="847667" y="455815"/>
                    <a:pt x="835288" y="427775"/>
                    <a:pt x="835288" y="384084"/>
                  </a:cubicBezTo>
                  <a:close/>
                  <a:moveTo>
                    <a:pt x="1236610" y="0"/>
                  </a:moveTo>
                  <a:lnTo>
                    <a:pt x="1236610" y="117377"/>
                  </a:lnTo>
                  <a:cubicBezTo>
                    <a:pt x="1205990" y="121942"/>
                    <a:pt x="1176021" y="129767"/>
                    <a:pt x="1147355" y="140201"/>
                  </a:cubicBezTo>
                  <a:cubicBezTo>
                    <a:pt x="1118689" y="150634"/>
                    <a:pt x="1090675" y="163024"/>
                    <a:pt x="1065267" y="178674"/>
                  </a:cubicBezTo>
                  <a:cubicBezTo>
                    <a:pt x="1031389" y="198889"/>
                    <a:pt x="1005980" y="218452"/>
                    <a:pt x="989693" y="237363"/>
                  </a:cubicBezTo>
                  <a:cubicBezTo>
                    <a:pt x="972754" y="256926"/>
                    <a:pt x="964936" y="276489"/>
                    <a:pt x="964936" y="296051"/>
                  </a:cubicBezTo>
                  <a:cubicBezTo>
                    <a:pt x="964936" y="311050"/>
                    <a:pt x="970148" y="319527"/>
                    <a:pt x="981875" y="321483"/>
                  </a:cubicBezTo>
                  <a:cubicBezTo>
                    <a:pt x="992299" y="322787"/>
                    <a:pt x="1012495" y="318223"/>
                    <a:pt x="1041813" y="306485"/>
                  </a:cubicBezTo>
                  <a:lnTo>
                    <a:pt x="1102402" y="283010"/>
                  </a:lnTo>
                  <a:cubicBezTo>
                    <a:pt x="1164294" y="258230"/>
                    <a:pt x="1207944" y="251057"/>
                    <a:pt x="1233353" y="260838"/>
                  </a:cubicBezTo>
                  <a:cubicBezTo>
                    <a:pt x="1259413" y="270620"/>
                    <a:pt x="1272442" y="298660"/>
                    <a:pt x="1272442" y="345611"/>
                  </a:cubicBezTo>
                  <a:cubicBezTo>
                    <a:pt x="1272442" y="406908"/>
                    <a:pt x="1254852" y="462988"/>
                    <a:pt x="1218368" y="514503"/>
                  </a:cubicBezTo>
                  <a:cubicBezTo>
                    <a:pt x="1181884" y="566019"/>
                    <a:pt x="1127159" y="613622"/>
                    <a:pt x="1052237" y="657964"/>
                  </a:cubicBezTo>
                  <a:cubicBezTo>
                    <a:pt x="1017056" y="679484"/>
                    <a:pt x="981875" y="697090"/>
                    <a:pt x="946043" y="711436"/>
                  </a:cubicBezTo>
                  <a:cubicBezTo>
                    <a:pt x="910862" y="725782"/>
                    <a:pt x="875681" y="736868"/>
                    <a:pt x="840500" y="745345"/>
                  </a:cubicBezTo>
                  <a:lnTo>
                    <a:pt x="840500" y="736878"/>
                  </a:lnTo>
                  <a:lnTo>
                    <a:pt x="771907" y="810791"/>
                  </a:lnTo>
                  <a:cubicBezTo>
                    <a:pt x="744300" y="834755"/>
                    <a:pt x="712050" y="857905"/>
                    <a:pt x="674915" y="880402"/>
                  </a:cubicBezTo>
                  <a:cubicBezTo>
                    <a:pt x="639083" y="901269"/>
                    <a:pt x="603902" y="918876"/>
                    <a:pt x="568721" y="933222"/>
                  </a:cubicBezTo>
                  <a:lnTo>
                    <a:pt x="469789" y="964813"/>
                  </a:lnTo>
                  <a:lnTo>
                    <a:pt x="389624" y="1043207"/>
                  </a:lnTo>
                  <a:cubicBezTo>
                    <a:pt x="360956" y="1066704"/>
                    <a:pt x="331636" y="1088243"/>
                    <a:pt x="300362" y="1107171"/>
                  </a:cubicBezTo>
                  <a:cubicBezTo>
                    <a:pt x="208494" y="1161997"/>
                    <a:pt x="134870" y="1180273"/>
                    <a:pt x="81443" y="1160692"/>
                  </a:cubicBezTo>
                  <a:cubicBezTo>
                    <a:pt x="27365" y="1141111"/>
                    <a:pt x="0" y="1086937"/>
                    <a:pt x="0" y="998171"/>
                  </a:cubicBezTo>
                  <a:cubicBezTo>
                    <a:pt x="0" y="909405"/>
                    <a:pt x="27365" y="823249"/>
                    <a:pt x="81443" y="739704"/>
                  </a:cubicBezTo>
                  <a:cubicBezTo>
                    <a:pt x="134870" y="655507"/>
                    <a:pt x="208494" y="585669"/>
                    <a:pt x="300362" y="530842"/>
                  </a:cubicBezTo>
                  <a:cubicBezTo>
                    <a:pt x="331636" y="511914"/>
                    <a:pt x="360956" y="497555"/>
                    <a:pt x="389624" y="487765"/>
                  </a:cubicBezTo>
                  <a:cubicBezTo>
                    <a:pt x="418292" y="477974"/>
                    <a:pt x="445656" y="471447"/>
                    <a:pt x="471718" y="469489"/>
                  </a:cubicBezTo>
                  <a:lnTo>
                    <a:pt x="471718" y="523677"/>
                  </a:lnTo>
                  <a:lnTo>
                    <a:pt x="511390" y="446758"/>
                  </a:lnTo>
                  <a:cubicBezTo>
                    <a:pt x="546570" y="395894"/>
                    <a:pt x="598039" y="350247"/>
                    <a:pt x="665143" y="310469"/>
                  </a:cubicBezTo>
                  <a:cubicBezTo>
                    <a:pt x="695112" y="292211"/>
                    <a:pt x="726384" y="275908"/>
                    <a:pt x="758958" y="260910"/>
                  </a:cubicBezTo>
                  <a:cubicBezTo>
                    <a:pt x="790882" y="246564"/>
                    <a:pt x="824760" y="233522"/>
                    <a:pt x="858638" y="221784"/>
                  </a:cubicBezTo>
                  <a:lnTo>
                    <a:pt x="858638" y="283639"/>
                  </a:lnTo>
                  <a:lnTo>
                    <a:pt x="888711" y="224973"/>
                  </a:lnTo>
                  <a:cubicBezTo>
                    <a:pt x="924543" y="174110"/>
                    <a:pt x="976012" y="128463"/>
                    <a:pt x="1042464" y="88685"/>
                  </a:cubicBezTo>
                  <a:cubicBezTo>
                    <a:pt x="1073085" y="70427"/>
                    <a:pt x="1104357" y="54124"/>
                    <a:pt x="1136280" y="39126"/>
                  </a:cubicBezTo>
                  <a:cubicBezTo>
                    <a:pt x="1168855" y="24780"/>
                    <a:pt x="1202081" y="11086"/>
                    <a:pt x="1236610" y="0"/>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266" dirty="0">
                <a:latin typeface="Lato Light" panose="020F0502020204030203" pitchFamily="34" charset="0"/>
              </a:endParaRPr>
            </a:p>
          </p:txBody>
        </p:sp>
        <p:sp>
          <p:nvSpPr>
            <p:cNvPr id="56" name="Freeform 132">
              <a:extLst>
                <a:ext uri="{FF2B5EF4-FFF2-40B4-BE49-F238E27FC236}">
                  <a16:creationId xmlns:a16="http://schemas.microsoft.com/office/drawing/2014/main" id="{514BF97A-23FA-7B4D-B034-F46CC150E73C}"/>
                </a:ext>
              </a:extLst>
            </p:cNvPr>
            <p:cNvSpPr>
              <a:spLocks noChangeArrowheads="1"/>
            </p:cNvSpPr>
            <p:nvPr/>
          </p:nvSpPr>
          <p:spPr bwMode="auto">
            <a:xfrm>
              <a:off x="12312680" y="4026664"/>
              <a:ext cx="861211" cy="532857"/>
            </a:xfrm>
            <a:custGeom>
              <a:avLst/>
              <a:gdLst>
                <a:gd name="T0" fmla="*/ 51 w 1317"/>
                <a:gd name="T1" fmla="*/ 380 h 818"/>
                <a:gd name="T2" fmla="*/ 672 w 1317"/>
                <a:gd name="T3" fmla="*/ 23 h 818"/>
                <a:gd name="T4" fmla="*/ 672 w 1317"/>
                <a:gd name="T5" fmla="*/ 23 h 818"/>
                <a:gd name="T6" fmla="*/ 802 w 1317"/>
                <a:gd name="T7" fmla="*/ 25 h 818"/>
                <a:gd name="T8" fmla="*/ 1268 w 1317"/>
                <a:gd name="T9" fmla="*/ 307 h 818"/>
                <a:gd name="T10" fmla="*/ 1268 w 1317"/>
                <a:gd name="T11" fmla="*/ 307 h 818"/>
                <a:gd name="T12" fmla="*/ 1266 w 1317"/>
                <a:gd name="T13" fmla="*/ 434 h 818"/>
                <a:gd name="T14" fmla="*/ 642 w 1317"/>
                <a:gd name="T15" fmla="*/ 793 h 818"/>
                <a:gd name="T16" fmla="*/ 642 w 1317"/>
                <a:gd name="T17" fmla="*/ 793 h 818"/>
                <a:gd name="T18" fmla="*/ 512 w 1317"/>
                <a:gd name="T19" fmla="*/ 792 h 818"/>
                <a:gd name="T20" fmla="*/ 50 w 1317"/>
                <a:gd name="T21" fmla="*/ 512 h 818"/>
                <a:gd name="T22" fmla="*/ 50 w 1317"/>
                <a:gd name="T23" fmla="*/ 512 h 818"/>
                <a:gd name="T24" fmla="*/ 51 w 1317"/>
                <a:gd name="T25" fmla="*/ 380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7" h="818">
                  <a:moveTo>
                    <a:pt x="51" y="380"/>
                  </a:moveTo>
                  <a:lnTo>
                    <a:pt x="672" y="23"/>
                  </a:lnTo>
                  <a:lnTo>
                    <a:pt x="672" y="23"/>
                  </a:lnTo>
                  <a:cubicBezTo>
                    <a:pt x="712" y="0"/>
                    <a:pt x="762" y="0"/>
                    <a:pt x="802" y="25"/>
                  </a:cubicBezTo>
                  <a:lnTo>
                    <a:pt x="1268" y="307"/>
                  </a:lnTo>
                  <a:lnTo>
                    <a:pt x="1268" y="307"/>
                  </a:lnTo>
                  <a:cubicBezTo>
                    <a:pt x="1316" y="336"/>
                    <a:pt x="1315" y="406"/>
                    <a:pt x="1266" y="434"/>
                  </a:cubicBezTo>
                  <a:lnTo>
                    <a:pt x="642" y="793"/>
                  </a:lnTo>
                  <a:lnTo>
                    <a:pt x="642" y="793"/>
                  </a:lnTo>
                  <a:cubicBezTo>
                    <a:pt x="601" y="817"/>
                    <a:pt x="552" y="816"/>
                    <a:pt x="512" y="792"/>
                  </a:cubicBezTo>
                  <a:lnTo>
                    <a:pt x="50" y="512"/>
                  </a:lnTo>
                  <a:lnTo>
                    <a:pt x="50" y="512"/>
                  </a:lnTo>
                  <a:cubicBezTo>
                    <a:pt x="0" y="482"/>
                    <a:pt x="1" y="409"/>
                    <a:pt x="51" y="380"/>
                  </a:cubicBezTo>
                </a:path>
              </a:pathLst>
            </a:custGeom>
            <a:solidFill>
              <a:schemeClr val="bg1">
                <a:lumMod val="85000"/>
              </a:schemeClr>
            </a:solidFill>
            <a:ln>
              <a:noFill/>
            </a:ln>
            <a:effectLst/>
          </p:spPr>
          <p:txBody>
            <a:bodyPr wrap="none" anchor="ctr"/>
            <a:lstStyle/>
            <a:p>
              <a:endParaRPr lang="en-US" sz="3266" dirty="0">
                <a:latin typeface="Lato Light" panose="020F0502020204030203" pitchFamily="34" charset="0"/>
              </a:endParaRPr>
            </a:p>
          </p:txBody>
        </p:sp>
        <p:sp>
          <p:nvSpPr>
            <p:cNvPr id="57" name="Freeform 133">
              <a:extLst>
                <a:ext uri="{FF2B5EF4-FFF2-40B4-BE49-F238E27FC236}">
                  <a16:creationId xmlns:a16="http://schemas.microsoft.com/office/drawing/2014/main" id="{0768A860-5A05-4A4E-A30B-F6551E3126AE}"/>
                </a:ext>
              </a:extLst>
            </p:cNvPr>
            <p:cNvSpPr>
              <a:spLocks noChangeArrowheads="1"/>
            </p:cNvSpPr>
            <p:nvPr/>
          </p:nvSpPr>
          <p:spPr bwMode="auto">
            <a:xfrm>
              <a:off x="12220510" y="3850966"/>
              <a:ext cx="780563" cy="633667"/>
            </a:xfrm>
            <a:custGeom>
              <a:avLst/>
              <a:gdLst>
                <a:gd name="T0" fmla="*/ 515 w 1196"/>
                <a:gd name="T1" fmla="*/ 392 h 968"/>
                <a:gd name="T2" fmla="*/ 0 w 1196"/>
                <a:gd name="T3" fmla="*/ 71 h 968"/>
                <a:gd name="T4" fmla="*/ 110 w 1196"/>
                <a:gd name="T5" fmla="*/ 685 h 968"/>
                <a:gd name="T6" fmla="*/ 110 w 1196"/>
                <a:gd name="T7" fmla="*/ 685 h 968"/>
                <a:gd name="T8" fmla="*/ 164 w 1196"/>
                <a:gd name="T9" fmla="*/ 765 h 968"/>
                <a:gd name="T10" fmla="*/ 433 w 1196"/>
                <a:gd name="T11" fmla="*/ 934 h 968"/>
                <a:gd name="T12" fmla="*/ 433 w 1196"/>
                <a:gd name="T13" fmla="*/ 934 h 968"/>
                <a:gd name="T14" fmla="*/ 598 w 1196"/>
                <a:gd name="T15" fmla="*/ 937 h 968"/>
                <a:gd name="T16" fmla="*/ 1010 w 1196"/>
                <a:gd name="T17" fmla="*/ 700 h 968"/>
                <a:gd name="T18" fmla="*/ 1010 w 1196"/>
                <a:gd name="T19" fmla="*/ 700 h 968"/>
                <a:gd name="T20" fmla="*/ 1090 w 1196"/>
                <a:gd name="T21" fmla="*/ 587 h 968"/>
                <a:gd name="T22" fmla="*/ 1195 w 1196"/>
                <a:gd name="T23" fmla="*/ 0 h 968"/>
                <a:gd name="T24" fmla="*/ 515 w 1196"/>
                <a:gd name="T25" fmla="*/ 392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6" h="968">
                  <a:moveTo>
                    <a:pt x="515" y="392"/>
                  </a:moveTo>
                  <a:lnTo>
                    <a:pt x="0" y="71"/>
                  </a:lnTo>
                  <a:lnTo>
                    <a:pt x="110" y="685"/>
                  </a:lnTo>
                  <a:lnTo>
                    <a:pt x="110" y="685"/>
                  </a:lnTo>
                  <a:cubicBezTo>
                    <a:pt x="116" y="718"/>
                    <a:pt x="136" y="747"/>
                    <a:pt x="164" y="765"/>
                  </a:cubicBezTo>
                  <a:lnTo>
                    <a:pt x="433" y="934"/>
                  </a:lnTo>
                  <a:lnTo>
                    <a:pt x="433" y="934"/>
                  </a:lnTo>
                  <a:cubicBezTo>
                    <a:pt x="483" y="965"/>
                    <a:pt x="547" y="967"/>
                    <a:pt x="598" y="937"/>
                  </a:cubicBezTo>
                  <a:lnTo>
                    <a:pt x="1010" y="700"/>
                  </a:lnTo>
                  <a:lnTo>
                    <a:pt x="1010" y="700"/>
                  </a:lnTo>
                  <a:cubicBezTo>
                    <a:pt x="1052" y="676"/>
                    <a:pt x="1081" y="635"/>
                    <a:pt x="1090" y="587"/>
                  </a:cubicBezTo>
                  <a:lnTo>
                    <a:pt x="1195" y="0"/>
                  </a:lnTo>
                  <a:lnTo>
                    <a:pt x="515" y="392"/>
                  </a:lnTo>
                </a:path>
              </a:pathLst>
            </a:custGeom>
            <a:solidFill>
              <a:schemeClr val="accent3">
                <a:lumMod val="75000"/>
              </a:schemeClr>
            </a:solidFill>
            <a:ln>
              <a:noFill/>
            </a:ln>
            <a:effectLst/>
          </p:spPr>
          <p:txBody>
            <a:bodyPr wrap="none" anchor="ctr"/>
            <a:lstStyle/>
            <a:p>
              <a:endParaRPr lang="en-US" sz="3266" dirty="0">
                <a:latin typeface="Lato Light" panose="020F0502020204030203" pitchFamily="34" charset="0"/>
              </a:endParaRPr>
            </a:p>
          </p:txBody>
        </p:sp>
        <p:sp>
          <p:nvSpPr>
            <p:cNvPr id="58" name="Freeform 134">
              <a:extLst>
                <a:ext uri="{FF2B5EF4-FFF2-40B4-BE49-F238E27FC236}">
                  <a16:creationId xmlns:a16="http://schemas.microsoft.com/office/drawing/2014/main" id="{DD1B00B7-C30B-8F45-9623-DE4D28079FB3}"/>
                </a:ext>
              </a:extLst>
            </p:cNvPr>
            <p:cNvSpPr>
              <a:spLocks noChangeArrowheads="1"/>
            </p:cNvSpPr>
            <p:nvPr/>
          </p:nvSpPr>
          <p:spPr bwMode="auto">
            <a:xfrm>
              <a:off x="12232030" y="3850967"/>
              <a:ext cx="771921" cy="627906"/>
            </a:xfrm>
            <a:custGeom>
              <a:avLst/>
              <a:gdLst>
                <a:gd name="T0" fmla="*/ 1148 w 1180"/>
                <a:gd name="T1" fmla="*/ 170 h 960"/>
                <a:gd name="T2" fmla="*/ 1179 w 1180"/>
                <a:gd name="T3" fmla="*/ 0 h 960"/>
                <a:gd name="T4" fmla="*/ 499 w 1180"/>
                <a:gd name="T5" fmla="*/ 392 h 960"/>
                <a:gd name="T6" fmla="*/ 52 w 1180"/>
                <a:gd name="T7" fmla="*/ 114 h 960"/>
                <a:gd name="T8" fmla="*/ 44 w 1180"/>
                <a:gd name="T9" fmla="*/ 118 h 960"/>
                <a:gd name="T10" fmla="*/ 44 w 1180"/>
                <a:gd name="T11" fmla="*/ 118 h 960"/>
                <a:gd name="T12" fmla="*/ 0 w 1180"/>
                <a:gd name="T13" fmla="*/ 160 h 960"/>
                <a:gd name="T14" fmla="*/ 32 w 1180"/>
                <a:gd name="T15" fmla="*/ 337 h 960"/>
                <a:gd name="T16" fmla="*/ 32 w 1180"/>
                <a:gd name="T17" fmla="*/ 337 h 960"/>
                <a:gd name="T18" fmla="*/ 42 w 1180"/>
                <a:gd name="T19" fmla="*/ 344 h 960"/>
                <a:gd name="T20" fmla="*/ 413 w 1180"/>
                <a:gd name="T21" fmla="*/ 569 h 960"/>
                <a:gd name="T22" fmla="*/ 413 w 1180"/>
                <a:gd name="T23" fmla="*/ 569 h 960"/>
                <a:gd name="T24" fmla="*/ 414 w 1180"/>
                <a:gd name="T25" fmla="*/ 569 h 960"/>
                <a:gd name="T26" fmla="*/ 414 w 1180"/>
                <a:gd name="T27" fmla="*/ 569 h 960"/>
                <a:gd name="T28" fmla="*/ 499 w 1180"/>
                <a:gd name="T29" fmla="*/ 714 h 960"/>
                <a:gd name="T30" fmla="*/ 499 w 1180"/>
                <a:gd name="T31" fmla="*/ 958 h 960"/>
                <a:gd name="T32" fmla="*/ 499 w 1180"/>
                <a:gd name="T33" fmla="*/ 958 h 960"/>
                <a:gd name="T34" fmla="*/ 582 w 1180"/>
                <a:gd name="T35" fmla="*/ 937 h 960"/>
                <a:gd name="T36" fmla="*/ 994 w 1180"/>
                <a:gd name="T37" fmla="*/ 700 h 960"/>
                <a:gd name="T38" fmla="*/ 994 w 1180"/>
                <a:gd name="T39" fmla="*/ 700 h 960"/>
                <a:gd name="T40" fmla="*/ 1009 w 1180"/>
                <a:gd name="T41" fmla="*/ 690 h 960"/>
                <a:gd name="T42" fmla="*/ 1009 w 1180"/>
                <a:gd name="T43" fmla="*/ 690 h 960"/>
                <a:gd name="T44" fmla="*/ 1074 w 1180"/>
                <a:gd name="T45" fmla="*/ 587 h 960"/>
                <a:gd name="T46" fmla="*/ 1132 w 1180"/>
                <a:gd name="T47" fmla="*/ 263 h 960"/>
                <a:gd name="T48" fmla="*/ 1148 w 1180"/>
                <a:gd name="T49" fmla="*/ 170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80" h="960">
                  <a:moveTo>
                    <a:pt x="1148" y="170"/>
                  </a:moveTo>
                  <a:lnTo>
                    <a:pt x="1179" y="0"/>
                  </a:lnTo>
                  <a:lnTo>
                    <a:pt x="499" y="392"/>
                  </a:lnTo>
                  <a:lnTo>
                    <a:pt x="52" y="114"/>
                  </a:lnTo>
                  <a:lnTo>
                    <a:pt x="44" y="118"/>
                  </a:lnTo>
                  <a:lnTo>
                    <a:pt x="44" y="118"/>
                  </a:lnTo>
                  <a:cubicBezTo>
                    <a:pt x="25" y="129"/>
                    <a:pt x="11" y="144"/>
                    <a:pt x="0" y="160"/>
                  </a:cubicBezTo>
                  <a:lnTo>
                    <a:pt x="32" y="337"/>
                  </a:lnTo>
                  <a:lnTo>
                    <a:pt x="32" y="337"/>
                  </a:lnTo>
                  <a:cubicBezTo>
                    <a:pt x="35" y="339"/>
                    <a:pt x="38" y="342"/>
                    <a:pt x="42" y="344"/>
                  </a:cubicBezTo>
                  <a:lnTo>
                    <a:pt x="413" y="569"/>
                  </a:lnTo>
                  <a:lnTo>
                    <a:pt x="413" y="569"/>
                  </a:lnTo>
                  <a:lnTo>
                    <a:pt x="414" y="569"/>
                  </a:lnTo>
                  <a:lnTo>
                    <a:pt x="414" y="569"/>
                  </a:lnTo>
                  <a:cubicBezTo>
                    <a:pt x="465" y="600"/>
                    <a:pt x="499" y="654"/>
                    <a:pt x="499" y="714"/>
                  </a:cubicBezTo>
                  <a:lnTo>
                    <a:pt x="499" y="958"/>
                  </a:lnTo>
                  <a:lnTo>
                    <a:pt x="499" y="958"/>
                  </a:lnTo>
                  <a:cubicBezTo>
                    <a:pt x="527" y="959"/>
                    <a:pt x="556" y="952"/>
                    <a:pt x="582" y="937"/>
                  </a:cubicBezTo>
                  <a:lnTo>
                    <a:pt x="994" y="700"/>
                  </a:lnTo>
                  <a:lnTo>
                    <a:pt x="994" y="700"/>
                  </a:lnTo>
                  <a:cubicBezTo>
                    <a:pt x="999" y="697"/>
                    <a:pt x="1004" y="694"/>
                    <a:pt x="1009" y="690"/>
                  </a:cubicBezTo>
                  <a:lnTo>
                    <a:pt x="1009" y="690"/>
                  </a:lnTo>
                  <a:cubicBezTo>
                    <a:pt x="1043" y="665"/>
                    <a:pt x="1066" y="629"/>
                    <a:pt x="1074" y="587"/>
                  </a:cubicBezTo>
                  <a:lnTo>
                    <a:pt x="1132" y="263"/>
                  </a:lnTo>
                  <a:lnTo>
                    <a:pt x="1148" y="170"/>
                  </a:lnTo>
                </a:path>
              </a:pathLst>
            </a:custGeom>
            <a:solidFill>
              <a:schemeClr val="accent3">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59" name="Freeform 135">
              <a:extLst>
                <a:ext uri="{FF2B5EF4-FFF2-40B4-BE49-F238E27FC236}">
                  <a16:creationId xmlns:a16="http://schemas.microsoft.com/office/drawing/2014/main" id="{8878532D-6727-084C-91CD-EF62A04E2CAD}"/>
                </a:ext>
              </a:extLst>
            </p:cNvPr>
            <p:cNvSpPr>
              <a:spLocks noChangeArrowheads="1"/>
            </p:cNvSpPr>
            <p:nvPr/>
          </p:nvSpPr>
          <p:spPr bwMode="auto">
            <a:xfrm>
              <a:off x="12217631" y="3669506"/>
              <a:ext cx="789203" cy="541497"/>
            </a:xfrm>
            <a:custGeom>
              <a:avLst/>
              <a:gdLst>
                <a:gd name="T0" fmla="*/ 1208 w 1209"/>
                <a:gd name="T1" fmla="*/ 236 h 827"/>
                <a:gd name="T2" fmla="*/ 785 w 1209"/>
                <a:gd name="T3" fmla="*/ 35 h 827"/>
                <a:gd name="T4" fmla="*/ 785 w 1209"/>
                <a:gd name="T5" fmla="*/ 35 h 827"/>
                <a:gd name="T6" fmla="*/ 598 w 1209"/>
                <a:gd name="T7" fmla="*/ 34 h 827"/>
                <a:gd name="T8" fmla="*/ 0 w 1209"/>
                <a:gd name="T9" fmla="*/ 324 h 827"/>
                <a:gd name="T10" fmla="*/ 0 w 1209"/>
                <a:gd name="T11" fmla="*/ 462 h 827"/>
                <a:gd name="T12" fmla="*/ 0 w 1209"/>
                <a:gd name="T13" fmla="*/ 462 h 827"/>
                <a:gd name="T14" fmla="*/ 63 w 1209"/>
                <a:gd name="T15" fmla="*/ 566 h 827"/>
                <a:gd name="T16" fmla="*/ 434 w 1209"/>
                <a:gd name="T17" fmla="*/ 791 h 827"/>
                <a:gd name="T18" fmla="*/ 434 w 1209"/>
                <a:gd name="T19" fmla="*/ 791 h 827"/>
                <a:gd name="T20" fmla="*/ 621 w 1209"/>
                <a:gd name="T21" fmla="*/ 793 h 827"/>
                <a:gd name="T22" fmla="*/ 1140 w 1209"/>
                <a:gd name="T23" fmla="*/ 494 h 827"/>
                <a:gd name="T24" fmla="*/ 1140 w 1209"/>
                <a:gd name="T25" fmla="*/ 494 h 827"/>
                <a:gd name="T26" fmla="*/ 1208 w 1209"/>
                <a:gd name="T27" fmla="*/ 376 h 827"/>
                <a:gd name="T28" fmla="*/ 1208 w 1209"/>
                <a:gd name="T29" fmla="*/ 236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9" h="827">
                  <a:moveTo>
                    <a:pt x="1208" y="236"/>
                  </a:moveTo>
                  <a:lnTo>
                    <a:pt x="785" y="35"/>
                  </a:lnTo>
                  <a:lnTo>
                    <a:pt x="785" y="35"/>
                  </a:lnTo>
                  <a:cubicBezTo>
                    <a:pt x="727" y="1"/>
                    <a:pt x="656" y="0"/>
                    <a:pt x="598" y="34"/>
                  </a:cubicBezTo>
                  <a:lnTo>
                    <a:pt x="0" y="324"/>
                  </a:lnTo>
                  <a:lnTo>
                    <a:pt x="0" y="462"/>
                  </a:lnTo>
                  <a:lnTo>
                    <a:pt x="0" y="462"/>
                  </a:lnTo>
                  <a:cubicBezTo>
                    <a:pt x="3" y="503"/>
                    <a:pt x="23" y="542"/>
                    <a:pt x="63" y="566"/>
                  </a:cubicBezTo>
                  <a:lnTo>
                    <a:pt x="434" y="791"/>
                  </a:lnTo>
                  <a:lnTo>
                    <a:pt x="434" y="791"/>
                  </a:lnTo>
                  <a:cubicBezTo>
                    <a:pt x="491" y="825"/>
                    <a:pt x="563" y="826"/>
                    <a:pt x="621" y="793"/>
                  </a:cubicBezTo>
                  <a:lnTo>
                    <a:pt x="1140" y="494"/>
                  </a:lnTo>
                  <a:lnTo>
                    <a:pt x="1140" y="494"/>
                  </a:lnTo>
                  <a:cubicBezTo>
                    <a:pt x="1186" y="467"/>
                    <a:pt x="1208" y="424"/>
                    <a:pt x="1208" y="376"/>
                  </a:cubicBezTo>
                  <a:lnTo>
                    <a:pt x="1208" y="236"/>
                  </a:lnTo>
                </a:path>
              </a:pathLst>
            </a:custGeom>
            <a:solidFill>
              <a:schemeClr val="accent3">
                <a:lumMod val="75000"/>
              </a:schemeClr>
            </a:solidFill>
            <a:ln>
              <a:noFill/>
            </a:ln>
            <a:effectLst/>
          </p:spPr>
          <p:txBody>
            <a:bodyPr wrap="none" anchor="ctr"/>
            <a:lstStyle/>
            <a:p>
              <a:endParaRPr lang="en-US" sz="3266" dirty="0">
                <a:latin typeface="Lato Light" panose="020F0502020204030203" pitchFamily="34" charset="0"/>
              </a:endParaRPr>
            </a:p>
          </p:txBody>
        </p:sp>
        <p:sp>
          <p:nvSpPr>
            <p:cNvPr id="60" name="Freeform 136">
              <a:extLst>
                <a:ext uri="{FF2B5EF4-FFF2-40B4-BE49-F238E27FC236}">
                  <a16:creationId xmlns:a16="http://schemas.microsoft.com/office/drawing/2014/main" id="{1A428537-A075-6C4C-84F7-C6CE44B967A1}"/>
                </a:ext>
              </a:extLst>
            </p:cNvPr>
            <p:cNvSpPr>
              <a:spLocks noChangeArrowheads="1"/>
            </p:cNvSpPr>
            <p:nvPr/>
          </p:nvSpPr>
          <p:spPr bwMode="auto">
            <a:xfrm>
              <a:off x="12499900" y="3689670"/>
              <a:ext cx="506933" cy="512694"/>
            </a:xfrm>
            <a:custGeom>
              <a:avLst/>
              <a:gdLst>
                <a:gd name="T0" fmla="*/ 164 w 775"/>
                <a:gd name="T1" fmla="*/ 3 h 786"/>
                <a:gd name="T2" fmla="*/ 118 w 775"/>
                <a:gd name="T3" fmla="*/ 24 h 786"/>
                <a:gd name="T4" fmla="*/ 0 w 775"/>
                <a:gd name="T5" fmla="*/ 635 h 786"/>
                <a:gd name="T6" fmla="*/ 0 w 775"/>
                <a:gd name="T7" fmla="*/ 635 h 786"/>
                <a:gd name="T8" fmla="*/ 118 w 775"/>
                <a:gd name="T9" fmla="*/ 785 h 786"/>
                <a:gd name="T10" fmla="*/ 118 w 775"/>
                <a:gd name="T11" fmla="*/ 785 h 786"/>
                <a:gd name="T12" fmla="*/ 187 w 775"/>
                <a:gd name="T13" fmla="*/ 762 h 786"/>
                <a:gd name="T14" fmla="*/ 706 w 775"/>
                <a:gd name="T15" fmla="*/ 463 h 786"/>
                <a:gd name="T16" fmla="*/ 706 w 775"/>
                <a:gd name="T17" fmla="*/ 463 h 786"/>
                <a:gd name="T18" fmla="*/ 774 w 775"/>
                <a:gd name="T19" fmla="*/ 345 h 786"/>
                <a:gd name="T20" fmla="*/ 774 w 775"/>
                <a:gd name="T21" fmla="*/ 205 h 786"/>
                <a:gd name="T22" fmla="*/ 351 w 775"/>
                <a:gd name="T23" fmla="*/ 4 h 786"/>
                <a:gd name="T24" fmla="*/ 351 w 775"/>
                <a:gd name="T25" fmla="*/ 4 h 786"/>
                <a:gd name="T26" fmla="*/ 341 w 775"/>
                <a:gd name="T27" fmla="*/ 0 h 786"/>
                <a:gd name="T28" fmla="*/ 169 w 775"/>
                <a:gd name="T29" fmla="*/ 0 h 786"/>
                <a:gd name="T30" fmla="*/ 169 w 775"/>
                <a:gd name="T31" fmla="*/ 0 h 786"/>
                <a:gd name="T32" fmla="*/ 164 w 775"/>
                <a:gd name="T33" fmla="*/ 3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75" h="786">
                  <a:moveTo>
                    <a:pt x="164" y="3"/>
                  </a:moveTo>
                  <a:lnTo>
                    <a:pt x="118" y="24"/>
                  </a:lnTo>
                  <a:lnTo>
                    <a:pt x="0" y="635"/>
                  </a:lnTo>
                  <a:lnTo>
                    <a:pt x="0" y="635"/>
                  </a:lnTo>
                  <a:cubicBezTo>
                    <a:pt x="73" y="664"/>
                    <a:pt x="114" y="713"/>
                    <a:pt x="118" y="785"/>
                  </a:cubicBezTo>
                  <a:lnTo>
                    <a:pt x="118" y="785"/>
                  </a:lnTo>
                  <a:cubicBezTo>
                    <a:pt x="142" y="782"/>
                    <a:pt x="166" y="774"/>
                    <a:pt x="187" y="762"/>
                  </a:cubicBezTo>
                  <a:lnTo>
                    <a:pt x="706" y="463"/>
                  </a:lnTo>
                  <a:lnTo>
                    <a:pt x="706" y="463"/>
                  </a:lnTo>
                  <a:cubicBezTo>
                    <a:pt x="752" y="436"/>
                    <a:pt x="774" y="393"/>
                    <a:pt x="774" y="345"/>
                  </a:cubicBezTo>
                  <a:lnTo>
                    <a:pt x="774" y="205"/>
                  </a:lnTo>
                  <a:lnTo>
                    <a:pt x="351" y="4"/>
                  </a:lnTo>
                  <a:lnTo>
                    <a:pt x="351" y="4"/>
                  </a:lnTo>
                  <a:cubicBezTo>
                    <a:pt x="348" y="3"/>
                    <a:pt x="344" y="2"/>
                    <a:pt x="341" y="0"/>
                  </a:cubicBezTo>
                  <a:lnTo>
                    <a:pt x="169" y="0"/>
                  </a:lnTo>
                  <a:lnTo>
                    <a:pt x="169" y="0"/>
                  </a:lnTo>
                  <a:cubicBezTo>
                    <a:pt x="168" y="1"/>
                    <a:pt x="165" y="2"/>
                    <a:pt x="164" y="3"/>
                  </a:cubicBezTo>
                </a:path>
              </a:pathLst>
            </a:custGeom>
            <a:solidFill>
              <a:schemeClr val="accent3">
                <a:lumMod val="75000"/>
              </a:schemeClr>
            </a:solidFill>
            <a:ln>
              <a:noFill/>
            </a:ln>
            <a:effectLst/>
          </p:spPr>
          <p:txBody>
            <a:bodyPr wrap="none" anchor="ctr"/>
            <a:lstStyle/>
            <a:p>
              <a:endParaRPr lang="en-US" sz="3266" dirty="0">
                <a:latin typeface="Lato Light" panose="020F0502020204030203" pitchFamily="34" charset="0"/>
              </a:endParaRPr>
            </a:p>
          </p:txBody>
        </p:sp>
        <p:sp>
          <p:nvSpPr>
            <p:cNvPr id="61" name="Freeform 137">
              <a:extLst>
                <a:ext uri="{FF2B5EF4-FFF2-40B4-BE49-F238E27FC236}">
                  <a16:creationId xmlns:a16="http://schemas.microsoft.com/office/drawing/2014/main" id="{6DA985FB-473D-004C-B606-C71D6D214861}"/>
                </a:ext>
              </a:extLst>
            </p:cNvPr>
            <p:cNvSpPr>
              <a:spLocks noChangeArrowheads="1"/>
            </p:cNvSpPr>
            <p:nvPr/>
          </p:nvSpPr>
          <p:spPr bwMode="auto">
            <a:xfrm>
              <a:off x="12203227" y="3588858"/>
              <a:ext cx="820887" cy="541497"/>
            </a:xfrm>
            <a:custGeom>
              <a:avLst/>
              <a:gdLst>
                <a:gd name="T0" fmla="*/ 88 w 1258"/>
                <a:gd name="T1" fmla="*/ 340 h 827"/>
                <a:gd name="T2" fmla="*/ 621 w 1258"/>
                <a:gd name="T3" fmla="*/ 33 h 827"/>
                <a:gd name="T4" fmla="*/ 621 w 1258"/>
                <a:gd name="T5" fmla="*/ 33 h 827"/>
                <a:gd name="T6" fmla="*/ 808 w 1258"/>
                <a:gd name="T7" fmla="*/ 35 h 827"/>
                <a:gd name="T8" fmla="*/ 1165 w 1258"/>
                <a:gd name="T9" fmla="*/ 252 h 827"/>
                <a:gd name="T10" fmla="*/ 1165 w 1258"/>
                <a:gd name="T11" fmla="*/ 252 h 827"/>
                <a:gd name="T12" fmla="*/ 1162 w 1258"/>
                <a:gd name="T13" fmla="*/ 494 h 827"/>
                <a:gd name="T14" fmla="*/ 644 w 1258"/>
                <a:gd name="T15" fmla="*/ 792 h 827"/>
                <a:gd name="T16" fmla="*/ 644 w 1258"/>
                <a:gd name="T17" fmla="*/ 792 h 827"/>
                <a:gd name="T18" fmla="*/ 457 w 1258"/>
                <a:gd name="T19" fmla="*/ 790 h 827"/>
                <a:gd name="T20" fmla="*/ 86 w 1258"/>
                <a:gd name="T21" fmla="*/ 565 h 827"/>
                <a:gd name="T22" fmla="*/ 86 w 1258"/>
                <a:gd name="T23" fmla="*/ 565 h 827"/>
                <a:gd name="T24" fmla="*/ 88 w 1258"/>
                <a:gd name="T25" fmla="*/ 340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8" h="827">
                  <a:moveTo>
                    <a:pt x="88" y="340"/>
                  </a:moveTo>
                  <a:lnTo>
                    <a:pt x="621" y="33"/>
                  </a:lnTo>
                  <a:lnTo>
                    <a:pt x="621" y="33"/>
                  </a:lnTo>
                  <a:cubicBezTo>
                    <a:pt x="679" y="0"/>
                    <a:pt x="750" y="0"/>
                    <a:pt x="808" y="35"/>
                  </a:cubicBezTo>
                  <a:lnTo>
                    <a:pt x="1165" y="252"/>
                  </a:lnTo>
                  <a:lnTo>
                    <a:pt x="1165" y="252"/>
                  </a:lnTo>
                  <a:cubicBezTo>
                    <a:pt x="1257" y="307"/>
                    <a:pt x="1255" y="440"/>
                    <a:pt x="1162" y="494"/>
                  </a:cubicBezTo>
                  <a:lnTo>
                    <a:pt x="644" y="792"/>
                  </a:lnTo>
                  <a:lnTo>
                    <a:pt x="644" y="792"/>
                  </a:lnTo>
                  <a:cubicBezTo>
                    <a:pt x="586" y="826"/>
                    <a:pt x="514" y="825"/>
                    <a:pt x="457" y="790"/>
                  </a:cubicBezTo>
                  <a:lnTo>
                    <a:pt x="86" y="565"/>
                  </a:lnTo>
                  <a:lnTo>
                    <a:pt x="86" y="565"/>
                  </a:lnTo>
                  <a:cubicBezTo>
                    <a:pt x="0" y="514"/>
                    <a:pt x="2" y="390"/>
                    <a:pt x="88" y="340"/>
                  </a:cubicBezTo>
                </a:path>
              </a:pathLst>
            </a:custGeom>
            <a:solidFill>
              <a:schemeClr val="accent3"/>
            </a:solidFill>
            <a:ln>
              <a:noFill/>
            </a:ln>
            <a:effectLst/>
          </p:spPr>
          <p:txBody>
            <a:bodyPr wrap="none" anchor="ctr"/>
            <a:lstStyle/>
            <a:p>
              <a:endParaRPr lang="en-US" sz="3266" dirty="0">
                <a:latin typeface="Lato Light" panose="020F0502020204030203" pitchFamily="34" charset="0"/>
              </a:endParaRPr>
            </a:p>
          </p:txBody>
        </p:sp>
        <p:sp>
          <p:nvSpPr>
            <p:cNvPr id="62" name="Freeform 138">
              <a:extLst>
                <a:ext uri="{FF2B5EF4-FFF2-40B4-BE49-F238E27FC236}">
                  <a16:creationId xmlns:a16="http://schemas.microsoft.com/office/drawing/2014/main" id="{6293E64A-234A-BA46-B6AF-AFB014E23B47}"/>
                </a:ext>
              </a:extLst>
            </p:cNvPr>
            <p:cNvSpPr>
              <a:spLocks noChangeArrowheads="1"/>
            </p:cNvSpPr>
            <p:nvPr/>
          </p:nvSpPr>
          <p:spPr bwMode="auto">
            <a:xfrm>
              <a:off x="12289638" y="3655106"/>
              <a:ext cx="650948" cy="403242"/>
            </a:xfrm>
            <a:custGeom>
              <a:avLst/>
              <a:gdLst>
                <a:gd name="T0" fmla="*/ 38 w 996"/>
                <a:gd name="T1" fmla="*/ 289 h 617"/>
                <a:gd name="T2" fmla="*/ 504 w 996"/>
                <a:gd name="T3" fmla="*/ 20 h 617"/>
                <a:gd name="T4" fmla="*/ 504 w 996"/>
                <a:gd name="T5" fmla="*/ 20 h 617"/>
                <a:gd name="T6" fmla="*/ 614 w 996"/>
                <a:gd name="T7" fmla="*/ 21 h 617"/>
                <a:gd name="T8" fmla="*/ 956 w 996"/>
                <a:gd name="T9" fmla="*/ 229 h 617"/>
                <a:gd name="T10" fmla="*/ 956 w 996"/>
                <a:gd name="T11" fmla="*/ 229 h 617"/>
                <a:gd name="T12" fmla="*/ 955 w 996"/>
                <a:gd name="T13" fmla="*/ 331 h 617"/>
                <a:gd name="T14" fmla="*/ 493 w 996"/>
                <a:gd name="T15" fmla="*/ 597 h 617"/>
                <a:gd name="T16" fmla="*/ 493 w 996"/>
                <a:gd name="T17" fmla="*/ 597 h 617"/>
                <a:gd name="T18" fmla="*/ 383 w 996"/>
                <a:gd name="T19" fmla="*/ 596 h 617"/>
                <a:gd name="T20" fmla="*/ 37 w 996"/>
                <a:gd name="T21" fmla="*/ 386 h 617"/>
                <a:gd name="T22" fmla="*/ 37 w 996"/>
                <a:gd name="T23" fmla="*/ 386 h 617"/>
                <a:gd name="T24" fmla="*/ 38 w 996"/>
                <a:gd name="T25" fmla="*/ 289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6" h="617">
                  <a:moveTo>
                    <a:pt x="38" y="289"/>
                  </a:moveTo>
                  <a:lnTo>
                    <a:pt x="504" y="20"/>
                  </a:lnTo>
                  <a:lnTo>
                    <a:pt x="504" y="20"/>
                  </a:lnTo>
                  <a:cubicBezTo>
                    <a:pt x="538" y="0"/>
                    <a:pt x="580" y="1"/>
                    <a:pt x="614" y="21"/>
                  </a:cubicBezTo>
                  <a:lnTo>
                    <a:pt x="956" y="229"/>
                  </a:lnTo>
                  <a:lnTo>
                    <a:pt x="956" y="229"/>
                  </a:lnTo>
                  <a:cubicBezTo>
                    <a:pt x="995" y="252"/>
                    <a:pt x="994" y="308"/>
                    <a:pt x="955" y="331"/>
                  </a:cubicBezTo>
                  <a:lnTo>
                    <a:pt x="493" y="597"/>
                  </a:lnTo>
                  <a:lnTo>
                    <a:pt x="493" y="597"/>
                  </a:lnTo>
                  <a:cubicBezTo>
                    <a:pt x="459" y="616"/>
                    <a:pt x="417" y="616"/>
                    <a:pt x="383" y="596"/>
                  </a:cubicBezTo>
                  <a:lnTo>
                    <a:pt x="37" y="386"/>
                  </a:lnTo>
                  <a:lnTo>
                    <a:pt x="37" y="386"/>
                  </a:lnTo>
                  <a:cubicBezTo>
                    <a:pt x="0" y="364"/>
                    <a:pt x="1" y="310"/>
                    <a:pt x="38" y="289"/>
                  </a:cubicBezTo>
                </a:path>
              </a:pathLst>
            </a:custGeom>
            <a:solidFill>
              <a:schemeClr val="accent5">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63" name="Freeform 139">
              <a:extLst>
                <a:ext uri="{FF2B5EF4-FFF2-40B4-BE49-F238E27FC236}">
                  <a16:creationId xmlns:a16="http://schemas.microsoft.com/office/drawing/2014/main" id="{BF3753A6-0CAA-1845-91F2-EBE54B2C0C8F}"/>
                </a:ext>
              </a:extLst>
            </p:cNvPr>
            <p:cNvSpPr>
              <a:spLocks noChangeArrowheads="1"/>
            </p:cNvSpPr>
            <p:nvPr/>
          </p:nvSpPr>
          <p:spPr bwMode="auto">
            <a:xfrm>
              <a:off x="12289638" y="3655106"/>
              <a:ext cx="650948" cy="247706"/>
            </a:xfrm>
            <a:custGeom>
              <a:avLst/>
              <a:gdLst>
                <a:gd name="T0" fmla="*/ 956 w 995"/>
                <a:gd name="T1" fmla="*/ 313 h 381"/>
                <a:gd name="T2" fmla="*/ 956 w 995"/>
                <a:gd name="T3" fmla="*/ 313 h 381"/>
                <a:gd name="T4" fmla="*/ 967 w 995"/>
                <a:gd name="T5" fmla="*/ 321 h 381"/>
                <a:gd name="T6" fmla="*/ 967 w 995"/>
                <a:gd name="T7" fmla="*/ 321 h 381"/>
                <a:gd name="T8" fmla="*/ 956 w 995"/>
                <a:gd name="T9" fmla="*/ 229 h 381"/>
                <a:gd name="T10" fmla="*/ 614 w 995"/>
                <a:gd name="T11" fmla="*/ 21 h 381"/>
                <a:gd name="T12" fmla="*/ 614 w 995"/>
                <a:gd name="T13" fmla="*/ 21 h 381"/>
                <a:gd name="T14" fmla="*/ 504 w 995"/>
                <a:gd name="T15" fmla="*/ 20 h 381"/>
                <a:gd name="T16" fmla="*/ 38 w 995"/>
                <a:gd name="T17" fmla="*/ 289 h 381"/>
                <a:gd name="T18" fmla="*/ 38 w 995"/>
                <a:gd name="T19" fmla="*/ 289 h 381"/>
                <a:gd name="T20" fmla="*/ 28 w 995"/>
                <a:gd name="T21" fmla="*/ 380 h 381"/>
                <a:gd name="T22" fmla="*/ 28 w 995"/>
                <a:gd name="T23" fmla="*/ 380 h 381"/>
                <a:gd name="T24" fmla="*/ 38 w 995"/>
                <a:gd name="T25" fmla="*/ 373 h 381"/>
                <a:gd name="T26" fmla="*/ 504 w 995"/>
                <a:gd name="T27" fmla="*/ 105 h 381"/>
                <a:gd name="T28" fmla="*/ 504 w 995"/>
                <a:gd name="T29" fmla="*/ 105 h 381"/>
                <a:gd name="T30" fmla="*/ 614 w 995"/>
                <a:gd name="T31" fmla="*/ 106 h 381"/>
                <a:gd name="T32" fmla="*/ 956 w 995"/>
                <a:gd name="T33" fmla="*/ 313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5" h="381">
                  <a:moveTo>
                    <a:pt x="956" y="313"/>
                  </a:moveTo>
                  <a:lnTo>
                    <a:pt x="956" y="313"/>
                  </a:lnTo>
                  <a:cubicBezTo>
                    <a:pt x="960" y="316"/>
                    <a:pt x="964" y="319"/>
                    <a:pt x="967" y="321"/>
                  </a:cubicBezTo>
                  <a:lnTo>
                    <a:pt x="967" y="321"/>
                  </a:lnTo>
                  <a:cubicBezTo>
                    <a:pt x="994" y="296"/>
                    <a:pt x="990" y="249"/>
                    <a:pt x="956" y="229"/>
                  </a:cubicBezTo>
                  <a:lnTo>
                    <a:pt x="614" y="21"/>
                  </a:lnTo>
                  <a:lnTo>
                    <a:pt x="614" y="21"/>
                  </a:lnTo>
                  <a:cubicBezTo>
                    <a:pt x="580" y="1"/>
                    <a:pt x="538" y="0"/>
                    <a:pt x="504" y="20"/>
                  </a:cubicBezTo>
                  <a:lnTo>
                    <a:pt x="38" y="289"/>
                  </a:lnTo>
                  <a:lnTo>
                    <a:pt x="38" y="289"/>
                  </a:lnTo>
                  <a:cubicBezTo>
                    <a:pt x="4" y="309"/>
                    <a:pt x="0" y="355"/>
                    <a:pt x="28" y="380"/>
                  </a:cubicBezTo>
                  <a:lnTo>
                    <a:pt x="28" y="380"/>
                  </a:lnTo>
                  <a:cubicBezTo>
                    <a:pt x="32" y="377"/>
                    <a:pt x="34" y="375"/>
                    <a:pt x="38" y="373"/>
                  </a:cubicBezTo>
                  <a:lnTo>
                    <a:pt x="504" y="105"/>
                  </a:lnTo>
                  <a:lnTo>
                    <a:pt x="504" y="105"/>
                  </a:lnTo>
                  <a:cubicBezTo>
                    <a:pt x="538" y="85"/>
                    <a:pt x="580" y="85"/>
                    <a:pt x="614" y="106"/>
                  </a:cubicBezTo>
                  <a:lnTo>
                    <a:pt x="956" y="313"/>
                  </a:lnTo>
                </a:path>
              </a:pathLst>
            </a:custGeom>
            <a:solidFill>
              <a:schemeClr val="accent5">
                <a:lumMod val="75000"/>
              </a:schemeClr>
            </a:solidFill>
            <a:ln>
              <a:noFill/>
            </a:ln>
            <a:effectLst/>
          </p:spPr>
          <p:txBody>
            <a:bodyPr wrap="none" anchor="ctr"/>
            <a:lstStyle/>
            <a:p>
              <a:endParaRPr lang="en-US" sz="3266" dirty="0">
                <a:latin typeface="Lato Light" panose="020F0502020204030203" pitchFamily="34" charset="0"/>
              </a:endParaRPr>
            </a:p>
          </p:txBody>
        </p:sp>
        <p:sp>
          <p:nvSpPr>
            <p:cNvPr id="64" name="Freeform 140">
              <a:extLst>
                <a:ext uri="{FF2B5EF4-FFF2-40B4-BE49-F238E27FC236}">
                  <a16:creationId xmlns:a16="http://schemas.microsoft.com/office/drawing/2014/main" id="{DCB5C9E2-97EC-A943-8F28-26C36FC9242B}"/>
                </a:ext>
              </a:extLst>
            </p:cNvPr>
            <p:cNvSpPr>
              <a:spLocks noChangeArrowheads="1"/>
            </p:cNvSpPr>
            <p:nvPr/>
          </p:nvSpPr>
          <p:spPr bwMode="auto">
            <a:xfrm>
              <a:off x="12528703" y="2802536"/>
              <a:ext cx="567419" cy="1091634"/>
            </a:xfrm>
            <a:custGeom>
              <a:avLst/>
              <a:gdLst>
                <a:gd name="T0" fmla="*/ 126 w 869"/>
                <a:gd name="T1" fmla="*/ 1672 h 1673"/>
                <a:gd name="T2" fmla="*/ 126 w 869"/>
                <a:gd name="T3" fmla="*/ 1672 h 1673"/>
                <a:gd name="T4" fmla="*/ 112 w 869"/>
                <a:gd name="T5" fmla="*/ 1119 h 1673"/>
                <a:gd name="T6" fmla="*/ 112 w 869"/>
                <a:gd name="T7" fmla="*/ 1119 h 1673"/>
                <a:gd name="T8" fmla="*/ 90 w 869"/>
                <a:gd name="T9" fmla="*/ 836 h 1673"/>
                <a:gd name="T10" fmla="*/ 90 w 869"/>
                <a:gd name="T11" fmla="*/ 836 h 1673"/>
                <a:gd name="T12" fmla="*/ 260 w 869"/>
                <a:gd name="T13" fmla="*/ 377 h 1673"/>
                <a:gd name="T14" fmla="*/ 260 w 869"/>
                <a:gd name="T15" fmla="*/ 377 h 1673"/>
                <a:gd name="T16" fmla="*/ 566 w 869"/>
                <a:gd name="T17" fmla="*/ 85 h 1673"/>
                <a:gd name="T18" fmla="*/ 566 w 869"/>
                <a:gd name="T19" fmla="*/ 85 h 1673"/>
                <a:gd name="T20" fmla="*/ 773 w 869"/>
                <a:gd name="T21" fmla="*/ 485 h 1673"/>
                <a:gd name="T22" fmla="*/ 773 w 869"/>
                <a:gd name="T23" fmla="*/ 485 h 1673"/>
                <a:gd name="T24" fmla="*/ 810 w 869"/>
                <a:gd name="T25" fmla="*/ 894 h 1673"/>
                <a:gd name="T26" fmla="*/ 810 w 869"/>
                <a:gd name="T27" fmla="*/ 894 h 1673"/>
                <a:gd name="T28" fmla="*/ 499 w 869"/>
                <a:gd name="T29" fmla="*/ 1196 h 1673"/>
                <a:gd name="T30" fmla="*/ 499 w 869"/>
                <a:gd name="T31" fmla="*/ 1196 h 1673"/>
                <a:gd name="T32" fmla="*/ 126 w 869"/>
                <a:gd name="T33" fmla="*/ 1672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9" h="1673">
                  <a:moveTo>
                    <a:pt x="126" y="1672"/>
                  </a:moveTo>
                  <a:lnTo>
                    <a:pt x="126" y="1672"/>
                  </a:lnTo>
                  <a:cubicBezTo>
                    <a:pt x="126" y="1672"/>
                    <a:pt x="49" y="1281"/>
                    <a:pt x="112" y="1119"/>
                  </a:cubicBezTo>
                  <a:lnTo>
                    <a:pt x="112" y="1119"/>
                  </a:lnTo>
                  <a:cubicBezTo>
                    <a:pt x="175" y="958"/>
                    <a:pt x="144" y="962"/>
                    <a:pt x="90" y="836"/>
                  </a:cubicBezTo>
                  <a:lnTo>
                    <a:pt x="90" y="836"/>
                  </a:lnTo>
                  <a:cubicBezTo>
                    <a:pt x="35" y="710"/>
                    <a:pt x="0" y="404"/>
                    <a:pt x="260" y="377"/>
                  </a:cubicBezTo>
                  <a:lnTo>
                    <a:pt x="260" y="377"/>
                  </a:lnTo>
                  <a:cubicBezTo>
                    <a:pt x="521" y="350"/>
                    <a:pt x="447" y="129"/>
                    <a:pt x="566" y="85"/>
                  </a:cubicBezTo>
                  <a:lnTo>
                    <a:pt x="566" y="85"/>
                  </a:lnTo>
                  <a:cubicBezTo>
                    <a:pt x="800" y="0"/>
                    <a:pt x="854" y="319"/>
                    <a:pt x="773" y="485"/>
                  </a:cubicBezTo>
                  <a:lnTo>
                    <a:pt x="773" y="485"/>
                  </a:lnTo>
                  <a:cubicBezTo>
                    <a:pt x="692" y="652"/>
                    <a:pt x="868" y="715"/>
                    <a:pt x="810" y="894"/>
                  </a:cubicBezTo>
                  <a:lnTo>
                    <a:pt x="810" y="894"/>
                  </a:lnTo>
                  <a:cubicBezTo>
                    <a:pt x="751" y="1075"/>
                    <a:pt x="548" y="1075"/>
                    <a:pt x="499" y="1196"/>
                  </a:cubicBezTo>
                  <a:lnTo>
                    <a:pt x="499" y="1196"/>
                  </a:lnTo>
                  <a:cubicBezTo>
                    <a:pt x="449" y="1318"/>
                    <a:pt x="388" y="1503"/>
                    <a:pt x="126" y="1672"/>
                  </a:cubicBezTo>
                </a:path>
              </a:pathLst>
            </a:custGeom>
            <a:solidFill>
              <a:schemeClr val="accent2"/>
            </a:solidFill>
            <a:ln>
              <a:noFill/>
            </a:ln>
            <a:effectLst/>
          </p:spPr>
          <p:txBody>
            <a:bodyPr wrap="none" anchor="ctr"/>
            <a:lstStyle/>
            <a:p>
              <a:endParaRPr lang="en-US" sz="3266" dirty="0">
                <a:latin typeface="Lato Light" panose="020F0502020204030203" pitchFamily="34" charset="0"/>
              </a:endParaRPr>
            </a:p>
          </p:txBody>
        </p:sp>
        <p:sp>
          <p:nvSpPr>
            <p:cNvPr id="65" name="Freeform 141">
              <a:extLst>
                <a:ext uri="{FF2B5EF4-FFF2-40B4-BE49-F238E27FC236}">
                  <a16:creationId xmlns:a16="http://schemas.microsoft.com/office/drawing/2014/main" id="{B271CD87-8069-364D-9C99-EC6D2C4C15B4}"/>
                </a:ext>
              </a:extLst>
            </p:cNvPr>
            <p:cNvSpPr>
              <a:spLocks noChangeArrowheads="1"/>
            </p:cNvSpPr>
            <p:nvPr/>
          </p:nvSpPr>
          <p:spPr bwMode="auto">
            <a:xfrm>
              <a:off x="11941122" y="3283546"/>
              <a:ext cx="673991" cy="616385"/>
            </a:xfrm>
            <a:custGeom>
              <a:avLst/>
              <a:gdLst>
                <a:gd name="T0" fmla="*/ 1031 w 1032"/>
                <a:gd name="T1" fmla="*/ 944 h 945"/>
                <a:gd name="T2" fmla="*/ 1031 w 1032"/>
                <a:gd name="T3" fmla="*/ 944 h 945"/>
                <a:gd name="T4" fmla="*/ 793 w 1032"/>
                <a:gd name="T5" fmla="*/ 332 h 945"/>
                <a:gd name="T6" fmla="*/ 793 w 1032"/>
                <a:gd name="T7" fmla="*/ 332 h 945"/>
                <a:gd name="T8" fmla="*/ 470 w 1032"/>
                <a:gd name="T9" fmla="*/ 23 h 945"/>
                <a:gd name="T10" fmla="*/ 470 w 1032"/>
                <a:gd name="T11" fmla="*/ 23 h 945"/>
                <a:gd name="T12" fmla="*/ 294 w 1032"/>
                <a:gd name="T13" fmla="*/ 52 h 945"/>
                <a:gd name="T14" fmla="*/ 294 w 1032"/>
                <a:gd name="T15" fmla="*/ 52 h 945"/>
                <a:gd name="T16" fmla="*/ 33 w 1032"/>
                <a:gd name="T17" fmla="*/ 61 h 945"/>
                <a:gd name="T18" fmla="*/ 33 w 1032"/>
                <a:gd name="T19" fmla="*/ 61 h 945"/>
                <a:gd name="T20" fmla="*/ 318 w 1032"/>
                <a:gd name="T21" fmla="*/ 441 h 945"/>
                <a:gd name="T22" fmla="*/ 318 w 1032"/>
                <a:gd name="T23" fmla="*/ 441 h 945"/>
                <a:gd name="T24" fmla="*/ 446 w 1032"/>
                <a:gd name="T25" fmla="*/ 726 h 945"/>
                <a:gd name="T26" fmla="*/ 446 w 1032"/>
                <a:gd name="T27" fmla="*/ 726 h 945"/>
                <a:gd name="T28" fmla="*/ 1031 w 1032"/>
                <a:gd name="T29" fmla="*/ 944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32" h="945">
                  <a:moveTo>
                    <a:pt x="1031" y="944"/>
                  </a:moveTo>
                  <a:lnTo>
                    <a:pt x="1031" y="944"/>
                  </a:lnTo>
                  <a:cubicBezTo>
                    <a:pt x="1031" y="944"/>
                    <a:pt x="926" y="299"/>
                    <a:pt x="793" y="332"/>
                  </a:cubicBezTo>
                  <a:lnTo>
                    <a:pt x="793" y="332"/>
                  </a:lnTo>
                  <a:cubicBezTo>
                    <a:pt x="603" y="379"/>
                    <a:pt x="717" y="123"/>
                    <a:pt x="470" y="23"/>
                  </a:cubicBezTo>
                  <a:lnTo>
                    <a:pt x="470" y="23"/>
                  </a:lnTo>
                  <a:cubicBezTo>
                    <a:pt x="435" y="9"/>
                    <a:pt x="367" y="56"/>
                    <a:pt x="294" y="52"/>
                  </a:cubicBezTo>
                  <a:lnTo>
                    <a:pt x="294" y="52"/>
                  </a:lnTo>
                  <a:cubicBezTo>
                    <a:pt x="179" y="45"/>
                    <a:pt x="53" y="0"/>
                    <a:pt x="33" y="61"/>
                  </a:cubicBezTo>
                  <a:lnTo>
                    <a:pt x="33" y="61"/>
                  </a:lnTo>
                  <a:cubicBezTo>
                    <a:pt x="0" y="161"/>
                    <a:pt x="318" y="304"/>
                    <a:pt x="318" y="441"/>
                  </a:cubicBezTo>
                  <a:lnTo>
                    <a:pt x="318" y="441"/>
                  </a:lnTo>
                  <a:cubicBezTo>
                    <a:pt x="318" y="579"/>
                    <a:pt x="228" y="726"/>
                    <a:pt x="446" y="726"/>
                  </a:cubicBezTo>
                  <a:lnTo>
                    <a:pt x="446" y="726"/>
                  </a:lnTo>
                  <a:cubicBezTo>
                    <a:pt x="665" y="726"/>
                    <a:pt x="1031" y="944"/>
                    <a:pt x="1031" y="944"/>
                  </a:cubicBezTo>
                </a:path>
              </a:pathLst>
            </a:custGeom>
            <a:solidFill>
              <a:schemeClr val="accent2">
                <a:lumMod val="75000"/>
              </a:schemeClr>
            </a:solidFill>
            <a:ln>
              <a:noFill/>
            </a:ln>
            <a:effectLst/>
          </p:spPr>
          <p:txBody>
            <a:bodyPr wrap="none" anchor="ctr"/>
            <a:lstStyle/>
            <a:p>
              <a:endParaRPr lang="en-US" sz="3266" dirty="0">
                <a:latin typeface="Lato Light" panose="020F0502020204030203" pitchFamily="34" charset="0"/>
              </a:endParaRPr>
            </a:p>
          </p:txBody>
        </p:sp>
        <p:sp>
          <p:nvSpPr>
            <p:cNvPr id="66" name="Freeform 142">
              <a:extLst>
                <a:ext uri="{FF2B5EF4-FFF2-40B4-BE49-F238E27FC236}">
                  <a16:creationId xmlns:a16="http://schemas.microsoft.com/office/drawing/2014/main" id="{FB318FF4-4DB6-E142-85C9-F5E722CA69D1}"/>
                </a:ext>
              </a:extLst>
            </p:cNvPr>
            <p:cNvSpPr>
              <a:spLocks noChangeArrowheads="1"/>
            </p:cNvSpPr>
            <p:nvPr/>
          </p:nvSpPr>
          <p:spPr bwMode="auto">
            <a:xfrm>
              <a:off x="12615112" y="3058882"/>
              <a:ext cx="296670" cy="841048"/>
            </a:xfrm>
            <a:custGeom>
              <a:avLst/>
              <a:gdLst>
                <a:gd name="T0" fmla="*/ 0 w 453"/>
                <a:gd name="T1" fmla="*/ 1287 h 1288"/>
                <a:gd name="T2" fmla="*/ 0 w 453"/>
                <a:gd name="T3" fmla="*/ 1287 h 1288"/>
                <a:gd name="T4" fmla="*/ 452 w 453"/>
                <a:gd name="T5" fmla="*/ 0 h 1288"/>
              </a:gdLst>
              <a:ahLst/>
              <a:cxnLst>
                <a:cxn ang="0">
                  <a:pos x="T0" y="T1"/>
                </a:cxn>
                <a:cxn ang="0">
                  <a:pos x="T2" y="T3"/>
                </a:cxn>
                <a:cxn ang="0">
                  <a:pos x="T4" y="T5"/>
                </a:cxn>
              </a:cxnLst>
              <a:rect l="0" t="0" r="r" b="b"/>
              <a:pathLst>
                <a:path w="453" h="1288">
                  <a:moveTo>
                    <a:pt x="0" y="1287"/>
                  </a:moveTo>
                  <a:lnTo>
                    <a:pt x="0" y="1287"/>
                  </a:lnTo>
                  <a:cubicBezTo>
                    <a:pt x="114" y="780"/>
                    <a:pt x="263" y="383"/>
                    <a:pt x="452" y="0"/>
                  </a:cubicBezTo>
                </a:path>
              </a:pathLst>
            </a:custGeom>
            <a:noFill/>
            <a:ln w="1800" cap="flat">
              <a:solidFill>
                <a:schemeClr val="accent2">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3266" dirty="0">
                <a:latin typeface="Lato Light" panose="020F0502020204030203" pitchFamily="34" charset="0"/>
              </a:endParaRPr>
            </a:p>
          </p:txBody>
        </p:sp>
        <p:sp>
          <p:nvSpPr>
            <p:cNvPr id="67" name="Freeform 143">
              <a:extLst>
                <a:ext uri="{FF2B5EF4-FFF2-40B4-BE49-F238E27FC236}">
                  <a16:creationId xmlns:a16="http://schemas.microsoft.com/office/drawing/2014/main" id="{D7491955-2A57-9B4F-9A69-FD264816FE64}"/>
                </a:ext>
              </a:extLst>
            </p:cNvPr>
            <p:cNvSpPr>
              <a:spLocks noChangeArrowheads="1"/>
            </p:cNvSpPr>
            <p:nvPr/>
          </p:nvSpPr>
          <p:spPr bwMode="auto">
            <a:xfrm>
              <a:off x="12088016" y="3378597"/>
              <a:ext cx="512694" cy="512694"/>
            </a:xfrm>
            <a:custGeom>
              <a:avLst/>
              <a:gdLst>
                <a:gd name="T0" fmla="*/ 0 w 787"/>
                <a:gd name="T1" fmla="*/ 0 h 787"/>
                <a:gd name="T2" fmla="*/ 0 w 787"/>
                <a:gd name="T3" fmla="*/ 0 h 787"/>
                <a:gd name="T4" fmla="*/ 786 w 787"/>
                <a:gd name="T5" fmla="*/ 786 h 787"/>
              </a:gdLst>
              <a:ahLst/>
              <a:cxnLst>
                <a:cxn ang="0">
                  <a:pos x="T0" y="T1"/>
                </a:cxn>
                <a:cxn ang="0">
                  <a:pos x="T2" y="T3"/>
                </a:cxn>
                <a:cxn ang="0">
                  <a:pos x="T4" y="T5"/>
                </a:cxn>
              </a:cxnLst>
              <a:rect l="0" t="0" r="r" b="b"/>
              <a:pathLst>
                <a:path w="787" h="787">
                  <a:moveTo>
                    <a:pt x="0" y="0"/>
                  </a:moveTo>
                  <a:lnTo>
                    <a:pt x="0" y="0"/>
                  </a:lnTo>
                  <a:cubicBezTo>
                    <a:pt x="0" y="0"/>
                    <a:pt x="695" y="421"/>
                    <a:pt x="786" y="786"/>
                  </a:cubicBezTo>
                </a:path>
              </a:pathLst>
            </a:custGeom>
            <a:noFill/>
            <a:ln w="1800" cap="flat">
              <a:solidFill>
                <a:schemeClr val="accent2">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3266" dirty="0">
                <a:latin typeface="Lato Light" panose="020F0502020204030203" pitchFamily="34" charset="0"/>
              </a:endParaRPr>
            </a:p>
          </p:txBody>
        </p:sp>
        <p:sp>
          <p:nvSpPr>
            <p:cNvPr id="68" name="Freeform 144">
              <a:extLst>
                <a:ext uri="{FF2B5EF4-FFF2-40B4-BE49-F238E27FC236}">
                  <a16:creationId xmlns:a16="http://schemas.microsoft.com/office/drawing/2014/main" id="{18779A1D-62BC-D94A-BF35-6C84E4DAE7B4}"/>
                </a:ext>
              </a:extLst>
            </p:cNvPr>
            <p:cNvSpPr>
              <a:spLocks noChangeArrowheads="1"/>
            </p:cNvSpPr>
            <p:nvPr/>
          </p:nvSpPr>
          <p:spPr bwMode="auto">
            <a:xfrm>
              <a:off x="12540224" y="3859607"/>
              <a:ext cx="135373" cy="63367"/>
            </a:xfrm>
            <a:custGeom>
              <a:avLst/>
              <a:gdLst>
                <a:gd name="T0" fmla="*/ 206 w 207"/>
                <a:gd name="T1" fmla="*/ 47 h 96"/>
                <a:gd name="T2" fmla="*/ 206 w 207"/>
                <a:gd name="T3" fmla="*/ 47 h 96"/>
                <a:gd name="T4" fmla="*/ 104 w 207"/>
                <a:gd name="T5" fmla="*/ 95 h 96"/>
                <a:gd name="T6" fmla="*/ 104 w 207"/>
                <a:gd name="T7" fmla="*/ 95 h 96"/>
                <a:gd name="T8" fmla="*/ 0 w 207"/>
                <a:gd name="T9" fmla="*/ 47 h 96"/>
                <a:gd name="T10" fmla="*/ 0 w 207"/>
                <a:gd name="T11" fmla="*/ 47 h 96"/>
                <a:gd name="T12" fmla="*/ 104 w 207"/>
                <a:gd name="T13" fmla="*/ 0 h 96"/>
                <a:gd name="T14" fmla="*/ 104 w 207"/>
                <a:gd name="T15" fmla="*/ 0 h 96"/>
                <a:gd name="T16" fmla="*/ 206 w 207"/>
                <a:gd name="T1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96">
                  <a:moveTo>
                    <a:pt x="206" y="47"/>
                  </a:moveTo>
                  <a:lnTo>
                    <a:pt x="206" y="47"/>
                  </a:lnTo>
                  <a:cubicBezTo>
                    <a:pt x="206" y="74"/>
                    <a:pt x="160" y="95"/>
                    <a:pt x="104" y="95"/>
                  </a:cubicBezTo>
                  <a:lnTo>
                    <a:pt x="104" y="95"/>
                  </a:lnTo>
                  <a:cubicBezTo>
                    <a:pt x="47" y="95"/>
                    <a:pt x="0" y="74"/>
                    <a:pt x="0" y="47"/>
                  </a:cubicBezTo>
                  <a:lnTo>
                    <a:pt x="0" y="47"/>
                  </a:lnTo>
                  <a:cubicBezTo>
                    <a:pt x="0" y="22"/>
                    <a:pt x="47" y="0"/>
                    <a:pt x="104" y="0"/>
                  </a:cubicBezTo>
                  <a:lnTo>
                    <a:pt x="104" y="0"/>
                  </a:lnTo>
                  <a:cubicBezTo>
                    <a:pt x="160" y="0"/>
                    <a:pt x="206" y="22"/>
                    <a:pt x="206" y="47"/>
                  </a:cubicBezTo>
                </a:path>
              </a:pathLst>
            </a:custGeom>
            <a:solidFill>
              <a:srgbClr val="AF9164"/>
            </a:solidFill>
            <a:ln>
              <a:noFill/>
            </a:ln>
            <a:effectLst/>
            <a:extLst>
              <a:ext uri="{91240B29-F687-4F45-9708-019B960494DF}">
                <a14:hiddenLine xmlns:a14="http://schemas.microsoft.com/office/drawing/2010/main" w="9525" cap="flat">
                  <a:solidFill>
                    <a:srgbClr val="1D7F22"/>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69" name="Freeform 145">
              <a:extLst>
                <a:ext uri="{FF2B5EF4-FFF2-40B4-BE49-F238E27FC236}">
                  <a16:creationId xmlns:a16="http://schemas.microsoft.com/office/drawing/2014/main" id="{418CD572-3726-5E49-A574-99DD8FBF3520}"/>
                </a:ext>
              </a:extLst>
            </p:cNvPr>
            <p:cNvSpPr>
              <a:spLocks noChangeArrowheads="1"/>
            </p:cNvSpPr>
            <p:nvPr/>
          </p:nvSpPr>
          <p:spPr bwMode="auto">
            <a:xfrm>
              <a:off x="15676872" y="6748550"/>
              <a:ext cx="622145" cy="2739167"/>
            </a:xfrm>
            <a:custGeom>
              <a:avLst/>
              <a:gdLst>
                <a:gd name="T0" fmla="*/ 0 w 954"/>
                <a:gd name="T1" fmla="*/ 121 h 4192"/>
                <a:gd name="T2" fmla="*/ 0 w 954"/>
                <a:gd name="T3" fmla="*/ 121 h 4192"/>
                <a:gd name="T4" fmla="*/ 408 w 954"/>
                <a:gd name="T5" fmla="*/ 499 h 4192"/>
                <a:gd name="T6" fmla="*/ 408 w 954"/>
                <a:gd name="T7" fmla="*/ 499 h 4192"/>
                <a:gd name="T8" fmla="*/ 363 w 954"/>
                <a:gd name="T9" fmla="*/ 3404 h 4192"/>
                <a:gd name="T10" fmla="*/ 363 w 954"/>
                <a:gd name="T11" fmla="*/ 3404 h 4192"/>
                <a:gd name="T12" fmla="*/ 166 w 954"/>
                <a:gd name="T13" fmla="*/ 4161 h 4192"/>
                <a:gd name="T14" fmla="*/ 166 w 954"/>
                <a:gd name="T15" fmla="*/ 4161 h 4192"/>
                <a:gd name="T16" fmla="*/ 666 w 954"/>
                <a:gd name="T17" fmla="*/ 3783 h 4192"/>
                <a:gd name="T18" fmla="*/ 666 w 954"/>
                <a:gd name="T19" fmla="*/ 3783 h 4192"/>
                <a:gd name="T20" fmla="*/ 878 w 954"/>
                <a:gd name="T21" fmla="*/ 408 h 4192"/>
                <a:gd name="T22" fmla="*/ 878 w 954"/>
                <a:gd name="T23" fmla="*/ 408 h 4192"/>
                <a:gd name="T24" fmla="*/ 0 w 954"/>
                <a:gd name="T25" fmla="*/ 121 h 4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4" h="4192">
                  <a:moveTo>
                    <a:pt x="0" y="121"/>
                  </a:moveTo>
                  <a:lnTo>
                    <a:pt x="0" y="121"/>
                  </a:lnTo>
                  <a:cubicBezTo>
                    <a:pt x="0" y="121"/>
                    <a:pt x="317" y="211"/>
                    <a:pt x="408" y="499"/>
                  </a:cubicBezTo>
                  <a:lnTo>
                    <a:pt x="408" y="499"/>
                  </a:lnTo>
                  <a:cubicBezTo>
                    <a:pt x="484" y="737"/>
                    <a:pt x="363" y="3162"/>
                    <a:pt x="363" y="3404"/>
                  </a:cubicBezTo>
                  <a:lnTo>
                    <a:pt x="363" y="3404"/>
                  </a:lnTo>
                  <a:cubicBezTo>
                    <a:pt x="363" y="3646"/>
                    <a:pt x="317" y="3949"/>
                    <a:pt x="166" y="4161"/>
                  </a:cubicBezTo>
                  <a:lnTo>
                    <a:pt x="166" y="4161"/>
                  </a:lnTo>
                  <a:cubicBezTo>
                    <a:pt x="166" y="4161"/>
                    <a:pt x="545" y="4191"/>
                    <a:pt x="666" y="3783"/>
                  </a:cubicBezTo>
                  <a:lnTo>
                    <a:pt x="666" y="3783"/>
                  </a:lnTo>
                  <a:cubicBezTo>
                    <a:pt x="787" y="3374"/>
                    <a:pt x="953" y="604"/>
                    <a:pt x="878" y="408"/>
                  </a:cubicBezTo>
                  <a:lnTo>
                    <a:pt x="878" y="408"/>
                  </a:lnTo>
                  <a:cubicBezTo>
                    <a:pt x="802" y="211"/>
                    <a:pt x="166" y="0"/>
                    <a:pt x="0" y="121"/>
                  </a:cubicBezTo>
                </a:path>
              </a:pathLst>
            </a:custGeom>
            <a:solidFill>
              <a:srgbClr val="41538C"/>
            </a:solidFill>
            <a:ln>
              <a:noFill/>
            </a:ln>
            <a:effectLst/>
            <a:extLst>
              <a:ext uri="{91240B29-F687-4F45-9708-019B960494DF}">
                <a14:hiddenLine xmlns:a14="http://schemas.microsoft.com/office/drawing/2010/main" w="9525" cap="flat">
                  <a:solidFill>
                    <a:srgbClr val="1D7F22"/>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70" name="Freeform 146">
              <a:extLst>
                <a:ext uri="{FF2B5EF4-FFF2-40B4-BE49-F238E27FC236}">
                  <a16:creationId xmlns:a16="http://schemas.microsoft.com/office/drawing/2014/main" id="{15E15C30-D4D8-C34C-ADA3-6ED4D8A06D0A}"/>
                </a:ext>
              </a:extLst>
            </p:cNvPr>
            <p:cNvSpPr>
              <a:spLocks noChangeArrowheads="1"/>
            </p:cNvSpPr>
            <p:nvPr/>
          </p:nvSpPr>
          <p:spPr bwMode="auto">
            <a:xfrm>
              <a:off x="13196934" y="4326215"/>
              <a:ext cx="259227" cy="325475"/>
            </a:xfrm>
            <a:custGeom>
              <a:avLst/>
              <a:gdLst>
                <a:gd name="T0" fmla="*/ 181 w 397"/>
                <a:gd name="T1" fmla="*/ 0 h 498"/>
                <a:gd name="T2" fmla="*/ 0 w 397"/>
                <a:gd name="T3" fmla="*/ 85 h 498"/>
                <a:gd name="T4" fmla="*/ 0 w 397"/>
                <a:gd name="T5" fmla="*/ 85 h 498"/>
                <a:gd name="T6" fmla="*/ 102 w 397"/>
                <a:gd name="T7" fmla="*/ 453 h 498"/>
                <a:gd name="T8" fmla="*/ 102 w 397"/>
                <a:gd name="T9" fmla="*/ 453 h 498"/>
                <a:gd name="T10" fmla="*/ 379 w 397"/>
                <a:gd name="T11" fmla="*/ 408 h 498"/>
                <a:gd name="T12" fmla="*/ 379 w 397"/>
                <a:gd name="T13" fmla="*/ 408 h 498"/>
                <a:gd name="T14" fmla="*/ 181 w 397"/>
                <a:gd name="T15" fmla="*/ 0 h 4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498">
                  <a:moveTo>
                    <a:pt x="181" y="0"/>
                  </a:moveTo>
                  <a:lnTo>
                    <a:pt x="0" y="85"/>
                  </a:lnTo>
                  <a:lnTo>
                    <a:pt x="0" y="85"/>
                  </a:lnTo>
                  <a:cubicBezTo>
                    <a:pt x="0" y="85"/>
                    <a:pt x="0" y="368"/>
                    <a:pt x="102" y="453"/>
                  </a:cubicBezTo>
                  <a:lnTo>
                    <a:pt x="102" y="453"/>
                  </a:lnTo>
                  <a:cubicBezTo>
                    <a:pt x="155" y="497"/>
                    <a:pt x="362" y="465"/>
                    <a:pt x="379" y="408"/>
                  </a:cubicBezTo>
                  <a:lnTo>
                    <a:pt x="379" y="408"/>
                  </a:lnTo>
                  <a:cubicBezTo>
                    <a:pt x="396" y="351"/>
                    <a:pt x="181" y="0"/>
                    <a:pt x="181" y="0"/>
                  </a:cubicBezTo>
                </a:path>
              </a:pathLst>
            </a:custGeom>
            <a:noFill/>
            <a:ln w="5760" cap="flat">
              <a:solidFill>
                <a:schemeClr val="accent5"/>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71" name="Freeform 147">
              <a:extLst>
                <a:ext uri="{FF2B5EF4-FFF2-40B4-BE49-F238E27FC236}">
                  <a16:creationId xmlns:a16="http://schemas.microsoft.com/office/drawing/2014/main" id="{656D5E77-38E6-DF47-8960-9A730CBADD28}"/>
                </a:ext>
              </a:extLst>
            </p:cNvPr>
            <p:cNvSpPr>
              <a:spLocks noChangeArrowheads="1"/>
            </p:cNvSpPr>
            <p:nvPr/>
          </p:nvSpPr>
          <p:spPr bwMode="auto">
            <a:xfrm>
              <a:off x="12471098" y="5207589"/>
              <a:ext cx="1592806" cy="1195326"/>
            </a:xfrm>
            <a:custGeom>
              <a:avLst/>
              <a:gdLst>
                <a:gd name="T0" fmla="*/ 2439 w 2440"/>
                <a:gd name="T1" fmla="*/ 1076 h 1829"/>
                <a:gd name="T2" fmla="*/ 2439 w 2440"/>
                <a:gd name="T3" fmla="*/ 1076 h 1829"/>
                <a:gd name="T4" fmla="*/ 226 w 2440"/>
                <a:gd name="T5" fmla="*/ 0 h 1829"/>
                <a:gd name="T6" fmla="*/ 0 w 2440"/>
                <a:gd name="T7" fmla="*/ 312 h 1829"/>
                <a:gd name="T8" fmla="*/ 0 w 2440"/>
                <a:gd name="T9" fmla="*/ 312 h 1829"/>
                <a:gd name="T10" fmla="*/ 2312 w 2440"/>
                <a:gd name="T11" fmla="*/ 1828 h 1829"/>
                <a:gd name="T12" fmla="*/ 2439 w 2440"/>
                <a:gd name="T13" fmla="*/ 1076 h 1829"/>
              </a:gdLst>
              <a:ahLst/>
              <a:cxnLst>
                <a:cxn ang="0">
                  <a:pos x="T0" y="T1"/>
                </a:cxn>
                <a:cxn ang="0">
                  <a:pos x="T2" y="T3"/>
                </a:cxn>
                <a:cxn ang="0">
                  <a:pos x="T4" y="T5"/>
                </a:cxn>
                <a:cxn ang="0">
                  <a:pos x="T6" y="T7"/>
                </a:cxn>
                <a:cxn ang="0">
                  <a:pos x="T8" y="T9"/>
                </a:cxn>
                <a:cxn ang="0">
                  <a:pos x="T10" y="T11"/>
                </a:cxn>
                <a:cxn ang="0">
                  <a:pos x="T12" y="T13"/>
                </a:cxn>
              </a:cxnLst>
              <a:rect l="0" t="0" r="r" b="b"/>
              <a:pathLst>
                <a:path w="2440" h="1829">
                  <a:moveTo>
                    <a:pt x="2439" y="1076"/>
                  </a:moveTo>
                  <a:lnTo>
                    <a:pt x="2439" y="1076"/>
                  </a:lnTo>
                  <a:cubicBezTo>
                    <a:pt x="2439" y="1076"/>
                    <a:pt x="593" y="153"/>
                    <a:pt x="226" y="0"/>
                  </a:cubicBezTo>
                  <a:lnTo>
                    <a:pt x="0" y="312"/>
                  </a:lnTo>
                  <a:lnTo>
                    <a:pt x="0" y="312"/>
                  </a:lnTo>
                  <a:cubicBezTo>
                    <a:pt x="0" y="312"/>
                    <a:pt x="972" y="1265"/>
                    <a:pt x="2312" y="1828"/>
                  </a:cubicBezTo>
                  <a:lnTo>
                    <a:pt x="2439" y="1076"/>
                  </a:lnTo>
                </a:path>
              </a:pathLst>
            </a:custGeom>
            <a:solidFill>
              <a:srgbClr val="FCE3C3"/>
            </a:solidFill>
            <a:ln>
              <a:noFill/>
            </a:ln>
            <a:effectLst/>
            <a:extLst>
              <a:ext uri="{91240B29-F687-4F45-9708-019B960494DF}">
                <a14:hiddenLine xmlns:a14="http://schemas.microsoft.com/office/drawing/2010/main" w="9525" cap="flat">
                  <a:solidFill>
                    <a:srgbClr val="263364"/>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72" name="Freeform 148">
              <a:extLst>
                <a:ext uri="{FF2B5EF4-FFF2-40B4-BE49-F238E27FC236}">
                  <a16:creationId xmlns:a16="http://schemas.microsoft.com/office/drawing/2014/main" id="{AC12B39C-EBEC-A942-BD68-14CE73373FFD}"/>
                </a:ext>
              </a:extLst>
            </p:cNvPr>
            <p:cNvSpPr>
              <a:spLocks noChangeArrowheads="1"/>
            </p:cNvSpPr>
            <p:nvPr/>
          </p:nvSpPr>
          <p:spPr bwMode="auto">
            <a:xfrm>
              <a:off x="12543103" y="5256555"/>
              <a:ext cx="1673457" cy="1238530"/>
            </a:xfrm>
            <a:custGeom>
              <a:avLst/>
              <a:gdLst>
                <a:gd name="T0" fmla="*/ 2559 w 2560"/>
                <a:gd name="T1" fmla="*/ 298 h 1897"/>
                <a:gd name="T2" fmla="*/ 2559 w 2560"/>
                <a:gd name="T3" fmla="*/ 298 h 1897"/>
                <a:gd name="T4" fmla="*/ 2116 w 2560"/>
                <a:gd name="T5" fmla="*/ 646 h 1897"/>
                <a:gd name="T6" fmla="*/ 2116 w 2560"/>
                <a:gd name="T7" fmla="*/ 646 h 1897"/>
                <a:gd name="T8" fmla="*/ 425 w 2560"/>
                <a:gd name="T9" fmla="*/ 8 h 1897"/>
                <a:gd name="T10" fmla="*/ 425 w 2560"/>
                <a:gd name="T11" fmla="*/ 8 h 1897"/>
                <a:gd name="T12" fmla="*/ 311 w 2560"/>
                <a:gd name="T13" fmla="*/ 27 h 1897"/>
                <a:gd name="T14" fmla="*/ 311 w 2560"/>
                <a:gd name="T15" fmla="*/ 27 h 1897"/>
                <a:gd name="T16" fmla="*/ 23 w 2560"/>
                <a:gd name="T17" fmla="*/ 353 h 1897"/>
                <a:gd name="T18" fmla="*/ 23 w 2560"/>
                <a:gd name="T19" fmla="*/ 353 h 1897"/>
                <a:gd name="T20" fmla="*/ 70 w 2560"/>
                <a:gd name="T21" fmla="*/ 547 h 1897"/>
                <a:gd name="T22" fmla="*/ 70 w 2560"/>
                <a:gd name="T23" fmla="*/ 547 h 1897"/>
                <a:gd name="T24" fmla="*/ 2361 w 2560"/>
                <a:gd name="T25" fmla="*/ 1896 h 1897"/>
                <a:gd name="T26" fmla="*/ 2559 w 2560"/>
                <a:gd name="T27" fmla="*/ 298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0" h="1897">
                  <a:moveTo>
                    <a:pt x="2559" y="298"/>
                  </a:moveTo>
                  <a:lnTo>
                    <a:pt x="2559" y="298"/>
                  </a:lnTo>
                  <a:cubicBezTo>
                    <a:pt x="2473" y="642"/>
                    <a:pt x="2321" y="730"/>
                    <a:pt x="2116" y="646"/>
                  </a:cubicBezTo>
                  <a:lnTo>
                    <a:pt x="2116" y="646"/>
                  </a:lnTo>
                  <a:cubicBezTo>
                    <a:pt x="1575" y="425"/>
                    <a:pt x="925" y="114"/>
                    <a:pt x="425" y="8"/>
                  </a:cubicBezTo>
                  <a:lnTo>
                    <a:pt x="425" y="8"/>
                  </a:lnTo>
                  <a:cubicBezTo>
                    <a:pt x="386" y="0"/>
                    <a:pt x="346" y="7"/>
                    <a:pt x="311" y="27"/>
                  </a:cubicBezTo>
                  <a:lnTo>
                    <a:pt x="311" y="27"/>
                  </a:lnTo>
                  <a:cubicBezTo>
                    <a:pt x="172" y="108"/>
                    <a:pt x="65" y="224"/>
                    <a:pt x="23" y="353"/>
                  </a:cubicBezTo>
                  <a:lnTo>
                    <a:pt x="23" y="353"/>
                  </a:lnTo>
                  <a:cubicBezTo>
                    <a:pt x="0" y="421"/>
                    <a:pt x="20" y="495"/>
                    <a:pt x="70" y="547"/>
                  </a:cubicBezTo>
                  <a:lnTo>
                    <a:pt x="70" y="547"/>
                  </a:lnTo>
                  <a:cubicBezTo>
                    <a:pt x="328" y="808"/>
                    <a:pt x="1286" y="1712"/>
                    <a:pt x="2361" y="1896"/>
                  </a:cubicBezTo>
                  <a:lnTo>
                    <a:pt x="2559" y="298"/>
                  </a:lnTo>
                </a:path>
              </a:pathLst>
            </a:custGeom>
            <a:solidFill>
              <a:schemeClr val="accent3">
                <a:lumMod val="75000"/>
              </a:schemeClr>
            </a:solidFill>
            <a:ln>
              <a:noFill/>
            </a:ln>
            <a:effectLst/>
          </p:spPr>
          <p:txBody>
            <a:bodyPr wrap="none" anchor="ctr"/>
            <a:lstStyle/>
            <a:p>
              <a:endParaRPr lang="en-US" sz="3266" dirty="0">
                <a:latin typeface="Lato Light" panose="020F0502020204030203" pitchFamily="34" charset="0"/>
              </a:endParaRPr>
            </a:p>
          </p:txBody>
        </p:sp>
        <p:sp>
          <p:nvSpPr>
            <p:cNvPr id="73" name="Freeform 151">
              <a:extLst>
                <a:ext uri="{FF2B5EF4-FFF2-40B4-BE49-F238E27FC236}">
                  <a16:creationId xmlns:a16="http://schemas.microsoft.com/office/drawing/2014/main" id="{6DF30278-40CE-CE46-BA9A-A360E46B2A4E}"/>
                </a:ext>
              </a:extLst>
            </p:cNvPr>
            <p:cNvSpPr>
              <a:spLocks noChangeArrowheads="1"/>
            </p:cNvSpPr>
            <p:nvPr/>
          </p:nvSpPr>
          <p:spPr bwMode="auto">
            <a:xfrm>
              <a:off x="11918079" y="10841459"/>
              <a:ext cx="1316297" cy="843930"/>
            </a:xfrm>
            <a:custGeom>
              <a:avLst/>
              <a:gdLst>
                <a:gd name="T0" fmla="*/ 1889 w 2017"/>
                <a:gd name="T1" fmla="*/ 1128 h 1292"/>
                <a:gd name="T2" fmla="*/ 1889 w 2017"/>
                <a:gd name="T3" fmla="*/ 1128 h 1292"/>
                <a:gd name="T4" fmla="*/ 1908 w 2017"/>
                <a:gd name="T5" fmla="*/ 843 h 1292"/>
                <a:gd name="T6" fmla="*/ 531 w 2017"/>
                <a:gd name="T7" fmla="*/ 8 h 1292"/>
                <a:gd name="T8" fmla="*/ 531 w 2017"/>
                <a:gd name="T9" fmla="*/ 8 h 1292"/>
                <a:gd name="T10" fmla="*/ 491 w 2017"/>
                <a:gd name="T11" fmla="*/ 6 h 1292"/>
                <a:gd name="T12" fmla="*/ 131 w 2017"/>
                <a:gd name="T13" fmla="*/ 180 h 1292"/>
                <a:gd name="T14" fmla="*/ 131 w 2017"/>
                <a:gd name="T15" fmla="*/ 180 h 1292"/>
                <a:gd name="T16" fmla="*/ 117 w 2017"/>
                <a:gd name="T17" fmla="*/ 528 h 1292"/>
                <a:gd name="T18" fmla="*/ 117 w 2017"/>
                <a:gd name="T19" fmla="*/ 528 h 1292"/>
                <a:gd name="T20" fmla="*/ 1106 w 2017"/>
                <a:gd name="T21" fmla="*/ 1147 h 1292"/>
                <a:gd name="T22" fmla="*/ 1106 w 2017"/>
                <a:gd name="T23" fmla="*/ 1147 h 1292"/>
                <a:gd name="T24" fmla="*/ 1889 w 2017"/>
                <a:gd name="T25" fmla="*/ 1128 h 1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7" h="1292">
                  <a:moveTo>
                    <a:pt x="1889" y="1128"/>
                  </a:moveTo>
                  <a:lnTo>
                    <a:pt x="1889" y="1128"/>
                  </a:lnTo>
                  <a:cubicBezTo>
                    <a:pt x="2001" y="1063"/>
                    <a:pt x="2016" y="916"/>
                    <a:pt x="1908" y="843"/>
                  </a:cubicBezTo>
                  <a:lnTo>
                    <a:pt x="531" y="8"/>
                  </a:lnTo>
                  <a:lnTo>
                    <a:pt x="531" y="8"/>
                  </a:lnTo>
                  <a:cubicBezTo>
                    <a:pt x="519" y="0"/>
                    <a:pt x="504" y="0"/>
                    <a:pt x="491" y="6"/>
                  </a:cubicBezTo>
                  <a:lnTo>
                    <a:pt x="131" y="180"/>
                  </a:lnTo>
                  <a:lnTo>
                    <a:pt x="131" y="180"/>
                  </a:lnTo>
                  <a:cubicBezTo>
                    <a:pt x="0" y="244"/>
                    <a:pt x="7" y="433"/>
                    <a:pt x="117" y="528"/>
                  </a:cubicBezTo>
                  <a:lnTo>
                    <a:pt x="117" y="528"/>
                  </a:lnTo>
                  <a:cubicBezTo>
                    <a:pt x="315" y="699"/>
                    <a:pt x="573" y="917"/>
                    <a:pt x="1106" y="1147"/>
                  </a:cubicBezTo>
                  <a:lnTo>
                    <a:pt x="1106" y="1147"/>
                  </a:lnTo>
                  <a:cubicBezTo>
                    <a:pt x="1371" y="1263"/>
                    <a:pt x="1604" y="1291"/>
                    <a:pt x="1889" y="1128"/>
                  </a:cubicBezTo>
                </a:path>
              </a:pathLst>
            </a:custGeom>
            <a:solidFill>
              <a:schemeClr val="bg1"/>
            </a:solidFill>
            <a:ln>
              <a:noFill/>
            </a:ln>
            <a:effectLst/>
          </p:spPr>
          <p:txBody>
            <a:bodyPr wrap="none" anchor="ctr"/>
            <a:lstStyle/>
            <a:p>
              <a:endParaRPr lang="en-US" sz="3266" dirty="0">
                <a:latin typeface="Lato Light" panose="020F0502020204030203" pitchFamily="34" charset="0"/>
              </a:endParaRPr>
            </a:p>
          </p:txBody>
        </p:sp>
        <p:sp>
          <p:nvSpPr>
            <p:cNvPr id="74" name="Freeform 152">
              <a:extLst>
                <a:ext uri="{FF2B5EF4-FFF2-40B4-BE49-F238E27FC236}">
                  <a16:creationId xmlns:a16="http://schemas.microsoft.com/office/drawing/2014/main" id="{6844339E-6DD4-B64F-9FEF-ADB42E1032D4}"/>
                </a:ext>
              </a:extLst>
            </p:cNvPr>
            <p:cNvSpPr>
              <a:spLocks noChangeArrowheads="1"/>
            </p:cNvSpPr>
            <p:nvPr/>
          </p:nvSpPr>
          <p:spPr bwMode="auto">
            <a:xfrm>
              <a:off x="11935361" y="10648480"/>
              <a:ext cx="1270212" cy="1002345"/>
            </a:xfrm>
            <a:custGeom>
              <a:avLst/>
              <a:gdLst>
                <a:gd name="T0" fmla="*/ 1899 w 1946"/>
                <a:gd name="T1" fmla="*/ 1203 h 1533"/>
                <a:gd name="T2" fmla="*/ 1899 w 1946"/>
                <a:gd name="T3" fmla="*/ 1203 h 1533"/>
                <a:gd name="T4" fmla="*/ 1760 w 1946"/>
                <a:gd name="T5" fmla="*/ 539 h 1533"/>
                <a:gd name="T6" fmla="*/ 1760 w 1946"/>
                <a:gd name="T7" fmla="*/ 539 h 1533"/>
                <a:gd name="T8" fmla="*/ 1327 w 1946"/>
                <a:gd name="T9" fmla="*/ 433 h 1533"/>
                <a:gd name="T10" fmla="*/ 1327 w 1946"/>
                <a:gd name="T11" fmla="*/ 433 h 1533"/>
                <a:gd name="T12" fmla="*/ 128 w 1946"/>
                <a:gd name="T13" fmla="*/ 258 h 1533"/>
                <a:gd name="T14" fmla="*/ 128 w 1946"/>
                <a:gd name="T15" fmla="*/ 258 h 1533"/>
                <a:gd name="T16" fmla="*/ 76 w 1946"/>
                <a:gd name="T17" fmla="*/ 688 h 1533"/>
                <a:gd name="T18" fmla="*/ 76 w 1946"/>
                <a:gd name="T19" fmla="*/ 688 h 1533"/>
                <a:gd name="T20" fmla="*/ 1230 w 1946"/>
                <a:gd name="T21" fmla="*/ 1442 h 1533"/>
                <a:gd name="T22" fmla="*/ 1230 w 1946"/>
                <a:gd name="T23" fmla="*/ 1442 h 1533"/>
                <a:gd name="T24" fmla="*/ 1899 w 1946"/>
                <a:gd name="T25" fmla="*/ 1203 h 1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46" h="1533">
                  <a:moveTo>
                    <a:pt x="1899" y="1203"/>
                  </a:moveTo>
                  <a:lnTo>
                    <a:pt x="1899" y="1203"/>
                  </a:lnTo>
                  <a:cubicBezTo>
                    <a:pt x="1888" y="1156"/>
                    <a:pt x="1928" y="679"/>
                    <a:pt x="1760" y="539"/>
                  </a:cubicBezTo>
                  <a:lnTo>
                    <a:pt x="1760" y="539"/>
                  </a:lnTo>
                  <a:cubicBezTo>
                    <a:pt x="1666" y="462"/>
                    <a:pt x="1468" y="443"/>
                    <a:pt x="1327" y="433"/>
                  </a:cubicBezTo>
                  <a:lnTo>
                    <a:pt x="1327" y="433"/>
                  </a:lnTo>
                  <a:cubicBezTo>
                    <a:pt x="1028" y="413"/>
                    <a:pt x="364" y="0"/>
                    <a:pt x="128" y="258"/>
                  </a:cubicBezTo>
                  <a:lnTo>
                    <a:pt x="128" y="258"/>
                  </a:lnTo>
                  <a:cubicBezTo>
                    <a:pt x="0" y="399"/>
                    <a:pt x="51" y="640"/>
                    <a:pt x="76" y="688"/>
                  </a:cubicBezTo>
                  <a:lnTo>
                    <a:pt x="76" y="688"/>
                  </a:lnTo>
                  <a:cubicBezTo>
                    <a:pt x="189" y="904"/>
                    <a:pt x="1015" y="1382"/>
                    <a:pt x="1230" y="1442"/>
                  </a:cubicBezTo>
                  <a:lnTo>
                    <a:pt x="1230" y="1442"/>
                  </a:lnTo>
                  <a:cubicBezTo>
                    <a:pt x="1558" y="1532"/>
                    <a:pt x="1945" y="1414"/>
                    <a:pt x="1899" y="1203"/>
                  </a:cubicBezTo>
                </a:path>
              </a:pathLst>
            </a:custGeom>
            <a:solidFill>
              <a:schemeClr val="accent5">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75" name="Freeform 153">
              <a:extLst>
                <a:ext uri="{FF2B5EF4-FFF2-40B4-BE49-F238E27FC236}">
                  <a16:creationId xmlns:a16="http://schemas.microsoft.com/office/drawing/2014/main" id="{D2918851-820A-D043-A057-C04CB053C75F}"/>
                </a:ext>
              </a:extLst>
            </p:cNvPr>
            <p:cNvSpPr>
              <a:spLocks noChangeArrowheads="1"/>
            </p:cNvSpPr>
            <p:nvPr/>
          </p:nvSpPr>
          <p:spPr bwMode="auto">
            <a:xfrm>
              <a:off x="13222855" y="11348393"/>
              <a:ext cx="336996" cy="489651"/>
            </a:xfrm>
            <a:custGeom>
              <a:avLst/>
              <a:gdLst>
                <a:gd name="T0" fmla="*/ 258 w 517"/>
                <a:gd name="T1" fmla="*/ 83 h 748"/>
                <a:gd name="T2" fmla="*/ 258 w 517"/>
                <a:gd name="T3" fmla="*/ 83 h 748"/>
                <a:gd name="T4" fmla="*/ 0 w 517"/>
                <a:gd name="T5" fmla="*/ 225 h 748"/>
                <a:gd name="T6" fmla="*/ 0 w 517"/>
                <a:gd name="T7" fmla="*/ 225 h 748"/>
                <a:gd name="T8" fmla="*/ 258 w 517"/>
                <a:gd name="T9" fmla="*/ 665 h 748"/>
                <a:gd name="T10" fmla="*/ 258 w 517"/>
                <a:gd name="T11" fmla="*/ 665 h 748"/>
                <a:gd name="T12" fmla="*/ 516 w 517"/>
                <a:gd name="T13" fmla="*/ 523 h 748"/>
                <a:gd name="T14" fmla="*/ 516 w 517"/>
                <a:gd name="T15" fmla="*/ 523 h 748"/>
                <a:gd name="T16" fmla="*/ 258 w 517"/>
                <a:gd name="T17" fmla="*/ 8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7" h="748">
                  <a:moveTo>
                    <a:pt x="258" y="83"/>
                  </a:moveTo>
                  <a:lnTo>
                    <a:pt x="258" y="83"/>
                  </a:lnTo>
                  <a:cubicBezTo>
                    <a:pt x="116" y="0"/>
                    <a:pt x="0" y="65"/>
                    <a:pt x="0" y="225"/>
                  </a:cubicBezTo>
                  <a:lnTo>
                    <a:pt x="0" y="225"/>
                  </a:lnTo>
                  <a:cubicBezTo>
                    <a:pt x="0" y="386"/>
                    <a:pt x="116" y="583"/>
                    <a:pt x="258" y="665"/>
                  </a:cubicBezTo>
                  <a:lnTo>
                    <a:pt x="258" y="665"/>
                  </a:lnTo>
                  <a:cubicBezTo>
                    <a:pt x="400" y="747"/>
                    <a:pt x="516" y="684"/>
                    <a:pt x="516" y="523"/>
                  </a:cubicBezTo>
                  <a:lnTo>
                    <a:pt x="516" y="523"/>
                  </a:lnTo>
                  <a:cubicBezTo>
                    <a:pt x="516" y="362"/>
                    <a:pt x="400" y="165"/>
                    <a:pt x="258" y="83"/>
                  </a:cubicBezTo>
                </a:path>
              </a:pathLst>
            </a:custGeom>
            <a:solidFill>
              <a:schemeClr val="tx2">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76" name="Freeform 154">
              <a:extLst>
                <a:ext uri="{FF2B5EF4-FFF2-40B4-BE49-F238E27FC236}">
                  <a16:creationId xmlns:a16="http://schemas.microsoft.com/office/drawing/2014/main" id="{CC03E0C3-2385-334E-B2B3-4B1166B2712F}"/>
                </a:ext>
              </a:extLst>
            </p:cNvPr>
            <p:cNvSpPr>
              <a:spLocks noChangeArrowheads="1"/>
            </p:cNvSpPr>
            <p:nvPr/>
          </p:nvSpPr>
          <p:spPr bwMode="auto">
            <a:xfrm>
              <a:off x="13116284" y="11380076"/>
              <a:ext cx="414764" cy="492531"/>
            </a:xfrm>
            <a:custGeom>
              <a:avLst/>
              <a:gdLst>
                <a:gd name="T0" fmla="*/ 376 w 635"/>
                <a:gd name="T1" fmla="*/ 755 h 756"/>
                <a:gd name="T2" fmla="*/ 376 w 635"/>
                <a:gd name="T3" fmla="*/ 755 h 756"/>
                <a:gd name="T4" fmla="*/ 634 w 635"/>
                <a:gd name="T5" fmla="*/ 610 h 756"/>
                <a:gd name="T6" fmla="*/ 268 w 635"/>
                <a:gd name="T7" fmla="*/ 0 h 756"/>
                <a:gd name="T8" fmla="*/ 268 w 635"/>
                <a:gd name="T9" fmla="*/ 0 h 756"/>
                <a:gd name="T10" fmla="*/ 0 w 635"/>
                <a:gd name="T11" fmla="*/ 180 h 756"/>
                <a:gd name="T12" fmla="*/ 376 w 635"/>
                <a:gd name="T13" fmla="*/ 755 h 756"/>
              </a:gdLst>
              <a:ahLst/>
              <a:cxnLst>
                <a:cxn ang="0">
                  <a:pos x="T0" y="T1"/>
                </a:cxn>
                <a:cxn ang="0">
                  <a:pos x="T2" y="T3"/>
                </a:cxn>
                <a:cxn ang="0">
                  <a:pos x="T4" y="T5"/>
                </a:cxn>
                <a:cxn ang="0">
                  <a:pos x="T6" y="T7"/>
                </a:cxn>
                <a:cxn ang="0">
                  <a:pos x="T8" y="T9"/>
                </a:cxn>
                <a:cxn ang="0">
                  <a:pos x="T10" y="T11"/>
                </a:cxn>
                <a:cxn ang="0">
                  <a:pos x="T12" y="T13"/>
                </a:cxn>
              </a:cxnLst>
              <a:rect l="0" t="0" r="r" b="b"/>
              <a:pathLst>
                <a:path w="635" h="756">
                  <a:moveTo>
                    <a:pt x="376" y="755"/>
                  </a:moveTo>
                  <a:lnTo>
                    <a:pt x="376" y="755"/>
                  </a:lnTo>
                  <a:cubicBezTo>
                    <a:pt x="526" y="739"/>
                    <a:pt x="604" y="674"/>
                    <a:pt x="634" y="610"/>
                  </a:cubicBezTo>
                  <a:lnTo>
                    <a:pt x="268" y="0"/>
                  </a:lnTo>
                  <a:lnTo>
                    <a:pt x="268" y="0"/>
                  </a:lnTo>
                  <a:cubicBezTo>
                    <a:pt x="187" y="20"/>
                    <a:pt x="40" y="89"/>
                    <a:pt x="0" y="180"/>
                  </a:cubicBezTo>
                  <a:lnTo>
                    <a:pt x="376" y="755"/>
                  </a:lnTo>
                </a:path>
              </a:pathLst>
            </a:custGeom>
            <a:solidFill>
              <a:schemeClr val="tx2">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77" name="Freeform 155">
              <a:extLst>
                <a:ext uri="{FF2B5EF4-FFF2-40B4-BE49-F238E27FC236}">
                  <a16:creationId xmlns:a16="http://schemas.microsoft.com/office/drawing/2014/main" id="{E1747360-1522-114B-B613-A7B6C4BD31E4}"/>
                </a:ext>
              </a:extLst>
            </p:cNvPr>
            <p:cNvSpPr>
              <a:spLocks noChangeArrowheads="1"/>
            </p:cNvSpPr>
            <p:nvPr/>
          </p:nvSpPr>
          <p:spPr bwMode="auto">
            <a:xfrm>
              <a:off x="13104764" y="11417521"/>
              <a:ext cx="336994" cy="489651"/>
            </a:xfrm>
            <a:custGeom>
              <a:avLst/>
              <a:gdLst>
                <a:gd name="T0" fmla="*/ 258 w 517"/>
                <a:gd name="T1" fmla="*/ 82 h 748"/>
                <a:gd name="T2" fmla="*/ 258 w 517"/>
                <a:gd name="T3" fmla="*/ 82 h 748"/>
                <a:gd name="T4" fmla="*/ 0 w 517"/>
                <a:gd name="T5" fmla="*/ 224 h 748"/>
                <a:gd name="T6" fmla="*/ 0 w 517"/>
                <a:gd name="T7" fmla="*/ 224 h 748"/>
                <a:gd name="T8" fmla="*/ 258 w 517"/>
                <a:gd name="T9" fmla="*/ 665 h 748"/>
                <a:gd name="T10" fmla="*/ 258 w 517"/>
                <a:gd name="T11" fmla="*/ 665 h 748"/>
                <a:gd name="T12" fmla="*/ 516 w 517"/>
                <a:gd name="T13" fmla="*/ 522 h 748"/>
                <a:gd name="T14" fmla="*/ 516 w 517"/>
                <a:gd name="T15" fmla="*/ 522 h 748"/>
                <a:gd name="T16" fmla="*/ 258 w 517"/>
                <a:gd name="T17" fmla="*/ 82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7" h="748">
                  <a:moveTo>
                    <a:pt x="258" y="82"/>
                  </a:moveTo>
                  <a:lnTo>
                    <a:pt x="258" y="82"/>
                  </a:lnTo>
                  <a:cubicBezTo>
                    <a:pt x="116" y="0"/>
                    <a:pt x="0" y="64"/>
                    <a:pt x="0" y="224"/>
                  </a:cubicBezTo>
                  <a:lnTo>
                    <a:pt x="0" y="224"/>
                  </a:lnTo>
                  <a:cubicBezTo>
                    <a:pt x="0" y="385"/>
                    <a:pt x="116" y="582"/>
                    <a:pt x="258" y="665"/>
                  </a:cubicBezTo>
                  <a:lnTo>
                    <a:pt x="258" y="665"/>
                  </a:lnTo>
                  <a:cubicBezTo>
                    <a:pt x="400" y="747"/>
                    <a:pt x="516" y="683"/>
                    <a:pt x="516" y="522"/>
                  </a:cubicBezTo>
                  <a:lnTo>
                    <a:pt x="516" y="522"/>
                  </a:lnTo>
                  <a:cubicBezTo>
                    <a:pt x="516" y="361"/>
                    <a:pt x="400" y="164"/>
                    <a:pt x="258" y="82"/>
                  </a:cubicBezTo>
                </a:path>
              </a:pathLst>
            </a:custGeom>
            <a:solidFill>
              <a:schemeClr val="tx2">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78" name="Freeform 157">
              <a:extLst>
                <a:ext uri="{FF2B5EF4-FFF2-40B4-BE49-F238E27FC236}">
                  <a16:creationId xmlns:a16="http://schemas.microsoft.com/office/drawing/2014/main" id="{7D0AEDD2-55C4-984B-8A07-3566A48A2866}"/>
                </a:ext>
              </a:extLst>
            </p:cNvPr>
            <p:cNvSpPr>
              <a:spLocks noChangeArrowheads="1"/>
            </p:cNvSpPr>
            <p:nvPr/>
          </p:nvSpPr>
          <p:spPr bwMode="auto">
            <a:xfrm>
              <a:off x="15014403" y="11322472"/>
              <a:ext cx="336996" cy="489651"/>
            </a:xfrm>
            <a:custGeom>
              <a:avLst/>
              <a:gdLst>
                <a:gd name="T0" fmla="*/ 258 w 517"/>
                <a:gd name="T1" fmla="*/ 83 h 748"/>
                <a:gd name="T2" fmla="*/ 258 w 517"/>
                <a:gd name="T3" fmla="*/ 83 h 748"/>
                <a:gd name="T4" fmla="*/ 516 w 517"/>
                <a:gd name="T5" fmla="*/ 225 h 748"/>
                <a:gd name="T6" fmla="*/ 516 w 517"/>
                <a:gd name="T7" fmla="*/ 225 h 748"/>
                <a:gd name="T8" fmla="*/ 258 w 517"/>
                <a:gd name="T9" fmla="*/ 665 h 748"/>
                <a:gd name="T10" fmla="*/ 258 w 517"/>
                <a:gd name="T11" fmla="*/ 665 h 748"/>
                <a:gd name="T12" fmla="*/ 0 w 517"/>
                <a:gd name="T13" fmla="*/ 523 h 748"/>
                <a:gd name="T14" fmla="*/ 0 w 517"/>
                <a:gd name="T15" fmla="*/ 523 h 748"/>
                <a:gd name="T16" fmla="*/ 258 w 517"/>
                <a:gd name="T17" fmla="*/ 8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7" h="748">
                  <a:moveTo>
                    <a:pt x="258" y="83"/>
                  </a:moveTo>
                  <a:lnTo>
                    <a:pt x="258" y="83"/>
                  </a:lnTo>
                  <a:cubicBezTo>
                    <a:pt x="400" y="0"/>
                    <a:pt x="516" y="64"/>
                    <a:pt x="516" y="225"/>
                  </a:cubicBezTo>
                  <a:lnTo>
                    <a:pt x="516" y="225"/>
                  </a:lnTo>
                  <a:cubicBezTo>
                    <a:pt x="516" y="386"/>
                    <a:pt x="400" y="583"/>
                    <a:pt x="258" y="665"/>
                  </a:cubicBezTo>
                  <a:lnTo>
                    <a:pt x="258" y="665"/>
                  </a:lnTo>
                  <a:cubicBezTo>
                    <a:pt x="115" y="747"/>
                    <a:pt x="0" y="684"/>
                    <a:pt x="0" y="523"/>
                  </a:cubicBezTo>
                  <a:lnTo>
                    <a:pt x="0" y="523"/>
                  </a:lnTo>
                  <a:cubicBezTo>
                    <a:pt x="0" y="362"/>
                    <a:pt x="115" y="165"/>
                    <a:pt x="258" y="83"/>
                  </a:cubicBezTo>
                </a:path>
              </a:pathLst>
            </a:custGeom>
            <a:solidFill>
              <a:schemeClr val="tx2">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79" name="Freeform 158">
              <a:extLst>
                <a:ext uri="{FF2B5EF4-FFF2-40B4-BE49-F238E27FC236}">
                  <a16:creationId xmlns:a16="http://schemas.microsoft.com/office/drawing/2014/main" id="{69B0FE4A-0943-B041-BA81-6DD04955A0B7}"/>
                </a:ext>
              </a:extLst>
            </p:cNvPr>
            <p:cNvSpPr>
              <a:spLocks noChangeArrowheads="1"/>
            </p:cNvSpPr>
            <p:nvPr/>
          </p:nvSpPr>
          <p:spPr bwMode="auto">
            <a:xfrm>
              <a:off x="15043205" y="11354154"/>
              <a:ext cx="414764" cy="492533"/>
            </a:xfrm>
            <a:custGeom>
              <a:avLst/>
              <a:gdLst>
                <a:gd name="T0" fmla="*/ 258 w 635"/>
                <a:gd name="T1" fmla="*/ 754 h 755"/>
                <a:gd name="T2" fmla="*/ 258 w 635"/>
                <a:gd name="T3" fmla="*/ 754 h 755"/>
                <a:gd name="T4" fmla="*/ 0 w 635"/>
                <a:gd name="T5" fmla="*/ 610 h 755"/>
                <a:gd name="T6" fmla="*/ 366 w 635"/>
                <a:gd name="T7" fmla="*/ 0 h 755"/>
                <a:gd name="T8" fmla="*/ 366 w 635"/>
                <a:gd name="T9" fmla="*/ 0 h 755"/>
                <a:gd name="T10" fmla="*/ 634 w 635"/>
                <a:gd name="T11" fmla="*/ 180 h 755"/>
                <a:gd name="T12" fmla="*/ 258 w 635"/>
                <a:gd name="T13" fmla="*/ 754 h 755"/>
              </a:gdLst>
              <a:ahLst/>
              <a:cxnLst>
                <a:cxn ang="0">
                  <a:pos x="T0" y="T1"/>
                </a:cxn>
                <a:cxn ang="0">
                  <a:pos x="T2" y="T3"/>
                </a:cxn>
                <a:cxn ang="0">
                  <a:pos x="T4" y="T5"/>
                </a:cxn>
                <a:cxn ang="0">
                  <a:pos x="T6" y="T7"/>
                </a:cxn>
                <a:cxn ang="0">
                  <a:pos x="T8" y="T9"/>
                </a:cxn>
                <a:cxn ang="0">
                  <a:pos x="T10" y="T11"/>
                </a:cxn>
                <a:cxn ang="0">
                  <a:pos x="T12" y="T13"/>
                </a:cxn>
              </a:cxnLst>
              <a:rect l="0" t="0" r="r" b="b"/>
              <a:pathLst>
                <a:path w="635" h="755">
                  <a:moveTo>
                    <a:pt x="258" y="754"/>
                  </a:moveTo>
                  <a:lnTo>
                    <a:pt x="258" y="754"/>
                  </a:lnTo>
                  <a:cubicBezTo>
                    <a:pt x="109" y="738"/>
                    <a:pt x="30" y="674"/>
                    <a:pt x="0" y="610"/>
                  </a:cubicBezTo>
                  <a:lnTo>
                    <a:pt x="366" y="0"/>
                  </a:lnTo>
                  <a:lnTo>
                    <a:pt x="366" y="0"/>
                  </a:lnTo>
                  <a:cubicBezTo>
                    <a:pt x="447" y="20"/>
                    <a:pt x="594" y="89"/>
                    <a:pt x="634" y="180"/>
                  </a:cubicBezTo>
                  <a:lnTo>
                    <a:pt x="258" y="754"/>
                  </a:lnTo>
                </a:path>
              </a:pathLst>
            </a:custGeom>
            <a:solidFill>
              <a:schemeClr val="tx2">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80" name="Freeform 159">
              <a:extLst>
                <a:ext uri="{FF2B5EF4-FFF2-40B4-BE49-F238E27FC236}">
                  <a16:creationId xmlns:a16="http://schemas.microsoft.com/office/drawing/2014/main" id="{5424D7A8-A3D6-564E-918C-C3C77EF173E1}"/>
                </a:ext>
              </a:extLst>
            </p:cNvPr>
            <p:cNvSpPr>
              <a:spLocks noChangeArrowheads="1"/>
            </p:cNvSpPr>
            <p:nvPr/>
          </p:nvSpPr>
          <p:spPr bwMode="auto">
            <a:xfrm>
              <a:off x="15135375" y="11391599"/>
              <a:ext cx="336996" cy="486770"/>
            </a:xfrm>
            <a:custGeom>
              <a:avLst/>
              <a:gdLst>
                <a:gd name="T0" fmla="*/ 258 w 517"/>
                <a:gd name="T1" fmla="*/ 82 h 747"/>
                <a:gd name="T2" fmla="*/ 258 w 517"/>
                <a:gd name="T3" fmla="*/ 82 h 747"/>
                <a:gd name="T4" fmla="*/ 516 w 517"/>
                <a:gd name="T5" fmla="*/ 224 h 747"/>
                <a:gd name="T6" fmla="*/ 516 w 517"/>
                <a:gd name="T7" fmla="*/ 224 h 747"/>
                <a:gd name="T8" fmla="*/ 258 w 517"/>
                <a:gd name="T9" fmla="*/ 664 h 747"/>
                <a:gd name="T10" fmla="*/ 258 w 517"/>
                <a:gd name="T11" fmla="*/ 664 h 747"/>
                <a:gd name="T12" fmla="*/ 0 w 517"/>
                <a:gd name="T13" fmla="*/ 522 h 747"/>
                <a:gd name="T14" fmla="*/ 0 w 517"/>
                <a:gd name="T15" fmla="*/ 522 h 747"/>
                <a:gd name="T16" fmla="*/ 258 w 517"/>
                <a:gd name="T17" fmla="*/ 82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7" h="747">
                  <a:moveTo>
                    <a:pt x="258" y="82"/>
                  </a:moveTo>
                  <a:lnTo>
                    <a:pt x="258" y="82"/>
                  </a:lnTo>
                  <a:cubicBezTo>
                    <a:pt x="400" y="0"/>
                    <a:pt x="516" y="63"/>
                    <a:pt x="516" y="224"/>
                  </a:cubicBezTo>
                  <a:lnTo>
                    <a:pt x="516" y="224"/>
                  </a:lnTo>
                  <a:cubicBezTo>
                    <a:pt x="516" y="385"/>
                    <a:pt x="400" y="582"/>
                    <a:pt x="258" y="664"/>
                  </a:cubicBezTo>
                  <a:lnTo>
                    <a:pt x="258" y="664"/>
                  </a:lnTo>
                  <a:cubicBezTo>
                    <a:pt x="116" y="746"/>
                    <a:pt x="0" y="683"/>
                    <a:pt x="0" y="522"/>
                  </a:cubicBezTo>
                  <a:lnTo>
                    <a:pt x="0" y="522"/>
                  </a:lnTo>
                  <a:cubicBezTo>
                    <a:pt x="0" y="361"/>
                    <a:pt x="116" y="164"/>
                    <a:pt x="258" y="82"/>
                  </a:cubicBezTo>
                </a:path>
              </a:pathLst>
            </a:custGeom>
            <a:solidFill>
              <a:schemeClr val="tx2">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81" name="Freeform 161">
              <a:extLst>
                <a:ext uri="{FF2B5EF4-FFF2-40B4-BE49-F238E27FC236}">
                  <a16:creationId xmlns:a16="http://schemas.microsoft.com/office/drawing/2014/main" id="{C2243845-A7CB-AA4E-A66C-D7D1440C4925}"/>
                </a:ext>
              </a:extLst>
            </p:cNvPr>
            <p:cNvSpPr>
              <a:spLocks noChangeArrowheads="1"/>
            </p:cNvSpPr>
            <p:nvPr/>
          </p:nvSpPr>
          <p:spPr bwMode="auto">
            <a:xfrm>
              <a:off x="12903143" y="12491874"/>
              <a:ext cx="336994" cy="489651"/>
            </a:xfrm>
            <a:custGeom>
              <a:avLst/>
              <a:gdLst>
                <a:gd name="T0" fmla="*/ 258 w 517"/>
                <a:gd name="T1" fmla="*/ 83 h 748"/>
                <a:gd name="T2" fmla="*/ 258 w 517"/>
                <a:gd name="T3" fmla="*/ 83 h 748"/>
                <a:gd name="T4" fmla="*/ 516 w 517"/>
                <a:gd name="T5" fmla="*/ 225 h 748"/>
                <a:gd name="T6" fmla="*/ 516 w 517"/>
                <a:gd name="T7" fmla="*/ 225 h 748"/>
                <a:gd name="T8" fmla="*/ 258 w 517"/>
                <a:gd name="T9" fmla="*/ 666 h 748"/>
                <a:gd name="T10" fmla="*/ 258 w 517"/>
                <a:gd name="T11" fmla="*/ 666 h 748"/>
                <a:gd name="T12" fmla="*/ 0 w 517"/>
                <a:gd name="T13" fmla="*/ 523 h 748"/>
                <a:gd name="T14" fmla="*/ 0 w 517"/>
                <a:gd name="T15" fmla="*/ 523 h 748"/>
                <a:gd name="T16" fmla="*/ 258 w 517"/>
                <a:gd name="T17" fmla="*/ 8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7" h="748">
                  <a:moveTo>
                    <a:pt x="258" y="83"/>
                  </a:moveTo>
                  <a:lnTo>
                    <a:pt x="258" y="83"/>
                  </a:lnTo>
                  <a:cubicBezTo>
                    <a:pt x="401" y="0"/>
                    <a:pt x="516" y="65"/>
                    <a:pt x="516" y="225"/>
                  </a:cubicBezTo>
                  <a:lnTo>
                    <a:pt x="516" y="225"/>
                  </a:lnTo>
                  <a:cubicBezTo>
                    <a:pt x="516" y="386"/>
                    <a:pt x="401" y="583"/>
                    <a:pt x="258" y="666"/>
                  </a:cubicBezTo>
                  <a:lnTo>
                    <a:pt x="258" y="666"/>
                  </a:lnTo>
                  <a:cubicBezTo>
                    <a:pt x="115" y="747"/>
                    <a:pt x="0" y="684"/>
                    <a:pt x="0" y="523"/>
                  </a:cubicBezTo>
                  <a:lnTo>
                    <a:pt x="0" y="523"/>
                  </a:lnTo>
                  <a:cubicBezTo>
                    <a:pt x="0" y="362"/>
                    <a:pt x="115" y="165"/>
                    <a:pt x="258" y="83"/>
                  </a:cubicBezTo>
                </a:path>
              </a:pathLst>
            </a:custGeom>
            <a:solidFill>
              <a:schemeClr val="tx2">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82" name="Freeform 162">
              <a:extLst>
                <a:ext uri="{FF2B5EF4-FFF2-40B4-BE49-F238E27FC236}">
                  <a16:creationId xmlns:a16="http://schemas.microsoft.com/office/drawing/2014/main" id="{C8F9C97A-D0D8-FD47-BDC6-E8FB63C42352}"/>
                </a:ext>
              </a:extLst>
            </p:cNvPr>
            <p:cNvSpPr>
              <a:spLocks noChangeArrowheads="1"/>
            </p:cNvSpPr>
            <p:nvPr/>
          </p:nvSpPr>
          <p:spPr bwMode="auto">
            <a:xfrm>
              <a:off x="12931945" y="12523556"/>
              <a:ext cx="414764" cy="492533"/>
            </a:xfrm>
            <a:custGeom>
              <a:avLst/>
              <a:gdLst>
                <a:gd name="T0" fmla="*/ 258 w 634"/>
                <a:gd name="T1" fmla="*/ 754 h 755"/>
                <a:gd name="T2" fmla="*/ 258 w 634"/>
                <a:gd name="T3" fmla="*/ 754 h 755"/>
                <a:gd name="T4" fmla="*/ 0 w 634"/>
                <a:gd name="T5" fmla="*/ 610 h 755"/>
                <a:gd name="T6" fmla="*/ 365 w 634"/>
                <a:gd name="T7" fmla="*/ 0 h 755"/>
                <a:gd name="T8" fmla="*/ 365 w 634"/>
                <a:gd name="T9" fmla="*/ 0 h 755"/>
                <a:gd name="T10" fmla="*/ 633 w 634"/>
                <a:gd name="T11" fmla="*/ 180 h 755"/>
                <a:gd name="T12" fmla="*/ 258 w 634"/>
                <a:gd name="T13" fmla="*/ 754 h 755"/>
              </a:gdLst>
              <a:ahLst/>
              <a:cxnLst>
                <a:cxn ang="0">
                  <a:pos x="T0" y="T1"/>
                </a:cxn>
                <a:cxn ang="0">
                  <a:pos x="T2" y="T3"/>
                </a:cxn>
                <a:cxn ang="0">
                  <a:pos x="T4" y="T5"/>
                </a:cxn>
                <a:cxn ang="0">
                  <a:pos x="T6" y="T7"/>
                </a:cxn>
                <a:cxn ang="0">
                  <a:pos x="T8" y="T9"/>
                </a:cxn>
                <a:cxn ang="0">
                  <a:pos x="T10" y="T11"/>
                </a:cxn>
                <a:cxn ang="0">
                  <a:pos x="T12" y="T13"/>
                </a:cxn>
              </a:cxnLst>
              <a:rect l="0" t="0" r="r" b="b"/>
              <a:pathLst>
                <a:path w="634" h="755">
                  <a:moveTo>
                    <a:pt x="258" y="754"/>
                  </a:moveTo>
                  <a:lnTo>
                    <a:pt x="258" y="754"/>
                  </a:lnTo>
                  <a:cubicBezTo>
                    <a:pt x="108" y="738"/>
                    <a:pt x="30" y="674"/>
                    <a:pt x="0" y="610"/>
                  </a:cubicBezTo>
                  <a:lnTo>
                    <a:pt x="365" y="0"/>
                  </a:lnTo>
                  <a:lnTo>
                    <a:pt x="365" y="0"/>
                  </a:lnTo>
                  <a:cubicBezTo>
                    <a:pt x="446" y="20"/>
                    <a:pt x="593" y="89"/>
                    <a:pt x="633" y="180"/>
                  </a:cubicBezTo>
                  <a:lnTo>
                    <a:pt x="258" y="754"/>
                  </a:lnTo>
                </a:path>
              </a:pathLst>
            </a:custGeom>
            <a:solidFill>
              <a:schemeClr val="tx2">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83" name="Freeform 163">
              <a:extLst>
                <a:ext uri="{FF2B5EF4-FFF2-40B4-BE49-F238E27FC236}">
                  <a16:creationId xmlns:a16="http://schemas.microsoft.com/office/drawing/2014/main" id="{5329FE8C-3E2D-A747-AD42-4A1EC3A86019}"/>
                </a:ext>
              </a:extLst>
            </p:cNvPr>
            <p:cNvSpPr>
              <a:spLocks noChangeArrowheads="1"/>
            </p:cNvSpPr>
            <p:nvPr/>
          </p:nvSpPr>
          <p:spPr bwMode="auto">
            <a:xfrm>
              <a:off x="13021233" y="12561002"/>
              <a:ext cx="336996" cy="486770"/>
            </a:xfrm>
            <a:custGeom>
              <a:avLst/>
              <a:gdLst>
                <a:gd name="T0" fmla="*/ 258 w 517"/>
                <a:gd name="T1" fmla="*/ 82 h 747"/>
                <a:gd name="T2" fmla="*/ 258 w 517"/>
                <a:gd name="T3" fmla="*/ 82 h 747"/>
                <a:gd name="T4" fmla="*/ 516 w 517"/>
                <a:gd name="T5" fmla="*/ 224 h 747"/>
                <a:gd name="T6" fmla="*/ 516 w 517"/>
                <a:gd name="T7" fmla="*/ 224 h 747"/>
                <a:gd name="T8" fmla="*/ 258 w 517"/>
                <a:gd name="T9" fmla="*/ 664 h 747"/>
                <a:gd name="T10" fmla="*/ 258 w 517"/>
                <a:gd name="T11" fmla="*/ 664 h 747"/>
                <a:gd name="T12" fmla="*/ 0 w 517"/>
                <a:gd name="T13" fmla="*/ 522 h 747"/>
                <a:gd name="T14" fmla="*/ 0 w 517"/>
                <a:gd name="T15" fmla="*/ 522 h 747"/>
                <a:gd name="T16" fmla="*/ 258 w 517"/>
                <a:gd name="T17" fmla="*/ 82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7" h="747">
                  <a:moveTo>
                    <a:pt x="258" y="82"/>
                  </a:moveTo>
                  <a:lnTo>
                    <a:pt x="258" y="82"/>
                  </a:lnTo>
                  <a:cubicBezTo>
                    <a:pt x="401" y="0"/>
                    <a:pt x="516" y="63"/>
                    <a:pt x="516" y="224"/>
                  </a:cubicBezTo>
                  <a:lnTo>
                    <a:pt x="516" y="224"/>
                  </a:lnTo>
                  <a:cubicBezTo>
                    <a:pt x="516" y="385"/>
                    <a:pt x="401" y="582"/>
                    <a:pt x="258" y="664"/>
                  </a:cubicBezTo>
                  <a:lnTo>
                    <a:pt x="258" y="664"/>
                  </a:lnTo>
                  <a:cubicBezTo>
                    <a:pt x="116" y="746"/>
                    <a:pt x="0" y="683"/>
                    <a:pt x="0" y="522"/>
                  </a:cubicBezTo>
                  <a:lnTo>
                    <a:pt x="0" y="522"/>
                  </a:lnTo>
                  <a:cubicBezTo>
                    <a:pt x="0" y="361"/>
                    <a:pt x="116" y="164"/>
                    <a:pt x="258" y="82"/>
                  </a:cubicBezTo>
                </a:path>
              </a:pathLst>
            </a:custGeom>
            <a:solidFill>
              <a:schemeClr val="tx2">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84" name="Freeform 165">
              <a:extLst>
                <a:ext uri="{FF2B5EF4-FFF2-40B4-BE49-F238E27FC236}">
                  <a16:creationId xmlns:a16="http://schemas.microsoft.com/office/drawing/2014/main" id="{ADB39EDA-EB12-9B46-BC84-2DAEB58E5146}"/>
                </a:ext>
              </a:extLst>
            </p:cNvPr>
            <p:cNvSpPr>
              <a:spLocks noChangeArrowheads="1"/>
            </p:cNvSpPr>
            <p:nvPr/>
          </p:nvSpPr>
          <p:spPr bwMode="auto">
            <a:xfrm>
              <a:off x="15198742" y="12353620"/>
              <a:ext cx="336996" cy="489651"/>
            </a:xfrm>
            <a:custGeom>
              <a:avLst/>
              <a:gdLst>
                <a:gd name="T0" fmla="*/ 258 w 517"/>
                <a:gd name="T1" fmla="*/ 83 h 748"/>
                <a:gd name="T2" fmla="*/ 258 w 517"/>
                <a:gd name="T3" fmla="*/ 83 h 748"/>
                <a:gd name="T4" fmla="*/ 0 w 517"/>
                <a:gd name="T5" fmla="*/ 225 h 748"/>
                <a:gd name="T6" fmla="*/ 0 w 517"/>
                <a:gd name="T7" fmla="*/ 225 h 748"/>
                <a:gd name="T8" fmla="*/ 258 w 517"/>
                <a:gd name="T9" fmla="*/ 665 h 748"/>
                <a:gd name="T10" fmla="*/ 258 w 517"/>
                <a:gd name="T11" fmla="*/ 665 h 748"/>
                <a:gd name="T12" fmla="*/ 516 w 517"/>
                <a:gd name="T13" fmla="*/ 523 h 748"/>
                <a:gd name="T14" fmla="*/ 516 w 517"/>
                <a:gd name="T15" fmla="*/ 523 h 748"/>
                <a:gd name="T16" fmla="*/ 258 w 517"/>
                <a:gd name="T17" fmla="*/ 8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7" h="748">
                  <a:moveTo>
                    <a:pt x="258" y="83"/>
                  </a:moveTo>
                  <a:lnTo>
                    <a:pt x="258" y="83"/>
                  </a:lnTo>
                  <a:cubicBezTo>
                    <a:pt x="115" y="0"/>
                    <a:pt x="0" y="65"/>
                    <a:pt x="0" y="225"/>
                  </a:cubicBezTo>
                  <a:lnTo>
                    <a:pt x="0" y="225"/>
                  </a:lnTo>
                  <a:cubicBezTo>
                    <a:pt x="0" y="386"/>
                    <a:pt x="115" y="583"/>
                    <a:pt x="258" y="665"/>
                  </a:cubicBezTo>
                  <a:lnTo>
                    <a:pt x="258" y="665"/>
                  </a:lnTo>
                  <a:cubicBezTo>
                    <a:pt x="401" y="747"/>
                    <a:pt x="516" y="684"/>
                    <a:pt x="516" y="523"/>
                  </a:cubicBezTo>
                  <a:lnTo>
                    <a:pt x="516" y="523"/>
                  </a:lnTo>
                  <a:cubicBezTo>
                    <a:pt x="516" y="362"/>
                    <a:pt x="401" y="165"/>
                    <a:pt x="258" y="83"/>
                  </a:cubicBezTo>
                </a:path>
              </a:pathLst>
            </a:custGeom>
            <a:solidFill>
              <a:schemeClr val="tx2">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85" name="Freeform 166">
              <a:extLst>
                <a:ext uri="{FF2B5EF4-FFF2-40B4-BE49-F238E27FC236}">
                  <a16:creationId xmlns:a16="http://schemas.microsoft.com/office/drawing/2014/main" id="{7FDD17E8-D878-6C44-BBC2-75282FF899F5}"/>
                </a:ext>
              </a:extLst>
            </p:cNvPr>
            <p:cNvSpPr>
              <a:spLocks noChangeArrowheads="1"/>
            </p:cNvSpPr>
            <p:nvPr/>
          </p:nvSpPr>
          <p:spPr bwMode="auto">
            <a:xfrm>
              <a:off x="15092171" y="12388182"/>
              <a:ext cx="414764" cy="492531"/>
            </a:xfrm>
            <a:custGeom>
              <a:avLst/>
              <a:gdLst>
                <a:gd name="T0" fmla="*/ 376 w 634"/>
                <a:gd name="T1" fmla="*/ 754 h 755"/>
                <a:gd name="T2" fmla="*/ 376 w 634"/>
                <a:gd name="T3" fmla="*/ 754 h 755"/>
                <a:gd name="T4" fmla="*/ 633 w 634"/>
                <a:gd name="T5" fmla="*/ 610 h 755"/>
                <a:gd name="T6" fmla="*/ 268 w 634"/>
                <a:gd name="T7" fmla="*/ 0 h 755"/>
                <a:gd name="T8" fmla="*/ 268 w 634"/>
                <a:gd name="T9" fmla="*/ 0 h 755"/>
                <a:gd name="T10" fmla="*/ 0 w 634"/>
                <a:gd name="T11" fmla="*/ 180 h 755"/>
                <a:gd name="T12" fmla="*/ 376 w 634"/>
                <a:gd name="T13" fmla="*/ 754 h 755"/>
              </a:gdLst>
              <a:ahLst/>
              <a:cxnLst>
                <a:cxn ang="0">
                  <a:pos x="T0" y="T1"/>
                </a:cxn>
                <a:cxn ang="0">
                  <a:pos x="T2" y="T3"/>
                </a:cxn>
                <a:cxn ang="0">
                  <a:pos x="T4" y="T5"/>
                </a:cxn>
                <a:cxn ang="0">
                  <a:pos x="T6" y="T7"/>
                </a:cxn>
                <a:cxn ang="0">
                  <a:pos x="T8" y="T9"/>
                </a:cxn>
                <a:cxn ang="0">
                  <a:pos x="T10" y="T11"/>
                </a:cxn>
                <a:cxn ang="0">
                  <a:pos x="T12" y="T13"/>
                </a:cxn>
              </a:cxnLst>
              <a:rect l="0" t="0" r="r" b="b"/>
              <a:pathLst>
                <a:path w="634" h="755">
                  <a:moveTo>
                    <a:pt x="376" y="754"/>
                  </a:moveTo>
                  <a:lnTo>
                    <a:pt x="376" y="754"/>
                  </a:lnTo>
                  <a:cubicBezTo>
                    <a:pt x="525" y="739"/>
                    <a:pt x="603" y="674"/>
                    <a:pt x="633" y="610"/>
                  </a:cubicBezTo>
                  <a:lnTo>
                    <a:pt x="268" y="0"/>
                  </a:lnTo>
                  <a:lnTo>
                    <a:pt x="268" y="0"/>
                  </a:lnTo>
                  <a:cubicBezTo>
                    <a:pt x="187" y="20"/>
                    <a:pt x="40" y="89"/>
                    <a:pt x="0" y="180"/>
                  </a:cubicBezTo>
                  <a:lnTo>
                    <a:pt x="376" y="754"/>
                  </a:lnTo>
                </a:path>
              </a:pathLst>
            </a:custGeom>
            <a:solidFill>
              <a:schemeClr val="tx2">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86" name="Freeform 167">
              <a:extLst>
                <a:ext uri="{FF2B5EF4-FFF2-40B4-BE49-F238E27FC236}">
                  <a16:creationId xmlns:a16="http://schemas.microsoft.com/office/drawing/2014/main" id="{194F8E1A-0DF2-8743-B3F3-A4756076A27D}"/>
                </a:ext>
              </a:extLst>
            </p:cNvPr>
            <p:cNvSpPr>
              <a:spLocks noChangeArrowheads="1"/>
            </p:cNvSpPr>
            <p:nvPr/>
          </p:nvSpPr>
          <p:spPr bwMode="auto">
            <a:xfrm>
              <a:off x="15077769" y="12422747"/>
              <a:ext cx="336996" cy="489651"/>
            </a:xfrm>
            <a:custGeom>
              <a:avLst/>
              <a:gdLst>
                <a:gd name="T0" fmla="*/ 259 w 518"/>
                <a:gd name="T1" fmla="*/ 82 h 748"/>
                <a:gd name="T2" fmla="*/ 259 w 518"/>
                <a:gd name="T3" fmla="*/ 82 h 748"/>
                <a:gd name="T4" fmla="*/ 0 w 518"/>
                <a:gd name="T5" fmla="*/ 224 h 748"/>
                <a:gd name="T6" fmla="*/ 0 w 518"/>
                <a:gd name="T7" fmla="*/ 224 h 748"/>
                <a:gd name="T8" fmla="*/ 259 w 518"/>
                <a:gd name="T9" fmla="*/ 665 h 748"/>
                <a:gd name="T10" fmla="*/ 259 w 518"/>
                <a:gd name="T11" fmla="*/ 665 h 748"/>
                <a:gd name="T12" fmla="*/ 517 w 518"/>
                <a:gd name="T13" fmla="*/ 522 h 748"/>
                <a:gd name="T14" fmla="*/ 517 w 518"/>
                <a:gd name="T15" fmla="*/ 522 h 748"/>
                <a:gd name="T16" fmla="*/ 259 w 518"/>
                <a:gd name="T17" fmla="*/ 82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8" h="748">
                  <a:moveTo>
                    <a:pt x="259" y="82"/>
                  </a:moveTo>
                  <a:lnTo>
                    <a:pt x="259" y="82"/>
                  </a:lnTo>
                  <a:cubicBezTo>
                    <a:pt x="116" y="0"/>
                    <a:pt x="0" y="64"/>
                    <a:pt x="0" y="224"/>
                  </a:cubicBezTo>
                  <a:lnTo>
                    <a:pt x="0" y="224"/>
                  </a:lnTo>
                  <a:cubicBezTo>
                    <a:pt x="0" y="385"/>
                    <a:pt x="116" y="582"/>
                    <a:pt x="259" y="665"/>
                  </a:cubicBezTo>
                  <a:lnTo>
                    <a:pt x="259" y="665"/>
                  </a:lnTo>
                  <a:cubicBezTo>
                    <a:pt x="401" y="747"/>
                    <a:pt x="517" y="683"/>
                    <a:pt x="517" y="522"/>
                  </a:cubicBezTo>
                  <a:lnTo>
                    <a:pt x="517" y="522"/>
                  </a:lnTo>
                  <a:cubicBezTo>
                    <a:pt x="517" y="361"/>
                    <a:pt x="401" y="164"/>
                    <a:pt x="259" y="82"/>
                  </a:cubicBezTo>
                </a:path>
              </a:pathLst>
            </a:custGeom>
            <a:solidFill>
              <a:schemeClr val="tx2">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87" name="Freeform 86">
              <a:extLst>
                <a:ext uri="{FF2B5EF4-FFF2-40B4-BE49-F238E27FC236}">
                  <a16:creationId xmlns:a16="http://schemas.microsoft.com/office/drawing/2014/main" id="{CDA73B66-B479-3B42-9D18-7BA0F2399E43}"/>
                </a:ext>
              </a:extLst>
            </p:cNvPr>
            <p:cNvSpPr>
              <a:spLocks noChangeArrowheads="1"/>
            </p:cNvSpPr>
            <p:nvPr/>
          </p:nvSpPr>
          <p:spPr bwMode="auto">
            <a:xfrm>
              <a:off x="13075961" y="11487492"/>
              <a:ext cx="2341035" cy="1464011"/>
            </a:xfrm>
            <a:custGeom>
              <a:avLst/>
              <a:gdLst>
                <a:gd name="connsiteX0" fmla="*/ 161670 w 2341035"/>
                <a:gd name="connsiteY0" fmla="*/ 1169757 h 1464011"/>
                <a:gd name="connsiteX1" fmla="*/ 232647 w 2341035"/>
                <a:gd name="connsiteY1" fmla="*/ 1249169 h 1464011"/>
                <a:gd name="connsiteX2" fmla="*/ 116323 w 2341035"/>
                <a:gd name="connsiteY2" fmla="*/ 1448094 h 1464011"/>
                <a:gd name="connsiteX3" fmla="*/ 0 w 2341035"/>
                <a:gd name="connsiteY3" fmla="*/ 1383967 h 1464011"/>
                <a:gd name="connsiteX4" fmla="*/ 116323 w 2341035"/>
                <a:gd name="connsiteY4" fmla="*/ 1185696 h 1464011"/>
                <a:gd name="connsiteX5" fmla="*/ 161670 w 2341035"/>
                <a:gd name="connsiteY5" fmla="*/ 1169757 h 1464011"/>
                <a:gd name="connsiteX6" fmla="*/ 2122611 w 2341035"/>
                <a:gd name="connsiteY6" fmla="*/ 1026778 h 1464011"/>
                <a:gd name="connsiteX7" fmla="*/ 2170307 w 2341035"/>
                <a:gd name="connsiteY7" fmla="*/ 1043528 h 1464011"/>
                <a:gd name="connsiteX8" fmla="*/ 2292069 w 2341035"/>
                <a:gd name="connsiteY8" fmla="*/ 1251657 h 1464011"/>
                <a:gd name="connsiteX9" fmla="*/ 2170307 w 2341035"/>
                <a:gd name="connsiteY9" fmla="*/ 1319510 h 1464011"/>
                <a:gd name="connsiteX10" fmla="*/ 2047893 w 2341035"/>
                <a:gd name="connsiteY10" fmla="*/ 1110729 h 1464011"/>
                <a:gd name="connsiteX11" fmla="*/ 2122611 w 2341035"/>
                <a:gd name="connsiteY11" fmla="*/ 1026778 h 1464011"/>
                <a:gd name="connsiteX12" fmla="*/ 145186 w 2341035"/>
                <a:gd name="connsiteY12" fmla="*/ 16309 h 1464011"/>
                <a:gd name="connsiteX13" fmla="*/ 194093 w 2341035"/>
                <a:gd name="connsiteY13" fmla="*/ 33384 h 1464011"/>
                <a:gd name="connsiteX14" fmla="*/ 319060 w 2341035"/>
                <a:gd name="connsiteY14" fmla="*/ 248405 h 1464011"/>
                <a:gd name="connsiteX15" fmla="*/ 194093 w 2341035"/>
                <a:gd name="connsiteY15" fmla="*/ 318550 h 1464011"/>
                <a:gd name="connsiteX16" fmla="*/ 69126 w 2341035"/>
                <a:gd name="connsiteY16" fmla="*/ 102872 h 1464011"/>
                <a:gd name="connsiteX17" fmla="*/ 145186 w 2341035"/>
                <a:gd name="connsiteY17" fmla="*/ 16309 h 1464011"/>
                <a:gd name="connsiteX18" fmla="*/ 2270026 w 2341035"/>
                <a:gd name="connsiteY18" fmla="*/ 390 h 1464011"/>
                <a:gd name="connsiteX19" fmla="*/ 2341035 w 2341035"/>
                <a:gd name="connsiteY19" fmla="*/ 81153 h 1464011"/>
                <a:gd name="connsiteX20" fmla="*/ 2224708 w 2341035"/>
                <a:gd name="connsiteY20" fmla="*/ 280888 h 1464011"/>
                <a:gd name="connsiteX21" fmla="*/ 2108381 w 2341035"/>
                <a:gd name="connsiteY21" fmla="*/ 216056 h 1464011"/>
                <a:gd name="connsiteX22" fmla="*/ 2224708 w 2341035"/>
                <a:gd name="connsiteY22" fmla="*/ 16321 h 1464011"/>
                <a:gd name="connsiteX23" fmla="*/ 2270026 w 2341035"/>
                <a:gd name="connsiteY23" fmla="*/ 390 h 1464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41035" h="1464011">
                  <a:moveTo>
                    <a:pt x="161670" y="1169757"/>
                  </a:moveTo>
                  <a:cubicBezTo>
                    <a:pt x="203443" y="1165493"/>
                    <a:pt x="232647" y="1195185"/>
                    <a:pt x="232647" y="1249169"/>
                  </a:cubicBezTo>
                  <a:cubicBezTo>
                    <a:pt x="232647" y="1321803"/>
                    <a:pt x="180728" y="1410795"/>
                    <a:pt x="116323" y="1448094"/>
                  </a:cubicBezTo>
                  <a:cubicBezTo>
                    <a:pt x="51918" y="1484738"/>
                    <a:pt x="0" y="1455946"/>
                    <a:pt x="0" y="1383967"/>
                  </a:cubicBezTo>
                  <a:cubicBezTo>
                    <a:pt x="0" y="1311333"/>
                    <a:pt x="51918" y="1222340"/>
                    <a:pt x="116323" y="1185696"/>
                  </a:cubicBezTo>
                  <a:cubicBezTo>
                    <a:pt x="132424" y="1176372"/>
                    <a:pt x="147745" y="1171178"/>
                    <a:pt x="161670" y="1169757"/>
                  </a:cubicBezTo>
                  <a:close/>
                  <a:moveTo>
                    <a:pt x="2122611" y="1026778"/>
                  </a:moveTo>
                  <a:cubicBezTo>
                    <a:pt x="2137262" y="1028277"/>
                    <a:pt x="2153377" y="1033741"/>
                    <a:pt x="2170307" y="1043528"/>
                  </a:cubicBezTo>
                  <a:cubicBezTo>
                    <a:pt x="2237373" y="1082022"/>
                    <a:pt x="2292069" y="1175973"/>
                    <a:pt x="2292069" y="1251657"/>
                  </a:cubicBezTo>
                  <a:cubicBezTo>
                    <a:pt x="2292069" y="1327992"/>
                    <a:pt x="2237373" y="1358005"/>
                    <a:pt x="2170307" y="1319510"/>
                  </a:cubicBezTo>
                  <a:cubicBezTo>
                    <a:pt x="2102588" y="1280364"/>
                    <a:pt x="2047893" y="1187065"/>
                    <a:pt x="2047893" y="1110729"/>
                  </a:cubicBezTo>
                  <a:cubicBezTo>
                    <a:pt x="2047893" y="1053477"/>
                    <a:pt x="2078659" y="1022282"/>
                    <a:pt x="2122611" y="1026778"/>
                  </a:cubicBezTo>
                  <a:close/>
                  <a:moveTo>
                    <a:pt x="145186" y="16309"/>
                  </a:moveTo>
                  <a:cubicBezTo>
                    <a:pt x="160166" y="17815"/>
                    <a:pt x="176682" y="23387"/>
                    <a:pt x="194093" y="33384"/>
                  </a:cubicBezTo>
                  <a:cubicBezTo>
                    <a:pt x="263085" y="73373"/>
                    <a:pt x="319060" y="170395"/>
                    <a:pt x="319060" y="248405"/>
                  </a:cubicBezTo>
                  <a:cubicBezTo>
                    <a:pt x="319060" y="327072"/>
                    <a:pt x="263085" y="358538"/>
                    <a:pt x="194093" y="318550"/>
                  </a:cubicBezTo>
                  <a:cubicBezTo>
                    <a:pt x="124450" y="277905"/>
                    <a:pt x="69126" y="181539"/>
                    <a:pt x="69126" y="102872"/>
                  </a:cubicBezTo>
                  <a:cubicBezTo>
                    <a:pt x="69126" y="43873"/>
                    <a:pt x="100246" y="11791"/>
                    <a:pt x="145186" y="16309"/>
                  </a:cubicBezTo>
                  <a:close/>
                  <a:moveTo>
                    <a:pt x="2270026" y="390"/>
                  </a:moveTo>
                  <a:cubicBezTo>
                    <a:pt x="2311791" y="-3816"/>
                    <a:pt x="2341035" y="26144"/>
                    <a:pt x="2341035" y="81153"/>
                  </a:cubicBezTo>
                  <a:cubicBezTo>
                    <a:pt x="2341035" y="153844"/>
                    <a:pt x="2289045" y="243560"/>
                    <a:pt x="2224708" y="280888"/>
                  </a:cubicBezTo>
                  <a:cubicBezTo>
                    <a:pt x="2160371" y="318215"/>
                    <a:pt x="2108381" y="289401"/>
                    <a:pt x="2108381" y="216056"/>
                  </a:cubicBezTo>
                  <a:cubicBezTo>
                    <a:pt x="2108381" y="142711"/>
                    <a:pt x="2160371" y="53649"/>
                    <a:pt x="2224708" y="16321"/>
                  </a:cubicBezTo>
                  <a:cubicBezTo>
                    <a:pt x="2240792" y="6989"/>
                    <a:pt x="2256105" y="1791"/>
                    <a:pt x="2270026" y="390"/>
                  </a:cubicBezTo>
                  <a:close/>
                </a:path>
              </a:pathLst>
            </a:custGeom>
            <a:solidFill>
              <a:srgbClr val="FFFFFF"/>
            </a:solidFill>
            <a:ln>
              <a:noFill/>
            </a:ln>
            <a:effectLst/>
            <a:extLst>
              <a:ext uri="{91240B29-F687-4F45-9708-019B960494DF}">
                <a14:hiddenLine xmlns:a14="http://schemas.microsoft.com/office/drawing/2010/main" w="9525" cap="flat">
                  <a:solidFill>
                    <a:srgbClr val="263364"/>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266" dirty="0">
                <a:latin typeface="Lato Light" panose="020F0502020204030203" pitchFamily="34" charset="0"/>
              </a:endParaRPr>
            </a:p>
          </p:txBody>
        </p:sp>
        <p:sp>
          <p:nvSpPr>
            <p:cNvPr id="88" name="Freeform 169">
              <a:extLst>
                <a:ext uri="{FF2B5EF4-FFF2-40B4-BE49-F238E27FC236}">
                  <a16:creationId xmlns:a16="http://schemas.microsoft.com/office/drawing/2014/main" id="{A9AF0690-7198-E54B-9296-7E9C3F537E13}"/>
                </a:ext>
              </a:extLst>
            </p:cNvPr>
            <p:cNvSpPr>
              <a:spLocks noChangeArrowheads="1"/>
            </p:cNvSpPr>
            <p:nvPr/>
          </p:nvSpPr>
          <p:spPr bwMode="auto">
            <a:xfrm>
              <a:off x="13726908" y="4473112"/>
              <a:ext cx="895773" cy="1097394"/>
            </a:xfrm>
            <a:custGeom>
              <a:avLst/>
              <a:gdLst>
                <a:gd name="T0" fmla="*/ 1246 w 1373"/>
                <a:gd name="T1" fmla="*/ 1440 h 1679"/>
                <a:gd name="T2" fmla="*/ 1246 w 1373"/>
                <a:gd name="T3" fmla="*/ 1440 h 1679"/>
                <a:gd name="T4" fmla="*/ 442 w 1373"/>
                <a:gd name="T5" fmla="*/ 1567 h 1679"/>
                <a:gd name="T6" fmla="*/ 442 w 1373"/>
                <a:gd name="T7" fmla="*/ 1567 h 1679"/>
                <a:gd name="T8" fmla="*/ 265 w 1373"/>
                <a:gd name="T9" fmla="*/ 1355 h 1679"/>
                <a:gd name="T10" fmla="*/ 0 w 1373"/>
                <a:gd name="T11" fmla="*/ 0 h 1679"/>
                <a:gd name="T12" fmla="*/ 1137 w 1373"/>
                <a:gd name="T13" fmla="*/ 28 h 1679"/>
                <a:gd name="T14" fmla="*/ 1348 w 1373"/>
                <a:gd name="T15" fmla="*/ 1107 h 1679"/>
                <a:gd name="T16" fmla="*/ 1348 w 1373"/>
                <a:gd name="T17" fmla="*/ 1107 h 1679"/>
                <a:gd name="T18" fmla="*/ 1246 w 1373"/>
                <a:gd name="T19" fmla="*/ 1440 h 1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3" h="1679">
                  <a:moveTo>
                    <a:pt x="1246" y="1440"/>
                  </a:moveTo>
                  <a:lnTo>
                    <a:pt x="1246" y="1440"/>
                  </a:lnTo>
                  <a:cubicBezTo>
                    <a:pt x="1002" y="1665"/>
                    <a:pt x="730" y="1678"/>
                    <a:pt x="442" y="1567"/>
                  </a:cubicBezTo>
                  <a:lnTo>
                    <a:pt x="442" y="1567"/>
                  </a:lnTo>
                  <a:cubicBezTo>
                    <a:pt x="352" y="1532"/>
                    <a:pt x="284" y="1453"/>
                    <a:pt x="265" y="1355"/>
                  </a:cubicBezTo>
                  <a:lnTo>
                    <a:pt x="0" y="0"/>
                  </a:lnTo>
                  <a:lnTo>
                    <a:pt x="1137" y="28"/>
                  </a:lnTo>
                  <a:lnTo>
                    <a:pt x="1348" y="1107"/>
                  </a:lnTo>
                  <a:lnTo>
                    <a:pt x="1348" y="1107"/>
                  </a:lnTo>
                  <a:cubicBezTo>
                    <a:pt x="1372" y="1230"/>
                    <a:pt x="1336" y="1358"/>
                    <a:pt x="1246" y="1440"/>
                  </a:cubicBezTo>
                </a:path>
              </a:pathLst>
            </a:custGeom>
            <a:solidFill>
              <a:srgbClr val="EDCDAB"/>
            </a:solidFill>
            <a:ln>
              <a:noFill/>
            </a:ln>
            <a:effectLst/>
            <a:extLst>
              <a:ext uri="{91240B29-F687-4F45-9708-019B960494DF}">
                <a14:hiddenLine xmlns:a14="http://schemas.microsoft.com/office/drawing/2010/main" w="9525" cap="flat">
                  <a:solidFill>
                    <a:srgbClr val="263364"/>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89" name="Freeform 170">
              <a:extLst>
                <a:ext uri="{FF2B5EF4-FFF2-40B4-BE49-F238E27FC236}">
                  <a16:creationId xmlns:a16="http://schemas.microsoft.com/office/drawing/2014/main" id="{928CF3C3-CFAE-B147-B599-61E22E33EC76}"/>
                </a:ext>
              </a:extLst>
            </p:cNvPr>
            <p:cNvSpPr>
              <a:spLocks noChangeArrowheads="1"/>
            </p:cNvSpPr>
            <p:nvPr/>
          </p:nvSpPr>
          <p:spPr bwMode="auto">
            <a:xfrm>
              <a:off x="13277581" y="3493809"/>
              <a:ext cx="1218367" cy="1762745"/>
            </a:xfrm>
            <a:custGeom>
              <a:avLst/>
              <a:gdLst>
                <a:gd name="T0" fmla="*/ 68 w 1867"/>
                <a:gd name="T1" fmla="*/ 1569 h 2698"/>
                <a:gd name="T2" fmla="*/ 68 w 1867"/>
                <a:gd name="T3" fmla="*/ 1569 h 2698"/>
                <a:gd name="T4" fmla="*/ 817 w 1867"/>
                <a:gd name="T5" fmla="*/ 2636 h 2698"/>
                <a:gd name="T6" fmla="*/ 817 w 1867"/>
                <a:gd name="T7" fmla="*/ 2636 h 2698"/>
                <a:gd name="T8" fmla="*/ 1100 w 1867"/>
                <a:gd name="T9" fmla="*/ 1525 h 2698"/>
                <a:gd name="T10" fmla="*/ 1100 w 1867"/>
                <a:gd name="T11" fmla="*/ 1525 h 2698"/>
                <a:gd name="T12" fmla="*/ 1651 w 1867"/>
                <a:gd name="T13" fmla="*/ 1380 h 2698"/>
                <a:gd name="T14" fmla="*/ 1651 w 1867"/>
                <a:gd name="T15" fmla="*/ 1380 h 2698"/>
                <a:gd name="T16" fmla="*/ 888 w 1867"/>
                <a:gd name="T17" fmla="*/ 111 h 2698"/>
                <a:gd name="T18" fmla="*/ 888 w 1867"/>
                <a:gd name="T19" fmla="*/ 111 h 2698"/>
                <a:gd name="T20" fmla="*/ 50 w 1867"/>
                <a:gd name="T21" fmla="*/ 638 h 2698"/>
                <a:gd name="T22" fmla="*/ 50 w 1867"/>
                <a:gd name="T23" fmla="*/ 638 h 2698"/>
                <a:gd name="T24" fmla="*/ 68 w 1867"/>
                <a:gd name="T25" fmla="*/ 1569 h 2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7" h="2698">
                  <a:moveTo>
                    <a:pt x="68" y="1569"/>
                  </a:moveTo>
                  <a:lnTo>
                    <a:pt x="68" y="1569"/>
                  </a:lnTo>
                  <a:cubicBezTo>
                    <a:pt x="199" y="2240"/>
                    <a:pt x="414" y="2697"/>
                    <a:pt x="817" y="2636"/>
                  </a:cubicBezTo>
                  <a:lnTo>
                    <a:pt x="817" y="2636"/>
                  </a:lnTo>
                  <a:cubicBezTo>
                    <a:pt x="1208" y="2576"/>
                    <a:pt x="866" y="1817"/>
                    <a:pt x="1100" y="1525"/>
                  </a:cubicBezTo>
                  <a:lnTo>
                    <a:pt x="1100" y="1525"/>
                  </a:lnTo>
                  <a:cubicBezTo>
                    <a:pt x="1152" y="1461"/>
                    <a:pt x="1595" y="1445"/>
                    <a:pt x="1651" y="1380"/>
                  </a:cubicBezTo>
                  <a:lnTo>
                    <a:pt x="1651" y="1380"/>
                  </a:lnTo>
                  <a:cubicBezTo>
                    <a:pt x="1866" y="1130"/>
                    <a:pt x="1451" y="0"/>
                    <a:pt x="888" y="111"/>
                  </a:cubicBezTo>
                  <a:lnTo>
                    <a:pt x="888" y="111"/>
                  </a:lnTo>
                  <a:cubicBezTo>
                    <a:pt x="535" y="180"/>
                    <a:pt x="181" y="304"/>
                    <a:pt x="50" y="638"/>
                  </a:cubicBezTo>
                  <a:lnTo>
                    <a:pt x="50" y="638"/>
                  </a:lnTo>
                  <a:cubicBezTo>
                    <a:pt x="0" y="767"/>
                    <a:pt x="50" y="1479"/>
                    <a:pt x="68" y="1569"/>
                  </a:cubicBezTo>
                </a:path>
              </a:pathLst>
            </a:custGeom>
            <a:solidFill>
              <a:srgbClr val="FCE3C3"/>
            </a:solidFill>
            <a:ln>
              <a:noFill/>
            </a:ln>
            <a:effectLst/>
            <a:extLst>
              <a:ext uri="{91240B29-F687-4F45-9708-019B960494DF}">
                <a14:hiddenLine xmlns:a14="http://schemas.microsoft.com/office/drawing/2010/main" w="9525" cap="flat">
                  <a:solidFill>
                    <a:srgbClr val="263364"/>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90" name="Freeform 171">
              <a:extLst>
                <a:ext uri="{FF2B5EF4-FFF2-40B4-BE49-F238E27FC236}">
                  <a16:creationId xmlns:a16="http://schemas.microsoft.com/office/drawing/2014/main" id="{DF4C3EF5-B067-AF40-BBE3-F825371F1D06}"/>
                </a:ext>
              </a:extLst>
            </p:cNvPr>
            <p:cNvSpPr>
              <a:spLocks noChangeArrowheads="1"/>
            </p:cNvSpPr>
            <p:nvPr/>
          </p:nvSpPr>
          <p:spPr bwMode="auto">
            <a:xfrm>
              <a:off x="13075960" y="3122249"/>
              <a:ext cx="1854915" cy="1820351"/>
            </a:xfrm>
            <a:custGeom>
              <a:avLst/>
              <a:gdLst>
                <a:gd name="T0" fmla="*/ 362 w 2841"/>
                <a:gd name="T1" fmla="*/ 447 h 2789"/>
                <a:gd name="T2" fmla="*/ 362 w 2841"/>
                <a:gd name="T3" fmla="*/ 447 h 2789"/>
                <a:gd name="T4" fmla="*/ 222 w 2841"/>
                <a:gd name="T5" fmla="*/ 1414 h 2789"/>
                <a:gd name="T6" fmla="*/ 222 w 2841"/>
                <a:gd name="T7" fmla="*/ 1414 h 2789"/>
                <a:gd name="T8" fmla="*/ 575 w 2841"/>
                <a:gd name="T9" fmla="*/ 1667 h 2789"/>
                <a:gd name="T10" fmla="*/ 575 w 2841"/>
                <a:gd name="T11" fmla="*/ 1667 h 2789"/>
                <a:gd name="T12" fmla="*/ 788 w 2841"/>
                <a:gd name="T13" fmla="*/ 2276 h 2789"/>
                <a:gd name="T14" fmla="*/ 788 w 2841"/>
                <a:gd name="T15" fmla="*/ 2276 h 2789"/>
                <a:gd name="T16" fmla="*/ 906 w 2841"/>
                <a:gd name="T17" fmla="*/ 2156 h 2789"/>
                <a:gd name="T18" fmla="*/ 906 w 2841"/>
                <a:gd name="T19" fmla="*/ 2156 h 2789"/>
                <a:gd name="T20" fmla="*/ 1176 w 2841"/>
                <a:gd name="T21" fmla="*/ 1967 h 2789"/>
                <a:gd name="T22" fmla="*/ 1176 w 2841"/>
                <a:gd name="T23" fmla="*/ 1967 h 2789"/>
                <a:gd name="T24" fmla="*/ 1611 w 2841"/>
                <a:gd name="T25" fmla="*/ 2635 h 2789"/>
                <a:gd name="T26" fmla="*/ 1611 w 2841"/>
                <a:gd name="T27" fmla="*/ 2635 h 2789"/>
                <a:gd name="T28" fmla="*/ 2422 w 2841"/>
                <a:gd name="T29" fmla="*/ 2432 h 2789"/>
                <a:gd name="T30" fmla="*/ 2422 w 2841"/>
                <a:gd name="T31" fmla="*/ 2432 h 2789"/>
                <a:gd name="T32" fmla="*/ 2144 w 2841"/>
                <a:gd name="T33" fmla="*/ 631 h 2789"/>
                <a:gd name="T34" fmla="*/ 2144 w 2841"/>
                <a:gd name="T35" fmla="*/ 631 h 2789"/>
                <a:gd name="T36" fmla="*/ 656 w 2841"/>
                <a:gd name="T37" fmla="*/ 543 h 2789"/>
                <a:gd name="T38" fmla="*/ 656 w 2841"/>
                <a:gd name="T39" fmla="*/ 543 h 2789"/>
                <a:gd name="T40" fmla="*/ 362 w 2841"/>
                <a:gd name="T41" fmla="*/ 447 h 2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41" h="2789">
                  <a:moveTo>
                    <a:pt x="362" y="447"/>
                  </a:moveTo>
                  <a:lnTo>
                    <a:pt x="362" y="447"/>
                  </a:lnTo>
                  <a:cubicBezTo>
                    <a:pt x="0" y="657"/>
                    <a:pt x="56" y="1125"/>
                    <a:pt x="222" y="1414"/>
                  </a:cubicBezTo>
                  <a:lnTo>
                    <a:pt x="222" y="1414"/>
                  </a:lnTo>
                  <a:cubicBezTo>
                    <a:pt x="304" y="1559"/>
                    <a:pt x="401" y="1619"/>
                    <a:pt x="575" y="1667"/>
                  </a:cubicBezTo>
                  <a:lnTo>
                    <a:pt x="575" y="1667"/>
                  </a:lnTo>
                  <a:cubicBezTo>
                    <a:pt x="748" y="1716"/>
                    <a:pt x="776" y="2147"/>
                    <a:pt x="788" y="2276"/>
                  </a:cubicBezTo>
                  <a:lnTo>
                    <a:pt x="788" y="2276"/>
                  </a:lnTo>
                  <a:cubicBezTo>
                    <a:pt x="788" y="2276"/>
                    <a:pt x="877" y="2316"/>
                    <a:pt x="906" y="2156"/>
                  </a:cubicBezTo>
                  <a:lnTo>
                    <a:pt x="906" y="2156"/>
                  </a:lnTo>
                  <a:cubicBezTo>
                    <a:pt x="935" y="1995"/>
                    <a:pt x="1108" y="1747"/>
                    <a:pt x="1176" y="1967"/>
                  </a:cubicBezTo>
                  <a:lnTo>
                    <a:pt x="1176" y="1967"/>
                  </a:lnTo>
                  <a:cubicBezTo>
                    <a:pt x="1245" y="2187"/>
                    <a:pt x="1508" y="2497"/>
                    <a:pt x="1611" y="2635"/>
                  </a:cubicBezTo>
                  <a:lnTo>
                    <a:pt x="1611" y="2635"/>
                  </a:lnTo>
                  <a:cubicBezTo>
                    <a:pt x="1714" y="2772"/>
                    <a:pt x="2252" y="2788"/>
                    <a:pt x="2422" y="2432"/>
                  </a:cubicBezTo>
                  <a:lnTo>
                    <a:pt x="2422" y="2432"/>
                  </a:lnTo>
                  <a:cubicBezTo>
                    <a:pt x="2052" y="1904"/>
                    <a:pt x="2840" y="1449"/>
                    <a:pt x="2144" y="631"/>
                  </a:cubicBezTo>
                  <a:lnTo>
                    <a:pt x="2144" y="631"/>
                  </a:lnTo>
                  <a:cubicBezTo>
                    <a:pt x="1996" y="308"/>
                    <a:pt x="1687" y="0"/>
                    <a:pt x="656" y="543"/>
                  </a:cubicBezTo>
                  <a:lnTo>
                    <a:pt x="656" y="543"/>
                  </a:lnTo>
                  <a:cubicBezTo>
                    <a:pt x="608" y="571"/>
                    <a:pt x="433" y="510"/>
                    <a:pt x="362" y="447"/>
                  </a:cubicBezTo>
                </a:path>
              </a:pathLst>
            </a:custGeom>
            <a:solidFill>
              <a:schemeClr val="bg1">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91" name="Freeform 172">
              <a:extLst>
                <a:ext uri="{FF2B5EF4-FFF2-40B4-BE49-F238E27FC236}">
                  <a16:creationId xmlns:a16="http://schemas.microsoft.com/office/drawing/2014/main" id="{A5DCBA87-289D-0A42-85FA-1555E3529AC8}"/>
                </a:ext>
              </a:extLst>
            </p:cNvPr>
            <p:cNvSpPr>
              <a:spLocks noChangeArrowheads="1"/>
            </p:cNvSpPr>
            <p:nvPr/>
          </p:nvSpPr>
          <p:spPr bwMode="auto">
            <a:xfrm>
              <a:off x="13675063" y="4268609"/>
              <a:ext cx="331234" cy="521336"/>
            </a:xfrm>
            <a:custGeom>
              <a:avLst/>
              <a:gdLst>
                <a:gd name="T0" fmla="*/ 50 w 506"/>
                <a:gd name="T1" fmla="*/ 458 h 797"/>
                <a:gd name="T2" fmla="*/ 50 w 506"/>
                <a:gd name="T3" fmla="*/ 458 h 797"/>
                <a:gd name="T4" fmla="*/ 302 w 506"/>
                <a:gd name="T5" fmla="*/ 763 h 797"/>
                <a:gd name="T6" fmla="*/ 302 w 506"/>
                <a:gd name="T7" fmla="*/ 763 h 797"/>
                <a:gd name="T8" fmla="*/ 455 w 506"/>
                <a:gd name="T9" fmla="*/ 250 h 797"/>
                <a:gd name="T10" fmla="*/ 455 w 506"/>
                <a:gd name="T11" fmla="*/ 250 h 797"/>
                <a:gd name="T12" fmla="*/ 226 w 506"/>
                <a:gd name="T13" fmla="*/ 33 h 797"/>
                <a:gd name="T14" fmla="*/ 226 w 506"/>
                <a:gd name="T15" fmla="*/ 33 h 797"/>
                <a:gd name="T16" fmla="*/ 50 w 506"/>
                <a:gd name="T17" fmla="*/ 458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797">
                  <a:moveTo>
                    <a:pt x="50" y="458"/>
                  </a:moveTo>
                  <a:lnTo>
                    <a:pt x="50" y="458"/>
                  </a:lnTo>
                  <a:cubicBezTo>
                    <a:pt x="101" y="648"/>
                    <a:pt x="179" y="796"/>
                    <a:pt x="302" y="763"/>
                  </a:cubicBezTo>
                  <a:lnTo>
                    <a:pt x="302" y="763"/>
                  </a:lnTo>
                  <a:cubicBezTo>
                    <a:pt x="426" y="731"/>
                    <a:pt x="505" y="440"/>
                    <a:pt x="455" y="250"/>
                  </a:cubicBezTo>
                  <a:lnTo>
                    <a:pt x="455" y="250"/>
                  </a:lnTo>
                  <a:cubicBezTo>
                    <a:pt x="405" y="59"/>
                    <a:pt x="349" y="0"/>
                    <a:pt x="226" y="33"/>
                  </a:cubicBezTo>
                  <a:lnTo>
                    <a:pt x="226" y="33"/>
                  </a:lnTo>
                  <a:cubicBezTo>
                    <a:pt x="103" y="66"/>
                    <a:pt x="0" y="268"/>
                    <a:pt x="50" y="458"/>
                  </a:cubicBezTo>
                </a:path>
              </a:pathLst>
            </a:custGeom>
            <a:solidFill>
              <a:srgbClr val="EDCDAB"/>
            </a:solidFill>
            <a:ln>
              <a:noFill/>
            </a:ln>
            <a:effectLst/>
            <a:extLst>
              <a:ext uri="{91240B29-F687-4F45-9708-019B960494DF}">
                <a14:hiddenLine xmlns:a14="http://schemas.microsoft.com/office/drawing/2010/main" w="9525" cap="flat">
                  <a:solidFill>
                    <a:srgbClr val="263364"/>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92" name="Freeform 173">
              <a:extLst>
                <a:ext uri="{FF2B5EF4-FFF2-40B4-BE49-F238E27FC236}">
                  <a16:creationId xmlns:a16="http://schemas.microsoft.com/office/drawing/2014/main" id="{AAD3067A-1ED0-474D-9629-88F30AC9C002}"/>
                </a:ext>
              </a:extLst>
            </p:cNvPr>
            <p:cNvSpPr>
              <a:spLocks noChangeArrowheads="1"/>
            </p:cNvSpPr>
            <p:nvPr/>
          </p:nvSpPr>
          <p:spPr bwMode="auto">
            <a:xfrm>
              <a:off x="13637618" y="4222524"/>
              <a:ext cx="357157" cy="521336"/>
            </a:xfrm>
            <a:custGeom>
              <a:avLst/>
              <a:gdLst>
                <a:gd name="T0" fmla="*/ 50 w 545"/>
                <a:gd name="T1" fmla="*/ 457 h 796"/>
                <a:gd name="T2" fmla="*/ 50 w 545"/>
                <a:gd name="T3" fmla="*/ 457 h 796"/>
                <a:gd name="T4" fmla="*/ 302 w 545"/>
                <a:gd name="T5" fmla="*/ 763 h 796"/>
                <a:gd name="T6" fmla="*/ 302 w 545"/>
                <a:gd name="T7" fmla="*/ 763 h 796"/>
                <a:gd name="T8" fmla="*/ 494 w 545"/>
                <a:gd name="T9" fmla="*/ 266 h 796"/>
                <a:gd name="T10" fmla="*/ 494 w 545"/>
                <a:gd name="T11" fmla="*/ 266 h 796"/>
                <a:gd name="T12" fmla="*/ 226 w 545"/>
                <a:gd name="T13" fmla="*/ 32 h 796"/>
                <a:gd name="T14" fmla="*/ 226 w 545"/>
                <a:gd name="T15" fmla="*/ 32 h 796"/>
                <a:gd name="T16" fmla="*/ 50 w 545"/>
                <a:gd name="T17" fmla="*/ 457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5" h="796">
                  <a:moveTo>
                    <a:pt x="50" y="457"/>
                  </a:moveTo>
                  <a:lnTo>
                    <a:pt x="50" y="457"/>
                  </a:lnTo>
                  <a:cubicBezTo>
                    <a:pt x="100" y="647"/>
                    <a:pt x="178" y="795"/>
                    <a:pt x="302" y="763"/>
                  </a:cubicBezTo>
                  <a:lnTo>
                    <a:pt x="302" y="763"/>
                  </a:lnTo>
                  <a:cubicBezTo>
                    <a:pt x="425" y="730"/>
                    <a:pt x="544" y="456"/>
                    <a:pt x="494" y="266"/>
                  </a:cubicBezTo>
                  <a:lnTo>
                    <a:pt x="494" y="266"/>
                  </a:lnTo>
                  <a:cubicBezTo>
                    <a:pt x="444" y="76"/>
                    <a:pt x="348" y="0"/>
                    <a:pt x="226" y="32"/>
                  </a:cubicBezTo>
                  <a:lnTo>
                    <a:pt x="226" y="32"/>
                  </a:lnTo>
                  <a:cubicBezTo>
                    <a:pt x="102" y="65"/>
                    <a:pt x="0" y="267"/>
                    <a:pt x="50" y="457"/>
                  </a:cubicBezTo>
                </a:path>
              </a:pathLst>
            </a:custGeom>
            <a:solidFill>
              <a:srgbClr val="FCE3C3"/>
            </a:solidFill>
            <a:ln>
              <a:noFill/>
            </a:ln>
            <a:effectLst/>
            <a:extLst>
              <a:ext uri="{91240B29-F687-4F45-9708-019B960494DF}">
                <a14:hiddenLine xmlns:a14="http://schemas.microsoft.com/office/drawing/2010/main" w="9525" cap="flat">
                  <a:solidFill>
                    <a:srgbClr val="263364"/>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93" name="Freeform 174">
              <a:extLst>
                <a:ext uri="{FF2B5EF4-FFF2-40B4-BE49-F238E27FC236}">
                  <a16:creationId xmlns:a16="http://schemas.microsoft.com/office/drawing/2014/main" id="{FDC37106-6FD9-A54C-BB4A-46D826D9BF1E}"/>
                </a:ext>
              </a:extLst>
            </p:cNvPr>
            <p:cNvSpPr>
              <a:spLocks noChangeArrowheads="1"/>
            </p:cNvSpPr>
            <p:nvPr/>
          </p:nvSpPr>
          <p:spPr bwMode="auto">
            <a:xfrm>
              <a:off x="10714113" y="11578816"/>
              <a:ext cx="1316297" cy="843930"/>
            </a:xfrm>
            <a:custGeom>
              <a:avLst/>
              <a:gdLst>
                <a:gd name="T0" fmla="*/ 1887 w 2016"/>
                <a:gd name="T1" fmla="*/ 1128 h 1293"/>
                <a:gd name="T2" fmla="*/ 1887 w 2016"/>
                <a:gd name="T3" fmla="*/ 1128 h 1293"/>
                <a:gd name="T4" fmla="*/ 1907 w 2016"/>
                <a:gd name="T5" fmla="*/ 843 h 1293"/>
                <a:gd name="T6" fmla="*/ 531 w 2016"/>
                <a:gd name="T7" fmla="*/ 8 h 1293"/>
                <a:gd name="T8" fmla="*/ 531 w 2016"/>
                <a:gd name="T9" fmla="*/ 8 h 1293"/>
                <a:gd name="T10" fmla="*/ 491 w 2016"/>
                <a:gd name="T11" fmla="*/ 7 h 1293"/>
                <a:gd name="T12" fmla="*/ 132 w 2016"/>
                <a:gd name="T13" fmla="*/ 180 h 1293"/>
                <a:gd name="T14" fmla="*/ 132 w 2016"/>
                <a:gd name="T15" fmla="*/ 180 h 1293"/>
                <a:gd name="T16" fmla="*/ 117 w 2016"/>
                <a:gd name="T17" fmla="*/ 529 h 1293"/>
                <a:gd name="T18" fmla="*/ 117 w 2016"/>
                <a:gd name="T19" fmla="*/ 529 h 1293"/>
                <a:gd name="T20" fmla="*/ 1105 w 2016"/>
                <a:gd name="T21" fmla="*/ 1148 h 1293"/>
                <a:gd name="T22" fmla="*/ 1105 w 2016"/>
                <a:gd name="T23" fmla="*/ 1148 h 1293"/>
                <a:gd name="T24" fmla="*/ 1887 w 2016"/>
                <a:gd name="T25" fmla="*/ 1128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6" h="1293">
                  <a:moveTo>
                    <a:pt x="1887" y="1128"/>
                  </a:moveTo>
                  <a:lnTo>
                    <a:pt x="1887" y="1128"/>
                  </a:lnTo>
                  <a:cubicBezTo>
                    <a:pt x="2000" y="1064"/>
                    <a:pt x="2015" y="916"/>
                    <a:pt x="1907" y="843"/>
                  </a:cubicBezTo>
                  <a:lnTo>
                    <a:pt x="531" y="8"/>
                  </a:lnTo>
                  <a:lnTo>
                    <a:pt x="531" y="8"/>
                  </a:lnTo>
                  <a:cubicBezTo>
                    <a:pt x="519" y="1"/>
                    <a:pt x="503" y="0"/>
                    <a:pt x="491" y="7"/>
                  </a:cubicBezTo>
                  <a:lnTo>
                    <a:pt x="132" y="180"/>
                  </a:lnTo>
                  <a:lnTo>
                    <a:pt x="132" y="180"/>
                  </a:lnTo>
                  <a:cubicBezTo>
                    <a:pt x="0" y="244"/>
                    <a:pt x="7" y="434"/>
                    <a:pt x="117" y="529"/>
                  </a:cubicBezTo>
                  <a:lnTo>
                    <a:pt x="117" y="529"/>
                  </a:lnTo>
                  <a:cubicBezTo>
                    <a:pt x="315" y="700"/>
                    <a:pt x="573" y="917"/>
                    <a:pt x="1105" y="1148"/>
                  </a:cubicBezTo>
                  <a:lnTo>
                    <a:pt x="1105" y="1148"/>
                  </a:lnTo>
                  <a:cubicBezTo>
                    <a:pt x="1370" y="1263"/>
                    <a:pt x="1603" y="1292"/>
                    <a:pt x="1887" y="1128"/>
                  </a:cubicBezTo>
                </a:path>
              </a:pathLst>
            </a:custGeom>
            <a:solidFill>
              <a:schemeClr val="bg1"/>
            </a:solidFill>
            <a:ln>
              <a:noFill/>
            </a:ln>
            <a:effectLst/>
          </p:spPr>
          <p:txBody>
            <a:bodyPr wrap="none" anchor="ctr"/>
            <a:lstStyle/>
            <a:p>
              <a:endParaRPr lang="en-US" sz="3266" dirty="0">
                <a:latin typeface="Lato Light" panose="020F0502020204030203" pitchFamily="34" charset="0"/>
              </a:endParaRPr>
            </a:p>
          </p:txBody>
        </p:sp>
        <p:sp>
          <p:nvSpPr>
            <p:cNvPr id="94" name="Freeform 175">
              <a:extLst>
                <a:ext uri="{FF2B5EF4-FFF2-40B4-BE49-F238E27FC236}">
                  <a16:creationId xmlns:a16="http://schemas.microsoft.com/office/drawing/2014/main" id="{5EAB8D9F-434E-9D45-8FB3-B25137052DFE}"/>
                </a:ext>
              </a:extLst>
            </p:cNvPr>
            <p:cNvSpPr>
              <a:spLocks noChangeArrowheads="1"/>
            </p:cNvSpPr>
            <p:nvPr/>
          </p:nvSpPr>
          <p:spPr bwMode="auto">
            <a:xfrm>
              <a:off x="10731395" y="11382956"/>
              <a:ext cx="1270212" cy="1002345"/>
            </a:xfrm>
            <a:custGeom>
              <a:avLst/>
              <a:gdLst>
                <a:gd name="T0" fmla="*/ 1898 w 1945"/>
                <a:gd name="T1" fmla="*/ 1202 h 1533"/>
                <a:gd name="T2" fmla="*/ 1898 w 1945"/>
                <a:gd name="T3" fmla="*/ 1202 h 1533"/>
                <a:gd name="T4" fmla="*/ 1759 w 1945"/>
                <a:gd name="T5" fmla="*/ 539 h 1533"/>
                <a:gd name="T6" fmla="*/ 1759 w 1945"/>
                <a:gd name="T7" fmla="*/ 539 h 1533"/>
                <a:gd name="T8" fmla="*/ 1326 w 1945"/>
                <a:gd name="T9" fmla="*/ 432 h 1533"/>
                <a:gd name="T10" fmla="*/ 1326 w 1945"/>
                <a:gd name="T11" fmla="*/ 432 h 1533"/>
                <a:gd name="T12" fmla="*/ 128 w 1945"/>
                <a:gd name="T13" fmla="*/ 258 h 1533"/>
                <a:gd name="T14" fmla="*/ 128 w 1945"/>
                <a:gd name="T15" fmla="*/ 258 h 1533"/>
                <a:gd name="T16" fmla="*/ 76 w 1945"/>
                <a:gd name="T17" fmla="*/ 687 h 1533"/>
                <a:gd name="T18" fmla="*/ 76 w 1945"/>
                <a:gd name="T19" fmla="*/ 687 h 1533"/>
                <a:gd name="T20" fmla="*/ 1229 w 1945"/>
                <a:gd name="T21" fmla="*/ 1441 h 1533"/>
                <a:gd name="T22" fmla="*/ 1229 w 1945"/>
                <a:gd name="T23" fmla="*/ 1441 h 1533"/>
                <a:gd name="T24" fmla="*/ 1898 w 1945"/>
                <a:gd name="T25" fmla="*/ 1202 h 1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45" h="1533">
                  <a:moveTo>
                    <a:pt x="1898" y="1202"/>
                  </a:moveTo>
                  <a:lnTo>
                    <a:pt x="1898" y="1202"/>
                  </a:lnTo>
                  <a:cubicBezTo>
                    <a:pt x="1887" y="1155"/>
                    <a:pt x="1927" y="678"/>
                    <a:pt x="1759" y="539"/>
                  </a:cubicBezTo>
                  <a:lnTo>
                    <a:pt x="1759" y="539"/>
                  </a:lnTo>
                  <a:cubicBezTo>
                    <a:pt x="1666" y="461"/>
                    <a:pt x="1467" y="442"/>
                    <a:pt x="1326" y="432"/>
                  </a:cubicBezTo>
                  <a:lnTo>
                    <a:pt x="1326" y="432"/>
                  </a:lnTo>
                  <a:cubicBezTo>
                    <a:pt x="1027" y="412"/>
                    <a:pt x="364" y="0"/>
                    <a:pt x="128" y="258"/>
                  </a:cubicBezTo>
                  <a:lnTo>
                    <a:pt x="128" y="258"/>
                  </a:lnTo>
                  <a:cubicBezTo>
                    <a:pt x="0" y="399"/>
                    <a:pt x="51" y="639"/>
                    <a:pt x="76" y="687"/>
                  </a:cubicBezTo>
                  <a:lnTo>
                    <a:pt x="76" y="687"/>
                  </a:lnTo>
                  <a:cubicBezTo>
                    <a:pt x="188" y="903"/>
                    <a:pt x="1015" y="1382"/>
                    <a:pt x="1229" y="1441"/>
                  </a:cubicBezTo>
                  <a:lnTo>
                    <a:pt x="1229" y="1441"/>
                  </a:lnTo>
                  <a:cubicBezTo>
                    <a:pt x="1557" y="1532"/>
                    <a:pt x="1944" y="1413"/>
                    <a:pt x="1898" y="1202"/>
                  </a:cubicBezTo>
                </a:path>
              </a:pathLst>
            </a:custGeom>
            <a:solidFill>
              <a:schemeClr val="accent5">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95" name="Freeform 176">
              <a:extLst>
                <a:ext uri="{FF2B5EF4-FFF2-40B4-BE49-F238E27FC236}">
                  <a16:creationId xmlns:a16="http://schemas.microsoft.com/office/drawing/2014/main" id="{4186683F-38CB-3C46-BF62-C71449D392F7}"/>
                </a:ext>
              </a:extLst>
            </p:cNvPr>
            <p:cNvSpPr>
              <a:spLocks noChangeArrowheads="1"/>
            </p:cNvSpPr>
            <p:nvPr/>
          </p:nvSpPr>
          <p:spPr bwMode="auto">
            <a:xfrm>
              <a:off x="11218165" y="8326957"/>
              <a:ext cx="996585" cy="3747273"/>
            </a:xfrm>
            <a:custGeom>
              <a:avLst/>
              <a:gdLst>
                <a:gd name="T0" fmla="*/ 313 w 1524"/>
                <a:gd name="T1" fmla="*/ 5215 h 5738"/>
                <a:gd name="T2" fmla="*/ 313 w 1524"/>
                <a:gd name="T3" fmla="*/ 5215 h 5738"/>
                <a:gd name="T4" fmla="*/ 125 w 1524"/>
                <a:gd name="T5" fmla="*/ 918 h 5738"/>
                <a:gd name="T6" fmla="*/ 125 w 1524"/>
                <a:gd name="T7" fmla="*/ 918 h 5738"/>
                <a:gd name="T8" fmla="*/ 1147 w 1524"/>
                <a:gd name="T9" fmla="*/ 20 h 5738"/>
                <a:gd name="T10" fmla="*/ 1147 w 1524"/>
                <a:gd name="T11" fmla="*/ 20 h 5738"/>
                <a:gd name="T12" fmla="*/ 1439 w 1524"/>
                <a:gd name="T13" fmla="*/ 1773 h 5738"/>
                <a:gd name="T14" fmla="*/ 1126 w 1524"/>
                <a:gd name="T15" fmla="*/ 5570 h 5738"/>
                <a:gd name="T16" fmla="*/ 1126 w 1524"/>
                <a:gd name="T17" fmla="*/ 5570 h 5738"/>
                <a:gd name="T18" fmla="*/ 313 w 1524"/>
                <a:gd name="T19" fmla="*/ 5215 h 5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4" h="5738">
                  <a:moveTo>
                    <a:pt x="313" y="5215"/>
                  </a:moveTo>
                  <a:lnTo>
                    <a:pt x="313" y="5215"/>
                  </a:lnTo>
                  <a:cubicBezTo>
                    <a:pt x="313" y="5215"/>
                    <a:pt x="0" y="1627"/>
                    <a:pt x="125" y="918"/>
                  </a:cubicBezTo>
                  <a:lnTo>
                    <a:pt x="125" y="918"/>
                  </a:lnTo>
                  <a:cubicBezTo>
                    <a:pt x="250" y="208"/>
                    <a:pt x="772" y="0"/>
                    <a:pt x="1147" y="20"/>
                  </a:cubicBezTo>
                  <a:lnTo>
                    <a:pt x="1147" y="20"/>
                  </a:lnTo>
                  <a:cubicBezTo>
                    <a:pt x="1523" y="42"/>
                    <a:pt x="1439" y="1773"/>
                    <a:pt x="1439" y="1773"/>
                  </a:cubicBezTo>
                  <a:lnTo>
                    <a:pt x="1126" y="5570"/>
                  </a:lnTo>
                  <a:lnTo>
                    <a:pt x="1126" y="5570"/>
                  </a:lnTo>
                  <a:cubicBezTo>
                    <a:pt x="1126" y="5570"/>
                    <a:pt x="667" y="5737"/>
                    <a:pt x="313" y="5215"/>
                  </a:cubicBezTo>
                </a:path>
              </a:pathLst>
            </a:custGeom>
            <a:solidFill>
              <a:schemeClr val="accent5"/>
            </a:solidFill>
            <a:ln>
              <a:noFill/>
            </a:ln>
            <a:effectLst/>
          </p:spPr>
          <p:txBody>
            <a:bodyPr wrap="none" anchor="ctr"/>
            <a:lstStyle/>
            <a:p>
              <a:endParaRPr lang="en-US" sz="3266" dirty="0">
                <a:latin typeface="Lato Light" panose="020F0502020204030203" pitchFamily="34" charset="0"/>
              </a:endParaRPr>
            </a:p>
          </p:txBody>
        </p:sp>
        <p:sp>
          <p:nvSpPr>
            <p:cNvPr id="96" name="Freeform 177">
              <a:extLst>
                <a:ext uri="{FF2B5EF4-FFF2-40B4-BE49-F238E27FC236}">
                  <a16:creationId xmlns:a16="http://schemas.microsoft.com/office/drawing/2014/main" id="{21F9BA7B-2B61-E245-BFB6-6A3C3F3136F6}"/>
                </a:ext>
              </a:extLst>
            </p:cNvPr>
            <p:cNvSpPr>
              <a:spLocks noChangeArrowheads="1"/>
            </p:cNvSpPr>
            <p:nvPr/>
          </p:nvSpPr>
          <p:spPr bwMode="auto">
            <a:xfrm>
              <a:off x="12448054" y="8960623"/>
              <a:ext cx="849688" cy="2367609"/>
            </a:xfrm>
            <a:custGeom>
              <a:avLst/>
              <a:gdLst>
                <a:gd name="T0" fmla="*/ 0 w 1303"/>
                <a:gd name="T1" fmla="*/ 0 h 3623"/>
                <a:gd name="T2" fmla="*/ 0 w 1303"/>
                <a:gd name="T3" fmla="*/ 0 h 3623"/>
                <a:gd name="T4" fmla="*/ 204 w 1303"/>
                <a:gd name="T5" fmla="*/ 3100 h 3623"/>
                <a:gd name="T6" fmla="*/ 204 w 1303"/>
                <a:gd name="T7" fmla="*/ 3100 h 3623"/>
                <a:gd name="T8" fmla="*/ 1018 w 1303"/>
                <a:gd name="T9" fmla="*/ 3454 h 3623"/>
                <a:gd name="T10" fmla="*/ 1302 w 1303"/>
                <a:gd name="T11" fmla="*/ 0 h 3623"/>
                <a:gd name="T12" fmla="*/ 0 w 1303"/>
                <a:gd name="T13" fmla="*/ 0 h 3623"/>
              </a:gdLst>
              <a:ahLst/>
              <a:cxnLst>
                <a:cxn ang="0">
                  <a:pos x="T0" y="T1"/>
                </a:cxn>
                <a:cxn ang="0">
                  <a:pos x="T2" y="T3"/>
                </a:cxn>
                <a:cxn ang="0">
                  <a:pos x="T4" y="T5"/>
                </a:cxn>
                <a:cxn ang="0">
                  <a:pos x="T6" y="T7"/>
                </a:cxn>
                <a:cxn ang="0">
                  <a:pos x="T8" y="T9"/>
                </a:cxn>
                <a:cxn ang="0">
                  <a:pos x="T10" y="T11"/>
                </a:cxn>
                <a:cxn ang="0">
                  <a:pos x="T12" y="T13"/>
                </a:cxn>
              </a:cxnLst>
              <a:rect l="0" t="0" r="r" b="b"/>
              <a:pathLst>
                <a:path w="1303" h="3623">
                  <a:moveTo>
                    <a:pt x="0" y="0"/>
                  </a:moveTo>
                  <a:lnTo>
                    <a:pt x="0" y="0"/>
                  </a:lnTo>
                  <a:cubicBezTo>
                    <a:pt x="47" y="1302"/>
                    <a:pt x="204" y="3100"/>
                    <a:pt x="204" y="3100"/>
                  </a:cubicBezTo>
                  <a:lnTo>
                    <a:pt x="204" y="3100"/>
                  </a:lnTo>
                  <a:cubicBezTo>
                    <a:pt x="559" y="3622"/>
                    <a:pt x="1018" y="3454"/>
                    <a:pt x="1018" y="3454"/>
                  </a:cubicBezTo>
                  <a:lnTo>
                    <a:pt x="1302" y="0"/>
                  </a:lnTo>
                  <a:lnTo>
                    <a:pt x="0" y="0"/>
                  </a:lnTo>
                </a:path>
              </a:pathLst>
            </a:custGeom>
            <a:solidFill>
              <a:schemeClr val="accent5"/>
            </a:solidFill>
            <a:ln>
              <a:noFill/>
            </a:ln>
            <a:effectLst/>
          </p:spPr>
          <p:txBody>
            <a:bodyPr wrap="none" anchor="ctr"/>
            <a:lstStyle/>
            <a:p>
              <a:endParaRPr lang="en-US" sz="3266" dirty="0">
                <a:latin typeface="Lato Light" panose="020F0502020204030203" pitchFamily="34" charset="0"/>
              </a:endParaRPr>
            </a:p>
          </p:txBody>
        </p:sp>
        <p:sp>
          <p:nvSpPr>
            <p:cNvPr id="97" name="Freeform 178">
              <a:extLst>
                <a:ext uri="{FF2B5EF4-FFF2-40B4-BE49-F238E27FC236}">
                  <a16:creationId xmlns:a16="http://schemas.microsoft.com/office/drawing/2014/main" id="{6B859A88-F3BA-8D45-AB6E-1B5898B456C3}"/>
                </a:ext>
              </a:extLst>
            </p:cNvPr>
            <p:cNvSpPr>
              <a:spLocks noChangeArrowheads="1"/>
            </p:cNvSpPr>
            <p:nvPr/>
          </p:nvSpPr>
          <p:spPr bwMode="auto">
            <a:xfrm>
              <a:off x="11912319" y="8315436"/>
              <a:ext cx="3793357" cy="2344566"/>
            </a:xfrm>
            <a:custGeom>
              <a:avLst/>
              <a:gdLst>
                <a:gd name="T0" fmla="*/ 0 w 5809"/>
                <a:gd name="T1" fmla="*/ 63 h 3590"/>
                <a:gd name="T2" fmla="*/ 0 w 5809"/>
                <a:gd name="T3" fmla="*/ 63 h 3590"/>
                <a:gd name="T4" fmla="*/ 709 w 5809"/>
                <a:gd name="T5" fmla="*/ 187 h 3590"/>
                <a:gd name="T6" fmla="*/ 709 w 5809"/>
                <a:gd name="T7" fmla="*/ 187 h 3590"/>
                <a:gd name="T8" fmla="*/ 4193 w 5809"/>
                <a:gd name="T9" fmla="*/ 1564 h 3590"/>
                <a:gd name="T10" fmla="*/ 5505 w 5809"/>
                <a:gd name="T11" fmla="*/ 873 h 3590"/>
                <a:gd name="T12" fmla="*/ 5505 w 5809"/>
                <a:gd name="T13" fmla="*/ 873 h 3590"/>
                <a:gd name="T14" fmla="*/ 4129 w 5809"/>
                <a:gd name="T15" fmla="*/ 3491 h 3590"/>
                <a:gd name="T16" fmla="*/ 4129 w 5809"/>
                <a:gd name="T17" fmla="*/ 3491 h 3590"/>
                <a:gd name="T18" fmla="*/ 1440 w 5809"/>
                <a:gd name="T19" fmla="*/ 2817 h 3590"/>
                <a:gd name="T20" fmla="*/ 1440 w 5809"/>
                <a:gd name="T21" fmla="*/ 2817 h 3590"/>
                <a:gd name="T22" fmla="*/ 0 w 5809"/>
                <a:gd name="T23" fmla="*/ 1982 h 3590"/>
                <a:gd name="T24" fmla="*/ 0 w 5809"/>
                <a:gd name="T25" fmla="*/ 63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09" h="3590">
                  <a:moveTo>
                    <a:pt x="0" y="63"/>
                  </a:moveTo>
                  <a:lnTo>
                    <a:pt x="0" y="63"/>
                  </a:lnTo>
                  <a:cubicBezTo>
                    <a:pt x="0" y="63"/>
                    <a:pt x="187" y="0"/>
                    <a:pt x="709" y="187"/>
                  </a:cubicBezTo>
                  <a:lnTo>
                    <a:pt x="709" y="187"/>
                  </a:lnTo>
                  <a:cubicBezTo>
                    <a:pt x="1230" y="376"/>
                    <a:pt x="4193" y="1564"/>
                    <a:pt x="4193" y="1564"/>
                  </a:cubicBezTo>
                  <a:lnTo>
                    <a:pt x="5505" y="873"/>
                  </a:lnTo>
                  <a:lnTo>
                    <a:pt x="5505" y="873"/>
                  </a:lnTo>
                  <a:cubicBezTo>
                    <a:pt x="5808" y="3249"/>
                    <a:pt x="4701" y="3285"/>
                    <a:pt x="4129" y="3491"/>
                  </a:cubicBezTo>
                  <a:lnTo>
                    <a:pt x="4129" y="3491"/>
                  </a:lnTo>
                  <a:cubicBezTo>
                    <a:pt x="3856" y="3589"/>
                    <a:pt x="1919" y="3004"/>
                    <a:pt x="1440" y="2817"/>
                  </a:cubicBezTo>
                  <a:lnTo>
                    <a:pt x="1440" y="2817"/>
                  </a:lnTo>
                  <a:cubicBezTo>
                    <a:pt x="960" y="2628"/>
                    <a:pt x="0" y="1982"/>
                    <a:pt x="0" y="1982"/>
                  </a:cubicBezTo>
                  <a:lnTo>
                    <a:pt x="0" y="63"/>
                  </a:lnTo>
                </a:path>
              </a:pathLst>
            </a:custGeom>
            <a:solidFill>
              <a:schemeClr val="accent5"/>
            </a:solidFill>
            <a:ln>
              <a:noFill/>
            </a:ln>
            <a:effectLst/>
          </p:spPr>
          <p:txBody>
            <a:bodyPr wrap="none" anchor="ctr"/>
            <a:lstStyle/>
            <a:p>
              <a:endParaRPr lang="en-US" sz="3266" dirty="0">
                <a:latin typeface="Lato Light" panose="020F0502020204030203" pitchFamily="34" charset="0"/>
              </a:endParaRPr>
            </a:p>
          </p:txBody>
        </p:sp>
        <p:sp>
          <p:nvSpPr>
            <p:cNvPr id="98" name="Freeform 179">
              <a:extLst>
                <a:ext uri="{FF2B5EF4-FFF2-40B4-BE49-F238E27FC236}">
                  <a16:creationId xmlns:a16="http://schemas.microsoft.com/office/drawing/2014/main" id="{715198E5-84F8-3446-AC78-E6369A091980}"/>
                </a:ext>
              </a:extLst>
            </p:cNvPr>
            <p:cNvSpPr>
              <a:spLocks noChangeArrowheads="1"/>
            </p:cNvSpPr>
            <p:nvPr/>
          </p:nvSpPr>
          <p:spPr bwMode="auto">
            <a:xfrm>
              <a:off x="13173891" y="4838910"/>
              <a:ext cx="2494342" cy="4787063"/>
            </a:xfrm>
            <a:custGeom>
              <a:avLst/>
              <a:gdLst>
                <a:gd name="T0" fmla="*/ 2042 w 3817"/>
                <a:gd name="T1" fmla="*/ 348 h 7331"/>
                <a:gd name="T2" fmla="*/ 2042 w 3817"/>
                <a:gd name="T3" fmla="*/ 348 h 7331"/>
                <a:gd name="T4" fmla="*/ 169 w 3817"/>
                <a:gd name="T5" fmla="*/ 1603 h 7331"/>
                <a:gd name="T6" fmla="*/ 169 w 3817"/>
                <a:gd name="T7" fmla="*/ 1603 h 7331"/>
                <a:gd name="T8" fmla="*/ 97 w 3817"/>
                <a:gd name="T9" fmla="*/ 6642 h 7331"/>
                <a:gd name="T10" fmla="*/ 97 w 3817"/>
                <a:gd name="T11" fmla="*/ 6642 h 7331"/>
                <a:gd name="T12" fmla="*/ 335 w 3817"/>
                <a:gd name="T13" fmla="*/ 7007 h 7331"/>
                <a:gd name="T14" fmla="*/ 335 w 3817"/>
                <a:gd name="T15" fmla="*/ 7007 h 7331"/>
                <a:gd name="T16" fmla="*/ 1657 w 3817"/>
                <a:gd name="T17" fmla="*/ 7262 h 7331"/>
                <a:gd name="T18" fmla="*/ 1657 w 3817"/>
                <a:gd name="T19" fmla="*/ 7262 h 7331"/>
                <a:gd name="T20" fmla="*/ 3402 w 3817"/>
                <a:gd name="T21" fmla="*/ 6517 h 7331"/>
                <a:gd name="T22" fmla="*/ 3402 w 3817"/>
                <a:gd name="T23" fmla="*/ 6517 h 7331"/>
                <a:gd name="T24" fmla="*/ 3743 w 3817"/>
                <a:gd name="T25" fmla="*/ 5819 h 7331"/>
                <a:gd name="T26" fmla="*/ 3743 w 3817"/>
                <a:gd name="T27" fmla="*/ 5819 h 7331"/>
                <a:gd name="T28" fmla="*/ 3592 w 3817"/>
                <a:gd name="T29" fmla="*/ 1579 h 7331"/>
                <a:gd name="T30" fmla="*/ 3592 w 3817"/>
                <a:gd name="T31" fmla="*/ 1579 h 7331"/>
                <a:gd name="T32" fmla="*/ 2042 w 3817"/>
                <a:gd name="T33" fmla="*/ 348 h 7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17" h="7331">
                  <a:moveTo>
                    <a:pt x="2042" y="348"/>
                  </a:moveTo>
                  <a:lnTo>
                    <a:pt x="2042" y="348"/>
                  </a:lnTo>
                  <a:cubicBezTo>
                    <a:pt x="572" y="744"/>
                    <a:pt x="169" y="1603"/>
                    <a:pt x="169" y="1603"/>
                  </a:cubicBezTo>
                  <a:lnTo>
                    <a:pt x="169" y="1603"/>
                  </a:lnTo>
                  <a:cubicBezTo>
                    <a:pt x="0" y="3857"/>
                    <a:pt x="67" y="5375"/>
                    <a:pt x="97" y="6642"/>
                  </a:cubicBezTo>
                  <a:lnTo>
                    <a:pt x="97" y="6642"/>
                  </a:lnTo>
                  <a:cubicBezTo>
                    <a:pt x="101" y="6798"/>
                    <a:pt x="194" y="6940"/>
                    <a:pt x="335" y="7007"/>
                  </a:cubicBezTo>
                  <a:lnTo>
                    <a:pt x="335" y="7007"/>
                  </a:lnTo>
                  <a:cubicBezTo>
                    <a:pt x="606" y="7137"/>
                    <a:pt x="1095" y="7330"/>
                    <a:pt x="1657" y="7262"/>
                  </a:cubicBezTo>
                  <a:lnTo>
                    <a:pt x="1657" y="7262"/>
                  </a:lnTo>
                  <a:cubicBezTo>
                    <a:pt x="2579" y="7152"/>
                    <a:pt x="3218" y="6687"/>
                    <a:pt x="3402" y="6517"/>
                  </a:cubicBezTo>
                  <a:lnTo>
                    <a:pt x="3402" y="6517"/>
                  </a:lnTo>
                  <a:cubicBezTo>
                    <a:pt x="3506" y="6420"/>
                    <a:pt x="3733" y="6173"/>
                    <a:pt x="3743" y="5819"/>
                  </a:cubicBezTo>
                  <a:lnTo>
                    <a:pt x="3743" y="5819"/>
                  </a:lnTo>
                  <a:cubicBezTo>
                    <a:pt x="3765" y="5048"/>
                    <a:pt x="3816" y="3387"/>
                    <a:pt x="3592" y="1579"/>
                  </a:cubicBezTo>
                  <a:lnTo>
                    <a:pt x="3592" y="1579"/>
                  </a:lnTo>
                  <a:cubicBezTo>
                    <a:pt x="3592" y="1300"/>
                    <a:pt x="3334" y="0"/>
                    <a:pt x="2042" y="348"/>
                  </a:cubicBezTo>
                </a:path>
              </a:pathLst>
            </a:custGeom>
            <a:solidFill>
              <a:schemeClr val="accent3"/>
            </a:solidFill>
            <a:ln>
              <a:noFill/>
            </a:ln>
            <a:effectLst/>
          </p:spPr>
          <p:txBody>
            <a:bodyPr wrap="none" anchor="ctr"/>
            <a:lstStyle/>
            <a:p>
              <a:endParaRPr lang="en-US" sz="3266" dirty="0">
                <a:latin typeface="Lato Light" panose="020F0502020204030203" pitchFamily="34" charset="0"/>
              </a:endParaRPr>
            </a:p>
          </p:txBody>
        </p:sp>
        <p:sp>
          <p:nvSpPr>
            <p:cNvPr id="99" name="Freeform 180">
              <a:extLst>
                <a:ext uri="{FF2B5EF4-FFF2-40B4-BE49-F238E27FC236}">
                  <a16:creationId xmlns:a16="http://schemas.microsoft.com/office/drawing/2014/main" id="{C29675B9-25A3-0C45-AFD6-3E833AB054F4}"/>
                </a:ext>
              </a:extLst>
            </p:cNvPr>
            <p:cNvSpPr>
              <a:spLocks noChangeArrowheads="1"/>
            </p:cNvSpPr>
            <p:nvPr/>
          </p:nvSpPr>
          <p:spPr bwMode="auto">
            <a:xfrm>
              <a:off x="13093242" y="5682838"/>
              <a:ext cx="1002345" cy="2039254"/>
            </a:xfrm>
            <a:custGeom>
              <a:avLst/>
              <a:gdLst>
                <a:gd name="T0" fmla="*/ 931 w 1533"/>
                <a:gd name="T1" fmla="*/ 68 h 3120"/>
                <a:gd name="T2" fmla="*/ 931 w 1533"/>
                <a:gd name="T3" fmla="*/ 68 h 3120"/>
                <a:gd name="T4" fmla="*/ 189 w 1533"/>
                <a:gd name="T5" fmla="*/ 381 h 3120"/>
                <a:gd name="T6" fmla="*/ 189 w 1533"/>
                <a:gd name="T7" fmla="*/ 381 h 3120"/>
                <a:gd name="T8" fmla="*/ 183 w 1533"/>
                <a:gd name="T9" fmla="*/ 565 h 3120"/>
                <a:gd name="T10" fmla="*/ 183 w 1533"/>
                <a:gd name="T11" fmla="*/ 3119 h 3120"/>
                <a:gd name="T12" fmla="*/ 183 w 1533"/>
                <a:gd name="T13" fmla="*/ 3119 h 3120"/>
                <a:gd name="T14" fmla="*/ 1347 w 1533"/>
                <a:gd name="T15" fmla="*/ 966 h 3120"/>
                <a:gd name="T16" fmla="*/ 1347 w 1533"/>
                <a:gd name="T17" fmla="*/ 966 h 3120"/>
                <a:gd name="T18" fmla="*/ 931 w 1533"/>
                <a:gd name="T19" fmla="*/ 68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3" h="3120">
                  <a:moveTo>
                    <a:pt x="931" y="68"/>
                  </a:moveTo>
                  <a:lnTo>
                    <a:pt x="931" y="68"/>
                  </a:lnTo>
                  <a:cubicBezTo>
                    <a:pt x="708" y="0"/>
                    <a:pt x="318" y="185"/>
                    <a:pt x="189" y="381"/>
                  </a:cubicBezTo>
                  <a:lnTo>
                    <a:pt x="189" y="381"/>
                  </a:lnTo>
                  <a:cubicBezTo>
                    <a:pt x="94" y="496"/>
                    <a:pt x="0" y="611"/>
                    <a:pt x="183" y="565"/>
                  </a:cubicBezTo>
                  <a:lnTo>
                    <a:pt x="183" y="3119"/>
                  </a:lnTo>
                  <a:lnTo>
                    <a:pt x="183" y="3119"/>
                  </a:lnTo>
                  <a:cubicBezTo>
                    <a:pt x="613" y="2579"/>
                    <a:pt x="998" y="1619"/>
                    <a:pt x="1347" y="966"/>
                  </a:cubicBezTo>
                  <a:lnTo>
                    <a:pt x="1347" y="966"/>
                  </a:lnTo>
                  <a:cubicBezTo>
                    <a:pt x="1532" y="621"/>
                    <a:pt x="1306" y="181"/>
                    <a:pt x="931" y="68"/>
                  </a:cubicBezTo>
                </a:path>
              </a:pathLst>
            </a:custGeom>
            <a:solidFill>
              <a:schemeClr val="accent3">
                <a:lumMod val="75000"/>
              </a:schemeClr>
            </a:solidFill>
            <a:ln>
              <a:noFill/>
            </a:ln>
            <a:effectLst/>
          </p:spPr>
          <p:txBody>
            <a:bodyPr wrap="none" anchor="ctr"/>
            <a:lstStyle/>
            <a:p>
              <a:endParaRPr lang="en-US" sz="3266" dirty="0">
                <a:latin typeface="Lato Light" panose="020F0502020204030203" pitchFamily="34" charset="0"/>
              </a:endParaRPr>
            </a:p>
          </p:txBody>
        </p:sp>
        <p:sp>
          <p:nvSpPr>
            <p:cNvPr id="100" name="Freeform 181">
              <a:extLst>
                <a:ext uri="{FF2B5EF4-FFF2-40B4-BE49-F238E27FC236}">
                  <a16:creationId xmlns:a16="http://schemas.microsoft.com/office/drawing/2014/main" id="{28A551E2-E99B-D843-90C5-3D93AF334112}"/>
                </a:ext>
              </a:extLst>
            </p:cNvPr>
            <p:cNvSpPr>
              <a:spLocks noChangeArrowheads="1"/>
            </p:cNvSpPr>
            <p:nvPr/>
          </p:nvSpPr>
          <p:spPr bwMode="auto">
            <a:xfrm>
              <a:off x="10696830" y="6788875"/>
              <a:ext cx="1575525" cy="1229888"/>
            </a:xfrm>
            <a:custGeom>
              <a:avLst/>
              <a:gdLst>
                <a:gd name="T0" fmla="*/ 2411 w 2412"/>
                <a:gd name="T1" fmla="*/ 1132 h 1884"/>
                <a:gd name="T2" fmla="*/ 2411 w 2412"/>
                <a:gd name="T3" fmla="*/ 1132 h 1884"/>
                <a:gd name="T4" fmla="*/ 213 w 2412"/>
                <a:gd name="T5" fmla="*/ 0 h 1884"/>
                <a:gd name="T6" fmla="*/ 0 w 2412"/>
                <a:gd name="T7" fmla="*/ 326 h 1884"/>
                <a:gd name="T8" fmla="*/ 0 w 2412"/>
                <a:gd name="T9" fmla="*/ 326 h 1884"/>
                <a:gd name="T10" fmla="*/ 2284 w 2412"/>
                <a:gd name="T11" fmla="*/ 1883 h 1884"/>
                <a:gd name="T12" fmla="*/ 2411 w 2412"/>
                <a:gd name="T13" fmla="*/ 1132 h 1884"/>
              </a:gdLst>
              <a:ahLst/>
              <a:cxnLst>
                <a:cxn ang="0">
                  <a:pos x="T0" y="T1"/>
                </a:cxn>
                <a:cxn ang="0">
                  <a:pos x="T2" y="T3"/>
                </a:cxn>
                <a:cxn ang="0">
                  <a:pos x="T4" y="T5"/>
                </a:cxn>
                <a:cxn ang="0">
                  <a:pos x="T6" y="T7"/>
                </a:cxn>
                <a:cxn ang="0">
                  <a:pos x="T8" y="T9"/>
                </a:cxn>
                <a:cxn ang="0">
                  <a:pos x="T10" y="T11"/>
                </a:cxn>
                <a:cxn ang="0">
                  <a:pos x="T12" y="T13"/>
                </a:cxn>
              </a:cxnLst>
              <a:rect l="0" t="0" r="r" b="b"/>
              <a:pathLst>
                <a:path w="2412" h="1884">
                  <a:moveTo>
                    <a:pt x="2411" y="1132"/>
                  </a:moveTo>
                  <a:lnTo>
                    <a:pt x="2411" y="1132"/>
                  </a:lnTo>
                  <a:cubicBezTo>
                    <a:pt x="2411" y="1132"/>
                    <a:pt x="504" y="278"/>
                    <a:pt x="213" y="0"/>
                  </a:cubicBezTo>
                  <a:lnTo>
                    <a:pt x="0" y="326"/>
                  </a:lnTo>
                  <a:lnTo>
                    <a:pt x="0" y="326"/>
                  </a:lnTo>
                  <a:cubicBezTo>
                    <a:pt x="0" y="326"/>
                    <a:pt x="862" y="1464"/>
                    <a:pt x="2284" y="1883"/>
                  </a:cubicBezTo>
                  <a:lnTo>
                    <a:pt x="2411" y="1132"/>
                  </a:lnTo>
                </a:path>
              </a:pathLst>
            </a:custGeom>
            <a:solidFill>
              <a:srgbClr val="FCE3C3"/>
            </a:solidFill>
            <a:ln>
              <a:noFill/>
            </a:ln>
            <a:effectLst/>
            <a:extLst>
              <a:ext uri="{91240B29-F687-4F45-9708-019B960494DF}">
                <a14:hiddenLine xmlns:a14="http://schemas.microsoft.com/office/drawing/2010/main" w="9525" cap="flat">
                  <a:solidFill>
                    <a:srgbClr val="263364"/>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101" name="Freeform 182">
              <a:extLst>
                <a:ext uri="{FF2B5EF4-FFF2-40B4-BE49-F238E27FC236}">
                  <a16:creationId xmlns:a16="http://schemas.microsoft.com/office/drawing/2014/main" id="{F1C72375-DE25-1842-BABB-389AF6F36083}"/>
                </a:ext>
              </a:extLst>
            </p:cNvPr>
            <p:cNvSpPr>
              <a:spLocks noChangeArrowheads="1"/>
            </p:cNvSpPr>
            <p:nvPr/>
          </p:nvSpPr>
          <p:spPr bwMode="auto">
            <a:xfrm>
              <a:off x="10751555" y="6872403"/>
              <a:ext cx="1670575" cy="1241411"/>
            </a:xfrm>
            <a:custGeom>
              <a:avLst/>
              <a:gdLst>
                <a:gd name="T0" fmla="*/ 2558 w 2559"/>
                <a:gd name="T1" fmla="*/ 301 h 1901"/>
                <a:gd name="T2" fmla="*/ 2558 w 2559"/>
                <a:gd name="T3" fmla="*/ 301 h 1901"/>
                <a:gd name="T4" fmla="*/ 2115 w 2559"/>
                <a:gd name="T5" fmla="*/ 649 h 1901"/>
                <a:gd name="T6" fmla="*/ 2115 w 2559"/>
                <a:gd name="T7" fmla="*/ 649 h 1901"/>
                <a:gd name="T8" fmla="*/ 367 w 2559"/>
                <a:gd name="T9" fmla="*/ 0 h 1901"/>
                <a:gd name="T10" fmla="*/ 367 w 2559"/>
                <a:gd name="T11" fmla="*/ 0 h 1901"/>
                <a:gd name="T12" fmla="*/ 23 w 2559"/>
                <a:gd name="T13" fmla="*/ 356 h 1901"/>
                <a:gd name="T14" fmla="*/ 23 w 2559"/>
                <a:gd name="T15" fmla="*/ 356 h 1901"/>
                <a:gd name="T16" fmla="*/ 70 w 2559"/>
                <a:gd name="T17" fmla="*/ 550 h 1901"/>
                <a:gd name="T18" fmla="*/ 70 w 2559"/>
                <a:gd name="T19" fmla="*/ 550 h 1901"/>
                <a:gd name="T20" fmla="*/ 2360 w 2559"/>
                <a:gd name="T21" fmla="*/ 1900 h 1901"/>
                <a:gd name="T22" fmla="*/ 2558 w 2559"/>
                <a:gd name="T23" fmla="*/ 301 h 1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59" h="1901">
                  <a:moveTo>
                    <a:pt x="2558" y="301"/>
                  </a:moveTo>
                  <a:lnTo>
                    <a:pt x="2558" y="301"/>
                  </a:lnTo>
                  <a:cubicBezTo>
                    <a:pt x="2472" y="646"/>
                    <a:pt x="2320" y="733"/>
                    <a:pt x="2115" y="649"/>
                  </a:cubicBezTo>
                  <a:lnTo>
                    <a:pt x="2115" y="649"/>
                  </a:lnTo>
                  <a:cubicBezTo>
                    <a:pt x="1553" y="420"/>
                    <a:pt x="667" y="200"/>
                    <a:pt x="367" y="0"/>
                  </a:cubicBezTo>
                  <a:lnTo>
                    <a:pt x="367" y="0"/>
                  </a:lnTo>
                  <a:cubicBezTo>
                    <a:pt x="202" y="82"/>
                    <a:pt x="71" y="210"/>
                    <a:pt x="23" y="356"/>
                  </a:cubicBezTo>
                  <a:lnTo>
                    <a:pt x="23" y="356"/>
                  </a:lnTo>
                  <a:cubicBezTo>
                    <a:pt x="0" y="424"/>
                    <a:pt x="20" y="499"/>
                    <a:pt x="70" y="550"/>
                  </a:cubicBezTo>
                  <a:lnTo>
                    <a:pt x="70" y="550"/>
                  </a:lnTo>
                  <a:cubicBezTo>
                    <a:pt x="328" y="812"/>
                    <a:pt x="1285" y="1715"/>
                    <a:pt x="2360" y="1900"/>
                  </a:cubicBezTo>
                  <a:lnTo>
                    <a:pt x="2558" y="301"/>
                  </a:lnTo>
                </a:path>
              </a:pathLst>
            </a:custGeom>
            <a:solidFill>
              <a:schemeClr val="accent3"/>
            </a:solidFill>
            <a:ln>
              <a:noFill/>
            </a:ln>
            <a:effectLst/>
          </p:spPr>
          <p:txBody>
            <a:bodyPr wrap="none" anchor="ctr"/>
            <a:lstStyle/>
            <a:p>
              <a:endParaRPr lang="en-US" sz="3266" dirty="0">
                <a:latin typeface="Lato Light" panose="020F0502020204030203" pitchFamily="34" charset="0"/>
              </a:endParaRPr>
            </a:p>
          </p:txBody>
        </p:sp>
        <p:sp>
          <p:nvSpPr>
            <p:cNvPr id="102" name="Freeform 183">
              <a:extLst>
                <a:ext uri="{FF2B5EF4-FFF2-40B4-BE49-F238E27FC236}">
                  <a16:creationId xmlns:a16="http://schemas.microsoft.com/office/drawing/2014/main" id="{7AC399B0-DC73-084D-995C-A97F9A1A1166}"/>
                </a:ext>
              </a:extLst>
            </p:cNvPr>
            <p:cNvSpPr>
              <a:spLocks noChangeArrowheads="1"/>
            </p:cNvSpPr>
            <p:nvPr/>
          </p:nvSpPr>
          <p:spPr bwMode="auto">
            <a:xfrm>
              <a:off x="12145621" y="5682839"/>
              <a:ext cx="1949966" cy="2482821"/>
            </a:xfrm>
            <a:custGeom>
              <a:avLst/>
              <a:gdLst>
                <a:gd name="T0" fmla="*/ 254 w 2984"/>
                <a:gd name="T1" fmla="*/ 2547 h 3803"/>
                <a:gd name="T2" fmla="*/ 254 w 2984"/>
                <a:gd name="T3" fmla="*/ 2547 h 3803"/>
                <a:gd name="T4" fmla="*/ 1640 w 2984"/>
                <a:gd name="T5" fmla="*/ 381 h 3803"/>
                <a:gd name="T6" fmla="*/ 1640 w 2984"/>
                <a:gd name="T7" fmla="*/ 381 h 3803"/>
                <a:gd name="T8" fmla="*/ 2382 w 2984"/>
                <a:gd name="T9" fmla="*/ 68 h 3803"/>
                <a:gd name="T10" fmla="*/ 2382 w 2984"/>
                <a:gd name="T11" fmla="*/ 68 h 3803"/>
                <a:gd name="T12" fmla="*/ 2798 w 2984"/>
                <a:gd name="T13" fmla="*/ 966 h 3803"/>
                <a:gd name="T14" fmla="*/ 2798 w 2984"/>
                <a:gd name="T15" fmla="*/ 966 h 3803"/>
                <a:gd name="T16" fmla="*/ 0 w 2984"/>
                <a:gd name="T17" fmla="*/ 3802 h 3803"/>
                <a:gd name="T18" fmla="*/ 0 w 2984"/>
                <a:gd name="T19" fmla="*/ 3802 h 3803"/>
                <a:gd name="T20" fmla="*/ 254 w 2984"/>
                <a:gd name="T21" fmla="*/ 2547 h 3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84" h="3803">
                  <a:moveTo>
                    <a:pt x="254" y="2547"/>
                  </a:moveTo>
                  <a:lnTo>
                    <a:pt x="254" y="2547"/>
                  </a:lnTo>
                  <a:cubicBezTo>
                    <a:pt x="444" y="1919"/>
                    <a:pt x="1014" y="1136"/>
                    <a:pt x="1640" y="381"/>
                  </a:cubicBezTo>
                  <a:lnTo>
                    <a:pt x="1640" y="381"/>
                  </a:lnTo>
                  <a:cubicBezTo>
                    <a:pt x="1769" y="185"/>
                    <a:pt x="2159" y="0"/>
                    <a:pt x="2382" y="68"/>
                  </a:cubicBezTo>
                  <a:lnTo>
                    <a:pt x="2382" y="68"/>
                  </a:lnTo>
                  <a:cubicBezTo>
                    <a:pt x="2757" y="181"/>
                    <a:pt x="2983" y="621"/>
                    <a:pt x="2798" y="966"/>
                  </a:cubicBezTo>
                  <a:lnTo>
                    <a:pt x="2798" y="966"/>
                  </a:lnTo>
                  <a:cubicBezTo>
                    <a:pt x="2302" y="1891"/>
                    <a:pt x="1452" y="3257"/>
                    <a:pt x="0" y="3802"/>
                  </a:cubicBezTo>
                  <a:lnTo>
                    <a:pt x="0" y="3802"/>
                  </a:lnTo>
                  <a:cubicBezTo>
                    <a:pt x="0" y="3802"/>
                    <a:pt x="168" y="2706"/>
                    <a:pt x="254" y="2547"/>
                  </a:cubicBezTo>
                </a:path>
              </a:pathLst>
            </a:custGeom>
            <a:solidFill>
              <a:schemeClr val="accent3"/>
            </a:solidFill>
            <a:ln>
              <a:noFill/>
            </a:ln>
            <a:effectLst/>
          </p:spPr>
          <p:txBody>
            <a:bodyPr wrap="none" anchor="ctr"/>
            <a:lstStyle/>
            <a:p>
              <a:endParaRPr lang="en-US" sz="3266" dirty="0">
                <a:latin typeface="Lato Light" panose="020F0502020204030203" pitchFamily="34" charset="0"/>
              </a:endParaRPr>
            </a:p>
          </p:txBody>
        </p:sp>
        <p:sp>
          <p:nvSpPr>
            <p:cNvPr id="103" name="Freeform 184">
              <a:extLst>
                <a:ext uri="{FF2B5EF4-FFF2-40B4-BE49-F238E27FC236}">
                  <a16:creationId xmlns:a16="http://schemas.microsoft.com/office/drawing/2014/main" id="{52CFE216-DEA4-D048-B6EB-89C345262F10}"/>
                </a:ext>
              </a:extLst>
            </p:cNvPr>
            <p:cNvSpPr>
              <a:spLocks noChangeArrowheads="1"/>
            </p:cNvSpPr>
            <p:nvPr/>
          </p:nvSpPr>
          <p:spPr bwMode="auto">
            <a:xfrm>
              <a:off x="10273426" y="6417315"/>
              <a:ext cx="665351" cy="607745"/>
            </a:xfrm>
            <a:custGeom>
              <a:avLst/>
              <a:gdLst>
                <a:gd name="T0" fmla="*/ 954 w 1017"/>
                <a:gd name="T1" fmla="*/ 662 h 929"/>
                <a:gd name="T2" fmla="*/ 954 w 1017"/>
                <a:gd name="T3" fmla="*/ 662 h 929"/>
                <a:gd name="T4" fmla="*/ 976 w 1017"/>
                <a:gd name="T5" fmla="*/ 236 h 929"/>
                <a:gd name="T6" fmla="*/ 976 w 1017"/>
                <a:gd name="T7" fmla="*/ 236 h 929"/>
                <a:gd name="T8" fmla="*/ 807 w 1017"/>
                <a:gd name="T9" fmla="*/ 223 h 929"/>
                <a:gd name="T10" fmla="*/ 807 w 1017"/>
                <a:gd name="T11" fmla="*/ 223 h 929"/>
                <a:gd name="T12" fmla="*/ 485 w 1017"/>
                <a:gd name="T13" fmla="*/ 19 h 929"/>
                <a:gd name="T14" fmla="*/ 485 w 1017"/>
                <a:gd name="T15" fmla="*/ 19 h 929"/>
                <a:gd name="T16" fmla="*/ 305 w 1017"/>
                <a:gd name="T17" fmla="*/ 108 h 929"/>
                <a:gd name="T18" fmla="*/ 305 w 1017"/>
                <a:gd name="T19" fmla="*/ 108 h 929"/>
                <a:gd name="T20" fmla="*/ 134 w 1017"/>
                <a:gd name="T21" fmla="*/ 293 h 929"/>
                <a:gd name="T22" fmla="*/ 134 w 1017"/>
                <a:gd name="T23" fmla="*/ 293 h 929"/>
                <a:gd name="T24" fmla="*/ 31 w 1017"/>
                <a:gd name="T25" fmla="*/ 418 h 929"/>
                <a:gd name="T26" fmla="*/ 31 w 1017"/>
                <a:gd name="T27" fmla="*/ 418 h 929"/>
                <a:gd name="T28" fmla="*/ 31 w 1017"/>
                <a:gd name="T29" fmla="*/ 550 h 929"/>
                <a:gd name="T30" fmla="*/ 31 w 1017"/>
                <a:gd name="T31" fmla="*/ 550 h 929"/>
                <a:gd name="T32" fmla="*/ 37 w 1017"/>
                <a:gd name="T33" fmla="*/ 669 h 929"/>
                <a:gd name="T34" fmla="*/ 37 w 1017"/>
                <a:gd name="T35" fmla="*/ 669 h 929"/>
                <a:gd name="T36" fmla="*/ 674 w 1017"/>
                <a:gd name="T37" fmla="*/ 919 h 929"/>
                <a:gd name="T38" fmla="*/ 674 w 1017"/>
                <a:gd name="T39" fmla="*/ 919 h 929"/>
                <a:gd name="T40" fmla="*/ 954 w 1017"/>
                <a:gd name="T41" fmla="*/ 662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17" h="929">
                  <a:moveTo>
                    <a:pt x="954" y="662"/>
                  </a:moveTo>
                  <a:lnTo>
                    <a:pt x="954" y="662"/>
                  </a:lnTo>
                  <a:cubicBezTo>
                    <a:pt x="954" y="662"/>
                    <a:pt x="1016" y="334"/>
                    <a:pt x="976" y="236"/>
                  </a:cubicBezTo>
                  <a:lnTo>
                    <a:pt x="976" y="236"/>
                  </a:lnTo>
                  <a:cubicBezTo>
                    <a:pt x="963" y="206"/>
                    <a:pt x="939" y="144"/>
                    <a:pt x="807" y="223"/>
                  </a:cubicBezTo>
                  <a:lnTo>
                    <a:pt x="807" y="223"/>
                  </a:lnTo>
                  <a:cubicBezTo>
                    <a:pt x="777" y="241"/>
                    <a:pt x="774" y="157"/>
                    <a:pt x="485" y="19"/>
                  </a:cubicBezTo>
                  <a:lnTo>
                    <a:pt x="485" y="19"/>
                  </a:lnTo>
                  <a:cubicBezTo>
                    <a:pt x="447" y="0"/>
                    <a:pt x="313" y="23"/>
                    <a:pt x="305" y="108"/>
                  </a:cubicBezTo>
                  <a:lnTo>
                    <a:pt x="305" y="108"/>
                  </a:lnTo>
                  <a:cubicBezTo>
                    <a:pt x="296" y="193"/>
                    <a:pt x="145" y="216"/>
                    <a:pt x="134" y="293"/>
                  </a:cubicBezTo>
                  <a:lnTo>
                    <a:pt x="134" y="293"/>
                  </a:lnTo>
                  <a:cubicBezTo>
                    <a:pt x="125" y="362"/>
                    <a:pt x="77" y="368"/>
                    <a:pt x="31" y="418"/>
                  </a:cubicBezTo>
                  <a:lnTo>
                    <a:pt x="31" y="418"/>
                  </a:lnTo>
                  <a:cubicBezTo>
                    <a:pt x="0" y="452"/>
                    <a:pt x="47" y="516"/>
                    <a:pt x="31" y="550"/>
                  </a:cubicBezTo>
                  <a:lnTo>
                    <a:pt x="31" y="550"/>
                  </a:lnTo>
                  <a:cubicBezTo>
                    <a:pt x="16" y="581"/>
                    <a:pt x="23" y="648"/>
                    <a:pt x="37" y="669"/>
                  </a:cubicBezTo>
                  <a:lnTo>
                    <a:pt x="37" y="669"/>
                  </a:lnTo>
                  <a:cubicBezTo>
                    <a:pt x="88" y="754"/>
                    <a:pt x="436" y="928"/>
                    <a:pt x="674" y="919"/>
                  </a:cubicBezTo>
                  <a:lnTo>
                    <a:pt x="674" y="919"/>
                  </a:lnTo>
                  <a:cubicBezTo>
                    <a:pt x="912" y="910"/>
                    <a:pt x="954" y="662"/>
                    <a:pt x="954" y="662"/>
                  </a:cubicBezTo>
                </a:path>
              </a:pathLst>
            </a:custGeom>
            <a:solidFill>
              <a:srgbClr val="FCE3C3"/>
            </a:solidFill>
            <a:ln>
              <a:noFill/>
            </a:ln>
            <a:effectLst/>
            <a:extLst>
              <a:ext uri="{91240B29-F687-4F45-9708-019B960494DF}">
                <a14:hiddenLine xmlns:a14="http://schemas.microsoft.com/office/drawing/2010/main" w="9525" cap="flat">
                  <a:solidFill>
                    <a:srgbClr val="263364"/>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104" name="Freeform 185">
              <a:extLst>
                <a:ext uri="{FF2B5EF4-FFF2-40B4-BE49-F238E27FC236}">
                  <a16:creationId xmlns:a16="http://schemas.microsoft.com/office/drawing/2014/main" id="{AF863B2D-60A0-0D4C-9837-9C401B5FBCBF}"/>
                </a:ext>
              </a:extLst>
            </p:cNvPr>
            <p:cNvSpPr>
              <a:spLocks noChangeArrowheads="1"/>
            </p:cNvSpPr>
            <p:nvPr/>
          </p:nvSpPr>
          <p:spPr bwMode="auto">
            <a:xfrm>
              <a:off x="13738430" y="6198413"/>
              <a:ext cx="2629715" cy="4582562"/>
            </a:xfrm>
            <a:custGeom>
              <a:avLst/>
              <a:gdLst>
                <a:gd name="T0" fmla="*/ 3453 w 4025"/>
                <a:gd name="T1" fmla="*/ 2055 h 7014"/>
                <a:gd name="T2" fmla="*/ 3453 w 4025"/>
                <a:gd name="T3" fmla="*/ 2055 h 7014"/>
                <a:gd name="T4" fmla="*/ 3271 w 4025"/>
                <a:gd name="T5" fmla="*/ 4628 h 7014"/>
                <a:gd name="T6" fmla="*/ 3271 w 4025"/>
                <a:gd name="T7" fmla="*/ 4628 h 7014"/>
                <a:gd name="T8" fmla="*/ 1924 w 4025"/>
                <a:gd name="T9" fmla="*/ 5611 h 7014"/>
                <a:gd name="T10" fmla="*/ 1924 w 4025"/>
                <a:gd name="T11" fmla="*/ 5611 h 7014"/>
                <a:gd name="T12" fmla="*/ 1228 w 4025"/>
                <a:gd name="T13" fmla="*/ 4945 h 7014"/>
                <a:gd name="T14" fmla="*/ 1228 w 4025"/>
                <a:gd name="T15" fmla="*/ 4945 h 7014"/>
                <a:gd name="T16" fmla="*/ 1168 w 4025"/>
                <a:gd name="T17" fmla="*/ 2922 h 7014"/>
                <a:gd name="T18" fmla="*/ 1168 w 4025"/>
                <a:gd name="T19" fmla="*/ 2922 h 7014"/>
                <a:gd name="T20" fmla="*/ 1600 w 4025"/>
                <a:gd name="T21" fmla="*/ 1627 h 7014"/>
                <a:gd name="T22" fmla="*/ 1600 w 4025"/>
                <a:gd name="T23" fmla="*/ 1627 h 7014"/>
                <a:gd name="T24" fmla="*/ 3094 w 4025"/>
                <a:gd name="T25" fmla="*/ 1011 h 7014"/>
                <a:gd name="T26" fmla="*/ 3094 w 4025"/>
                <a:gd name="T27" fmla="*/ 1011 h 7014"/>
                <a:gd name="T28" fmla="*/ 3453 w 4025"/>
                <a:gd name="T29" fmla="*/ 2055 h 7014"/>
                <a:gd name="T30" fmla="*/ 3401 w 4025"/>
                <a:gd name="T31" fmla="*/ 174 h 7014"/>
                <a:gd name="T32" fmla="*/ 3401 w 4025"/>
                <a:gd name="T33" fmla="*/ 174 h 7014"/>
                <a:gd name="T34" fmla="*/ 1220 w 4025"/>
                <a:gd name="T35" fmla="*/ 1074 h 7014"/>
                <a:gd name="T36" fmla="*/ 1220 w 4025"/>
                <a:gd name="T37" fmla="*/ 1074 h 7014"/>
                <a:gd name="T38" fmla="*/ 590 w 4025"/>
                <a:gd name="T39" fmla="*/ 2965 h 7014"/>
                <a:gd name="T40" fmla="*/ 590 w 4025"/>
                <a:gd name="T41" fmla="*/ 2965 h 7014"/>
                <a:gd name="T42" fmla="*/ 623 w 4025"/>
                <a:gd name="T43" fmla="*/ 5641 h 7014"/>
                <a:gd name="T44" fmla="*/ 623 w 4025"/>
                <a:gd name="T45" fmla="*/ 5641 h 7014"/>
                <a:gd name="T46" fmla="*/ 0 w 4025"/>
                <a:gd name="T47" fmla="*/ 6372 h 7014"/>
                <a:gd name="T48" fmla="*/ 0 w 4025"/>
                <a:gd name="T49" fmla="*/ 6372 h 7014"/>
                <a:gd name="T50" fmla="*/ 1803 w 4025"/>
                <a:gd name="T51" fmla="*/ 6837 h 7014"/>
                <a:gd name="T52" fmla="*/ 1803 w 4025"/>
                <a:gd name="T53" fmla="*/ 6837 h 7014"/>
                <a:gd name="T54" fmla="*/ 3571 w 4025"/>
                <a:gd name="T55" fmla="*/ 5386 h 7014"/>
                <a:gd name="T56" fmla="*/ 3571 w 4025"/>
                <a:gd name="T57" fmla="*/ 5386 h 7014"/>
                <a:gd name="T58" fmla="*/ 3938 w 4025"/>
                <a:gd name="T59" fmla="*/ 1991 h 7014"/>
                <a:gd name="T60" fmla="*/ 3938 w 4025"/>
                <a:gd name="T61" fmla="*/ 1991 h 7014"/>
                <a:gd name="T62" fmla="*/ 3401 w 4025"/>
                <a:gd name="T63" fmla="*/ 174 h 7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25" h="7014">
                  <a:moveTo>
                    <a:pt x="3453" y="2055"/>
                  </a:moveTo>
                  <a:lnTo>
                    <a:pt x="3453" y="2055"/>
                  </a:lnTo>
                  <a:cubicBezTo>
                    <a:pt x="3390" y="2741"/>
                    <a:pt x="3332" y="4326"/>
                    <a:pt x="3271" y="4628"/>
                  </a:cubicBezTo>
                  <a:lnTo>
                    <a:pt x="3271" y="4628"/>
                  </a:lnTo>
                  <a:cubicBezTo>
                    <a:pt x="3203" y="4970"/>
                    <a:pt x="2413" y="5315"/>
                    <a:pt x="1924" y="5611"/>
                  </a:cubicBezTo>
                  <a:lnTo>
                    <a:pt x="1924" y="5611"/>
                  </a:lnTo>
                  <a:cubicBezTo>
                    <a:pt x="1289" y="5997"/>
                    <a:pt x="1242" y="5377"/>
                    <a:pt x="1228" y="4945"/>
                  </a:cubicBezTo>
                  <a:lnTo>
                    <a:pt x="1228" y="4945"/>
                  </a:lnTo>
                  <a:cubicBezTo>
                    <a:pt x="1215" y="4514"/>
                    <a:pt x="1210" y="3450"/>
                    <a:pt x="1168" y="2922"/>
                  </a:cubicBezTo>
                  <a:lnTo>
                    <a:pt x="1168" y="2922"/>
                  </a:lnTo>
                  <a:cubicBezTo>
                    <a:pt x="1127" y="2395"/>
                    <a:pt x="1148" y="1975"/>
                    <a:pt x="1600" y="1627"/>
                  </a:cubicBezTo>
                  <a:lnTo>
                    <a:pt x="1600" y="1627"/>
                  </a:lnTo>
                  <a:cubicBezTo>
                    <a:pt x="2248" y="1131"/>
                    <a:pt x="2854" y="893"/>
                    <a:pt x="3094" y="1011"/>
                  </a:cubicBezTo>
                  <a:lnTo>
                    <a:pt x="3094" y="1011"/>
                  </a:lnTo>
                  <a:cubicBezTo>
                    <a:pt x="3411" y="1168"/>
                    <a:pt x="3512" y="1401"/>
                    <a:pt x="3453" y="2055"/>
                  </a:cubicBezTo>
                  <a:close/>
                  <a:moveTo>
                    <a:pt x="3401" y="174"/>
                  </a:moveTo>
                  <a:lnTo>
                    <a:pt x="3401" y="174"/>
                  </a:lnTo>
                  <a:cubicBezTo>
                    <a:pt x="3051" y="0"/>
                    <a:pt x="2166" y="349"/>
                    <a:pt x="1220" y="1074"/>
                  </a:cubicBezTo>
                  <a:lnTo>
                    <a:pt x="1220" y="1074"/>
                  </a:lnTo>
                  <a:cubicBezTo>
                    <a:pt x="559" y="1580"/>
                    <a:pt x="530" y="2195"/>
                    <a:pt x="590" y="2965"/>
                  </a:cubicBezTo>
                  <a:lnTo>
                    <a:pt x="590" y="2965"/>
                  </a:lnTo>
                  <a:cubicBezTo>
                    <a:pt x="650" y="3735"/>
                    <a:pt x="614" y="5011"/>
                    <a:pt x="623" y="5641"/>
                  </a:cubicBezTo>
                  <a:lnTo>
                    <a:pt x="623" y="5641"/>
                  </a:lnTo>
                  <a:cubicBezTo>
                    <a:pt x="634" y="6429"/>
                    <a:pt x="0" y="6372"/>
                    <a:pt x="0" y="6372"/>
                  </a:cubicBezTo>
                  <a:lnTo>
                    <a:pt x="0" y="6372"/>
                  </a:lnTo>
                  <a:cubicBezTo>
                    <a:pt x="571" y="6963"/>
                    <a:pt x="1377" y="7013"/>
                    <a:pt x="1803" y="6837"/>
                  </a:cubicBezTo>
                  <a:lnTo>
                    <a:pt x="1803" y="6837"/>
                  </a:lnTo>
                  <a:cubicBezTo>
                    <a:pt x="2575" y="6519"/>
                    <a:pt x="3471" y="5887"/>
                    <a:pt x="3571" y="5386"/>
                  </a:cubicBezTo>
                  <a:lnTo>
                    <a:pt x="3571" y="5386"/>
                  </a:lnTo>
                  <a:cubicBezTo>
                    <a:pt x="3659" y="4946"/>
                    <a:pt x="3847" y="2993"/>
                    <a:pt x="3938" y="1991"/>
                  </a:cubicBezTo>
                  <a:lnTo>
                    <a:pt x="3938" y="1991"/>
                  </a:lnTo>
                  <a:cubicBezTo>
                    <a:pt x="4024" y="1036"/>
                    <a:pt x="3864" y="405"/>
                    <a:pt x="3401" y="174"/>
                  </a:cubicBezTo>
                  <a:close/>
                </a:path>
              </a:pathLst>
            </a:custGeom>
            <a:solidFill>
              <a:schemeClr val="accent6">
                <a:lumMod val="90000"/>
              </a:schemeClr>
            </a:solidFill>
            <a:ln>
              <a:noFill/>
            </a:ln>
            <a:effectLst/>
          </p:spPr>
          <p:txBody>
            <a:bodyPr wrap="none" anchor="ctr"/>
            <a:lstStyle/>
            <a:p>
              <a:endParaRPr lang="en-US" sz="3266" dirty="0">
                <a:latin typeface="Lato Light" panose="020F0502020204030203" pitchFamily="34" charset="0"/>
              </a:endParaRPr>
            </a:p>
          </p:txBody>
        </p:sp>
        <p:sp>
          <p:nvSpPr>
            <p:cNvPr id="105" name="Freeform 186">
              <a:extLst>
                <a:ext uri="{FF2B5EF4-FFF2-40B4-BE49-F238E27FC236}">
                  <a16:creationId xmlns:a16="http://schemas.microsoft.com/office/drawing/2014/main" id="{61CC809E-868F-D442-8728-4E8A124181A7}"/>
                </a:ext>
              </a:extLst>
            </p:cNvPr>
            <p:cNvSpPr>
              <a:spLocks noChangeArrowheads="1"/>
            </p:cNvSpPr>
            <p:nvPr/>
          </p:nvSpPr>
          <p:spPr bwMode="auto">
            <a:xfrm>
              <a:off x="14481547" y="6541169"/>
              <a:ext cx="1690737" cy="3666624"/>
            </a:xfrm>
            <a:custGeom>
              <a:avLst/>
              <a:gdLst>
                <a:gd name="T0" fmla="*/ 2588 w 2589"/>
                <a:gd name="T1" fmla="*/ 4615 h 5615"/>
                <a:gd name="T2" fmla="*/ 0 w 2589"/>
                <a:gd name="T3" fmla="*/ 5614 h 5615"/>
                <a:gd name="T4" fmla="*/ 0 w 2589"/>
                <a:gd name="T5" fmla="*/ 998 h 5615"/>
                <a:gd name="T6" fmla="*/ 2588 w 2589"/>
                <a:gd name="T7" fmla="*/ 0 h 5615"/>
                <a:gd name="T8" fmla="*/ 2588 w 2589"/>
                <a:gd name="T9" fmla="*/ 4615 h 5615"/>
              </a:gdLst>
              <a:ahLst/>
              <a:cxnLst>
                <a:cxn ang="0">
                  <a:pos x="T0" y="T1"/>
                </a:cxn>
                <a:cxn ang="0">
                  <a:pos x="T2" y="T3"/>
                </a:cxn>
                <a:cxn ang="0">
                  <a:pos x="T4" y="T5"/>
                </a:cxn>
                <a:cxn ang="0">
                  <a:pos x="T6" y="T7"/>
                </a:cxn>
                <a:cxn ang="0">
                  <a:pos x="T8" y="T9"/>
                </a:cxn>
              </a:cxnLst>
              <a:rect l="0" t="0" r="r" b="b"/>
              <a:pathLst>
                <a:path w="2589" h="5615">
                  <a:moveTo>
                    <a:pt x="2588" y="4615"/>
                  </a:moveTo>
                  <a:lnTo>
                    <a:pt x="0" y="5614"/>
                  </a:lnTo>
                  <a:lnTo>
                    <a:pt x="0" y="998"/>
                  </a:lnTo>
                  <a:lnTo>
                    <a:pt x="2588" y="0"/>
                  </a:lnTo>
                  <a:lnTo>
                    <a:pt x="2588" y="4615"/>
                  </a:lnTo>
                </a:path>
              </a:pathLst>
            </a:custGeom>
            <a:solidFill>
              <a:schemeClr val="bg1">
                <a:lumMod val="85000"/>
              </a:schemeClr>
            </a:solidFill>
            <a:ln>
              <a:noFill/>
            </a:ln>
            <a:effectLst/>
          </p:spPr>
          <p:txBody>
            <a:bodyPr wrap="none" anchor="ctr"/>
            <a:lstStyle/>
            <a:p>
              <a:endParaRPr lang="en-US" sz="3266" dirty="0">
                <a:latin typeface="Lato Light" panose="020F0502020204030203" pitchFamily="34" charset="0"/>
              </a:endParaRPr>
            </a:p>
          </p:txBody>
        </p:sp>
        <p:sp>
          <p:nvSpPr>
            <p:cNvPr id="106" name="Freeform 187">
              <a:extLst>
                <a:ext uri="{FF2B5EF4-FFF2-40B4-BE49-F238E27FC236}">
                  <a16:creationId xmlns:a16="http://schemas.microsoft.com/office/drawing/2014/main" id="{6B8AA56B-52E4-DC45-BAE2-869A29AA3486}"/>
                </a:ext>
              </a:extLst>
            </p:cNvPr>
            <p:cNvSpPr>
              <a:spLocks noChangeArrowheads="1"/>
            </p:cNvSpPr>
            <p:nvPr/>
          </p:nvSpPr>
          <p:spPr bwMode="auto">
            <a:xfrm>
              <a:off x="12929064" y="11218780"/>
              <a:ext cx="2635478" cy="1385425"/>
            </a:xfrm>
            <a:custGeom>
              <a:avLst/>
              <a:gdLst>
                <a:gd name="T0" fmla="*/ 3967 w 4034"/>
                <a:gd name="T1" fmla="*/ 1755 h 2120"/>
                <a:gd name="T2" fmla="*/ 2983 w 4034"/>
                <a:gd name="T3" fmla="*/ 1014 h 2120"/>
                <a:gd name="T4" fmla="*/ 2983 w 4034"/>
                <a:gd name="T5" fmla="*/ 1014 h 2120"/>
                <a:gd name="T6" fmla="*/ 2997 w 4034"/>
                <a:gd name="T7" fmla="*/ 658 h 2120"/>
                <a:gd name="T8" fmla="*/ 3834 w 4034"/>
                <a:gd name="T9" fmla="*/ 132 h 2120"/>
                <a:gd name="T10" fmla="*/ 3834 w 4034"/>
                <a:gd name="T11" fmla="*/ 132 h 2120"/>
                <a:gd name="T12" fmla="*/ 3644 w 4034"/>
                <a:gd name="T13" fmla="*/ 12 h 2120"/>
                <a:gd name="T14" fmla="*/ 3644 w 4034"/>
                <a:gd name="T15" fmla="*/ 12 h 2120"/>
                <a:gd name="T16" fmla="*/ 2261 w 4034"/>
                <a:gd name="T17" fmla="*/ 485 h 2120"/>
                <a:gd name="T18" fmla="*/ 2261 w 4034"/>
                <a:gd name="T19" fmla="*/ 485 h 2120"/>
                <a:gd name="T20" fmla="*/ 2012 w 4034"/>
                <a:gd name="T21" fmla="*/ 451 h 2120"/>
                <a:gd name="T22" fmla="*/ 2012 w 4034"/>
                <a:gd name="T23" fmla="*/ 451 h 2120"/>
                <a:gd name="T24" fmla="*/ 1902 w 4034"/>
                <a:gd name="T25" fmla="*/ 457 h 2120"/>
                <a:gd name="T26" fmla="*/ 1905 w 4034"/>
                <a:gd name="T27" fmla="*/ 452 h 2120"/>
                <a:gd name="T28" fmla="*/ 1905 w 4034"/>
                <a:gd name="T29" fmla="*/ 452 h 2120"/>
                <a:gd name="T30" fmla="*/ 590 w 4034"/>
                <a:gd name="T31" fmla="*/ 51 h 2120"/>
                <a:gd name="T32" fmla="*/ 590 w 4034"/>
                <a:gd name="T33" fmla="*/ 51 h 2120"/>
                <a:gd name="T34" fmla="*/ 371 w 4034"/>
                <a:gd name="T35" fmla="*/ 255 h 2120"/>
                <a:gd name="T36" fmla="*/ 1117 w 4034"/>
                <a:gd name="T37" fmla="*/ 630 h 2120"/>
                <a:gd name="T38" fmla="*/ 1117 w 4034"/>
                <a:gd name="T39" fmla="*/ 630 h 2120"/>
                <a:gd name="T40" fmla="*/ 1150 w 4034"/>
                <a:gd name="T41" fmla="*/ 995 h 2120"/>
                <a:gd name="T42" fmla="*/ 65 w 4034"/>
                <a:gd name="T43" fmla="*/ 1812 h 2120"/>
                <a:gd name="T44" fmla="*/ 65 w 4034"/>
                <a:gd name="T45" fmla="*/ 1812 h 2120"/>
                <a:gd name="T46" fmla="*/ 123 w 4034"/>
                <a:gd name="T47" fmla="*/ 2080 h 2120"/>
                <a:gd name="T48" fmla="*/ 123 w 4034"/>
                <a:gd name="T49" fmla="*/ 2080 h 2120"/>
                <a:gd name="T50" fmla="*/ 338 w 4034"/>
                <a:gd name="T51" fmla="*/ 2054 h 2120"/>
                <a:gd name="T52" fmla="*/ 1578 w 4034"/>
                <a:gd name="T53" fmla="*/ 1480 h 2120"/>
                <a:gd name="T54" fmla="*/ 1578 w 4034"/>
                <a:gd name="T55" fmla="*/ 1480 h 2120"/>
                <a:gd name="T56" fmla="*/ 2610 w 4034"/>
                <a:gd name="T57" fmla="*/ 1484 h 2120"/>
                <a:gd name="T58" fmla="*/ 3695 w 4034"/>
                <a:gd name="T59" fmla="*/ 1997 h 2120"/>
                <a:gd name="T60" fmla="*/ 3695 w 4034"/>
                <a:gd name="T61" fmla="*/ 1997 h 2120"/>
                <a:gd name="T62" fmla="*/ 3910 w 4034"/>
                <a:gd name="T63" fmla="*/ 2023 h 2120"/>
                <a:gd name="T64" fmla="*/ 3910 w 4034"/>
                <a:gd name="T65" fmla="*/ 2023 h 2120"/>
                <a:gd name="T66" fmla="*/ 3967 w 4034"/>
                <a:gd name="T67" fmla="*/ 1755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34" h="2120">
                  <a:moveTo>
                    <a:pt x="3967" y="1755"/>
                  </a:moveTo>
                  <a:lnTo>
                    <a:pt x="2983" y="1014"/>
                  </a:lnTo>
                  <a:lnTo>
                    <a:pt x="2983" y="1014"/>
                  </a:lnTo>
                  <a:cubicBezTo>
                    <a:pt x="2861" y="923"/>
                    <a:pt x="2869" y="738"/>
                    <a:pt x="2997" y="658"/>
                  </a:cubicBezTo>
                  <a:lnTo>
                    <a:pt x="3834" y="132"/>
                  </a:lnTo>
                  <a:lnTo>
                    <a:pt x="3834" y="132"/>
                  </a:lnTo>
                  <a:cubicBezTo>
                    <a:pt x="3834" y="132"/>
                    <a:pt x="3816" y="26"/>
                    <a:pt x="3644" y="12"/>
                  </a:cubicBezTo>
                  <a:lnTo>
                    <a:pt x="3644" y="12"/>
                  </a:lnTo>
                  <a:cubicBezTo>
                    <a:pt x="3485" y="0"/>
                    <a:pt x="2419" y="422"/>
                    <a:pt x="2261" y="485"/>
                  </a:cubicBezTo>
                  <a:lnTo>
                    <a:pt x="2261" y="485"/>
                  </a:lnTo>
                  <a:cubicBezTo>
                    <a:pt x="2187" y="463"/>
                    <a:pt x="2102" y="451"/>
                    <a:pt x="2012" y="451"/>
                  </a:cubicBezTo>
                  <a:lnTo>
                    <a:pt x="2012" y="451"/>
                  </a:lnTo>
                  <a:cubicBezTo>
                    <a:pt x="1974" y="451"/>
                    <a:pt x="1938" y="453"/>
                    <a:pt x="1902" y="457"/>
                  </a:cubicBezTo>
                  <a:lnTo>
                    <a:pt x="1905" y="452"/>
                  </a:lnTo>
                  <a:lnTo>
                    <a:pt x="1905" y="452"/>
                  </a:lnTo>
                  <a:cubicBezTo>
                    <a:pt x="1905" y="452"/>
                    <a:pt x="781" y="3"/>
                    <a:pt x="590" y="51"/>
                  </a:cubicBezTo>
                  <a:lnTo>
                    <a:pt x="590" y="51"/>
                  </a:lnTo>
                  <a:cubicBezTo>
                    <a:pt x="399" y="98"/>
                    <a:pt x="371" y="255"/>
                    <a:pt x="371" y="255"/>
                  </a:cubicBezTo>
                  <a:lnTo>
                    <a:pt x="1117" y="630"/>
                  </a:lnTo>
                  <a:lnTo>
                    <a:pt x="1117" y="630"/>
                  </a:lnTo>
                  <a:cubicBezTo>
                    <a:pt x="1261" y="702"/>
                    <a:pt x="1278" y="899"/>
                    <a:pt x="1150" y="995"/>
                  </a:cubicBezTo>
                  <a:lnTo>
                    <a:pt x="65" y="1812"/>
                  </a:lnTo>
                  <a:lnTo>
                    <a:pt x="65" y="1812"/>
                  </a:lnTo>
                  <a:cubicBezTo>
                    <a:pt x="0" y="1901"/>
                    <a:pt x="27" y="2026"/>
                    <a:pt x="123" y="2080"/>
                  </a:cubicBezTo>
                  <a:lnTo>
                    <a:pt x="123" y="2080"/>
                  </a:lnTo>
                  <a:cubicBezTo>
                    <a:pt x="193" y="2119"/>
                    <a:pt x="280" y="2108"/>
                    <a:pt x="338" y="2054"/>
                  </a:cubicBezTo>
                  <a:lnTo>
                    <a:pt x="1578" y="1480"/>
                  </a:lnTo>
                  <a:lnTo>
                    <a:pt x="1578" y="1480"/>
                  </a:lnTo>
                  <a:cubicBezTo>
                    <a:pt x="1906" y="1328"/>
                    <a:pt x="2284" y="1330"/>
                    <a:pt x="2610" y="1484"/>
                  </a:cubicBezTo>
                  <a:lnTo>
                    <a:pt x="3695" y="1997"/>
                  </a:lnTo>
                  <a:lnTo>
                    <a:pt x="3695" y="1997"/>
                  </a:lnTo>
                  <a:cubicBezTo>
                    <a:pt x="3754" y="2051"/>
                    <a:pt x="3841" y="2062"/>
                    <a:pt x="3910" y="2023"/>
                  </a:cubicBezTo>
                  <a:lnTo>
                    <a:pt x="3910" y="2023"/>
                  </a:lnTo>
                  <a:cubicBezTo>
                    <a:pt x="4006" y="1969"/>
                    <a:pt x="4033" y="1844"/>
                    <a:pt x="3967" y="1755"/>
                  </a:cubicBezTo>
                </a:path>
              </a:pathLst>
            </a:custGeom>
            <a:solidFill>
              <a:schemeClr val="bg1">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107" name="Freeform 106">
              <a:extLst>
                <a:ext uri="{FF2B5EF4-FFF2-40B4-BE49-F238E27FC236}">
                  <a16:creationId xmlns:a16="http://schemas.microsoft.com/office/drawing/2014/main" id="{DDAAE89F-1874-0644-8508-425D0173754B}"/>
                </a:ext>
              </a:extLst>
            </p:cNvPr>
            <p:cNvSpPr>
              <a:spLocks noChangeArrowheads="1"/>
            </p:cNvSpPr>
            <p:nvPr/>
          </p:nvSpPr>
          <p:spPr bwMode="auto">
            <a:xfrm>
              <a:off x="14118630" y="10743529"/>
              <a:ext cx="249931" cy="981537"/>
            </a:xfrm>
            <a:custGeom>
              <a:avLst/>
              <a:gdLst>
                <a:gd name="connsiteX0" fmla="*/ 0 w 249931"/>
                <a:gd name="connsiteY0" fmla="*/ 0 h 981537"/>
                <a:gd name="connsiteX1" fmla="*/ 249931 w 249931"/>
                <a:gd name="connsiteY1" fmla="*/ 0 h 981537"/>
                <a:gd name="connsiteX2" fmla="*/ 249931 w 249931"/>
                <a:gd name="connsiteY2" fmla="*/ 912405 h 981537"/>
                <a:gd name="connsiteX3" fmla="*/ 249262 w 249931"/>
                <a:gd name="connsiteY3" fmla="*/ 912405 h 981537"/>
                <a:gd name="connsiteX4" fmla="*/ 249931 w 249931"/>
                <a:gd name="connsiteY4" fmla="*/ 914174 h 981537"/>
                <a:gd name="connsiteX5" fmla="*/ 124965 w 249931"/>
                <a:gd name="connsiteY5" fmla="*/ 981537 h 981537"/>
                <a:gd name="connsiteX6" fmla="*/ 0 w 249931"/>
                <a:gd name="connsiteY6" fmla="*/ 914174 h 981537"/>
                <a:gd name="connsiteX7" fmla="*/ 669 w 249931"/>
                <a:gd name="connsiteY7" fmla="*/ 912405 h 981537"/>
                <a:gd name="connsiteX8" fmla="*/ 0 w 249931"/>
                <a:gd name="connsiteY8" fmla="*/ 912405 h 98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931" h="981537">
                  <a:moveTo>
                    <a:pt x="0" y="0"/>
                  </a:moveTo>
                  <a:lnTo>
                    <a:pt x="249931" y="0"/>
                  </a:lnTo>
                  <a:lnTo>
                    <a:pt x="249931" y="912405"/>
                  </a:lnTo>
                  <a:lnTo>
                    <a:pt x="249262" y="912405"/>
                  </a:lnTo>
                  <a:lnTo>
                    <a:pt x="249931" y="914174"/>
                  </a:lnTo>
                  <a:cubicBezTo>
                    <a:pt x="249931" y="951094"/>
                    <a:pt x="193664" y="981537"/>
                    <a:pt x="124965" y="981537"/>
                  </a:cubicBezTo>
                  <a:cubicBezTo>
                    <a:pt x="56267" y="981537"/>
                    <a:pt x="0" y="951094"/>
                    <a:pt x="0" y="914174"/>
                  </a:cubicBezTo>
                  <a:lnTo>
                    <a:pt x="669" y="912405"/>
                  </a:lnTo>
                  <a:lnTo>
                    <a:pt x="0" y="912405"/>
                  </a:lnTo>
                  <a:close/>
                </a:path>
              </a:pathLst>
            </a:custGeom>
            <a:solidFill>
              <a:schemeClr val="bg1">
                <a:lumMod val="85000"/>
              </a:schemeClr>
            </a:solidFill>
            <a:ln>
              <a:noFill/>
            </a:ln>
            <a:effectLst/>
          </p:spPr>
          <p:txBody>
            <a:bodyPr wrap="square" anchor="ctr">
              <a:noAutofit/>
            </a:bodyPr>
            <a:lstStyle/>
            <a:p>
              <a:endParaRPr lang="en-US" sz="3266" dirty="0">
                <a:latin typeface="Lato Light" panose="020F0502020204030203" pitchFamily="34" charset="0"/>
              </a:endParaRPr>
            </a:p>
          </p:txBody>
        </p:sp>
        <p:sp>
          <p:nvSpPr>
            <p:cNvPr id="108" name="Freeform 190">
              <a:extLst>
                <a:ext uri="{FF2B5EF4-FFF2-40B4-BE49-F238E27FC236}">
                  <a16:creationId xmlns:a16="http://schemas.microsoft.com/office/drawing/2014/main" id="{C0D738F0-D656-B248-9782-E4299AE6CE49}"/>
                </a:ext>
              </a:extLst>
            </p:cNvPr>
            <p:cNvSpPr>
              <a:spLocks noChangeArrowheads="1"/>
            </p:cNvSpPr>
            <p:nvPr/>
          </p:nvSpPr>
          <p:spPr bwMode="auto">
            <a:xfrm>
              <a:off x="12295397" y="9793029"/>
              <a:ext cx="3090565" cy="1117557"/>
            </a:xfrm>
            <a:custGeom>
              <a:avLst/>
              <a:gdLst>
                <a:gd name="T0" fmla="*/ 2591 w 4732"/>
                <a:gd name="T1" fmla="*/ 1003 h 1713"/>
                <a:gd name="T2" fmla="*/ 0 w 4732"/>
                <a:gd name="T3" fmla="*/ 0 h 1713"/>
                <a:gd name="T4" fmla="*/ 0 w 4732"/>
                <a:gd name="T5" fmla="*/ 0 h 1713"/>
                <a:gd name="T6" fmla="*/ 1588 w 4732"/>
                <a:gd name="T7" fmla="*/ 1397 h 1713"/>
                <a:gd name="T8" fmla="*/ 1588 w 4732"/>
                <a:gd name="T9" fmla="*/ 1397 h 1713"/>
                <a:gd name="T10" fmla="*/ 3503 w 4732"/>
                <a:gd name="T11" fmla="*/ 1577 h 1713"/>
                <a:gd name="T12" fmla="*/ 3503 w 4732"/>
                <a:gd name="T13" fmla="*/ 1577 h 1713"/>
                <a:gd name="T14" fmla="*/ 4731 w 4732"/>
                <a:gd name="T15" fmla="*/ 980 h 1713"/>
                <a:gd name="T16" fmla="*/ 2591 w 4732"/>
                <a:gd name="T17" fmla="*/ 1003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32" h="1713">
                  <a:moveTo>
                    <a:pt x="2591" y="1003"/>
                  </a:moveTo>
                  <a:lnTo>
                    <a:pt x="0" y="0"/>
                  </a:lnTo>
                  <a:lnTo>
                    <a:pt x="0" y="0"/>
                  </a:lnTo>
                  <a:cubicBezTo>
                    <a:pt x="0" y="0"/>
                    <a:pt x="777" y="1082"/>
                    <a:pt x="1588" y="1397"/>
                  </a:cubicBezTo>
                  <a:lnTo>
                    <a:pt x="1588" y="1397"/>
                  </a:lnTo>
                  <a:cubicBezTo>
                    <a:pt x="2400" y="1712"/>
                    <a:pt x="3019" y="1689"/>
                    <a:pt x="3503" y="1577"/>
                  </a:cubicBezTo>
                  <a:lnTo>
                    <a:pt x="3503" y="1577"/>
                  </a:lnTo>
                  <a:cubicBezTo>
                    <a:pt x="4207" y="1413"/>
                    <a:pt x="4731" y="980"/>
                    <a:pt x="4731" y="980"/>
                  </a:cubicBezTo>
                  <a:lnTo>
                    <a:pt x="2591" y="1003"/>
                  </a:lnTo>
                </a:path>
              </a:pathLst>
            </a:custGeom>
            <a:solidFill>
              <a:schemeClr val="bg1">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109" name="Freeform 191">
              <a:extLst>
                <a:ext uri="{FF2B5EF4-FFF2-40B4-BE49-F238E27FC236}">
                  <a16:creationId xmlns:a16="http://schemas.microsoft.com/office/drawing/2014/main" id="{36E4FFD3-10CE-0240-8AE1-01172AB53EE1}"/>
                </a:ext>
              </a:extLst>
            </p:cNvPr>
            <p:cNvSpPr>
              <a:spLocks noChangeArrowheads="1"/>
            </p:cNvSpPr>
            <p:nvPr/>
          </p:nvSpPr>
          <p:spPr bwMode="auto">
            <a:xfrm>
              <a:off x="13816197" y="6198413"/>
              <a:ext cx="2661399" cy="4582562"/>
            </a:xfrm>
            <a:custGeom>
              <a:avLst/>
              <a:gdLst>
                <a:gd name="T0" fmla="*/ 3499 w 4073"/>
                <a:gd name="T1" fmla="*/ 2055 h 7014"/>
                <a:gd name="T2" fmla="*/ 3499 w 4073"/>
                <a:gd name="T3" fmla="*/ 2055 h 7014"/>
                <a:gd name="T4" fmla="*/ 3318 w 4073"/>
                <a:gd name="T5" fmla="*/ 4628 h 7014"/>
                <a:gd name="T6" fmla="*/ 3318 w 4073"/>
                <a:gd name="T7" fmla="*/ 4628 h 7014"/>
                <a:gd name="T8" fmla="*/ 1971 w 4073"/>
                <a:gd name="T9" fmla="*/ 5611 h 7014"/>
                <a:gd name="T10" fmla="*/ 1971 w 4073"/>
                <a:gd name="T11" fmla="*/ 5611 h 7014"/>
                <a:gd name="T12" fmla="*/ 1275 w 4073"/>
                <a:gd name="T13" fmla="*/ 4945 h 7014"/>
                <a:gd name="T14" fmla="*/ 1275 w 4073"/>
                <a:gd name="T15" fmla="*/ 4945 h 7014"/>
                <a:gd name="T16" fmla="*/ 1215 w 4073"/>
                <a:gd name="T17" fmla="*/ 2922 h 7014"/>
                <a:gd name="T18" fmla="*/ 1215 w 4073"/>
                <a:gd name="T19" fmla="*/ 2922 h 7014"/>
                <a:gd name="T20" fmla="*/ 1647 w 4073"/>
                <a:gd name="T21" fmla="*/ 1627 h 7014"/>
                <a:gd name="T22" fmla="*/ 1647 w 4073"/>
                <a:gd name="T23" fmla="*/ 1627 h 7014"/>
                <a:gd name="T24" fmla="*/ 3141 w 4073"/>
                <a:gd name="T25" fmla="*/ 1011 h 7014"/>
                <a:gd name="T26" fmla="*/ 3141 w 4073"/>
                <a:gd name="T27" fmla="*/ 1011 h 7014"/>
                <a:gd name="T28" fmla="*/ 3499 w 4073"/>
                <a:gd name="T29" fmla="*/ 2055 h 7014"/>
                <a:gd name="T30" fmla="*/ 3448 w 4073"/>
                <a:gd name="T31" fmla="*/ 174 h 7014"/>
                <a:gd name="T32" fmla="*/ 3448 w 4073"/>
                <a:gd name="T33" fmla="*/ 174 h 7014"/>
                <a:gd name="T34" fmla="*/ 1267 w 4073"/>
                <a:gd name="T35" fmla="*/ 1074 h 7014"/>
                <a:gd name="T36" fmla="*/ 1267 w 4073"/>
                <a:gd name="T37" fmla="*/ 1074 h 7014"/>
                <a:gd name="T38" fmla="*/ 636 w 4073"/>
                <a:gd name="T39" fmla="*/ 2965 h 7014"/>
                <a:gd name="T40" fmla="*/ 636 w 4073"/>
                <a:gd name="T41" fmla="*/ 2965 h 7014"/>
                <a:gd name="T42" fmla="*/ 670 w 4073"/>
                <a:gd name="T43" fmla="*/ 5641 h 7014"/>
                <a:gd name="T44" fmla="*/ 670 w 4073"/>
                <a:gd name="T45" fmla="*/ 5641 h 7014"/>
                <a:gd name="T46" fmla="*/ 0 w 4073"/>
                <a:gd name="T47" fmla="*/ 6413 h 7014"/>
                <a:gd name="T48" fmla="*/ 0 w 4073"/>
                <a:gd name="T49" fmla="*/ 6413 h 7014"/>
                <a:gd name="T50" fmla="*/ 1850 w 4073"/>
                <a:gd name="T51" fmla="*/ 6837 h 7014"/>
                <a:gd name="T52" fmla="*/ 1850 w 4073"/>
                <a:gd name="T53" fmla="*/ 6837 h 7014"/>
                <a:gd name="T54" fmla="*/ 3618 w 4073"/>
                <a:gd name="T55" fmla="*/ 5386 h 7014"/>
                <a:gd name="T56" fmla="*/ 3618 w 4073"/>
                <a:gd name="T57" fmla="*/ 5386 h 7014"/>
                <a:gd name="T58" fmla="*/ 3985 w 4073"/>
                <a:gd name="T59" fmla="*/ 1991 h 7014"/>
                <a:gd name="T60" fmla="*/ 3985 w 4073"/>
                <a:gd name="T61" fmla="*/ 1991 h 7014"/>
                <a:gd name="T62" fmla="*/ 3448 w 4073"/>
                <a:gd name="T63" fmla="*/ 174 h 7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73" h="7014">
                  <a:moveTo>
                    <a:pt x="3499" y="2055"/>
                  </a:moveTo>
                  <a:lnTo>
                    <a:pt x="3499" y="2055"/>
                  </a:lnTo>
                  <a:cubicBezTo>
                    <a:pt x="3437" y="2741"/>
                    <a:pt x="3378" y="4326"/>
                    <a:pt x="3318" y="4628"/>
                  </a:cubicBezTo>
                  <a:lnTo>
                    <a:pt x="3318" y="4628"/>
                  </a:lnTo>
                  <a:cubicBezTo>
                    <a:pt x="3249" y="4970"/>
                    <a:pt x="2460" y="5315"/>
                    <a:pt x="1971" y="5611"/>
                  </a:cubicBezTo>
                  <a:lnTo>
                    <a:pt x="1971" y="5611"/>
                  </a:lnTo>
                  <a:cubicBezTo>
                    <a:pt x="1336" y="5997"/>
                    <a:pt x="1289" y="5377"/>
                    <a:pt x="1275" y="4945"/>
                  </a:cubicBezTo>
                  <a:lnTo>
                    <a:pt x="1275" y="4945"/>
                  </a:lnTo>
                  <a:cubicBezTo>
                    <a:pt x="1261" y="4514"/>
                    <a:pt x="1257" y="3450"/>
                    <a:pt x="1215" y="2922"/>
                  </a:cubicBezTo>
                  <a:lnTo>
                    <a:pt x="1215" y="2922"/>
                  </a:lnTo>
                  <a:cubicBezTo>
                    <a:pt x="1174" y="2395"/>
                    <a:pt x="1195" y="1975"/>
                    <a:pt x="1647" y="1627"/>
                  </a:cubicBezTo>
                  <a:lnTo>
                    <a:pt x="1647" y="1627"/>
                  </a:lnTo>
                  <a:cubicBezTo>
                    <a:pt x="2294" y="1131"/>
                    <a:pt x="2900" y="893"/>
                    <a:pt x="3141" y="1011"/>
                  </a:cubicBezTo>
                  <a:lnTo>
                    <a:pt x="3141" y="1011"/>
                  </a:lnTo>
                  <a:cubicBezTo>
                    <a:pt x="3457" y="1168"/>
                    <a:pt x="3559" y="1401"/>
                    <a:pt x="3499" y="2055"/>
                  </a:cubicBezTo>
                  <a:close/>
                  <a:moveTo>
                    <a:pt x="3448" y="174"/>
                  </a:moveTo>
                  <a:lnTo>
                    <a:pt x="3448" y="174"/>
                  </a:lnTo>
                  <a:cubicBezTo>
                    <a:pt x="3098" y="0"/>
                    <a:pt x="2213" y="349"/>
                    <a:pt x="1267" y="1074"/>
                  </a:cubicBezTo>
                  <a:lnTo>
                    <a:pt x="1267" y="1074"/>
                  </a:lnTo>
                  <a:cubicBezTo>
                    <a:pt x="606" y="1580"/>
                    <a:pt x="576" y="2195"/>
                    <a:pt x="636" y="2965"/>
                  </a:cubicBezTo>
                  <a:lnTo>
                    <a:pt x="636" y="2965"/>
                  </a:lnTo>
                  <a:cubicBezTo>
                    <a:pt x="696" y="3735"/>
                    <a:pt x="670" y="5011"/>
                    <a:pt x="670" y="5641"/>
                  </a:cubicBezTo>
                  <a:lnTo>
                    <a:pt x="670" y="5641"/>
                  </a:lnTo>
                  <a:cubicBezTo>
                    <a:pt x="670" y="6458"/>
                    <a:pt x="0" y="6413"/>
                    <a:pt x="0" y="6413"/>
                  </a:cubicBezTo>
                  <a:lnTo>
                    <a:pt x="0" y="6413"/>
                  </a:lnTo>
                  <a:cubicBezTo>
                    <a:pt x="570" y="7003"/>
                    <a:pt x="1424" y="7013"/>
                    <a:pt x="1850" y="6837"/>
                  </a:cubicBezTo>
                  <a:lnTo>
                    <a:pt x="1850" y="6837"/>
                  </a:lnTo>
                  <a:cubicBezTo>
                    <a:pt x="2622" y="6519"/>
                    <a:pt x="3518" y="5887"/>
                    <a:pt x="3618" y="5386"/>
                  </a:cubicBezTo>
                  <a:lnTo>
                    <a:pt x="3618" y="5386"/>
                  </a:lnTo>
                  <a:cubicBezTo>
                    <a:pt x="3706" y="4946"/>
                    <a:pt x="3893" y="2993"/>
                    <a:pt x="3985" y="1991"/>
                  </a:cubicBezTo>
                  <a:lnTo>
                    <a:pt x="3985" y="1991"/>
                  </a:lnTo>
                  <a:cubicBezTo>
                    <a:pt x="4072" y="1036"/>
                    <a:pt x="3911" y="405"/>
                    <a:pt x="3448" y="174"/>
                  </a:cubicBezTo>
                  <a:close/>
                </a:path>
              </a:pathLst>
            </a:custGeom>
            <a:solidFill>
              <a:schemeClr val="bg1">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110" name="Freeform 109">
              <a:extLst>
                <a:ext uri="{FF2B5EF4-FFF2-40B4-BE49-F238E27FC236}">
                  <a16:creationId xmlns:a16="http://schemas.microsoft.com/office/drawing/2014/main" id="{23BE268B-2FE8-B84D-84A3-4EF5A570297F}"/>
                </a:ext>
              </a:extLst>
            </p:cNvPr>
            <p:cNvSpPr>
              <a:spLocks noChangeArrowheads="1"/>
            </p:cNvSpPr>
            <p:nvPr/>
          </p:nvSpPr>
          <p:spPr bwMode="auto">
            <a:xfrm>
              <a:off x="12378927" y="9084474"/>
              <a:ext cx="1341102" cy="1517268"/>
            </a:xfrm>
            <a:custGeom>
              <a:avLst/>
              <a:gdLst>
                <a:gd name="connsiteX0" fmla="*/ 717193 w 1341102"/>
                <a:gd name="connsiteY0" fmla="*/ 290912 h 1517268"/>
                <a:gd name="connsiteX1" fmla="*/ 891924 w 1341102"/>
                <a:gd name="connsiteY1" fmla="*/ 290912 h 1517268"/>
                <a:gd name="connsiteX2" fmla="*/ 891924 w 1341102"/>
                <a:gd name="connsiteY2" fmla="*/ 899519 h 1517268"/>
                <a:gd name="connsiteX3" fmla="*/ 1124029 w 1341102"/>
                <a:gd name="connsiteY3" fmla="*/ 1244962 h 1517268"/>
                <a:gd name="connsiteX4" fmla="*/ 1232258 w 1341102"/>
                <a:gd name="connsiteY4" fmla="*/ 1289367 h 1517268"/>
                <a:gd name="connsiteX5" fmla="*/ 1328099 w 1341102"/>
                <a:gd name="connsiteY5" fmla="*/ 1517268 h 1517268"/>
                <a:gd name="connsiteX6" fmla="*/ 1058179 w 1341102"/>
                <a:gd name="connsiteY6" fmla="*/ 1407562 h 1517268"/>
                <a:gd name="connsiteX7" fmla="*/ 717193 w 1341102"/>
                <a:gd name="connsiteY7" fmla="*/ 899519 h 1517268"/>
                <a:gd name="connsiteX8" fmla="*/ 0 w 1341102"/>
                <a:gd name="connsiteY8" fmla="*/ 0 h 1517268"/>
                <a:gd name="connsiteX9" fmla="*/ 174730 w 1341102"/>
                <a:gd name="connsiteY9" fmla="*/ 0 h 1517268"/>
                <a:gd name="connsiteX10" fmla="*/ 174730 w 1341102"/>
                <a:gd name="connsiteY10" fmla="*/ 608607 h 1517268"/>
                <a:gd name="connsiteX11" fmla="*/ 406835 w 1341102"/>
                <a:gd name="connsiteY11" fmla="*/ 954050 h 1517268"/>
                <a:gd name="connsiteX12" fmla="*/ 515063 w 1341102"/>
                <a:gd name="connsiteY12" fmla="*/ 997802 h 1517268"/>
                <a:gd name="connsiteX13" fmla="*/ 610904 w 1341102"/>
                <a:gd name="connsiteY13" fmla="*/ 1226356 h 1517268"/>
                <a:gd name="connsiteX14" fmla="*/ 340985 w 1341102"/>
                <a:gd name="connsiteY14" fmla="*/ 1115997 h 1517268"/>
                <a:gd name="connsiteX15" fmla="*/ 0 w 1341102"/>
                <a:gd name="connsiteY15" fmla="*/ 608607 h 1517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41102" h="1517268">
                  <a:moveTo>
                    <a:pt x="717193" y="290912"/>
                  </a:moveTo>
                  <a:lnTo>
                    <a:pt x="891924" y="290912"/>
                  </a:lnTo>
                  <a:lnTo>
                    <a:pt x="891924" y="899519"/>
                  </a:lnTo>
                  <a:cubicBezTo>
                    <a:pt x="891924" y="1051018"/>
                    <a:pt x="983853" y="1188150"/>
                    <a:pt x="1124029" y="1244962"/>
                  </a:cubicBezTo>
                  <a:lnTo>
                    <a:pt x="1232258" y="1289367"/>
                  </a:lnTo>
                  <a:cubicBezTo>
                    <a:pt x="1321579" y="1325936"/>
                    <a:pt x="1364610" y="1427805"/>
                    <a:pt x="1328099" y="1517268"/>
                  </a:cubicBezTo>
                  <a:lnTo>
                    <a:pt x="1058179" y="1407562"/>
                  </a:lnTo>
                  <a:cubicBezTo>
                    <a:pt x="852153" y="1323323"/>
                    <a:pt x="717193" y="1122196"/>
                    <a:pt x="717193" y="899519"/>
                  </a:cubicBezTo>
                  <a:close/>
                  <a:moveTo>
                    <a:pt x="0" y="0"/>
                  </a:moveTo>
                  <a:lnTo>
                    <a:pt x="174730" y="0"/>
                  </a:lnTo>
                  <a:lnTo>
                    <a:pt x="174730" y="608607"/>
                  </a:lnTo>
                  <a:cubicBezTo>
                    <a:pt x="174730" y="760106"/>
                    <a:pt x="266659" y="897238"/>
                    <a:pt x="406835" y="954050"/>
                  </a:cubicBezTo>
                  <a:lnTo>
                    <a:pt x="515063" y="997802"/>
                  </a:lnTo>
                  <a:cubicBezTo>
                    <a:pt x="604384" y="1035024"/>
                    <a:pt x="647415" y="1136893"/>
                    <a:pt x="610904" y="1226356"/>
                  </a:cubicBezTo>
                  <a:lnTo>
                    <a:pt x="340985" y="1115997"/>
                  </a:lnTo>
                  <a:cubicBezTo>
                    <a:pt x="134960" y="1031759"/>
                    <a:pt x="0" y="831284"/>
                    <a:pt x="0" y="608607"/>
                  </a:cubicBezTo>
                  <a:close/>
                </a:path>
              </a:pathLst>
            </a:custGeom>
            <a:solidFill>
              <a:schemeClr val="bg1">
                <a:lumMod val="85000"/>
              </a:schemeClr>
            </a:solidFill>
            <a:ln>
              <a:noFill/>
            </a:ln>
            <a:effectLst/>
          </p:spPr>
          <p:txBody>
            <a:bodyPr wrap="square" anchor="ctr">
              <a:noAutofit/>
            </a:bodyPr>
            <a:lstStyle/>
            <a:p>
              <a:endParaRPr lang="en-US" sz="3266" dirty="0">
                <a:latin typeface="Lato Light" panose="020F0502020204030203" pitchFamily="34" charset="0"/>
              </a:endParaRPr>
            </a:p>
          </p:txBody>
        </p:sp>
        <p:sp>
          <p:nvSpPr>
            <p:cNvPr id="111" name="Freeform 195">
              <a:extLst>
                <a:ext uri="{FF2B5EF4-FFF2-40B4-BE49-F238E27FC236}">
                  <a16:creationId xmlns:a16="http://schemas.microsoft.com/office/drawing/2014/main" id="{372BAE5E-ACE4-0B45-A46B-A7FF2094ADC0}"/>
                </a:ext>
              </a:extLst>
            </p:cNvPr>
            <p:cNvSpPr>
              <a:spLocks noChangeArrowheads="1"/>
            </p:cNvSpPr>
            <p:nvPr/>
          </p:nvSpPr>
          <p:spPr bwMode="auto">
            <a:xfrm>
              <a:off x="13050037" y="9375386"/>
              <a:ext cx="270748" cy="135373"/>
            </a:xfrm>
            <a:custGeom>
              <a:avLst/>
              <a:gdLst>
                <a:gd name="T0" fmla="*/ 414 w 415"/>
                <a:gd name="T1" fmla="*/ 104 h 209"/>
                <a:gd name="T2" fmla="*/ 414 w 415"/>
                <a:gd name="T3" fmla="*/ 104 h 209"/>
                <a:gd name="T4" fmla="*/ 207 w 415"/>
                <a:gd name="T5" fmla="*/ 208 h 209"/>
                <a:gd name="T6" fmla="*/ 207 w 415"/>
                <a:gd name="T7" fmla="*/ 208 h 209"/>
                <a:gd name="T8" fmla="*/ 0 w 415"/>
                <a:gd name="T9" fmla="*/ 104 h 209"/>
                <a:gd name="T10" fmla="*/ 0 w 415"/>
                <a:gd name="T11" fmla="*/ 104 h 209"/>
                <a:gd name="T12" fmla="*/ 207 w 415"/>
                <a:gd name="T13" fmla="*/ 0 h 209"/>
                <a:gd name="T14" fmla="*/ 207 w 415"/>
                <a:gd name="T15" fmla="*/ 0 h 209"/>
                <a:gd name="T16" fmla="*/ 414 w 415"/>
                <a:gd name="T17" fmla="*/ 10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5" h="209">
                  <a:moveTo>
                    <a:pt x="414" y="104"/>
                  </a:moveTo>
                  <a:lnTo>
                    <a:pt x="414" y="104"/>
                  </a:lnTo>
                  <a:cubicBezTo>
                    <a:pt x="414" y="161"/>
                    <a:pt x="321" y="208"/>
                    <a:pt x="207" y="208"/>
                  </a:cubicBezTo>
                  <a:lnTo>
                    <a:pt x="207" y="208"/>
                  </a:lnTo>
                  <a:cubicBezTo>
                    <a:pt x="92" y="208"/>
                    <a:pt x="0" y="161"/>
                    <a:pt x="0" y="104"/>
                  </a:cubicBezTo>
                  <a:lnTo>
                    <a:pt x="0" y="104"/>
                  </a:lnTo>
                  <a:cubicBezTo>
                    <a:pt x="0" y="47"/>
                    <a:pt x="92" y="0"/>
                    <a:pt x="207" y="0"/>
                  </a:cubicBezTo>
                  <a:lnTo>
                    <a:pt x="207" y="0"/>
                  </a:lnTo>
                  <a:cubicBezTo>
                    <a:pt x="321" y="0"/>
                    <a:pt x="414" y="47"/>
                    <a:pt x="414" y="104"/>
                  </a:cubicBezTo>
                </a:path>
              </a:pathLst>
            </a:custGeom>
            <a:solidFill>
              <a:srgbClr val="FFFFFF"/>
            </a:solidFill>
            <a:ln>
              <a:noFill/>
            </a:ln>
            <a:effectLst/>
            <a:extLst>
              <a:ext uri="{91240B29-F687-4F45-9708-019B960494DF}">
                <a14:hiddenLine xmlns:a14="http://schemas.microsoft.com/office/drawing/2010/main" w="9525" cap="flat">
                  <a:solidFill>
                    <a:srgbClr val="263364"/>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112" name="Freeform 111">
              <a:extLst>
                <a:ext uri="{FF2B5EF4-FFF2-40B4-BE49-F238E27FC236}">
                  <a16:creationId xmlns:a16="http://schemas.microsoft.com/office/drawing/2014/main" id="{99A4B674-7C41-B644-84EC-D9637BA6316E}"/>
                </a:ext>
              </a:extLst>
            </p:cNvPr>
            <p:cNvSpPr>
              <a:spLocks noChangeArrowheads="1"/>
            </p:cNvSpPr>
            <p:nvPr/>
          </p:nvSpPr>
          <p:spPr bwMode="auto">
            <a:xfrm>
              <a:off x="12338604" y="8508414"/>
              <a:ext cx="978649" cy="926803"/>
            </a:xfrm>
            <a:custGeom>
              <a:avLst/>
              <a:gdLst>
                <a:gd name="connsiteX0" fmla="*/ 711432 w 978649"/>
                <a:gd name="connsiteY0" fmla="*/ 336997 h 926803"/>
                <a:gd name="connsiteX1" fmla="*/ 978649 w 978649"/>
                <a:gd name="connsiteY1" fmla="*/ 336997 h 926803"/>
                <a:gd name="connsiteX2" fmla="*/ 978649 w 978649"/>
                <a:gd name="connsiteY2" fmla="*/ 926803 h 926803"/>
                <a:gd name="connsiteX3" fmla="*/ 711432 w 978649"/>
                <a:gd name="connsiteY3" fmla="*/ 926803 h 926803"/>
                <a:gd name="connsiteX4" fmla="*/ 0 w 978649"/>
                <a:gd name="connsiteY4" fmla="*/ 0 h 926803"/>
                <a:gd name="connsiteX5" fmla="*/ 267215 w 978649"/>
                <a:gd name="connsiteY5" fmla="*/ 0 h 926803"/>
                <a:gd name="connsiteX6" fmla="*/ 267215 w 978649"/>
                <a:gd name="connsiteY6" fmla="*/ 589808 h 926803"/>
                <a:gd name="connsiteX7" fmla="*/ 0 w 978649"/>
                <a:gd name="connsiteY7" fmla="*/ 589808 h 92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649" h="926803">
                  <a:moveTo>
                    <a:pt x="711432" y="336997"/>
                  </a:moveTo>
                  <a:lnTo>
                    <a:pt x="978649" y="336997"/>
                  </a:lnTo>
                  <a:lnTo>
                    <a:pt x="978649" y="926803"/>
                  </a:lnTo>
                  <a:lnTo>
                    <a:pt x="711432" y="926803"/>
                  </a:lnTo>
                  <a:close/>
                  <a:moveTo>
                    <a:pt x="0" y="0"/>
                  </a:moveTo>
                  <a:lnTo>
                    <a:pt x="267215" y="0"/>
                  </a:lnTo>
                  <a:lnTo>
                    <a:pt x="267215" y="589808"/>
                  </a:lnTo>
                  <a:lnTo>
                    <a:pt x="0" y="589808"/>
                  </a:lnTo>
                  <a:close/>
                </a:path>
              </a:pathLst>
            </a:custGeom>
            <a:solidFill>
              <a:srgbClr val="FFFFFF"/>
            </a:solidFill>
            <a:ln>
              <a:noFill/>
            </a:ln>
            <a:effectLst/>
            <a:extLst>
              <a:ext uri="{91240B29-F687-4F45-9708-019B960494DF}">
                <a14:hiddenLine xmlns:a14="http://schemas.microsoft.com/office/drawing/2010/main" w="9525" cap="flat">
                  <a:solidFill>
                    <a:srgbClr val="263364"/>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266" dirty="0">
                <a:latin typeface="Lato Light" panose="020F0502020204030203" pitchFamily="34" charset="0"/>
              </a:endParaRPr>
            </a:p>
          </p:txBody>
        </p:sp>
        <p:sp>
          <p:nvSpPr>
            <p:cNvPr id="113" name="Freeform 197">
              <a:extLst>
                <a:ext uri="{FF2B5EF4-FFF2-40B4-BE49-F238E27FC236}">
                  <a16:creationId xmlns:a16="http://schemas.microsoft.com/office/drawing/2014/main" id="{0F247B2A-4F08-0742-A88D-A7CAB75429AC}"/>
                </a:ext>
              </a:extLst>
            </p:cNvPr>
            <p:cNvSpPr>
              <a:spLocks noChangeArrowheads="1"/>
            </p:cNvSpPr>
            <p:nvPr/>
          </p:nvSpPr>
          <p:spPr bwMode="auto">
            <a:xfrm>
              <a:off x="12338604" y="9038391"/>
              <a:ext cx="270748" cy="135375"/>
            </a:xfrm>
            <a:custGeom>
              <a:avLst/>
              <a:gdLst>
                <a:gd name="T0" fmla="*/ 415 w 416"/>
                <a:gd name="T1" fmla="*/ 104 h 209"/>
                <a:gd name="T2" fmla="*/ 415 w 416"/>
                <a:gd name="T3" fmla="*/ 104 h 209"/>
                <a:gd name="T4" fmla="*/ 207 w 416"/>
                <a:gd name="T5" fmla="*/ 208 h 209"/>
                <a:gd name="T6" fmla="*/ 207 w 416"/>
                <a:gd name="T7" fmla="*/ 208 h 209"/>
                <a:gd name="T8" fmla="*/ 0 w 416"/>
                <a:gd name="T9" fmla="*/ 104 h 209"/>
                <a:gd name="T10" fmla="*/ 0 w 416"/>
                <a:gd name="T11" fmla="*/ 104 h 209"/>
                <a:gd name="T12" fmla="*/ 207 w 416"/>
                <a:gd name="T13" fmla="*/ 0 h 209"/>
                <a:gd name="T14" fmla="*/ 207 w 416"/>
                <a:gd name="T15" fmla="*/ 0 h 209"/>
                <a:gd name="T16" fmla="*/ 415 w 416"/>
                <a:gd name="T17" fmla="*/ 10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6" h="209">
                  <a:moveTo>
                    <a:pt x="415" y="104"/>
                  </a:moveTo>
                  <a:lnTo>
                    <a:pt x="415" y="104"/>
                  </a:lnTo>
                  <a:cubicBezTo>
                    <a:pt x="415" y="161"/>
                    <a:pt x="322" y="208"/>
                    <a:pt x="207" y="208"/>
                  </a:cubicBezTo>
                  <a:lnTo>
                    <a:pt x="207" y="208"/>
                  </a:lnTo>
                  <a:cubicBezTo>
                    <a:pt x="93" y="208"/>
                    <a:pt x="0" y="161"/>
                    <a:pt x="0" y="104"/>
                  </a:cubicBezTo>
                  <a:lnTo>
                    <a:pt x="0" y="104"/>
                  </a:lnTo>
                  <a:cubicBezTo>
                    <a:pt x="0" y="47"/>
                    <a:pt x="93" y="0"/>
                    <a:pt x="207" y="0"/>
                  </a:cubicBezTo>
                  <a:lnTo>
                    <a:pt x="207" y="0"/>
                  </a:lnTo>
                  <a:cubicBezTo>
                    <a:pt x="322" y="0"/>
                    <a:pt x="415" y="47"/>
                    <a:pt x="415" y="104"/>
                  </a:cubicBezTo>
                </a:path>
              </a:pathLst>
            </a:custGeom>
            <a:solidFill>
              <a:srgbClr val="FFFFFF"/>
            </a:solidFill>
            <a:ln>
              <a:noFill/>
            </a:ln>
            <a:effectLst/>
            <a:extLst>
              <a:ext uri="{91240B29-F687-4F45-9708-019B960494DF}">
                <a14:hiddenLine xmlns:a14="http://schemas.microsoft.com/office/drawing/2010/main" w="9525" cap="flat">
                  <a:solidFill>
                    <a:srgbClr val="263364"/>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114" name="Freeform 198">
              <a:extLst>
                <a:ext uri="{FF2B5EF4-FFF2-40B4-BE49-F238E27FC236}">
                  <a16:creationId xmlns:a16="http://schemas.microsoft.com/office/drawing/2014/main" id="{CCD87311-9669-C149-A905-3D99DC40460B}"/>
                </a:ext>
              </a:extLst>
            </p:cNvPr>
            <p:cNvSpPr>
              <a:spLocks noChangeArrowheads="1"/>
            </p:cNvSpPr>
            <p:nvPr/>
          </p:nvSpPr>
          <p:spPr bwMode="auto">
            <a:xfrm>
              <a:off x="11920958" y="7978439"/>
              <a:ext cx="1797309" cy="1111797"/>
            </a:xfrm>
            <a:custGeom>
              <a:avLst/>
              <a:gdLst>
                <a:gd name="T0" fmla="*/ 570 w 2752"/>
                <a:gd name="T1" fmla="*/ 800 h 1702"/>
                <a:gd name="T2" fmla="*/ 570 w 2752"/>
                <a:gd name="T3" fmla="*/ 800 h 1702"/>
                <a:gd name="T4" fmla="*/ 160 w 2752"/>
                <a:gd name="T5" fmla="*/ 321 h 1702"/>
                <a:gd name="T6" fmla="*/ 160 w 2752"/>
                <a:gd name="T7" fmla="*/ 321 h 1702"/>
                <a:gd name="T8" fmla="*/ 1050 w 2752"/>
                <a:gd name="T9" fmla="*/ 50 h 1702"/>
                <a:gd name="T10" fmla="*/ 1050 w 2752"/>
                <a:gd name="T11" fmla="*/ 50 h 1702"/>
                <a:gd name="T12" fmla="*/ 2581 w 2752"/>
                <a:gd name="T13" fmla="*/ 991 h 1702"/>
                <a:gd name="T14" fmla="*/ 2581 w 2752"/>
                <a:gd name="T15" fmla="*/ 991 h 1702"/>
                <a:gd name="T16" fmla="*/ 2521 w 2752"/>
                <a:gd name="T17" fmla="*/ 1591 h 1702"/>
                <a:gd name="T18" fmla="*/ 2521 w 2752"/>
                <a:gd name="T19" fmla="*/ 1591 h 1702"/>
                <a:gd name="T20" fmla="*/ 1911 w 2752"/>
                <a:gd name="T21" fmla="*/ 1591 h 1702"/>
                <a:gd name="T22" fmla="*/ 1911 w 2752"/>
                <a:gd name="T23" fmla="*/ 1591 h 1702"/>
                <a:gd name="T24" fmla="*/ 570 w 2752"/>
                <a:gd name="T25" fmla="*/ 800 h 1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52" h="1702">
                  <a:moveTo>
                    <a:pt x="570" y="800"/>
                  </a:moveTo>
                  <a:lnTo>
                    <a:pt x="570" y="800"/>
                  </a:lnTo>
                  <a:cubicBezTo>
                    <a:pt x="320" y="672"/>
                    <a:pt x="0" y="561"/>
                    <a:pt x="160" y="321"/>
                  </a:cubicBezTo>
                  <a:lnTo>
                    <a:pt x="160" y="321"/>
                  </a:lnTo>
                  <a:cubicBezTo>
                    <a:pt x="309" y="95"/>
                    <a:pt x="690" y="0"/>
                    <a:pt x="1050" y="50"/>
                  </a:cubicBezTo>
                  <a:lnTo>
                    <a:pt x="1050" y="50"/>
                  </a:lnTo>
                  <a:cubicBezTo>
                    <a:pt x="1482" y="110"/>
                    <a:pt x="2411" y="780"/>
                    <a:pt x="2581" y="991"/>
                  </a:cubicBezTo>
                  <a:lnTo>
                    <a:pt x="2581" y="991"/>
                  </a:lnTo>
                  <a:cubicBezTo>
                    <a:pt x="2751" y="1201"/>
                    <a:pt x="2701" y="1481"/>
                    <a:pt x="2521" y="1591"/>
                  </a:cubicBezTo>
                  <a:lnTo>
                    <a:pt x="2521" y="1591"/>
                  </a:lnTo>
                  <a:cubicBezTo>
                    <a:pt x="2341" y="1701"/>
                    <a:pt x="2141" y="1691"/>
                    <a:pt x="1911" y="1591"/>
                  </a:cubicBezTo>
                  <a:lnTo>
                    <a:pt x="1911" y="1591"/>
                  </a:lnTo>
                  <a:cubicBezTo>
                    <a:pt x="1681" y="1491"/>
                    <a:pt x="900" y="971"/>
                    <a:pt x="570" y="800"/>
                  </a:cubicBezTo>
                </a:path>
              </a:pathLst>
            </a:custGeom>
            <a:solidFill>
              <a:schemeClr val="bg1">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115" name="Freeform 199">
              <a:extLst>
                <a:ext uri="{FF2B5EF4-FFF2-40B4-BE49-F238E27FC236}">
                  <a16:creationId xmlns:a16="http://schemas.microsoft.com/office/drawing/2014/main" id="{2CFC90E9-D983-9A4B-B24E-E8358AE860B7}"/>
                </a:ext>
              </a:extLst>
            </p:cNvPr>
            <p:cNvSpPr>
              <a:spLocks noChangeArrowheads="1"/>
            </p:cNvSpPr>
            <p:nvPr/>
          </p:nvSpPr>
          <p:spPr bwMode="auto">
            <a:xfrm>
              <a:off x="13182531" y="4380942"/>
              <a:ext cx="466609" cy="31682"/>
            </a:xfrm>
            <a:custGeom>
              <a:avLst/>
              <a:gdLst>
                <a:gd name="T0" fmla="*/ 0 w 715"/>
                <a:gd name="T1" fmla="*/ 25 h 49"/>
                <a:gd name="T2" fmla="*/ 713 w 715"/>
                <a:gd name="T3" fmla="*/ 0 h 49"/>
                <a:gd name="T4" fmla="*/ 714 w 715"/>
                <a:gd name="T5" fmla="*/ 13 h 49"/>
                <a:gd name="T6" fmla="*/ 1 w 715"/>
                <a:gd name="T7" fmla="*/ 48 h 49"/>
                <a:gd name="T8" fmla="*/ 0 w 715"/>
                <a:gd name="T9" fmla="*/ 25 h 49"/>
              </a:gdLst>
              <a:ahLst/>
              <a:cxnLst>
                <a:cxn ang="0">
                  <a:pos x="T0" y="T1"/>
                </a:cxn>
                <a:cxn ang="0">
                  <a:pos x="T2" y="T3"/>
                </a:cxn>
                <a:cxn ang="0">
                  <a:pos x="T4" y="T5"/>
                </a:cxn>
                <a:cxn ang="0">
                  <a:pos x="T6" y="T7"/>
                </a:cxn>
                <a:cxn ang="0">
                  <a:pos x="T8" y="T9"/>
                </a:cxn>
              </a:cxnLst>
              <a:rect l="0" t="0" r="r" b="b"/>
              <a:pathLst>
                <a:path w="715" h="49">
                  <a:moveTo>
                    <a:pt x="0" y="25"/>
                  </a:moveTo>
                  <a:lnTo>
                    <a:pt x="713" y="0"/>
                  </a:lnTo>
                  <a:lnTo>
                    <a:pt x="714" y="13"/>
                  </a:lnTo>
                  <a:lnTo>
                    <a:pt x="1" y="48"/>
                  </a:lnTo>
                  <a:lnTo>
                    <a:pt x="0" y="25"/>
                  </a:lnTo>
                </a:path>
              </a:pathLst>
            </a:custGeom>
            <a:solidFill>
              <a:schemeClr val="accent5"/>
            </a:solidFill>
            <a:ln>
              <a:noFill/>
            </a:ln>
            <a:effectLst/>
          </p:spPr>
          <p:txBody>
            <a:bodyPr wrap="none" anchor="ctr"/>
            <a:lstStyle/>
            <a:p>
              <a:endParaRPr lang="en-US" sz="3266" dirty="0">
                <a:latin typeface="Lato Light" panose="020F0502020204030203" pitchFamily="34" charset="0"/>
              </a:endParaRPr>
            </a:p>
          </p:txBody>
        </p:sp>
        <p:sp>
          <p:nvSpPr>
            <p:cNvPr id="116" name="Freeform 200">
              <a:extLst>
                <a:ext uri="{FF2B5EF4-FFF2-40B4-BE49-F238E27FC236}">
                  <a16:creationId xmlns:a16="http://schemas.microsoft.com/office/drawing/2014/main" id="{CCB7197C-F4EF-B544-8B1C-1E4E76A4F498}"/>
                </a:ext>
              </a:extLst>
            </p:cNvPr>
            <p:cNvSpPr>
              <a:spLocks noChangeArrowheads="1"/>
            </p:cNvSpPr>
            <p:nvPr/>
          </p:nvSpPr>
          <p:spPr bwMode="auto">
            <a:xfrm>
              <a:off x="13856522" y="4861952"/>
              <a:ext cx="941860" cy="504054"/>
            </a:xfrm>
            <a:custGeom>
              <a:avLst/>
              <a:gdLst>
                <a:gd name="T0" fmla="*/ 0 w 1440"/>
                <a:gd name="T1" fmla="*/ 732 h 772"/>
                <a:gd name="T2" fmla="*/ 0 w 1440"/>
                <a:gd name="T3" fmla="*/ 732 h 772"/>
                <a:gd name="T4" fmla="*/ 360 w 1440"/>
                <a:gd name="T5" fmla="*/ 732 h 772"/>
                <a:gd name="T6" fmla="*/ 360 w 1440"/>
                <a:gd name="T7" fmla="*/ 732 h 772"/>
                <a:gd name="T8" fmla="*/ 1315 w 1440"/>
                <a:gd name="T9" fmla="*/ 457 h 772"/>
                <a:gd name="T10" fmla="*/ 1315 w 1440"/>
                <a:gd name="T11" fmla="*/ 457 h 772"/>
                <a:gd name="T12" fmla="*/ 1393 w 1440"/>
                <a:gd name="T13" fmla="*/ 254 h 772"/>
                <a:gd name="T14" fmla="*/ 1393 w 1440"/>
                <a:gd name="T15" fmla="*/ 254 h 772"/>
                <a:gd name="T16" fmla="*/ 1138 w 1440"/>
                <a:gd name="T17" fmla="*/ 0 h 772"/>
                <a:gd name="T18" fmla="*/ 1138 w 1440"/>
                <a:gd name="T19" fmla="*/ 0 h 772"/>
                <a:gd name="T20" fmla="*/ 255 w 1440"/>
                <a:gd name="T21" fmla="*/ 379 h 772"/>
                <a:gd name="T22" fmla="*/ 255 w 1440"/>
                <a:gd name="T23" fmla="*/ 379 h 772"/>
                <a:gd name="T24" fmla="*/ 0 w 1440"/>
                <a:gd name="T25" fmla="*/ 73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0" h="772">
                  <a:moveTo>
                    <a:pt x="0" y="732"/>
                  </a:moveTo>
                  <a:lnTo>
                    <a:pt x="0" y="732"/>
                  </a:lnTo>
                  <a:cubicBezTo>
                    <a:pt x="0" y="732"/>
                    <a:pt x="235" y="692"/>
                    <a:pt x="360" y="732"/>
                  </a:cubicBezTo>
                  <a:lnTo>
                    <a:pt x="360" y="732"/>
                  </a:lnTo>
                  <a:cubicBezTo>
                    <a:pt x="484" y="771"/>
                    <a:pt x="1190" y="509"/>
                    <a:pt x="1315" y="457"/>
                  </a:cubicBezTo>
                  <a:lnTo>
                    <a:pt x="1315" y="457"/>
                  </a:lnTo>
                  <a:cubicBezTo>
                    <a:pt x="1439" y="405"/>
                    <a:pt x="1419" y="313"/>
                    <a:pt x="1393" y="254"/>
                  </a:cubicBezTo>
                  <a:lnTo>
                    <a:pt x="1393" y="254"/>
                  </a:lnTo>
                  <a:cubicBezTo>
                    <a:pt x="1367" y="196"/>
                    <a:pt x="1138" y="0"/>
                    <a:pt x="1138" y="0"/>
                  </a:cubicBezTo>
                  <a:lnTo>
                    <a:pt x="1138" y="0"/>
                  </a:lnTo>
                  <a:cubicBezTo>
                    <a:pt x="1138" y="0"/>
                    <a:pt x="419" y="267"/>
                    <a:pt x="255" y="379"/>
                  </a:cubicBezTo>
                  <a:lnTo>
                    <a:pt x="255" y="379"/>
                  </a:lnTo>
                  <a:cubicBezTo>
                    <a:pt x="121" y="470"/>
                    <a:pt x="6" y="581"/>
                    <a:pt x="0" y="732"/>
                  </a:cubicBezTo>
                </a:path>
              </a:pathLst>
            </a:custGeom>
            <a:solidFill>
              <a:schemeClr val="accent3">
                <a:lumMod val="75000"/>
              </a:schemeClr>
            </a:solidFill>
            <a:ln>
              <a:noFill/>
            </a:ln>
            <a:effectLst/>
          </p:spPr>
          <p:txBody>
            <a:bodyPr wrap="none" anchor="ctr"/>
            <a:lstStyle/>
            <a:p>
              <a:endParaRPr lang="en-US" sz="3266" dirty="0">
                <a:latin typeface="Lato Light" panose="020F0502020204030203" pitchFamily="34" charset="0"/>
              </a:endParaRPr>
            </a:p>
          </p:txBody>
        </p:sp>
        <p:sp>
          <p:nvSpPr>
            <p:cNvPr id="117" name="Freeform 201">
              <a:extLst>
                <a:ext uri="{FF2B5EF4-FFF2-40B4-BE49-F238E27FC236}">
                  <a16:creationId xmlns:a16="http://schemas.microsoft.com/office/drawing/2014/main" id="{D6D5657A-089B-2D4F-A559-B6450C91E377}"/>
                </a:ext>
              </a:extLst>
            </p:cNvPr>
            <p:cNvSpPr>
              <a:spLocks noChangeArrowheads="1"/>
            </p:cNvSpPr>
            <p:nvPr/>
          </p:nvSpPr>
          <p:spPr bwMode="auto">
            <a:xfrm>
              <a:off x="12039052" y="5003087"/>
              <a:ext cx="682631" cy="426285"/>
            </a:xfrm>
            <a:custGeom>
              <a:avLst/>
              <a:gdLst>
                <a:gd name="T0" fmla="*/ 1045 w 1046"/>
                <a:gd name="T1" fmla="*/ 383 h 654"/>
                <a:gd name="T2" fmla="*/ 1045 w 1046"/>
                <a:gd name="T3" fmla="*/ 383 h 654"/>
                <a:gd name="T4" fmla="*/ 852 w 1046"/>
                <a:gd name="T5" fmla="*/ 23 h 654"/>
                <a:gd name="T6" fmla="*/ 852 w 1046"/>
                <a:gd name="T7" fmla="*/ 23 h 654"/>
                <a:gd name="T8" fmla="*/ 392 w 1046"/>
                <a:gd name="T9" fmla="*/ 50 h 654"/>
                <a:gd name="T10" fmla="*/ 392 w 1046"/>
                <a:gd name="T11" fmla="*/ 50 h 654"/>
                <a:gd name="T12" fmla="*/ 0 w 1046"/>
                <a:gd name="T13" fmla="*/ 352 h 654"/>
                <a:gd name="T14" fmla="*/ 0 w 1046"/>
                <a:gd name="T15" fmla="*/ 352 h 654"/>
                <a:gd name="T16" fmla="*/ 129 w 1046"/>
                <a:gd name="T17" fmla="*/ 357 h 654"/>
                <a:gd name="T18" fmla="*/ 129 w 1046"/>
                <a:gd name="T19" fmla="*/ 357 h 654"/>
                <a:gd name="T20" fmla="*/ 424 w 1046"/>
                <a:gd name="T21" fmla="*/ 252 h 654"/>
                <a:gd name="T22" fmla="*/ 424 w 1046"/>
                <a:gd name="T23" fmla="*/ 252 h 654"/>
                <a:gd name="T24" fmla="*/ 491 w 1046"/>
                <a:gd name="T25" fmla="*/ 351 h 654"/>
                <a:gd name="T26" fmla="*/ 491 w 1046"/>
                <a:gd name="T27" fmla="*/ 351 h 654"/>
                <a:gd name="T28" fmla="*/ 164 w 1046"/>
                <a:gd name="T29" fmla="*/ 526 h 654"/>
                <a:gd name="T30" fmla="*/ 164 w 1046"/>
                <a:gd name="T31" fmla="*/ 526 h 654"/>
                <a:gd name="T32" fmla="*/ 243 w 1046"/>
                <a:gd name="T33" fmla="*/ 570 h 654"/>
                <a:gd name="T34" fmla="*/ 243 w 1046"/>
                <a:gd name="T35" fmla="*/ 570 h 654"/>
                <a:gd name="T36" fmla="*/ 458 w 1046"/>
                <a:gd name="T37" fmla="*/ 552 h 654"/>
                <a:gd name="T38" fmla="*/ 458 w 1046"/>
                <a:gd name="T39" fmla="*/ 552 h 654"/>
                <a:gd name="T40" fmla="*/ 632 w 1046"/>
                <a:gd name="T41" fmla="*/ 600 h 654"/>
                <a:gd name="T42" fmla="*/ 632 w 1046"/>
                <a:gd name="T43" fmla="*/ 600 h 654"/>
                <a:gd name="T44" fmla="*/ 715 w 1046"/>
                <a:gd name="T45" fmla="*/ 643 h 654"/>
                <a:gd name="T46" fmla="*/ 1045 w 1046"/>
                <a:gd name="T47" fmla="*/ 383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46" h="654">
                  <a:moveTo>
                    <a:pt x="1045" y="383"/>
                  </a:moveTo>
                  <a:lnTo>
                    <a:pt x="1045" y="383"/>
                  </a:lnTo>
                  <a:cubicBezTo>
                    <a:pt x="1045" y="383"/>
                    <a:pt x="869" y="45"/>
                    <a:pt x="852" y="23"/>
                  </a:cubicBezTo>
                  <a:lnTo>
                    <a:pt x="852" y="23"/>
                  </a:lnTo>
                  <a:cubicBezTo>
                    <a:pt x="835" y="0"/>
                    <a:pt x="454" y="50"/>
                    <a:pt x="392" y="50"/>
                  </a:cubicBezTo>
                  <a:lnTo>
                    <a:pt x="392" y="50"/>
                  </a:lnTo>
                  <a:cubicBezTo>
                    <a:pt x="330" y="50"/>
                    <a:pt x="0" y="307"/>
                    <a:pt x="0" y="352"/>
                  </a:cubicBezTo>
                  <a:lnTo>
                    <a:pt x="0" y="352"/>
                  </a:lnTo>
                  <a:cubicBezTo>
                    <a:pt x="0" y="396"/>
                    <a:pt x="102" y="380"/>
                    <a:pt x="129" y="357"/>
                  </a:cubicBezTo>
                  <a:lnTo>
                    <a:pt x="129" y="357"/>
                  </a:lnTo>
                  <a:cubicBezTo>
                    <a:pt x="157" y="335"/>
                    <a:pt x="424" y="252"/>
                    <a:pt x="424" y="252"/>
                  </a:cubicBezTo>
                  <a:lnTo>
                    <a:pt x="424" y="252"/>
                  </a:lnTo>
                  <a:cubicBezTo>
                    <a:pt x="424" y="252"/>
                    <a:pt x="524" y="334"/>
                    <a:pt x="491" y="351"/>
                  </a:cubicBezTo>
                  <a:lnTo>
                    <a:pt x="491" y="351"/>
                  </a:lnTo>
                  <a:cubicBezTo>
                    <a:pt x="457" y="368"/>
                    <a:pt x="130" y="464"/>
                    <a:pt x="164" y="526"/>
                  </a:cubicBezTo>
                  <a:lnTo>
                    <a:pt x="164" y="526"/>
                  </a:lnTo>
                  <a:cubicBezTo>
                    <a:pt x="171" y="539"/>
                    <a:pt x="199" y="572"/>
                    <a:pt x="243" y="570"/>
                  </a:cubicBezTo>
                  <a:lnTo>
                    <a:pt x="243" y="570"/>
                  </a:lnTo>
                  <a:cubicBezTo>
                    <a:pt x="353" y="567"/>
                    <a:pt x="379" y="568"/>
                    <a:pt x="458" y="552"/>
                  </a:cubicBezTo>
                  <a:lnTo>
                    <a:pt x="458" y="552"/>
                  </a:lnTo>
                  <a:cubicBezTo>
                    <a:pt x="521" y="540"/>
                    <a:pt x="586" y="557"/>
                    <a:pt x="632" y="600"/>
                  </a:cubicBezTo>
                  <a:lnTo>
                    <a:pt x="632" y="600"/>
                  </a:lnTo>
                  <a:cubicBezTo>
                    <a:pt x="689" y="653"/>
                    <a:pt x="715" y="643"/>
                    <a:pt x="715" y="643"/>
                  </a:cubicBezTo>
                  <a:lnTo>
                    <a:pt x="1045" y="383"/>
                  </a:lnTo>
                </a:path>
              </a:pathLst>
            </a:custGeom>
            <a:solidFill>
              <a:srgbClr val="FCE3C3"/>
            </a:solidFill>
            <a:ln>
              <a:noFill/>
            </a:ln>
            <a:effectLst/>
            <a:extLst>
              <a:ext uri="{91240B29-F687-4F45-9708-019B960494DF}">
                <a14:hiddenLine xmlns:a14="http://schemas.microsoft.com/office/drawing/2010/main" w="9525" cap="flat">
                  <a:solidFill>
                    <a:srgbClr val="263364"/>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grpSp>
      <p:sp>
        <p:nvSpPr>
          <p:cNvPr id="124" name="TextBox 123">
            <a:extLst>
              <a:ext uri="{FF2B5EF4-FFF2-40B4-BE49-F238E27FC236}">
                <a16:creationId xmlns:a16="http://schemas.microsoft.com/office/drawing/2014/main" id="{6CF70C40-2AAA-C348-9206-F692D575D720}"/>
              </a:ext>
            </a:extLst>
          </p:cNvPr>
          <p:cNvSpPr txBox="1"/>
          <p:nvPr/>
        </p:nvSpPr>
        <p:spPr>
          <a:xfrm>
            <a:off x="7287786" y="1661558"/>
            <a:ext cx="1439433"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1</a:t>
            </a:r>
          </a:p>
        </p:txBody>
      </p:sp>
      <p:sp>
        <p:nvSpPr>
          <p:cNvPr id="125" name="Subtitle 2">
            <a:extLst>
              <a:ext uri="{FF2B5EF4-FFF2-40B4-BE49-F238E27FC236}">
                <a16:creationId xmlns:a16="http://schemas.microsoft.com/office/drawing/2014/main" id="{19CB6716-A672-C84D-8A6B-006AE2FBAA56}"/>
              </a:ext>
            </a:extLst>
          </p:cNvPr>
          <p:cNvSpPr txBox="1">
            <a:spLocks/>
          </p:cNvSpPr>
          <p:nvPr/>
        </p:nvSpPr>
        <p:spPr>
          <a:xfrm>
            <a:off x="7287786" y="2050475"/>
            <a:ext cx="4142214" cy="48494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a:t>
            </a:r>
          </a:p>
        </p:txBody>
      </p:sp>
      <p:sp>
        <p:nvSpPr>
          <p:cNvPr id="126" name="Oval 125">
            <a:extLst>
              <a:ext uri="{FF2B5EF4-FFF2-40B4-BE49-F238E27FC236}">
                <a16:creationId xmlns:a16="http://schemas.microsoft.com/office/drawing/2014/main" id="{1F458D90-CDE4-EB46-A452-A513F4FE5215}"/>
              </a:ext>
            </a:extLst>
          </p:cNvPr>
          <p:cNvSpPr>
            <a:spLocks noChangeAspect="1"/>
          </p:cNvSpPr>
          <p:nvPr/>
        </p:nvSpPr>
        <p:spPr>
          <a:xfrm>
            <a:off x="6254899" y="1720414"/>
            <a:ext cx="786384" cy="7863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30" name="Freeform 630">
            <a:extLst>
              <a:ext uri="{FF2B5EF4-FFF2-40B4-BE49-F238E27FC236}">
                <a16:creationId xmlns:a16="http://schemas.microsoft.com/office/drawing/2014/main" id="{A5DBA610-8C53-7E43-80F1-06DE144405E6}"/>
              </a:ext>
            </a:extLst>
          </p:cNvPr>
          <p:cNvSpPr>
            <a:spLocks noChangeAspect="1"/>
          </p:cNvSpPr>
          <p:nvPr/>
        </p:nvSpPr>
        <p:spPr bwMode="auto">
          <a:xfrm>
            <a:off x="6463132" y="1922628"/>
            <a:ext cx="369919" cy="381957"/>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US" sz="900" dirty="0">
              <a:latin typeface="Lato Light" panose="020F0502020204030203" pitchFamily="34" charset="0"/>
            </a:endParaRPr>
          </a:p>
        </p:txBody>
      </p:sp>
      <p:sp>
        <p:nvSpPr>
          <p:cNvPr id="121" name="TextBox 120">
            <a:extLst>
              <a:ext uri="{FF2B5EF4-FFF2-40B4-BE49-F238E27FC236}">
                <a16:creationId xmlns:a16="http://schemas.microsoft.com/office/drawing/2014/main" id="{9C2C5121-A19C-8446-A92E-513D92C3C26F}"/>
              </a:ext>
            </a:extLst>
          </p:cNvPr>
          <p:cNvSpPr txBox="1"/>
          <p:nvPr/>
        </p:nvSpPr>
        <p:spPr>
          <a:xfrm>
            <a:off x="7287786" y="5559565"/>
            <a:ext cx="1474699"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4</a:t>
            </a:r>
          </a:p>
        </p:txBody>
      </p:sp>
      <p:sp>
        <p:nvSpPr>
          <p:cNvPr id="122" name="Subtitle 2">
            <a:extLst>
              <a:ext uri="{FF2B5EF4-FFF2-40B4-BE49-F238E27FC236}">
                <a16:creationId xmlns:a16="http://schemas.microsoft.com/office/drawing/2014/main" id="{41A81221-1CE5-4C4F-91C7-1E74DD869FBE}"/>
              </a:ext>
            </a:extLst>
          </p:cNvPr>
          <p:cNvSpPr txBox="1">
            <a:spLocks/>
          </p:cNvSpPr>
          <p:nvPr/>
        </p:nvSpPr>
        <p:spPr>
          <a:xfrm>
            <a:off x="7287786" y="5948481"/>
            <a:ext cx="4142214" cy="48494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a:t>
            </a:r>
          </a:p>
        </p:txBody>
      </p:sp>
      <p:sp>
        <p:nvSpPr>
          <p:cNvPr id="123" name="Oval 122">
            <a:extLst>
              <a:ext uri="{FF2B5EF4-FFF2-40B4-BE49-F238E27FC236}">
                <a16:creationId xmlns:a16="http://schemas.microsoft.com/office/drawing/2014/main" id="{19AA78FB-C71A-0C4C-9DC6-346D169BD5DD}"/>
              </a:ext>
            </a:extLst>
          </p:cNvPr>
          <p:cNvSpPr>
            <a:spLocks noChangeAspect="1"/>
          </p:cNvSpPr>
          <p:nvPr/>
        </p:nvSpPr>
        <p:spPr>
          <a:xfrm>
            <a:off x="6254899" y="5613733"/>
            <a:ext cx="786384" cy="78638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31" name="Freeform 631">
            <a:extLst>
              <a:ext uri="{FF2B5EF4-FFF2-40B4-BE49-F238E27FC236}">
                <a16:creationId xmlns:a16="http://schemas.microsoft.com/office/drawing/2014/main" id="{AB7EE719-748F-BC43-A511-499FE6D3F6A0}"/>
              </a:ext>
            </a:extLst>
          </p:cNvPr>
          <p:cNvSpPr>
            <a:spLocks noChangeAspect="1"/>
          </p:cNvSpPr>
          <p:nvPr/>
        </p:nvSpPr>
        <p:spPr bwMode="auto">
          <a:xfrm>
            <a:off x="6401297" y="5795152"/>
            <a:ext cx="493588" cy="423546"/>
          </a:xfrm>
          <a:custGeom>
            <a:avLst/>
            <a:gdLst>
              <a:gd name="T0" fmla="*/ 502583 w 212659"/>
              <a:gd name="T1" fmla="*/ 401651 h 182199"/>
              <a:gd name="T2" fmla="*/ 471075 w 212659"/>
              <a:gd name="T3" fmla="*/ 570713 h 182199"/>
              <a:gd name="T4" fmla="*/ 439567 w 212659"/>
              <a:gd name="T5" fmla="*/ 401651 h 182199"/>
              <a:gd name="T6" fmla="*/ 337348 w 212659"/>
              <a:gd name="T7" fmla="*/ 331399 h 182199"/>
              <a:gd name="T8" fmla="*/ 411627 w 212659"/>
              <a:gd name="T9" fmla="*/ 580501 h 182199"/>
              <a:gd name="T10" fmla="*/ 346933 w 212659"/>
              <a:gd name="T11" fmla="*/ 580501 h 182199"/>
              <a:gd name="T12" fmla="*/ 337348 w 212659"/>
              <a:gd name="T13" fmla="*/ 397338 h 182199"/>
              <a:gd name="T14" fmla="*/ 326566 w 212659"/>
              <a:gd name="T15" fmla="*/ 459611 h 182199"/>
              <a:gd name="T16" fmla="*/ 263068 w 212659"/>
              <a:gd name="T17" fmla="*/ 459611 h 182199"/>
              <a:gd name="T18" fmla="*/ 337348 w 212659"/>
              <a:gd name="T19" fmla="*/ 331399 h 182199"/>
              <a:gd name="T20" fmla="*/ 482096 w 212659"/>
              <a:gd name="T21" fmla="*/ 289988 h 182199"/>
              <a:gd name="T22" fmla="*/ 426097 w 212659"/>
              <a:gd name="T23" fmla="*/ 326264 h 182199"/>
              <a:gd name="T24" fmla="*/ 232534 w 212659"/>
              <a:gd name="T25" fmla="*/ 383096 h 182199"/>
              <a:gd name="T26" fmla="*/ 199665 w 212659"/>
              <a:gd name="T27" fmla="*/ 581410 h 182199"/>
              <a:gd name="T28" fmla="*/ 166796 w 212659"/>
              <a:gd name="T29" fmla="*/ 383096 h 182199"/>
              <a:gd name="T30" fmla="*/ 67170 w 212659"/>
              <a:gd name="T31" fmla="*/ 155007 h 182199"/>
              <a:gd name="T32" fmla="*/ 61109 w 212659"/>
              <a:gd name="T33" fmla="*/ 222711 h 182199"/>
              <a:gd name="T34" fmla="*/ 16253 w 212659"/>
              <a:gd name="T35" fmla="*/ 234590 h 182199"/>
              <a:gd name="T36" fmla="*/ 21101 w 212659"/>
              <a:gd name="T37" fmla="*/ 163320 h 182199"/>
              <a:gd name="T38" fmla="*/ 214428 w 212659"/>
              <a:gd name="T39" fmla="*/ 131405 h 182199"/>
              <a:gd name="T40" fmla="*/ 242648 w 212659"/>
              <a:gd name="T41" fmla="*/ 190674 h 182199"/>
              <a:gd name="T42" fmla="*/ 126083 w 212659"/>
              <a:gd name="T43" fmla="*/ 484608 h 182199"/>
              <a:gd name="T44" fmla="*/ 59826 w 212659"/>
              <a:gd name="T45" fmla="*/ 484608 h 182199"/>
              <a:gd name="T46" fmla="*/ 214428 w 212659"/>
              <a:gd name="T47" fmla="*/ 131405 h 182199"/>
              <a:gd name="T48" fmla="*/ 609499 w 212659"/>
              <a:gd name="T49" fmla="*/ 382254 h 182199"/>
              <a:gd name="T50" fmla="*/ 576522 w 212659"/>
              <a:gd name="T51" fmla="*/ 602780 h 182199"/>
              <a:gd name="T52" fmla="*/ 543549 w 212659"/>
              <a:gd name="T53" fmla="*/ 382254 h 182199"/>
              <a:gd name="T54" fmla="*/ 300506 w 212659"/>
              <a:gd name="T55" fmla="*/ 139799 h 182199"/>
              <a:gd name="T56" fmla="*/ 334464 w 212659"/>
              <a:gd name="T57" fmla="*/ 0 h 182199"/>
              <a:gd name="T58" fmla="*/ 683731 w 212659"/>
              <a:gd name="T59" fmla="*/ 415705 h 182199"/>
              <a:gd name="T60" fmla="*/ 334464 w 212659"/>
              <a:gd name="T61" fmla="*/ 65637 h 182199"/>
              <a:gd name="T62" fmla="*/ 102833 w 212659"/>
              <a:gd name="T63" fmla="*/ 119122 h 182199"/>
              <a:gd name="T64" fmla="*/ 334464 w 212659"/>
              <a:gd name="T65" fmla="*/ 0 h 18219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2659" h="182199">
                <a:moveTo>
                  <a:pt x="139821" y="109537"/>
                </a:moveTo>
                <a:cubicBezTo>
                  <a:pt x="144670" y="109537"/>
                  <a:pt x="149173" y="113872"/>
                  <a:pt x="149173" y="119290"/>
                </a:cubicBezTo>
                <a:lnTo>
                  <a:pt x="149173" y="159748"/>
                </a:lnTo>
                <a:cubicBezTo>
                  <a:pt x="149173" y="165166"/>
                  <a:pt x="144670" y="169501"/>
                  <a:pt x="139821" y="169501"/>
                </a:cubicBezTo>
                <a:cubicBezTo>
                  <a:pt x="134625" y="169501"/>
                  <a:pt x="130469" y="165166"/>
                  <a:pt x="130469" y="159748"/>
                </a:cubicBezTo>
                <a:lnTo>
                  <a:pt x="130469" y="119290"/>
                </a:lnTo>
                <a:cubicBezTo>
                  <a:pt x="130469" y="113872"/>
                  <a:pt x="134625" y="109537"/>
                  <a:pt x="139821" y="109537"/>
                </a:cubicBezTo>
                <a:close/>
                <a:moveTo>
                  <a:pt x="100129" y="98425"/>
                </a:moveTo>
                <a:cubicBezTo>
                  <a:pt x="112219" y="98425"/>
                  <a:pt x="122176" y="108579"/>
                  <a:pt x="122176" y="120910"/>
                </a:cubicBezTo>
                <a:lnTo>
                  <a:pt x="122176" y="172408"/>
                </a:lnTo>
                <a:cubicBezTo>
                  <a:pt x="122176" y="177847"/>
                  <a:pt x="117909" y="182199"/>
                  <a:pt x="112575" y="182199"/>
                </a:cubicBezTo>
                <a:cubicBezTo>
                  <a:pt x="107241" y="182199"/>
                  <a:pt x="102974" y="177847"/>
                  <a:pt x="102974" y="172408"/>
                </a:cubicBezTo>
                <a:lnTo>
                  <a:pt x="102974" y="120910"/>
                </a:lnTo>
                <a:cubicBezTo>
                  <a:pt x="102974" y="119459"/>
                  <a:pt x="101551" y="118009"/>
                  <a:pt x="100129" y="118009"/>
                </a:cubicBezTo>
                <a:cubicBezTo>
                  <a:pt x="98351" y="118009"/>
                  <a:pt x="96929" y="119459"/>
                  <a:pt x="96929" y="120910"/>
                </a:cubicBezTo>
                <a:lnTo>
                  <a:pt x="96929" y="136504"/>
                </a:lnTo>
                <a:cubicBezTo>
                  <a:pt x="96929" y="141582"/>
                  <a:pt x="93017" y="146296"/>
                  <a:pt x="87327" y="146296"/>
                </a:cubicBezTo>
                <a:cubicBezTo>
                  <a:pt x="82349" y="146296"/>
                  <a:pt x="78082" y="141582"/>
                  <a:pt x="78082" y="136504"/>
                </a:cubicBezTo>
                <a:lnTo>
                  <a:pt x="78082" y="120910"/>
                </a:lnTo>
                <a:cubicBezTo>
                  <a:pt x="78082" y="108579"/>
                  <a:pt x="88039" y="98425"/>
                  <a:pt x="100129" y="98425"/>
                </a:cubicBezTo>
                <a:close/>
                <a:moveTo>
                  <a:pt x="100455" y="63500"/>
                </a:moveTo>
                <a:cubicBezTo>
                  <a:pt x="117437" y="63500"/>
                  <a:pt x="133336" y="71760"/>
                  <a:pt x="143092" y="86126"/>
                </a:cubicBezTo>
                <a:cubicBezTo>
                  <a:pt x="145983" y="90435"/>
                  <a:pt x="144537" y="96541"/>
                  <a:pt x="140201" y="99773"/>
                </a:cubicBezTo>
                <a:cubicBezTo>
                  <a:pt x="135504" y="102646"/>
                  <a:pt x="129723" y="101209"/>
                  <a:pt x="126471" y="96900"/>
                </a:cubicBezTo>
                <a:cubicBezTo>
                  <a:pt x="121051" y="87921"/>
                  <a:pt x="110933" y="82893"/>
                  <a:pt x="100455" y="82893"/>
                </a:cubicBezTo>
                <a:cubicBezTo>
                  <a:pt x="83111" y="82893"/>
                  <a:pt x="69019" y="96541"/>
                  <a:pt x="69019" y="113779"/>
                </a:cubicBezTo>
                <a:lnTo>
                  <a:pt x="69019" y="162981"/>
                </a:lnTo>
                <a:cubicBezTo>
                  <a:pt x="69019" y="168368"/>
                  <a:pt x="64683" y="172678"/>
                  <a:pt x="59263" y="172678"/>
                </a:cubicBezTo>
                <a:cubicBezTo>
                  <a:pt x="53843" y="172678"/>
                  <a:pt x="49507" y="168368"/>
                  <a:pt x="49507" y="162981"/>
                </a:cubicBezTo>
                <a:lnTo>
                  <a:pt x="49507" y="113779"/>
                </a:lnTo>
                <a:cubicBezTo>
                  <a:pt x="49507" y="85766"/>
                  <a:pt x="72271" y="63500"/>
                  <a:pt x="100455" y="63500"/>
                </a:cubicBezTo>
                <a:close/>
                <a:moveTo>
                  <a:pt x="19937" y="46037"/>
                </a:moveTo>
                <a:cubicBezTo>
                  <a:pt x="24255" y="49212"/>
                  <a:pt x="25334" y="54856"/>
                  <a:pt x="22455" y="59090"/>
                </a:cubicBezTo>
                <a:cubicBezTo>
                  <a:pt x="20656" y="61559"/>
                  <a:pt x="19577" y="63676"/>
                  <a:pt x="18138" y="66145"/>
                </a:cubicBezTo>
                <a:cubicBezTo>
                  <a:pt x="16338" y="68967"/>
                  <a:pt x="13100" y="71084"/>
                  <a:pt x="9502" y="71084"/>
                </a:cubicBezTo>
                <a:cubicBezTo>
                  <a:pt x="8062" y="71084"/>
                  <a:pt x="6263" y="70731"/>
                  <a:pt x="4824" y="69673"/>
                </a:cubicBezTo>
                <a:cubicBezTo>
                  <a:pt x="146" y="67204"/>
                  <a:pt x="-1293" y="61206"/>
                  <a:pt x="1226" y="56620"/>
                </a:cubicBezTo>
                <a:cubicBezTo>
                  <a:pt x="2665" y="54151"/>
                  <a:pt x="4464" y="50976"/>
                  <a:pt x="6263" y="48506"/>
                </a:cubicBezTo>
                <a:cubicBezTo>
                  <a:pt x="9502" y="43920"/>
                  <a:pt x="15619" y="42862"/>
                  <a:pt x="19937" y="46037"/>
                </a:cubicBezTo>
                <a:close/>
                <a:moveTo>
                  <a:pt x="63645" y="39027"/>
                </a:moveTo>
                <a:cubicBezTo>
                  <a:pt x="68379" y="36512"/>
                  <a:pt x="74206" y="38667"/>
                  <a:pt x="76755" y="43338"/>
                </a:cubicBezTo>
                <a:cubicBezTo>
                  <a:pt x="79305" y="48367"/>
                  <a:pt x="77120" y="54115"/>
                  <a:pt x="72021" y="56630"/>
                </a:cubicBezTo>
                <a:cubicBezTo>
                  <a:pt x="50898" y="67048"/>
                  <a:pt x="37423" y="88244"/>
                  <a:pt x="37423" y="111955"/>
                </a:cubicBezTo>
                <a:lnTo>
                  <a:pt x="37423" y="143928"/>
                </a:lnTo>
                <a:cubicBezTo>
                  <a:pt x="37423" y="149317"/>
                  <a:pt x="32689" y="153628"/>
                  <a:pt x="27226" y="153628"/>
                </a:cubicBezTo>
                <a:cubicBezTo>
                  <a:pt x="22127" y="153628"/>
                  <a:pt x="17757" y="149317"/>
                  <a:pt x="17757" y="143928"/>
                </a:cubicBezTo>
                <a:lnTo>
                  <a:pt x="17757" y="111955"/>
                </a:lnTo>
                <a:cubicBezTo>
                  <a:pt x="17757" y="80700"/>
                  <a:pt x="35238" y="53037"/>
                  <a:pt x="63645" y="39027"/>
                </a:cubicBezTo>
                <a:close/>
                <a:moveTo>
                  <a:pt x="98981" y="31750"/>
                </a:moveTo>
                <a:cubicBezTo>
                  <a:pt x="143932" y="31750"/>
                  <a:pt x="180907" y="68297"/>
                  <a:pt x="180907" y="113529"/>
                </a:cubicBezTo>
                <a:lnTo>
                  <a:pt x="180907" y="169255"/>
                </a:lnTo>
                <a:cubicBezTo>
                  <a:pt x="180907" y="174683"/>
                  <a:pt x="176557" y="179025"/>
                  <a:pt x="171119" y="179025"/>
                </a:cubicBezTo>
                <a:cubicBezTo>
                  <a:pt x="165682" y="179025"/>
                  <a:pt x="161332" y="174683"/>
                  <a:pt x="161332" y="169255"/>
                </a:cubicBezTo>
                <a:lnTo>
                  <a:pt x="161332" y="113529"/>
                </a:lnTo>
                <a:cubicBezTo>
                  <a:pt x="161332" y="79153"/>
                  <a:pt x="133419" y="51290"/>
                  <a:pt x="98981" y="51290"/>
                </a:cubicBezTo>
                <a:cubicBezTo>
                  <a:pt x="93544" y="51290"/>
                  <a:pt x="89194" y="46948"/>
                  <a:pt x="89194" y="41520"/>
                </a:cubicBezTo>
                <a:cubicBezTo>
                  <a:pt x="89194" y="36092"/>
                  <a:pt x="93544" y="31750"/>
                  <a:pt x="98981" y="31750"/>
                </a:cubicBezTo>
                <a:close/>
                <a:moveTo>
                  <a:pt x="99273" y="0"/>
                </a:moveTo>
                <a:cubicBezTo>
                  <a:pt x="161546" y="0"/>
                  <a:pt x="212659" y="50902"/>
                  <a:pt x="212659" y="113717"/>
                </a:cubicBezTo>
                <a:cubicBezTo>
                  <a:pt x="212659" y="119132"/>
                  <a:pt x="208340" y="123464"/>
                  <a:pt x="202940" y="123464"/>
                </a:cubicBezTo>
                <a:cubicBezTo>
                  <a:pt x="197541" y="123464"/>
                  <a:pt x="193222" y="119132"/>
                  <a:pt x="193222" y="113717"/>
                </a:cubicBezTo>
                <a:cubicBezTo>
                  <a:pt x="193222" y="61732"/>
                  <a:pt x="151107" y="19494"/>
                  <a:pt x="99273" y="19494"/>
                </a:cubicBezTo>
                <a:cubicBezTo>
                  <a:pt x="79475" y="19494"/>
                  <a:pt x="60038" y="25631"/>
                  <a:pt x="44200" y="37184"/>
                </a:cubicBezTo>
                <a:cubicBezTo>
                  <a:pt x="39880" y="40433"/>
                  <a:pt x="33761" y="39350"/>
                  <a:pt x="30522" y="35379"/>
                </a:cubicBezTo>
                <a:cubicBezTo>
                  <a:pt x="27282" y="30685"/>
                  <a:pt x="28362" y="24548"/>
                  <a:pt x="32681" y="21660"/>
                </a:cubicBezTo>
                <a:cubicBezTo>
                  <a:pt x="52119" y="7220"/>
                  <a:pt x="75156" y="0"/>
                  <a:pt x="99273" y="0"/>
                </a:cubicBezTo>
                <a:close/>
              </a:path>
            </a:pathLst>
          </a:custGeom>
          <a:solidFill>
            <a:schemeClr val="bg1"/>
          </a:solidFill>
          <a:ln>
            <a:noFill/>
          </a:ln>
        </p:spPr>
        <p:txBody>
          <a:bodyPr anchor="ctr"/>
          <a:lstStyle/>
          <a:p>
            <a:endParaRPr lang="en-US" sz="900" dirty="0">
              <a:latin typeface="Lato Light" panose="020F0502020204030203" pitchFamily="34" charset="0"/>
            </a:endParaRPr>
          </a:p>
        </p:txBody>
      </p:sp>
      <p:sp>
        <p:nvSpPr>
          <p:cNvPr id="127" name="TextBox 126">
            <a:extLst>
              <a:ext uri="{FF2B5EF4-FFF2-40B4-BE49-F238E27FC236}">
                <a16:creationId xmlns:a16="http://schemas.microsoft.com/office/drawing/2014/main" id="{5C320BE6-6A07-344C-BB2E-39695B399C24}"/>
              </a:ext>
            </a:extLst>
          </p:cNvPr>
          <p:cNvSpPr txBox="1"/>
          <p:nvPr/>
        </p:nvSpPr>
        <p:spPr>
          <a:xfrm>
            <a:off x="7287786" y="4260229"/>
            <a:ext cx="1471493"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3</a:t>
            </a:r>
          </a:p>
        </p:txBody>
      </p:sp>
      <p:sp>
        <p:nvSpPr>
          <p:cNvPr id="128" name="Subtitle 2">
            <a:extLst>
              <a:ext uri="{FF2B5EF4-FFF2-40B4-BE49-F238E27FC236}">
                <a16:creationId xmlns:a16="http://schemas.microsoft.com/office/drawing/2014/main" id="{2241A218-3863-AF4F-BE7E-3270AEB08073}"/>
              </a:ext>
            </a:extLst>
          </p:cNvPr>
          <p:cNvSpPr txBox="1">
            <a:spLocks/>
          </p:cNvSpPr>
          <p:nvPr/>
        </p:nvSpPr>
        <p:spPr>
          <a:xfrm>
            <a:off x="7287786" y="4649146"/>
            <a:ext cx="4142214" cy="48494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a:t>
            </a:r>
          </a:p>
        </p:txBody>
      </p:sp>
      <p:sp>
        <p:nvSpPr>
          <p:cNvPr id="129" name="Oval 128">
            <a:extLst>
              <a:ext uri="{FF2B5EF4-FFF2-40B4-BE49-F238E27FC236}">
                <a16:creationId xmlns:a16="http://schemas.microsoft.com/office/drawing/2014/main" id="{F06FD9CF-CB62-A648-8C1A-3C7641DC994E}"/>
              </a:ext>
            </a:extLst>
          </p:cNvPr>
          <p:cNvSpPr>
            <a:spLocks noChangeAspect="1"/>
          </p:cNvSpPr>
          <p:nvPr/>
        </p:nvSpPr>
        <p:spPr>
          <a:xfrm>
            <a:off x="6254899" y="4314398"/>
            <a:ext cx="786384" cy="78638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32" name="Freeform 621">
            <a:extLst>
              <a:ext uri="{FF2B5EF4-FFF2-40B4-BE49-F238E27FC236}">
                <a16:creationId xmlns:a16="http://schemas.microsoft.com/office/drawing/2014/main" id="{9B25615C-C9F7-C947-B0CA-1CE8D9ADA502}"/>
              </a:ext>
            </a:extLst>
          </p:cNvPr>
          <p:cNvSpPr>
            <a:spLocks noChangeAspect="1"/>
          </p:cNvSpPr>
          <p:nvPr/>
        </p:nvSpPr>
        <p:spPr bwMode="auto">
          <a:xfrm>
            <a:off x="6489398" y="4498006"/>
            <a:ext cx="317386" cy="419168"/>
          </a:xfrm>
          <a:custGeom>
            <a:avLst/>
            <a:gdLst>
              <a:gd name="T0" fmla="*/ 179020 w 136167"/>
              <a:gd name="T1" fmla="*/ 1334949 h 180612"/>
              <a:gd name="T2" fmla="*/ 358033 w 136167"/>
              <a:gd name="T3" fmla="*/ 1504540 h 180612"/>
              <a:gd name="T4" fmla="*/ 1259759 w 136167"/>
              <a:gd name="T5" fmla="*/ 2398191 h 180612"/>
              <a:gd name="T6" fmla="*/ 2161468 w 136167"/>
              <a:gd name="T7" fmla="*/ 1504540 h 180612"/>
              <a:gd name="T8" fmla="*/ 2340481 w 136167"/>
              <a:gd name="T9" fmla="*/ 1334949 h 180612"/>
              <a:gd name="T10" fmla="*/ 2519501 w 136167"/>
              <a:gd name="T11" fmla="*/ 1504540 h 180612"/>
              <a:gd name="T12" fmla="*/ 1750291 w 136167"/>
              <a:gd name="T13" fmla="*/ 2652983 h 180612"/>
              <a:gd name="T14" fmla="*/ 1432910 w 136167"/>
              <a:gd name="T15" fmla="*/ 2716037 h 180612"/>
              <a:gd name="T16" fmla="*/ 1432910 w 136167"/>
              <a:gd name="T17" fmla="*/ 3122271 h 180612"/>
              <a:gd name="T18" fmla="*/ 1259871 w 136167"/>
              <a:gd name="T19" fmla="*/ 3301713 h 180612"/>
              <a:gd name="T20" fmla="*/ 1086828 w 136167"/>
              <a:gd name="T21" fmla="*/ 3122271 h 180612"/>
              <a:gd name="T22" fmla="*/ 1086828 w 136167"/>
              <a:gd name="T23" fmla="*/ 2715886 h 180612"/>
              <a:gd name="T24" fmla="*/ 772005 w 136167"/>
              <a:gd name="T25" fmla="*/ 2652983 h 180612"/>
              <a:gd name="T26" fmla="*/ 0 w 136167"/>
              <a:gd name="T27" fmla="*/ 1504540 h 180612"/>
              <a:gd name="T28" fmla="*/ 179020 w 136167"/>
              <a:gd name="T29" fmla="*/ 1334949 h 180612"/>
              <a:gd name="T30" fmla="*/ 1245088 w 136167"/>
              <a:gd name="T31" fmla="*/ 355271 h 180612"/>
              <a:gd name="T32" fmla="*/ 973948 w 136167"/>
              <a:gd name="T33" fmla="*/ 625018 h 180612"/>
              <a:gd name="T34" fmla="*/ 973948 w 136167"/>
              <a:gd name="T35" fmla="*/ 1486901 h 180612"/>
              <a:gd name="T36" fmla="*/ 1245088 w 136167"/>
              <a:gd name="T37" fmla="*/ 1756649 h 180612"/>
              <a:gd name="T38" fmla="*/ 1516211 w 136167"/>
              <a:gd name="T39" fmla="*/ 1486901 h 180612"/>
              <a:gd name="T40" fmla="*/ 1516211 w 136167"/>
              <a:gd name="T41" fmla="*/ 625018 h 180612"/>
              <a:gd name="T42" fmla="*/ 1245088 w 136167"/>
              <a:gd name="T43" fmla="*/ 355271 h 180612"/>
              <a:gd name="T44" fmla="*/ 1245088 w 136167"/>
              <a:gd name="T45" fmla="*/ 0 h 180612"/>
              <a:gd name="T46" fmla="*/ 1873298 w 136167"/>
              <a:gd name="T47" fmla="*/ 625018 h 180612"/>
              <a:gd name="T48" fmla="*/ 1873298 w 136167"/>
              <a:gd name="T49" fmla="*/ 1486901 h 180612"/>
              <a:gd name="T50" fmla="*/ 1245088 w 136167"/>
              <a:gd name="T51" fmla="*/ 2111913 h 180612"/>
              <a:gd name="T52" fmla="*/ 616850 w 136167"/>
              <a:gd name="T53" fmla="*/ 1486901 h 180612"/>
              <a:gd name="T54" fmla="*/ 616850 w 136167"/>
              <a:gd name="T55" fmla="*/ 625018 h 180612"/>
              <a:gd name="T56" fmla="*/ 1245088 w 136167"/>
              <a:gd name="T57" fmla="*/ 0 h 18061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36167" h="180612">
                <a:moveTo>
                  <a:pt x="9675" y="73025"/>
                </a:moveTo>
                <a:cubicBezTo>
                  <a:pt x="15050" y="73025"/>
                  <a:pt x="19350" y="77307"/>
                  <a:pt x="19350" y="82302"/>
                </a:cubicBezTo>
                <a:cubicBezTo>
                  <a:pt x="19350" y="109421"/>
                  <a:pt x="41208" y="131187"/>
                  <a:pt x="68084" y="131187"/>
                </a:cubicBezTo>
                <a:cubicBezTo>
                  <a:pt x="94959" y="131187"/>
                  <a:pt x="116817" y="109421"/>
                  <a:pt x="116817" y="82302"/>
                </a:cubicBezTo>
                <a:cubicBezTo>
                  <a:pt x="116817" y="77307"/>
                  <a:pt x="121117" y="73025"/>
                  <a:pt x="126492" y="73025"/>
                </a:cubicBezTo>
                <a:cubicBezTo>
                  <a:pt x="131867" y="73025"/>
                  <a:pt x="136167" y="77307"/>
                  <a:pt x="136167" y="82302"/>
                </a:cubicBezTo>
                <a:cubicBezTo>
                  <a:pt x="136167" y="110670"/>
                  <a:pt x="119034" y="134822"/>
                  <a:pt x="94595" y="145125"/>
                </a:cubicBezTo>
                <a:lnTo>
                  <a:pt x="77442" y="148574"/>
                </a:lnTo>
                <a:lnTo>
                  <a:pt x="77442" y="170796"/>
                </a:lnTo>
                <a:cubicBezTo>
                  <a:pt x="77442" y="176249"/>
                  <a:pt x="73286" y="180612"/>
                  <a:pt x="68090" y="180612"/>
                </a:cubicBezTo>
                <a:cubicBezTo>
                  <a:pt x="62895" y="180612"/>
                  <a:pt x="58738" y="176249"/>
                  <a:pt x="58738" y="170796"/>
                </a:cubicBezTo>
                <a:lnTo>
                  <a:pt x="58738" y="148566"/>
                </a:lnTo>
                <a:lnTo>
                  <a:pt x="41723" y="145125"/>
                </a:lnTo>
                <a:cubicBezTo>
                  <a:pt x="17334" y="134822"/>
                  <a:pt x="0" y="110670"/>
                  <a:pt x="0" y="82302"/>
                </a:cubicBezTo>
                <a:cubicBezTo>
                  <a:pt x="0" y="77307"/>
                  <a:pt x="4300" y="73025"/>
                  <a:pt x="9675" y="73025"/>
                </a:cubicBezTo>
                <a:close/>
                <a:moveTo>
                  <a:pt x="67291" y="19434"/>
                </a:moveTo>
                <a:cubicBezTo>
                  <a:pt x="59428" y="19434"/>
                  <a:pt x="52637" y="25913"/>
                  <a:pt x="52637" y="34190"/>
                </a:cubicBezTo>
                <a:lnTo>
                  <a:pt x="52637" y="81337"/>
                </a:lnTo>
                <a:cubicBezTo>
                  <a:pt x="52637" y="89255"/>
                  <a:pt x="59428" y="96093"/>
                  <a:pt x="67291" y="96093"/>
                </a:cubicBezTo>
                <a:cubicBezTo>
                  <a:pt x="75511" y="96093"/>
                  <a:pt x="81944" y="89255"/>
                  <a:pt x="81944" y="81337"/>
                </a:cubicBezTo>
                <a:lnTo>
                  <a:pt x="81944" y="34190"/>
                </a:lnTo>
                <a:cubicBezTo>
                  <a:pt x="81944" y="25913"/>
                  <a:pt x="75511" y="19434"/>
                  <a:pt x="67291" y="19434"/>
                </a:cubicBezTo>
                <a:close/>
                <a:moveTo>
                  <a:pt x="67291" y="0"/>
                </a:moveTo>
                <a:cubicBezTo>
                  <a:pt x="86232" y="0"/>
                  <a:pt x="101243" y="15476"/>
                  <a:pt x="101243" y="34190"/>
                </a:cubicBezTo>
                <a:lnTo>
                  <a:pt x="101243" y="81337"/>
                </a:lnTo>
                <a:cubicBezTo>
                  <a:pt x="101243" y="100051"/>
                  <a:pt x="86232" y="115527"/>
                  <a:pt x="67291" y="115527"/>
                </a:cubicBezTo>
                <a:cubicBezTo>
                  <a:pt x="48706" y="115527"/>
                  <a:pt x="33338" y="100051"/>
                  <a:pt x="33338" y="81337"/>
                </a:cubicBezTo>
                <a:lnTo>
                  <a:pt x="33338" y="34190"/>
                </a:lnTo>
                <a:cubicBezTo>
                  <a:pt x="33338" y="15476"/>
                  <a:pt x="48706" y="0"/>
                  <a:pt x="67291" y="0"/>
                </a:cubicBezTo>
                <a:close/>
              </a:path>
            </a:pathLst>
          </a:custGeom>
          <a:solidFill>
            <a:schemeClr val="bg1"/>
          </a:solidFill>
          <a:ln>
            <a:noFill/>
          </a:ln>
        </p:spPr>
        <p:txBody>
          <a:bodyPr anchor="ctr"/>
          <a:lstStyle/>
          <a:p>
            <a:endParaRPr lang="en-US" sz="900" dirty="0">
              <a:latin typeface="Lato Light" panose="020F0502020204030203" pitchFamily="34" charset="0"/>
            </a:endParaRPr>
          </a:p>
        </p:txBody>
      </p:sp>
      <p:sp>
        <p:nvSpPr>
          <p:cNvPr id="118" name="TextBox 117">
            <a:extLst>
              <a:ext uri="{FF2B5EF4-FFF2-40B4-BE49-F238E27FC236}">
                <a16:creationId xmlns:a16="http://schemas.microsoft.com/office/drawing/2014/main" id="{9D32B404-243A-3944-88EB-C50D14EE647C}"/>
              </a:ext>
            </a:extLst>
          </p:cNvPr>
          <p:cNvSpPr txBox="1"/>
          <p:nvPr/>
        </p:nvSpPr>
        <p:spPr>
          <a:xfrm>
            <a:off x="7287786" y="2960894"/>
            <a:ext cx="1471493"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2</a:t>
            </a:r>
          </a:p>
        </p:txBody>
      </p:sp>
      <p:sp>
        <p:nvSpPr>
          <p:cNvPr id="119" name="Subtitle 2">
            <a:extLst>
              <a:ext uri="{FF2B5EF4-FFF2-40B4-BE49-F238E27FC236}">
                <a16:creationId xmlns:a16="http://schemas.microsoft.com/office/drawing/2014/main" id="{10E45C4C-AB79-5E4F-814A-6CC5B18335D9}"/>
              </a:ext>
            </a:extLst>
          </p:cNvPr>
          <p:cNvSpPr txBox="1">
            <a:spLocks/>
          </p:cNvSpPr>
          <p:nvPr/>
        </p:nvSpPr>
        <p:spPr>
          <a:xfrm>
            <a:off x="7287786" y="3349810"/>
            <a:ext cx="4142214" cy="48494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a:t>
            </a:r>
          </a:p>
        </p:txBody>
      </p:sp>
      <p:sp>
        <p:nvSpPr>
          <p:cNvPr id="120" name="Oval 119">
            <a:extLst>
              <a:ext uri="{FF2B5EF4-FFF2-40B4-BE49-F238E27FC236}">
                <a16:creationId xmlns:a16="http://schemas.microsoft.com/office/drawing/2014/main" id="{0C96222B-54F7-AD45-A3F0-D3896B44B98D}"/>
              </a:ext>
            </a:extLst>
          </p:cNvPr>
          <p:cNvSpPr>
            <a:spLocks noChangeAspect="1"/>
          </p:cNvSpPr>
          <p:nvPr/>
        </p:nvSpPr>
        <p:spPr>
          <a:xfrm>
            <a:off x="6254899" y="3030901"/>
            <a:ext cx="786384" cy="7863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33" name="Freeform 624">
            <a:extLst>
              <a:ext uri="{FF2B5EF4-FFF2-40B4-BE49-F238E27FC236}">
                <a16:creationId xmlns:a16="http://schemas.microsoft.com/office/drawing/2014/main" id="{DC775D82-B21D-4F4A-A07F-4A604FC3C306}"/>
              </a:ext>
            </a:extLst>
          </p:cNvPr>
          <p:cNvSpPr>
            <a:spLocks noChangeAspect="1"/>
          </p:cNvSpPr>
          <p:nvPr/>
        </p:nvSpPr>
        <p:spPr bwMode="auto">
          <a:xfrm>
            <a:off x="6450547" y="3314463"/>
            <a:ext cx="395089" cy="241869"/>
          </a:xfrm>
          <a:custGeom>
            <a:avLst/>
            <a:gdLst>
              <a:gd name="T0" fmla="*/ 1228470 w 169501"/>
              <a:gd name="T1" fmla="*/ 434138 h 104417"/>
              <a:gd name="T2" fmla="*/ 1401228 w 169501"/>
              <a:gd name="T3" fmla="*/ 608950 h 104417"/>
              <a:gd name="T4" fmla="*/ 1401228 w 169501"/>
              <a:gd name="T5" fmla="*/ 1236931 h 104417"/>
              <a:gd name="T6" fmla="*/ 1228470 w 169501"/>
              <a:gd name="T7" fmla="*/ 1411734 h 104417"/>
              <a:gd name="T8" fmla="*/ 1055715 w 169501"/>
              <a:gd name="T9" fmla="*/ 1236931 h 104417"/>
              <a:gd name="T10" fmla="*/ 1055715 w 169501"/>
              <a:gd name="T11" fmla="*/ 608950 h 104417"/>
              <a:gd name="T12" fmla="*/ 1228470 w 169501"/>
              <a:gd name="T13" fmla="*/ 434138 h 104417"/>
              <a:gd name="T14" fmla="*/ 682327 w 169501"/>
              <a:gd name="T15" fmla="*/ 434138 h 104417"/>
              <a:gd name="T16" fmla="*/ 872942 w 169501"/>
              <a:gd name="T17" fmla="*/ 608950 h 104417"/>
              <a:gd name="T18" fmla="*/ 872942 w 169501"/>
              <a:gd name="T19" fmla="*/ 1236931 h 104417"/>
              <a:gd name="T20" fmla="*/ 682327 w 169501"/>
              <a:gd name="T21" fmla="*/ 1411734 h 104417"/>
              <a:gd name="T22" fmla="*/ 498525 w 169501"/>
              <a:gd name="T23" fmla="*/ 1236931 h 104417"/>
              <a:gd name="T24" fmla="*/ 498525 w 169501"/>
              <a:gd name="T25" fmla="*/ 608950 h 104417"/>
              <a:gd name="T26" fmla="*/ 682327 w 169501"/>
              <a:gd name="T27" fmla="*/ 434138 h 104417"/>
              <a:gd name="T28" fmla="*/ 367182 w 169501"/>
              <a:gd name="T29" fmla="*/ 352060 h 104417"/>
              <a:gd name="T30" fmla="*/ 367182 w 169501"/>
              <a:gd name="T31" fmla="*/ 1551663 h 104417"/>
              <a:gd name="T32" fmla="*/ 2536941 w 169501"/>
              <a:gd name="T33" fmla="*/ 1551663 h 104417"/>
              <a:gd name="T34" fmla="*/ 2536941 w 169501"/>
              <a:gd name="T35" fmla="*/ 1290896 h 104417"/>
              <a:gd name="T36" fmla="*/ 2683818 w 169501"/>
              <a:gd name="T37" fmla="*/ 1108335 h 104417"/>
              <a:gd name="T38" fmla="*/ 2763934 w 169501"/>
              <a:gd name="T39" fmla="*/ 1108335 h 104417"/>
              <a:gd name="T40" fmla="*/ 2763934 w 169501"/>
              <a:gd name="T41" fmla="*/ 749755 h 104417"/>
              <a:gd name="T42" fmla="*/ 2683818 w 169501"/>
              <a:gd name="T43" fmla="*/ 749755 h 104417"/>
              <a:gd name="T44" fmla="*/ 2536941 w 169501"/>
              <a:gd name="T45" fmla="*/ 586776 h 104417"/>
              <a:gd name="T46" fmla="*/ 2536941 w 169501"/>
              <a:gd name="T47" fmla="*/ 352060 h 104417"/>
              <a:gd name="T48" fmla="*/ 166901 w 169501"/>
              <a:gd name="T49" fmla="*/ 0 h 104417"/>
              <a:gd name="T50" fmla="*/ 2683818 w 169501"/>
              <a:gd name="T51" fmla="*/ 0 h 104417"/>
              <a:gd name="T52" fmla="*/ 2904140 w 169501"/>
              <a:gd name="T53" fmla="*/ 169499 h 104417"/>
              <a:gd name="T54" fmla="*/ 2904140 w 169501"/>
              <a:gd name="T55" fmla="*/ 397696 h 104417"/>
              <a:gd name="T56" fmla="*/ 2897475 w 169501"/>
              <a:gd name="T57" fmla="*/ 397696 h 104417"/>
              <a:gd name="T58" fmla="*/ 3131133 w 169501"/>
              <a:gd name="T59" fmla="*/ 586776 h 104417"/>
              <a:gd name="T60" fmla="*/ 3131133 w 169501"/>
              <a:gd name="T61" fmla="*/ 1290896 h 104417"/>
              <a:gd name="T62" fmla="*/ 2897475 w 169501"/>
              <a:gd name="T63" fmla="*/ 1460395 h 104417"/>
              <a:gd name="T64" fmla="*/ 2904140 w 169501"/>
              <a:gd name="T65" fmla="*/ 1460395 h 104417"/>
              <a:gd name="T66" fmla="*/ 2904140 w 169501"/>
              <a:gd name="T67" fmla="*/ 1714659 h 104417"/>
              <a:gd name="T68" fmla="*/ 2683818 w 169501"/>
              <a:gd name="T69" fmla="*/ 1903723 h 104417"/>
              <a:gd name="T70" fmla="*/ 166901 w 169501"/>
              <a:gd name="T71" fmla="*/ 1903723 h 104417"/>
              <a:gd name="T72" fmla="*/ 0 w 169501"/>
              <a:gd name="T73" fmla="*/ 1714659 h 104417"/>
              <a:gd name="T74" fmla="*/ 0 w 169501"/>
              <a:gd name="T75" fmla="*/ 169499 h 104417"/>
              <a:gd name="T76" fmla="*/ 166901 w 169501"/>
              <a:gd name="T77" fmla="*/ 0 h 1044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69501" h="104417">
                <a:moveTo>
                  <a:pt x="66502" y="23812"/>
                </a:moveTo>
                <a:cubicBezTo>
                  <a:pt x="71351" y="23812"/>
                  <a:pt x="75854" y="28073"/>
                  <a:pt x="75854" y="33400"/>
                </a:cubicBezTo>
                <a:lnTo>
                  <a:pt x="75854" y="67844"/>
                </a:lnTo>
                <a:cubicBezTo>
                  <a:pt x="75854" y="73171"/>
                  <a:pt x="71351" y="77432"/>
                  <a:pt x="66502" y="77432"/>
                </a:cubicBezTo>
                <a:cubicBezTo>
                  <a:pt x="61307" y="77432"/>
                  <a:pt x="57150" y="73171"/>
                  <a:pt x="57150" y="67844"/>
                </a:cubicBezTo>
                <a:lnTo>
                  <a:pt x="57150" y="33400"/>
                </a:lnTo>
                <a:cubicBezTo>
                  <a:pt x="57150" y="28073"/>
                  <a:pt x="61307" y="23812"/>
                  <a:pt x="66502" y="23812"/>
                </a:cubicBezTo>
                <a:close/>
                <a:moveTo>
                  <a:pt x="36937" y="23812"/>
                </a:moveTo>
                <a:cubicBezTo>
                  <a:pt x="42465" y="23812"/>
                  <a:pt x="47256" y="28073"/>
                  <a:pt x="47256" y="33400"/>
                </a:cubicBezTo>
                <a:lnTo>
                  <a:pt x="47256" y="67844"/>
                </a:lnTo>
                <a:cubicBezTo>
                  <a:pt x="47256" y="73171"/>
                  <a:pt x="42465" y="77432"/>
                  <a:pt x="36937" y="77432"/>
                </a:cubicBezTo>
                <a:cubicBezTo>
                  <a:pt x="31409" y="77432"/>
                  <a:pt x="26987" y="73171"/>
                  <a:pt x="26987" y="67844"/>
                </a:cubicBezTo>
                <a:lnTo>
                  <a:pt x="26987" y="33400"/>
                </a:lnTo>
                <a:cubicBezTo>
                  <a:pt x="26987" y="28073"/>
                  <a:pt x="31409" y="23812"/>
                  <a:pt x="36937" y="23812"/>
                </a:cubicBezTo>
                <a:close/>
                <a:moveTo>
                  <a:pt x="19877" y="19310"/>
                </a:moveTo>
                <a:lnTo>
                  <a:pt x="19877" y="85107"/>
                </a:lnTo>
                <a:lnTo>
                  <a:pt x="137335" y="85107"/>
                </a:lnTo>
                <a:lnTo>
                  <a:pt x="137335" y="70804"/>
                </a:lnTo>
                <a:cubicBezTo>
                  <a:pt x="137335" y="65797"/>
                  <a:pt x="140227" y="60791"/>
                  <a:pt x="145286" y="60791"/>
                </a:cubicBezTo>
                <a:lnTo>
                  <a:pt x="149623" y="60791"/>
                </a:lnTo>
                <a:lnTo>
                  <a:pt x="149623" y="41123"/>
                </a:lnTo>
                <a:lnTo>
                  <a:pt x="145286" y="41123"/>
                </a:lnTo>
                <a:cubicBezTo>
                  <a:pt x="140227" y="41123"/>
                  <a:pt x="137335" y="37547"/>
                  <a:pt x="137335" y="32184"/>
                </a:cubicBezTo>
                <a:lnTo>
                  <a:pt x="137335" y="19310"/>
                </a:lnTo>
                <a:lnTo>
                  <a:pt x="19877" y="19310"/>
                </a:lnTo>
                <a:close/>
                <a:moveTo>
                  <a:pt x="9035" y="0"/>
                </a:moveTo>
                <a:lnTo>
                  <a:pt x="145286" y="0"/>
                </a:lnTo>
                <a:cubicBezTo>
                  <a:pt x="150708" y="0"/>
                  <a:pt x="157213" y="3933"/>
                  <a:pt x="157213" y="9297"/>
                </a:cubicBezTo>
                <a:lnTo>
                  <a:pt x="157213" y="21813"/>
                </a:lnTo>
                <a:lnTo>
                  <a:pt x="156852" y="21813"/>
                </a:lnTo>
                <a:cubicBezTo>
                  <a:pt x="162634" y="21813"/>
                  <a:pt x="169501" y="27177"/>
                  <a:pt x="169501" y="32184"/>
                </a:cubicBezTo>
                <a:lnTo>
                  <a:pt x="169501" y="70804"/>
                </a:lnTo>
                <a:cubicBezTo>
                  <a:pt x="169501" y="76168"/>
                  <a:pt x="162634" y="80101"/>
                  <a:pt x="156852" y="80101"/>
                </a:cubicBezTo>
                <a:lnTo>
                  <a:pt x="157213" y="80101"/>
                </a:lnTo>
                <a:lnTo>
                  <a:pt x="157213" y="94047"/>
                </a:lnTo>
                <a:cubicBezTo>
                  <a:pt x="157213" y="99411"/>
                  <a:pt x="150708" y="104417"/>
                  <a:pt x="145286" y="104417"/>
                </a:cubicBezTo>
                <a:lnTo>
                  <a:pt x="9035" y="104417"/>
                </a:lnTo>
                <a:cubicBezTo>
                  <a:pt x="3252" y="104417"/>
                  <a:pt x="0" y="99411"/>
                  <a:pt x="0" y="94047"/>
                </a:cubicBezTo>
                <a:lnTo>
                  <a:pt x="0" y="9297"/>
                </a:lnTo>
                <a:cubicBezTo>
                  <a:pt x="0" y="3933"/>
                  <a:pt x="3252" y="0"/>
                  <a:pt x="9035" y="0"/>
                </a:cubicBezTo>
                <a:close/>
              </a:path>
            </a:pathLst>
          </a:custGeom>
          <a:solidFill>
            <a:schemeClr val="bg1"/>
          </a:solidFill>
          <a:ln>
            <a:noFill/>
          </a:ln>
        </p:spPr>
        <p:txBody>
          <a:bodyPr anchor="ctr"/>
          <a:lstStyle/>
          <a:p>
            <a:endParaRPr lang="en-US" sz="900" dirty="0">
              <a:latin typeface="Lato Light" panose="020F0502020204030203" pitchFamily="34" charset="0"/>
            </a:endParaRPr>
          </a:p>
        </p:txBody>
      </p:sp>
      <p:sp>
        <p:nvSpPr>
          <p:cNvPr id="136" name="Titel 1">
            <a:extLst>
              <a:ext uri="{FF2B5EF4-FFF2-40B4-BE49-F238E27FC236}">
                <a16:creationId xmlns:a16="http://schemas.microsoft.com/office/drawing/2014/main" id="{31ECF0CD-877B-4CE4-81C5-72E0843AF799}"/>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Programming infographic</a:t>
            </a:r>
          </a:p>
        </p:txBody>
      </p:sp>
    </p:spTree>
    <p:custDataLst>
      <p:tags r:id="rId1"/>
    </p:custDataLst>
    <p:extLst>
      <p:ext uri="{BB962C8B-B14F-4D97-AF65-F5344CB8AC3E}">
        <p14:creationId xmlns:p14="http://schemas.microsoft.com/office/powerpoint/2010/main" val="22005303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28AA68B5-5745-B94E-B9F7-7A12321ED246}"/>
              </a:ext>
            </a:extLst>
          </p:cNvPr>
          <p:cNvSpPr txBox="1"/>
          <p:nvPr/>
        </p:nvSpPr>
        <p:spPr>
          <a:xfrm>
            <a:off x="4862176" y="2707685"/>
            <a:ext cx="2467675" cy="1477328"/>
          </a:xfrm>
          <a:prstGeom prst="rect">
            <a:avLst/>
          </a:prstGeom>
          <a:noFill/>
        </p:spPr>
        <p:txBody>
          <a:bodyPr wrap="square" rtlCol="0" anchor="ctr">
            <a:spAutoFit/>
          </a:bodyPr>
          <a:lstStyle/>
          <a:p>
            <a:pPr algn="ctr"/>
            <a:r>
              <a:rPr lang="en-US" sz="3000" b="1" dirty="0">
                <a:solidFill>
                  <a:schemeClr val="tx2"/>
                </a:solidFill>
                <a:latin typeface="+mj-lt"/>
                <a:cs typeface="Poppins" pitchFamily="2" charset="77"/>
              </a:rPr>
              <a:t>Scrum</a:t>
            </a:r>
          </a:p>
          <a:p>
            <a:pPr algn="ctr"/>
            <a:r>
              <a:rPr lang="en-US" sz="3000" b="1" dirty="0">
                <a:solidFill>
                  <a:schemeClr val="tx2"/>
                </a:solidFill>
                <a:latin typeface="+mj-lt"/>
                <a:cs typeface="Poppins" pitchFamily="2" charset="77"/>
              </a:rPr>
              <a:t>Event</a:t>
            </a:r>
          </a:p>
          <a:p>
            <a:pPr algn="ctr"/>
            <a:r>
              <a:rPr lang="en-US" sz="3000" b="1" dirty="0">
                <a:solidFill>
                  <a:schemeClr val="tx2"/>
                </a:solidFill>
                <a:latin typeface="+mj-lt"/>
                <a:cs typeface="Poppins" pitchFamily="2" charset="77"/>
              </a:rPr>
              <a:t>Structure</a:t>
            </a:r>
          </a:p>
        </p:txBody>
      </p:sp>
      <p:grpSp>
        <p:nvGrpSpPr>
          <p:cNvPr id="66" name="Group 65">
            <a:extLst>
              <a:ext uri="{FF2B5EF4-FFF2-40B4-BE49-F238E27FC236}">
                <a16:creationId xmlns:a16="http://schemas.microsoft.com/office/drawing/2014/main" id="{8367B64C-823E-2649-B78F-C9A677A22301}"/>
              </a:ext>
            </a:extLst>
          </p:cNvPr>
          <p:cNvGrpSpPr/>
          <p:nvPr/>
        </p:nvGrpSpPr>
        <p:grpSpPr>
          <a:xfrm>
            <a:off x="3255419" y="1169331"/>
            <a:ext cx="5681163" cy="5074494"/>
            <a:chOff x="7314972" y="3059762"/>
            <a:chExt cx="9747708" cy="8706788"/>
          </a:xfrm>
        </p:grpSpPr>
        <p:sp>
          <p:nvSpPr>
            <p:cNvPr id="22" name="Right Triangle 21">
              <a:extLst>
                <a:ext uri="{FF2B5EF4-FFF2-40B4-BE49-F238E27FC236}">
                  <a16:creationId xmlns:a16="http://schemas.microsoft.com/office/drawing/2014/main" id="{4197BAA4-38F6-5447-8B5D-3F23FE9467F0}"/>
                </a:ext>
              </a:extLst>
            </p:cNvPr>
            <p:cNvSpPr/>
            <p:nvPr/>
          </p:nvSpPr>
          <p:spPr>
            <a:xfrm rot="10800000">
              <a:off x="8214370" y="3059762"/>
              <a:ext cx="2232650" cy="2232650"/>
            </a:xfrm>
            <a:prstGeom prst="rtTriangle">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43" name="Freeform 42">
              <a:extLst>
                <a:ext uri="{FF2B5EF4-FFF2-40B4-BE49-F238E27FC236}">
                  <a16:creationId xmlns:a16="http://schemas.microsoft.com/office/drawing/2014/main" id="{E39BA72F-AD71-6744-80F8-5211E6E5D22A}"/>
                </a:ext>
              </a:extLst>
            </p:cNvPr>
            <p:cNvSpPr/>
            <p:nvPr/>
          </p:nvSpPr>
          <p:spPr>
            <a:xfrm>
              <a:off x="14410894" y="3510926"/>
              <a:ext cx="2651786" cy="3290331"/>
            </a:xfrm>
            <a:custGeom>
              <a:avLst/>
              <a:gdLst>
                <a:gd name="connsiteX0" fmla="*/ 1289017 w 2651786"/>
                <a:gd name="connsiteY0" fmla="*/ 0 h 3290331"/>
                <a:gd name="connsiteX1" fmla="*/ 1387358 w 2651786"/>
                <a:gd name="connsiteY1" fmla="*/ 103146 h 3290331"/>
                <a:gd name="connsiteX2" fmla="*/ 2647754 w 2651786"/>
                <a:gd name="connsiteY2" fmla="*/ 3130843 h 3290331"/>
                <a:gd name="connsiteX3" fmla="*/ 2651786 w 2651786"/>
                <a:gd name="connsiteY3" fmla="*/ 3290331 h 3290331"/>
                <a:gd name="connsiteX4" fmla="*/ 831025 w 2651786"/>
                <a:gd name="connsiteY4" fmla="*/ 3290331 h 3290331"/>
                <a:gd name="connsiteX5" fmla="*/ 829361 w 2651786"/>
                <a:gd name="connsiteY5" fmla="*/ 3224539 h 3290331"/>
                <a:gd name="connsiteX6" fmla="*/ 135631 w 2651786"/>
                <a:gd name="connsiteY6" fmla="*/ 1438248 h 3290331"/>
                <a:gd name="connsiteX7" fmla="*/ 0 w 2651786"/>
                <a:gd name="connsiteY7" fmla="*/ 1289017 h 3290331"/>
                <a:gd name="connsiteX8" fmla="*/ 1289017 w 2651786"/>
                <a:gd name="connsiteY8" fmla="*/ 0 h 329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1786" h="3290331">
                  <a:moveTo>
                    <a:pt x="1289017" y="0"/>
                  </a:moveTo>
                  <a:lnTo>
                    <a:pt x="1387358" y="103146"/>
                  </a:lnTo>
                  <a:cubicBezTo>
                    <a:pt x="2121935" y="911361"/>
                    <a:pt x="2588772" y="1967299"/>
                    <a:pt x="2647754" y="3130843"/>
                  </a:cubicBezTo>
                  <a:lnTo>
                    <a:pt x="2651786" y="3290331"/>
                  </a:lnTo>
                  <a:lnTo>
                    <a:pt x="831025" y="3290331"/>
                  </a:lnTo>
                  <a:lnTo>
                    <a:pt x="829361" y="3224539"/>
                  </a:lnTo>
                  <a:cubicBezTo>
                    <a:pt x="795044" y="2547540"/>
                    <a:pt x="540369" y="1928677"/>
                    <a:pt x="135631" y="1438248"/>
                  </a:cubicBezTo>
                  <a:lnTo>
                    <a:pt x="0" y="1289017"/>
                  </a:lnTo>
                  <a:lnTo>
                    <a:pt x="1289017"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Lato Light" panose="020F0502020204030203" pitchFamily="34" charset="0"/>
              </a:endParaRPr>
            </a:p>
          </p:txBody>
        </p:sp>
        <p:sp>
          <p:nvSpPr>
            <p:cNvPr id="42" name="Freeform 41">
              <a:extLst>
                <a:ext uri="{FF2B5EF4-FFF2-40B4-BE49-F238E27FC236}">
                  <a16:creationId xmlns:a16="http://schemas.microsoft.com/office/drawing/2014/main" id="{62AC22FC-CC31-EF4A-903A-9C8AB53FDA81}"/>
                </a:ext>
              </a:extLst>
            </p:cNvPr>
            <p:cNvSpPr/>
            <p:nvPr/>
          </p:nvSpPr>
          <p:spPr>
            <a:xfrm>
              <a:off x="7314972" y="3510926"/>
              <a:ext cx="2651785" cy="3290331"/>
            </a:xfrm>
            <a:custGeom>
              <a:avLst/>
              <a:gdLst>
                <a:gd name="connsiteX0" fmla="*/ 1362768 w 2651785"/>
                <a:gd name="connsiteY0" fmla="*/ 0 h 3290331"/>
                <a:gd name="connsiteX1" fmla="*/ 2651785 w 2651785"/>
                <a:gd name="connsiteY1" fmla="*/ 1289017 h 3290331"/>
                <a:gd name="connsiteX2" fmla="*/ 2516154 w 2651785"/>
                <a:gd name="connsiteY2" fmla="*/ 1438248 h 3290331"/>
                <a:gd name="connsiteX3" fmla="*/ 1822424 w 2651785"/>
                <a:gd name="connsiteY3" fmla="*/ 3224539 h 3290331"/>
                <a:gd name="connsiteX4" fmla="*/ 1820760 w 2651785"/>
                <a:gd name="connsiteY4" fmla="*/ 3290331 h 3290331"/>
                <a:gd name="connsiteX5" fmla="*/ 0 w 2651785"/>
                <a:gd name="connsiteY5" fmla="*/ 3290331 h 3290331"/>
                <a:gd name="connsiteX6" fmla="*/ 4033 w 2651785"/>
                <a:gd name="connsiteY6" fmla="*/ 3130843 h 3290331"/>
                <a:gd name="connsiteX7" fmla="*/ 1264428 w 2651785"/>
                <a:gd name="connsiteY7" fmla="*/ 103146 h 3290331"/>
                <a:gd name="connsiteX8" fmla="*/ 1362768 w 2651785"/>
                <a:gd name="connsiteY8" fmla="*/ 0 h 329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1785" h="3290331">
                  <a:moveTo>
                    <a:pt x="1362768" y="0"/>
                  </a:moveTo>
                  <a:lnTo>
                    <a:pt x="2651785" y="1289017"/>
                  </a:lnTo>
                  <a:lnTo>
                    <a:pt x="2516154" y="1438248"/>
                  </a:lnTo>
                  <a:cubicBezTo>
                    <a:pt x="2111416" y="1928677"/>
                    <a:pt x="1856741" y="2547540"/>
                    <a:pt x="1822424" y="3224539"/>
                  </a:cubicBezTo>
                  <a:lnTo>
                    <a:pt x="1820760" y="3290331"/>
                  </a:lnTo>
                  <a:lnTo>
                    <a:pt x="0" y="3290331"/>
                  </a:lnTo>
                  <a:lnTo>
                    <a:pt x="4033" y="3130843"/>
                  </a:lnTo>
                  <a:cubicBezTo>
                    <a:pt x="63013" y="1967299"/>
                    <a:pt x="529851" y="911361"/>
                    <a:pt x="1264428" y="103146"/>
                  </a:cubicBezTo>
                  <a:lnTo>
                    <a:pt x="1362768" y="0"/>
                  </a:lnTo>
                  <a:close/>
                </a:path>
              </a:pathLst>
            </a:cu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Lato Light" panose="020F0502020204030203" pitchFamily="34" charset="0"/>
              </a:endParaRPr>
            </a:p>
          </p:txBody>
        </p:sp>
        <p:sp>
          <p:nvSpPr>
            <p:cNvPr id="38" name="Freeform 37">
              <a:extLst>
                <a:ext uri="{FF2B5EF4-FFF2-40B4-BE49-F238E27FC236}">
                  <a16:creationId xmlns:a16="http://schemas.microsoft.com/office/drawing/2014/main" id="{3BEBFED4-50E3-A04F-86B0-7405ABF180E4}"/>
                </a:ext>
              </a:extLst>
            </p:cNvPr>
            <p:cNvSpPr/>
            <p:nvPr/>
          </p:nvSpPr>
          <p:spPr>
            <a:xfrm>
              <a:off x="7314972" y="6984135"/>
              <a:ext cx="2651785" cy="3290330"/>
            </a:xfrm>
            <a:custGeom>
              <a:avLst/>
              <a:gdLst>
                <a:gd name="connsiteX0" fmla="*/ 0 w 2651785"/>
                <a:gd name="connsiteY0" fmla="*/ 0 h 3290330"/>
                <a:gd name="connsiteX1" fmla="*/ 1820760 w 2651785"/>
                <a:gd name="connsiteY1" fmla="*/ 0 h 3290330"/>
                <a:gd name="connsiteX2" fmla="*/ 1822424 w 2651785"/>
                <a:gd name="connsiteY2" fmla="*/ 65791 h 3290330"/>
                <a:gd name="connsiteX3" fmla="*/ 2516154 w 2651785"/>
                <a:gd name="connsiteY3" fmla="*/ 1852082 h 3290330"/>
                <a:gd name="connsiteX4" fmla="*/ 2651785 w 2651785"/>
                <a:gd name="connsiteY4" fmla="*/ 2001314 h 3290330"/>
                <a:gd name="connsiteX5" fmla="*/ 1362769 w 2651785"/>
                <a:gd name="connsiteY5" fmla="*/ 3290330 h 3290330"/>
                <a:gd name="connsiteX6" fmla="*/ 1264428 w 2651785"/>
                <a:gd name="connsiteY6" fmla="*/ 3187184 h 3290330"/>
                <a:gd name="connsiteX7" fmla="*/ 4033 w 2651785"/>
                <a:gd name="connsiteY7" fmla="*/ 159487 h 3290330"/>
                <a:gd name="connsiteX8" fmla="*/ 0 w 2651785"/>
                <a:gd name="connsiteY8" fmla="*/ 0 h 329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1785" h="3290330">
                  <a:moveTo>
                    <a:pt x="0" y="0"/>
                  </a:moveTo>
                  <a:lnTo>
                    <a:pt x="1820760" y="0"/>
                  </a:lnTo>
                  <a:lnTo>
                    <a:pt x="1822424" y="65791"/>
                  </a:lnTo>
                  <a:cubicBezTo>
                    <a:pt x="1856741" y="742791"/>
                    <a:pt x="2111416" y="1361653"/>
                    <a:pt x="2516154" y="1852082"/>
                  </a:cubicBezTo>
                  <a:lnTo>
                    <a:pt x="2651785" y="2001314"/>
                  </a:lnTo>
                  <a:lnTo>
                    <a:pt x="1362769" y="3290330"/>
                  </a:lnTo>
                  <a:lnTo>
                    <a:pt x="1264428" y="3187184"/>
                  </a:lnTo>
                  <a:cubicBezTo>
                    <a:pt x="529851" y="2378969"/>
                    <a:pt x="63013" y="1323031"/>
                    <a:pt x="4033" y="159487"/>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Lato Light" panose="020F0502020204030203" pitchFamily="34" charset="0"/>
              </a:endParaRPr>
            </a:p>
          </p:txBody>
        </p:sp>
        <p:sp>
          <p:nvSpPr>
            <p:cNvPr id="37" name="Freeform 36">
              <a:extLst>
                <a:ext uri="{FF2B5EF4-FFF2-40B4-BE49-F238E27FC236}">
                  <a16:creationId xmlns:a16="http://schemas.microsoft.com/office/drawing/2014/main" id="{6A8EE16C-B110-A445-894D-C4BB3DCD0C7F}"/>
                </a:ext>
              </a:extLst>
            </p:cNvPr>
            <p:cNvSpPr/>
            <p:nvPr/>
          </p:nvSpPr>
          <p:spPr>
            <a:xfrm>
              <a:off x="14410894" y="6984136"/>
              <a:ext cx="2651786" cy="3290331"/>
            </a:xfrm>
            <a:custGeom>
              <a:avLst/>
              <a:gdLst>
                <a:gd name="connsiteX0" fmla="*/ 831025 w 2651786"/>
                <a:gd name="connsiteY0" fmla="*/ 0 h 3290331"/>
                <a:gd name="connsiteX1" fmla="*/ 2651786 w 2651786"/>
                <a:gd name="connsiteY1" fmla="*/ 0 h 3290331"/>
                <a:gd name="connsiteX2" fmla="*/ 2647754 w 2651786"/>
                <a:gd name="connsiteY2" fmla="*/ 159487 h 3290331"/>
                <a:gd name="connsiteX3" fmla="*/ 1387358 w 2651786"/>
                <a:gd name="connsiteY3" fmla="*/ 3187184 h 3290331"/>
                <a:gd name="connsiteX4" fmla="*/ 1289017 w 2651786"/>
                <a:gd name="connsiteY4" fmla="*/ 3290331 h 3290331"/>
                <a:gd name="connsiteX5" fmla="*/ 0 w 2651786"/>
                <a:gd name="connsiteY5" fmla="*/ 2001314 h 3290331"/>
                <a:gd name="connsiteX6" fmla="*/ 135631 w 2651786"/>
                <a:gd name="connsiteY6" fmla="*/ 1852082 h 3290331"/>
                <a:gd name="connsiteX7" fmla="*/ 829361 w 2651786"/>
                <a:gd name="connsiteY7" fmla="*/ 65791 h 3290331"/>
                <a:gd name="connsiteX8" fmla="*/ 831025 w 2651786"/>
                <a:gd name="connsiteY8" fmla="*/ 0 h 329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1786" h="3290331">
                  <a:moveTo>
                    <a:pt x="831025" y="0"/>
                  </a:moveTo>
                  <a:lnTo>
                    <a:pt x="2651786" y="0"/>
                  </a:lnTo>
                  <a:lnTo>
                    <a:pt x="2647754" y="159487"/>
                  </a:lnTo>
                  <a:cubicBezTo>
                    <a:pt x="2588772" y="1323031"/>
                    <a:pt x="2121935" y="2378969"/>
                    <a:pt x="1387358" y="3187184"/>
                  </a:cubicBezTo>
                  <a:lnTo>
                    <a:pt x="1289017" y="3290331"/>
                  </a:lnTo>
                  <a:lnTo>
                    <a:pt x="0" y="2001314"/>
                  </a:lnTo>
                  <a:lnTo>
                    <a:pt x="135631" y="1852082"/>
                  </a:lnTo>
                  <a:cubicBezTo>
                    <a:pt x="540369" y="1361653"/>
                    <a:pt x="795044" y="742791"/>
                    <a:pt x="829361" y="65791"/>
                  </a:cubicBezTo>
                  <a:lnTo>
                    <a:pt x="831025"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Lato Light" panose="020F0502020204030203" pitchFamily="34" charset="0"/>
              </a:endParaRPr>
            </a:p>
          </p:txBody>
        </p:sp>
        <p:sp>
          <p:nvSpPr>
            <p:cNvPr id="36" name="Freeform 35">
              <a:extLst>
                <a:ext uri="{FF2B5EF4-FFF2-40B4-BE49-F238E27FC236}">
                  <a16:creationId xmlns:a16="http://schemas.microsoft.com/office/drawing/2014/main" id="{FC903213-1885-D940-86CE-9DF5B2BFDEF5}"/>
                </a:ext>
              </a:extLst>
            </p:cNvPr>
            <p:cNvSpPr/>
            <p:nvPr/>
          </p:nvSpPr>
          <p:spPr>
            <a:xfrm>
              <a:off x="8807055" y="9114765"/>
              <a:ext cx="3290330" cy="2651785"/>
            </a:xfrm>
            <a:custGeom>
              <a:avLst/>
              <a:gdLst>
                <a:gd name="connsiteX0" fmla="*/ 1289017 w 3290330"/>
                <a:gd name="connsiteY0" fmla="*/ 0 h 2651785"/>
                <a:gd name="connsiteX1" fmla="*/ 1438248 w 3290330"/>
                <a:gd name="connsiteY1" fmla="*/ 135631 h 2651785"/>
                <a:gd name="connsiteX2" fmla="*/ 3224539 w 3290330"/>
                <a:gd name="connsiteY2" fmla="*/ 829361 h 2651785"/>
                <a:gd name="connsiteX3" fmla="*/ 3290330 w 3290330"/>
                <a:gd name="connsiteY3" fmla="*/ 831025 h 2651785"/>
                <a:gd name="connsiteX4" fmla="*/ 3290330 w 3290330"/>
                <a:gd name="connsiteY4" fmla="*/ 2651785 h 2651785"/>
                <a:gd name="connsiteX5" fmla="*/ 3130843 w 3290330"/>
                <a:gd name="connsiteY5" fmla="*/ 2647752 h 2651785"/>
                <a:gd name="connsiteX6" fmla="*/ 103146 w 3290330"/>
                <a:gd name="connsiteY6" fmla="*/ 1387357 h 2651785"/>
                <a:gd name="connsiteX7" fmla="*/ 0 w 3290330"/>
                <a:gd name="connsiteY7" fmla="*/ 1289016 h 2651785"/>
                <a:gd name="connsiteX8" fmla="*/ 1289017 w 3290330"/>
                <a:gd name="connsiteY8" fmla="*/ 0 h 265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0330" h="2651785">
                  <a:moveTo>
                    <a:pt x="1289017" y="0"/>
                  </a:moveTo>
                  <a:lnTo>
                    <a:pt x="1438248" y="135631"/>
                  </a:lnTo>
                  <a:cubicBezTo>
                    <a:pt x="1928677" y="540369"/>
                    <a:pt x="2547539" y="795044"/>
                    <a:pt x="3224539" y="829361"/>
                  </a:cubicBezTo>
                  <a:lnTo>
                    <a:pt x="3290330" y="831025"/>
                  </a:lnTo>
                  <a:lnTo>
                    <a:pt x="3290330" y="2651785"/>
                  </a:lnTo>
                  <a:lnTo>
                    <a:pt x="3130843" y="2647752"/>
                  </a:lnTo>
                  <a:cubicBezTo>
                    <a:pt x="1967299" y="2588772"/>
                    <a:pt x="911361" y="2121935"/>
                    <a:pt x="103146" y="1387357"/>
                  </a:cubicBezTo>
                  <a:lnTo>
                    <a:pt x="0" y="1289016"/>
                  </a:lnTo>
                  <a:lnTo>
                    <a:pt x="1289017"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Lato Light" panose="020F0502020204030203" pitchFamily="34" charset="0"/>
              </a:endParaRPr>
            </a:p>
          </p:txBody>
        </p:sp>
        <p:sp>
          <p:nvSpPr>
            <p:cNvPr id="35" name="Freeform 34">
              <a:extLst>
                <a:ext uri="{FF2B5EF4-FFF2-40B4-BE49-F238E27FC236}">
                  <a16:creationId xmlns:a16="http://schemas.microsoft.com/office/drawing/2014/main" id="{411902B3-9711-2D4D-BF59-9149F61B98D5}"/>
                </a:ext>
              </a:extLst>
            </p:cNvPr>
            <p:cNvSpPr/>
            <p:nvPr/>
          </p:nvSpPr>
          <p:spPr>
            <a:xfrm>
              <a:off x="12280266" y="9114765"/>
              <a:ext cx="3290331" cy="2651785"/>
            </a:xfrm>
            <a:custGeom>
              <a:avLst/>
              <a:gdLst>
                <a:gd name="connsiteX0" fmla="*/ 2001313 w 3290331"/>
                <a:gd name="connsiteY0" fmla="*/ 0 h 2651785"/>
                <a:gd name="connsiteX1" fmla="*/ 3290331 w 3290331"/>
                <a:gd name="connsiteY1" fmla="*/ 1289017 h 2651785"/>
                <a:gd name="connsiteX2" fmla="*/ 3187184 w 3290331"/>
                <a:gd name="connsiteY2" fmla="*/ 1387357 h 2651785"/>
                <a:gd name="connsiteX3" fmla="*/ 159487 w 3290331"/>
                <a:gd name="connsiteY3" fmla="*/ 2647752 h 2651785"/>
                <a:gd name="connsiteX4" fmla="*/ 0 w 3290331"/>
                <a:gd name="connsiteY4" fmla="*/ 2651785 h 2651785"/>
                <a:gd name="connsiteX5" fmla="*/ 0 w 3290331"/>
                <a:gd name="connsiteY5" fmla="*/ 831025 h 2651785"/>
                <a:gd name="connsiteX6" fmla="*/ 65791 w 3290331"/>
                <a:gd name="connsiteY6" fmla="*/ 829361 h 2651785"/>
                <a:gd name="connsiteX7" fmla="*/ 1852082 w 3290331"/>
                <a:gd name="connsiteY7" fmla="*/ 135631 h 2651785"/>
                <a:gd name="connsiteX8" fmla="*/ 2001313 w 3290331"/>
                <a:gd name="connsiteY8" fmla="*/ 0 h 265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0331" h="2651785">
                  <a:moveTo>
                    <a:pt x="2001313" y="0"/>
                  </a:moveTo>
                  <a:lnTo>
                    <a:pt x="3290331" y="1289017"/>
                  </a:lnTo>
                  <a:lnTo>
                    <a:pt x="3187184" y="1387357"/>
                  </a:lnTo>
                  <a:cubicBezTo>
                    <a:pt x="2378969" y="2121935"/>
                    <a:pt x="1323031" y="2588772"/>
                    <a:pt x="159487" y="2647752"/>
                  </a:cubicBezTo>
                  <a:lnTo>
                    <a:pt x="0" y="2651785"/>
                  </a:lnTo>
                  <a:lnTo>
                    <a:pt x="0" y="831025"/>
                  </a:lnTo>
                  <a:lnTo>
                    <a:pt x="65791" y="829361"/>
                  </a:lnTo>
                  <a:cubicBezTo>
                    <a:pt x="742791" y="795044"/>
                    <a:pt x="1361653" y="540369"/>
                    <a:pt x="1852082" y="135631"/>
                  </a:cubicBezTo>
                  <a:lnTo>
                    <a:pt x="2001313"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Lato Light" panose="020F0502020204030203" pitchFamily="34" charset="0"/>
              </a:endParaRPr>
            </a:p>
          </p:txBody>
        </p:sp>
      </p:grpSp>
      <p:grpSp>
        <p:nvGrpSpPr>
          <p:cNvPr id="75" name="Group 74">
            <a:extLst>
              <a:ext uri="{FF2B5EF4-FFF2-40B4-BE49-F238E27FC236}">
                <a16:creationId xmlns:a16="http://schemas.microsoft.com/office/drawing/2014/main" id="{0FBAC497-3429-0E4B-9FC8-379DAE2BF6E1}"/>
              </a:ext>
            </a:extLst>
          </p:cNvPr>
          <p:cNvGrpSpPr/>
          <p:nvPr/>
        </p:nvGrpSpPr>
        <p:grpSpPr>
          <a:xfrm>
            <a:off x="8267266" y="3185963"/>
            <a:ext cx="293571" cy="433137"/>
            <a:chOff x="16531356" y="6371925"/>
            <a:chExt cx="587141" cy="866274"/>
          </a:xfrm>
        </p:grpSpPr>
        <p:grpSp>
          <p:nvGrpSpPr>
            <p:cNvPr id="69" name="Group 68">
              <a:extLst>
                <a:ext uri="{FF2B5EF4-FFF2-40B4-BE49-F238E27FC236}">
                  <a16:creationId xmlns:a16="http://schemas.microsoft.com/office/drawing/2014/main" id="{E78CA8DE-EA55-DD4C-8FED-3A84570B4FE8}"/>
                </a:ext>
              </a:extLst>
            </p:cNvPr>
            <p:cNvGrpSpPr/>
            <p:nvPr/>
          </p:nvGrpSpPr>
          <p:grpSpPr>
            <a:xfrm>
              <a:off x="16531356" y="6371925"/>
              <a:ext cx="587141" cy="211756"/>
              <a:chOff x="16540981" y="6381550"/>
              <a:chExt cx="587141" cy="211756"/>
            </a:xfrm>
          </p:grpSpPr>
          <p:sp useBgFill="1">
            <p:nvSpPr>
              <p:cNvPr id="67" name="Oval 66">
                <a:extLst>
                  <a:ext uri="{FF2B5EF4-FFF2-40B4-BE49-F238E27FC236}">
                    <a16:creationId xmlns:a16="http://schemas.microsoft.com/office/drawing/2014/main" id="{BE755981-C9D8-FB4D-8D18-B3216A7EB47E}"/>
                  </a:ext>
                </a:extLst>
              </p:cNvPr>
              <p:cNvSpPr/>
              <p:nvPr/>
            </p:nvSpPr>
            <p:spPr>
              <a:xfrm>
                <a:off x="16540981" y="6381550"/>
                <a:ext cx="211756" cy="2117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useBgFill="1">
            <p:nvSpPr>
              <p:cNvPr id="68" name="Oval 67">
                <a:extLst>
                  <a:ext uri="{FF2B5EF4-FFF2-40B4-BE49-F238E27FC236}">
                    <a16:creationId xmlns:a16="http://schemas.microsoft.com/office/drawing/2014/main" id="{67B42AA2-D8F7-D746-B50C-111A6DF34FDE}"/>
                  </a:ext>
                </a:extLst>
              </p:cNvPr>
              <p:cNvSpPr/>
              <p:nvPr/>
            </p:nvSpPr>
            <p:spPr>
              <a:xfrm>
                <a:off x="16916366" y="6381550"/>
                <a:ext cx="211756" cy="2117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grpSp>
        <p:grpSp>
          <p:nvGrpSpPr>
            <p:cNvPr id="70" name="Group 69">
              <a:extLst>
                <a:ext uri="{FF2B5EF4-FFF2-40B4-BE49-F238E27FC236}">
                  <a16:creationId xmlns:a16="http://schemas.microsoft.com/office/drawing/2014/main" id="{76AC681C-510B-A44F-A2CC-55A3E0227205}"/>
                </a:ext>
              </a:extLst>
            </p:cNvPr>
            <p:cNvGrpSpPr/>
            <p:nvPr/>
          </p:nvGrpSpPr>
          <p:grpSpPr>
            <a:xfrm>
              <a:off x="16531356" y="7026443"/>
              <a:ext cx="587141" cy="211756"/>
              <a:chOff x="16540981" y="6381550"/>
              <a:chExt cx="587141" cy="211756"/>
            </a:xfrm>
          </p:grpSpPr>
          <p:sp useBgFill="1">
            <p:nvSpPr>
              <p:cNvPr id="71" name="Oval 70">
                <a:extLst>
                  <a:ext uri="{FF2B5EF4-FFF2-40B4-BE49-F238E27FC236}">
                    <a16:creationId xmlns:a16="http://schemas.microsoft.com/office/drawing/2014/main" id="{80E2D86F-828F-0E45-A5CA-0A6CFA3E7FE0}"/>
                  </a:ext>
                </a:extLst>
              </p:cNvPr>
              <p:cNvSpPr/>
              <p:nvPr/>
            </p:nvSpPr>
            <p:spPr>
              <a:xfrm>
                <a:off x="16540981" y="6381550"/>
                <a:ext cx="211756" cy="2117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useBgFill="1">
            <p:nvSpPr>
              <p:cNvPr id="72" name="Oval 71">
                <a:extLst>
                  <a:ext uri="{FF2B5EF4-FFF2-40B4-BE49-F238E27FC236}">
                    <a16:creationId xmlns:a16="http://schemas.microsoft.com/office/drawing/2014/main" id="{5FB550CB-AC9B-2F4E-A0E2-F80B3E08F197}"/>
                  </a:ext>
                </a:extLst>
              </p:cNvPr>
              <p:cNvSpPr/>
              <p:nvPr/>
            </p:nvSpPr>
            <p:spPr>
              <a:xfrm>
                <a:off x="16916366" y="6381550"/>
                <a:ext cx="211756" cy="2117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grpSp>
        <p:sp>
          <p:nvSpPr>
            <p:cNvPr id="73" name="Rounded Rectangle 72">
              <a:extLst>
                <a:ext uri="{FF2B5EF4-FFF2-40B4-BE49-F238E27FC236}">
                  <a16:creationId xmlns:a16="http://schemas.microsoft.com/office/drawing/2014/main" id="{9C1D5B9D-7A90-5E4D-8D3D-EC216AAE2B55}"/>
                </a:ext>
              </a:extLst>
            </p:cNvPr>
            <p:cNvSpPr/>
            <p:nvPr/>
          </p:nvSpPr>
          <p:spPr>
            <a:xfrm rot="5400000">
              <a:off x="16297541" y="6759395"/>
              <a:ext cx="679386" cy="9144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74" name="Rounded Rectangle 73">
              <a:extLst>
                <a:ext uri="{FF2B5EF4-FFF2-40B4-BE49-F238E27FC236}">
                  <a16:creationId xmlns:a16="http://schemas.microsoft.com/office/drawing/2014/main" id="{C0007BE6-86B3-7A47-89FA-A709A25DEED6}"/>
                </a:ext>
              </a:extLst>
            </p:cNvPr>
            <p:cNvSpPr/>
            <p:nvPr/>
          </p:nvSpPr>
          <p:spPr>
            <a:xfrm rot="5400000">
              <a:off x="16672926" y="6759395"/>
              <a:ext cx="679386" cy="9144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grpSp>
      <p:grpSp>
        <p:nvGrpSpPr>
          <p:cNvPr id="76" name="Group 75">
            <a:extLst>
              <a:ext uri="{FF2B5EF4-FFF2-40B4-BE49-F238E27FC236}">
                <a16:creationId xmlns:a16="http://schemas.microsoft.com/office/drawing/2014/main" id="{A8E7F268-EA1B-AD40-9B4E-C2367DFE0B47}"/>
              </a:ext>
            </a:extLst>
          </p:cNvPr>
          <p:cNvGrpSpPr/>
          <p:nvPr/>
        </p:nvGrpSpPr>
        <p:grpSpPr>
          <a:xfrm>
            <a:off x="3632821" y="3185963"/>
            <a:ext cx="293571" cy="433137"/>
            <a:chOff x="16531356" y="6371925"/>
            <a:chExt cx="587141" cy="866274"/>
          </a:xfrm>
        </p:grpSpPr>
        <p:grpSp>
          <p:nvGrpSpPr>
            <p:cNvPr id="77" name="Group 76">
              <a:extLst>
                <a:ext uri="{FF2B5EF4-FFF2-40B4-BE49-F238E27FC236}">
                  <a16:creationId xmlns:a16="http://schemas.microsoft.com/office/drawing/2014/main" id="{91C9626B-2A40-F041-A854-5FD530E7B86E}"/>
                </a:ext>
              </a:extLst>
            </p:cNvPr>
            <p:cNvGrpSpPr/>
            <p:nvPr/>
          </p:nvGrpSpPr>
          <p:grpSpPr>
            <a:xfrm>
              <a:off x="16531356" y="6371925"/>
              <a:ext cx="587141" cy="211756"/>
              <a:chOff x="16540981" y="6381550"/>
              <a:chExt cx="587141" cy="211756"/>
            </a:xfrm>
          </p:grpSpPr>
          <p:sp useBgFill="1">
            <p:nvSpPr>
              <p:cNvPr id="83" name="Oval 82">
                <a:extLst>
                  <a:ext uri="{FF2B5EF4-FFF2-40B4-BE49-F238E27FC236}">
                    <a16:creationId xmlns:a16="http://schemas.microsoft.com/office/drawing/2014/main" id="{58BA1387-0620-6646-BE61-0B0BF6DF3E8F}"/>
                  </a:ext>
                </a:extLst>
              </p:cNvPr>
              <p:cNvSpPr/>
              <p:nvPr/>
            </p:nvSpPr>
            <p:spPr>
              <a:xfrm>
                <a:off x="16540981" y="6381550"/>
                <a:ext cx="211756" cy="2117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useBgFill="1">
            <p:nvSpPr>
              <p:cNvPr id="84" name="Oval 83">
                <a:extLst>
                  <a:ext uri="{FF2B5EF4-FFF2-40B4-BE49-F238E27FC236}">
                    <a16:creationId xmlns:a16="http://schemas.microsoft.com/office/drawing/2014/main" id="{1B8C98F9-6ECD-584B-A071-B9CA1B183A5A}"/>
                  </a:ext>
                </a:extLst>
              </p:cNvPr>
              <p:cNvSpPr/>
              <p:nvPr/>
            </p:nvSpPr>
            <p:spPr>
              <a:xfrm>
                <a:off x="16916366" y="6381550"/>
                <a:ext cx="211756" cy="2117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grpSp>
        <p:grpSp>
          <p:nvGrpSpPr>
            <p:cNvPr id="78" name="Group 77">
              <a:extLst>
                <a:ext uri="{FF2B5EF4-FFF2-40B4-BE49-F238E27FC236}">
                  <a16:creationId xmlns:a16="http://schemas.microsoft.com/office/drawing/2014/main" id="{329EC62F-14CE-CB47-BD47-B01EA68EF11D}"/>
                </a:ext>
              </a:extLst>
            </p:cNvPr>
            <p:cNvGrpSpPr/>
            <p:nvPr/>
          </p:nvGrpSpPr>
          <p:grpSpPr>
            <a:xfrm>
              <a:off x="16531356" y="7026443"/>
              <a:ext cx="587141" cy="211756"/>
              <a:chOff x="16540981" y="6381550"/>
              <a:chExt cx="587141" cy="211756"/>
            </a:xfrm>
          </p:grpSpPr>
          <p:sp useBgFill="1">
            <p:nvSpPr>
              <p:cNvPr id="81" name="Oval 80">
                <a:extLst>
                  <a:ext uri="{FF2B5EF4-FFF2-40B4-BE49-F238E27FC236}">
                    <a16:creationId xmlns:a16="http://schemas.microsoft.com/office/drawing/2014/main" id="{90E3B662-CD73-F14D-8AC4-482A00FD0DE2}"/>
                  </a:ext>
                </a:extLst>
              </p:cNvPr>
              <p:cNvSpPr/>
              <p:nvPr/>
            </p:nvSpPr>
            <p:spPr>
              <a:xfrm>
                <a:off x="16540981" y="6381550"/>
                <a:ext cx="211756" cy="2117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useBgFill="1">
            <p:nvSpPr>
              <p:cNvPr id="82" name="Oval 81">
                <a:extLst>
                  <a:ext uri="{FF2B5EF4-FFF2-40B4-BE49-F238E27FC236}">
                    <a16:creationId xmlns:a16="http://schemas.microsoft.com/office/drawing/2014/main" id="{2122996C-4FCB-D64D-B60D-A19B535A9CF0}"/>
                  </a:ext>
                </a:extLst>
              </p:cNvPr>
              <p:cNvSpPr/>
              <p:nvPr/>
            </p:nvSpPr>
            <p:spPr>
              <a:xfrm>
                <a:off x="16916366" y="6381550"/>
                <a:ext cx="211756" cy="2117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grpSp>
        <p:sp>
          <p:nvSpPr>
            <p:cNvPr id="79" name="Rounded Rectangle 78">
              <a:extLst>
                <a:ext uri="{FF2B5EF4-FFF2-40B4-BE49-F238E27FC236}">
                  <a16:creationId xmlns:a16="http://schemas.microsoft.com/office/drawing/2014/main" id="{0165F4FC-C6D5-D145-8698-0526897976C0}"/>
                </a:ext>
              </a:extLst>
            </p:cNvPr>
            <p:cNvSpPr/>
            <p:nvPr/>
          </p:nvSpPr>
          <p:spPr>
            <a:xfrm rot="5400000">
              <a:off x="16297541" y="6759395"/>
              <a:ext cx="679386" cy="9144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80" name="Rounded Rectangle 79">
              <a:extLst>
                <a:ext uri="{FF2B5EF4-FFF2-40B4-BE49-F238E27FC236}">
                  <a16:creationId xmlns:a16="http://schemas.microsoft.com/office/drawing/2014/main" id="{138416C3-A0EE-8E41-8F98-A24192EBFCE3}"/>
                </a:ext>
              </a:extLst>
            </p:cNvPr>
            <p:cNvSpPr/>
            <p:nvPr/>
          </p:nvSpPr>
          <p:spPr>
            <a:xfrm rot="5400000">
              <a:off x="16672926" y="6759395"/>
              <a:ext cx="679386" cy="9144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grpSp>
      <p:grpSp>
        <p:nvGrpSpPr>
          <p:cNvPr id="85" name="Group 84">
            <a:extLst>
              <a:ext uri="{FF2B5EF4-FFF2-40B4-BE49-F238E27FC236}">
                <a16:creationId xmlns:a16="http://schemas.microsoft.com/office/drawing/2014/main" id="{26B743AD-B0AC-8640-97B1-2F46680533A8}"/>
              </a:ext>
            </a:extLst>
          </p:cNvPr>
          <p:cNvGrpSpPr/>
          <p:nvPr/>
        </p:nvGrpSpPr>
        <p:grpSpPr>
          <a:xfrm rot="16200000">
            <a:off x="5949215" y="5501548"/>
            <a:ext cx="293571" cy="433137"/>
            <a:chOff x="16531356" y="6371925"/>
            <a:chExt cx="587141" cy="866274"/>
          </a:xfrm>
        </p:grpSpPr>
        <p:grpSp>
          <p:nvGrpSpPr>
            <p:cNvPr id="86" name="Group 85">
              <a:extLst>
                <a:ext uri="{FF2B5EF4-FFF2-40B4-BE49-F238E27FC236}">
                  <a16:creationId xmlns:a16="http://schemas.microsoft.com/office/drawing/2014/main" id="{FFD15B66-1249-7642-B45F-6067B6EE7C9F}"/>
                </a:ext>
              </a:extLst>
            </p:cNvPr>
            <p:cNvGrpSpPr/>
            <p:nvPr/>
          </p:nvGrpSpPr>
          <p:grpSpPr>
            <a:xfrm>
              <a:off x="16531356" y="6371925"/>
              <a:ext cx="587141" cy="211756"/>
              <a:chOff x="16540981" y="6381550"/>
              <a:chExt cx="587141" cy="211756"/>
            </a:xfrm>
          </p:grpSpPr>
          <p:sp useBgFill="1">
            <p:nvSpPr>
              <p:cNvPr id="92" name="Oval 91">
                <a:extLst>
                  <a:ext uri="{FF2B5EF4-FFF2-40B4-BE49-F238E27FC236}">
                    <a16:creationId xmlns:a16="http://schemas.microsoft.com/office/drawing/2014/main" id="{58FDADAB-B1AE-6344-8834-161025136478}"/>
                  </a:ext>
                </a:extLst>
              </p:cNvPr>
              <p:cNvSpPr/>
              <p:nvPr/>
            </p:nvSpPr>
            <p:spPr>
              <a:xfrm>
                <a:off x="16540981" y="6381550"/>
                <a:ext cx="211756" cy="2117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useBgFill="1">
            <p:nvSpPr>
              <p:cNvPr id="93" name="Oval 92">
                <a:extLst>
                  <a:ext uri="{FF2B5EF4-FFF2-40B4-BE49-F238E27FC236}">
                    <a16:creationId xmlns:a16="http://schemas.microsoft.com/office/drawing/2014/main" id="{EDDCF608-7BF7-FC4A-AE6C-4B100D4FCA0A}"/>
                  </a:ext>
                </a:extLst>
              </p:cNvPr>
              <p:cNvSpPr/>
              <p:nvPr/>
            </p:nvSpPr>
            <p:spPr>
              <a:xfrm>
                <a:off x="16916366" y="6381550"/>
                <a:ext cx="211756" cy="2117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grpSp>
        <p:grpSp>
          <p:nvGrpSpPr>
            <p:cNvPr id="87" name="Group 86">
              <a:extLst>
                <a:ext uri="{FF2B5EF4-FFF2-40B4-BE49-F238E27FC236}">
                  <a16:creationId xmlns:a16="http://schemas.microsoft.com/office/drawing/2014/main" id="{8993CA4F-CE39-7741-9CD9-8417FB73AE90}"/>
                </a:ext>
              </a:extLst>
            </p:cNvPr>
            <p:cNvGrpSpPr/>
            <p:nvPr/>
          </p:nvGrpSpPr>
          <p:grpSpPr>
            <a:xfrm>
              <a:off x="16531356" y="7026443"/>
              <a:ext cx="587141" cy="211756"/>
              <a:chOff x="16540981" y="6381550"/>
              <a:chExt cx="587141" cy="211756"/>
            </a:xfrm>
          </p:grpSpPr>
          <p:sp useBgFill="1">
            <p:nvSpPr>
              <p:cNvPr id="90" name="Oval 89">
                <a:extLst>
                  <a:ext uri="{FF2B5EF4-FFF2-40B4-BE49-F238E27FC236}">
                    <a16:creationId xmlns:a16="http://schemas.microsoft.com/office/drawing/2014/main" id="{4E701B8A-2D51-374D-98BB-C2DEFE78E650}"/>
                  </a:ext>
                </a:extLst>
              </p:cNvPr>
              <p:cNvSpPr/>
              <p:nvPr/>
            </p:nvSpPr>
            <p:spPr>
              <a:xfrm>
                <a:off x="16540981" y="6381550"/>
                <a:ext cx="211756" cy="2117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useBgFill="1">
            <p:nvSpPr>
              <p:cNvPr id="91" name="Oval 90">
                <a:extLst>
                  <a:ext uri="{FF2B5EF4-FFF2-40B4-BE49-F238E27FC236}">
                    <a16:creationId xmlns:a16="http://schemas.microsoft.com/office/drawing/2014/main" id="{97ABEC34-EDDD-064E-88B5-4C7E06276C81}"/>
                  </a:ext>
                </a:extLst>
              </p:cNvPr>
              <p:cNvSpPr/>
              <p:nvPr/>
            </p:nvSpPr>
            <p:spPr>
              <a:xfrm>
                <a:off x="16916366" y="6381550"/>
                <a:ext cx="211756" cy="2117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grpSp>
        <p:sp>
          <p:nvSpPr>
            <p:cNvPr id="88" name="Rounded Rectangle 87">
              <a:extLst>
                <a:ext uri="{FF2B5EF4-FFF2-40B4-BE49-F238E27FC236}">
                  <a16:creationId xmlns:a16="http://schemas.microsoft.com/office/drawing/2014/main" id="{63A998A9-D91F-D445-9402-4A21531DDB59}"/>
                </a:ext>
              </a:extLst>
            </p:cNvPr>
            <p:cNvSpPr/>
            <p:nvPr/>
          </p:nvSpPr>
          <p:spPr>
            <a:xfrm rot="5400000">
              <a:off x="16297541" y="6759395"/>
              <a:ext cx="679386" cy="9144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89" name="Rounded Rectangle 88">
              <a:extLst>
                <a:ext uri="{FF2B5EF4-FFF2-40B4-BE49-F238E27FC236}">
                  <a16:creationId xmlns:a16="http://schemas.microsoft.com/office/drawing/2014/main" id="{0BE78CF3-C16E-E34B-937F-C849B6DCB55A}"/>
                </a:ext>
              </a:extLst>
            </p:cNvPr>
            <p:cNvSpPr/>
            <p:nvPr/>
          </p:nvSpPr>
          <p:spPr>
            <a:xfrm rot="5400000">
              <a:off x="16672926" y="6759395"/>
              <a:ext cx="679386" cy="9144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grpSp>
      <p:grpSp>
        <p:nvGrpSpPr>
          <p:cNvPr id="94" name="Group 93">
            <a:extLst>
              <a:ext uri="{FF2B5EF4-FFF2-40B4-BE49-F238E27FC236}">
                <a16:creationId xmlns:a16="http://schemas.microsoft.com/office/drawing/2014/main" id="{D48AF1FB-F4A1-7841-9D15-60A98B5668CF}"/>
              </a:ext>
            </a:extLst>
          </p:cNvPr>
          <p:cNvGrpSpPr/>
          <p:nvPr/>
        </p:nvGrpSpPr>
        <p:grpSpPr>
          <a:xfrm rot="18900000">
            <a:off x="4283438" y="4846228"/>
            <a:ext cx="293571" cy="433137"/>
            <a:chOff x="16531356" y="6371925"/>
            <a:chExt cx="587141" cy="866274"/>
          </a:xfrm>
        </p:grpSpPr>
        <p:grpSp>
          <p:nvGrpSpPr>
            <p:cNvPr id="95" name="Group 94">
              <a:extLst>
                <a:ext uri="{FF2B5EF4-FFF2-40B4-BE49-F238E27FC236}">
                  <a16:creationId xmlns:a16="http://schemas.microsoft.com/office/drawing/2014/main" id="{D2809A51-7723-344D-845D-61C6C94E3333}"/>
                </a:ext>
              </a:extLst>
            </p:cNvPr>
            <p:cNvGrpSpPr/>
            <p:nvPr/>
          </p:nvGrpSpPr>
          <p:grpSpPr>
            <a:xfrm>
              <a:off x="16531356" y="6371925"/>
              <a:ext cx="587141" cy="211756"/>
              <a:chOff x="16540981" y="6381550"/>
              <a:chExt cx="587141" cy="211756"/>
            </a:xfrm>
          </p:grpSpPr>
          <p:sp useBgFill="1">
            <p:nvSpPr>
              <p:cNvPr id="101" name="Oval 100">
                <a:extLst>
                  <a:ext uri="{FF2B5EF4-FFF2-40B4-BE49-F238E27FC236}">
                    <a16:creationId xmlns:a16="http://schemas.microsoft.com/office/drawing/2014/main" id="{CD77D2CD-3007-A445-98BA-71732C9C6B8E}"/>
                  </a:ext>
                </a:extLst>
              </p:cNvPr>
              <p:cNvSpPr/>
              <p:nvPr/>
            </p:nvSpPr>
            <p:spPr>
              <a:xfrm>
                <a:off x="16540981" y="6381550"/>
                <a:ext cx="211756" cy="2117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useBgFill="1">
            <p:nvSpPr>
              <p:cNvPr id="102" name="Oval 101">
                <a:extLst>
                  <a:ext uri="{FF2B5EF4-FFF2-40B4-BE49-F238E27FC236}">
                    <a16:creationId xmlns:a16="http://schemas.microsoft.com/office/drawing/2014/main" id="{FF5A8D02-AC86-F84F-831A-7E525ECD0C13}"/>
                  </a:ext>
                </a:extLst>
              </p:cNvPr>
              <p:cNvSpPr/>
              <p:nvPr/>
            </p:nvSpPr>
            <p:spPr>
              <a:xfrm>
                <a:off x="16916366" y="6381550"/>
                <a:ext cx="211756" cy="2117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grpSp>
        <p:grpSp>
          <p:nvGrpSpPr>
            <p:cNvPr id="96" name="Group 95">
              <a:extLst>
                <a:ext uri="{FF2B5EF4-FFF2-40B4-BE49-F238E27FC236}">
                  <a16:creationId xmlns:a16="http://schemas.microsoft.com/office/drawing/2014/main" id="{DE668195-13F1-1A48-921E-D04ABE14CD69}"/>
                </a:ext>
              </a:extLst>
            </p:cNvPr>
            <p:cNvGrpSpPr/>
            <p:nvPr/>
          </p:nvGrpSpPr>
          <p:grpSpPr>
            <a:xfrm>
              <a:off x="16531356" y="7026443"/>
              <a:ext cx="587141" cy="211756"/>
              <a:chOff x="16540981" y="6381550"/>
              <a:chExt cx="587141" cy="211756"/>
            </a:xfrm>
          </p:grpSpPr>
          <p:sp useBgFill="1">
            <p:nvSpPr>
              <p:cNvPr id="99" name="Oval 98">
                <a:extLst>
                  <a:ext uri="{FF2B5EF4-FFF2-40B4-BE49-F238E27FC236}">
                    <a16:creationId xmlns:a16="http://schemas.microsoft.com/office/drawing/2014/main" id="{DEFD0F8D-244C-C147-A19E-5F6F9B717CB3}"/>
                  </a:ext>
                </a:extLst>
              </p:cNvPr>
              <p:cNvSpPr/>
              <p:nvPr/>
            </p:nvSpPr>
            <p:spPr>
              <a:xfrm>
                <a:off x="16540981" y="6381550"/>
                <a:ext cx="211756" cy="2117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useBgFill="1">
            <p:nvSpPr>
              <p:cNvPr id="100" name="Oval 99">
                <a:extLst>
                  <a:ext uri="{FF2B5EF4-FFF2-40B4-BE49-F238E27FC236}">
                    <a16:creationId xmlns:a16="http://schemas.microsoft.com/office/drawing/2014/main" id="{096801D7-EF25-F749-A756-2A04A73964EF}"/>
                  </a:ext>
                </a:extLst>
              </p:cNvPr>
              <p:cNvSpPr/>
              <p:nvPr/>
            </p:nvSpPr>
            <p:spPr>
              <a:xfrm>
                <a:off x="16916366" y="6381550"/>
                <a:ext cx="211756" cy="2117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grpSp>
        <p:sp>
          <p:nvSpPr>
            <p:cNvPr id="97" name="Rounded Rectangle 96">
              <a:extLst>
                <a:ext uri="{FF2B5EF4-FFF2-40B4-BE49-F238E27FC236}">
                  <a16:creationId xmlns:a16="http://schemas.microsoft.com/office/drawing/2014/main" id="{DD9B90F0-4BEF-8748-A7A8-31E0EAE2403D}"/>
                </a:ext>
              </a:extLst>
            </p:cNvPr>
            <p:cNvSpPr/>
            <p:nvPr/>
          </p:nvSpPr>
          <p:spPr>
            <a:xfrm rot="5400000">
              <a:off x="16297541" y="6759395"/>
              <a:ext cx="679386" cy="9144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98" name="Rounded Rectangle 97">
              <a:extLst>
                <a:ext uri="{FF2B5EF4-FFF2-40B4-BE49-F238E27FC236}">
                  <a16:creationId xmlns:a16="http://schemas.microsoft.com/office/drawing/2014/main" id="{30F45A6D-1EE1-1A4D-A99B-EA606CD83ECA}"/>
                </a:ext>
              </a:extLst>
            </p:cNvPr>
            <p:cNvSpPr/>
            <p:nvPr/>
          </p:nvSpPr>
          <p:spPr>
            <a:xfrm rot="5400000">
              <a:off x="16672926" y="6759395"/>
              <a:ext cx="679386" cy="9144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grpSp>
      <p:grpSp>
        <p:nvGrpSpPr>
          <p:cNvPr id="103" name="Group 102">
            <a:extLst>
              <a:ext uri="{FF2B5EF4-FFF2-40B4-BE49-F238E27FC236}">
                <a16:creationId xmlns:a16="http://schemas.microsoft.com/office/drawing/2014/main" id="{BFAE7566-9988-A24E-AC0C-466DCA03D6B2}"/>
              </a:ext>
            </a:extLst>
          </p:cNvPr>
          <p:cNvGrpSpPr/>
          <p:nvPr/>
        </p:nvGrpSpPr>
        <p:grpSpPr>
          <a:xfrm rot="2700000">
            <a:off x="7606638" y="4846229"/>
            <a:ext cx="293571" cy="433137"/>
            <a:chOff x="16531356" y="6371925"/>
            <a:chExt cx="587141" cy="866274"/>
          </a:xfrm>
        </p:grpSpPr>
        <p:grpSp>
          <p:nvGrpSpPr>
            <p:cNvPr id="104" name="Group 103">
              <a:extLst>
                <a:ext uri="{FF2B5EF4-FFF2-40B4-BE49-F238E27FC236}">
                  <a16:creationId xmlns:a16="http://schemas.microsoft.com/office/drawing/2014/main" id="{7180E66F-2FF0-F244-8591-FDBDA0189172}"/>
                </a:ext>
              </a:extLst>
            </p:cNvPr>
            <p:cNvGrpSpPr/>
            <p:nvPr/>
          </p:nvGrpSpPr>
          <p:grpSpPr>
            <a:xfrm>
              <a:off x="16531356" y="6371925"/>
              <a:ext cx="587141" cy="211756"/>
              <a:chOff x="16540981" y="6381550"/>
              <a:chExt cx="587141" cy="211756"/>
            </a:xfrm>
          </p:grpSpPr>
          <p:sp useBgFill="1">
            <p:nvSpPr>
              <p:cNvPr id="110" name="Oval 109">
                <a:extLst>
                  <a:ext uri="{FF2B5EF4-FFF2-40B4-BE49-F238E27FC236}">
                    <a16:creationId xmlns:a16="http://schemas.microsoft.com/office/drawing/2014/main" id="{01B42D46-3481-9E43-BE58-38849D7E4727}"/>
                  </a:ext>
                </a:extLst>
              </p:cNvPr>
              <p:cNvSpPr/>
              <p:nvPr/>
            </p:nvSpPr>
            <p:spPr>
              <a:xfrm>
                <a:off x="16540981" y="6381550"/>
                <a:ext cx="211756" cy="2117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useBgFill="1">
            <p:nvSpPr>
              <p:cNvPr id="111" name="Oval 110">
                <a:extLst>
                  <a:ext uri="{FF2B5EF4-FFF2-40B4-BE49-F238E27FC236}">
                    <a16:creationId xmlns:a16="http://schemas.microsoft.com/office/drawing/2014/main" id="{2BFD2E1A-6E03-6940-B04F-8D5C97D3C022}"/>
                  </a:ext>
                </a:extLst>
              </p:cNvPr>
              <p:cNvSpPr/>
              <p:nvPr/>
            </p:nvSpPr>
            <p:spPr>
              <a:xfrm>
                <a:off x="16916366" y="6381550"/>
                <a:ext cx="211756" cy="2117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grpSp>
        <p:grpSp>
          <p:nvGrpSpPr>
            <p:cNvPr id="105" name="Group 104">
              <a:extLst>
                <a:ext uri="{FF2B5EF4-FFF2-40B4-BE49-F238E27FC236}">
                  <a16:creationId xmlns:a16="http://schemas.microsoft.com/office/drawing/2014/main" id="{7A3495A3-288A-3A4F-A2E4-A7860EE1B00C}"/>
                </a:ext>
              </a:extLst>
            </p:cNvPr>
            <p:cNvGrpSpPr/>
            <p:nvPr/>
          </p:nvGrpSpPr>
          <p:grpSpPr>
            <a:xfrm>
              <a:off x="16531356" y="7026443"/>
              <a:ext cx="587141" cy="211756"/>
              <a:chOff x="16540981" y="6381550"/>
              <a:chExt cx="587141" cy="211756"/>
            </a:xfrm>
          </p:grpSpPr>
          <p:sp useBgFill="1">
            <p:nvSpPr>
              <p:cNvPr id="108" name="Oval 107">
                <a:extLst>
                  <a:ext uri="{FF2B5EF4-FFF2-40B4-BE49-F238E27FC236}">
                    <a16:creationId xmlns:a16="http://schemas.microsoft.com/office/drawing/2014/main" id="{ADCC74C2-7B26-1946-91C9-D5F49FB727B4}"/>
                  </a:ext>
                </a:extLst>
              </p:cNvPr>
              <p:cNvSpPr/>
              <p:nvPr/>
            </p:nvSpPr>
            <p:spPr>
              <a:xfrm>
                <a:off x="16540981" y="6381550"/>
                <a:ext cx="211756" cy="2117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useBgFill="1">
            <p:nvSpPr>
              <p:cNvPr id="109" name="Oval 108">
                <a:extLst>
                  <a:ext uri="{FF2B5EF4-FFF2-40B4-BE49-F238E27FC236}">
                    <a16:creationId xmlns:a16="http://schemas.microsoft.com/office/drawing/2014/main" id="{0F4CA0E4-4FB5-034F-AEBE-ACCD1B0DCF23}"/>
                  </a:ext>
                </a:extLst>
              </p:cNvPr>
              <p:cNvSpPr/>
              <p:nvPr/>
            </p:nvSpPr>
            <p:spPr>
              <a:xfrm>
                <a:off x="16916366" y="6381550"/>
                <a:ext cx="211756" cy="2117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grpSp>
        <p:sp>
          <p:nvSpPr>
            <p:cNvPr id="106" name="Rounded Rectangle 105">
              <a:extLst>
                <a:ext uri="{FF2B5EF4-FFF2-40B4-BE49-F238E27FC236}">
                  <a16:creationId xmlns:a16="http://schemas.microsoft.com/office/drawing/2014/main" id="{BBFB8AFC-6B65-9246-8BAF-A2506EAF2CF7}"/>
                </a:ext>
              </a:extLst>
            </p:cNvPr>
            <p:cNvSpPr/>
            <p:nvPr/>
          </p:nvSpPr>
          <p:spPr>
            <a:xfrm rot="5400000">
              <a:off x="16297541" y="6759395"/>
              <a:ext cx="679386" cy="9144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07" name="Rounded Rectangle 106">
              <a:extLst>
                <a:ext uri="{FF2B5EF4-FFF2-40B4-BE49-F238E27FC236}">
                  <a16:creationId xmlns:a16="http://schemas.microsoft.com/office/drawing/2014/main" id="{7941F65E-0ECE-3246-A7C4-5182DB17A8DD}"/>
                </a:ext>
              </a:extLst>
            </p:cNvPr>
            <p:cNvSpPr/>
            <p:nvPr/>
          </p:nvSpPr>
          <p:spPr>
            <a:xfrm rot="5400000">
              <a:off x="16672926" y="6759395"/>
              <a:ext cx="679386" cy="9144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grpSp>
      <p:grpSp>
        <p:nvGrpSpPr>
          <p:cNvPr id="114" name="Group 113">
            <a:extLst>
              <a:ext uri="{FF2B5EF4-FFF2-40B4-BE49-F238E27FC236}">
                <a16:creationId xmlns:a16="http://schemas.microsoft.com/office/drawing/2014/main" id="{B971A1A9-DABB-974E-B923-764B4C28B6D8}"/>
              </a:ext>
            </a:extLst>
          </p:cNvPr>
          <p:cNvGrpSpPr/>
          <p:nvPr/>
        </p:nvGrpSpPr>
        <p:grpSpPr>
          <a:xfrm>
            <a:off x="9164105" y="1439023"/>
            <a:ext cx="2265895" cy="1334686"/>
            <a:chOff x="18325035" y="2706146"/>
            <a:chExt cx="4531790" cy="2669372"/>
          </a:xfrm>
        </p:grpSpPr>
        <p:sp>
          <p:nvSpPr>
            <p:cNvPr id="112" name="TextBox 111">
              <a:extLst>
                <a:ext uri="{FF2B5EF4-FFF2-40B4-BE49-F238E27FC236}">
                  <a16:creationId xmlns:a16="http://schemas.microsoft.com/office/drawing/2014/main" id="{3F67C569-EA5C-B24B-9DA5-2E554CC30AFB}"/>
                </a:ext>
              </a:extLst>
            </p:cNvPr>
            <p:cNvSpPr txBox="1"/>
            <p:nvPr/>
          </p:nvSpPr>
          <p:spPr>
            <a:xfrm>
              <a:off x="18325035" y="2706146"/>
              <a:ext cx="2430794" cy="677108"/>
            </a:xfrm>
            <a:prstGeom prst="rect">
              <a:avLst/>
            </a:prstGeom>
            <a:noFill/>
          </p:spPr>
          <p:txBody>
            <a:bodyPr wrap="none" rtlCol="0" anchor="b" anchorCtr="0">
              <a:spAutoFit/>
            </a:bodyPr>
            <a:lstStyle/>
            <a:p>
              <a:r>
                <a:rPr lang="en-US" sz="1600" b="1" dirty="0">
                  <a:solidFill>
                    <a:schemeClr val="accent1"/>
                  </a:solidFill>
                  <a:latin typeface="Segoe UI Light" panose="020B0502040204020203" pitchFamily="34" charset="0"/>
                  <a:ea typeface="League Spartan" charset="0"/>
                  <a:cs typeface="Poppins" pitchFamily="2" charset="77"/>
                </a:rPr>
                <a:t>THE SPRINT</a:t>
              </a:r>
            </a:p>
          </p:txBody>
        </p:sp>
        <p:sp>
          <p:nvSpPr>
            <p:cNvPr id="113" name="Subtitle 2">
              <a:extLst>
                <a:ext uri="{FF2B5EF4-FFF2-40B4-BE49-F238E27FC236}">
                  <a16:creationId xmlns:a16="http://schemas.microsoft.com/office/drawing/2014/main" id="{38036C67-375C-4A45-AAF5-92390E1F4729}"/>
                </a:ext>
              </a:extLst>
            </p:cNvPr>
            <p:cNvSpPr txBox="1">
              <a:spLocks/>
            </p:cNvSpPr>
            <p:nvPr/>
          </p:nvSpPr>
          <p:spPr>
            <a:xfrm>
              <a:off x="18325035" y="3482306"/>
              <a:ext cx="4531790" cy="189321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 Aenean commodo ligula eget dolor. Aenean massa.</a:t>
              </a:r>
            </a:p>
          </p:txBody>
        </p:sp>
      </p:grpSp>
      <p:grpSp>
        <p:nvGrpSpPr>
          <p:cNvPr id="115" name="Group 114">
            <a:extLst>
              <a:ext uri="{FF2B5EF4-FFF2-40B4-BE49-F238E27FC236}">
                <a16:creationId xmlns:a16="http://schemas.microsoft.com/office/drawing/2014/main" id="{A16A5168-F215-5443-A946-78019069EB71}"/>
              </a:ext>
            </a:extLst>
          </p:cNvPr>
          <p:cNvGrpSpPr/>
          <p:nvPr/>
        </p:nvGrpSpPr>
        <p:grpSpPr>
          <a:xfrm>
            <a:off x="9164105" y="3281113"/>
            <a:ext cx="2265895" cy="1334686"/>
            <a:chOff x="18325035" y="2706146"/>
            <a:chExt cx="4531790" cy="2669372"/>
          </a:xfrm>
        </p:grpSpPr>
        <p:sp>
          <p:nvSpPr>
            <p:cNvPr id="116" name="TextBox 115">
              <a:extLst>
                <a:ext uri="{FF2B5EF4-FFF2-40B4-BE49-F238E27FC236}">
                  <a16:creationId xmlns:a16="http://schemas.microsoft.com/office/drawing/2014/main" id="{6E9C799E-2EF6-7342-8BC1-CAA076E33F28}"/>
                </a:ext>
              </a:extLst>
            </p:cNvPr>
            <p:cNvSpPr txBox="1"/>
            <p:nvPr/>
          </p:nvSpPr>
          <p:spPr>
            <a:xfrm>
              <a:off x="18325035" y="2706146"/>
              <a:ext cx="2304606" cy="677108"/>
            </a:xfrm>
            <a:prstGeom prst="rect">
              <a:avLst/>
            </a:prstGeom>
            <a:noFill/>
          </p:spPr>
          <p:txBody>
            <a:bodyPr wrap="none" rtlCol="0" anchor="b" anchorCtr="0">
              <a:spAutoFit/>
            </a:bodyPr>
            <a:lstStyle/>
            <a:p>
              <a:r>
                <a:rPr lang="en-US" sz="1600" b="1" dirty="0">
                  <a:solidFill>
                    <a:schemeClr val="accent2"/>
                  </a:solidFill>
                  <a:latin typeface="Segoe UI Light" panose="020B0502040204020203" pitchFamily="34" charset="0"/>
                  <a:ea typeface="League Spartan" charset="0"/>
                  <a:cs typeface="Poppins" pitchFamily="2" charset="77"/>
                </a:rPr>
                <a:t>PLANNING</a:t>
              </a:r>
            </a:p>
          </p:txBody>
        </p:sp>
        <p:sp>
          <p:nvSpPr>
            <p:cNvPr id="117" name="Subtitle 2">
              <a:extLst>
                <a:ext uri="{FF2B5EF4-FFF2-40B4-BE49-F238E27FC236}">
                  <a16:creationId xmlns:a16="http://schemas.microsoft.com/office/drawing/2014/main" id="{9360D574-8D3C-9B44-97DC-DEA201C8E2FD}"/>
                </a:ext>
              </a:extLst>
            </p:cNvPr>
            <p:cNvSpPr txBox="1">
              <a:spLocks/>
            </p:cNvSpPr>
            <p:nvPr/>
          </p:nvSpPr>
          <p:spPr>
            <a:xfrm>
              <a:off x="18325035" y="3482306"/>
              <a:ext cx="4531790" cy="189321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a:t>
              </a:r>
            </a:p>
          </p:txBody>
        </p:sp>
      </p:grpSp>
      <p:grpSp>
        <p:nvGrpSpPr>
          <p:cNvPr id="118" name="Group 117">
            <a:extLst>
              <a:ext uri="{FF2B5EF4-FFF2-40B4-BE49-F238E27FC236}">
                <a16:creationId xmlns:a16="http://schemas.microsoft.com/office/drawing/2014/main" id="{12A433E7-9057-D34A-AFA4-AD354582D6C4}"/>
              </a:ext>
            </a:extLst>
          </p:cNvPr>
          <p:cNvGrpSpPr/>
          <p:nvPr/>
        </p:nvGrpSpPr>
        <p:grpSpPr>
          <a:xfrm>
            <a:off x="9164105" y="5123204"/>
            <a:ext cx="2265895" cy="1334686"/>
            <a:chOff x="18325035" y="2706146"/>
            <a:chExt cx="4531790" cy="2669372"/>
          </a:xfrm>
        </p:grpSpPr>
        <p:sp>
          <p:nvSpPr>
            <p:cNvPr id="119" name="TextBox 118">
              <a:extLst>
                <a:ext uri="{FF2B5EF4-FFF2-40B4-BE49-F238E27FC236}">
                  <a16:creationId xmlns:a16="http://schemas.microsoft.com/office/drawing/2014/main" id="{324821DF-810E-684C-9BA2-9D2A75307D48}"/>
                </a:ext>
              </a:extLst>
            </p:cNvPr>
            <p:cNvSpPr txBox="1"/>
            <p:nvPr/>
          </p:nvSpPr>
          <p:spPr>
            <a:xfrm>
              <a:off x="18325035" y="2706146"/>
              <a:ext cx="2765628" cy="677108"/>
            </a:xfrm>
            <a:prstGeom prst="rect">
              <a:avLst/>
            </a:prstGeom>
            <a:noFill/>
          </p:spPr>
          <p:txBody>
            <a:bodyPr wrap="none" rtlCol="0" anchor="b" anchorCtr="0">
              <a:spAutoFit/>
            </a:bodyPr>
            <a:lstStyle/>
            <a:p>
              <a:r>
                <a:rPr lang="en-US" sz="1600" b="1" dirty="0">
                  <a:solidFill>
                    <a:schemeClr val="accent3"/>
                  </a:solidFill>
                  <a:latin typeface="Segoe UI Light" panose="020B0502040204020203" pitchFamily="34" charset="0"/>
                  <a:ea typeface="League Spartan" charset="0"/>
                  <a:cs typeface="Poppins" pitchFamily="2" charset="77"/>
                </a:rPr>
                <a:t>SPRINT GOAL</a:t>
              </a:r>
            </a:p>
          </p:txBody>
        </p:sp>
        <p:sp>
          <p:nvSpPr>
            <p:cNvPr id="120" name="Subtitle 2">
              <a:extLst>
                <a:ext uri="{FF2B5EF4-FFF2-40B4-BE49-F238E27FC236}">
                  <a16:creationId xmlns:a16="http://schemas.microsoft.com/office/drawing/2014/main" id="{91B186BB-8B9A-4141-81DA-C7B4A25B79C3}"/>
                </a:ext>
              </a:extLst>
            </p:cNvPr>
            <p:cNvSpPr txBox="1">
              <a:spLocks/>
            </p:cNvSpPr>
            <p:nvPr/>
          </p:nvSpPr>
          <p:spPr>
            <a:xfrm>
              <a:off x="18325035" y="3482306"/>
              <a:ext cx="4531790" cy="189321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a:t>
              </a:r>
            </a:p>
          </p:txBody>
        </p:sp>
      </p:grpSp>
      <p:grpSp>
        <p:nvGrpSpPr>
          <p:cNvPr id="130" name="Group 129">
            <a:extLst>
              <a:ext uri="{FF2B5EF4-FFF2-40B4-BE49-F238E27FC236}">
                <a16:creationId xmlns:a16="http://schemas.microsoft.com/office/drawing/2014/main" id="{F7DA79F1-F5C9-254B-AF4E-B9FA70462903}"/>
              </a:ext>
            </a:extLst>
          </p:cNvPr>
          <p:cNvGrpSpPr/>
          <p:nvPr/>
        </p:nvGrpSpPr>
        <p:grpSpPr>
          <a:xfrm>
            <a:off x="759411" y="1192801"/>
            <a:ext cx="2265896" cy="1580906"/>
            <a:chOff x="18325035" y="2213705"/>
            <a:chExt cx="4531792" cy="3161810"/>
          </a:xfrm>
        </p:grpSpPr>
        <p:sp>
          <p:nvSpPr>
            <p:cNvPr id="131" name="TextBox 130">
              <a:extLst>
                <a:ext uri="{FF2B5EF4-FFF2-40B4-BE49-F238E27FC236}">
                  <a16:creationId xmlns:a16="http://schemas.microsoft.com/office/drawing/2014/main" id="{3E02FC28-AFF6-8B46-B513-8413D31C3E3A}"/>
                </a:ext>
              </a:extLst>
            </p:cNvPr>
            <p:cNvSpPr txBox="1"/>
            <p:nvPr/>
          </p:nvSpPr>
          <p:spPr>
            <a:xfrm>
              <a:off x="19653385" y="2213705"/>
              <a:ext cx="3203442" cy="1169549"/>
            </a:xfrm>
            <a:prstGeom prst="rect">
              <a:avLst/>
            </a:prstGeom>
            <a:noFill/>
          </p:spPr>
          <p:txBody>
            <a:bodyPr wrap="none" rtlCol="0" anchor="b" anchorCtr="0">
              <a:spAutoFit/>
            </a:bodyPr>
            <a:lstStyle/>
            <a:p>
              <a:pPr algn="r"/>
              <a:r>
                <a:rPr lang="en-US" sz="1600" b="1" dirty="0">
                  <a:solidFill>
                    <a:schemeClr val="accent6">
                      <a:lumMod val="90000"/>
                    </a:schemeClr>
                  </a:solidFill>
                  <a:latin typeface="Segoe UI Light" panose="020B0502040204020203" pitchFamily="34" charset="0"/>
                  <a:ea typeface="League Spartan" charset="0"/>
                  <a:cs typeface="Poppins" pitchFamily="2" charset="77"/>
                </a:rPr>
                <a:t>SPRINT</a:t>
              </a:r>
            </a:p>
            <a:p>
              <a:pPr algn="r"/>
              <a:r>
                <a:rPr lang="en-US" sz="1600" b="1" dirty="0">
                  <a:solidFill>
                    <a:schemeClr val="accent6">
                      <a:lumMod val="90000"/>
                    </a:schemeClr>
                  </a:solidFill>
                  <a:latin typeface="Segoe UI Light" panose="020B0502040204020203" pitchFamily="34" charset="0"/>
                  <a:ea typeface="League Spartan" charset="0"/>
                  <a:cs typeface="Poppins" pitchFamily="2" charset="77"/>
                </a:rPr>
                <a:t>RETROSPECTIVE</a:t>
              </a:r>
            </a:p>
          </p:txBody>
        </p:sp>
        <p:sp>
          <p:nvSpPr>
            <p:cNvPr id="132" name="Subtitle 2">
              <a:extLst>
                <a:ext uri="{FF2B5EF4-FFF2-40B4-BE49-F238E27FC236}">
                  <a16:creationId xmlns:a16="http://schemas.microsoft.com/office/drawing/2014/main" id="{9B021C7E-15AA-0B48-B2BA-D56604290DFA}"/>
                </a:ext>
              </a:extLst>
            </p:cNvPr>
            <p:cNvSpPr txBox="1">
              <a:spLocks/>
            </p:cNvSpPr>
            <p:nvPr/>
          </p:nvSpPr>
          <p:spPr>
            <a:xfrm>
              <a:off x="18325035" y="3482304"/>
              <a:ext cx="4531790" cy="189321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 Aenean commodo ligula eget dolor. Aenean massa.</a:t>
              </a:r>
            </a:p>
          </p:txBody>
        </p:sp>
      </p:grpSp>
      <p:grpSp>
        <p:nvGrpSpPr>
          <p:cNvPr id="133" name="Group 132">
            <a:extLst>
              <a:ext uri="{FF2B5EF4-FFF2-40B4-BE49-F238E27FC236}">
                <a16:creationId xmlns:a16="http://schemas.microsoft.com/office/drawing/2014/main" id="{3D2A2535-8CCD-C04A-A7A1-7348C99F2821}"/>
              </a:ext>
            </a:extLst>
          </p:cNvPr>
          <p:cNvGrpSpPr/>
          <p:nvPr/>
        </p:nvGrpSpPr>
        <p:grpSpPr>
          <a:xfrm>
            <a:off x="759411" y="3281113"/>
            <a:ext cx="2265895" cy="1334686"/>
            <a:chOff x="18325035" y="2706146"/>
            <a:chExt cx="4531790" cy="2669372"/>
          </a:xfrm>
        </p:grpSpPr>
        <p:sp>
          <p:nvSpPr>
            <p:cNvPr id="134" name="TextBox 133">
              <a:extLst>
                <a:ext uri="{FF2B5EF4-FFF2-40B4-BE49-F238E27FC236}">
                  <a16:creationId xmlns:a16="http://schemas.microsoft.com/office/drawing/2014/main" id="{C2818B23-61CE-4146-A4D5-E93B0833FA62}"/>
                </a:ext>
              </a:extLst>
            </p:cNvPr>
            <p:cNvSpPr txBox="1"/>
            <p:nvPr/>
          </p:nvSpPr>
          <p:spPr>
            <a:xfrm>
              <a:off x="19775213" y="2706146"/>
              <a:ext cx="3081612" cy="677108"/>
            </a:xfrm>
            <a:prstGeom prst="rect">
              <a:avLst/>
            </a:prstGeom>
            <a:noFill/>
          </p:spPr>
          <p:txBody>
            <a:bodyPr wrap="none" rtlCol="0" anchor="b" anchorCtr="0">
              <a:spAutoFit/>
            </a:bodyPr>
            <a:lstStyle/>
            <a:p>
              <a:pPr algn="r"/>
              <a:r>
                <a:rPr lang="en-US" sz="1600" b="1" dirty="0">
                  <a:solidFill>
                    <a:schemeClr val="accent5"/>
                  </a:solidFill>
                  <a:latin typeface="Segoe UI Light" panose="020B0502040204020203" pitchFamily="34" charset="0"/>
                  <a:ea typeface="League Spartan" charset="0"/>
                  <a:cs typeface="Poppins" pitchFamily="2" charset="77"/>
                </a:rPr>
                <a:t>SPRINT REVIEW</a:t>
              </a:r>
            </a:p>
          </p:txBody>
        </p:sp>
        <p:sp>
          <p:nvSpPr>
            <p:cNvPr id="135" name="Subtitle 2">
              <a:extLst>
                <a:ext uri="{FF2B5EF4-FFF2-40B4-BE49-F238E27FC236}">
                  <a16:creationId xmlns:a16="http://schemas.microsoft.com/office/drawing/2014/main" id="{3AFB6E1A-DFEF-054E-AA1E-8EA9F569EA59}"/>
                </a:ext>
              </a:extLst>
            </p:cNvPr>
            <p:cNvSpPr txBox="1">
              <a:spLocks/>
            </p:cNvSpPr>
            <p:nvPr/>
          </p:nvSpPr>
          <p:spPr>
            <a:xfrm>
              <a:off x="18325035" y="3482306"/>
              <a:ext cx="4531790" cy="189321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 Aenean commodo ligula eget dolor. Aenean massa.</a:t>
              </a:r>
            </a:p>
          </p:txBody>
        </p:sp>
      </p:grpSp>
      <p:grpSp>
        <p:nvGrpSpPr>
          <p:cNvPr id="136" name="Group 135">
            <a:extLst>
              <a:ext uri="{FF2B5EF4-FFF2-40B4-BE49-F238E27FC236}">
                <a16:creationId xmlns:a16="http://schemas.microsoft.com/office/drawing/2014/main" id="{F17EAD62-1093-2E48-8D65-6DB7724DB48D}"/>
              </a:ext>
            </a:extLst>
          </p:cNvPr>
          <p:cNvGrpSpPr/>
          <p:nvPr/>
        </p:nvGrpSpPr>
        <p:grpSpPr>
          <a:xfrm>
            <a:off x="759411" y="5123204"/>
            <a:ext cx="2268485" cy="1334686"/>
            <a:chOff x="18325035" y="2706146"/>
            <a:chExt cx="4536970" cy="2669372"/>
          </a:xfrm>
        </p:grpSpPr>
        <p:sp>
          <p:nvSpPr>
            <p:cNvPr id="137" name="TextBox 136">
              <a:extLst>
                <a:ext uri="{FF2B5EF4-FFF2-40B4-BE49-F238E27FC236}">
                  <a16:creationId xmlns:a16="http://schemas.microsoft.com/office/drawing/2014/main" id="{8A012E04-6D57-8844-BE50-BB6BBFAF4323}"/>
                </a:ext>
              </a:extLst>
            </p:cNvPr>
            <p:cNvSpPr txBox="1"/>
            <p:nvPr/>
          </p:nvSpPr>
          <p:spPr>
            <a:xfrm>
              <a:off x="20092657" y="2706146"/>
              <a:ext cx="2769348" cy="677108"/>
            </a:xfrm>
            <a:prstGeom prst="rect">
              <a:avLst/>
            </a:prstGeom>
            <a:noFill/>
          </p:spPr>
          <p:txBody>
            <a:bodyPr wrap="none" rtlCol="0" anchor="b" anchorCtr="0">
              <a:spAutoFit/>
            </a:bodyPr>
            <a:lstStyle/>
            <a:p>
              <a:pPr algn="r"/>
              <a:r>
                <a:rPr lang="en-US" sz="1600" b="1" dirty="0">
                  <a:solidFill>
                    <a:schemeClr val="accent4"/>
                  </a:solidFill>
                  <a:latin typeface="Segoe UI Light" panose="020B0502040204020203" pitchFamily="34" charset="0"/>
                  <a:ea typeface="League Spartan" charset="0"/>
                  <a:cs typeface="Poppins" pitchFamily="2" charset="77"/>
                </a:rPr>
                <a:t>DAILY SCRUM</a:t>
              </a:r>
            </a:p>
          </p:txBody>
        </p:sp>
        <p:sp>
          <p:nvSpPr>
            <p:cNvPr id="138" name="Subtitle 2">
              <a:extLst>
                <a:ext uri="{FF2B5EF4-FFF2-40B4-BE49-F238E27FC236}">
                  <a16:creationId xmlns:a16="http://schemas.microsoft.com/office/drawing/2014/main" id="{494DA2CE-E129-5A45-AE49-9CD67C977931}"/>
                </a:ext>
              </a:extLst>
            </p:cNvPr>
            <p:cNvSpPr txBox="1">
              <a:spLocks/>
            </p:cNvSpPr>
            <p:nvPr/>
          </p:nvSpPr>
          <p:spPr>
            <a:xfrm>
              <a:off x="18325035" y="3482306"/>
              <a:ext cx="4531790" cy="189321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 Aenean commodo ligula eget dolor. Aenean massa.</a:t>
              </a:r>
            </a:p>
          </p:txBody>
        </p:sp>
      </p:grpSp>
    </p:spTree>
    <p:custDataLst>
      <p:tags r:id="rId1"/>
    </p:custDataLst>
    <p:extLst>
      <p:ext uri="{BB962C8B-B14F-4D97-AF65-F5344CB8AC3E}">
        <p14:creationId xmlns:p14="http://schemas.microsoft.com/office/powerpoint/2010/main" val="15460572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02D67BD-0434-BB42-92E6-DF4388B085DA}"/>
              </a:ext>
            </a:extLst>
          </p:cNvPr>
          <p:cNvSpPr/>
          <p:nvPr/>
        </p:nvSpPr>
        <p:spPr>
          <a:xfrm>
            <a:off x="1588" y="0"/>
            <a:ext cx="6094413" cy="30697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 name="Rectangle 2">
            <a:extLst>
              <a:ext uri="{FF2B5EF4-FFF2-40B4-BE49-F238E27FC236}">
                <a16:creationId xmlns:a16="http://schemas.microsoft.com/office/drawing/2014/main" id="{E71EE1DF-3C80-4342-BBAA-AEA8B5A0B464}"/>
              </a:ext>
            </a:extLst>
          </p:cNvPr>
          <p:cNvSpPr/>
          <p:nvPr/>
        </p:nvSpPr>
        <p:spPr>
          <a:xfrm>
            <a:off x="6096000" y="0"/>
            <a:ext cx="6094413" cy="30697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4" name="Rectangle 3">
            <a:extLst>
              <a:ext uri="{FF2B5EF4-FFF2-40B4-BE49-F238E27FC236}">
                <a16:creationId xmlns:a16="http://schemas.microsoft.com/office/drawing/2014/main" id="{413DF522-81E0-2244-A3C6-8FC184D5F246}"/>
              </a:ext>
            </a:extLst>
          </p:cNvPr>
          <p:cNvSpPr/>
          <p:nvPr/>
        </p:nvSpPr>
        <p:spPr>
          <a:xfrm>
            <a:off x="1588" y="3069772"/>
            <a:ext cx="4064508" cy="378822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5" name="Rectangle 4">
            <a:extLst>
              <a:ext uri="{FF2B5EF4-FFF2-40B4-BE49-F238E27FC236}">
                <a16:creationId xmlns:a16="http://schemas.microsoft.com/office/drawing/2014/main" id="{40856CC4-F477-784E-A4EE-0710D6B8BAB5}"/>
              </a:ext>
            </a:extLst>
          </p:cNvPr>
          <p:cNvSpPr/>
          <p:nvPr/>
        </p:nvSpPr>
        <p:spPr>
          <a:xfrm>
            <a:off x="4061397" y="3069772"/>
            <a:ext cx="4064508" cy="37882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6" name="Rectangle 5">
            <a:extLst>
              <a:ext uri="{FF2B5EF4-FFF2-40B4-BE49-F238E27FC236}">
                <a16:creationId xmlns:a16="http://schemas.microsoft.com/office/drawing/2014/main" id="{350E50D4-B5BE-7F4D-A368-ED602C53B206}"/>
              </a:ext>
            </a:extLst>
          </p:cNvPr>
          <p:cNvSpPr/>
          <p:nvPr/>
        </p:nvSpPr>
        <p:spPr>
          <a:xfrm>
            <a:off x="8121206" y="3069772"/>
            <a:ext cx="4064508" cy="37882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7" name="Right Arrow 6">
            <a:extLst>
              <a:ext uri="{FF2B5EF4-FFF2-40B4-BE49-F238E27FC236}">
                <a16:creationId xmlns:a16="http://schemas.microsoft.com/office/drawing/2014/main" id="{43F588FB-96E7-B94C-AE69-79AB095C63DC}"/>
              </a:ext>
            </a:extLst>
          </p:cNvPr>
          <p:cNvSpPr/>
          <p:nvPr/>
        </p:nvSpPr>
        <p:spPr>
          <a:xfrm>
            <a:off x="6002410" y="1299754"/>
            <a:ext cx="737462" cy="470263"/>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8" name="Left Arrow 7">
            <a:extLst>
              <a:ext uri="{FF2B5EF4-FFF2-40B4-BE49-F238E27FC236}">
                <a16:creationId xmlns:a16="http://schemas.microsoft.com/office/drawing/2014/main" id="{77E298E5-F5B0-F74D-93F6-5F18C328ACBA}"/>
              </a:ext>
            </a:extLst>
          </p:cNvPr>
          <p:cNvSpPr/>
          <p:nvPr/>
        </p:nvSpPr>
        <p:spPr>
          <a:xfrm>
            <a:off x="3339370" y="4728754"/>
            <a:ext cx="737462" cy="470263"/>
          </a:xfrm>
          <a:prstGeom prst="lef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9" name="Left Arrow 8">
            <a:extLst>
              <a:ext uri="{FF2B5EF4-FFF2-40B4-BE49-F238E27FC236}">
                <a16:creationId xmlns:a16="http://schemas.microsoft.com/office/drawing/2014/main" id="{C1C642AD-A5CA-7F47-96E7-9E108D9DB993}"/>
              </a:ext>
            </a:extLst>
          </p:cNvPr>
          <p:cNvSpPr/>
          <p:nvPr/>
        </p:nvSpPr>
        <p:spPr>
          <a:xfrm>
            <a:off x="7393142" y="4728754"/>
            <a:ext cx="737462" cy="470263"/>
          </a:xfrm>
          <a:prstGeom prst="lef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0" name="Down Arrow 9">
            <a:extLst>
              <a:ext uri="{FF2B5EF4-FFF2-40B4-BE49-F238E27FC236}">
                <a16:creationId xmlns:a16="http://schemas.microsoft.com/office/drawing/2014/main" id="{456AA554-56F3-4448-BAE7-12B2F70BAC2F}"/>
              </a:ext>
            </a:extLst>
          </p:cNvPr>
          <p:cNvSpPr/>
          <p:nvPr/>
        </p:nvSpPr>
        <p:spPr>
          <a:xfrm>
            <a:off x="9925050" y="3069772"/>
            <a:ext cx="470916" cy="736092"/>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1" name="Up Arrow 10">
            <a:extLst>
              <a:ext uri="{FF2B5EF4-FFF2-40B4-BE49-F238E27FC236}">
                <a16:creationId xmlns:a16="http://schemas.microsoft.com/office/drawing/2014/main" id="{F907E5C3-ED64-9D44-A12B-9BDB16F144F4}"/>
              </a:ext>
            </a:extLst>
          </p:cNvPr>
          <p:cNvSpPr/>
          <p:nvPr/>
        </p:nvSpPr>
        <p:spPr>
          <a:xfrm>
            <a:off x="1800733" y="2333680"/>
            <a:ext cx="470916" cy="736092"/>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2" name="Oval 11">
            <a:extLst>
              <a:ext uri="{FF2B5EF4-FFF2-40B4-BE49-F238E27FC236}">
                <a16:creationId xmlns:a16="http://schemas.microsoft.com/office/drawing/2014/main" id="{3306CE44-466B-0846-91CA-936EEAAA4157}"/>
              </a:ext>
            </a:extLst>
          </p:cNvPr>
          <p:cNvSpPr/>
          <p:nvPr/>
        </p:nvSpPr>
        <p:spPr>
          <a:xfrm>
            <a:off x="762000" y="864327"/>
            <a:ext cx="548640" cy="548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3" name="TextBox 12">
            <a:extLst>
              <a:ext uri="{FF2B5EF4-FFF2-40B4-BE49-F238E27FC236}">
                <a16:creationId xmlns:a16="http://schemas.microsoft.com/office/drawing/2014/main" id="{836B736F-A018-C44E-BF7C-A1A5B6709969}"/>
              </a:ext>
            </a:extLst>
          </p:cNvPr>
          <p:cNvSpPr txBox="1"/>
          <p:nvPr/>
        </p:nvSpPr>
        <p:spPr>
          <a:xfrm>
            <a:off x="902310" y="969370"/>
            <a:ext cx="268022" cy="338554"/>
          </a:xfrm>
          <a:prstGeom prst="rect">
            <a:avLst/>
          </a:prstGeom>
          <a:noFill/>
        </p:spPr>
        <p:txBody>
          <a:bodyPr wrap="none" rtlCol="0" anchor="ctr">
            <a:spAutoFit/>
          </a:bodyPr>
          <a:lstStyle/>
          <a:p>
            <a:pPr algn="ctr"/>
            <a:r>
              <a:rPr lang="en-US" sz="1600" b="1" dirty="0">
                <a:solidFill>
                  <a:schemeClr val="accent1"/>
                </a:solidFill>
                <a:latin typeface="Segoe UI Light" panose="020B0502040204020203" pitchFamily="34" charset="0"/>
                <a:cs typeface="Poppins" pitchFamily="2" charset="77"/>
              </a:rPr>
              <a:t>1</a:t>
            </a:r>
          </a:p>
        </p:txBody>
      </p:sp>
      <p:sp>
        <p:nvSpPr>
          <p:cNvPr id="14" name="Oval 13">
            <a:extLst>
              <a:ext uri="{FF2B5EF4-FFF2-40B4-BE49-F238E27FC236}">
                <a16:creationId xmlns:a16="http://schemas.microsoft.com/office/drawing/2014/main" id="{28031BCE-A5D1-2442-8CB0-0BD07B2222CB}"/>
              </a:ext>
            </a:extLst>
          </p:cNvPr>
          <p:cNvSpPr/>
          <p:nvPr/>
        </p:nvSpPr>
        <p:spPr>
          <a:xfrm>
            <a:off x="6915150" y="864327"/>
            <a:ext cx="548640" cy="548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5" name="TextBox 14">
            <a:extLst>
              <a:ext uri="{FF2B5EF4-FFF2-40B4-BE49-F238E27FC236}">
                <a16:creationId xmlns:a16="http://schemas.microsoft.com/office/drawing/2014/main" id="{D20F90EC-84E3-5F47-B854-9E1A15AC3105}"/>
              </a:ext>
            </a:extLst>
          </p:cNvPr>
          <p:cNvSpPr txBox="1"/>
          <p:nvPr/>
        </p:nvSpPr>
        <p:spPr>
          <a:xfrm>
            <a:off x="7040231" y="969370"/>
            <a:ext cx="298480" cy="338554"/>
          </a:xfrm>
          <a:prstGeom prst="rect">
            <a:avLst/>
          </a:prstGeom>
          <a:noFill/>
        </p:spPr>
        <p:txBody>
          <a:bodyPr wrap="none" rtlCol="0" anchor="ctr">
            <a:spAutoFit/>
          </a:bodyPr>
          <a:lstStyle/>
          <a:p>
            <a:pPr algn="ctr"/>
            <a:r>
              <a:rPr lang="en-US" sz="1600" b="1" dirty="0">
                <a:solidFill>
                  <a:schemeClr val="accent2"/>
                </a:solidFill>
                <a:latin typeface="Segoe UI Light" panose="020B0502040204020203" pitchFamily="34" charset="0"/>
                <a:cs typeface="Poppins" pitchFamily="2" charset="77"/>
              </a:rPr>
              <a:t>2</a:t>
            </a:r>
          </a:p>
        </p:txBody>
      </p:sp>
      <p:sp>
        <p:nvSpPr>
          <p:cNvPr id="22" name="TextBox 21">
            <a:extLst>
              <a:ext uri="{FF2B5EF4-FFF2-40B4-BE49-F238E27FC236}">
                <a16:creationId xmlns:a16="http://schemas.microsoft.com/office/drawing/2014/main" id="{313B82A8-C143-9647-9278-71F67C2E6AAC}"/>
              </a:ext>
            </a:extLst>
          </p:cNvPr>
          <p:cNvSpPr txBox="1"/>
          <p:nvPr/>
        </p:nvSpPr>
        <p:spPr>
          <a:xfrm>
            <a:off x="1480284" y="966650"/>
            <a:ext cx="2325830" cy="338554"/>
          </a:xfrm>
          <a:prstGeom prst="rect">
            <a:avLst/>
          </a:prstGeom>
          <a:noFill/>
        </p:spPr>
        <p:txBody>
          <a:bodyPr wrap="none" rtlCol="0" anchor="ctr" anchorCtr="0">
            <a:spAutoFit/>
          </a:bodyPr>
          <a:lstStyle/>
          <a:p>
            <a:r>
              <a:rPr lang="en-US" sz="1600" b="1" dirty="0">
                <a:solidFill>
                  <a:schemeClr val="bg1"/>
                </a:solidFill>
                <a:latin typeface="Segoe UI Light" panose="020B0502040204020203" pitchFamily="34" charset="0"/>
                <a:ea typeface="League Spartan" charset="0"/>
                <a:cs typeface="Poppins" pitchFamily="2" charset="77"/>
              </a:rPr>
              <a:t>CREATE A CAREER PLAN</a:t>
            </a:r>
          </a:p>
        </p:txBody>
      </p:sp>
      <p:sp>
        <p:nvSpPr>
          <p:cNvPr id="23" name="TextBox 22">
            <a:extLst>
              <a:ext uri="{FF2B5EF4-FFF2-40B4-BE49-F238E27FC236}">
                <a16:creationId xmlns:a16="http://schemas.microsoft.com/office/drawing/2014/main" id="{8143A557-5655-6649-85F7-75BD305A4E5C}"/>
              </a:ext>
            </a:extLst>
          </p:cNvPr>
          <p:cNvSpPr txBox="1"/>
          <p:nvPr/>
        </p:nvSpPr>
        <p:spPr>
          <a:xfrm>
            <a:off x="7633434" y="966650"/>
            <a:ext cx="1109086" cy="338554"/>
          </a:xfrm>
          <a:prstGeom prst="rect">
            <a:avLst/>
          </a:prstGeom>
          <a:noFill/>
        </p:spPr>
        <p:txBody>
          <a:bodyPr wrap="none" rtlCol="0" anchor="ctr" anchorCtr="0">
            <a:spAutoFit/>
          </a:bodyPr>
          <a:lstStyle/>
          <a:p>
            <a:r>
              <a:rPr lang="en-US" sz="1600" b="1" dirty="0">
                <a:solidFill>
                  <a:schemeClr val="bg1"/>
                </a:solidFill>
                <a:latin typeface="Segoe UI Light" panose="020B0502040204020203" pitchFamily="34" charset="0"/>
                <a:ea typeface="League Spartan" charset="0"/>
                <a:cs typeface="Poppins" pitchFamily="2" charset="77"/>
              </a:rPr>
              <a:t>NETWORK</a:t>
            </a:r>
          </a:p>
        </p:txBody>
      </p:sp>
      <p:sp>
        <p:nvSpPr>
          <p:cNvPr id="27" name="Subtitle 2">
            <a:extLst>
              <a:ext uri="{FF2B5EF4-FFF2-40B4-BE49-F238E27FC236}">
                <a16:creationId xmlns:a16="http://schemas.microsoft.com/office/drawing/2014/main" id="{3D4CF72C-DDF0-F745-BDAC-E653E89576D7}"/>
              </a:ext>
            </a:extLst>
          </p:cNvPr>
          <p:cNvSpPr txBox="1">
            <a:spLocks/>
          </p:cNvSpPr>
          <p:nvPr/>
        </p:nvSpPr>
        <p:spPr>
          <a:xfrm>
            <a:off x="762001" y="1691974"/>
            <a:ext cx="4514850" cy="48494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enean commodo ligula eget dolor. Aenean massa.</a:t>
            </a:r>
          </a:p>
        </p:txBody>
      </p:sp>
      <p:sp>
        <p:nvSpPr>
          <p:cNvPr id="28" name="Subtitle 2">
            <a:extLst>
              <a:ext uri="{FF2B5EF4-FFF2-40B4-BE49-F238E27FC236}">
                <a16:creationId xmlns:a16="http://schemas.microsoft.com/office/drawing/2014/main" id="{FE8E8843-685D-4146-B6C1-EA080F09CD77}"/>
              </a:ext>
            </a:extLst>
          </p:cNvPr>
          <p:cNvSpPr txBox="1">
            <a:spLocks/>
          </p:cNvSpPr>
          <p:nvPr/>
        </p:nvSpPr>
        <p:spPr>
          <a:xfrm>
            <a:off x="6915151" y="1691974"/>
            <a:ext cx="4514850" cy="48494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enean commodo ligula eget dolor. Aenean massa.</a:t>
            </a:r>
          </a:p>
        </p:txBody>
      </p:sp>
      <p:sp>
        <p:nvSpPr>
          <p:cNvPr id="16" name="Oval 15">
            <a:extLst>
              <a:ext uri="{FF2B5EF4-FFF2-40B4-BE49-F238E27FC236}">
                <a16:creationId xmlns:a16="http://schemas.microsoft.com/office/drawing/2014/main" id="{3040D5D6-6A98-5046-88A5-18CD864BFD55}"/>
              </a:ext>
            </a:extLst>
          </p:cNvPr>
          <p:cNvSpPr/>
          <p:nvPr/>
        </p:nvSpPr>
        <p:spPr>
          <a:xfrm>
            <a:off x="762000" y="4129247"/>
            <a:ext cx="548640" cy="548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7" name="TextBox 16">
            <a:extLst>
              <a:ext uri="{FF2B5EF4-FFF2-40B4-BE49-F238E27FC236}">
                <a16:creationId xmlns:a16="http://schemas.microsoft.com/office/drawing/2014/main" id="{4ED9DD88-0AA9-9D4F-89B3-CCC4B3F6B885}"/>
              </a:ext>
            </a:extLst>
          </p:cNvPr>
          <p:cNvSpPr txBox="1"/>
          <p:nvPr/>
        </p:nvSpPr>
        <p:spPr>
          <a:xfrm>
            <a:off x="887081" y="4234290"/>
            <a:ext cx="298480" cy="338554"/>
          </a:xfrm>
          <a:prstGeom prst="rect">
            <a:avLst/>
          </a:prstGeom>
          <a:noFill/>
        </p:spPr>
        <p:txBody>
          <a:bodyPr wrap="none" rtlCol="0" anchor="ctr">
            <a:spAutoFit/>
          </a:bodyPr>
          <a:lstStyle/>
          <a:p>
            <a:pPr algn="ctr"/>
            <a:r>
              <a:rPr lang="en-US" sz="1600" b="1" dirty="0">
                <a:solidFill>
                  <a:schemeClr val="accent3"/>
                </a:solidFill>
                <a:latin typeface="Segoe UI Light" panose="020B0502040204020203" pitchFamily="34" charset="0"/>
                <a:cs typeface="Poppins" pitchFamily="2" charset="77"/>
              </a:rPr>
              <a:t>5</a:t>
            </a:r>
          </a:p>
        </p:txBody>
      </p:sp>
      <p:sp>
        <p:nvSpPr>
          <p:cNvPr id="18" name="Oval 17">
            <a:extLst>
              <a:ext uri="{FF2B5EF4-FFF2-40B4-BE49-F238E27FC236}">
                <a16:creationId xmlns:a16="http://schemas.microsoft.com/office/drawing/2014/main" id="{5821A2D9-DE58-B044-9111-D8466A88D5EC}"/>
              </a:ext>
            </a:extLst>
          </p:cNvPr>
          <p:cNvSpPr/>
          <p:nvPr/>
        </p:nvSpPr>
        <p:spPr>
          <a:xfrm>
            <a:off x="4552188" y="4129247"/>
            <a:ext cx="548640" cy="548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9" name="TextBox 18">
            <a:extLst>
              <a:ext uri="{FF2B5EF4-FFF2-40B4-BE49-F238E27FC236}">
                <a16:creationId xmlns:a16="http://schemas.microsoft.com/office/drawing/2014/main" id="{CBF0976E-3098-434B-841C-D7EFD95500B0}"/>
              </a:ext>
            </a:extLst>
          </p:cNvPr>
          <p:cNvSpPr txBox="1"/>
          <p:nvPr/>
        </p:nvSpPr>
        <p:spPr>
          <a:xfrm>
            <a:off x="4674865" y="4234290"/>
            <a:ext cx="303288" cy="338554"/>
          </a:xfrm>
          <a:prstGeom prst="rect">
            <a:avLst/>
          </a:prstGeom>
          <a:noFill/>
        </p:spPr>
        <p:txBody>
          <a:bodyPr wrap="none" rtlCol="0" anchor="ctr">
            <a:spAutoFit/>
          </a:bodyPr>
          <a:lstStyle/>
          <a:p>
            <a:pPr algn="ctr"/>
            <a:r>
              <a:rPr lang="en-US" sz="1600" b="1" dirty="0">
                <a:solidFill>
                  <a:schemeClr val="accent4"/>
                </a:solidFill>
                <a:latin typeface="Segoe UI Light" panose="020B0502040204020203" pitchFamily="34" charset="0"/>
                <a:cs typeface="Poppins" pitchFamily="2" charset="77"/>
              </a:rPr>
              <a:t>4</a:t>
            </a:r>
          </a:p>
        </p:txBody>
      </p:sp>
      <p:sp>
        <p:nvSpPr>
          <p:cNvPr id="20" name="Oval 19">
            <a:extLst>
              <a:ext uri="{FF2B5EF4-FFF2-40B4-BE49-F238E27FC236}">
                <a16:creationId xmlns:a16="http://schemas.microsoft.com/office/drawing/2014/main" id="{94505646-CCCB-4246-880F-986727801CE2}"/>
              </a:ext>
            </a:extLst>
          </p:cNvPr>
          <p:cNvSpPr/>
          <p:nvPr/>
        </p:nvSpPr>
        <p:spPr>
          <a:xfrm>
            <a:off x="8782771" y="4129247"/>
            <a:ext cx="548640" cy="548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1" name="TextBox 20">
            <a:extLst>
              <a:ext uri="{FF2B5EF4-FFF2-40B4-BE49-F238E27FC236}">
                <a16:creationId xmlns:a16="http://schemas.microsoft.com/office/drawing/2014/main" id="{05C13068-11A3-8645-9BE8-493E9028B1D5}"/>
              </a:ext>
            </a:extLst>
          </p:cNvPr>
          <p:cNvSpPr txBox="1"/>
          <p:nvPr/>
        </p:nvSpPr>
        <p:spPr>
          <a:xfrm>
            <a:off x="8907852" y="4234290"/>
            <a:ext cx="298480" cy="338554"/>
          </a:xfrm>
          <a:prstGeom prst="rect">
            <a:avLst/>
          </a:prstGeom>
          <a:noFill/>
        </p:spPr>
        <p:txBody>
          <a:bodyPr wrap="none" rtlCol="0" anchor="ctr">
            <a:spAutoFit/>
          </a:bodyPr>
          <a:lstStyle/>
          <a:p>
            <a:pPr algn="ctr"/>
            <a:r>
              <a:rPr lang="en-US" sz="1600" b="1" dirty="0">
                <a:solidFill>
                  <a:schemeClr val="accent5"/>
                </a:solidFill>
                <a:latin typeface="Segoe UI Light" panose="020B0502040204020203" pitchFamily="34" charset="0"/>
                <a:cs typeface="Poppins" pitchFamily="2" charset="77"/>
              </a:rPr>
              <a:t>3</a:t>
            </a:r>
          </a:p>
        </p:txBody>
      </p:sp>
      <p:sp>
        <p:nvSpPr>
          <p:cNvPr id="24" name="TextBox 23">
            <a:extLst>
              <a:ext uri="{FF2B5EF4-FFF2-40B4-BE49-F238E27FC236}">
                <a16:creationId xmlns:a16="http://schemas.microsoft.com/office/drawing/2014/main" id="{FA842FBB-F5B7-F74C-9B33-CF86A6AC7030}"/>
              </a:ext>
            </a:extLst>
          </p:cNvPr>
          <p:cNvSpPr txBox="1"/>
          <p:nvPr/>
        </p:nvSpPr>
        <p:spPr>
          <a:xfrm>
            <a:off x="9497448" y="4111180"/>
            <a:ext cx="1616148" cy="584775"/>
          </a:xfrm>
          <a:prstGeom prst="rect">
            <a:avLst/>
          </a:prstGeom>
          <a:noFill/>
        </p:spPr>
        <p:txBody>
          <a:bodyPr wrap="none" rtlCol="0" anchor="ctr" anchorCtr="0">
            <a:spAutoFit/>
          </a:bodyPr>
          <a:lstStyle/>
          <a:p>
            <a:r>
              <a:rPr lang="en-US" sz="1600" b="1" dirty="0">
                <a:solidFill>
                  <a:schemeClr val="bg1"/>
                </a:solidFill>
                <a:latin typeface="Segoe UI Light" panose="020B0502040204020203" pitchFamily="34" charset="0"/>
                <a:ea typeface="League Spartan" charset="0"/>
                <a:cs typeface="Poppins" pitchFamily="2" charset="77"/>
              </a:rPr>
              <a:t>BE A THOUGHT </a:t>
            </a:r>
          </a:p>
          <a:p>
            <a:r>
              <a:rPr lang="en-US" sz="1600" b="1" dirty="0">
                <a:solidFill>
                  <a:schemeClr val="bg1"/>
                </a:solidFill>
                <a:latin typeface="Segoe UI Light" panose="020B0502040204020203" pitchFamily="34" charset="0"/>
                <a:ea typeface="League Spartan" charset="0"/>
                <a:cs typeface="Poppins" pitchFamily="2" charset="77"/>
              </a:rPr>
              <a:t>LEADER</a:t>
            </a:r>
          </a:p>
        </p:txBody>
      </p:sp>
      <p:sp>
        <p:nvSpPr>
          <p:cNvPr id="25" name="TextBox 24">
            <a:extLst>
              <a:ext uri="{FF2B5EF4-FFF2-40B4-BE49-F238E27FC236}">
                <a16:creationId xmlns:a16="http://schemas.microsoft.com/office/drawing/2014/main" id="{9D94C0A2-50FC-ED41-8BE4-E37649A67783}"/>
              </a:ext>
            </a:extLst>
          </p:cNvPr>
          <p:cNvSpPr txBox="1"/>
          <p:nvPr/>
        </p:nvSpPr>
        <p:spPr>
          <a:xfrm>
            <a:off x="5250086" y="4234290"/>
            <a:ext cx="1840697" cy="338554"/>
          </a:xfrm>
          <a:prstGeom prst="rect">
            <a:avLst/>
          </a:prstGeom>
          <a:noFill/>
        </p:spPr>
        <p:txBody>
          <a:bodyPr wrap="none" rtlCol="0" anchor="ctr" anchorCtr="0">
            <a:spAutoFit/>
          </a:bodyPr>
          <a:lstStyle/>
          <a:p>
            <a:r>
              <a:rPr lang="en-US" sz="1600" b="1" dirty="0">
                <a:solidFill>
                  <a:schemeClr val="bg1"/>
                </a:solidFill>
                <a:latin typeface="Segoe UI Light" panose="020B0502040204020203" pitchFamily="34" charset="0"/>
                <a:ea typeface="League Spartan" charset="0"/>
                <a:cs typeface="Poppins" pitchFamily="2" charset="77"/>
              </a:rPr>
              <a:t>WEAR MANY HATS</a:t>
            </a:r>
          </a:p>
        </p:txBody>
      </p:sp>
      <p:sp>
        <p:nvSpPr>
          <p:cNvPr id="26" name="TextBox 25">
            <a:extLst>
              <a:ext uri="{FF2B5EF4-FFF2-40B4-BE49-F238E27FC236}">
                <a16:creationId xmlns:a16="http://schemas.microsoft.com/office/drawing/2014/main" id="{84CAA6D8-52DF-9C4A-A0CE-C41822BCA87D}"/>
              </a:ext>
            </a:extLst>
          </p:cNvPr>
          <p:cNvSpPr txBox="1"/>
          <p:nvPr/>
        </p:nvSpPr>
        <p:spPr>
          <a:xfrm>
            <a:off x="1481492" y="4111180"/>
            <a:ext cx="1732910" cy="584775"/>
          </a:xfrm>
          <a:prstGeom prst="rect">
            <a:avLst/>
          </a:prstGeom>
          <a:noFill/>
        </p:spPr>
        <p:txBody>
          <a:bodyPr wrap="none" rtlCol="0" anchor="ctr" anchorCtr="0">
            <a:spAutoFit/>
          </a:bodyPr>
          <a:lstStyle/>
          <a:p>
            <a:r>
              <a:rPr lang="en-US" sz="1600" b="1" dirty="0">
                <a:solidFill>
                  <a:schemeClr val="bg1"/>
                </a:solidFill>
                <a:latin typeface="Segoe UI Light" panose="020B0502040204020203" pitchFamily="34" charset="0"/>
                <a:ea typeface="League Spartan" charset="0"/>
                <a:cs typeface="Poppins" pitchFamily="2" charset="77"/>
              </a:rPr>
              <a:t>BE A GREAT</a:t>
            </a:r>
          </a:p>
          <a:p>
            <a:r>
              <a:rPr lang="en-US" sz="1600" b="1" dirty="0">
                <a:solidFill>
                  <a:schemeClr val="bg1"/>
                </a:solidFill>
                <a:latin typeface="Segoe UI Light" panose="020B0502040204020203" pitchFamily="34" charset="0"/>
                <a:ea typeface="League Spartan" charset="0"/>
                <a:cs typeface="Poppins" pitchFamily="2" charset="77"/>
              </a:rPr>
              <a:t>COMMUNICATOR</a:t>
            </a:r>
          </a:p>
        </p:txBody>
      </p:sp>
      <p:sp>
        <p:nvSpPr>
          <p:cNvPr id="29" name="Subtitle 2">
            <a:extLst>
              <a:ext uri="{FF2B5EF4-FFF2-40B4-BE49-F238E27FC236}">
                <a16:creationId xmlns:a16="http://schemas.microsoft.com/office/drawing/2014/main" id="{75912377-8333-F546-A482-39DEE4174474}"/>
              </a:ext>
            </a:extLst>
          </p:cNvPr>
          <p:cNvSpPr txBox="1">
            <a:spLocks/>
          </p:cNvSpPr>
          <p:nvPr/>
        </p:nvSpPr>
        <p:spPr>
          <a:xfrm>
            <a:off x="8765315" y="4947440"/>
            <a:ext cx="2681599" cy="715773"/>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enean commodo ligula eget dolor. Aenean massa.</a:t>
            </a:r>
          </a:p>
        </p:txBody>
      </p:sp>
      <p:sp>
        <p:nvSpPr>
          <p:cNvPr id="30" name="Subtitle 2">
            <a:extLst>
              <a:ext uri="{FF2B5EF4-FFF2-40B4-BE49-F238E27FC236}">
                <a16:creationId xmlns:a16="http://schemas.microsoft.com/office/drawing/2014/main" id="{D17D3340-86FD-2C47-BCC8-1424D987725E}"/>
              </a:ext>
            </a:extLst>
          </p:cNvPr>
          <p:cNvSpPr txBox="1">
            <a:spLocks/>
          </p:cNvSpPr>
          <p:nvPr/>
        </p:nvSpPr>
        <p:spPr>
          <a:xfrm>
            <a:off x="4552188" y="4947440"/>
            <a:ext cx="2681599" cy="715773"/>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enean commodo ligula eget dolor. Aenean massa.</a:t>
            </a:r>
          </a:p>
        </p:txBody>
      </p:sp>
      <p:sp>
        <p:nvSpPr>
          <p:cNvPr id="31" name="Subtitle 2">
            <a:extLst>
              <a:ext uri="{FF2B5EF4-FFF2-40B4-BE49-F238E27FC236}">
                <a16:creationId xmlns:a16="http://schemas.microsoft.com/office/drawing/2014/main" id="{DDA10688-7F5D-2F46-85F0-334ED49F9FB0}"/>
              </a:ext>
            </a:extLst>
          </p:cNvPr>
          <p:cNvSpPr txBox="1">
            <a:spLocks/>
          </p:cNvSpPr>
          <p:nvPr/>
        </p:nvSpPr>
        <p:spPr>
          <a:xfrm>
            <a:off x="762872" y="4947440"/>
            <a:ext cx="2681599" cy="715773"/>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solidFill>
                <a:latin typeface="Segoe UI Light" panose="020B0502040204020203" pitchFamily="34" charset="0"/>
                <a:ea typeface="Lato Light" panose="020F0502020204030203" pitchFamily="34" charset="0"/>
                <a:cs typeface="Lato Light" panose="020F0502020204030203" pitchFamily="34" charset="0"/>
              </a:rPr>
              <a:t>Lorem ipsum dolor sit amet, consectetuer elit. Aenean commodo ligula eget dolor. Aenean massa.</a:t>
            </a:r>
          </a:p>
        </p:txBody>
      </p:sp>
    </p:spTree>
    <p:custDataLst>
      <p:tags r:id="rId1"/>
    </p:custDataLst>
    <p:extLst>
      <p:ext uri="{BB962C8B-B14F-4D97-AF65-F5344CB8AC3E}">
        <p14:creationId xmlns:p14="http://schemas.microsoft.com/office/powerpoint/2010/main" val="1541764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32">
            <a:extLst>
              <a:ext uri="{FF2B5EF4-FFF2-40B4-BE49-F238E27FC236}">
                <a16:creationId xmlns:a16="http://schemas.microsoft.com/office/drawing/2014/main" id="{C85A2079-F044-3748-8825-BC543AC5212C}"/>
              </a:ext>
            </a:extLst>
          </p:cNvPr>
          <p:cNvSpPr/>
          <p:nvPr/>
        </p:nvSpPr>
        <p:spPr>
          <a:xfrm>
            <a:off x="9708665" y="1743717"/>
            <a:ext cx="949329" cy="1367920"/>
          </a:xfrm>
          <a:custGeom>
            <a:avLst/>
            <a:gdLst>
              <a:gd name="connsiteX0" fmla="*/ 0 w 1898657"/>
              <a:gd name="connsiteY0" fmla="*/ 0 h 2735840"/>
              <a:gd name="connsiteX1" fmla="*/ 50728 w 1898657"/>
              <a:gd name="connsiteY1" fmla="*/ 26814 h 2735840"/>
              <a:gd name="connsiteX2" fmla="*/ 1424985 w 1898657"/>
              <a:gd name="connsiteY2" fmla="*/ 1356673 h 2735840"/>
              <a:gd name="connsiteX3" fmla="*/ 1883360 w 1898657"/>
              <a:gd name="connsiteY3" fmla="*/ 2605273 h 2735840"/>
              <a:gd name="connsiteX4" fmla="*/ 1898657 w 1898657"/>
              <a:gd name="connsiteY4" fmla="*/ 2735840 h 2735840"/>
              <a:gd name="connsiteX5" fmla="*/ 0 w 1898657"/>
              <a:gd name="connsiteY5" fmla="*/ 2735840 h 2735840"/>
              <a:gd name="connsiteX6" fmla="*/ 0 w 1898657"/>
              <a:gd name="connsiteY6" fmla="*/ 0 h 273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8657" h="2735840">
                <a:moveTo>
                  <a:pt x="0" y="0"/>
                </a:moveTo>
                <a:lnTo>
                  <a:pt x="50728" y="26814"/>
                </a:lnTo>
                <a:cubicBezTo>
                  <a:pt x="574883" y="324778"/>
                  <a:pt x="1038470" y="759425"/>
                  <a:pt x="1424985" y="1356673"/>
                </a:cubicBezTo>
                <a:cubicBezTo>
                  <a:pt x="1660574" y="1720255"/>
                  <a:pt x="1811325" y="2135165"/>
                  <a:pt x="1883360" y="2605273"/>
                </a:cubicBezTo>
                <a:lnTo>
                  <a:pt x="1898657" y="2735840"/>
                </a:lnTo>
                <a:lnTo>
                  <a:pt x="0" y="2735840"/>
                </a:lnTo>
                <a:lnTo>
                  <a:pt x="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32" name="Freeform 31">
            <a:extLst>
              <a:ext uri="{FF2B5EF4-FFF2-40B4-BE49-F238E27FC236}">
                <a16:creationId xmlns:a16="http://schemas.microsoft.com/office/drawing/2014/main" id="{714D4453-CA11-FE47-9DC1-021C092C3EC7}"/>
              </a:ext>
            </a:extLst>
          </p:cNvPr>
          <p:cNvSpPr/>
          <p:nvPr/>
        </p:nvSpPr>
        <p:spPr>
          <a:xfrm>
            <a:off x="7067031" y="1833159"/>
            <a:ext cx="659674" cy="1278478"/>
          </a:xfrm>
          <a:custGeom>
            <a:avLst/>
            <a:gdLst>
              <a:gd name="connsiteX0" fmla="*/ 1319347 w 1319347"/>
              <a:gd name="connsiteY0" fmla="*/ 0 h 2556956"/>
              <a:gd name="connsiteX1" fmla="*/ 1319347 w 1319347"/>
              <a:gd name="connsiteY1" fmla="*/ 2556956 h 2556956"/>
              <a:gd name="connsiteX2" fmla="*/ 1380 w 1319347"/>
              <a:gd name="connsiteY2" fmla="*/ 2556956 h 2556956"/>
              <a:gd name="connsiteX3" fmla="*/ 2500 w 1319347"/>
              <a:gd name="connsiteY3" fmla="*/ 2506327 h 2556956"/>
              <a:gd name="connsiteX4" fmla="*/ 1183588 w 1319347"/>
              <a:gd name="connsiteY4" fmla="*/ 85434 h 2556956"/>
              <a:gd name="connsiteX5" fmla="*/ 1319347 w 1319347"/>
              <a:gd name="connsiteY5" fmla="*/ 0 h 255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9347" h="2556956">
                <a:moveTo>
                  <a:pt x="1319347" y="0"/>
                </a:moveTo>
                <a:lnTo>
                  <a:pt x="1319347" y="2556956"/>
                </a:lnTo>
                <a:lnTo>
                  <a:pt x="1380" y="2556956"/>
                </a:lnTo>
                <a:lnTo>
                  <a:pt x="2500" y="2506327"/>
                </a:lnTo>
                <a:cubicBezTo>
                  <a:pt x="-37108" y="1394535"/>
                  <a:pt x="395570" y="612961"/>
                  <a:pt x="1183588" y="85434"/>
                </a:cubicBezTo>
                <a:lnTo>
                  <a:pt x="1319347" y="0"/>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30" name="Freeform 29">
            <a:extLst>
              <a:ext uri="{FF2B5EF4-FFF2-40B4-BE49-F238E27FC236}">
                <a16:creationId xmlns:a16="http://schemas.microsoft.com/office/drawing/2014/main" id="{5F21EBC6-1DC2-E74B-8220-4FD2509B0D14}"/>
              </a:ext>
            </a:extLst>
          </p:cNvPr>
          <p:cNvSpPr/>
          <p:nvPr/>
        </p:nvSpPr>
        <p:spPr>
          <a:xfrm>
            <a:off x="6568732" y="3183827"/>
            <a:ext cx="1157972" cy="1611805"/>
          </a:xfrm>
          <a:custGeom>
            <a:avLst/>
            <a:gdLst>
              <a:gd name="connsiteX0" fmla="*/ 994784 w 2315944"/>
              <a:gd name="connsiteY0" fmla="*/ 0 h 3223609"/>
              <a:gd name="connsiteX1" fmla="*/ 2315944 w 2315944"/>
              <a:gd name="connsiteY1" fmla="*/ 0 h 3223609"/>
              <a:gd name="connsiteX2" fmla="*/ 2315944 w 2315944"/>
              <a:gd name="connsiteY2" fmla="*/ 3223609 h 3223609"/>
              <a:gd name="connsiteX3" fmla="*/ 618547 w 2315944"/>
              <a:gd name="connsiteY3" fmla="*/ 3223609 h 3223609"/>
              <a:gd name="connsiteX4" fmla="*/ 586507 w 2315944"/>
              <a:gd name="connsiteY4" fmla="*/ 3197651 h 3223609"/>
              <a:gd name="connsiteX5" fmla="*/ 517851 w 2315944"/>
              <a:gd name="connsiteY5" fmla="*/ 2815333 h 3223609"/>
              <a:gd name="connsiteX6" fmla="*/ 473622 w 2315944"/>
              <a:gd name="connsiteY6" fmla="*/ 2370946 h 3223609"/>
              <a:gd name="connsiteX7" fmla="*/ 151471 w 2315944"/>
              <a:gd name="connsiteY7" fmla="*/ 2120689 h 3223609"/>
              <a:gd name="connsiteX8" fmla="*/ 70933 w 2315944"/>
              <a:gd name="connsiteY8" fmla="*/ 1653192 h 3223609"/>
              <a:gd name="connsiteX9" fmla="*/ 320468 w 2315944"/>
              <a:gd name="connsiteY9" fmla="*/ 1361997 h 3223609"/>
              <a:gd name="connsiteX10" fmla="*/ 993764 w 2315944"/>
              <a:gd name="connsiteY10" fmla="*/ 46092 h 3223609"/>
              <a:gd name="connsiteX11" fmla="*/ 994784 w 2315944"/>
              <a:gd name="connsiteY11" fmla="*/ 0 h 3223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15944" h="3223609">
                <a:moveTo>
                  <a:pt x="994784" y="0"/>
                </a:moveTo>
                <a:lnTo>
                  <a:pt x="2315944" y="0"/>
                </a:lnTo>
                <a:lnTo>
                  <a:pt x="2315944" y="3223609"/>
                </a:lnTo>
                <a:lnTo>
                  <a:pt x="618547" y="3223609"/>
                </a:lnTo>
                <a:lnTo>
                  <a:pt x="586507" y="3197651"/>
                </a:lnTo>
                <a:cubicBezTo>
                  <a:pt x="392424" y="3042478"/>
                  <a:pt x="391764" y="3033894"/>
                  <a:pt x="517851" y="2815333"/>
                </a:cubicBezTo>
                <a:cubicBezTo>
                  <a:pt x="630736" y="2620542"/>
                  <a:pt x="620834" y="2527439"/>
                  <a:pt x="473622" y="2370946"/>
                </a:cubicBezTo>
                <a:cubicBezTo>
                  <a:pt x="377241" y="2267938"/>
                  <a:pt x="261055" y="2199926"/>
                  <a:pt x="151471" y="2120689"/>
                </a:cubicBezTo>
                <a:cubicBezTo>
                  <a:pt x="-20827" y="1996552"/>
                  <a:pt x="-43932" y="1849964"/>
                  <a:pt x="70933" y="1653192"/>
                </a:cubicBezTo>
                <a:cubicBezTo>
                  <a:pt x="138268" y="1537638"/>
                  <a:pt x="229368" y="1449817"/>
                  <a:pt x="320468" y="1361997"/>
                </a:cubicBezTo>
                <a:cubicBezTo>
                  <a:pt x="687261" y="1005513"/>
                  <a:pt x="949431" y="589881"/>
                  <a:pt x="993764" y="46092"/>
                </a:cubicBezTo>
                <a:lnTo>
                  <a:pt x="994784" y="0"/>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9" name="Freeform 28">
            <a:extLst>
              <a:ext uri="{FF2B5EF4-FFF2-40B4-BE49-F238E27FC236}">
                <a16:creationId xmlns:a16="http://schemas.microsoft.com/office/drawing/2014/main" id="{934C4391-10E0-4F45-86FE-F2751B402BA6}"/>
              </a:ext>
            </a:extLst>
          </p:cNvPr>
          <p:cNvSpPr/>
          <p:nvPr/>
        </p:nvSpPr>
        <p:spPr>
          <a:xfrm>
            <a:off x="9708665" y="3183827"/>
            <a:ext cx="966703" cy="1611805"/>
          </a:xfrm>
          <a:custGeom>
            <a:avLst/>
            <a:gdLst>
              <a:gd name="connsiteX0" fmla="*/ 0 w 1933406"/>
              <a:gd name="connsiteY0" fmla="*/ 0 h 3223609"/>
              <a:gd name="connsiteX1" fmla="*/ 1915571 w 1933406"/>
              <a:gd name="connsiteY1" fmla="*/ 0 h 3223609"/>
              <a:gd name="connsiteX2" fmla="*/ 1917185 w 1933406"/>
              <a:gd name="connsiteY2" fmla="*/ 13773 h 3223609"/>
              <a:gd name="connsiteX3" fmla="*/ 1929336 w 1933406"/>
              <a:gd name="connsiteY3" fmla="*/ 631697 h 3223609"/>
              <a:gd name="connsiteX4" fmla="*/ 1143763 w 1933406"/>
              <a:gd name="connsiteY4" fmla="*/ 2642332 h 3223609"/>
              <a:gd name="connsiteX5" fmla="*/ 779858 w 1933406"/>
              <a:gd name="connsiteY5" fmla="*/ 3115989 h 3223609"/>
              <a:gd name="connsiteX6" fmla="*/ 709265 w 1933406"/>
              <a:gd name="connsiteY6" fmla="*/ 3223609 h 3223609"/>
              <a:gd name="connsiteX7" fmla="*/ 0 w 1933406"/>
              <a:gd name="connsiteY7" fmla="*/ 3223609 h 3223609"/>
              <a:gd name="connsiteX8" fmla="*/ 0 w 1933406"/>
              <a:gd name="connsiteY8" fmla="*/ 0 h 3223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3406" h="3223609">
                <a:moveTo>
                  <a:pt x="0" y="0"/>
                </a:moveTo>
                <a:lnTo>
                  <a:pt x="1915571" y="0"/>
                </a:lnTo>
                <a:lnTo>
                  <a:pt x="1917185" y="13773"/>
                </a:lnTo>
                <a:cubicBezTo>
                  <a:pt x="1933503" y="210710"/>
                  <a:pt x="1937423" y="416602"/>
                  <a:pt x="1929336" y="631697"/>
                </a:cubicBezTo>
                <a:cubicBezTo>
                  <a:pt x="1888407" y="1310493"/>
                  <a:pt x="1625669" y="2029567"/>
                  <a:pt x="1143763" y="2642332"/>
                </a:cubicBezTo>
                <a:cubicBezTo>
                  <a:pt x="1020976" y="2798825"/>
                  <a:pt x="894847" y="2951603"/>
                  <a:pt x="779858" y="3115989"/>
                </a:cubicBezTo>
                <a:lnTo>
                  <a:pt x="709265" y="3223609"/>
                </a:lnTo>
                <a:lnTo>
                  <a:pt x="0" y="3223609"/>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7" name="Freeform 26">
            <a:extLst>
              <a:ext uri="{FF2B5EF4-FFF2-40B4-BE49-F238E27FC236}">
                <a16:creationId xmlns:a16="http://schemas.microsoft.com/office/drawing/2014/main" id="{5D94F87D-27BD-D04F-9DC8-488FB44C0704}"/>
              </a:ext>
            </a:extLst>
          </p:cNvPr>
          <p:cNvSpPr/>
          <p:nvPr/>
        </p:nvSpPr>
        <p:spPr>
          <a:xfrm>
            <a:off x="6846582" y="4867821"/>
            <a:ext cx="880122" cy="959946"/>
          </a:xfrm>
          <a:custGeom>
            <a:avLst/>
            <a:gdLst>
              <a:gd name="connsiteX0" fmla="*/ 51303 w 1760244"/>
              <a:gd name="connsiteY0" fmla="*/ 0 h 1919892"/>
              <a:gd name="connsiteX1" fmla="*/ 1760244 w 1760244"/>
              <a:gd name="connsiteY1" fmla="*/ 0 h 1919892"/>
              <a:gd name="connsiteX2" fmla="*/ 1760244 w 1760244"/>
              <a:gd name="connsiteY2" fmla="*/ 1820912 h 1919892"/>
              <a:gd name="connsiteX3" fmla="*/ 1582148 w 1760244"/>
              <a:gd name="connsiteY3" fmla="*/ 1847561 h 1919892"/>
              <a:gd name="connsiteX4" fmla="*/ 506771 w 1760244"/>
              <a:gd name="connsiteY4" fmla="*/ 1868691 h 1919892"/>
              <a:gd name="connsiteX5" fmla="*/ 134449 w 1760244"/>
              <a:gd name="connsiteY5" fmla="*/ 1180651 h 1919892"/>
              <a:gd name="connsiteX6" fmla="*/ 214327 w 1760244"/>
              <a:gd name="connsiteY6" fmla="*/ 737585 h 1919892"/>
              <a:gd name="connsiteX7" fmla="*/ 88899 w 1760244"/>
              <a:gd name="connsiteY7" fmla="*/ 295839 h 1919892"/>
              <a:gd name="connsiteX8" fmla="*/ 31443 w 1760244"/>
              <a:gd name="connsiteY8" fmla="*/ 25570 h 1919892"/>
              <a:gd name="connsiteX9" fmla="*/ 51303 w 1760244"/>
              <a:gd name="connsiteY9" fmla="*/ 0 h 191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0244" h="1919892">
                <a:moveTo>
                  <a:pt x="51303" y="0"/>
                </a:moveTo>
                <a:lnTo>
                  <a:pt x="1760244" y="0"/>
                </a:lnTo>
                <a:lnTo>
                  <a:pt x="1760244" y="1820912"/>
                </a:lnTo>
                <a:lnTo>
                  <a:pt x="1582148" y="1847561"/>
                </a:lnTo>
                <a:cubicBezTo>
                  <a:pt x="1224349" y="1883218"/>
                  <a:pt x="866550" y="1978302"/>
                  <a:pt x="506771" y="1868691"/>
                </a:cubicBezTo>
                <a:cubicBezTo>
                  <a:pt x="162836" y="1764363"/>
                  <a:pt x="62494" y="1579477"/>
                  <a:pt x="134449" y="1180651"/>
                </a:cubicBezTo>
                <a:cubicBezTo>
                  <a:pt x="161515" y="1033403"/>
                  <a:pt x="192542" y="886154"/>
                  <a:pt x="214327" y="737585"/>
                </a:cubicBezTo>
                <a:cubicBezTo>
                  <a:pt x="238092" y="567225"/>
                  <a:pt x="218948" y="414695"/>
                  <a:pt x="88899" y="295839"/>
                </a:cubicBezTo>
                <a:cubicBezTo>
                  <a:pt x="7454" y="221885"/>
                  <a:pt x="-32042" y="126192"/>
                  <a:pt x="31443" y="25570"/>
                </a:cubicBezTo>
                <a:lnTo>
                  <a:pt x="51303" y="0"/>
                </a:lnTo>
                <a:close/>
              </a:path>
            </a:pathLst>
          </a:cu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6" name="Freeform 25">
            <a:extLst>
              <a:ext uri="{FF2B5EF4-FFF2-40B4-BE49-F238E27FC236}">
                <a16:creationId xmlns:a16="http://schemas.microsoft.com/office/drawing/2014/main" id="{0D8B2951-F11C-1D46-9C75-8A66B589D58B}"/>
              </a:ext>
            </a:extLst>
          </p:cNvPr>
          <p:cNvSpPr/>
          <p:nvPr/>
        </p:nvSpPr>
        <p:spPr>
          <a:xfrm>
            <a:off x="9708665" y="4867821"/>
            <a:ext cx="430797" cy="1595350"/>
          </a:xfrm>
          <a:custGeom>
            <a:avLst/>
            <a:gdLst>
              <a:gd name="connsiteX0" fmla="*/ 0 w 861594"/>
              <a:gd name="connsiteY0" fmla="*/ 0 h 3190700"/>
              <a:gd name="connsiteX1" fmla="*/ 624674 w 861594"/>
              <a:gd name="connsiteY1" fmla="*/ 0 h 3190700"/>
              <a:gd name="connsiteX2" fmla="*/ 566749 w 861594"/>
              <a:gd name="connsiteY2" fmla="*/ 108406 h 3190700"/>
              <a:gd name="connsiteX3" fmla="*/ 436088 w 861594"/>
              <a:gd name="connsiteY3" fmla="*/ 1621736 h 3190700"/>
              <a:gd name="connsiteX4" fmla="*/ 818972 w 861594"/>
              <a:gd name="connsiteY4" fmla="*/ 2921881 h 3190700"/>
              <a:gd name="connsiteX5" fmla="*/ 666478 w 861594"/>
              <a:gd name="connsiteY5" fmla="*/ 3183363 h 3190700"/>
              <a:gd name="connsiteX6" fmla="*/ 103725 w 861594"/>
              <a:gd name="connsiteY6" fmla="*/ 3190626 h 3190700"/>
              <a:gd name="connsiteX7" fmla="*/ 0 w 861594"/>
              <a:gd name="connsiteY7" fmla="*/ 3190700 h 3190700"/>
              <a:gd name="connsiteX8" fmla="*/ 0 w 861594"/>
              <a:gd name="connsiteY8" fmla="*/ 0 h 31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1594" h="3190700">
                <a:moveTo>
                  <a:pt x="0" y="0"/>
                </a:moveTo>
                <a:lnTo>
                  <a:pt x="624674" y="0"/>
                </a:lnTo>
                <a:lnTo>
                  <a:pt x="566749" y="108406"/>
                </a:lnTo>
                <a:cubicBezTo>
                  <a:pt x="352909" y="568825"/>
                  <a:pt x="313631" y="1116766"/>
                  <a:pt x="436088" y="1621736"/>
                </a:cubicBezTo>
                <a:cubicBezTo>
                  <a:pt x="544352" y="2063482"/>
                  <a:pt x="690904" y="2488720"/>
                  <a:pt x="818972" y="2921881"/>
                </a:cubicBezTo>
                <a:cubicBezTo>
                  <a:pt x="890928" y="3163554"/>
                  <a:pt x="890928" y="3170157"/>
                  <a:pt x="666478" y="3183363"/>
                </a:cubicBezTo>
                <a:cubicBezTo>
                  <a:pt x="579339" y="3188315"/>
                  <a:pt x="374282" y="3190131"/>
                  <a:pt x="103725" y="3190626"/>
                </a:cubicBezTo>
                <a:lnTo>
                  <a:pt x="0" y="3190700"/>
                </a:lnTo>
                <a:lnTo>
                  <a:pt x="0"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3" name="Freeform 22">
            <a:extLst>
              <a:ext uri="{FF2B5EF4-FFF2-40B4-BE49-F238E27FC236}">
                <a16:creationId xmlns:a16="http://schemas.microsoft.com/office/drawing/2014/main" id="{DD508487-67EF-474F-954E-E217BD2AA601}"/>
              </a:ext>
            </a:extLst>
          </p:cNvPr>
          <p:cNvSpPr/>
          <p:nvPr/>
        </p:nvSpPr>
        <p:spPr>
          <a:xfrm>
            <a:off x="7726704" y="1497805"/>
            <a:ext cx="1981961" cy="1613832"/>
          </a:xfrm>
          <a:custGeom>
            <a:avLst/>
            <a:gdLst>
              <a:gd name="connsiteX0" fmla="*/ 2036233 w 3963922"/>
              <a:gd name="connsiteY0" fmla="*/ 53 h 3227664"/>
              <a:gd name="connsiteX1" fmla="*/ 2276983 w 3963922"/>
              <a:gd name="connsiteY1" fmla="*/ 8881 h 3227664"/>
              <a:gd name="connsiteX2" fmla="*/ 3815285 w 3963922"/>
              <a:gd name="connsiteY2" fmla="*/ 413258 h 3227664"/>
              <a:gd name="connsiteX3" fmla="*/ 3963922 w 3963922"/>
              <a:gd name="connsiteY3" fmla="*/ 491824 h 3227664"/>
              <a:gd name="connsiteX4" fmla="*/ 3963922 w 3963922"/>
              <a:gd name="connsiteY4" fmla="*/ 3227664 h 3227664"/>
              <a:gd name="connsiteX5" fmla="*/ 0 w 3963922"/>
              <a:gd name="connsiteY5" fmla="*/ 3227664 h 3227664"/>
              <a:gd name="connsiteX6" fmla="*/ 0 w 3963922"/>
              <a:gd name="connsiteY6" fmla="*/ 670708 h 3227664"/>
              <a:gd name="connsiteX7" fmla="*/ 26548 w 3963922"/>
              <a:gd name="connsiteY7" fmla="*/ 654001 h 3227664"/>
              <a:gd name="connsiteX8" fmla="*/ 411413 w 3963922"/>
              <a:gd name="connsiteY8" fmla="*/ 439401 h 3227664"/>
              <a:gd name="connsiteX9" fmla="*/ 2036233 w 3963922"/>
              <a:gd name="connsiteY9" fmla="*/ 53 h 322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3922" h="3227664">
                <a:moveTo>
                  <a:pt x="2036233" y="53"/>
                </a:moveTo>
                <a:cubicBezTo>
                  <a:pt x="2116186" y="-435"/>
                  <a:pt x="2196445" y="2443"/>
                  <a:pt x="2276983" y="8881"/>
                </a:cubicBezTo>
                <a:cubicBezTo>
                  <a:pt x="2827173" y="53080"/>
                  <a:pt x="3343626" y="182085"/>
                  <a:pt x="3815285" y="413258"/>
                </a:cubicBezTo>
                <a:lnTo>
                  <a:pt x="3963922" y="491824"/>
                </a:lnTo>
                <a:lnTo>
                  <a:pt x="3963922" y="3227664"/>
                </a:lnTo>
                <a:lnTo>
                  <a:pt x="0" y="3227664"/>
                </a:lnTo>
                <a:lnTo>
                  <a:pt x="0" y="670708"/>
                </a:lnTo>
                <a:lnTo>
                  <a:pt x="26548" y="654001"/>
                </a:lnTo>
                <a:cubicBezTo>
                  <a:pt x="153296" y="578726"/>
                  <a:pt x="280704" y="506092"/>
                  <a:pt x="411413" y="439401"/>
                </a:cubicBezTo>
                <a:cubicBezTo>
                  <a:pt x="931855" y="171894"/>
                  <a:pt x="1476558" y="3475"/>
                  <a:pt x="2036233" y="53"/>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2" name="Freeform 21">
            <a:extLst>
              <a:ext uri="{FF2B5EF4-FFF2-40B4-BE49-F238E27FC236}">
                <a16:creationId xmlns:a16="http://schemas.microsoft.com/office/drawing/2014/main" id="{D847AB0F-47C4-3940-BE0D-FA7D415B4B57}"/>
              </a:ext>
            </a:extLst>
          </p:cNvPr>
          <p:cNvSpPr/>
          <p:nvPr/>
        </p:nvSpPr>
        <p:spPr>
          <a:xfrm>
            <a:off x="7726704" y="3183827"/>
            <a:ext cx="1981961" cy="1611805"/>
          </a:xfrm>
          <a:custGeom>
            <a:avLst/>
            <a:gdLst>
              <a:gd name="connsiteX0" fmla="*/ 0 w 3963922"/>
              <a:gd name="connsiteY0" fmla="*/ 0 h 3223609"/>
              <a:gd name="connsiteX1" fmla="*/ 3963922 w 3963922"/>
              <a:gd name="connsiteY1" fmla="*/ 0 h 3223609"/>
              <a:gd name="connsiteX2" fmla="*/ 3963922 w 3963922"/>
              <a:gd name="connsiteY2" fmla="*/ 3223609 h 3223609"/>
              <a:gd name="connsiteX3" fmla="*/ 0 w 3963922"/>
              <a:gd name="connsiteY3" fmla="*/ 3223609 h 3223609"/>
              <a:gd name="connsiteX4" fmla="*/ 0 w 3963922"/>
              <a:gd name="connsiteY4" fmla="*/ 0 h 3223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3922" h="3223609">
                <a:moveTo>
                  <a:pt x="0" y="0"/>
                </a:moveTo>
                <a:lnTo>
                  <a:pt x="3963922" y="0"/>
                </a:lnTo>
                <a:lnTo>
                  <a:pt x="3963922" y="3223609"/>
                </a:lnTo>
                <a:lnTo>
                  <a:pt x="0" y="322360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1" name="Freeform 20">
            <a:extLst>
              <a:ext uri="{FF2B5EF4-FFF2-40B4-BE49-F238E27FC236}">
                <a16:creationId xmlns:a16="http://schemas.microsoft.com/office/drawing/2014/main" id="{255CAB56-72E5-2A4D-AE06-BE5D5CD3B712}"/>
              </a:ext>
            </a:extLst>
          </p:cNvPr>
          <p:cNvSpPr/>
          <p:nvPr/>
        </p:nvSpPr>
        <p:spPr>
          <a:xfrm>
            <a:off x="7726704" y="4867821"/>
            <a:ext cx="1981961" cy="1604631"/>
          </a:xfrm>
          <a:custGeom>
            <a:avLst/>
            <a:gdLst>
              <a:gd name="connsiteX0" fmla="*/ 0 w 3963922"/>
              <a:gd name="connsiteY0" fmla="*/ 0 h 3209262"/>
              <a:gd name="connsiteX1" fmla="*/ 3963922 w 3963922"/>
              <a:gd name="connsiteY1" fmla="*/ 0 h 3209262"/>
              <a:gd name="connsiteX2" fmla="*/ 3963922 w 3963922"/>
              <a:gd name="connsiteY2" fmla="*/ 3190700 h 3209262"/>
              <a:gd name="connsiteX3" fmla="*/ 3853268 w 3963922"/>
              <a:gd name="connsiteY3" fmla="*/ 3190778 h 3209262"/>
              <a:gd name="connsiteX4" fmla="*/ 1279504 w 3963922"/>
              <a:gd name="connsiteY4" fmla="*/ 3208454 h 3209262"/>
              <a:gd name="connsiteX5" fmla="*/ 963954 w 3963922"/>
              <a:gd name="connsiteY5" fmla="*/ 2930465 h 3209262"/>
              <a:gd name="connsiteX6" fmla="*/ 812121 w 3963922"/>
              <a:gd name="connsiteY6" fmla="*/ 2129512 h 3209262"/>
              <a:gd name="connsiteX7" fmla="*/ 544102 w 3963922"/>
              <a:gd name="connsiteY7" fmla="*/ 1799359 h 3209262"/>
              <a:gd name="connsiteX8" fmla="*/ 1308 w 3963922"/>
              <a:gd name="connsiteY8" fmla="*/ 1820716 h 3209262"/>
              <a:gd name="connsiteX9" fmla="*/ 0 w 3963922"/>
              <a:gd name="connsiteY9" fmla="*/ 1820912 h 3209262"/>
              <a:gd name="connsiteX10" fmla="*/ 0 w 3963922"/>
              <a:gd name="connsiteY10" fmla="*/ 0 h 3209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63922" h="3209262">
                <a:moveTo>
                  <a:pt x="0" y="0"/>
                </a:moveTo>
                <a:lnTo>
                  <a:pt x="3963922" y="0"/>
                </a:lnTo>
                <a:lnTo>
                  <a:pt x="3963922" y="3190700"/>
                </a:lnTo>
                <a:lnTo>
                  <a:pt x="3853268" y="3190778"/>
                </a:lnTo>
                <a:cubicBezTo>
                  <a:pt x="3028187" y="3190636"/>
                  <a:pt x="1806877" y="3183941"/>
                  <a:pt x="1279504" y="3208454"/>
                </a:cubicBezTo>
                <a:cubicBezTo>
                  <a:pt x="1090702" y="3217699"/>
                  <a:pt x="1000262" y="3149027"/>
                  <a:pt x="963954" y="2930465"/>
                </a:cubicBezTo>
                <a:cubicBezTo>
                  <a:pt x="919725" y="2662380"/>
                  <a:pt x="841828" y="2402219"/>
                  <a:pt x="812121" y="2129512"/>
                </a:cubicBezTo>
                <a:cubicBezTo>
                  <a:pt x="791656" y="1942645"/>
                  <a:pt x="703197" y="1840958"/>
                  <a:pt x="544102" y="1799359"/>
                </a:cubicBezTo>
                <a:cubicBezTo>
                  <a:pt x="359922" y="1751321"/>
                  <a:pt x="180568" y="1788711"/>
                  <a:pt x="1308" y="1820716"/>
                </a:cubicBezTo>
                <a:lnTo>
                  <a:pt x="0" y="182091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35" name="Freeform 202">
            <a:extLst>
              <a:ext uri="{FF2B5EF4-FFF2-40B4-BE49-F238E27FC236}">
                <a16:creationId xmlns:a16="http://schemas.microsoft.com/office/drawing/2014/main" id="{41B3E882-1F73-3243-8529-F5B34FFF2F40}"/>
              </a:ext>
            </a:extLst>
          </p:cNvPr>
          <p:cNvSpPr>
            <a:spLocks noChangeAspect="1" noChangeArrowheads="1"/>
          </p:cNvSpPr>
          <p:nvPr/>
        </p:nvSpPr>
        <p:spPr bwMode="auto">
          <a:xfrm>
            <a:off x="8443809" y="2040344"/>
            <a:ext cx="547751" cy="528754"/>
          </a:xfrm>
          <a:custGeom>
            <a:avLst/>
            <a:gdLst>
              <a:gd name="T0" fmla="*/ 2147483646 w 842"/>
              <a:gd name="T1" fmla="*/ 2147483646 h 812"/>
              <a:gd name="T2" fmla="*/ 2147483646 w 842"/>
              <a:gd name="T3" fmla="*/ 2147483646 h 812"/>
              <a:gd name="T4" fmla="*/ 2147483646 w 842"/>
              <a:gd name="T5" fmla="*/ 2147483646 h 812"/>
              <a:gd name="T6" fmla="*/ 2147483646 w 842"/>
              <a:gd name="T7" fmla="*/ 2147483646 h 812"/>
              <a:gd name="T8" fmla="*/ 2147483646 w 842"/>
              <a:gd name="T9" fmla="*/ 2147483646 h 812"/>
              <a:gd name="T10" fmla="*/ 2147483646 w 842"/>
              <a:gd name="T11" fmla="*/ 2147483646 h 812"/>
              <a:gd name="T12" fmla="*/ 2147483646 w 842"/>
              <a:gd name="T13" fmla="*/ 2147483646 h 812"/>
              <a:gd name="T14" fmla="*/ 2147483646 w 842"/>
              <a:gd name="T15" fmla="*/ 2147483646 h 812"/>
              <a:gd name="T16" fmla="*/ 2147483646 w 842"/>
              <a:gd name="T17" fmla="*/ 2147483646 h 812"/>
              <a:gd name="T18" fmla="*/ 2147483646 w 842"/>
              <a:gd name="T19" fmla="*/ 2147483646 h 812"/>
              <a:gd name="T20" fmla="*/ 2147483646 w 842"/>
              <a:gd name="T21" fmla="*/ 2147483646 h 812"/>
              <a:gd name="T22" fmla="*/ 2147483646 w 842"/>
              <a:gd name="T23" fmla="*/ 2147483646 h 812"/>
              <a:gd name="T24" fmla="*/ 2147483646 w 842"/>
              <a:gd name="T25" fmla="*/ 2147483646 h 812"/>
              <a:gd name="T26" fmla="*/ 2147483646 w 842"/>
              <a:gd name="T27" fmla="*/ 2147483646 h 812"/>
              <a:gd name="T28" fmla="*/ 2147483646 w 842"/>
              <a:gd name="T29" fmla="*/ 2147483646 h 812"/>
              <a:gd name="T30" fmla="*/ 2147483646 w 842"/>
              <a:gd name="T31" fmla="*/ 2147483646 h 812"/>
              <a:gd name="T32" fmla="*/ 2147483646 w 842"/>
              <a:gd name="T33" fmla="*/ 2147483646 h 812"/>
              <a:gd name="T34" fmla="*/ 2147483646 w 842"/>
              <a:gd name="T35" fmla="*/ 2147483646 h 812"/>
              <a:gd name="T36" fmla="*/ 2147483646 w 842"/>
              <a:gd name="T37" fmla="*/ 2147483646 h 812"/>
              <a:gd name="T38" fmla="*/ 2147483646 w 842"/>
              <a:gd name="T39" fmla="*/ 2147483646 h 812"/>
              <a:gd name="T40" fmla="*/ 2147483646 w 842"/>
              <a:gd name="T41" fmla="*/ 2147483646 h 812"/>
              <a:gd name="T42" fmla="*/ 2147483646 w 842"/>
              <a:gd name="T43" fmla="*/ 2147483646 h 812"/>
              <a:gd name="T44" fmla="*/ 2147483646 w 842"/>
              <a:gd name="T45" fmla="*/ 2147483646 h 812"/>
              <a:gd name="T46" fmla="*/ 2147483646 w 842"/>
              <a:gd name="T47" fmla="*/ 2147483646 h 812"/>
              <a:gd name="T48" fmla="*/ 2147483646 w 842"/>
              <a:gd name="T49" fmla="*/ 2147483646 h 812"/>
              <a:gd name="T50" fmla="*/ 2147483646 w 842"/>
              <a:gd name="T51" fmla="*/ 2147483646 h 812"/>
              <a:gd name="T52" fmla="*/ 2147483646 w 842"/>
              <a:gd name="T53" fmla="*/ 2147483646 h 812"/>
              <a:gd name="T54" fmla="*/ 2147483646 w 842"/>
              <a:gd name="T55" fmla="*/ 2147483646 h 812"/>
              <a:gd name="T56" fmla="*/ 2147483646 w 842"/>
              <a:gd name="T57" fmla="*/ 2147483646 h 812"/>
              <a:gd name="T58" fmla="*/ 2147483646 w 842"/>
              <a:gd name="T59" fmla="*/ 2147483646 h 812"/>
              <a:gd name="T60" fmla="*/ 2147483646 w 842"/>
              <a:gd name="T61" fmla="*/ 2147483646 h 812"/>
              <a:gd name="T62" fmla="*/ 2147483646 w 842"/>
              <a:gd name="T63" fmla="*/ 2147483646 h 812"/>
              <a:gd name="T64" fmla="*/ 2147483646 w 842"/>
              <a:gd name="T65" fmla="*/ 2147483646 h 812"/>
              <a:gd name="T66" fmla="*/ 2147483646 w 842"/>
              <a:gd name="T67" fmla="*/ 2147483646 h 812"/>
              <a:gd name="T68" fmla="*/ 2147483646 w 842"/>
              <a:gd name="T69" fmla="*/ 2147483646 h 812"/>
              <a:gd name="T70" fmla="*/ 2147483646 w 842"/>
              <a:gd name="T71" fmla="*/ 2147483646 h 812"/>
              <a:gd name="T72" fmla="*/ 2147483646 w 842"/>
              <a:gd name="T73" fmla="*/ 2147483646 h 812"/>
              <a:gd name="T74" fmla="*/ 2147483646 w 842"/>
              <a:gd name="T75" fmla="*/ 2147483646 h 812"/>
              <a:gd name="T76" fmla="*/ 2147483646 w 842"/>
              <a:gd name="T77" fmla="*/ 2147483646 h 812"/>
              <a:gd name="T78" fmla="*/ 2147483646 w 842"/>
              <a:gd name="T79" fmla="*/ 2147483646 h 812"/>
              <a:gd name="T80" fmla="*/ 2147483646 w 842"/>
              <a:gd name="T81" fmla="*/ 2147483646 h 812"/>
              <a:gd name="T82" fmla="*/ 2147483646 w 842"/>
              <a:gd name="T83" fmla="*/ 2147483646 h 812"/>
              <a:gd name="T84" fmla="*/ 2147483646 w 842"/>
              <a:gd name="T85" fmla="*/ 2147483646 h 812"/>
              <a:gd name="T86" fmla="*/ 2147483646 w 842"/>
              <a:gd name="T87" fmla="*/ 2147483646 h 812"/>
              <a:gd name="T88" fmla="*/ 2147483646 w 842"/>
              <a:gd name="T89" fmla="*/ 2147483646 h 812"/>
              <a:gd name="T90" fmla="*/ 2147483646 w 842"/>
              <a:gd name="T91" fmla="*/ 2147483646 h 812"/>
              <a:gd name="T92" fmla="*/ 2147483646 w 842"/>
              <a:gd name="T93" fmla="*/ 2147483646 h 812"/>
              <a:gd name="T94" fmla="*/ 2147483646 w 842"/>
              <a:gd name="T95" fmla="*/ 2147483646 h 812"/>
              <a:gd name="T96" fmla="*/ 2147483646 w 842"/>
              <a:gd name="T97" fmla="*/ 2147483646 h 812"/>
              <a:gd name="T98" fmla="*/ 2147483646 w 842"/>
              <a:gd name="T99" fmla="*/ 2147483646 h 812"/>
              <a:gd name="T100" fmla="*/ 2147483646 w 842"/>
              <a:gd name="T101" fmla="*/ 2147483646 h 812"/>
              <a:gd name="T102" fmla="*/ 2147483646 w 842"/>
              <a:gd name="T103" fmla="*/ 2147483646 h 812"/>
              <a:gd name="T104" fmla="*/ 2147483646 w 842"/>
              <a:gd name="T105" fmla="*/ 2147483646 h 812"/>
              <a:gd name="T106" fmla="*/ 2147483646 w 842"/>
              <a:gd name="T107" fmla="*/ 214748364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42" h="812">
                <a:moveTo>
                  <a:pt x="799" y="529"/>
                </a:moveTo>
                <a:lnTo>
                  <a:pt x="799" y="529"/>
                </a:lnTo>
                <a:cubicBezTo>
                  <a:pt x="795" y="538"/>
                  <a:pt x="761" y="544"/>
                  <a:pt x="667" y="514"/>
                </a:cubicBezTo>
                <a:cubicBezTo>
                  <a:pt x="662" y="512"/>
                  <a:pt x="656" y="510"/>
                  <a:pt x="652" y="508"/>
                </a:cubicBezTo>
                <a:cubicBezTo>
                  <a:pt x="677" y="479"/>
                  <a:pt x="696" y="446"/>
                  <a:pt x="709" y="410"/>
                </a:cubicBezTo>
                <a:cubicBezTo>
                  <a:pt x="793" y="481"/>
                  <a:pt x="806" y="518"/>
                  <a:pt x="799" y="529"/>
                </a:cubicBezTo>
                <a:close/>
                <a:moveTo>
                  <a:pt x="626" y="499"/>
                </a:moveTo>
                <a:lnTo>
                  <a:pt x="626" y="499"/>
                </a:lnTo>
                <a:cubicBezTo>
                  <a:pt x="572" y="478"/>
                  <a:pt x="509" y="449"/>
                  <a:pt x="445" y="415"/>
                </a:cubicBezTo>
                <a:cubicBezTo>
                  <a:pt x="454" y="411"/>
                  <a:pt x="463" y="405"/>
                  <a:pt x="472" y="400"/>
                </a:cubicBezTo>
                <a:cubicBezTo>
                  <a:pt x="544" y="359"/>
                  <a:pt x="628" y="303"/>
                  <a:pt x="696" y="249"/>
                </a:cubicBezTo>
                <a:cubicBezTo>
                  <a:pt x="701" y="268"/>
                  <a:pt x="703" y="288"/>
                  <a:pt x="703" y="307"/>
                </a:cubicBezTo>
                <a:cubicBezTo>
                  <a:pt x="703" y="379"/>
                  <a:pt x="676" y="447"/>
                  <a:pt x="626" y="499"/>
                </a:cubicBezTo>
                <a:close/>
                <a:moveTo>
                  <a:pt x="578" y="585"/>
                </a:moveTo>
                <a:lnTo>
                  <a:pt x="263" y="585"/>
                </a:lnTo>
                <a:cubicBezTo>
                  <a:pt x="257" y="560"/>
                  <a:pt x="246" y="538"/>
                  <a:pt x="230" y="518"/>
                </a:cubicBezTo>
                <a:cubicBezTo>
                  <a:pt x="288" y="496"/>
                  <a:pt x="353" y="465"/>
                  <a:pt x="420" y="429"/>
                </a:cubicBezTo>
                <a:cubicBezTo>
                  <a:pt x="487" y="465"/>
                  <a:pt x="551" y="496"/>
                  <a:pt x="610" y="518"/>
                </a:cubicBezTo>
                <a:cubicBezTo>
                  <a:pt x="594" y="539"/>
                  <a:pt x="584" y="560"/>
                  <a:pt x="578" y="585"/>
                </a:cubicBezTo>
                <a:close/>
                <a:moveTo>
                  <a:pt x="573" y="627"/>
                </a:moveTo>
                <a:lnTo>
                  <a:pt x="573" y="652"/>
                </a:lnTo>
                <a:lnTo>
                  <a:pt x="323" y="652"/>
                </a:lnTo>
                <a:cubicBezTo>
                  <a:pt x="316" y="652"/>
                  <a:pt x="310" y="658"/>
                  <a:pt x="310" y="664"/>
                </a:cubicBezTo>
                <a:cubicBezTo>
                  <a:pt x="310" y="671"/>
                  <a:pt x="316" y="677"/>
                  <a:pt x="323" y="677"/>
                </a:cubicBezTo>
                <a:lnTo>
                  <a:pt x="573" y="677"/>
                </a:lnTo>
                <a:lnTo>
                  <a:pt x="573" y="714"/>
                </a:lnTo>
                <a:cubicBezTo>
                  <a:pt x="573" y="716"/>
                  <a:pt x="570" y="718"/>
                  <a:pt x="568" y="718"/>
                </a:cubicBezTo>
                <a:lnTo>
                  <a:pt x="273" y="718"/>
                </a:lnTo>
                <a:cubicBezTo>
                  <a:pt x="271" y="718"/>
                  <a:pt x="269" y="716"/>
                  <a:pt x="269" y="714"/>
                </a:cubicBezTo>
                <a:lnTo>
                  <a:pt x="269" y="629"/>
                </a:lnTo>
                <a:cubicBezTo>
                  <a:pt x="269" y="622"/>
                  <a:pt x="268" y="616"/>
                  <a:pt x="267" y="609"/>
                </a:cubicBezTo>
                <a:lnTo>
                  <a:pt x="574" y="609"/>
                </a:lnTo>
                <a:cubicBezTo>
                  <a:pt x="573" y="615"/>
                  <a:pt x="573" y="621"/>
                  <a:pt x="573" y="627"/>
                </a:cubicBezTo>
                <a:lnTo>
                  <a:pt x="483" y="787"/>
                </a:lnTo>
                <a:lnTo>
                  <a:pt x="358" y="787"/>
                </a:lnTo>
                <a:cubicBezTo>
                  <a:pt x="332" y="787"/>
                  <a:pt x="309" y="768"/>
                  <a:pt x="303" y="742"/>
                </a:cubicBezTo>
                <a:lnTo>
                  <a:pt x="539" y="742"/>
                </a:lnTo>
                <a:cubicBezTo>
                  <a:pt x="533" y="768"/>
                  <a:pt x="510" y="787"/>
                  <a:pt x="483" y="787"/>
                </a:cubicBezTo>
                <a:lnTo>
                  <a:pt x="573" y="627"/>
                </a:lnTo>
                <a:close/>
                <a:moveTo>
                  <a:pt x="137" y="307"/>
                </a:moveTo>
                <a:lnTo>
                  <a:pt x="137" y="307"/>
                </a:lnTo>
                <a:cubicBezTo>
                  <a:pt x="137" y="288"/>
                  <a:pt x="139" y="268"/>
                  <a:pt x="143" y="249"/>
                </a:cubicBezTo>
                <a:cubicBezTo>
                  <a:pt x="204" y="299"/>
                  <a:pt x="282" y="351"/>
                  <a:pt x="367" y="400"/>
                </a:cubicBezTo>
                <a:cubicBezTo>
                  <a:pt x="376" y="405"/>
                  <a:pt x="385" y="411"/>
                  <a:pt x="394" y="415"/>
                </a:cubicBezTo>
                <a:cubicBezTo>
                  <a:pt x="329" y="449"/>
                  <a:pt x="267" y="478"/>
                  <a:pt x="213" y="499"/>
                </a:cubicBezTo>
                <a:cubicBezTo>
                  <a:pt x="164" y="447"/>
                  <a:pt x="137" y="379"/>
                  <a:pt x="137" y="307"/>
                </a:cubicBezTo>
                <a:close/>
                <a:moveTo>
                  <a:pt x="173" y="514"/>
                </a:moveTo>
                <a:lnTo>
                  <a:pt x="173" y="514"/>
                </a:lnTo>
                <a:cubicBezTo>
                  <a:pt x="79" y="544"/>
                  <a:pt x="45" y="538"/>
                  <a:pt x="40" y="529"/>
                </a:cubicBezTo>
                <a:cubicBezTo>
                  <a:pt x="34" y="518"/>
                  <a:pt x="48" y="481"/>
                  <a:pt x="130" y="410"/>
                </a:cubicBezTo>
                <a:cubicBezTo>
                  <a:pt x="143" y="446"/>
                  <a:pt x="162" y="479"/>
                  <a:pt x="188" y="508"/>
                </a:cubicBezTo>
                <a:cubicBezTo>
                  <a:pt x="182" y="510"/>
                  <a:pt x="178" y="512"/>
                  <a:pt x="173" y="514"/>
                </a:cubicBezTo>
                <a:close/>
                <a:moveTo>
                  <a:pt x="119" y="197"/>
                </a:moveTo>
                <a:lnTo>
                  <a:pt x="119" y="197"/>
                </a:lnTo>
                <a:cubicBezTo>
                  <a:pt x="45" y="131"/>
                  <a:pt x="34" y="99"/>
                  <a:pt x="40" y="89"/>
                </a:cubicBezTo>
                <a:cubicBezTo>
                  <a:pt x="45" y="79"/>
                  <a:pt x="83" y="73"/>
                  <a:pt x="186" y="108"/>
                </a:cubicBezTo>
                <a:cubicBezTo>
                  <a:pt x="162" y="137"/>
                  <a:pt x="142" y="171"/>
                  <a:pt x="129" y="206"/>
                </a:cubicBezTo>
                <a:cubicBezTo>
                  <a:pt x="126" y="204"/>
                  <a:pt x="122" y="200"/>
                  <a:pt x="119" y="197"/>
                </a:cubicBezTo>
                <a:close/>
                <a:moveTo>
                  <a:pt x="420" y="24"/>
                </a:moveTo>
                <a:lnTo>
                  <a:pt x="420" y="24"/>
                </a:lnTo>
                <a:cubicBezTo>
                  <a:pt x="546" y="24"/>
                  <a:pt x="654" y="109"/>
                  <a:pt x="689" y="223"/>
                </a:cubicBezTo>
                <a:cubicBezTo>
                  <a:pt x="634" y="269"/>
                  <a:pt x="557" y="324"/>
                  <a:pt x="461" y="378"/>
                </a:cubicBezTo>
                <a:cubicBezTo>
                  <a:pt x="446" y="386"/>
                  <a:pt x="434" y="394"/>
                  <a:pt x="420" y="402"/>
                </a:cubicBezTo>
                <a:cubicBezTo>
                  <a:pt x="406" y="394"/>
                  <a:pt x="393" y="386"/>
                  <a:pt x="379" y="378"/>
                </a:cubicBezTo>
                <a:cubicBezTo>
                  <a:pt x="291" y="328"/>
                  <a:pt x="211" y="274"/>
                  <a:pt x="150" y="223"/>
                </a:cubicBezTo>
                <a:cubicBezTo>
                  <a:pt x="186" y="108"/>
                  <a:pt x="293" y="24"/>
                  <a:pt x="420" y="24"/>
                </a:cubicBezTo>
                <a:close/>
                <a:moveTo>
                  <a:pt x="799" y="89"/>
                </a:moveTo>
                <a:lnTo>
                  <a:pt x="799" y="89"/>
                </a:lnTo>
                <a:cubicBezTo>
                  <a:pt x="808" y="105"/>
                  <a:pt x="778" y="148"/>
                  <a:pt x="710" y="207"/>
                </a:cubicBezTo>
                <a:cubicBezTo>
                  <a:pt x="697" y="171"/>
                  <a:pt x="678" y="137"/>
                  <a:pt x="653" y="108"/>
                </a:cubicBezTo>
                <a:cubicBezTo>
                  <a:pt x="756" y="73"/>
                  <a:pt x="795" y="79"/>
                  <a:pt x="799" y="89"/>
                </a:cubicBezTo>
                <a:close/>
                <a:moveTo>
                  <a:pt x="716" y="384"/>
                </a:moveTo>
                <a:lnTo>
                  <a:pt x="716" y="384"/>
                </a:lnTo>
                <a:cubicBezTo>
                  <a:pt x="723" y="359"/>
                  <a:pt x="727" y="334"/>
                  <a:pt x="727" y="307"/>
                </a:cubicBezTo>
                <a:cubicBezTo>
                  <a:pt x="727" y="281"/>
                  <a:pt x="723" y="256"/>
                  <a:pt x="718" y="232"/>
                </a:cubicBezTo>
                <a:cubicBezTo>
                  <a:pt x="791" y="171"/>
                  <a:pt x="841" y="111"/>
                  <a:pt x="821" y="77"/>
                </a:cubicBezTo>
                <a:cubicBezTo>
                  <a:pt x="804" y="46"/>
                  <a:pt x="740" y="50"/>
                  <a:pt x="635" y="88"/>
                </a:cubicBezTo>
                <a:cubicBezTo>
                  <a:pt x="580" y="34"/>
                  <a:pt x="504" y="0"/>
                  <a:pt x="420" y="0"/>
                </a:cubicBezTo>
                <a:cubicBezTo>
                  <a:pt x="335" y="0"/>
                  <a:pt x="259" y="34"/>
                  <a:pt x="204" y="88"/>
                </a:cubicBezTo>
                <a:cubicBezTo>
                  <a:pt x="99" y="50"/>
                  <a:pt x="36" y="46"/>
                  <a:pt x="18" y="77"/>
                </a:cubicBezTo>
                <a:cubicBezTo>
                  <a:pt x="2" y="104"/>
                  <a:pt x="31" y="151"/>
                  <a:pt x="102" y="215"/>
                </a:cubicBezTo>
                <a:cubicBezTo>
                  <a:pt x="108" y="221"/>
                  <a:pt x="114" y="226"/>
                  <a:pt x="122" y="232"/>
                </a:cubicBezTo>
                <a:cubicBezTo>
                  <a:pt x="116" y="256"/>
                  <a:pt x="112" y="281"/>
                  <a:pt x="112" y="307"/>
                </a:cubicBezTo>
                <a:cubicBezTo>
                  <a:pt x="112" y="334"/>
                  <a:pt x="117" y="359"/>
                  <a:pt x="122" y="384"/>
                </a:cubicBezTo>
                <a:cubicBezTo>
                  <a:pt x="36" y="457"/>
                  <a:pt x="0" y="509"/>
                  <a:pt x="18" y="540"/>
                </a:cubicBezTo>
                <a:cubicBezTo>
                  <a:pt x="26" y="553"/>
                  <a:pt x="42" y="560"/>
                  <a:pt x="68" y="560"/>
                </a:cubicBezTo>
                <a:cubicBezTo>
                  <a:pt x="95" y="560"/>
                  <a:pt x="133" y="552"/>
                  <a:pt x="180" y="536"/>
                </a:cubicBezTo>
                <a:cubicBezTo>
                  <a:pt x="189" y="534"/>
                  <a:pt x="197" y="531"/>
                  <a:pt x="205" y="529"/>
                </a:cubicBezTo>
                <a:cubicBezTo>
                  <a:pt x="231" y="556"/>
                  <a:pt x="245" y="591"/>
                  <a:pt x="245" y="629"/>
                </a:cubicBezTo>
                <a:lnTo>
                  <a:pt x="245" y="714"/>
                </a:lnTo>
                <a:cubicBezTo>
                  <a:pt x="245" y="730"/>
                  <a:pt x="258" y="742"/>
                  <a:pt x="273" y="742"/>
                </a:cubicBezTo>
                <a:lnTo>
                  <a:pt x="279" y="742"/>
                </a:lnTo>
                <a:cubicBezTo>
                  <a:pt x="284" y="781"/>
                  <a:pt x="317" y="811"/>
                  <a:pt x="358" y="811"/>
                </a:cubicBezTo>
                <a:lnTo>
                  <a:pt x="483" y="811"/>
                </a:lnTo>
                <a:cubicBezTo>
                  <a:pt x="523" y="811"/>
                  <a:pt x="557" y="781"/>
                  <a:pt x="563" y="742"/>
                </a:cubicBezTo>
                <a:lnTo>
                  <a:pt x="568" y="742"/>
                </a:lnTo>
                <a:cubicBezTo>
                  <a:pt x="584" y="742"/>
                  <a:pt x="598" y="730"/>
                  <a:pt x="598" y="714"/>
                </a:cubicBezTo>
                <a:lnTo>
                  <a:pt x="598" y="627"/>
                </a:lnTo>
                <a:cubicBezTo>
                  <a:pt x="598" y="591"/>
                  <a:pt x="610" y="555"/>
                  <a:pt x="634" y="529"/>
                </a:cubicBezTo>
                <a:cubicBezTo>
                  <a:pt x="643" y="531"/>
                  <a:pt x="651" y="534"/>
                  <a:pt x="659" y="536"/>
                </a:cubicBezTo>
                <a:cubicBezTo>
                  <a:pt x="706" y="552"/>
                  <a:pt x="745" y="560"/>
                  <a:pt x="772" y="560"/>
                </a:cubicBezTo>
                <a:cubicBezTo>
                  <a:pt x="797" y="560"/>
                  <a:pt x="814" y="553"/>
                  <a:pt x="821" y="540"/>
                </a:cubicBezTo>
                <a:cubicBezTo>
                  <a:pt x="839" y="509"/>
                  <a:pt x="804" y="457"/>
                  <a:pt x="716" y="384"/>
                </a:cubicBezTo>
                <a:close/>
              </a:path>
            </a:pathLst>
          </a:custGeom>
          <a:solidFill>
            <a:schemeClr val="bg1"/>
          </a:solidFill>
          <a:ln>
            <a:noFill/>
          </a:ln>
          <a:effectLst/>
        </p:spPr>
        <p:txBody>
          <a:bodyPr wrap="none" anchor="ctr"/>
          <a:lstStyle/>
          <a:p>
            <a:endParaRPr lang="en-US" sz="900" dirty="0"/>
          </a:p>
        </p:txBody>
      </p:sp>
      <p:sp>
        <p:nvSpPr>
          <p:cNvPr id="36" name="Freeform 980">
            <a:extLst>
              <a:ext uri="{FF2B5EF4-FFF2-40B4-BE49-F238E27FC236}">
                <a16:creationId xmlns:a16="http://schemas.microsoft.com/office/drawing/2014/main" id="{55CD4960-70DF-FB44-A93C-657DF1FD74A9}"/>
              </a:ext>
            </a:extLst>
          </p:cNvPr>
          <p:cNvSpPr>
            <a:spLocks noChangeAspect="1" noChangeArrowheads="1"/>
          </p:cNvSpPr>
          <p:nvPr/>
        </p:nvSpPr>
        <p:spPr bwMode="auto">
          <a:xfrm>
            <a:off x="8479428" y="5405759"/>
            <a:ext cx="476512" cy="528755"/>
          </a:xfrm>
          <a:custGeom>
            <a:avLst/>
            <a:gdLst>
              <a:gd name="T0" fmla="*/ 1962822 w 262678"/>
              <a:gd name="T1" fmla="*/ 5728482 h 291382"/>
              <a:gd name="T2" fmla="*/ 2145623 w 262678"/>
              <a:gd name="T3" fmla="*/ 5568567 h 291382"/>
              <a:gd name="T4" fmla="*/ 4017868 w 262678"/>
              <a:gd name="T5" fmla="*/ 5306841 h 291382"/>
              <a:gd name="T6" fmla="*/ 2084223 w 262678"/>
              <a:gd name="T7" fmla="*/ 3139452 h 291382"/>
              <a:gd name="T8" fmla="*/ 1987487 w 262678"/>
              <a:gd name="T9" fmla="*/ 4876200 h 291382"/>
              <a:gd name="T10" fmla="*/ 192899 w 262678"/>
              <a:gd name="T11" fmla="*/ 2806083 h 291382"/>
              <a:gd name="T12" fmla="*/ 5136830 w 262678"/>
              <a:gd name="T13" fmla="*/ 2806083 h 291382"/>
              <a:gd name="T14" fmla="*/ 2277232 w 262678"/>
              <a:gd name="T15" fmla="*/ 2624359 h 291382"/>
              <a:gd name="T16" fmla="*/ 2716046 w 262678"/>
              <a:gd name="T17" fmla="*/ 2209957 h 291382"/>
              <a:gd name="T18" fmla="*/ 2277232 w 262678"/>
              <a:gd name="T19" fmla="*/ 2166350 h 291382"/>
              <a:gd name="T20" fmla="*/ 968139 w 262678"/>
              <a:gd name="T21" fmla="*/ 2624359 h 291382"/>
              <a:gd name="T22" fmla="*/ 1326494 w 262678"/>
              <a:gd name="T23" fmla="*/ 1948253 h 291382"/>
              <a:gd name="T24" fmla="*/ 2277232 w 262678"/>
              <a:gd name="T25" fmla="*/ 1962816 h 291382"/>
              <a:gd name="T26" fmla="*/ 2818447 w 262678"/>
              <a:gd name="T27" fmla="*/ 1962816 h 291382"/>
              <a:gd name="T28" fmla="*/ 2555188 w 262678"/>
              <a:gd name="T29" fmla="*/ 1301271 h 291382"/>
              <a:gd name="T30" fmla="*/ 4142191 w 262678"/>
              <a:gd name="T31" fmla="*/ 1134051 h 291382"/>
              <a:gd name="T32" fmla="*/ 4500550 w 262678"/>
              <a:gd name="T33" fmla="*/ 1134051 h 291382"/>
              <a:gd name="T34" fmla="*/ 3608303 w 262678"/>
              <a:gd name="T35" fmla="*/ 2624359 h 291382"/>
              <a:gd name="T36" fmla="*/ 3608303 w 262678"/>
              <a:gd name="T37" fmla="*/ 1134051 h 291382"/>
              <a:gd name="T38" fmla="*/ 968139 w 262678"/>
              <a:gd name="T39" fmla="*/ 1831942 h 291382"/>
              <a:gd name="T40" fmla="*/ 1501981 w 262678"/>
              <a:gd name="T41" fmla="*/ 1831942 h 291382"/>
              <a:gd name="T42" fmla="*/ 1136338 w 262678"/>
              <a:gd name="T43" fmla="*/ 639714 h 291382"/>
              <a:gd name="T44" fmla="*/ 2460097 w 262678"/>
              <a:gd name="T45" fmla="*/ 1090431 h 291382"/>
              <a:gd name="T46" fmla="*/ 2555188 w 262678"/>
              <a:gd name="T47" fmla="*/ 348955 h 291382"/>
              <a:gd name="T48" fmla="*/ 4434703 w 262678"/>
              <a:gd name="T49" fmla="*/ 959585 h 291382"/>
              <a:gd name="T50" fmla="*/ 1129025 w 262678"/>
              <a:gd name="T51" fmla="*/ 203560 h 291382"/>
              <a:gd name="T52" fmla="*/ 1333785 w 262678"/>
              <a:gd name="T53" fmla="*/ 203560 h 291382"/>
              <a:gd name="T54" fmla="*/ 2555188 w 262678"/>
              <a:gd name="T55" fmla="*/ 0 h 291382"/>
              <a:gd name="T56" fmla="*/ 3001269 w 262678"/>
              <a:gd name="T57" fmla="*/ 1068628 h 291382"/>
              <a:gd name="T58" fmla="*/ 3425467 w 262678"/>
              <a:gd name="T59" fmla="*/ 1046802 h 291382"/>
              <a:gd name="T60" fmla="*/ 4054454 w 262678"/>
              <a:gd name="T61" fmla="*/ 0 h 291382"/>
              <a:gd name="T62" fmla="*/ 4683387 w 262678"/>
              <a:gd name="T63" fmla="*/ 1046802 h 291382"/>
              <a:gd name="T64" fmla="*/ 5319657 w 262678"/>
              <a:gd name="T65" fmla="*/ 2653429 h 291382"/>
              <a:gd name="T66" fmla="*/ 4763829 w 262678"/>
              <a:gd name="T67" fmla="*/ 5306841 h 291382"/>
              <a:gd name="T68" fmla="*/ 4112916 w 262678"/>
              <a:gd name="T69" fmla="*/ 5895691 h 291382"/>
              <a:gd name="T70" fmla="*/ 1136338 w 262678"/>
              <a:gd name="T71" fmla="*/ 5306841 h 291382"/>
              <a:gd name="T72" fmla="*/ 2690 w 262678"/>
              <a:gd name="T73" fmla="*/ 2733402 h 291382"/>
              <a:gd name="T74" fmla="*/ 785270 w 262678"/>
              <a:gd name="T75" fmla="*/ 2624359 h 291382"/>
              <a:gd name="T76" fmla="*/ 485429 w 262678"/>
              <a:gd name="T77" fmla="*/ 1831942 h 291382"/>
              <a:gd name="T78" fmla="*/ 302577 w 262678"/>
              <a:gd name="T79" fmla="*/ 1090431 h 291382"/>
              <a:gd name="T80" fmla="*/ 946200 w 262678"/>
              <a:gd name="T81" fmla="*/ 145424 h 291382"/>
              <a:gd name="T82" fmla="*/ 1392300 w 262678"/>
              <a:gd name="T83" fmla="*/ 43583 h 291382"/>
              <a:gd name="T84" fmla="*/ 1509318 w 262678"/>
              <a:gd name="T85" fmla="*/ 537962 h 291382"/>
              <a:gd name="T86" fmla="*/ 1684821 w 262678"/>
              <a:gd name="T87" fmla="*/ 2624359 h 291382"/>
              <a:gd name="T88" fmla="*/ 2109037 w 262678"/>
              <a:gd name="T89" fmla="*/ 1025021 h 2913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62678" h="291382">
                <a:moveTo>
                  <a:pt x="64936" y="262280"/>
                </a:moveTo>
                <a:lnTo>
                  <a:pt x="64936" y="283118"/>
                </a:lnTo>
                <a:lnTo>
                  <a:pt x="96617" y="283118"/>
                </a:lnTo>
                <a:lnTo>
                  <a:pt x="96617" y="275214"/>
                </a:lnTo>
                <a:cubicBezTo>
                  <a:pt x="96617" y="272699"/>
                  <a:pt x="98777" y="271262"/>
                  <a:pt x="101657" y="271262"/>
                </a:cubicBezTo>
                <a:cubicBezTo>
                  <a:pt x="104177" y="271262"/>
                  <a:pt x="105617" y="272699"/>
                  <a:pt x="105617" y="275214"/>
                </a:cubicBezTo>
                <a:lnTo>
                  <a:pt x="105617" y="283118"/>
                </a:lnTo>
                <a:lnTo>
                  <a:pt x="197779" y="283118"/>
                </a:lnTo>
                <a:lnTo>
                  <a:pt x="197779" y="262280"/>
                </a:lnTo>
                <a:lnTo>
                  <a:pt x="64936" y="262280"/>
                </a:lnTo>
                <a:close/>
                <a:moveTo>
                  <a:pt x="97834" y="151178"/>
                </a:moveTo>
                <a:cubicBezTo>
                  <a:pt x="100398" y="150454"/>
                  <a:pt x="102596" y="152627"/>
                  <a:pt x="102596" y="155162"/>
                </a:cubicBezTo>
                <a:lnTo>
                  <a:pt x="106993" y="240634"/>
                </a:lnTo>
                <a:cubicBezTo>
                  <a:pt x="107359" y="242807"/>
                  <a:pt x="105527" y="245342"/>
                  <a:pt x="102963" y="245342"/>
                </a:cubicBezTo>
                <a:cubicBezTo>
                  <a:pt x="100398" y="245342"/>
                  <a:pt x="98566" y="243531"/>
                  <a:pt x="97834" y="240996"/>
                </a:cubicBezTo>
                <a:lnTo>
                  <a:pt x="93437" y="155524"/>
                </a:lnTo>
                <a:cubicBezTo>
                  <a:pt x="93437" y="152989"/>
                  <a:pt x="95635" y="151178"/>
                  <a:pt x="97834" y="151178"/>
                </a:cubicBezTo>
                <a:close/>
                <a:moveTo>
                  <a:pt x="9495" y="138685"/>
                </a:moveTo>
                <a:lnTo>
                  <a:pt x="31455" y="253297"/>
                </a:lnTo>
                <a:lnTo>
                  <a:pt x="231260" y="253297"/>
                </a:lnTo>
                <a:lnTo>
                  <a:pt x="252860" y="138685"/>
                </a:lnTo>
                <a:lnTo>
                  <a:pt x="9495" y="138685"/>
                </a:lnTo>
                <a:close/>
                <a:moveTo>
                  <a:pt x="112097" y="107068"/>
                </a:moveTo>
                <a:lnTo>
                  <a:pt x="112097" y="129703"/>
                </a:lnTo>
                <a:lnTo>
                  <a:pt x="138738" y="129703"/>
                </a:lnTo>
                <a:lnTo>
                  <a:pt x="138738" y="107068"/>
                </a:lnTo>
                <a:lnTo>
                  <a:pt x="133698" y="109223"/>
                </a:lnTo>
                <a:cubicBezTo>
                  <a:pt x="131538" y="110660"/>
                  <a:pt x="128658" y="111379"/>
                  <a:pt x="125778" y="111379"/>
                </a:cubicBezTo>
                <a:cubicBezTo>
                  <a:pt x="122538" y="111379"/>
                  <a:pt x="119658" y="110660"/>
                  <a:pt x="117137" y="109223"/>
                </a:cubicBezTo>
                <a:lnTo>
                  <a:pt x="112097" y="107068"/>
                </a:lnTo>
                <a:close/>
                <a:moveTo>
                  <a:pt x="55936" y="96289"/>
                </a:moveTo>
                <a:lnTo>
                  <a:pt x="47656" y="100960"/>
                </a:lnTo>
                <a:lnTo>
                  <a:pt x="47656" y="129703"/>
                </a:lnTo>
                <a:lnTo>
                  <a:pt x="73936" y="129703"/>
                </a:lnTo>
                <a:lnTo>
                  <a:pt x="73936" y="100960"/>
                </a:lnTo>
                <a:lnTo>
                  <a:pt x="65296" y="96289"/>
                </a:lnTo>
                <a:cubicBezTo>
                  <a:pt x="62056" y="94852"/>
                  <a:pt x="58816" y="94852"/>
                  <a:pt x="55936" y="96289"/>
                </a:cubicBezTo>
                <a:close/>
                <a:moveTo>
                  <a:pt x="112097" y="59642"/>
                </a:moveTo>
                <a:lnTo>
                  <a:pt x="112097" y="97008"/>
                </a:lnTo>
                <a:lnTo>
                  <a:pt x="121098" y="101678"/>
                </a:lnTo>
                <a:cubicBezTo>
                  <a:pt x="123978" y="102756"/>
                  <a:pt x="127218" y="102756"/>
                  <a:pt x="130098" y="101678"/>
                </a:cubicBezTo>
                <a:lnTo>
                  <a:pt x="138738" y="97008"/>
                </a:lnTo>
                <a:lnTo>
                  <a:pt x="138738" y="59642"/>
                </a:lnTo>
                <a:lnTo>
                  <a:pt x="133698" y="62157"/>
                </a:lnTo>
                <a:cubicBezTo>
                  <a:pt x="131538" y="63594"/>
                  <a:pt x="128658" y="64313"/>
                  <a:pt x="125778" y="64313"/>
                </a:cubicBezTo>
                <a:cubicBezTo>
                  <a:pt x="122538" y="64313"/>
                  <a:pt x="119658" y="63594"/>
                  <a:pt x="117137" y="62157"/>
                </a:cubicBezTo>
                <a:lnTo>
                  <a:pt x="112097" y="59642"/>
                </a:lnTo>
                <a:close/>
                <a:moveTo>
                  <a:pt x="203899" y="56049"/>
                </a:moveTo>
                <a:lnTo>
                  <a:pt x="203899" y="129703"/>
                </a:lnTo>
                <a:lnTo>
                  <a:pt x="221899" y="129703"/>
                </a:lnTo>
                <a:lnTo>
                  <a:pt x="221539" y="56049"/>
                </a:lnTo>
                <a:lnTo>
                  <a:pt x="203899" y="56049"/>
                </a:lnTo>
                <a:close/>
                <a:moveTo>
                  <a:pt x="177619" y="56049"/>
                </a:moveTo>
                <a:lnTo>
                  <a:pt x="177619" y="129703"/>
                </a:lnTo>
                <a:lnTo>
                  <a:pt x="194899" y="129703"/>
                </a:lnTo>
                <a:lnTo>
                  <a:pt x="194899" y="56049"/>
                </a:lnTo>
                <a:lnTo>
                  <a:pt x="177619" y="56049"/>
                </a:lnTo>
                <a:close/>
                <a:moveTo>
                  <a:pt x="55936" y="31617"/>
                </a:moveTo>
                <a:lnTo>
                  <a:pt x="47656" y="36288"/>
                </a:lnTo>
                <a:lnTo>
                  <a:pt x="47656" y="90540"/>
                </a:lnTo>
                <a:lnTo>
                  <a:pt x="51976" y="88744"/>
                </a:lnTo>
                <a:cubicBezTo>
                  <a:pt x="57736" y="85870"/>
                  <a:pt x="63856" y="85870"/>
                  <a:pt x="69256" y="88744"/>
                </a:cubicBezTo>
                <a:lnTo>
                  <a:pt x="73936" y="90540"/>
                </a:lnTo>
                <a:lnTo>
                  <a:pt x="73936" y="36288"/>
                </a:lnTo>
                <a:lnTo>
                  <a:pt x="65296" y="31617"/>
                </a:lnTo>
                <a:cubicBezTo>
                  <a:pt x="62056" y="30180"/>
                  <a:pt x="58816" y="30180"/>
                  <a:pt x="55936" y="31617"/>
                </a:cubicBezTo>
                <a:close/>
                <a:moveTo>
                  <a:pt x="125778" y="17246"/>
                </a:moveTo>
                <a:lnTo>
                  <a:pt x="113537" y="50300"/>
                </a:lnTo>
                <a:lnTo>
                  <a:pt x="121098" y="53893"/>
                </a:lnTo>
                <a:cubicBezTo>
                  <a:pt x="123978" y="56049"/>
                  <a:pt x="127218" y="56049"/>
                  <a:pt x="130098" y="53893"/>
                </a:cubicBezTo>
                <a:lnTo>
                  <a:pt x="138018" y="50300"/>
                </a:lnTo>
                <a:lnTo>
                  <a:pt x="125778" y="17246"/>
                </a:lnTo>
                <a:close/>
                <a:moveTo>
                  <a:pt x="199579" y="13653"/>
                </a:moveTo>
                <a:lnTo>
                  <a:pt x="180859" y="47426"/>
                </a:lnTo>
                <a:lnTo>
                  <a:pt x="218299" y="47426"/>
                </a:lnTo>
                <a:lnTo>
                  <a:pt x="199579" y="13653"/>
                </a:lnTo>
                <a:close/>
                <a:moveTo>
                  <a:pt x="56296" y="9701"/>
                </a:moveTo>
                <a:lnTo>
                  <a:pt x="55576" y="10060"/>
                </a:lnTo>
                <a:lnTo>
                  <a:pt x="55576" y="22276"/>
                </a:lnTo>
                <a:cubicBezTo>
                  <a:pt x="58816" y="21557"/>
                  <a:pt x="62056" y="21557"/>
                  <a:pt x="65656" y="22276"/>
                </a:cubicBezTo>
                <a:lnTo>
                  <a:pt x="65656" y="10060"/>
                </a:lnTo>
                <a:lnTo>
                  <a:pt x="64936" y="9701"/>
                </a:lnTo>
                <a:cubicBezTo>
                  <a:pt x="62056" y="8623"/>
                  <a:pt x="58816" y="8623"/>
                  <a:pt x="56296" y="9701"/>
                </a:cubicBezTo>
                <a:close/>
                <a:moveTo>
                  <a:pt x="125778" y="0"/>
                </a:moveTo>
                <a:cubicBezTo>
                  <a:pt x="127218" y="0"/>
                  <a:pt x="129018" y="1078"/>
                  <a:pt x="129738" y="2875"/>
                </a:cubicBezTo>
                <a:lnTo>
                  <a:pt x="147738" y="50660"/>
                </a:lnTo>
                <a:cubicBezTo>
                  <a:pt x="147738" y="51378"/>
                  <a:pt x="147738" y="52097"/>
                  <a:pt x="147738" y="52815"/>
                </a:cubicBezTo>
                <a:lnTo>
                  <a:pt x="147738" y="129703"/>
                </a:lnTo>
                <a:lnTo>
                  <a:pt x="168618" y="129703"/>
                </a:lnTo>
                <a:lnTo>
                  <a:pt x="168618" y="51737"/>
                </a:lnTo>
                <a:cubicBezTo>
                  <a:pt x="168618" y="50660"/>
                  <a:pt x="168978" y="49941"/>
                  <a:pt x="168978" y="49582"/>
                </a:cubicBezTo>
                <a:lnTo>
                  <a:pt x="195259" y="2515"/>
                </a:lnTo>
                <a:cubicBezTo>
                  <a:pt x="196339" y="719"/>
                  <a:pt x="197779" y="0"/>
                  <a:pt x="199579" y="0"/>
                </a:cubicBezTo>
                <a:cubicBezTo>
                  <a:pt x="200659" y="0"/>
                  <a:pt x="202819" y="719"/>
                  <a:pt x="203179" y="2515"/>
                </a:cubicBezTo>
                <a:lnTo>
                  <a:pt x="229820" y="49582"/>
                </a:lnTo>
                <a:cubicBezTo>
                  <a:pt x="229820" y="49941"/>
                  <a:pt x="230540" y="50660"/>
                  <a:pt x="230540" y="51737"/>
                </a:cubicBezTo>
                <a:lnTo>
                  <a:pt x="230540" y="129703"/>
                </a:lnTo>
                <a:lnTo>
                  <a:pt x="258260" y="129703"/>
                </a:lnTo>
                <a:cubicBezTo>
                  <a:pt x="259340" y="129703"/>
                  <a:pt x="260420" y="130062"/>
                  <a:pt x="261860" y="131140"/>
                </a:cubicBezTo>
                <a:cubicBezTo>
                  <a:pt x="262220" y="132577"/>
                  <a:pt x="262940" y="133655"/>
                  <a:pt x="262580" y="135092"/>
                </a:cubicBezTo>
                <a:lnTo>
                  <a:pt x="238820" y="258687"/>
                </a:lnTo>
                <a:cubicBezTo>
                  <a:pt x="238460" y="260483"/>
                  <a:pt x="236660" y="262280"/>
                  <a:pt x="234500" y="262280"/>
                </a:cubicBezTo>
                <a:lnTo>
                  <a:pt x="206779" y="262280"/>
                </a:lnTo>
                <a:lnTo>
                  <a:pt x="206779" y="287430"/>
                </a:lnTo>
                <a:cubicBezTo>
                  <a:pt x="206779" y="289945"/>
                  <a:pt x="204259" y="291382"/>
                  <a:pt x="202459" y="291382"/>
                </a:cubicBezTo>
                <a:lnTo>
                  <a:pt x="60616" y="291382"/>
                </a:lnTo>
                <a:cubicBezTo>
                  <a:pt x="58096" y="291382"/>
                  <a:pt x="55936" y="289945"/>
                  <a:pt x="55936" y="287430"/>
                </a:cubicBezTo>
                <a:lnTo>
                  <a:pt x="55936" y="262280"/>
                </a:lnTo>
                <a:lnTo>
                  <a:pt x="27855" y="262280"/>
                </a:lnTo>
                <a:cubicBezTo>
                  <a:pt x="26055" y="262280"/>
                  <a:pt x="24255" y="260483"/>
                  <a:pt x="23535" y="258687"/>
                </a:cubicBezTo>
                <a:lnTo>
                  <a:pt x="135" y="135092"/>
                </a:lnTo>
                <a:cubicBezTo>
                  <a:pt x="-225" y="133655"/>
                  <a:pt x="135" y="132577"/>
                  <a:pt x="1215" y="131140"/>
                </a:cubicBezTo>
                <a:cubicBezTo>
                  <a:pt x="1935" y="130062"/>
                  <a:pt x="3015" y="129703"/>
                  <a:pt x="4455" y="129703"/>
                </a:cubicBezTo>
                <a:lnTo>
                  <a:pt x="38655" y="129703"/>
                </a:lnTo>
                <a:lnTo>
                  <a:pt x="38655" y="38444"/>
                </a:lnTo>
                <a:cubicBezTo>
                  <a:pt x="30015" y="40240"/>
                  <a:pt x="23895" y="46348"/>
                  <a:pt x="23895" y="53893"/>
                </a:cubicBezTo>
                <a:lnTo>
                  <a:pt x="23895" y="90540"/>
                </a:lnTo>
                <a:cubicBezTo>
                  <a:pt x="23895" y="93055"/>
                  <a:pt x="21735" y="95211"/>
                  <a:pt x="19215" y="95211"/>
                </a:cubicBezTo>
                <a:cubicBezTo>
                  <a:pt x="17055" y="95211"/>
                  <a:pt x="14895" y="93055"/>
                  <a:pt x="14895" y="90540"/>
                </a:cubicBezTo>
                <a:lnTo>
                  <a:pt x="14895" y="53893"/>
                </a:lnTo>
                <a:cubicBezTo>
                  <a:pt x="14895" y="40600"/>
                  <a:pt x="26775" y="29821"/>
                  <a:pt x="41896" y="29102"/>
                </a:cubicBezTo>
                <a:lnTo>
                  <a:pt x="46576" y="26587"/>
                </a:lnTo>
                <a:lnTo>
                  <a:pt x="46576" y="7186"/>
                </a:lnTo>
                <a:cubicBezTo>
                  <a:pt x="46576" y="5749"/>
                  <a:pt x="48016" y="4312"/>
                  <a:pt x="49456" y="3593"/>
                </a:cubicBezTo>
                <a:lnTo>
                  <a:pt x="52336" y="2156"/>
                </a:lnTo>
                <a:cubicBezTo>
                  <a:pt x="57736" y="-359"/>
                  <a:pt x="63856" y="-359"/>
                  <a:pt x="68536" y="2156"/>
                </a:cubicBezTo>
                <a:lnTo>
                  <a:pt x="71776" y="3593"/>
                </a:lnTo>
                <a:cubicBezTo>
                  <a:pt x="73576" y="4312"/>
                  <a:pt x="74296" y="5749"/>
                  <a:pt x="74296" y="7186"/>
                </a:cubicBezTo>
                <a:lnTo>
                  <a:pt x="74296" y="26587"/>
                </a:lnTo>
                <a:lnTo>
                  <a:pt x="80416" y="29821"/>
                </a:lnTo>
                <a:cubicBezTo>
                  <a:pt x="82216" y="30540"/>
                  <a:pt x="82936" y="31617"/>
                  <a:pt x="82936" y="33414"/>
                </a:cubicBezTo>
                <a:lnTo>
                  <a:pt x="82936" y="129703"/>
                </a:lnTo>
                <a:lnTo>
                  <a:pt x="103457" y="129703"/>
                </a:lnTo>
                <a:lnTo>
                  <a:pt x="103457" y="52815"/>
                </a:lnTo>
                <a:cubicBezTo>
                  <a:pt x="103457" y="52097"/>
                  <a:pt x="103457" y="51378"/>
                  <a:pt x="103817" y="50660"/>
                </a:cubicBezTo>
                <a:lnTo>
                  <a:pt x="121098" y="2875"/>
                </a:lnTo>
                <a:cubicBezTo>
                  <a:pt x="122178" y="1078"/>
                  <a:pt x="123618" y="0"/>
                  <a:pt x="125778" y="0"/>
                </a:cubicBezTo>
                <a:close/>
              </a:path>
            </a:pathLst>
          </a:custGeom>
          <a:solidFill>
            <a:schemeClr val="bg1"/>
          </a:solidFill>
          <a:ln>
            <a:noFill/>
          </a:ln>
          <a:effectLst/>
        </p:spPr>
        <p:txBody>
          <a:bodyPr anchor="ctr"/>
          <a:lstStyle/>
          <a:p>
            <a:endParaRPr lang="en-US" sz="900" dirty="0"/>
          </a:p>
        </p:txBody>
      </p:sp>
      <p:sp>
        <p:nvSpPr>
          <p:cNvPr id="37" name="Freeform 995">
            <a:extLst>
              <a:ext uri="{FF2B5EF4-FFF2-40B4-BE49-F238E27FC236}">
                <a16:creationId xmlns:a16="http://schemas.microsoft.com/office/drawing/2014/main" id="{B360C764-2723-914C-9699-86EAFD5851BC}"/>
              </a:ext>
            </a:extLst>
          </p:cNvPr>
          <p:cNvSpPr>
            <a:spLocks noChangeAspect="1" noChangeArrowheads="1"/>
          </p:cNvSpPr>
          <p:nvPr/>
        </p:nvSpPr>
        <p:spPr bwMode="auto">
          <a:xfrm>
            <a:off x="8453307" y="3726144"/>
            <a:ext cx="528754" cy="527170"/>
          </a:xfrm>
          <a:custGeom>
            <a:avLst/>
            <a:gdLst>
              <a:gd name="T0" fmla="*/ 870300 w 291739"/>
              <a:gd name="T1" fmla="*/ 5583938 h 291741"/>
              <a:gd name="T2" fmla="*/ 1172429 w 291739"/>
              <a:gd name="T3" fmla="*/ 3605616 h 291741"/>
              <a:gd name="T4" fmla="*/ 1481711 w 291739"/>
              <a:gd name="T5" fmla="*/ 5583938 h 291741"/>
              <a:gd name="T6" fmla="*/ 654579 w 291739"/>
              <a:gd name="T7" fmla="*/ 3385794 h 291741"/>
              <a:gd name="T8" fmla="*/ 4524677 w 291739"/>
              <a:gd name="T9" fmla="*/ 3350280 h 291741"/>
              <a:gd name="T10" fmla="*/ 3644465 w 291739"/>
              <a:gd name="T11" fmla="*/ 3350280 h 291741"/>
              <a:gd name="T12" fmla="*/ 1260313 w 291739"/>
              <a:gd name="T13" fmla="*/ 2788517 h 291741"/>
              <a:gd name="T14" fmla="*/ 1077489 w 291739"/>
              <a:gd name="T15" fmla="*/ 2840092 h 291741"/>
              <a:gd name="T16" fmla="*/ 1172568 w 291739"/>
              <a:gd name="T17" fmla="*/ 2160457 h 291741"/>
              <a:gd name="T18" fmla="*/ 1172568 w 291739"/>
              <a:gd name="T19" fmla="*/ 2466455 h 291741"/>
              <a:gd name="T20" fmla="*/ 1172568 w 291739"/>
              <a:gd name="T21" fmla="*/ 2160457 h 291741"/>
              <a:gd name="T22" fmla="*/ 1260313 w 291739"/>
              <a:gd name="T23" fmla="*/ 1877940 h 291741"/>
              <a:gd name="T24" fmla="*/ 1077489 w 291739"/>
              <a:gd name="T25" fmla="*/ 1746873 h 291741"/>
              <a:gd name="T26" fmla="*/ 4904520 w 291739"/>
              <a:gd name="T27" fmla="*/ 1612185 h 291741"/>
              <a:gd name="T28" fmla="*/ 4721979 w 291739"/>
              <a:gd name="T29" fmla="*/ 3007716 h 291741"/>
              <a:gd name="T30" fmla="*/ 3390905 w 291739"/>
              <a:gd name="T31" fmla="*/ 1534241 h 291741"/>
              <a:gd name="T32" fmla="*/ 3390905 w 291739"/>
              <a:gd name="T33" fmla="*/ 3092708 h 291741"/>
              <a:gd name="T34" fmla="*/ 3390905 w 291739"/>
              <a:gd name="T35" fmla="*/ 1534241 h 291741"/>
              <a:gd name="T36" fmla="*/ 4524677 w 291739"/>
              <a:gd name="T37" fmla="*/ 1245223 h 291741"/>
              <a:gd name="T38" fmla="*/ 3644465 w 291739"/>
              <a:gd name="T39" fmla="*/ 1245223 h 291741"/>
              <a:gd name="T40" fmla="*/ 5744731 w 291739"/>
              <a:gd name="T41" fmla="*/ 469626 h 291741"/>
              <a:gd name="T42" fmla="*/ 5593469 w 291739"/>
              <a:gd name="T43" fmla="*/ 646752 h 291741"/>
              <a:gd name="T44" fmla="*/ 5823931 w 291739"/>
              <a:gd name="T45" fmla="*/ 4046937 h 291741"/>
              <a:gd name="T46" fmla="*/ 5226144 w 291739"/>
              <a:gd name="T47" fmla="*/ 5640797 h 291741"/>
              <a:gd name="T48" fmla="*/ 5067690 w 291739"/>
              <a:gd name="T49" fmla="*/ 5697462 h 291741"/>
              <a:gd name="T50" fmla="*/ 4174565 w 291739"/>
              <a:gd name="T51" fmla="*/ 5669129 h 291741"/>
              <a:gd name="T52" fmla="*/ 4001715 w 291739"/>
              <a:gd name="T53" fmla="*/ 4139058 h 291741"/>
              <a:gd name="T54" fmla="*/ 3022160 w 291739"/>
              <a:gd name="T55" fmla="*/ 5754125 h 291741"/>
              <a:gd name="T56" fmla="*/ 3483103 w 291739"/>
              <a:gd name="T57" fmla="*/ 4139058 h 291741"/>
              <a:gd name="T58" fmla="*/ 2431548 w 291739"/>
              <a:gd name="T59" fmla="*/ 3961930 h 291741"/>
              <a:gd name="T60" fmla="*/ 2662044 w 291739"/>
              <a:gd name="T61" fmla="*/ 1525155 h 291741"/>
              <a:gd name="T62" fmla="*/ 5413413 w 291739"/>
              <a:gd name="T63" fmla="*/ 3961930 h 291741"/>
              <a:gd name="T64" fmla="*/ 3403904 w 291739"/>
              <a:gd name="T65" fmla="*/ 561742 h 291741"/>
              <a:gd name="T66" fmla="*/ 1985214 w 291739"/>
              <a:gd name="T67" fmla="*/ 1208969 h 291741"/>
              <a:gd name="T68" fmla="*/ 1172429 w 291739"/>
              <a:gd name="T69" fmla="*/ 1428733 h 291741"/>
              <a:gd name="T70" fmla="*/ 179802 w 291739"/>
              <a:gd name="T71" fmla="*/ 1761996 h 291741"/>
              <a:gd name="T72" fmla="*/ 474712 w 291739"/>
              <a:gd name="T73" fmla="*/ 3322004 h 291741"/>
              <a:gd name="T74" fmla="*/ 654579 w 291739"/>
              <a:gd name="T75" fmla="*/ 1840021 h 291741"/>
              <a:gd name="T76" fmla="*/ 1690303 w 291739"/>
              <a:gd name="T77" fmla="*/ 2130737 h 291741"/>
              <a:gd name="T78" fmla="*/ 3020957 w 291739"/>
              <a:gd name="T79" fmla="*/ 542406 h 291741"/>
              <a:gd name="T80" fmla="*/ 2866338 w 291739"/>
              <a:gd name="T81" fmla="*/ 218050 h 291741"/>
              <a:gd name="T82" fmla="*/ 3100078 w 291739"/>
              <a:gd name="T83" fmla="*/ 769293 h 291741"/>
              <a:gd name="T84" fmla="*/ 1870105 w 291739"/>
              <a:gd name="T85" fmla="*/ 5378336 h 291741"/>
              <a:gd name="T86" fmla="*/ 870300 w 291739"/>
              <a:gd name="T87" fmla="*/ 5754125 h 291741"/>
              <a:gd name="T88" fmla="*/ 323661 w 291739"/>
              <a:gd name="T89" fmla="*/ 3648162 h 291741"/>
              <a:gd name="T90" fmla="*/ 561055 w 291739"/>
              <a:gd name="T91" fmla="*/ 1194797 h 291741"/>
              <a:gd name="T92" fmla="*/ 2632563 w 291739"/>
              <a:gd name="T93" fmla="*/ 308383 h 291741"/>
              <a:gd name="T94" fmla="*/ 830979 w 291739"/>
              <a:gd name="T95" fmla="*/ 500932 h 291741"/>
              <a:gd name="T96" fmla="*/ 1169000 w 291739"/>
              <a:gd name="T97" fmla="*/ 176403 h 291741"/>
              <a:gd name="T98" fmla="*/ 1169000 w 291739"/>
              <a:gd name="T99" fmla="*/ 994856 h 29174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91739" h="291741">
                <a:moveTo>
                  <a:pt x="32788" y="171664"/>
                </a:moveTo>
                <a:lnTo>
                  <a:pt x="32788" y="272687"/>
                </a:lnTo>
                <a:cubicBezTo>
                  <a:pt x="32788" y="278439"/>
                  <a:pt x="37472" y="283112"/>
                  <a:pt x="43597" y="283112"/>
                </a:cubicBezTo>
                <a:cubicBezTo>
                  <a:pt x="49723" y="283112"/>
                  <a:pt x="54046" y="278439"/>
                  <a:pt x="54046" y="272687"/>
                </a:cubicBezTo>
                <a:lnTo>
                  <a:pt x="54046" y="187123"/>
                </a:lnTo>
                <a:cubicBezTo>
                  <a:pt x="54046" y="184966"/>
                  <a:pt x="56208" y="182809"/>
                  <a:pt x="58730" y="182809"/>
                </a:cubicBezTo>
                <a:cubicBezTo>
                  <a:pt x="60892" y="182809"/>
                  <a:pt x="63054" y="184966"/>
                  <a:pt x="63054" y="187123"/>
                </a:cubicBezTo>
                <a:lnTo>
                  <a:pt x="63054" y="272687"/>
                </a:lnTo>
                <a:cubicBezTo>
                  <a:pt x="63054" y="278439"/>
                  <a:pt x="68098" y="283112"/>
                  <a:pt x="74224" y="283112"/>
                </a:cubicBezTo>
                <a:cubicBezTo>
                  <a:pt x="79989" y="283112"/>
                  <a:pt x="84673" y="278439"/>
                  <a:pt x="84673" y="272687"/>
                </a:cubicBezTo>
                <a:lnTo>
                  <a:pt x="84673" y="171664"/>
                </a:lnTo>
                <a:lnTo>
                  <a:pt x="32788" y="171664"/>
                </a:lnTo>
                <a:close/>
                <a:moveTo>
                  <a:pt x="186865" y="165100"/>
                </a:moveTo>
                <a:lnTo>
                  <a:pt x="222353" y="165100"/>
                </a:lnTo>
                <a:cubicBezTo>
                  <a:pt x="224504" y="165100"/>
                  <a:pt x="226655" y="167298"/>
                  <a:pt x="226655" y="169863"/>
                </a:cubicBezTo>
                <a:cubicBezTo>
                  <a:pt x="226655" y="172061"/>
                  <a:pt x="224504" y="174259"/>
                  <a:pt x="222353" y="174259"/>
                </a:cubicBezTo>
                <a:lnTo>
                  <a:pt x="186865" y="174259"/>
                </a:lnTo>
                <a:cubicBezTo>
                  <a:pt x="184356" y="174259"/>
                  <a:pt x="182563" y="172061"/>
                  <a:pt x="182563" y="169863"/>
                </a:cubicBezTo>
                <a:cubicBezTo>
                  <a:pt x="182563" y="167298"/>
                  <a:pt x="184356" y="165100"/>
                  <a:pt x="186865" y="165100"/>
                </a:cubicBezTo>
                <a:close/>
                <a:moveTo>
                  <a:pt x="58737" y="136525"/>
                </a:moveTo>
                <a:cubicBezTo>
                  <a:pt x="60935" y="136525"/>
                  <a:pt x="63133" y="138766"/>
                  <a:pt x="63133" y="141381"/>
                </a:cubicBezTo>
                <a:lnTo>
                  <a:pt x="63133" y="143996"/>
                </a:lnTo>
                <a:cubicBezTo>
                  <a:pt x="63133" y="146610"/>
                  <a:pt x="60935" y="148852"/>
                  <a:pt x="58737" y="148852"/>
                </a:cubicBezTo>
                <a:cubicBezTo>
                  <a:pt x="56173" y="148852"/>
                  <a:pt x="53975" y="146610"/>
                  <a:pt x="53975" y="143996"/>
                </a:cubicBezTo>
                <a:lnTo>
                  <a:pt x="53975" y="141381"/>
                </a:lnTo>
                <a:cubicBezTo>
                  <a:pt x="53975" y="138766"/>
                  <a:pt x="56173" y="136525"/>
                  <a:pt x="58737" y="136525"/>
                </a:cubicBezTo>
                <a:close/>
                <a:moveTo>
                  <a:pt x="58737" y="109538"/>
                </a:moveTo>
                <a:cubicBezTo>
                  <a:pt x="60935" y="109538"/>
                  <a:pt x="63133" y="111703"/>
                  <a:pt x="63133" y="114228"/>
                </a:cubicBezTo>
                <a:lnTo>
                  <a:pt x="63133" y="121084"/>
                </a:lnTo>
                <a:cubicBezTo>
                  <a:pt x="63133" y="123248"/>
                  <a:pt x="60935" y="125052"/>
                  <a:pt x="58737" y="125052"/>
                </a:cubicBezTo>
                <a:cubicBezTo>
                  <a:pt x="56173" y="125052"/>
                  <a:pt x="53975" y="123248"/>
                  <a:pt x="53975" y="121084"/>
                </a:cubicBezTo>
                <a:lnTo>
                  <a:pt x="53975" y="114228"/>
                </a:lnTo>
                <a:cubicBezTo>
                  <a:pt x="53975" y="111703"/>
                  <a:pt x="56173" y="109538"/>
                  <a:pt x="58737" y="109538"/>
                </a:cubicBezTo>
                <a:close/>
                <a:moveTo>
                  <a:pt x="58737" y="84138"/>
                </a:moveTo>
                <a:cubicBezTo>
                  <a:pt x="60935" y="84138"/>
                  <a:pt x="63133" y="86353"/>
                  <a:pt x="63133" y="88568"/>
                </a:cubicBezTo>
                <a:lnTo>
                  <a:pt x="63133" y="95214"/>
                </a:lnTo>
                <a:cubicBezTo>
                  <a:pt x="63133" y="97798"/>
                  <a:pt x="60935" y="99644"/>
                  <a:pt x="58737" y="99644"/>
                </a:cubicBezTo>
                <a:cubicBezTo>
                  <a:pt x="56173" y="99644"/>
                  <a:pt x="53975" y="97798"/>
                  <a:pt x="53975" y="95214"/>
                </a:cubicBezTo>
                <a:lnTo>
                  <a:pt x="53975" y="88568"/>
                </a:lnTo>
                <a:cubicBezTo>
                  <a:pt x="53975" y="86353"/>
                  <a:pt x="56173" y="84138"/>
                  <a:pt x="58737" y="84138"/>
                </a:cubicBezTo>
                <a:close/>
                <a:moveTo>
                  <a:pt x="240729" y="77788"/>
                </a:moveTo>
                <a:cubicBezTo>
                  <a:pt x="243396" y="77788"/>
                  <a:pt x="245682" y="79225"/>
                  <a:pt x="245682" y="81739"/>
                </a:cubicBezTo>
                <a:lnTo>
                  <a:pt x="245682" y="152494"/>
                </a:lnTo>
                <a:cubicBezTo>
                  <a:pt x="245682" y="155008"/>
                  <a:pt x="243396" y="156804"/>
                  <a:pt x="240729" y="156804"/>
                </a:cubicBezTo>
                <a:cubicBezTo>
                  <a:pt x="238824" y="156804"/>
                  <a:pt x="236538" y="155008"/>
                  <a:pt x="236538" y="152494"/>
                </a:cubicBezTo>
                <a:lnTo>
                  <a:pt x="236538" y="81739"/>
                </a:lnTo>
                <a:cubicBezTo>
                  <a:pt x="236538" y="79225"/>
                  <a:pt x="238824" y="77788"/>
                  <a:pt x="240729" y="77788"/>
                </a:cubicBezTo>
                <a:close/>
                <a:moveTo>
                  <a:pt x="169862" y="77788"/>
                </a:moveTo>
                <a:cubicBezTo>
                  <a:pt x="171694" y="77788"/>
                  <a:pt x="174258" y="79225"/>
                  <a:pt x="174258" y="81739"/>
                </a:cubicBezTo>
                <a:lnTo>
                  <a:pt x="174258" y="152494"/>
                </a:lnTo>
                <a:cubicBezTo>
                  <a:pt x="174258" y="155008"/>
                  <a:pt x="171694" y="156804"/>
                  <a:pt x="169862" y="156804"/>
                </a:cubicBezTo>
                <a:cubicBezTo>
                  <a:pt x="167298" y="156804"/>
                  <a:pt x="165100" y="155008"/>
                  <a:pt x="165100" y="152494"/>
                </a:cubicBezTo>
                <a:lnTo>
                  <a:pt x="165100" y="81739"/>
                </a:lnTo>
                <a:cubicBezTo>
                  <a:pt x="165100" y="79225"/>
                  <a:pt x="167298" y="77788"/>
                  <a:pt x="169862" y="77788"/>
                </a:cubicBezTo>
                <a:close/>
                <a:moveTo>
                  <a:pt x="186865" y="58738"/>
                </a:moveTo>
                <a:lnTo>
                  <a:pt x="222353" y="58738"/>
                </a:lnTo>
                <a:cubicBezTo>
                  <a:pt x="224504" y="58738"/>
                  <a:pt x="226655" y="60936"/>
                  <a:pt x="226655" y="63134"/>
                </a:cubicBezTo>
                <a:cubicBezTo>
                  <a:pt x="226655" y="65699"/>
                  <a:pt x="224504" y="67897"/>
                  <a:pt x="222353" y="67897"/>
                </a:cubicBezTo>
                <a:lnTo>
                  <a:pt x="186865" y="67897"/>
                </a:lnTo>
                <a:cubicBezTo>
                  <a:pt x="184356" y="67897"/>
                  <a:pt x="182563" y="65699"/>
                  <a:pt x="182563" y="63134"/>
                </a:cubicBezTo>
                <a:cubicBezTo>
                  <a:pt x="182563" y="60936"/>
                  <a:pt x="184356" y="58738"/>
                  <a:pt x="186865" y="58738"/>
                </a:cubicBezTo>
                <a:close/>
                <a:moveTo>
                  <a:pt x="174841" y="23813"/>
                </a:moveTo>
                <a:lnTo>
                  <a:pt x="287771" y="23813"/>
                </a:lnTo>
                <a:cubicBezTo>
                  <a:pt x="289575" y="23813"/>
                  <a:pt x="291739" y="25968"/>
                  <a:pt x="291739" y="28482"/>
                </a:cubicBezTo>
                <a:cubicBezTo>
                  <a:pt x="291739" y="30996"/>
                  <a:pt x="289575" y="32792"/>
                  <a:pt x="287771" y="32792"/>
                </a:cubicBezTo>
                <a:lnTo>
                  <a:pt x="280194" y="32792"/>
                </a:lnTo>
                <a:lnTo>
                  <a:pt x="280194" y="200875"/>
                </a:lnTo>
                <a:lnTo>
                  <a:pt x="287771" y="200875"/>
                </a:lnTo>
                <a:cubicBezTo>
                  <a:pt x="289575" y="200875"/>
                  <a:pt x="291739" y="202671"/>
                  <a:pt x="291739" y="205185"/>
                </a:cubicBezTo>
                <a:cubicBezTo>
                  <a:pt x="291739" y="207699"/>
                  <a:pt x="289575" y="209854"/>
                  <a:pt x="287771" y="209854"/>
                </a:cubicBezTo>
                <a:lnTo>
                  <a:pt x="234734" y="209854"/>
                </a:lnTo>
                <a:lnTo>
                  <a:pt x="261793" y="285995"/>
                </a:lnTo>
                <a:cubicBezTo>
                  <a:pt x="262876" y="288149"/>
                  <a:pt x="261433" y="291023"/>
                  <a:pt x="259268" y="291741"/>
                </a:cubicBezTo>
                <a:cubicBezTo>
                  <a:pt x="258546" y="291741"/>
                  <a:pt x="258185" y="291741"/>
                  <a:pt x="257825" y="291741"/>
                </a:cubicBezTo>
                <a:cubicBezTo>
                  <a:pt x="256381" y="291741"/>
                  <a:pt x="254578" y="291023"/>
                  <a:pt x="253856" y="288868"/>
                </a:cubicBezTo>
                <a:lnTo>
                  <a:pt x="225353" y="209854"/>
                </a:lnTo>
                <a:lnTo>
                  <a:pt x="209117" y="209854"/>
                </a:lnTo>
                <a:lnTo>
                  <a:pt x="209117" y="287431"/>
                </a:lnTo>
                <a:cubicBezTo>
                  <a:pt x="209117" y="290304"/>
                  <a:pt x="206953" y="291741"/>
                  <a:pt x="204427" y="291741"/>
                </a:cubicBezTo>
                <a:cubicBezTo>
                  <a:pt x="202262" y="291741"/>
                  <a:pt x="200458" y="290304"/>
                  <a:pt x="200458" y="287431"/>
                </a:cubicBezTo>
                <a:lnTo>
                  <a:pt x="200458" y="209854"/>
                </a:lnTo>
                <a:lnTo>
                  <a:pt x="184222" y="209854"/>
                </a:lnTo>
                <a:lnTo>
                  <a:pt x="155719" y="288868"/>
                </a:lnTo>
                <a:cubicBezTo>
                  <a:pt x="154997" y="291023"/>
                  <a:pt x="153194" y="291741"/>
                  <a:pt x="151390" y="291741"/>
                </a:cubicBezTo>
                <a:cubicBezTo>
                  <a:pt x="151029" y="291741"/>
                  <a:pt x="150668" y="291741"/>
                  <a:pt x="149586" y="291741"/>
                </a:cubicBezTo>
                <a:cubicBezTo>
                  <a:pt x="147782" y="291023"/>
                  <a:pt x="146338" y="288149"/>
                  <a:pt x="147060" y="285995"/>
                </a:cubicBezTo>
                <a:lnTo>
                  <a:pt x="174480" y="209854"/>
                </a:lnTo>
                <a:lnTo>
                  <a:pt x="121804" y="209854"/>
                </a:lnTo>
                <a:cubicBezTo>
                  <a:pt x="119640" y="209854"/>
                  <a:pt x="117475" y="207699"/>
                  <a:pt x="117475" y="205185"/>
                </a:cubicBezTo>
                <a:cubicBezTo>
                  <a:pt x="117475" y="202671"/>
                  <a:pt x="119640" y="200875"/>
                  <a:pt x="121804" y="200875"/>
                </a:cubicBezTo>
                <a:lnTo>
                  <a:pt x="129381" y="200875"/>
                </a:lnTo>
                <a:lnTo>
                  <a:pt x="129381" y="81278"/>
                </a:lnTo>
                <a:cubicBezTo>
                  <a:pt x="129381" y="78763"/>
                  <a:pt x="131185" y="77327"/>
                  <a:pt x="133350" y="77327"/>
                </a:cubicBezTo>
                <a:cubicBezTo>
                  <a:pt x="135875" y="77327"/>
                  <a:pt x="138401" y="78763"/>
                  <a:pt x="138401" y="81278"/>
                </a:cubicBezTo>
                <a:lnTo>
                  <a:pt x="138401" y="200875"/>
                </a:lnTo>
                <a:lnTo>
                  <a:pt x="271174" y="200875"/>
                </a:lnTo>
                <a:lnTo>
                  <a:pt x="271174" y="32792"/>
                </a:lnTo>
                <a:lnTo>
                  <a:pt x="174841" y="32792"/>
                </a:lnTo>
                <a:cubicBezTo>
                  <a:pt x="172676" y="32792"/>
                  <a:pt x="170512" y="30996"/>
                  <a:pt x="170512" y="28482"/>
                </a:cubicBezTo>
                <a:cubicBezTo>
                  <a:pt x="170512" y="25968"/>
                  <a:pt x="172676" y="23813"/>
                  <a:pt x="174841" y="23813"/>
                </a:cubicBezTo>
                <a:close/>
                <a:moveTo>
                  <a:pt x="138359" y="22108"/>
                </a:moveTo>
                <a:lnTo>
                  <a:pt x="99445" y="61295"/>
                </a:lnTo>
                <a:cubicBezTo>
                  <a:pt x="93680" y="66687"/>
                  <a:pt x="86834" y="69563"/>
                  <a:pt x="78547" y="69563"/>
                </a:cubicBezTo>
                <a:lnTo>
                  <a:pt x="62694" y="69563"/>
                </a:lnTo>
                <a:cubicBezTo>
                  <a:pt x="62333" y="71361"/>
                  <a:pt x="60532" y="72439"/>
                  <a:pt x="58730" y="72439"/>
                </a:cubicBezTo>
                <a:cubicBezTo>
                  <a:pt x="56568" y="72439"/>
                  <a:pt x="54767" y="71361"/>
                  <a:pt x="54407" y="69563"/>
                </a:cubicBezTo>
                <a:lnTo>
                  <a:pt x="28104" y="69563"/>
                </a:lnTo>
                <a:cubicBezTo>
                  <a:pt x="17295" y="69563"/>
                  <a:pt x="9008" y="78192"/>
                  <a:pt x="9008" y="89336"/>
                </a:cubicBezTo>
                <a:lnTo>
                  <a:pt x="9008" y="168429"/>
                </a:lnTo>
                <a:cubicBezTo>
                  <a:pt x="9008" y="172743"/>
                  <a:pt x="12250" y="176338"/>
                  <a:pt x="16214" y="176338"/>
                </a:cubicBezTo>
                <a:cubicBezTo>
                  <a:pt x="20537" y="176338"/>
                  <a:pt x="23780" y="172743"/>
                  <a:pt x="23780" y="168429"/>
                </a:cubicBezTo>
                <a:lnTo>
                  <a:pt x="23780" y="93291"/>
                </a:lnTo>
                <a:cubicBezTo>
                  <a:pt x="23780" y="90774"/>
                  <a:pt x="25582" y="88617"/>
                  <a:pt x="28104" y="88617"/>
                </a:cubicBezTo>
                <a:cubicBezTo>
                  <a:pt x="30626" y="88617"/>
                  <a:pt x="32788" y="90774"/>
                  <a:pt x="32788" y="93291"/>
                </a:cubicBezTo>
                <a:lnTo>
                  <a:pt x="32788" y="162676"/>
                </a:lnTo>
                <a:lnTo>
                  <a:pt x="84673" y="162676"/>
                </a:lnTo>
                <a:lnTo>
                  <a:pt x="84673" y="108031"/>
                </a:lnTo>
                <a:cubicBezTo>
                  <a:pt x="84673" y="100841"/>
                  <a:pt x="87195" y="94729"/>
                  <a:pt x="91879" y="90055"/>
                </a:cubicBezTo>
                <a:lnTo>
                  <a:pt x="149168" y="32534"/>
                </a:lnTo>
                <a:cubicBezTo>
                  <a:pt x="150249" y="31455"/>
                  <a:pt x="151330" y="29298"/>
                  <a:pt x="151330" y="27500"/>
                </a:cubicBezTo>
                <a:cubicBezTo>
                  <a:pt x="151330" y="25343"/>
                  <a:pt x="150249" y="23186"/>
                  <a:pt x="149168" y="22108"/>
                </a:cubicBezTo>
                <a:cubicBezTo>
                  <a:pt x="146286" y="19232"/>
                  <a:pt x="141241" y="19232"/>
                  <a:pt x="138359" y="22108"/>
                </a:cubicBezTo>
                <a:close/>
                <a:moveTo>
                  <a:pt x="143583" y="11053"/>
                </a:moveTo>
                <a:cubicBezTo>
                  <a:pt x="147907" y="11053"/>
                  <a:pt x="152231" y="12581"/>
                  <a:pt x="155293" y="15637"/>
                </a:cubicBezTo>
                <a:cubicBezTo>
                  <a:pt x="158536" y="18872"/>
                  <a:pt x="159977" y="22827"/>
                  <a:pt x="159977" y="27500"/>
                </a:cubicBezTo>
                <a:cubicBezTo>
                  <a:pt x="159977" y="31815"/>
                  <a:pt x="158536" y="35769"/>
                  <a:pt x="155293" y="39005"/>
                </a:cubicBezTo>
                <a:lnTo>
                  <a:pt x="98004" y="96167"/>
                </a:lnTo>
                <a:cubicBezTo>
                  <a:pt x="95482" y="99403"/>
                  <a:pt x="93680" y="103357"/>
                  <a:pt x="93680" y="108031"/>
                </a:cubicBezTo>
                <a:lnTo>
                  <a:pt x="93680" y="272687"/>
                </a:lnTo>
                <a:cubicBezTo>
                  <a:pt x="93680" y="283112"/>
                  <a:pt x="84673" y="291741"/>
                  <a:pt x="74224" y="291741"/>
                </a:cubicBezTo>
                <a:cubicBezTo>
                  <a:pt x="67738" y="291741"/>
                  <a:pt x="62333" y="288865"/>
                  <a:pt x="58730" y="284910"/>
                </a:cubicBezTo>
                <a:cubicBezTo>
                  <a:pt x="54767" y="288865"/>
                  <a:pt x="49723" y="291741"/>
                  <a:pt x="43597" y="291741"/>
                </a:cubicBezTo>
                <a:cubicBezTo>
                  <a:pt x="32788" y="291741"/>
                  <a:pt x="23780" y="283112"/>
                  <a:pt x="23780" y="272687"/>
                </a:cubicBezTo>
                <a:lnTo>
                  <a:pt x="23780" y="183169"/>
                </a:lnTo>
                <a:cubicBezTo>
                  <a:pt x="21618" y="184247"/>
                  <a:pt x="19096" y="184966"/>
                  <a:pt x="16214" y="184966"/>
                </a:cubicBezTo>
                <a:cubicBezTo>
                  <a:pt x="7206" y="184966"/>
                  <a:pt x="0" y="177416"/>
                  <a:pt x="0" y="168429"/>
                </a:cubicBezTo>
                <a:lnTo>
                  <a:pt x="0" y="89336"/>
                </a:lnTo>
                <a:cubicBezTo>
                  <a:pt x="0" y="73158"/>
                  <a:pt x="12611" y="60576"/>
                  <a:pt x="28104" y="60576"/>
                </a:cubicBezTo>
                <a:lnTo>
                  <a:pt x="78547" y="60576"/>
                </a:lnTo>
                <a:cubicBezTo>
                  <a:pt x="84312" y="60576"/>
                  <a:pt x="89357" y="58778"/>
                  <a:pt x="92960" y="54464"/>
                </a:cubicBezTo>
                <a:lnTo>
                  <a:pt x="131873" y="15637"/>
                </a:lnTo>
                <a:cubicBezTo>
                  <a:pt x="134936" y="12581"/>
                  <a:pt x="139260" y="11053"/>
                  <a:pt x="143583" y="11053"/>
                </a:cubicBezTo>
                <a:close/>
                <a:moveTo>
                  <a:pt x="58558" y="8944"/>
                </a:moveTo>
                <a:cubicBezTo>
                  <a:pt x="49551" y="8944"/>
                  <a:pt x="41624" y="16098"/>
                  <a:pt x="41624" y="25400"/>
                </a:cubicBezTo>
                <a:cubicBezTo>
                  <a:pt x="41624" y="34344"/>
                  <a:pt x="49551" y="41498"/>
                  <a:pt x="58558" y="41498"/>
                </a:cubicBezTo>
                <a:cubicBezTo>
                  <a:pt x="67565" y="41498"/>
                  <a:pt x="74770" y="34344"/>
                  <a:pt x="74770" y="25400"/>
                </a:cubicBezTo>
                <a:cubicBezTo>
                  <a:pt x="74770" y="16098"/>
                  <a:pt x="67565" y="8944"/>
                  <a:pt x="58558" y="8944"/>
                </a:cubicBezTo>
                <a:close/>
                <a:moveTo>
                  <a:pt x="58558" y="0"/>
                </a:moveTo>
                <a:cubicBezTo>
                  <a:pt x="72609" y="0"/>
                  <a:pt x="83777" y="11090"/>
                  <a:pt x="83777" y="25400"/>
                </a:cubicBezTo>
                <a:cubicBezTo>
                  <a:pt x="83777" y="39352"/>
                  <a:pt x="72609" y="50442"/>
                  <a:pt x="58558" y="50442"/>
                </a:cubicBezTo>
                <a:cubicBezTo>
                  <a:pt x="44507" y="50442"/>
                  <a:pt x="33338" y="39352"/>
                  <a:pt x="33338" y="25400"/>
                </a:cubicBezTo>
                <a:cubicBezTo>
                  <a:pt x="33338" y="11090"/>
                  <a:pt x="44507" y="0"/>
                  <a:pt x="58558" y="0"/>
                </a:cubicBezTo>
                <a:close/>
              </a:path>
            </a:pathLst>
          </a:custGeom>
          <a:solidFill>
            <a:schemeClr val="bg1"/>
          </a:solidFill>
          <a:ln>
            <a:noFill/>
          </a:ln>
          <a:effectLst/>
        </p:spPr>
        <p:txBody>
          <a:bodyPr anchor="ctr"/>
          <a:lstStyle/>
          <a:p>
            <a:endParaRPr lang="en-US" sz="900" dirty="0"/>
          </a:p>
        </p:txBody>
      </p:sp>
      <p:sp>
        <p:nvSpPr>
          <p:cNvPr id="40" name="TextBox 39">
            <a:extLst>
              <a:ext uri="{FF2B5EF4-FFF2-40B4-BE49-F238E27FC236}">
                <a16:creationId xmlns:a16="http://schemas.microsoft.com/office/drawing/2014/main" id="{FF794C77-6622-B049-B911-D37E94A17EBA}"/>
              </a:ext>
            </a:extLst>
          </p:cNvPr>
          <p:cNvSpPr txBox="1"/>
          <p:nvPr/>
        </p:nvSpPr>
        <p:spPr>
          <a:xfrm>
            <a:off x="932632" y="1300457"/>
            <a:ext cx="697627" cy="1623521"/>
          </a:xfrm>
          <a:prstGeom prst="rect">
            <a:avLst/>
          </a:prstGeom>
          <a:noFill/>
          <a:ln>
            <a:noFill/>
          </a:ln>
        </p:spPr>
        <p:txBody>
          <a:bodyPr wrap="none" rtlCol="0" anchor="ctr" anchorCtr="0">
            <a:spAutoFit/>
          </a:bodyPr>
          <a:lstStyle/>
          <a:p>
            <a:pPr algn="r"/>
            <a:r>
              <a:rPr lang="en-US" sz="9950" b="1" dirty="0">
                <a:solidFill>
                  <a:schemeClr val="accent1"/>
                </a:solidFill>
                <a:latin typeface="Segoe UI Semibold" panose="020B0502040204020203" pitchFamily="34" charset="0"/>
                <a:ea typeface="League Spartan" charset="0"/>
                <a:cs typeface="Poppins" pitchFamily="2" charset="77"/>
              </a:rPr>
              <a:t>1</a:t>
            </a:r>
          </a:p>
        </p:txBody>
      </p:sp>
      <p:sp>
        <p:nvSpPr>
          <p:cNvPr id="41" name="TextBox 40">
            <a:extLst>
              <a:ext uri="{FF2B5EF4-FFF2-40B4-BE49-F238E27FC236}">
                <a16:creationId xmlns:a16="http://schemas.microsoft.com/office/drawing/2014/main" id="{45E7BDFA-45A3-7847-92A4-3064AE6E45ED}"/>
              </a:ext>
            </a:extLst>
          </p:cNvPr>
          <p:cNvSpPr txBox="1"/>
          <p:nvPr/>
        </p:nvSpPr>
        <p:spPr>
          <a:xfrm>
            <a:off x="2007219" y="1577005"/>
            <a:ext cx="1222322" cy="338554"/>
          </a:xfrm>
          <a:prstGeom prst="rect">
            <a:avLst/>
          </a:prstGeom>
          <a:noFill/>
        </p:spPr>
        <p:txBody>
          <a:bodyPr wrap="none" rtlCol="0" anchor="b" anchorCtr="0">
            <a:spAutoFit/>
          </a:bodyPr>
          <a:lstStyle/>
          <a:p>
            <a:r>
              <a:rPr lang="en-US" sz="1600" b="1" dirty="0">
                <a:solidFill>
                  <a:schemeClr val="accent1"/>
                </a:solidFill>
                <a:latin typeface="Segoe UI Semibold" panose="020B0502040204020203" pitchFamily="34" charset="0"/>
                <a:ea typeface="League Spartan" charset="0"/>
                <a:cs typeface="Poppins" pitchFamily="2" charset="77"/>
              </a:rPr>
              <a:t>PLANNING</a:t>
            </a:r>
          </a:p>
        </p:txBody>
      </p:sp>
      <p:sp>
        <p:nvSpPr>
          <p:cNvPr id="42" name="Subtitle 2">
            <a:extLst>
              <a:ext uri="{FF2B5EF4-FFF2-40B4-BE49-F238E27FC236}">
                <a16:creationId xmlns:a16="http://schemas.microsoft.com/office/drawing/2014/main" id="{00044927-D0DA-9343-940F-CCED569D7AFE}"/>
              </a:ext>
            </a:extLst>
          </p:cNvPr>
          <p:cNvSpPr txBox="1">
            <a:spLocks/>
          </p:cNvSpPr>
          <p:nvPr/>
        </p:nvSpPr>
        <p:spPr>
          <a:xfrm>
            <a:off x="2007219" y="1965084"/>
            <a:ext cx="4130473" cy="48494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 Aenean commodo ligula eget dolor. Aenean massa.</a:t>
            </a:r>
          </a:p>
        </p:txBody>
      </p:sp>
      <p:sp>
        <p:nvSpPr>
          <p:cNvPr id="46" name="TextBox 45">
            <a:extLst>
              <a:ext uri="{FF2B5EF4-FFF2-40B4-BE49-F238E27FC236}">
                <a16:creationId xmlns:a16="http://schemas.microsoft.com/office/drawing/2014/main" id="{D7053D1E-E1FF-DE4F-9071-E57A8ECCBFE0}"/>
              </a:ext>
            </a:extLst>
          </p:cNvPr>
          <p:cNvSpPr txBox="1"/>
          <p:nvPr/>
        </p:nvSpPr>
        <p:spPr>
          <a:xfrm>
            <a:off x="737066" y="3086235"/>
            <a:ext cx="893193" cy="1623521"/>
          </a:xfrm>
          <a:prstGeom prst="rect">
            <a:avLst/>
          </a:prstGeom>
          <a:noFill/>
          <a:ln>
            <a:noFill/>
          </a:ln>
        </p:spPr>
        <p:txBody>
          <a:bodyPr wrap="none" rtlCol="0" anchor="ctr" anchorCtr="0">
            <a:spAutoFit/>
          </a:bodyPr>
          <a:lstStyle/>
          <a:p>
            <a:pPr algn="r"/>
            <a:r>
              <a:rPr lang="en-US" sz="9950" b="1" dirty="0">
                <a:solidFill>
                  <a:schemeClr val="accent2"/>
                </a:solidFill>
                <a:latin typeface="Segoe UI Semibold" panose="020B0502040204020203" pitchFamily="34" charset="0"/>
                <a:ea typeface="League Spartan" charset="0"/>
                <a:cs typeface="Poppins" pitchFamily="2" charset="77"/>
              </a:rPr>
              <a:t>2</a:t>
            </a:r>
          </a:p>
        </p:txBody>
      </p:sp>
      <p:sp>
        <p:nvSpPr>
          <p:cNvPr id="48" name="TextBox 47">
            <a:extLst>
              <a:ext uri="{FF2B5EF4-FFF2-40B4-BE49-F238E27FC236}">
                <a16:creationId xmlns:a16="http://schemas.microsoft.com/office/drawing/2014/main" id="{693B3A25-1DFB-A54F-80DE-D08E26A7104D}"/>
              </a:ext>
            </a:extLst>
          </p:cNvPr>
          <p:cNvSpPr txBox="1"/>
          <p:nvPr/>
        </p:nvSpPr>
        <p:spPr>
          <a:xfrm>
            <a:off x="2007219" y="3362783"/>
            <a:ext cx="637034" cy="338554"/>
          </a:xfrm>
          <a:prstGeom prst="rect">
            <a:avLst/>
          </a:prstGeom>
          <a:noFill/>
        </p:spPr>
        <p:txBody>
          <a:bodyPr wrap="none" rtlCol="0" anchor="b" anchorCtr="0">
            <a:spAutoFit/>
          </a:bodyPr>
          <a:lstStyle/>
          <a:p>
            <a:r>
              <a:rPr lang="en-US" sz="1600" b="1" dirty="0">
                <a:solidFill>
                  <a:schemeClr val="accent2"/>
                </a:solidFill>
                <a:latin typeface="Segoe UI Semibold" panose="020B0502040204020203" pitchFamily="34" charset="0"/>
                <a:ea typeface="League Spartan" charset="0"/>
                <a:cs typeface="Poppins" pitchFamily="2" charset="77"/>
              </a:rPr>
              <a:t>IDEA</a:t>
            </a:r>
          </a:p>
        </p:txBody>
      </p:sp>
      <p:sp>
        <p:nvSpPr>
          <p:cNvPr id="49" name="Subtitle 2">
            <a:extLst>
              <a:ext uri="{FF2B5EF4-FFF2-40B4-BE49-F238E27FC236}">
                <a16:creationId xmlns:a16="http://schemas.microsoft.com/office/drawing/2014/main" id="{B67079D7-A9CD-A547-AB4E-C9C1199E2D69}"/>
              </a:ext>
            </a:extLst>
          </p:cNvPr>
          <p:cNvSpPr txBox="1">
            <a:spLocks/>
          </p:cNvSpPr>
          <p:nvPr/>
        </p:nvSpPr>
        <p:spPr>
          <a:xfrm>
            <a:off x="2007219" y="3750863"/>
            <a:ext cx="4130473" cy="48494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 Aenean commodo ligula eget dolor. Aenean massa.</a:t>
            </a:r>
          </a:p>
        </p:txBody>
      </p:sp>
      <p:sp>
        <p:nvSpPr>
          <p:cNvPr id="51" name="TextBox 50">
            <a:extLst>
              <a:ext uri="{FF2B5EF4-FFF2-40B4-BE49-F238E27FC236}">
                <a16:creationId xmlns:a16="http://schemas.microsoft.com/office/drawing/2014/main" id="{BC947E0A-E83C-624B-900B-65D492059291}"/>
              </a:ext>
            </a:extLst>
          </p:cNvPr>
          <p:cNvSpPr txBox="1"/>
          <p:nvPr/>
        </p:nvSpPr>
        <p:spPr>
          <a:xfrm>
            <a:off x="737066" y="4872014"/>
            <a:ext cx="893193" cy="1623521"/>
          </a:xfrm>
          <a:prstGeom prst="rect">
            <a:avLst/>
          </a:prstGeom>
          <a:noFill/>
          <a:ln>
            <a:noFill/>
          </a:ln>
        </p:spPr>
        <p:txBody>
          <a:bodyPr wrap="none" rtlCol="0" anchor="ctr" anchorCtr="0">
            <a:spAutoFit/>
          </a:bodyPr>
          <a:lstStyle/>
          <a:p>
            <a:pPr algn="r"/>
            <a:r>
              <a:rPr lang="en-US" sz="9950" b="1" dirty="0">
                <a:solidFill>
                  <a:schemeClr val="accent3"/>
                </a:solidFill>
                <a:latin typeface="Segoe UI Semibold" panose="020B0502040204020203" pitchFamily="34" charset="0"/>
                <a:ea typeface="League Spartan" charset="0"/>
                <a:cs typeface="Poppins" pitchFamily="2" charset="77"/>
              </a:rPr>
              <a:t>3</a:t>
            </a:r>
          </a:p>
        </p:txBody>
      </p:sp>
      <p:sp>
        <p:nvSpPr>
          <p:cNvPr id="53" name="TextBox 52">
            <a:extLst>
              <a:ext uri="{FF2B5EF4-FFF2-40B4-BE49-F238E27FC236}">
                <a16:creationId xmlns:a16="http://schemas.microsoft.com/office/drawing/2014/main" id="{99103856-D4FF-BE49-A5EE-5AC4DD1301AA}"/>
              </a:ext>
            </a:extLst>
          </p:cNvPr>
          <p:cNvSpPr txBox="1"/>
          <p:nvPr/>
        </p:nvSpPr>
        <p:spPr>
          <a:xfrm>
            <a:off x="2007219" y="5148562"/>
            <a:ext cx="1179938" cy="338554"/>
          </a:xfrm>
          <a:prstGeom prst="rect">
            <a:avLst/>
          </a:prstGeom>
          <a:noFill/>
        </p:spPr>
        <p:txBody>
          <a:bodyPr wrap="none" rtlCol="0" anchor="b" anchorCtr="0">
            <a:spAutoFit/>
          </a:bodyPr>
          <a:lstStyle/>
          <a:p>
            <a:r>
              <a:rPr lang="en-US" sz="1600" b="1" dirty="0">
                <a:solidFill>
                  <a:schemeClr val="accent3"/>
                </a:solidFill>
                <a:latin typeface="Segoe UI Semibold" panose="020B0502040204020203" pitchFamily="34" charset="0"/>
                <a:ea typeface="League Spartan" charset="0"/>
                <a:cs typeface="Poppins" pitchFamily="2" charset="77"/>
              </a:rPr>
              <a:t>SOLUTION</a:t>
            </a:r>
          </a:p>
        </p:txBody>
      </p:sp>
      <p:sp>
        <p:nvSpPr>
          <p:cNvPr id="54" name="Subtitle 2">
            <a:extLst>
              <a:ext uri="{FF2B5EF4-FFF2-40B4-BE49-F238E27FC236}">
                <a16:creationId xmlns:a16="http://schemas.microsoft.com/office/drawing/2014/main" id="{934D5C82-8051-7A41-8D0F-B9DE96262ECF}"/>
              </a:ext>
            </a:extLst>
          </p:cNvPr>
          <p:cNvSpPr txBox="1">
            <a:spLocks/>
          </p:cNvSpPr>
          <p:nvPr/>
        </p:nvSpPr>
        <p:spPr>
          <a:xfrm>
            <a:off x="2007219" y="5536641"/>
            <a:ext cx="4130473" cy="48494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 Aenean commodo ligula eget dolor. Aenean massa.</a:t>
            </a:r>
          </a:p>
        </p:txBody>
      </p:sp>
      <p:sp>
        <p:nvSpPr>
          <p:cNvPr id="28" name="Titel 1">
            <a:extLst>
              <a:ext uri="{FF2B5EF4-FFF2-40B4-BE49-F238E27FC236}">
                <a16:creationId xmlns:a16="http://schemas.microsoft.com/office/drawing/2014/main" id="{67FA7739-75E8-4C79-9DFF-1A8EE6E2F7C9}"/>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3-step process</a:t>
            </a:r>
          </a:p>
        </p:txBody>
      </p:sp>
    </p:spTree>
    <p:custDataLst>
      <p:tags r:id="rId1"/>
    </p:custDataLst>
    <p:extLst>
      <p:ext uri="{BB962C8B-B14F-4D97-AF65-F5344CB8AC3E}">
        <p14:creationId xmlns:p14="http://schemas.microsoft.com/office/powerpoint/2010/main" val="3143415957"/>
      </p:ext>
    </p:extLst>
  </p:cSld>
  <p:clrMapOvr>
    <a:masterClrMapping/>
  </p:clrMapOvr>
  <mc:AlternateContent xmlns:mc="http://schemas.openxmlformats.org/markup-compatibility/2006" xmlns:p14="http://schemas.microsoft.com/office/powerpoint/2010/main">
    <mc:Choice Requires="p14">
      <p:transition spd="med">
        <p14:pan/>
      </p:transition>
    </mc:Choice>
    <mc:Fallback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50157">
            <a:extLst>
              <a:ext uri="{FF2B5EF4-FFF2-40B4-BE49-F238E27FC236}">
                <a16:creationId xmlns:a16="http://schemas.microsoft.com/office/drawing/2014/main" id="{8F2FF752-0EA0-B74D-908C-6ECD7F5A0998}"/>
              </a:ext>
            </a:extLst>
          </p:cNvPr>
          <p:cNvGrpSpPr/>
          <p:nvPr/>
        </p:nvGrpSpPr>
        <p:grpSpPr>
          <a:xfrm>
            <a:off x="4083709" y="2095585"/>
            <a:ext cx="1085638" cy="1085529"/>
            <a:chOff x="0" y="0"/>
            <a:chExt cx="1016662" cy="1016561"/>
          </a:xfrm>
        </p:grpSpPr>
        <p:sp>
          <p:nvSpPr>
            <p:cNvPr id="66" name="Shape 50155">
              <a:extLst>
                <a:ext uri="{FF2B5EF4-FFF2-40B4-BE49-F238E27FC236}">
                  <a16:creationId xmlns:a16="http://schemas.microsoft.com/office/drawing/2014/main" id="{C0893C51-23E4-0947-947E-3ABD38456246}"/>
                </a:ext>
              </a:extLst>
            </p:cNvPr>
            <p:cNvSpPr/>
            <p:nvPr/>
          </p:nvSpPr>
          <p:spPr>
            <a:xfrm>
              <a:off x="25399" y="25397"/>
              <a:ext cx="965864" cy="965767"/>
            </a:xfrm>
            <a:custGeom>
              <a:avLst/>
              <a:gdLst/>
              <a:ahLst/>
              <a:cxnLst>
                <a:cxn ang="0">
                  <a:pos x="wd2" y="hd2"/>
                </a:cxn>
                <a:cxn ang="5400000">
                  <a:pos x="wd2" y="hd2"/>
                </a:cxn>
                <a:cxn ang="10800000">
                  <a:pos x="wd2" y="hd2"/>
                </a:cxn>
                <a:cxn ang="16200000">
                  <a:pos x="wd2" y="hd2"/>
                </a:cxn>
              </a:cxnLst>
              <a:rect l="0" t="0" r="r" b="b"/>
              <a:pathLst>
                <a:path w="19679" h="20595" extrusionOk="0">
                  <a:moveTo>
                    <a:pt x="9838" y="0"/>
                  </a:moveTo>
                  <a:cubicBezTo>
                    <a:pt x="7320" y="0"/>
                    <a:pt x="4803" y="1006"/>
                    <a:pt x="2881" y="3016"/>
                  </a:cubicBezTo>
                  <a:cubicBezTo>
                    <a:pt x="-961" y="7038"/>
                    <a:pt x="-961" y="13557"/>
                    <a:pt x="2881" y="17578"/>
                  </a:cubicBezTo>
                  <a:cubicBezTo>
                    <a:pt x="6724" y="21600"/>
                    <a:pt x="12954" y="21600"/>
                    <a:pt x="16797" y="17578"/>
                  </a:cubicBezTo>
                  <a:cubicBezTo>
                    <a:pt x="20639" y="13557"/>
                    <a:pt x="20639" y="7038"/>
                    <a:pt x="16797" y="3016"/>
                  </a:cubicBezTo>
                  <a:cubicBezTo>
                    <a:pt x="14875" y="1006"/>
                    <a:pt x="12356" y="0"/>
                    <a:pt x="9838" y="0"/>
                  </a:cubicBezTo>
                  <a:close/>
                </a:path>
              </a:pathLst>
            </a:custGeom>
            <a:solidFill>
              <a:schemeClr val="accent2"/>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67" name="Shape 50156">
              <a:extLst>
                <a:ext uri="{FF2B5EF4-FFF2-40B4-BE49-F238E27FC236}">
                  <a16:creationId xmlns:a16="http://schemas.microsoft.com/office/drawing/2014/main" id="{7716B470-12FF-E84E-95A0-FFCD446787A2}"/>
                </a:ext>
              </a:extLst>
            </p:cNvPr>
            <p:cNvSpPr/>
            <p:nvPr/>
          </p:nvSpPr>
          <p:spPr>
            <a:xfrm>
              <a:off x="-1" y="0"/>
              <a:ext cx="1016664" cy="1016562"/>
            </a:xfrm>
            <a:custGeom>
              <a:avLst/>
              <a:gdLst/>
              <a:ahLst/>
              <a:cxnLst>
                <a:cxn ang="0">
                  <a:pos x="wd2" y="hd2"/>
                </a:cxn>
                <a:cxn ang="5400000">
                  <a:pos x="wd2" y="hd2"/>
                </a:cxn>
                <a:cxn ang="10800000">
                  <a:pos x="wd2" y="hd2"/>
                </a:cxn>
                <a:cxn ang="16200000">
                  <a:pos x="wd2" y="hd2"/>
                </a:cxn>
              </a:cxnLst>
              <a:rect l="0" t="0" r="r" b="b"/>
              <a:pathLst>
                <a:path w="19679" h="20595" extrusionOk="0">
                  <a:moveTo>
                    <a:pt x="9838" y="0"/>
                  </a:moveTo>
                  <a:cubicBezTo>
                    <a:pt x="7320" y="0"/>
                    <a:pt x="4803" y="1006"/>
                    <a:pt x="2881" y="3016"/>
                  </a:cubicBezTo>
                  <a:cubicBezTo>
                    <a:pt x="-961" y="7038"/>
                    <a:pt x="-961" y="13557"/>
                    <a:pt x="2881" y="17578"/>
                  </a:cubicBezTo>
                  <a:cubicBezTo>
                    <a:pt x="6724" y="21600"/>
                    <a:pt x="12954" y="21600"/>
                    <a:pt x="16797" y="17578"/>
                  </a:cubicBezTo>
                  <a:cubicBezTo>
                    <a:pt x="20639" y="13557"/>
                    <a:pt x="20639" y="7038"/>
                    <a:pt x="16797" y="3016"/>
                  </a:cubicBezTo>
                  <a:cubicBezTo>
                    <a:pt x="14875" y="1006"/>
                    <a:pt x="12356" y="0"/>
                    <a:pt x="9838" y="0"/>
                  </a:cubicBezTo>
                  <a:close/>
                  <a:moveTo>
                    <a:pt x="9840" y="685"/>
                  </a:moveTo>
                  <a:cubicBezTo>
                    <a:pt x="14914" y="685"/>
                    <a:pt x="19024" y="4986"/>
                    <a:pt x="19024" y="10297"/>
                  </a:cubicBezTo>
                  <a:cubicBezTo>
                    <a:pt x="19024" y="15608"/>
                    <a:pt x="14914" y="19909"/>
                    <a:pt x="9840" y="19909"/>
                  </a:cubicBezTo>
                  <a:cubicBezTo>
                    <a:pt x="4766" y="19909"/>
                    <a:pt x="654" y="15608"/>
                    <a:pt x="654" y="10297"/>
                  </a:cubicBezTo>
                  <a:cubicBezTo>
                    <a:pt x="654" y="4986"/>
                    <a:pt x="4766" y="685"/>
                    <a:pt x="9840" y="685"/>
                  </a:cubicBezTo>
                  <a:close/>
                  <a:moveTo>
                    <a:pt x="9840" y="2376"/>
                  </a:moveTo>
                  <a:cubicBezTo>
                    <a:pt x="9659" y="2376"/>
                    <a:pt x="9477" y="2440"/>
                    <a:pt x="9339" y="2585"/>
                  </a:cubicBezTo>
                  <a:cubicBezTo>
                    <a:pt x="9063" y="2873"/>
                    <a:pt x="9062" y="3345"/>
                    <a:pt x="9339" y="3635"/>
                  </a:cubicBezTo>
                  <a:cubicBezTo>
                    <a:pt x="9616" y="3924"/>
                    <a:pt x="10062" y="3924"/>
                    <a:pt x="10339" y="3635"/>
                  </a:cubicBezTo>
                  <a:cubicBezTo>
                    <a:pt x="10615" y="3347"/>
                    <a:pt x="10615" y="2873"/>
                    <a:pt x="10339" y="2585"/>
                  </a:cubicBezTo>
                  <a:cubicBezTo>
                    <a:pt x="10201" y="2440"/>
                    <a:pt x="10021" y="2376"/>
                    <a:pt x="9840" y="2376"/>
                  </a:cubicBezTo>
                  <a:close/>
                  <a:moveTo>
                    <a:pt x="9840" y="4443"/>
                  </a:moveTo>
                  <a:cubicBezTo>
                    <a:pt x="9628" y="4443"/>
                    <a:pt x="9468" y="4627"/>
                    <a:pt x="9468" y="4849"/>
                  </a:cubicBezTo>
                  <a:lnTo>
                    <a:pt x="9468" y="9694"/>
                  </a:lnTo>
                  <a:cubicBezTo>
                    <a:pt x="9491" y="9680"/>
                    <a:pt x="9511" y="9664"/>
                    <a:pt x="9534" y="9653"/>
                  </a:cubicBezTo>
                  <a:cubicBezTo>
                    <a:pt x="9511" y="9665"/>
                    <a:pt x="9491" y="9683"/>
                    <a:pt x="9468" y="9698"/>
                  </a:cubicBezTo>
                  <a:lnTo>
                    <a:pt x="9468" y="9694"/>
                  </a:lnTo>
                  <a:cubicBezTo>
                    <a:pt x="9427" y="9719"/>
                    <a:pt x="9384" y="9744"/>
                    <a:pt x="9347" y="9782"/>
                  </a:cubicBezTo>
                  <a:cubicBezTo>
                    <a:pt x="9279" y="9853"/>
                    <a:pt x="9227" y="9934"/>
                    <a:pt x="9193" y="10022"/>
                  </a:cubicBezTo>
                  <a:cubicBezTo>
                    <a:pt x="9125" y="10198"/>
                    <a:pt x="9125" y="10394"/>
                    <a:pt x="9193" y="10570"/>
                  </a:cubicBezTo>
                  <a:cubicBezTo>
                    <a:pt x="9227" y="10659"/>
                    <a:pt x="9279" y="10741"/>
                    <a:pt x="9347" y="10813"/>
                  </a:cubicBezTo>
                  <a:cubicBezTo>
                    <a:pt x="9415" y="10884"/>
                    <a:pt x="9493" y="10936"/>
                    <a:pt x="9577" y="10972"/>
                  </a:cubicBezTo>
                  <a:cubicBezTo>
                    <a:pt x="9662" y="11009"/>
                    <a:pt x="9749" y="11026"/>
                    <a:pt x="9840" y="11026"/>
                  </a:cubicBezTo>
                  <a:cubicBezTo>
                    <a:pt x="10019" y="11026"/>
                    <a:pt x="10197" y="10956"/>
                    <a:pt x="10333" y="10813"/>
                  </a:cubicBezTo>
                  <a:cubicBezTo>
                    <a:pt x="10364" y="10780"/>
                    <a:pt x="10387" y="10742"/>
                    <a:pt x="10411" y="10703"/>
                  </a:cubicBezTo>
                  <a:lnTo>
                    <a:pt x="10405" y="10703"/>
                  </a:lnTo>
                  <a:cubicBezTo>
                    <a:pt x="10425" y="10672"/>
                    <a:pt x="10447" y="10641"/>
                    <a:pt x="10462" y="10607"/>
                  </a:cubicBezTo>
                  <a:cubicBezTo>
                    <a:pt x="10448" y="10641"/>
                    <a:pt x="10430" y="10672"/>
                    <a:pt x="10411" y="10703"/>
                  </a:cubicBezTo>
                  <a:lnTo>
                    <a:pt x="13974" y="10703"/>
                  </a:lnTo>
                  <a:cubicBezTo>
                    <a:pt x="14186" y="10703"/>
                    <a:pt x="14362" y="10519"/>
                    <a:pt x="14362" y="10297"/>
                  </a:cubicBezTo>
                  <a:cubicBezTo>
                    <a:pt x="14362" y="10076"/>
                    <a:pt x="14186" y="9891"/>
                    <a:pt x="13974" y="9891"/>
                  </a:cubicBezTo>
                  <a:lnTo>
                    <a:pt x="10405" y="9891"/>
                  </a:lnTo>
                  <a:cubicBezTo>
                    <a:pt x="10380" y="9854"/>
                    <a:pt x="10364" y="9815"/>
                    <a:pt x="10333" y="9782"/>
                  </a:cubicBezTo>
                  <a:cubicBezTo>
                    <a:pt x="10303" y="9750"/>
                    <a:pt x="10264" y="9737"/>
                    <a:pt x="10230" y="9713"/>
                  </a:cubicBezTo>
                  <a:lnTo>
                    <a:pt x="10228" y="9324"/>
                  </a:lnTo>
                  <a:lnTo>
                    <a:pt x="10228" y="4849"/>
                  </a:lnTo>
                  <a:cubicBezTo>
                    <a:pt x="10228" y="4627"/>
                    <a:pt x="10052" y="4443"/>
                    <a:pt x="9840" y="4443"/>
                  </a:cubicBezTo>
                  <a:close/>
                  <a:moveTo>
                    <a:pt x="2959" y="9565"/>
                  </a:moveTo>
                  <a:cubicBezTo>
                    <a:pt x="2779" y="9565"/>
                    <a:pt x="2597" y="9629"/>
                    <a:pt x="2459" y="9773"/>
                  </a:cubicBezTo>
                  <a:cubicBezTo>
                    <a:pt x="2183" y="10062"/>
                    <a:pt x="2182" y="10532"/>
                    <a:pt x="2459" y="10822"/>
                  </a:cubicBezTo>
                  <a:cubicBezTo>
                    <a:pt x="2735" y="11111"/>
                    <a:pt x="3182" y="11111"/>
                    <a:pt x="3458" y="10822"/>
                  </a:cubicBezTo>
                  <a:cubicBezTo>
                    <a:pt x="3734" y="10533"/>
                    <a:pt x="3734" y="10062"/>
                    <a:pt x="3458" y="9773"/>
                  </a:cubicBezTo>
                  <a:cubicBezTo>
                    <a:pt x="3320" y="9629"/>
                    <a:pt x="3140" y="9565"/>
                    <a:pt x="2959" y="9565"/>
                  </a:cubicBezTo>
                  <a:close/>
                  <a:moveTo>
                    <a:pt x="16735" y="9565"/>
                  </a:moveTo>
                  <a:cubicBezTo>
                    <a:pt x="16554" y="9565"/>
                    <a:pt x="16372" y="9629"/>
                    <a:pt x="16234" y="9773"/>
                  </a:cubicBezTo>
                  <a:cubicBezTo>
                    <a:pt x="15958" y="10062"/>
                    <a:pt x="15958" y="10533"/>
                    <a:pt x="16234" y="10822"/>
                  </a:cubicBezTo>
                  <a:cubicBezTo>
                    <a:pt x="16510" y="11110"/>
                    <a:pt x="16948" y="11110"/>
                    <a:pt x="17223" y="10822"/>
                  </a:cubicBezTo>
                  <a:cubicBezTo>
                    <a:pt x="17499" y="10533"/>
                    <a:pt x="17499" y="10062"/>
                    <a:pt x="17223" y="9773"/>
                  </a:cubicBezTo>
                  <a:cubicBezTo>
                    <a:pt x="17086" y="9629"/>
                    <a:pt x="16916" y="9565"/>
                    <a:pt x="16735" y="9565"/>
                  </a:cubicBezTo>
                  <a:close/>
                  <a:moveTo>
                    <a:pt x="9840" y="16751"/>
                  </a:moveTo>
                  <a:cubicBezTo>
                    <a:pt x="9659" y="16751"/>
                    <a:pt x="9477" y="16815"/>
                    <a:pt x="9339" y="16960"/>
                  </a:cubicBezTo>
                  <a:cubicBezTo>
                    <a:pt x="9063" y="17248"/>
                    <a:pt x="9062" y="17721"/>
                    <a:pt x="9339" y="18010"/>
                  </a:cubicBezTo>
                  <a:cubicBezTo>
                    <a:pt x="9616" y="18299"/>
                    <a:pt x="10062" y="18299"/>
                    <a:pt x="10339" y="18010"/>
                  </a:cubicBezTo>
                  <a:cubicBezTo>
                    <a:pt x="10615" y="17722"/>
                    <a:pt x="10615" y="17248"/>
                    <a:pt x="10339" y="16960"/>
                  </a:cubicBezTo>
                  <a:cubicBezTo>
                    <a:pt x="10201" y="16815"/>
                    <a:pt x="10021" y="16751"/>
                    <a:pt x="9840" y="16751"/>
                  </a:cubicBezTo>
                  <a:close/>
                </a:path>
              </a:pathLst>
            </a:custGeom>
            <a:solidFill>
              <a:schemeClr val="bg1">
                <a:lumMod val="95000"/>
              </a:schemeClr>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grpSp>
      <p:grpSp>
        <p:nvGrpSpPr>
          <p:cNvPr id="21" name="Group 50177">
            <a:extLst>
              <a:ext uri="{FF2B5EF4-FFF2-40B4-BE49-F238E27FC236}">
                <a16:creationId xmlns:a16="http://schemas.microsoft.com/office/drawing/2014/main" id="{E4539085-3A07-E946-8F4B-F22B859AD152}"/>
              </a:ext>
            </a:extLst>
          </p:cNvPr>
          <p:cNvGrpSpPr/>
          <p:nvPr/>
        </p:nvGrpSpPr>
        <p:grpSpPr>
          <a:xfrm>
            <a:off x="1853568" y="3513963"/>
            <a:ext cx="8442867" cy="2990749"/>
            <a:chOff x="0" y="0"/>
            <a:chExt cx="7906467" cy="2800735"/>
          </a:xfrm>
        </p:grpSpPr>
        <p:sp>
          <p:nvSpPr>
            <p:cNvPr id="47" name="Shape 50158">
              <a:extLst>
                <a:ext uri="{FF2B5EF4-FFF2-40B4-BE49-F238E27FC236}">
                  <a16:creationId xmlns:a16="http://schemas.microsoft.com/office/drawing/2014/main" id="{F355F4AE-5749-D848-9543-7F37931195AB}"/>
                </a:ext>
              </a:extLst>
            </p:cNvPr>
            <p:cNvSpPr/>
            <p:nvPr/>
          </p:nvSpPr>
          <p:spPr>
            <a:xfrm>
              <a:off x="0" y="2672915"/>
              <a:ext cx="7906468" cy="127821"/>
            </a:xfrm>
            <a:prstGeom prst="rect">
              <a:avLst/>
            </a:prstGeom>
            <a:solidFill>
              <a:schemeClr val="bg1">
                <a:lumMod val="85000"/>
              </a:schemeClr>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grpSp>
          <p:nvGrpSpPr>
            <p:cNvPr id="48" name="Group 50164">
              <a:extLst>
                <a:ext uri="{FF2B5EF4-FFF2-40B4-BE49-F238E27FC236}">
                  <a16:creationId xmlns:a16="http://schemas.microsoft.com/office/drawing/2014/main" id="{8667BC7E-32F4-824A-90EB-1BF4C4A4580C}"/>
                </a:ext>
              </a:extLst>
            </p:cNvPr>
            <p:cNvGrpSpPr/>
            <p:nvPr/>
          </p:nvGrpSpPr>
          <p:grpSpPr>
            <a:xfrm>
              <a:off x="2596786" y="586100"/>
              <a:ext cx="2697457" cy="2092064"/>
              <a:chOff x="0" y="7713"/>
              <a:chExt cx="2697456" cy="2092062"/>
            </a:xfrm>
          </p:grpSpPr>
          <p:sp>
            <p:nvSpPr>
              <p:cNvPr id="61" name="Shape 50159">
                <a:extLst>
                  <a:ext uri="{FF2B5EF4-FFF2-40B4-BE49-F238E27FC236}">
                    <a16:creationId xmlns:a16="http://schemas.microsoft.com/office/drawing/2014/main" id="{9270759E-D40B-F74D-A7E0-5435D523D8A2}"/>
                  </a:ext>
                </a:extLst>
              </p:cNvPr>
              <p:cNvSpPr/>
              <p:nvPr/>
            </p:nvSpPr>
            <p:spPr>
              <a:xfrm>
                <a:off x="0" y="7713"/>
                <a:ext cx="2697457" cy="1618950"/>
              </a:xfrm>
              <a:custGeom>
                <a:avLst/>
                <a:gdLst/>
                <a:ahLst/>
                <a:cxnLst>
                  <a:cxn ang="0">
                    <a:pos x="wd2" y="hd2"/>
                  </a:cxn>
                  <a:cxn ang="5400000">
                    <a:pos x="wd2" y="hd2"/>
                  </a:cxn>
                  <a:cxn ang="10800000">
                    <a:pos x="wd2" y="hd2"/>
                  </a:cxn>
                  <a:cxn ang="16200000">
                    <a:pos x="wd2" y="hd2"/>
                  </a:cxn>
                </a:cxnLst>
                <a:rect l="0" t="0" r="r" b="b"/>
                <a:pathLst>
                  <a:path w="21600" h="21600" extrusionOk="0">
                    <a:moveTo>
                      <a:pt x="20984" y="0"/>
                    </a:moveTo>
                    <a:lnTo>
                      <a:pt x="616" y="0"/>
                    </a:lnTo>
                    <a:cubicBezTo>
                      <a:pt x="277" y="0"/>
                      <a:pt x="0" y="464"/>
                      <a:pt x="0" y="1030"/>
                    </a:cubicBezTo>
                    <a:lnTo>
                      <a:pt x="0" y="21600"/>
                    </a:lnTo>
                    <a:lnTo>
                      <a:pt x="21600" y="21600"/>
                    </a:lnTo>
                    <a:lnTo>
                      <a:pt x="21600" y="1030"/>
                    </a:lnTo>
                    <a:cubicBezTo>
                      <a:pt x="21600" y="464"/>
                      <a:pt x="21323" y="0"/>
                      <a:pt x="20984" y="0"/>
                    </a:cubicBezTo>
                    <a:close/>
                  </a:path>
                </a:pathLst>
              </a:custGeom>
              <a:solidFill>
                <a:schemeClr val="bg1">
                  <a:lumMod val="50000"/>
                </a:schemeClr>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sp>
            <p:nvSpPr>
              <p:cNvPr id="62" name="Shape 50160">
                <a:extLst>
                  <a:ext uri="{FF2B5EF4-FFF2-40B4-BE49-F238E27FC236}">
                    <a16:creationId xmlns:a16="http://schemas.microsoft.com/office/drawing/2014/main" id="{63476CD6-6710-4848-962E-7B44D0717FCE}"/>
                  </a:ext>
                </a:extLst>
              </p:cNvPr>
              <p:cNvSpPr/>
              <p:nvPr/>
            </p:nvSpPr>
            <p:spPr>
              <a:xfrm>
                <a:off x="0" y="1618390"/>
                <a:ext cx="2697457" cy="24216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4712"/>
                    </a:lnTo>
                    <a:cubicBezTo>
                      <a:pt x="0" y="18500"/>
                      <a:pt x="277" y="21600"/>
                      <a:pt x="616" y="21600"/>
                    </a:cubicBezTo>
                    <a:lnTo>
                      <a:pt x="8721" y="21600"/>
                    </a:lnTo>
                    <a:lnTo>
                      <a:pt x="13066" y="21600"/>
                    </a:lnTo>
                    <a:lnTo>
                      <a:pt x="20984" y="21600"/>
                    </a:lnTo>
                    <a:cubicBezTo>
                      <a:pt x="21323" y="21600"/>
                      <a:pt x="21600" y="18500"/>
                      <a:pt x="21600" y="14712"/>
                    </a:cubicBezTo>
                    <a:lnTo>
                      <a:pt x="21600" y="0"/>
                    </a:lnTo>
                    <a:cubicBezTo>
                      <a:pt x="21600" y="0"/>
                      <a:pt x="0" y="0"/>
                      <a:pt x="0" y="0"/>
                    </a:cubicBezTo>
                    <a:close/>
                  </a:path>
                </a:pathLst>
              </a:custGeom>
              <a:solidFill>
                <a:schemeClr val="bg1">
                  <a:lumMod val="95000"/>
                </a:schemeClr>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63" name="Shape 50161">
                <a:extLst>
                  <a:ext uri="{FF2B5EF4-FFF2-40B4-BE49-F238E27FC236}">
                    <a16:creationId xmlns:a16="http://schemas.microsoft.com/office/drawing/2014/main" id="{6A7D8CE3-54EA-5A40-95B8-56B1228016C2}"/>
                  </a:ext>
                </a:extLst>
              </p:cNvPr>
              <p:cNvSpPr/>
              <p:nvPr/>
            </p:nvSpPr>
            <p:spPr>
              <a:xfrm>
                <a:off x="1307377" y="1698123"/>
                <a:ext cx="82703" cy="82703"/>
              </a:xfrm>
              <a:prstGeom prst="ellipse">
                <a:avLst/>
              </a:prstGeom>
              <a:solidFill>
                <a:schemeClr val="bg1">
                  <a:lumMod val="50000"/>
                </a:schemeClr>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64" name="Shape 50162">
                <a:extLst>
                  <a:ext uri="{FF2B5EF4-FFF2-40B4-BE49-F238E27FC236}">
                    <a16:creationId xmlns:a16="http://schemas.microsoft.com/office/drawing/2014/main" id="{F08543FF-C196-8143-BD73-1332E9E2974F}"/>
                  </a:ext>
                </a:extLst>
              </p:cNvPr>
              <p:cNvSpPr/>
              <p:nvPr/>
            </p:nvSpPr>
            <p:spPr>
              <a:xfrm>
                <a:off x="96158" y="100467"/>
                <a:ext cx="2505141" cy="1433443"/>
              </a:xfrm>
              <a:prstGeom prst="rect">
                <a:avLst/>
              </a:prstGeom>
              <a:solidFill>
                <a:srgbClr val="FFFFFF"/>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65" name="Shape 50163">
                <a:extLst>
                  <a:ext uri="{FF2B5EF4-FFF2-40B4-BE49-F238E27FC236}">
                    <a16:creationId xmlns:a16="http://schemas.microsoft.com/office/drawing/2014/main" id="{57079CE5-80B1-BB40-9FC1-17757FD6274E}"/>
                  </a:ext>
                </a:extLst>
              </p:cNvPr>
              <p:cNvSpPr/>
              <p:nvPr/>
            </p:nvSpPr>
            <p:spPr>
              <a:xfrm>
                <a:off x="943927" y="1858724"/>
                <a:ext cx="809453" cy="241053"/>
              </a:xfrm>
              <a:custGeom>
                <a:avLst/>
                <a:gdLst/>
                <a:ahLst/>
                <a:cxnLst>
                  <a:cxn ang="0">
                    <a:pos x="wd2" y="hd2"/>
                  </a:cxn>
                  <a:cxn ang="5400000">
                    <a:pos x="wd2" y="hd2"/>
                  </a:cxn>
                  <a:cxn ang="10800000">
                    <a:pos x="wd2" y="hd2"/>
                  </a:cxn>
                  <a:cxn ang="16200000">
                    <a:pos x="wd2" y="hd2"/>
                  </a:cxn>
                </a:cxnLst>
                <a:rect l="0" t="0" r="r" b="b"/>
                <a:pathLst>
                  <a:path w="21600" h="21600" extrusionOk="0">
                    <a:moveTo>
                      <a:pt x="3531" y="0"/>
                    </a:moveTo>
                    <a:cubicBezTo>
                      <a:pt x="3453" y="1513"/>
                      <a:pt x="3348" y="5058"/>
                      <a:pt x="2959" y="8662"/>
                    </a:cubicBezTo>
                    <a:cubicBezTo>
                      <a:pt x="2396" y="13878"/>
                      <a:pt x="1333" y="18318"/>
                      <a:pt x="0" y="21600"/>
                    </a:cubicBezTo>
                    <a:lnTo>
                      <a:pt x="10800" y="21600"/>
                    </a:lnTo>
                    <a:lnTo>
                      <a:pt x="21600" y="21600"/>
                    </a:lnTo>
                    <a:cubicBezTo>
                      <a:pt x="20267" y="18319"/>
                      <a:pt x="19204" y="13878"/>
                      <a:pt x="18641" y="8662"/>
                    </a:cubicBezTo>
                    <a:cubicBezTo>
                      <a:pt x="18252" y="5058"/>
                      <a:pt x="18147" y="1513"/>
                      <a:pt x="18069" y="0"/>
                    </a:cubicBezTo>
                    <a:lnTo>
                      <a:pt x="10800" y="0"/>
                    </a:lnTo>
                    <a:lnTo>
                      <a:pt x="3531" y="0"/>
                    </a:lnTo>
                    <a:close/>
                  </a:path>
                </a:pathLst>
              </a:custGeom>
              <a:solidFill>
                <a:schemeClr val="bg1">
                  <a:lumMod val="65000"/>
                </a:schemeClr>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grpSp>
        <p:grpSp>
          <p:nvGrpSpPr>
            <p:cNvPr id="49" name="Group 50168">
              <a:extLst>
                <a:ext uri="{FF2B5EF4-FFF2-40B4-BE49-F238E27FC236}">
                  <a16:creationId xmlns:a16="http://schemas.microsoft.com/office/drawing/2014/main" id="{1E8F80AB-07EE-CC45-B95B-C7D10814D640}"/>
                </a:ext>
              </a:extLst>
            </p:cNvPr>
            <p:cNvGrpSpPr/>
            <p:nvPr/>
          </p:nvGrpSpPr>
          <p:grpSpPr>
            <a:xfrm>
              <a:off x="5938657" y="1892227"/>
              <a:ext cx="702210" cy="785937"/>
              <a:chOff x="0" y="0"/>
              <a:chExt cx="702208" cy="785936"/>
            </a:xfrm>
          </p:grpSpPr>
          <p:sp>
            <p:nvSpPr>
              <p:cNvPr id="58" name="Shape 50165">
                <a:extLst>
                  <a:ext uri="{FF2B5EF4-FFF2-40B4-BE49-F238E27FC236}">
                    <a16:creationId xmlns:a16="http://schemas.microsoft.com/office/drawing/2014/main" id="{3C10F2F0-34BE-8846-8CD9-7757984821D8}"/>
                  </a:ext>
                </a:extLst>
              </p:cNvPr>
              <p:cNvSpPr/>
              <p:nvPr/>
            </p:nvSpPr>
            <p:spPr>
              <a:xfrm>
                <a:off x="0" y="0"/>
                <a:ext cx="702209" cy="186226"/>
              </a:xfrm>
              <a:custGeom>
                <a:avLst/>
                <a:gdLst/>
                <a:ahLst/>
                <a:cxnLst>
                  <a:cxn ang="0">
                    <a:pos x="wd2" y="hd2"/>
                  </a:cxn>
                  <a:cxn ang="5400000">
                    <a:pos x="wd2" y="hd2"/>
                  </a:cxn>
                  <a:cxn ang="10800000">
                    <a:pos x="wd2" y="hd2"/>
                  </a:cxn>
                  <a:cxn ang="16200000">
                    <a:pos x="wd2" y="hd2"/>
                  </a:cxn>
                </a:cxnLst>
                <a:rect l="0" t="0" r="r" b="b"/>
                <a:pathLst>
                  <a:path w="21155" h="21600" extrusionOk="0">
                    <a:moveTo>
                      <a:pt x="21136" y="21600"/>
                    </a:moveTo>
                    <a:lnTo>
                      <a:pt x="21136" y="14478"/>
                    </a:lnTo>
                    <a:cubicBezTo>
                      <a:pt x="21136" y="14478"/>
                      <a:pt x="21378" y="11175"/>
                      <a:pt x="20164" y="9638"/>
                    </a:cubicBezTo>
                    <a:lnTo>
                      <a:pt x="19401" y="9638"/>
                    </a:lnTo>
                    <a:lnTo>
                      <a:pt x="19401" y="4665"/>
                    </a:lnTo>
                    <a:cubicBezTo>
                      <a:pt x="19401" y="4665"/>
                      <a:pt x="19365" y="0"/>
                      <a:pt x="18199" y="0"/>
                    </a:cubicBezTo>
                    <a:lnTo>
                      <a:pt x="2957" y="0"/>
                    </a:lnTo>
                    <a:cubicBezTo>
                      <a:pt x="1792" y="0"/>
                      <a:pt x="1755" y="4665"/>
                      <a:pt x="1755" y="4665"/>
                    </a:cubicBezTo>
                    <a:lnTo>
                      <a:pt x="1755" y="9638"/>
                    </a:lnTo>
                    <a:lnTo>
                      <a:pt x="992" y="9638"/>
                    </a:lnTo>
                    <a:cubicBezTo>
                      <a:pt x="-222" y="11175"/>
                      <a:pt x="20" y="14478"/>
                      <a:pt x="20" y="14478"/>
                    </a:cubicBezTo>
                    <a:lnTo>
                      <a:pt x="20" y="21600"/>
                    </a:lnTo>
                    <a:cubicBezTo>
                      <a:pt x="20" y="21600"/>
                      <a:pt x="21136" y="21600"/>
                      <a:pt x="21136" y="21600"/>
                    </a:cubicBezTo>
                    <a:close/>
                  </a:path>
                </a:pathLst>
              </a:custGeom>
              <a:solidFill>
                <a:schemeClr val="bg1">
                  <a:lumMod val="95000"/>
                </a:schemeClr>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sp>
            <p:nvSpPr>
              <p:cNvPr id="59" name="Shape 50166">
                <a:extLst>
                  <a:ext uri="{FF2B5EF4-FFF2-40B4-BE49-F238E27FC236}">
                    <a16:creationId xmlns:a16="http://schemas.microsoft.com/office/drawing/2014/main" id="{C846271B-C792-7E4F-8C69-508AAC2BAA19}"/>
                  </a:ext>
                </a:extLst>
              </p:cNvPr>
              <p:cNvSpPr/>
              <p:nvPr/>
            </p:nvSpPr>
            <p:spPr>
              <a:xfrm>
                <a:off x="59639" y="178917"/>
                <a:ext cx="559553" cy="60702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3230" y="21600"/>
                    </a:lnTo>
                    <a:lnTo>
                      <a:pt x="18370" y="21600"/>
                    </a:lnTo>
                    <a:lnTo>
                      <a:pt x="21600" y="0"/>
                    </a:lnTo>
                    <a:cubicBezTo>
                      <a:pt x="21600" y="0"/>
                      <a:pt x="0" y="0"/>
                      <a:pt x="0" y="0"/>
                    </a:cubicBezTo>
                    <a:close/>
                  </a:path>
                </a:pathLst>
              </a:custGeom>
              <a:solidFill>
                <a:schemeClr val="accent3"/>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sp>
            <p:nvSpPr>
              <p:cNvPr id="60" name="Shape 50167">
                <a:extLst>
                  <a:ext uri="{FF2B5EF4-FFF2-40B4-BE49-F238E27FC236}">
                    <a16:creationId xmlns:a16="http://schemas.microsoft.com/office/drawing/2014/main" id="{B3E8F806-C3AD-4945-8E1F-45165FB3B4A4}"/>
                  </a:ext>
                </a:extLst>
              </p:cNvPr>
              <p:cNvSpPr/>
              <p:nvPr/>
            </p:nvSpPr>
            <p:spPr>
              <a:xfrm>
                <a:off x="223646" y="313104"/>
                <a:ext cx="249522" cy="249535"/>
              </a:xfrm>
              <a:prstGeom prst="ellipse">
                <a:avLst/>
              </a:prstGeom>
              <a:solidFill>
                <a:schemeClr val="bg1">
                  <a:lumMod val="95000"/>
                </a:schemeClr>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grpSp>
        <p:grpSp>
          <p:nvGrpSpPr>
            <p:cNvPr id="50" name="Group 50176">
              <a:extLst>
                <a:ext uri="{FF2B5EF4-FFF2-40B4-BE49-F238E27FC236}">
                  <a16:creationId xmlns:a16="http://schemas.microsoft.com/office/drawing/2014/main" id="{6FD093D5-1B65-E644-8280-C1FAA800E112}"/>
                </a:ext>
              </a:extLst>
            </p:cNvPr>
            <p:cNvGrpSpPr/>
            <p:nvPr/>
          </p:nvGrpSpPr>
          <p:grpSpPr>
            <a:xfrm>
              <a:off x="369471" y="-1"/>
              <a:ext cx="2059435" cy="2678165"/>
              <a:chOff x="0" y="0"/>
              <a:chExt cx="2059434" cy="2678163"/>
            </a:xfrm>
          </p:grpSpPr>
          <p:sp>
            <p:nvSpPr>
              <p:cNvPr id="51" name="Shape 50169">
                <a:extLst>
                  <a:ext uri="{FF2B5EF4-FFF2-40B4-BE49-F238E27FC236}">
                    <a16:creationId xmlns:a16="http://schemas.microsoft.com/office/drawing/2014/main" id="{7D838655-79BA-3D44-AA8D-B2792EFE84EF}"/>
                  </a:ext>
                </a:extLst>
              </p:cNvPr>
              <p:cNvSpPr/>
              <p:nvPr/>
            </p:nvSpPr>
            <p:spPr>
              <a:xfrm>
                <a:off x="0" y="108993"/>
                <a:ext cx="1545014" cy="2274063"/>
              </a:xfrm>
              <a:custGeom>
                <a:avLst/>
                <a:gdLst/>
                <a:ahLst/>
                <a:cxnLst>
                  <a:cxn ang="0">
                    <a:pos x="wd2" y="hd2"/>
                  </a:cxn>
                  <a:cxn ang="5400000">
                    <a:pos x="wd2" y="hd2"/>
                  </a:cxn>
                  <a:cxn ang="10800000">
                    <a:pos x="wd2" y="hd2"/>
                  </a:cxn>
                  <a:cxn ang="16200000">
                    <a:pos x="wd2" y="hd2"/>
                  </a:cxn>
                </a:cxnLst>
                <a:rect l="0" t="0" r="r" b="b"/>
                <a:pathLst>
                  <a:path w="21600" h="21600" extrusionOk="0">
                    <a:moveTo>
                      <a:pt x="21600" y="21255"/>
                    </a:moveTo>
                    <a:lnTo>
                      <a:pt x="3149" y="8719"/>
                    </a:lnTo>
                    <a:cubicBezTo>
                      <a:pt x="3336" y="8532"/>
                      <a:pt x="3445" y="8307"/>
                      <a:pt x="3445" y="8064"/>
                    </a:cubicBezTo>
                    <a:cubicBezTo>
                      <a:pt x="3445" y="7804"/>
                      <a:pt x="3319" y="7565"/>
                      <a:pt x="3108" y="7371"/>
                    </a:cubicBezTo>
                    <a:lnTo>
                      <a:pt x="13449" y="345"/>
                    </a:lnTo>
                    <a:lnTo>
                      <a:pt x="12941" y="0"/>
                    </a:lnTo>
                    <a:lnTo>
                      <a:pt x="2570" y="7046"/>
                    </a:lnTo>
                    <a:cubicBezTo>
                      <a:pt x="2320" y="6949"/>
                      <a:pt x="2031" y="6894"/>
                      <a:pt x="1723" y="6894"/>
                    </a:cubicBezTo>
                    <a:cubicBezTo>
                      <a:pt x="771" y="6894"/>
                      <a:pt x="0" y="7418"/>
                      <a:pt x="0" y="8064"/>
                    </a:cubicBezTo>
                    <a:cubicBezTo>
                      <a:pt x="0" y="8710"/>
                      <a:pt x="771" y="9234"/>
                      <a:pt x="1723" y="9234"/>
                    </a:cubicBezTo>
                    <a:cubicBezTo>
                      <a:pt x="2056" y="9234"/>
                      <a:pt x="2366" y="9168"/>
                      <a:pt x="2630" y="9057"/>
                    </a:cubicBezTo>
                    <a:lnTo>
                      <a:pt x="21092" y="21600"/>
                    </a:lnTo>
                    <a:cubicBezTo>
                      <a:pt x="21092" y="21600"/>
                      <a:pt x="21600" y="21255"/>
                      <a:pt x="21600" y="21255"/>
                    </a:cubicBezTo>
                    <a:close/>
                  </a:path>
                </a:pathLst>
              </a:custGeom>
              <a:solidFill>
                <a:schemeClr val="bg1">
                  <a:lumMod val="50000"/>
                </a:schemeClr>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grpSp>
            <p:nvGrpSpPr>
              <p:cNvPr id="52" name="Group 50172">
                <a:extLst>
                  <a:ext uri="{FF2B5EF4-FFF2-40B4-BE49-F238E27FC236}">
                    <a16:creationId xmlns:a16="http://schemas.microsoft.com/office/drawing/2014/main" id="{174D4FCD-920B-0C4C-B1F1-B1C5B5C17D2B}"/>
                  </a:ext>
                </a:extLst>
              </p:cNvPr>
              <p:cNvGrpSpPr/>
              <p:nvPr/>
            </p:nvGrpSpPr>
            <p:grpSpPr>
              <a:xfrm>
                <a:off x="1226176" y="2220742"/>
                <a:ext cx="833259" cy="457422"/>
                <a:chOff x="0" y="0"/>
                <a:chExt cx="833257" cy="457421"/>
              </a:xfrm>
            </p:grpSpPr>
            <p:sp>
              <p:nvSpPr>
                <p:cNvPr id="56" name="Shape 50170">
                  <a:extLst>
                    <a:ext uri="{FF2B5EF4-FFF2-40B4-BE49-F238E27FC236}">
                      <a16:creationId xmlns:a16="http://schemas.microsoft.com/office/drawing/2014/main" id="{3CD0C9DB-AE58-A64D-B0DF-ED119AE5AA35}"/>
                    </a:ext>
                  </a:extLst>
                </p:cNvPr>
                <p:cNvSpPr/>
                <p:nvPr/>
              </p:nvSpPr>
              <p:spPr>
                <a:xfrm>
                  <a:off x="381477" y="0"/>
                  <a:ext cx="81746" cy="176570"/>
                </a:xfrm>
                <a:custGeom>
                  <a:avLst/>
                  <a:gdLst/>
                  <a:ahLst/>
                  <a:cxnLst>
                    <a:cxn ang="0">
                      <a:pos x="wd2" y="hd2"/>
                    </a:cxn>
                    <a:cxn ang="5400000">
                      <a:pos x="wd2" y="hd2"/>
                    </a:cxn>
                    <a:cxn ang="10800000">
                      <a:pos x="wd2" y="hd2"/>
                    </a:cxn>
                    <a:cxn ang="16200000">
                      <a:pos x="wd2" y="hd2"/>
                    </a:cxn>
                  </a:cxnLst>
                  <a:rect l="0" t="0" r="r" b="b"/>
                  <a:pathLst>
                    <a:path w="21600" h="21600" extrusionOk="0">
                      <a:moveTo>
                        <a:pt x="21600" y="16600"/>
                      </a:moveTo>
                      <a:cubicBezTo>
                        <a:pt x="21600" y="19362"/>
                        <a:pt x="16764" y="21600"/>
                        <a:pt x="10800" y="21600"/>
                      </a:cubicBezTo>
                      <a:lnTo>
                        <a:pt x="10800" y="21600"/>
                      </a:lnTo>
                      <a:cubicBezTo>
                        <a:pt x="4836" y="21600"/>
                        <a:pt x="0" y="19362"/>
                        <a:pt x="0" y="16600"/>
                      </a:cubicBezTo>
                      <a:lnTo>
                        <a:pt x="0" y="5000"/>
                      </a:lnTo>
                      <a:cubicBezTo>
                        <a:pt x="0" y="2238"/>
                        <a:pt x="4836" y="0"/>
                        <a:pt x="10800" y="0"/>
                      </a:cubicBezTo>
                      <a:lnTo>
                        <a:pt x="10800" y="0"/>
                      </a:lnTo>
                      <a:cubicBezTo>
                        <a:pt x="16764" y="0"/>
                        <a:pt x="21600" y="2238"/>
                        <a:pt x="21600" y="5000"/>
                      </a:cubicBezTo>
                      <a:cubicBezTo>
                        <a:pt x="21600" y="5000"/>
                        <a:pt x="21600" y="16600"/>
                        <a:pt x="21600" y="16600"/>
                      </a:cubicBezTo>
                      <a:close/>
                    </a:path>
                  </a:pathLst>
                </a:custGeom>
                <a:solidFill>
                  <a:srgbClr val="7F7F7F"/>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sp>
              <p:nvSpPr>
                <p:cNvPr id="57" name="Shape 50171">
                  <a:extLst>
                    <a:ext uri="{FF2B5EF4-FFF2-40B4-BE49-F238E27FC236}">
                      <a16:creationId xmlns:a16="http://schemas.microsoft.com/office/drawing/2014/main" id="{DC824447-0324-D049-8C72-1A12B64D2BE2}"/>
                    </a:ext>
                  </a:extLst>
                </p:cNvPr>
                <p:cNvSpPr/>
                <p:nvPr/>
              </p:nvSpPr>
              <p:spPr>
                <a:xfrm>
                  <a:off x="0" y="40872"/>
                  <a:ext cx="833258" cy="41655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16764" y="0"/>
                        <a:pt x="21600" y="9672"/>
                        <a:pt x="21600" y="21600"/>
                      </a:cubicBezTo>
                      <a:cubicBezTo>
                        <a:pt x="10115" y="21600"/>
                        <a:pt x="8658" y="21599"/>
                        <a:pt x="0" y="21600"/>
                      </a:cubicBezTo>
                      <a:cubicBezTo>
                        <a:pt x="0" y="9672"/>
                        <a:pt x="4835" y="0"/>
                        <a:pt x="10800" y="0"/>
                      </a:cubicBezTo>
                      <a:close/>
                    </a:path>
                  </a:pathLst>
                </a:custGeom>
                <a:solidFill>
                  <a:schemeClr val="accent1"/>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grpSp>
          <p:grpSp>
            <p:nvGrpSpPr>
              <p:cNvPr id="53" name="Group 50175">
                <a:extLst>
                  <a:ext uri="{FF2B5EF4-FFF2-40B4-BE49-F238E27FC236}">
                    <a16:creationId xmlns:a16="http://schemas.microsoft.com/office/drawing/2014/main" id="{6486DB67-8FED-B944-873E-E075CBBA665D}"/>
                  </a:ext>
                </a:extLst>
              </p:cNvPr>
              <p:cNvGrpSpPr/>
              <p:nvPr/>
            </p:nvGrpSpPr>
            <p:grpSpPr>
              <a:xfrm>
                <a:off x="762954" y="-1"/>
                <a:ext cx="820174" cy="779295"/>
                <a:chOff x="0" y="0"/>
                <a:chExt cx="820172" cy="779293"/>
              </a:xfrm>
            </p:grpSpPr>
            <p:sp>
              <p:nvSpPr>
                <p:cNvPr id="54" name="Shape 50173">
                  <a:extLst>
                    <a:ext uri="{FF2B5EF4-FFF2-40B4-BE49-F238E27FC236}">
                      <a16:creationId xmlns:a16="http://schemas.microsoft.com/office/drawing/2014/main" id="{6EAA6427-1161-7243-8657-5E056C36B570}"/>
                    </a:ext>
                  </a:extLst>
                </p:cNvPr>
                <p:cNvSpPr/>
                <p:nvPr/>
              </p:nvSpPr>
              <p:spPr>
                <a:xfrm>
                  <a:off x="0" y="0"/>
                  <a:ext cx="387938" cy="391032"/>
                </a:xfrm>
                <a:custGeom>
                  <a:avLst/>
                  <a:gdLst/>
                  <a:ahLst/>
                  <a:cxnLst>
                    <a:cxn ang="0">
                      <a:pos x="wd2" y="hd2"/>
                    </a:cxn>
                    <a:cxn ang="5400000">
                      <a:pos x="wd2" y="hd2"/>
                    </a:cxn>
                    <a:cxn ang="10800000">
                      <a:pos x="wd2" y="hd2"/>
                    </a:cxn>
                    <a:cxn ang="16200000">
                      <a:pos x="wd2" y="hd2"/>
                    </a:cxn>
                  </a:cxnLst>
                  <a:rect l="0" t="0" r="r" b="b"/>
                  <a:pathLst>
                    <a:path w="19825" h="19748" extrusionOk="0">
                      <a:moveTo>
                        <a:pt x="19825" y="8950"/>
                      </a:moveTo>
                      <a:lnTo>
                        <a:pt x="8899" y="19748"/>
                      </a:lnTo>
                      <a:lnTo>
                        <a:pt x="837" y="11782"/>
                      </a:lnTo>
                      <a:cubicBezTo>
                        <a:pt x="837" y="11782"/>
                        <a:pt x="-1775" y="6061"/>
                        <a:pt x="2228" y="2104"/>
                      </a:cubicBezTo>
                      <a:cubicBezTo>
                        <a:pt x="6232" y="-1852"/>
                        <a:pt x="11764" y="984"/>
                        <a:pt x="11764" y="984"/>
                      </a:cubicBezTo>
                      <a:cubicBezTo>
                        <a:pt x="11764" y="984"/>
                        <a:pt x="19825" y="8950"/>
                        <a:pt x="19825" y="8950"/>
                      </a:cubicBezTo>
                      <a:close/>
                    </a:path>
                  </a:pathLst>
                </a:custGeom>
                <a:solidFill>
                  <a:schemeClr val="accent1">
                    <a:lumMod val="75000"/>
                  </a:schemeClr>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sp>
              <p:nvSpPr>
                <p:cNvPr id="55" name="Shape 50174">
                  <a:extLst>
                    <a:ext uri="{FF2B5EF4-FFF2-40B4-BE49-F238E27FC236}">
                      <a16:creationId xmlns:a16="http://schemas.microsoft.com/office/drawing/2014/main" id="{172C81AA-B5AD-2844-8E01-0E2C0CBCEC43}"/>
                    </a:ext>
                  </a:extLst>
                </p:cNvPr>
                <p:cNvSpPr/>
                <p:nvPr/>
              </p:nvSpPr>
              <p:spPr>
                <a:xfrm>
                  <a:off x="108993" y="68121"/>
                  <a:ext cx="711180" cy="711173"/>
                </a:xfrm>
                <a:custGeom>
                  <a:avLst/>
                  <a:gdLst/>
                  <a:ahLst/>
                  <a:cxnLst>
                    <a:cxn ang="0">
                      <a:pos x="wd2" y="hd2"/>
                    </a:cxn>
                    <a:cxn ang="5400000">
                      <a:pos x="wd2" y="hd2"/>
                    </a:cxn>
                    <a:cxn ang="10800000">
                      <a:pos x="wd2" y="hd2"/>
                    </a:cxn>
                    <a:cxn ang="16200000">
                      <a:pos x="wd2" y="hd2"/>
                    </a:cxn>
                  </a:cxnLst>
                  <a:rect l="0" t="0" r="r" b="b"/>
                  <a:pathLst>
                    <a:path w="20431" h="20431" extrusionOk="0">
                      <a:moveTo>
                        <a:pt x="3506" y="3506"/>
                      </a:moveTo>
                      <a:cubicBezTo>
                        <a:pt x="8180" y="-1168"/>
                        <a:pt x="15758" y="-1169"/>
                        <a:pt x="20431" y="3504"/>
                      </a:cubicBezTo>
                      <a:cubicBezTo>
                        <a:pt x="11431" y="12504"/>
                        <a:pt x="10289" y="13646"/>
                        <a:pt x="3504" y="20431"/>
                      </a:cubicBezTo>
                      <a:cubicBezTo>
                        <a:pt x="-1169" y="15758"/>
                        <a:pt x="-1168" y="8180"/>
                        <a:pt x="3506" y="3506"/>
                      </a:cubicBezTo>
                      <a:close/>
                    </a:path>
                  </a:pathLst>
                </a:custGeom>
                <a:solidFill>
                  <a:schemeClr val="accent1"/>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grpSp>
        </p:grpSp>
      </p:grpSp>
      <p:grpSp>
        <p:nvGrpSpPr>
          <p:cNvPr id="22" name="Group 50181">
            <a:extLst>
              <a:ext uri="{FF2B5EF4-FFF2-40B4-BE49-F238E27FC236}">
                <a16:creationId xmlns:a16="http://schemas.microsoft.com/office/drawing/2014/main" id="{0570C1DB-8BCA-3145-B05E-DAD584A892B7}"/>
              </a:ext>
            </a:extLst>
          </p:cNvPr>
          <p:cNvGrpSpPr/>
          <p:nvPr/>
        </p:nvGrpSpPr>
        <p:grpSpPr>
          <a:xfrm>
            <a:off x="6019095" y="2652333"/>
            <a:ext cx="1003559" cy="1086547"/>
            <a:chOff x="0" y="81443"/>
            <a:chExt cx="939798" cy="1017514"/>
          </a:xfrm>
        </p:grpSpPr>
        <p:sp>
          <p:nvSpPr>
            <p:cNvPr id="44" name="Shape 50178">
              <a:extLst>
                <a:ext uri="{FF2B5EF4-FFF2-40B4-BE49-F238E27FC236}">
                  <a16:creationId xmlns:a16="http://schemas.microsoft.com/office/drawing/2014/main" id="{3B3B2E99-F992-954A-856B-588A4CBDB44B}"/>
                </a:ext>
              </a:extLst>
            </p:cNvPr>
            <p:cNvSpPr/>
            <p:nvPr/>
          </p:nvSpPr>
          <p:spPr>
            <a:xfrm>
              <a:off x="0" y="81443"/>
              <a:ext cx="939799" cy="222869"/>
            </a:xfrm>
            <a:custGeom>
              <a:avLst/>
              <a:gdLst/>
              <a:ahLst/>
              <a:cxnLst>
                <a:cxn ang="0">
                  <a:pos x="wd2" y="hd2"/>
                </a:cxn>
                <a:cxn ang="5400000">
                  <a:pos x="wd2" y="hd2"/>
                </a:cxn>
                <a:cxn ang="10800000">
                  <a:pos x="wd2" y="hd2"/>
                </a:cxn>
                <a:cxn ang="16200000">
                  <a:pos x="wd2" y="hd2"/>
                </a:cxn>
              </a:cxnLst>
              <a:rect l="0" t="0" r="r" b="b"/>
              <a:pathLst>
                <a:path w="21600" h="21600" extrusionOk="0">
                  <a:moveTo>
                    <a:pt x="1661" y="21600"/>
                  </a:moveTo>
                  <a:lnTo>
                    <a:pt x="1661" y="14538"/>
                  </a:lnTo>
                  <a:lnTo>
                    <a:pt x="3323" y="14538"/>
                  </a:lnTo>
                  <a:lnTo>
                    <a:pt x="3323" y="21600"/>
                  </a:lnTo>
                  <a:lnTo>
                    <a:pt x="4985" y="21600"/>
                  </a:lnTo>
                  <a:lnTo>
                    <a:pt x="4985" y="14538"/>
                  </a:lnTo>
                  <a:lnTo>
                    <a:pt x="6646" y="14538"/>
                  </a:lnTo>
                  <a:lnTo>
                    <a:pt x="6646" y="21600"/>
                  </a:lnTo>
                  <a:lnTo>
                    <a:pt x="8308" y="21600"/>
                  </a:lnTo>
                  <a:lnTo>
                    <a:pt x="8308" y="14538"/>
                  </a:lnTo>
                  <a:lnTo>
                    <a:pt x="9969" y="14538"/>
                  </a:lnTo>
                  <a:lnTo>
                    <a:pt x="9969" y="21600"/>
                  </a:lnTo>
                  <a:lnTo>
                    <a:pt x="11631" y="21600"/>
                  </a:lnTo>
                  <a:lnTo>
                    <a:pt x="11631" y="14538"/>
                  </a:lnTo>
                  <a:lnTo>
                    <a:pt x="13292" y="14538"/>
                  </a:lnTo>
                  <a:lnTo>
                    <a:pt x="13292" y="21600"/>
                  </a:lnTo>
                  <a:lnTo>
                    <a:pt x="14954" y="21600"/>
                  </a:lnTo>
                  <a:lnTo>
                    <a:pt x="14954" y="14538"/>
                  </a:lnTo>
                  <a:lnTo>
                    <a:pt x="16615" y="14538"/>
                  </a:lnTo>
                  <a:lnTo>
                    <a:pt x="16615" y="21600"/>
                  </a:lnTo>
                  <a:lnTo>
                    <a:pt x="18277" y="21600"/>
                  </a:lnTo>
                  <a:lnTo>
                    <a:pt x="18277" y="14538"/>
                  </a:lnTo>
                  <a:lnTo>
                    <a:pt x="19938" y="14538"/>
                  </a:lnTo>
                  <a:lnTo>
                    <a:pt x="19938" y="21600"/>
                  </a:lnTo>
                  <a:lnTo>
                    <a:pt x="21600" y="21600"/>
                  </a:lnTo>
                  <a:lnTo>
                    <a:pt x="21600" y="0"/>
                  </a:lnTo>
                  <a:lnTo>
                    <a:pt x="0" y="0"/>
                  </a:lnTo>
                  <a:lnTo>
                    <a:pt x="0" y="21600"/>
                  </a:lnTo>
                  <a:lnTo>
                    <a:pt x="1661" y="21600"/>
                  </a:lnTo>
                  <a:close/>
                </a:path>
              </a:pathLst>
            </a:custGeom>
            <a:solidFill>
              <a:schemeClr val="accent4"/>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sp>
          <p:nvSpPr>
            <p:cNvPr id="45" name="Shape 50179">
              <a:extLst>
                <a:ext uri="{FF2B5EF4-FFF2-40B4-BE49-F238E27FC236}">
                  <a16:creationId xmlns:a16="http://schemas.microsoft.com/office/drawing/2014/main" id="{2B25F52C-61C9-4547-85A1-6F2104F13292}"/>
                </a:ext>
              </a:extLst>
            </p:cNvPr>
            <p:cNvSpPr/>
            <p:nvPr/>
          </p:nvSpPr>
          <p:spPr>
            <a:xfrm>
              <a:off x="0" y="224841"/>
              <a:ext cx="939799" cy="874117"/>
            </a:xfrm>
            <a:custGeom>
              <a:avLst/>
              <a:gdLst/>
              <a:ahLst/>
              <a:cxnLst>
                <a:cxn ang="0">
                  <a:pos x="wd2" y="hd2"/>
                </a:cxn>
                <a:cxn ang="5400000">
                  <a:pos x="wd2" y="hd2"/>
                </a:cxn>
                <a:cxn ang="10800000">
                  <a:pos x="wd2" y="hd2"/>
                </a:cxn>
                <a:cxn ang="16200000">
                  <a:pos x="wd2" y="hd2"/>
                </a:cxn>
              </a:cxnLst>
              <a:rect l="0" t="0" r="r" b="b"/>
              <a:pathLst>
                <a:path w="21600" h="21600" extrusionOk="0">
                  <a:moveTo>
                    <a:pt x="19938" y="0"/>
                  </a:moveTo>
                  <a:lnTo>
                    <a:pt x="18277" y="0"/>
                  </a:lnTo>
                  <a:lnTo>
                    <a:pt x="18277" y="1801"/>
                  </a:lnTo>
                  <a:lnTo>
                    <a:pt x="16615" y="1801"/>
                  </a:lnTo>
                  <a:lnTo>
                    <a:pt x="16615" y="0"/>
                  </a:lnTo>
                  <a:lnTo>
                    <a:pt x="14954" y="0"/>
                  </a:lnTo>
                  <a:lnTo>
                    <a:pt x="14954" y="1801"/>
                  </a:lnTo>
                  <a:lnTo>
                    <a:pt x="13292" y="1801"/>
                  </a:lnTo>
                  <a:lnTo>
                    <a:pt x="13292" y="0"/>
                  </a:lnTo>
                  <a:lnTo>
                    <a:pt x="11631" y="0"/>
                  </a:lnTo>
                  <a:lnTo>
                    <a:pt x="11631" y="1801"/>
                  </a:lnTo>
                  <a:lnTo>
                    <a:pt x="9969" y="1801"/>
                  </a:lnTo>
                  <a:lnTo>
                    <a:pt x="9969" y="0"/>
                  </a:lnTo>
                  <a:lnTo>
                    <a:pt x="8308" y="0"/>
                  </a:lnTo>
                  <a:lnTo>
                    <a:pt x="8308" y="1801"/>
                  </a:lnTo>
                  <a:lnTo>
                    <a:pt x="6646" y="1801"/>
                  </a:lnTo>
                  <a:lnTo>
                    <a:pt x="6646" y="0"/>
                  </a:lnTo>
                  <a:lnTo>
                    <a:pt x="4985" y="0"/>
                  </a:lnTo>
                  <a:lnTo>
                    <a:pt x="4985" y="1801"/>
                  </a:lnTo>
                  <a:lnTo>
                    <a:pt x="3323" y="1801"/>
                  </a:lnTo>
                  <a:lnTo>
                    <a:pt x="3323" y="0"/>
                  </a:lnTo>
                  <a:lnTo>
                    <a:pt x="1661" y="0"/>
                  </a:lnTo>
                  <a:lnTo>
                    <a:pt x="1661" y="1801"/>
                  </a:lnTo>
                  <a:lnTo>
                    <a:pt x="0" y="1801"/>
                  </a:lnTo>
                  <a:lnTo>
                    <a:pt x="0" y="18899"/>
                  </a:lnTo>
                  <a:cubicBezTo>
                    <a:pt x="0" y="19790"/>
                    <a:pt x="218" y="20466"/>
                    <a:pt x="639" y="20918"/>
                  </a:cubicBezTo>
                  <a:cubicBezTo>
                    <a:pt x="1060" y="21370"/>
                    <a:pt x="1683" y="21600"/>
                    <a:pt x="2492" y="21600"/>
                  </a:cubicBezTo>
                  <a:lnTo>
                    <a:pt x="19108" y="21600"/>
                  </a:lnTo>
                  <a:cubicBezTo>
                    <a:pt x="19930" y="21600"/>
                    <a:pt x="20553" y="21385"/>
                    <a:pt x="20971" y="20939"/>
                  </a:cubicBezTo>
                  <a:cubicBezTo>
                    <a:pt x="21388" y="20494"/>
                    <a:pt x="21600" y="19819"/>
                    <a:pt x="21600" y="18899"/>
                  </a:cubicBezTo>
                  <a:lnTo>
                    <a:pt x="21600" y="1801"/>
                  </a:lnTo>
                  <a:lnTo>
                    <a:pt x="19938" y="1801"/>
                  </a:lnTo>
                  <a:lnTo>
                    <a:pt x="19938" y="0"/>
                  </a:lnTo>
                  <a:close/>
                </a:path>
              </a:pathLst>
            </a:custGeom>
            <a:solidFill>
              <a:schemeClr val="bg1">
                <a:lumMod val="85000"/>
              </a:schemeClr>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sp>
          <p:nvSpPr>
            <p:cNvPr id="46" name="Shape 50180">
              <a:extLst>
                <a:ext uri="{FF2B5EF4-FFF2-40B4-BE49-F238E27FC236}">
                  <a16:creationId xmlns:a16="http://schemas.microsoft.com/office/drawing/2014/main" id="{EFF39C4E-CDF9-D744-89B7-15CD36EE8454}"/>
                </a:ext>
              </a:extLst>
            </p:cNvPr>
            <p:cNvSpPr/>
            <p:nvPr/>
          </p:nvSpPr>
          <p:spPr>
            <a:xfrm>
              <a:off x="289081" y="448252"/>
              <a:ext cx="379531" cy="530826"/>
            </a:xfrm>
            <a:custGeom>
              <a:avLst/>
              <a:gdLst/>
              <a:ahLst/>
              <a:cxnLst>
                <a:cxn ang="0">
                  <a:pos x="wd2" y="hd2"/>
                </a:cxn>
                <a:cxn ang="5400000">
                  <a:pos x="wd2" y="hd2"/>
                </a:cxn>
                <a:cxn ang="10800000">
                  <a:pos x="wd2" y="hd2"/>
                </a:cxn>
                <a:cxn ang="16200000">
                  <a:pos x="wd2" y="hd2"/>
                </a:cxn>
              </a:cxnLst>
              <a:rect l="0" t="0" r="r" b="b"/>
              <a:pathLst>
                <a:path w="21600" h="21288" extrusionOk="0">
                  <a:moveTo>
                    <a:pt x="8290" y="16337"/>
                  </a:moveTo>
                  <a:cubicBezTo>
                    <a:pt x="8290" y="18224"/>
                    <a:pt x="6058" y="18632"/>
                    <a:pt x="6058" y="19098"/>
                  </a:cubicBezTo>
                  <a:cubicBezTo>
                    <a:pt x="6058" y="19500"/>
                    <a:pt x="7566" y="19624"/>
                    <a:pt x="8243" y="19663"/>
                  </a:cubicBezTo>
                  <a:lnTo>
                    <a:pt x="8243" y="21273"/>
                  </a:lnTo>
                  <a:cubicBezTo>
                    <a:pt x="4525" y="21024"/>
                    <a:pt x="0" y="19629"/>
                    <a:pt x="0" y="16664"/>
                  </a:cubicBezTo>
                  <a:cubicBezTo>
                    <a:pt x="0" y="14996"/>
                    <a:pt x="1754" y="13684"/>
                    <a:pt x="4265" y="13684"/>
                  </a:cubicBezTo>
                  <a:cubicBezTo>
                    <a:pt x="6257" y="13684"/>
                    <a:pt x="8290" y="14942"/>
                    <a:pt x="8290" y="16337"/>
                  </a:cubicBezTo>
                  <a:close/>
                  <a:moveTo>
                    <a:pt x="8768" y="4961"/>
                  </a:moveTo>
                  <a:cubicBezTo>
                    <a:pt x="8768" y="6355"/>
                    <a:pt x="7014" y="7640"/>
                    <a:pt x="4942" y="7640"/>
                  </a:cubicBezTo>
                  <a:cubicBezTo>
                    <a:pt x="2630" y="7640"/>
                    <a:pt x="997" y="6464"/>
                    <a:pt x="997" y="4905"/>
                  </a:cubicBezTo>
                  <a:cubicBezTo>
                    <a:pt x="997" y="2158"/>
                    <a:pt x="4667" y="528"/>
                    <a:pt x="8243" y="113"/>
                  </a:cubicBezTo>
                  <a:lnTo>
                    <a:pt x="8243" y="1730"/>
                  </a:lnTo>
                  <a:cubicBezTo>
                    <a:pt x="7607" y="1826"/>
                    <a:pt x="6736" y="2047"/>
                    <a:pt x="6736" y="2498"/>
                  </a:cubicBezTo>
                  <a:cubicBezTo>
                    <a:pt x="6736" y="3100"/>
                    <a:pt x="8768" y="3154"/>
                    <a:pt x="8768" y="4961"/>
                  </a:cubicBezTo>
                  <a:close/>
                  <a:moveTo>
                    <a:pt x="14865" y="10430"/>
                  </a:moveTo>
                  <a:lnTo>
                    <a:pt x="14865" y="10484"/>
                  </a:lnTo>
                  <a:cubicBezTo>
                    <a:pt x="19209" y="11305"/>
                    <a:pt x="21600" y="12645"/>
                    <a:pt x="21600" y="15488"/>
                  </a:cubicBezTo>
                  <a:cubicBezTo>
                    <a:pt x="21600" y="17968"/>
                    <a:pt x="19341" y="21395"/>
                    <a:pt x="10300" y="21286"/>
                  </a:cubicBezTo>
                  <a:lnTo>
                    <a:pt x="10300" y="19651"/>
                  </a:lnTo>
                  <a:cubicBezTo>
                    <a:pt x="12090" y="19335"/>
                    <a:pt x="12673" y="18473"/>
                    <a:pt x="12673" y="17212"/>
                  </a:cubicBezTo>
                  <a:lnTo>
                    <a:pt x="12673" y="13547"/>
                  </a:lnTo>
                  <a:cubicBezTo>
                    <a:pt x="12673" y="12289"/>
                    <a:pt x="12395" y="11195"/>
                    <a:pt x="10083" y="11114"/>
                  </a:cubicBezTo>
                  <a:cubicBezTo>
                    <a:pt x="9325" y="11085"/>
                    <a:pt x="8449" y="11031"/>
                    <a:pt x="8449" y="10347"/>
                  </a:cubicBezTo>
                  <a:cubicBezTo>
                    <a:pt x="8449" y="9637"/>
                    <a:pt x="9246" y="9581"/>
                    <a:pt x="10083" y="9527"/>
                  </a:cubicBezTo>
                  <a:cubicBezTo>
                    <a:pt x="12634" y="9363"/>
                    <a:pt x="12673" y="7585"/>
                    <a:pt x="12673" y="7311"/>
                  </a:cubicBezTo>
                  <a:lnTo>
                    <a:pt x="12673" y="4139"/>
                  </a:lnTo>
                  <a:cubicBezTo>
                    <a:pt x="12673" y="2932"/>
                    <a:pt x="12128" y="1966"/>
                    <a:pt x="10300" y="1645"/>
                  </a:cubicBezTo>
                  <a:lnTo>
                    <a:pt x="10300" y="9"/>
                  </a:lnTo>
                  <a:cubicBezTo>
                    <a:pt x="18155" y="-205"/>
                    <a:pt x="21122" y="3137"/>
                    <a:pt x="21122" y="5425"/>
                  </a:cubicBezTo>
                  <a:cubicBezTo>
                    <a:pt x="21122" y="8132"/>
                    <a:pt x="18492" y="9800"/>
                    <a:pt x="14865" y="10430"/>
                  </a:cubicBezTo>
                  <a:close/>
                </a:path>
              </a:pathLst>
            </a:custGeom>
            <a:solidFill>
              <a:schemeClr val="bg1">
                <a:lumMod val="50000"/>
              </a:schemeClr>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grpSp>
      <p:grpSp>
        <p:nvGrpSpPr>
          <p:cNvPr id="23" name="Group 50202">
            <a:extLst>
              <a:ext uri="{FF2B5EF4-FFF2-40B4-BE49-F238E27FC236}">
                <a16:creationId xmlns:a16="http://schemas.microsoft.com/office/drawing/2014/main" id="{0A8DCC5B-E26F-114E-8B7D-56C2ADDF182E}"/>
              </a:ext>
            </a:extLst>
          </p:cNvPr>
          <p:cNvGrpSpPr/>
          <p:nvPr/>
        </p:nvGrpSpPr>
        <p:grpSpPr>
          <a:xfrm>
            <a:off x="7855344" y="1634490"/>
            <a:ext cx="2441090" cy="2109164"/>
            <a:chOff x="0" y="0"/>
            <a:chExt cx="2286000" cy="1975161"/>
          </a:xfrm>
        </p:grpSpPr>
        <p:grpSp>
          <p:nvGrpSpPr>
            <p:cNvPr id="24" name="Group 50200">
              <a:extLst>
                <a:ext uri="{FF2B5EF4-FFF2-40B4-BE49-F238E27FC236}">
                  <a16:creationId xmlns:a16="http://schemas.microsoft.com/office/drawing/2014/main" id="{F4BD6A13-3864-C546-94F7-CE3F9AA020D8}"/>
                </a:ext>
              </a:extLst>
            </p:cNvPr>
            <p:cNvGrpSpPr/>
            <p:nvPr/>
          </p:nvGrpSpPr>
          <p:grpSpPr>
            <a:xfrm>
              <a:off x="195014" y="0"/>
              <a:ext cx="1776554" cy="1847341"/>
              <a:chOff x="0" y="0"/>
              <a:chExt cx="1776553" cy="1847340"/>
            </a:xfrm>
          </p:grpSpPr>
          <p:grpSp>
            <p:nvGrpSpPr>
              <p:cNvPr id="26" name="Group 50184">
                <a:extLst>
                  <a:ext uri="{FF2B5EF4-FFF2-40B4-BE49-F238E27FC236}">
                    <a16:creationId xmlns:a16="http://schemas.microsoft.com/office/drawing/2014/main" id="{DF4B2BF6-57AC-994D-8A17-59C66676D8FA}"/>
                  </a:ext>
                </a:extLst>
              </p:cNvPr>
              <p:cNvGrpSpPr/>
              <p:nvPr/>
            </p:nvGrpSpPr>
            <p:grpSpPr>
              <a:xfrm>
                <a:off x="0" y="0"/>
                <a:ext cx="1105572" cy="1847341"/>
                <a:chOff x="0" y="0"/>
                <a:chExt cx="1105571" cy="1847340"/>
              </a:xfrm>
            </p:grpSpPr>
            <p:sp>
              <p:nvSpPr>
                <p:cNvPr id="42" name="Shape 50182">
                  <a:extLst>
                    <a:ext uri="{FF2B5EF4-FFF2-40B4-BE49-F238E27FC236}">
                      <a16:creationId xmlns:a16="http://schemas.microsoft.com/office/drawing/2014/main" id="{8E48B094-AE6A-4448-B8A9-1A7F427BD716}"/>
                    </a:ext>
                  </a:extLst>
                </p:cNvPr>
                <p:cNvSpPr/>
                <p:nvPr/>
              </p:nvSpPr>
              <p:spPr>
                <a:xfrm>
                  <a:off x="0" y="1103976"/>
                  <a:ext cx="929206" cy="74336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17712" y="21600"/>
                      </a:lnTo>
                      <a:lnTo>
                        <a:pt x="3888" y="21600"/>
                      </a:lnTo>
                      <a:lnTo>
                        <a:pt x="0" y="0"/>
                      </a:lnTo>
                      <a:close/>
                    </a:path>
                  </a:pathLst>
                </a:custGeom>
                <a:solidFill>
                  <a:schemeClr val="bg1">
                    <a:lumMod val="75000"/>
                  </a:schemeClr>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43" name="Shape 50183">
                  <a:extLst>
                    <a:ext uri="{FF2B5EF4-FFF2-40B4-BE49-F238E27FC236}">
                      <a16:creationId xmlns:a16="http://schemas.microsoft.com/office/drawing/2014/main" id="{78468407-AC72-B843-8AF0-9B419D474209}"/>
                    </a:ext>
                  </a:extLst>
                </p:cNvPr>
                <p:cNvSpPr/>
                <p:nvPr/>
              </p:nvSpPr>
              <p:spPr>
                <a:xfrm>
                  <a:off x="362573" y="-1"/>
                  <a:ext cx="742999" cy="1104234"/>
                </a:xfrm>
                <a:custGeom>
                  <a:avLst/>
                  <a:gdLst/>
                  <a:ahLst/>
                  <a:cxnLst>
                    <a:cxn ang="0">
                      <a:pos x="wd2" y="hd2"/>
                    </a:cxn>
                    <a:cxn ang="5400000">
                      <a:pos x="wd2" y="hd2"/>
                    </a:cxn>
                    <a:cxn ang="10800000">
                      <a:pos x="wd2" y="hd2"/>
                    </a:cxn>
                    <a:cxn ang="16200000">
                      <a:pos x="wd2" y="hd2"/>
                    </a:cxn>
                  </a:cxnLst>
                  <a:rect l="0" t="0" r="r" b="b"/>
                  <a:pathLst>
                    <a:path w="21153" h="21518" extrusionOk="0">
                      <a:moveTo>
                        <a:pt x="13748" y="5"/>
                      </a:moveTo>
                      <a:cubicBezTo>
                        <a:pt x="10257" y="-82"/>
                        <a:pt x="5982" y="785"/>
                        <a:pt x="4674" y="5209"/>
                      </a:cubicBezTo>
                      <a:cubicBezTo>
                        <a:pt x="9070" y="2384"/>
                        <a:pt x="12957" y="2642"/>
                        <a:pt x="15855" y="3724"/>
                      </a:cubicBezTo>
                      <a:cubicBezTo>
                        <a:pt x="16891" y="2980"/>
                        <a:pt x="17863" y="1998"/>
                        <a:pt x="18703" y="717"/>
                      </a:cubicBezTo>
                      <a:cubicBezTo>
                        <a:pt x="18703" y="717"/>
                        <a:pt x="16463" y="73"/>
                        <a:pt x="13748" y="5"/>
                      </a:cubicBezTo>
                      <a:close/>
                      <a:moveTo>
                        <a:pt x="11596" y="3566"/>
                      </a:moveTo>
                      <a:cubicBezTo>
                        <a:pt x="10042" y="3579"/>
                        <a:pt x="8347" y="3914"/>
                        <a:pt x="6545" y="4747"/>
                      </a:cubicBezTo>
                      <a:cubicBezTo>
                        <a:pt x="6231" y="4892"/>
                        <a:pt x="5508" y="5195"/>
                        <a:pt x="3938" y="6058"/>
                      </a:cubicBezTo>
                      <a:cubicBezTo>
                        <a:pt x="2140" y="7047"/>
                        <a:pt x="622" y="8984"/>
                        <a:pt x="174" y="11496"/>
                      </a:cubicBezTo>
                      <a:cubicBezTo>
                        <a:pt x="-447" y="14975"/>
                        <a:pt x="721" y="19442"/>
                        <a:pt x="1646" y="21518"/>
                      </a:cubicBezTo>
                      <a:lnTo>
                        <a:pt x="3882" y="21518"/>
                      </a:lnTo>
                      <a:cubicBezTo>
                        <a:pt x="3043" y="19675"/>
                        <a:pt x="829" y="15950"/>
                        <a:pt x="1241" y="11623"/>
                      </a:cubicBezTo>
                      <a:cubicBezTo>
                        <a:pt x="1473" y="9199"/>
                        <a:pt x="3086" y="6899"/>
                        <a:pt x="4899" y="6212"/>
                      </a:cubicBezTo>
                      <a:cubicBezTo>
                        <a:pt x="6287" y="7478"/>
                        <a:pt x="11724" y="11537"/>
                        <a:pt x="21153" y="7897"/>
                      </a:cubicBezTo>
                      <a:cubicBezTo>
                        <a:pt x="21153" y="7897"/>
                        <a:pt x="19126" y="5567"/>
                        <a:pt x="15799" y="4324"/>
                      </a:cubicBezTo>
                      <a:cubicBezTo>
                        <a:pt x="14565" y="3863"/>
                        <a:pt x="13151" y="3554"/>
                        <a:pt x="11596" y="3566"/>
                      </a:cubicBezTo>
                      <a:close/>
                    </a:path>
                  </a:pathLst>
                </a:custGeom>
                <a:solidFill>
                  <a:schemeClr val="accent2"/>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grpSp>
          <p:grpSp>
            <p:nvGrpSpPr>
              <p:cNvPr id="27" name="Group 50199">
                <a:extLst>
                  <a:ext uri="{FF2B5EF4-FFF2-40B4-BE49-F238E27FC236}">
                    <a16:creationId xmlns:a16="http://schemas.microsoft.com/office/drawing/2014/main" id="{37BFB5C9-243D-2641-B7B4-D2EC6FC6539B}"/>
                  </a:ext>
                </a:extLst>
              </p:cNvPr>
              <p:cNvGrpSpPr/>
              <p:nvPr/>
            </p:nvGrpSpPr>
            <p:grpSpPr>
              <a:xfrm>
                <a:off x="1266175" y="944322"/>
                <a:ext cx="510379" cy="903019"/>
                <a:chOff x="0" y="0"/>
                <a:chExt cx="510377" cy="903018"/>
              </a:xfrm>
            </p:grpSpPr>
            <p:grpSp>
              <p:nvGrpSpPr>
                <p:cNvPr id="28" name="Group 50197">
                  <a:extLst>
                    <a:ext uri="{FF2B5EF4-FFF2-40B4-BE49-F238E27FC236}">
                      <a16:creationId xmlns:a16="http://schemas.microsoft.com/office/drawing/2014/main" id="{83472C59-B442-BD41-B54B-1FF8C4D63C4A}"/>
                    </a:ext>
                  </a:extLst>
                </p:cNvPr>
                <p:cNvGrpSpPr/>
                <p:nvPr/>
              </p:nvGrpSpPr>
              <p:grpSpPr>
                <a:xfrm>
                  <a:off x="67997" y="0"/>
                  <a:ext cx="371250" cy="839536"/>
                  <a:chOff x="0" y="0"/>
                  <a:chExt cx="371249" cy="839535"/>
                </a:xfrm>
              </p:grpSpPr>
              <p:grpSp>
                <p:nvGrpSpPr>
                  <p:cNvPr id="30" name="Group 50188">
                    <a:extLst>
                      <a:ext uri="{FF2B5EF4-FFF2-40B4-BE49-F238E27FC236}">
                        <a16:creationId xmlns:a16="http://schemas.microsoft.com/office/drawing/2014/main" id="{270688FC-D62F-DF4A-93D4-638CB3F65391}"/>
                      </a:ext>
                    </a:extLst>
                  </p:cNvPr>
                  <p:cNvGrpSpPr/>
                  <p:nvPr/>
                </p:nvGrpSpPr>
                <p:grpSpPr>
                  <a:xfrm>
                    <a:off x="122394" y="77355"/>
                    <a:ext cx="98484" cy="707241"/>
                    <a:chOff x="0" y="0"/>
                    <a:chExt cx="98482" cy="707240"/>
                  </a:xfrm>
                </p:grpSpPr>
                <p:sp>
                  <p:nvSpPr>
                    <p:cNvPr id="39" name="Shape 50185">
                      <a:extLst>
                        <a:ext uri="{FF2B5EF4-FFF2-40B4-BE49-F238E27FC236}">
                          <a16:creationId xmlns:a16="http://schemas.microsoft.com/office/drawing/2014/main" id="{916864C5-631C-0B43-8EF3-283267A8ED52}"/>
                        </a:ext>
                      </a:extLst>
                    </p:cNvPr>
                    <p:cNvSpPr/>
                    <p:nvPr/>
                  </p:nvSpPr>
                  <p:spPr>
                    <a:xfrm>
                      <a:off x="0" y="13599"/>
                      <a:ext cx="97215" cy="592706"/>
                    </a:xfrm>
                    <a:custGeom>
                      <a:avLst/>
                      <a:gdLst/>
                      <a:ahLst/>
                      <a:cxnLst>
                        <a:cxn ang="0">
                          <a:pos x="wd2" y="hd2"/>
                        </a:cxn>
                        <a:cxn ang="5400000">
                          <a:pos x="wd2" y="hd2"/>
                        </a:cxn>
                        <a:cxn ang="10800000">
                          <a:pos x="wd2" y="hd2"/>
                        </a:cxn>
                        <a:cxn ang="16200000">
                          <a:pos x="wd2" y="hd2"/>
                        </a:cxn>
                      </a:cxnLst>
                      <a:rect l="0" t="0" r="r" b="b"/>
                      <a:pathLst>
                        <a:path w="21600" h="21600" extrusionOk="0">
                          <a:moveTo>
                            <a:pt x="21600" y="21504"/>
                          </a:moveTo>
                          <a:lnTo>
                            <a:pt x="4491" y="21600"/>
                          </a:lnTo>
                          <a:lnTo>
                            <a:pt x="0" y="96"/>
                          </a:lnTo>
                          <a:lnTo>
                            <a:pt x="17109" y="0"/>
                          </a:lnTo>
                          <a:cubicBezTo>
                            <a:pt x="17109" y="0"/>
                            <a:pt x="21600" y="21504"/>
                            <a:pt x="21600" y="21504"/>
                          </a:cubicBezTo>
                          <a:close/>
                        </a:path>
                      </a:pathLst>
                    </a:custGeom>
                    <a:solidFill>
                      <a:schemeClr val="accent4"/>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sp>
                  <p:nvSpPr>
                    <p:cNvPr id="40" name="Shape 50186">
                      <a:extLst>
                        <a:ext uri="{FF2B5EF4-FFF2-40B4-BE49-F238E27FC236}">
                          <a16:creationId xmlns:a16="http://schemas.microsoft.com/office/drawing/2014/main" id="{CF8E41C6-A990-794D-B03D-A409C82E99BE}"/>
                        </a:ext>
                      </a:extLst>
                    </p:cNvPr>
                    <p:cNvSpPr/>
                    <p:nvPr/>
                  </p:nvSpPr>
                  <p:spPr>
                    <a:xfrm>
                      <a:off x="0" y="0"/>
                      <a:ext cx="77320" cy="18534"/>
                    </a:xfrm>
                    <a:custGeom>
                      <a:avLst/>
                      <a:gdLst/>
                      <a:ahLst/>
                      <a:cxnLst>
                        <a:cxn ang="0">
                          <a:pos x="wd2" y="hd2"/>
                        </a:cxn>
                        <a:cxn ang="5400000">
                          <a:pos x="wd2" y="hd2"/>
                        </a:cxn>
                        <a:cxn ang="10800000">
                          <a:pos x="wd2" y="hd2"/>
                        </a:cxn>
                        <a:cxn ang="16200000">
                          <a:pos x="wd2" y="hd2"/>
                        </a:cxn>
                      </a:cxnLst>
                      <a:rect l="0" t="0" r="r" b="b"/>
                      <a:pathLst>
                        <a:path w="21600" h="21600" extrusionOk="0">
                          <a:moveTo>
                            <a:pt x="21600" y="18071"/>
                          </a:moveTo>
                          <a:lnTo>
                            <a:pt x="178" y="21600"/>
                          </a:lnTo>
                          <a:lnTo>
                            <a:pt x="0" y="3529"/>
                          </a:lnTo>
                          <a:lnTo>
                            <a:pt x="21426" y="0"/>
                          </a:lnTo>
                          <a:cubicBezTo>
                            <a:pt x="21426" y="0"/>
                            <a:pt x="21600" y="18071"/>
                            <a:pt x="21600" y="18071"/>
                          </a:cubicBezTo>
                          <a:close/>
                        </a:path>
                      </a:pathLst>
                    </a:custGeom>
                    <a:solidFill>
                      <a:srgbClr val="E5E5E5"/>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sp>
                  <p:nvSpPr>
                    <p:cNvPr id="41" name="Shape 50187">
                      <a:extLst>
                        <a:ext uri="{FF2B5EF4-FFF2-40B4-BE49-F238E27FC236}">
                          <a16:creationId xmlns:a16="http://schemas.microsoft.com/office/drawing/2014/main" id="{438F28E1-FC18-1146-A394-AFE0F9B282A5}"/>
                        </a:ext>
                      </a:extLst>
                    </p:cNvPr>
                    <p:cNvSpPr/>
                    <p:nvPr/>
                  </p:nvSpPr>
                  <p:spPr>
                    <a:xfrm>
                      <a:off x="17950" y="601191"/>
                      <a:ext cx="80533" cy="106050"/>
                    </a:xfrm>
                    <a:custGeom>
                      <a:avLst/>
                      <a:gdLst/>
                      <a:ahLst/>
                      <a:cxnLst>
                        <a:cxn ang="0">
                          <a:pos x="wd2" y="hd2"/>
                        </a:cxn>
                        <a:cxn ang="5400000">
                          <a:pos x="wd2" y="hd2"/>
                        </a:cxn>
                        <a:cxn ang="10800000">
                          <a:pos x="wd2" y="hd2"/>
                        </a:cxn>
                        <a:cxn ang="16200000">
                          <a:pos x="wd2" y="hd2"/>
                        </a:cxn>
                      </a:cxnLst>
                      <a:rect l="0" t="0" r="r" b="b"/>
                      <a:pathLst>
                        <a:path w="21600" h="21600" extrusionOk="0">
                          <a:moveTo>
                            <a:pt x="0" y="838"/>
                          </a:moveTo>
                          <a:lnTo>
                            <a:pt x="21600" y="0"/>
                          </a:lnTo>
                          <a:lnTo>
                            <a:pt x="12548" y="21600"/>
                          </a:lnTo>
                          <a:lnTo>
                            <a:pt x="0" y="838"/>
                          </a:lnTo>
                          <a:close/>
                        </a:path>
                      </a:pathLst>
                    </a:custGeom>
                    <a:solidFill>
                      <a:srgbClr val="E5E5E5"/>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grpSp>
              <p:grpSp>
                <p:nvGrpSpPr>
                  <p:cNvPr id="31" name="Group 50192">
                    <a:extLst>
                      <a:ext uri="{FF2B5EF4-FFF2-40B4-BE49-F238E27FC236}">
                        <a16:creationId xmlns:a16="http://schemas.microsoft.com/office/drawing/2014/main" id="{D24B4376-C4CA-644E-8A9C-E924E5007BD9}"/>
                      </a:ext>
                    </a:extLst>
                  </p:cNvPr>
                  <p:cNvGrpSpPr/>
                  <p:nvPr/>
                </p:nvGrpSpPr>
                <p:grpSpPr>
                  <a:xfrm>
                    <a:off x="0" y="131753"/>
                    <a:ext cx="121432" cy="707783"/>
                    <a:chOff x="0" y="0"/>
                    <a:chExt cx="121431" cy="707782"/>
                  </a:xfrm>
                </p:grpSpPr>
                <p:sp>
                  <p:nvSpPr>
                    <p:cNvPr id="36" name="Shape 50189">
                      <a:extLst>
                        <a:ext uri="{FF2B5EF4-FFF2-40B4-BE49-F238E27FC236}">
                          <a16:creationId xmlns:a16="http://schemas.microsoft.com/office/drawing/2014/main" id="{70B150B1-17E5-244F-B584-0FD9E11DFD47}"/>
                        </a:ext>
                      </a:extLst>
                    </p:cNvPr>
                    <p:cNvSpPr/>
                    <p:nvPr/>
                  </p:nvSpPr>
                  <p:spPr>
                    <a:xfrm>
                      <a:off x="0" y="13599"/>
                      <a:ext cx="119261" cy="594420"/>
                    </a:xfrm>
                    <a:custGeom>
                      <a:avLst/>
                      <a:gdLst/>
                      <a:ahLst/>
                      <a:cxnLst>
                        <a:cxn ang="0">
                          <a:pos x="wd2" y="hd2"/>
                        </a:cxn>
                        <a:cxn ang="5400000">
                          <a:pos x="wd2" y="hd2"/>
                        </a:cxn>
                        <a:cxn ang="10800000">
                          <a:pos x="wd2" y="hd2"/>
                        </a:cxn>
                        <a:cxn ang="16200000">
                          <a:pos x="wd2" y="hd2"/>
                        </a:cxn>
                      </a:cxnLst>
                      <a:rect l="0" t="0" r="r" b="b"/>
                      <a:pathLst>
                        <a:path w="21600" h="21600" extrusionOk="0">
                          <a:moveTo>
                            <a:pt x="21600" y="21399"/>
                          </a:moveTo>
                          <a:lnTo>
                            <a:pt x="7678" y="21600"/>
                          </a:lnTo>
                          <a:lnTo>
                            <a:pt x="0" y="201"/>
                          </a:lnTo>
                          <a:lnTo>
                            <a:pt x="13922" y="0"/>
                          </a:lnTo>
                          <a:cubicBezTo>
                            <a:pt x="13922" y="0"/>
                            <a:pt x="21600" y="21399"/>
                            <a:pt x="21600" y="21399"/>
                          </a:cubicBezTo>
                          <a:close/>
                        </a:path>
                      </a:pathLst>
                    </a:custGeom>
                    <a:solidFill>
                      <a:schemeClr val="accent2"/>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sp>
                  <p:nvSpPr>
                    <p:cNvPr id="37" name="Shape 50190">
                      <a:extLst>
                        <a:ext uri="{FF2B5EF4-FFF2-40B4-BE49-F238E27FC236}">
                          <a16:creationId xmlns:a16="http://schemas.microsoft.com/office/drawing/2014/main" id="{48798347-38DD-B041-A5A2-8168409ECBB2}"/>
                        </a:ext>
                      </a:extLst>
                    </p:cNvPr>
                    <p:cNvSpPr/>
                    <p:nvPr/>
                  </p:nvSpPr>
                  <p:spPr>
                    <a:xfrm>
                      <a:off x="0" y="0"/>
                      <a:ext cx="77706" cy="21641"/>
                    </a:xfrm>
                    <a:custGeom>
                      <a:avLst/>
                      <a:gdLst/>
                      <a:ahLst/>
                      <a:cxnLst>
                        <a:cxn ang="0">
                          <a:pos x="wd2" y="hd2"/>
                        </a:cxn>
                        <a:cxn ang="5400000">
                          <a:pos x="wd2" y="hd2"/>
                        </a:cxn>
                        <a:cxn ang="10800000">
                          <a:pos x="wd2" y="hd2"/>
                        </a:cxn>
                        <a:cxn ang="16200000">
                          <a:pos x="wd2" y="hd2"/>
                        </a:cxn>
                      </a:cxnLst>
                      <a:rect l="0" t="0" r="r" b="b"/>
                      <a:pathLst>
                        <a:path w="21600" h="21600" extrusionOk="0">
                          <a:moveTo>
                            <a:pt x="21600" y="15436"/>
                          </a:moveTo>
                          <a:lnTo>
                            <a:pt x="354" y="21600"/>
                          </a:lnTo>
                          <a:lnTo>
                            <a:pt x="0" y="6164"/>
                          </a:lnTo>
                          <a:lnTo>
                            <a:pt x="21249" y="0"/>
                          </a:lnTo>
                          <a:cubicBezTo>
                            <a:pt x="21249" y="0"/>
                            <a:pt x="21600" y="15436"/>
                            <a:pt x="21600" y="15436"/>
                          </a:cubicBezTo>
                          <a:close/>
                        </a:path>
                      </a:pathLst>
                    </a:custGeom>
                    <a:solidFill>
                      <a:srgbClr val="E5E5E5"/>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sp>
                  <p:nvSpPr>
                    <p:cNvPr id="38" name="Shape 50191">
                      <a:extLst>
                        <a:ext uri="{FF2B5EF4-FFF2-40B4-BE49-F238E27FC236}">
                          <a16:creationId xmlns:a16="http://schemas.microsoft.com/office/drawing/2014/main" id="{57D5A16B-EDF3-8F45-96FF-ADD8995D27C0}"/>
                        </a:ext>
                      </a:extLst>
                    </p:cNvPr>
                    <p:cNvSpPr/>
                    <p:nvPr/>
                  </p:nvSpPr>
                  <p:spPr>
                    <a:xfrm>
                      <a:off x="41091" y="600620"/>
                      <a:ext cx="80341" cy="107163"/>
                    </a:xfrm>
                    <a:custGeom>
                      <a:avLst/>
                      <a:gdLst/>
                      <a:ahLst/>
                      <a:cxnLst>
                        <a:cxn ang="0">
                          <a:pos x="wd2" y="hd2"/>
                        </a:cxn>
                        <a:cxn ang="5400000">
                          <a:pos x="wd2" y="hd2"/>
                        </a:cxn>
                        <a:cxn ang="10800000">
                          <a:pos x="wd2" y="hd2"/>
                        </a:cxn>
                        <a:cxn ang="16200000">
                          <a:pos x="wd2" y="hd2"/>
                        </a:cxn>
                      </a:cxnLst>
                      <a:rect l="0" t="0" r="r" b="b"/>
                      <a:pathLst>
                        <a:path w="21600" h="21600" extrusionOk="0">
                          <a:moveTo>
                            <a:pt x="0" y="1395"/>
                          </a:moveTo>
                          <a:lnTo>
                            <a:pt x="21600" y="0"/>
                          </a:lnTo>
                          <a:lnTo>
                            <a:pt x="13527" y="21600"/>
                          </a:lnTo>
                          <a:lnTo>
                            <a:pt x="0" y="1395"/>
                          </a:lnTo>
                          <a:close/>
                        </a:path>
                      </a:pathLst>
                    </a:custGeom>
                    <a:solidFill>
                      <a:srgbClr val="E5E5E5"/>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grpSp>
              <p:grpSp>
                <p:nvGrpSpPr>
                  <p:cNvPr id="32" name="Group 50196">
                    <a:extLst>
                      <a:ext uri="{FF2B5EF4-FFF2-40B4-BE49-F238E27FC236}">
                        <a16:creationId xmlns:a16="http://schemas.microsoft.com/office/drawing/2014/main" id="{D80DD953-B143-DD48-B4E9-926C24E06D6E}"/>
                      </a:ext>
                    </a:extLst>
                  </p:cNvPr>
                  <p:cNvGrpSpPr/>
                  <p:nvPr/>
                </p:nvGrpSpPr>
                <p:grpSpPr>
                  <a:xfrm>
                    <a:off x="214689" y="0"/>
                    <a:ext cx="156561" cy="704719"/>
                    <a:chOff x="0" y="0"/>
                    <a:chExt cx="156559" cy="704718"/>
                  </a:xfrm>
                </p:grpSpPr>
                <p:sp>
                  <p:nvSpPr>
                    <p:cNvPr id="33" name="Shape 50193">
                      <a:extLst>
                        <a:ext uri="{FF2B5EF4-FFF2-40B4-BE49-F238E27FC236}">
                          <a16:creationId xmlns:a16="http://schemas.microsoft.com/office/drawing/2014/main" id="{D01A73CA-F1E8-974F-AFD1-8F07D99DD86C}"/>
                        </a:ext>
                      </a:extLst>
                    </p:cNvPr>
                    <p:cNvSpPr/>
                    <p:nvPr/>
                  </p:nvSpPr>
                  <p:spPr>
                    <a:xfrm>
                      <a:off x="2901" y="90955"/>
                      <a:ext cx="153659" cy="595415"/>
                    </a:xfrm>
                    <a:custGeom>
                      <a:avLst/>
                      <a:gdLst/>
                      <a:ahLst/>
                      <a:cxnLst>
                        <a:cxn ang="0">
                          <a:pos x="wd2" y="hd2"/>
                        </a:cxn>
                        <a:cxn ang="5400000">
                          <a:pos x="wd2" y="hd2"/>
                        </a:cxn>
                        <a:cxn ang="10800000">
                          <a:pos x="wd2" y="hd2"/>
                        </a:cxn>
                        <a:cxn ang="16200000">
                          <a:pos x="wd2" y="hd2"/>
                        </a:cxn>
                      </a:cxnLst>
                      <a:rect l="0" t="0" r="r" b="b"/>
                      <a:pathLst>
                        <a:path w="21600" h="21600" extrusionOk="0">
                          <a:moveTo>
                            <a:pt x="10738" y="21600"/>
                          </a:moveTo>
                          <a:lnTo>
                            <a:pt x="0" y="21234"/>
                          </a:lnTo>
                          <a:lnTo>
                            <a:pt x="10862" y="0"/>
                          </a:lnTo>
                          <a:lnTo>
                            <a:pt x="21600" y="366"/>
                          </a:lnTo>
                          <a:cubicBezTo>
                            <a:pt x="21600" y="366"/>
                            <a:pt x="10738" y="21600"/>
                            <a:pt x="10738" y="21600"/>
                          </a:cubicBezTo>
                          <a:close/>
                        </a:path>
                      </a:pathLst>
                    </a:custGeom>
                    <a:solidFill>
                      <a:schemeClr val="accent1"/>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sp>
                  <p:nvSpPr>
                    <p:cNvPr id="34" name="Shape 50194">
                      <a:extLst>
                        <a:ext uri="{FF2B5EF4-FFF2-40B4-BE49-F238E27FC236}">
                          <a16:creationId xmlns:a16="http://schemas.microsoft.com/office/drawing/2014/main" id="{11A6BACE-6AA7-9048-829C-D4CDE22CE82B}"/>
                        </a:ext>
                      </a:extLst>
                    </p:cNvPr>
                    <p:cNvSpPr/>
                    <p:nvPr/>
                  </p:nvSpPr>
                  <p:spPr>
                    <a:xfrm>
                      <a:off x="76509" y="0"/>
                      <a:ext cx="80051" cy="103903"/>
                    </a:xfrm>
                    <a:custGeom>
                      <a:avLst/>
                      <a:gdLst/>
                      <a:ahLst/>
                      <a:cxnLst>
                        <a:cxn ang="0">
                          <a:pos x="wd2" y="hd2"/>
                        </a:cxn>
                        <a:cxn ang="5400000">
                          <a:pos x="wd2" y="hd2"/>
                        </a:cxn>
                        <a:cxn ang="10800000">
                          <a:pos x="wd2" y="hd2"/>
                        </a:cxn>
                        <a:cxn ang="16200000">
                          <a:pos x="wd2" y="hd2"/>
                        </a:cxn>
                      </a:cxnLst>
                      <a:rect l="0" t="0" r="r" b="b"/>
                      <a:pathLst>
                        <a:path w="21600" h="21600" extrusionOk="0">
                          <a:moveTo>
                            <a:pt x="0" y="19579"/>
                          </a:moveTo>
                          <a:lnTo>
                            <a:pt x="21600" y="21600"/>
                          </a:lnTo>
                          <a:lnTo>
                            <a:pt x="15309" y="0"/>
                          </a:lnTo>
                          <a:lnTo>
                            <a:pt x="0" y="19579"/>
                          </a:lnTo>
                          <a:close/>
                        </a:path>
                      </a:pathLst>
                    </a:custGeom>
                    <a:solidFill>
                      <a:srgbClr val="E5E5E5"/>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sp>
                  <p:nvSpPr>
                    <p:cNvPr id="35" name="Shape 50195">
                      <a:extLst>
                        <a:ext uri="{FF2B5EF4-FFF2-40B4-BE49-F238E27FC236}">
                          <a16:creationId xmlns:a16="http://schemas.microsoft.com/office/drawing/2014/main" id="{B7FD7095-FA0B-2548-ABE8-7BBD82CE9901}"/>
                        </a:ext>
                      </a:extLst>
                    </p:cNvPr>
                    <p:cNvSpPr/>
                    <p:nvPr/>
                  </p:nvSpPr>
                  <p:spPr>
                    <a:xfrm rot="480000">
                      <a:off x="913" y="680894"/>
                      <a:ext cx="77321" cy="18534"/>
                    </a:xfrm>
                    <a:custGeom>
                      <a:avLst/>
                      <a:gdLst/>
                      <a:ahLst/>
                      <a:cxnLst>
                        <a:cxn ang="0">
                          <a:pos x="wd2" y="hd2"/>
                        </a:cxn>
                        <a:cxn ang="5400000">
                          <a:pos x="wd2" y="hd2"/>
                        </a:cxn>
                        <a:cxn ang="10800000">
                          <a:pos x="wd2" y="hd2"/>
                        </a:cxn>
                        <a:cxn ang="16200000">
                          <a:pos x="wd2" y="hd2"/>
                        </a:cxn>
                      </a:cxnLst>
                      <a:rect l="0" t="0" r="r" b="b"/>
                      <a:pathLst>
                        <a:path w="21600" h="21600" extrusionOk="0">
                          <a:moveTo>
                            <a:pt x="21600" y="18071"/>
                          </a:moveTo>
                          <a:lnTo>
                            <a:pt x="178" y="21600"/>
                          </a:lnTo>
                          <a:lnTo>
                            <a:pt x="0" y="3529"/>
                          </a:lnTo>
                          <a:lnTo>
                            <a:pt x="21426" y="0"/>
                          </a:lnTo>
                          <a:lnTo>
                            <a:pt x="21600" y="18071"/>
                          </a:lnTo>
                          <a:close/>
                        </a:path>
                      </a:pathLst>
                    </a:custGeom>
                    <a:solidFill>
                      <a:srgbClr val="E5E5E5"/>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grpSp>
            </p:grpSp>
            <p:sp>
              <p:nvSpPr>
                <p:cNvPr id="29" name="Shape 50198">
                  <a:extLst>
                    <a:ext uri="{FF2B5EF4-FFF2-40B4-BE49-F238E27FC236}">
                      <a16:creationId xmlns:a16="http://schemas.microsoft.com/office/drawing/2014/main" id="{E3A9CFC3-D38D-AD4C-A42F-9BC562E7955E}"/>
                    </a:ext>
                  </a:extLst>
                </p:cNvPr>
                <p:cNvSpPr/>
                <p:nvPr/>
              </p:nvSpPr>
              <p:spPr>
                <a:xfrm>
                  <a:off x="0" y="349344"/>
                  <a:ext cx="510378" cy="55367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3228" y="21600"/>
                      </a:lnTo>
                      <a:lnTo>
                        <a:pt x="18370" y="21600"/>
                      </a:lnTo>
                      <a:lnTo>
                        <a:pt x="21600" y="0"/>
                      </a:lnTo>
                      <a:cubicBezTo>
                        <a:pt x="21600" y="0"/>
                        <a:pt x="0" y="0"/>
                        <a:pt x="0" y="0"/>
                      </a:cubicBezTo>
                      <a:close/>
                    </a:path>
                  </a:pathLst>
                </a:custGeom>
                <a:solidFill>
                  <a:schemeClr val="accent3"/>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grpSp>
        </p:grpSp>
        <p:sp>
          <p:nvSpPr>
            <p:cNvPr id="25" name="Shape 50201">
              <a:extLst>
                <a:ext uri="{FF2B5EF4-FFF2-40B4-BE49-F238E27FC236}">
                  <a16:creationId xmlns:a16="http://schemas.microsoft.com/office/drawing/2014/main" id="{4DEB43BD-9842-3A44-8001-6BDB23BEF17E}"/>
                </a:ext>
              </a:extLst>
            </p:cNvPr>
            <p:cNvSpPr/>
            <p:nvPr/>
          </p:nvSpPr>
          <p:spPr>
            <a:xfrm>
              <a:off x="0" y="1847340"/>
              <a:ext cx="2286000" cy="127822"/>
            </a:xfrm>
            <a:prstGeom prst="rect">
              <a:avLst/>
            </a:prstGeom>
            <a:solidFill>
              <a:schemeClr val="bg1">
                <a:lumMod val="85000"/>
              </a:schemeClr>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grpSp>
      <p:sp>
        <p:nvSpPr>
          <p:cNvPr id="70" name="TextBox 69">
            <a:extLst>
              <a:ext uri="{FF2B5EF4-FFF2-40B4-BE49-F238E27FC236}">
                <a16:creationId xmlns:a16="http://schemas.microsoft.com/office/drawing/2014/main" id="{E731F1CD-265F-124E-BF3D-74F41D46681F}"/>
              </a:ext>
            </a:extLst>
          </p:cNvPr>
          <p:cNvSpPr txBox="1"/>
          <p:nvPr/>
        </p:nvSpPr>
        <p:spPr>
          <a:xfrm>
            <a:off x="8063589" y="4672145"/>
            <a:ext cx="1812021" cy="531107"/>
          </a:xfrm>
          <a:prstGeom prst="rect">
            <a:avLst/>
          </a:prstGeom>
          <a:noFill/>
        </p:spPr>
        <p:txBody>
          <a:bodyPr wrap="square" rtlCol="0" anchor="t">
            <a:spAutoFit/>
          </a:body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t>
            </a:r>
          </a:p>
        </p:txBody>
      </p:sp>
      <p:sp>
        <p:nvSpPr>
          <p:cNvPr id="71" name="TextBox 70">
            <a:extLst>
              <a:ext uri="{FF2B5EF4-FFF2-40B4-BE49-F238E27FC236}">
                <a16:creationId xmlns:a16="http://schemas.microsoft.com/office/drawing/2014/main" id="{8E567FFA-5023-A945-8440-6FFE52F1FD0B}"/>
              </a:ext>
            </a:extLst>
          </p:cNvPr>
          <p:cNvSpPr txBox="1"/>
          <p:nvPr/>
        </p:nvSpPr>
        <p:spPr>
          <a:xfrm>
            <a:off x="8063589" y="4086060"/>
            <a:ext cx="1812021" cy="584775"/>
          </a:xfrm>
          <a:prstGeom prst="rect">
            <a:avLst/>
          </a:prstGeom>
          <a:noFill/>
        </p:spPr>
        <p:txBody>
          <a:bodyPr wrap="square" rtlCol="0" anchor="b">
            <a:spAutoFit/>
          </a:bodyPr>
          <a:lstStyle/>
          <a:p>
            <a:r>
              <a:rPr lang="en-US" sz="1600" b="1" dirty="0">
                <a:solidFill>
                  <a:schemeClr val="tx2"/>
                </a:solidFill>
                <a:latin typeface="Segoe UI Light" panose="020B0502040204020203" pitchFamily="34" charset="0"/>
                <a:ea typeface="Lato Light" panose="020F0502020204030203" pitchFamily="34" charset="0"/>
                <a:cs typeface="Poppins" pitchFamily="2" charset="77"/>
              </a:rPr>
              <a:t>RODUCTS &amp; SERVICES</a:t>
            </a:r>
          </a:p>
        </p:txBody>
      </p:sp>
      <p:sp>
        <p:nvSpPr>
          <p:cNvPr id="74" name="TextBox 73">
            <a:extLst>
              <a:ext uri="{FF2B5EF4-FFF2-40B4-BE49-F238E27FC236}">
                <a16:creationId xmlns:a16="http://schemas.microsoft.com/office/drawing/2014/main" id="{C9E8C20E-EEF0-4D44-A30F-8B58868489B7}"/>
              </a:ext>
            </a:extLst>
          </p:cNvPr>
          <p:cNvSpPr txBox="1"/>
          <p:nvPr/>
        </p:nvSpPr>
        <p:spPr>
          <a:xfrm>
            <a:off x="772609" y="3555844"/>
            <a:ext cx="1812021" cy="992772"/>
          </a:xfrm>
          <a:prstGeom prst="rect">
            <a:avLst/>
          </a:prstGeom>
          <a:noFill/>
        </p:spPr>
        <p:txBody>
          <a:bodyPr wrap="square" rtlCol="0" anchor="t">
            <a:spAutoFit/>
          </a:body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a:t>
            </a:r>
          </a:p>
        </p:txBody>
      </p:sp>
      <p:sp>
        <p:nvSpPr>
          <p:cNvPr id="75" name="TextBox 74">
            <a:extLst>
              <a:ext uri="{FF2B5EF4-FFF2-40B4-BE49-F238E27FC236}">
                <a16:creationId xmlns:a16="http://schemas.microsoft.com/office/drawing/2014/main" id="{FB07C952-2FFB-0549-84E2-FFE8B0889B55}"/>
              </a:ext>
            </a:extLst>
          </p:cNvPr>
          <p:cNvSpPr txBox="1"/>
          <p:nvPr/>
        </p:nvSpPr>
        <p:spPr>
          <a:xfrm>
            <a:off x="772609" y="2969759"/>
            <a:ext cx="1696603" cy="584775"/>
          </a:xfrm>
          <a:prstGeom prst="rect">
            <a:avLst/>
          </a:prstGeom>
          <a:noFill/>
        </p:spPr>
        <p:txBody>
          <a:bodyPr wrap="square" rtlCol="0" anchor="b">
            <a:spAutoFit/>
          </a:bodyPr>
          <a:lstStyle/>
          <a:p>
            <a:r>
              <a:rPr lang="en-US" sz="1600" b="1" dirty="0">
                <a:solidFill>
                  <a:schemeClr val="tx2"/>
                </a:solidFill>
                <a:latin typeface="Segoe UI Light" panose="020B0502040204020203" pitchFamily="34" charset="0"/>
                <a:ea typeface="Lato Light" panose="020F0502020204030203" pitchFamily="34" charset="0"/>
                <a:cs typeface="Poppins" pitchFamily="2" charset="77"/>
              </a:rPr>
              <a:t>MARKETING STRATEGY</a:t>
            </a:r>
          </a:p>
        </p:txBody>
      </p:sp>
      <p:sp>
        <p:nvSpPr>
          <p:cNvPr id="77" name="TextBox 76">
            <a:extLst>
              <a:ext uri="{FF2B5EF4-FFF2-40B4-BE49-F238E27FC236}">
                <a16:creationId xmlns:a16="http://schemas.microsoft.com/office/drawing/2014/main" id="{35289063-74EA-7B47-A1F1-D26D29D895D8}"/>
              </a:ext>
            </a:extLst>
          </p:cNvPr>
          <p:cNvSpPr txBox="1"/>
          <p:nvPr/>
        </p:nvSpPr>
        <p:spPr>
          <a:xfrm>
            <a:off x="2085918" y="1918964"/>
            <a:ext cx="1812021" cy="992772"/>
          </a:xfrm>
          <a:prstGeom prst="rect">
            <a:avLst/>
          </a:prstGeom>
          <a:noFill/>
        </p:spPr>
        <p:txBody>
          <a:bodyPr wrap="square" rtlCol="0" anchor="t">
            <a:spAutoFit/>
          </a:body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a:t>
            </a:r>
          </a:p>
        </p:txBody>
      </p:sp>
      <p:sp>
        <p:nvSpPr>
          <p:cNvPr id="78" name="TextBox 77">
            <a:extLst>
              <a:ext uri="{FF2B5EF4-FFF2-40B4-BE49-F238E27FC236}">
                <a16:creationId xmlns:a16="http://schemas.microsoft.com/office/drawing/2014/main" id="{61AFAB46-5D44-674D-B203-461357B3F6E4}"/>
              </a:ext>
            </a:extLst>
          </p:cNvPr>
          <p:cNvSpPr txBox="1"/>
          <p:nvPr/>
        </p:nvSpPr>
        <p:spPr>
          <a:xfrm>
            <a:off x="2085918" y="1625267"/>
            <a:ext cx="914033" cy="338554"/>
          </a:xfrm>
          <a:prstGeom prst="rect">
            <a:avLst/>
          </a:prstGeom>
          <a:noFill/>
        </p:spPr>
        <p:txBody>
          <a:bodyPr wrap="none" rtlCol="0" anchor="t">
            <a:spAutoFit/>
          </a:bodyPr>
          <a:lstStyle/>
          <a:p>
            <a:r>
              <a:rPr lang="en-US" sz="1600" b="1" dirty="0">
                <a:solidFill>
                  <a:schemeClr val="tx2"/>
                </a:solidFill>
                <a:latin typeface="Segoe UI Light" panose="020B0502040204020203" pitchFamily="34" charset="0"/>
                <a:ea typeface="Lato Light" panose="020F0502020204030203" pitchFamily="34" charset="0"/>
                <a:cs typeface="Poppins" pitchFamily="2" charset="77"/>
              </a:rPr>
              <a:t>BUDGET</a:t>
            </a:r>
          </a:p>
        </p:txBody>
      </p:sp>
      <p:sp>
        <p:nvSpPr>
          <p:cNvPr id="80" name="TextBox 79">
            <a:extLst>
              <a:ext uri="{FF2B5EF4-FFF2-40B4-BE49-F238E27FC236}">
                <a16:creationId xmlns:a16="http://schemas.microsoft.com/office/drawing/2014/main" id="{11DB3216-1036-D14E-A861-20DE77389051}"/>
              </a:ext>
            </a:extLst>
          </p:cNvPr>
          <p:cNvSpPr txBox="1"/>
          <p:nvPr/>
        </p:nvSpPr>
        <p:spPr>
          <a:xfrm>
            <a:off x="9415666" y="1806387"/>
            <a:ext cx="1812021" cy="531107"/>
          </a:xfrm>
          <a:prstGeom prst="rect">
            <a:avLst/>
          </a:prstGeom>
          <a:noFill/>
        </p:spPr>
        <p:txBody>
          <a:bodyPr wrap="square" rtlCol="0" anchor="t">
            <a:spAutoFit/>
          </a:body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t>
            </a:r>
          </a:p>
        </p:txBody>
      </p:sp>
      <p:sp>
        <p:nvSpPr>
          <p:cNvPr id="81" name="TextBox 80">
            <a:extLst>
              <a:ext uri="{FF2B5EF4-FFF2-40B4-BE49-F238E27FC236}">
                <a16:creationId xmlns:a16="http://schemas.microsoft.com/office/drawing/2014/main" id="{F004A4A2-EA8F-D74C-A591-03AC5A8A5C03}"/>
              </a:ext>
            </a:extLst>
          </p:cNvPr>
          <p:cNvSpPr txBox="1"/>
          <p:nvPr/>
        </p:nvSpPr>
        <p:spPr>
          <a:xfrm>
            <a:off x="9415666" y="1466523"/>
            <a:ext cx="1812021" cy="338554"/>
          </a:xfrm>
          <a:prstGeom prst="rect">
            <a:avLst/>
          </a:prstGeom>
          <a:noFill/>
        </p:spPr>
        <p:txBody>
          <a:bodyPr wrap="square" rtlCol="0" anchor="b">
            <a:spAutoFit/>
          </a:bodyPr>
          <a:lstStyle/>
          <a:p>
            <a:r>
              <a:rPr lang="en-US" sz="1600" b="1" dirty="0">
                <a:solidFill>
                  <a:schemeClr val="tx2"/>
                </a:solidFill>
                <a:latin typeface="Segoe UI Light" panose="020B0502040204020203" pitchFamily="34" charset="0"/>
                <a:ea typeface="Lato Light" panose="020F0502020204030203" pitchFamily="34" charset="0"/>
                <a:cs typeface="Poppins" pitchFamily="2" charset="77"/>
              </a:rPr>
              <a:t>MARKET ANALYSIS</a:t>
            </a:r>
          </a:p>
        </p:txBody>
      </p:sp>
      <p:sp>
        <p:nvSpPr>
          <p:cNvPr id="86" name="TextBox 85">
            <a:extLst>
              <a:ext uri="{FF2B5EF4-FFF2-40B4-BE49-F238E27FC236}">
                <a16:creationId xmlns:a16="http://schemas.microsoft.com/office/drawing/2014/main" id="{B6234BD7-E2A8-1C47-B8FD-23583043E0BC}"/>
              </a:ext>
            </a:extLst>
          </p:cNvPr>
          <p:cNvSpPr txBox="1"/>
          <p:nvPr/>
        </p:nvSpPr>
        <p:spPr>
          <a:xfrm>
            <a:off x="5716302" y="1809096"/>
            <a:ext cx="1812021" cy="531107"/>
          </a:xfrm>
          <a:prstGeom prst="rect">
            <a:avLst/>
          </a:prstGeom>
          <a:noFill/>
        </p:spPr>
        <p:txBody>
          <a:bodyPr wrap="square" rtlCol="0" anchor="t">
            <a:spAutoFit/>
          </a:body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a:t>
            </a:r>
          </a:p>
        </p:txBody>
      </p:sp>
      <p:sp>
        <p:nvSpPr>
          <p:cNvPr id="87" name="TextBox 86">
            <a:extLst>
              <a:ext uri="{FF2B5EF4-FFF2-40B4-BE49-F238E27FC236}">
                <a16:creationId xmlns:a16="http://schemas.microsoft.com/office/drawing/2014/main" id="{B0C209D7-DAC1-514A-93DE-43A597858C81}"/>
              </a:ext>
            </a:extLst>
          </p:cNvPr>
          <p:cNvSpPr txBox="1"/>
          <p:nvPr/>
        </p:nvSpPr>
        <p:spPr>
          <a:xfrm>
            <a:off x="5716302" y="1223011"/>
            <a:ext cx="1812021" cy="584775"/>
          </a:xfrm>
          <a:prstGeom prst="rect">
            <a:avLst/>
          </a:prstGeom>
          <a:noFill/>
        </p:spPr>
        <p:txBody>
          <a:bodyPr wrap="square" rtlCol="0" anchor="b">
            <a:spAutoFit/>
          </a:bodyPr>
          <a:lstStyle/>
          <a:p>
            <a:r>
              <a:rPr lang="en-US" sz="1600" b="1" dirty="0">
                <a:solidFill>
                  <a:schemeClr val="tx2"/>
                </a:solidFill>
                <a:latin typeface="Segoe UI Light" panose="020B0502040204020203" pitchFamily="34" charset="0"/>
                <a:ea typeface="Lato Light" panose="020F0502020204030203" pitchFamily="34" charset="0"/>
                <a:cs typeface="Poppins" pitchFamily="2" charset="77"/>
              </a:rPr>
              <a:t>FINANCIAL PLANNING</a:t>
            </a:r>
          </a:p>
        </p:txBody>
      </p:sp>
      <p:sp>
        <p:nvSpPr>
          <p:cNvPr id="72" name="Titel 1">
            <a:extLst>
              <a:ext uri="{FF2B5EF4-FFF2-40B4-BE49-F238E27FC236}">
                <a16:creationId xmlns:a16="http://schemas.microsoft.com/office/drawing/2014/main" id="{CAE4B700-FE9B-4A09-B55A-A6B9A5FAC88B}"/>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Business plan infographic</a:t>
            </a:r>
          </a:p>
        </p:txBody>
      </p:sp>
    </p:spTree>
    <p:custDataLst>
      <p:tags r:id="rId1"/>
    </p:custDataLst>
    <p:extLst>
      <p:ext uri="{BB962C8B-B14F-4D97-AF65-F5344CB8AC3E}">
        <p14:creationId xmlns:p14="http://schemas.microsoft.com/office/powerpoint/2010/main" val="4185499550"/>
      </p:ext>
    </p:extLst>
  </p:cSld>
  <p:clrMapOvr>
    <a:masterClrMapping/>
  </p:clrMapOvr>
  <mc:AlternateContent xmlns:mc="http://schemas.openxmlformats.org/markup-compatibility/2006" xmlns:p14="http://schemas.microsoft.com/office/powerpoint/2010/main">
    <mc:Choice Requires="p14">
      <p:transition spd="med">
        <p14:pan/>
      </p:transition>
    </mc:Choice>
    <mc:Fallback xmlns:a16="http://schemas.microsoft.com/office/drawing/2014/main"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Freeform 2">
            <a:extLst>
              <a:ext uri="{FF2B5EF4-FFF2-40B4-BE49-F238E27FC236}">
                <a16:creationId xmlns:a16="http://schemas.microsoft.com/office/drawing/2014/main" id="{E30CD6DA-EF28-C44E-B3BC-943A3248ABEA}"/>
              </a:ext>
            </a:extLst>
          </p:cNvPr>
          <p:cNvSpPr>
            <a:spLocks noChangeArrowheads="1"/>
          </p:cNvSpPr>
          <p:nvPr/>
        </p:nvSpPr>
        <p:spPr bwMode="auto">
          <a:xfrm>
            <a:off x="794658" y="4772767"/>
            <a:ext cx="10602685" cy="63176"/>
          </a:xfrm>
          <a:custGeom>
            <a:avLst/>
            <a:gdLst>
              <a:gd name="T0" fmla="*/ 51 w 17022"/>
              <a:gd name="T1" fmla="*/ 0 h 103"/>
              <a:gd name="T2" fmla="*/ 16970 w 17022"/>
              <a:gd name="T3" fmla="*/ 0 h 103"/>
              <a:gd name="T4" fmla="*/ 16970 w 17022"/>
              <a:gd name="T5" fmla="*/ 0 h 103"/>
              <a:gd name="T6" fmla="*/ 17021 w 17022"/>
              <a:gd name="T7" fmla="*/ 51 h 103"/>
              <a:gd name="T8" fmla="*/ 17021 w 17022"/>
              <a:gd name="T9" fmla="*/ 51 h 103"/>
              <a:gd name="T10" fmla="*/ 16970 w 17022"/>
              <a:gd name="T11" fmla="*/ 102 h 103"/>
              <a:gd name="T12" fmla="*/ 51 w 17022"/>
              <a:gd name="T13" fmla="*/ 102 h 103"/>
              <a:gd name="T14" fmla="*/ 51 w 17022"/>
              <a:gd name="T15" fmla="*/ 102 h 103"/>
              <a:gd name="T16" fmla="*/ 0 w 17022"/>
              <a:gd name="T17" fmla="*/ 51 h 103"/>
              <a:gd name="T18" fmla="*/ 0 w 17022"/>
              <a:gd name="T19" fmla="*/ 51 h 103"/>
              <a:gd name="T20" fmla="*/ 51 w 17022"/>
              <a:gd name="T2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22" h="103">
                <a:moveTo>
                  <a:pt x="51" y="0"/>
                </a:moveTo>
                <a:lnTo>
                  <a:pt x="16970" y="0"/>
                </a:lnTo>
                <a:lnTo>
                  <a:pt x="16970" y="0"/>
                </a:lnTo>
                <a:cubicBezTo>
                  <a:pt x="16998" y="0"/>
                  <a:pt x="17021" y="23"/>
                  <a:pt x="17021" y="51"/>
                </a:cubicBezTo>
                <a:lnTo>
                  <a:pt x="17021" y="51"/>
                </a:lnTo>
                <a:cubicBezTo>
                  <a:pt x="17021" y="79"/>
                  <a:pt x="16998" y="102"/>
                  <a:pt x="16970" y="102"/>
                </a:cubicBezTo>
                <a:lnTo>
                  <a:pt x="51" y="102"/>
                </a:lnTo>
                <a:lnTo>
                  <a:pt x="51" y="102"/>
                </a:lnTo>
                <a:cubicBezTo>
                  <a:pt x="23" y="102"/>
                  <a:pt x="0" y="79"/>
                  <a:pt x="0" y="51"/>
                </a:cubicBezTo>
                <a:lnTo>
                  <a:pt x="0" y="51"/>
                </a:lnTo>
                <a:cubicBezTo>
                  <a:pt x="0" y="23"/>
                  <a:pt x="23" y="0"/>
                  <a:pt x="51" y="0"/>
                </a:cubicBezTo>
              </a:path>
            </a:pathLst>
          </a:custGeom>
          <a:solidFill>
            <a:schemeClr val="bg1">
              <a:lumMod val="95000"/>
            </a:schemeClr>
          </a:solidFill>
          <a:ln>
            <a:noFill/>
          </a:ln>
          <a:effectLst/>
        </p:spPr>
        <p:txBody>
          <a:bodyPr wrap="none" anchor="ctr"/>
          <a:lstStyle/>
          <a:p>
            <a:endParaRPr lang="en-US" sz="3265" dirty="0">
              <a:latin typeface="Lato Light" panose="020F0502020204030203" pitchFamily="34" charset="0"/>
            </a:endParaRPr>
          </a:p>
        </p:txBody>
      </p:sp>
      <p:sp>
        <p:nvSpPr>
          <p:cNvPr id="7" name="Freeform 5">
            <a:extLst>
              <a:ext uri="{FF2B5EF4-FFF2-40B4-BE49-F238E27FC236}">
                <a16:creationId xmlns:a16="http://schemas.microsoft.com/office/drawing/2014/main" id="{11457319-94A1-2E40-B0AC-3C1FB13F9960}"/>
              </a:ext>
            </a:extLst>
          </p:cNvPr>
          <p:cNvSpPr>
            <a:spLocks noChangeArrowheads="1"/>
          </p:cNvSpPr>
          <p:nvPr/>
        </p:nvSpPr>
        <p:spPr bwMode="auto">
          <a:xfrm>
            <a:off x="1221880" y="2156433"/>
            <a:ext cx="1079497" cy="1079495"/>
          </a:xfrm>
          <a:custGeom>
            <a:avLst/>
            <a:gdLst>
              <a:gd name="T0" fmla="*/ 866 w 1733"/>
              <a:gd name="T1" fmla="*/ 0 h 1734"/>
              <a:gd name="T2" fmla="*/ 866 w 1733"/>
              <a:gd name="T3" fmla="*/ 0 h 1734"/>
              <a:gd name="T4" fmla="*/ 1732 w 1733"/>
              <a:gd name="T5" fmla="*/ 867 h 1734"/>
              <a:gd name="T6" fmla="*/ 1732 w 1733"/>
              <a:gd name="T7" fmla="*/ 867 h 1734"/>
              <a:gd name="T8" fmla="*/ 866 w 1733"/>
              <a:gd name="T9" fmla="*/ 1733 h 1734"/>
              <a:gd name="T10" fmla="*/ 866 w 1733"/>
              <a:gd name="T11" fmla="*/ 1733 h 1734"/>
              <a:gd name="T12" fmla="*/ 0 w 1733"/>
              <a:gd name="T13" fmla="*/ 867 h 1734"/>
              <a:gd name="T14" fmla="*/ 0 w 1733"/>
              <a:gd name="T15" fmla="*/ 867 h 1734"/>
              <a:gd name="T16" fmla="*/ 866 w 1733"/>
              <a:gd name="T17" fmla="*/ 0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3" h="1734">
                <a:moveTo>
                  <a:pt x="866" y="0"/>
                </a:moveTo>
                <a:lnTo>
                  <a:pt x="866" y="0"/>
                </a:lnTo>
                <a:cubicBezTo>
                  <a:pt x="1344" y="0"/>
                  <a:pt x="1732" y="388"/>
                  <a:pt x="1732" y="867"/>
                </a:cubicBezTo>
                <a:lnTo>
                  <a:pt x="1732" y="867"/>
                </a:lnTo>
                <a:cubicBezTo>
                  <a:pt x="1732" y="1345"/>
                  <a:pt x="1344" y="1733"/>
                  <a:pt x="866" y="1733"/>
                </a:cubicBezTo>
                <a:lnTo>
                  <a:pt x="866" y="1733"/>
                </a:lnTo>
                <a:cubicBezTo>
                  <a:pt x="388" y="1733"/>
                  <a:pt x="0" y="1345"/>
                  <a:pt x="0" y="867"/>
                </a:cubicBezTo>
                <a:lnTo>
                  <a:pt x="0" y="867"/>
                </a:lnTo>
                <a:cubicBezTo>
                  <a:pt x="0" y="388"/>
                  <a:pt x="388" y="0"/>
                  <a:pt x="866" y="0"/>
                </a:cubicBezTo>
              </a:path>
            </a:pathLst>
          </a:custGeom>
          <a:solidFill>
            <a:schemeClr val="accent1"/>
          </a:solidFill>
          <a:ln>
            <a:noFill/>
          </a:ln>
          <a:effectLst/>
        </p:spPr>
        <p:txBody>
          <a:bodyPr wrap="none" anchor="ctr"/>
          <a:lstStyle/>
          <a:p>
            <a:endParaRPr lang="en-US" sz="3265" dirty="0">
              <a:latin typeface="Lato Light" panose="020F0502020204030203" pitchFamily="34" charset="0"/>
            </a:endParaRPr>
          </a:p>
        </p:txBody>
      </p:sp>
      <p:sp>
        <p:nvSpPr>
          <p:cNvPr id="8" name="Freeform 6">
            <a:extLst>
              <a:ext uri="{FF2B5EF4-FFF2-40B4-BE49-F238E27FC236}">
                <a16:creationId xmlns:a16="http://schemas.microsoft.com/office/drawing/2014/main" id="{81973D2A-A3B4-BB4D-A06D-BEDF810EF2A9}"/>
              </a:ext>
            </a:extLst>
          </p:cNvPr>
          <p:cNvSpPr>
            <a:spLocks noChangeArrowheads="1"/>
          </p:cNvSpPr>
          <p:nvPr/>
        </p:nvSpPr>
        <p:spPr bwMode="auto">
          <a:xfrm>
            <a:off x="1381196" y="2315748"/>
            <a:ext cx="763613" cy="763613"/>
          </a:xfrm>
          <a:custGeom>
            <a:avLst/>
            <a:gdLst>
              <a:gd name="T0" fmla="*/ 611 w 1224"/>
              <a:gd name="T1" fmla="*/ 0 h 1224"/>
              <a:gd name="T2" fmla="*/ 611 w 1224"/>
              <a:gd name="T3" fmla="*/ 0 h 1224"/>
              <a:gd name="T4" fmla="*/ 1223 w 1224"/>
              <a:gd name="T5" fmla="*/ 612 h 1224"/>
              <a:gd name="T6" fmla="*/ 1223 w 1224"/>
              <a:gd name="T7" fmla="*/ 612 h 1224"/>
              <a:gd name="T8" fmla="*/ 611 w 1224"/>
              <a:gd name="T9" fmla="*/ 1223 h 1224"/>
              <a:gd name="T10" fmla="*/ 611 w 1224"/>
              <a:gd name="T11" fmla="*/ 1223 h 1224"/>
              <a:gd name="T12" fmla="*/ 0 w 1224"/>
              <a:gd name="T13" fmla="*/ 612 h 1224"/>
              <a:gd name="T14" fmla="*/ 0 w 1224"/>
              <a:gd name="T15" fmla="*/ 612 h 1224"/>
              <a:gd name="T16" fmla="*/ 611 w 1224"/>
              <a:gd name="T17" fmla="*/ 0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4" h="1224">
                <a:moveTo>
                  <a:pt x="611" y="0"/>
                </a:moveTo>
                <a:lnTo>
                  <a:pt x="611" y="0"/>
                </a:lnTo>
                <a:cubicBezTo>
                  <a:pt x="949" y="0"/>
                  <a:pt x="1223" y="274"/>
                  <a:pt x="1223" y="612"/>
                </a:cubicBezTo>
                <a:lnTo>
                  <a:pt x="1223" y="612"/>
                </a:lnTo>
                <a:cubicBezTo>
                  <a:pt x="1223" y="949"/>
                  <a:pt x="949" y="1223"/>
                  <a:pt x="611" y="1223"/>
                </a:cubicBezTo>
                <a:lnTo>
                  <a:pt x="611" y="1223"/>
                </a:lnTo>
                <a:cubicBezTo>
                  <a:pt x="273" y="1223"/>
                  <a:pt x="0" y="949"/>
                  <a:pt x="0" y="612"/>
                </a:cubicBezTo>
                <a:lnTo>
                  <a:pt x="0" y="612"/>
                </a:lnTo>
                <a:cubicBezTo>
                  <a:pt x="0" y="274"/>
                  <a:pt x="273" y="0"/>
                  <a:pt x="611" y="0"/>
                </a:cubicBez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dirty="0">
              <a:latin typeface="Lato Light" panose="020F0502020204030203" pitchFamily="34" charset="0"/>
            </a:endParaRPr>
          </a:p>
        </p:txBody>
      </p:sp>
      <p:sp>
        <p:nvSpPr>
          <p:cNvPr id="10" name="Freeform 72">
            <a:extLst>
              <a:ext uri="{FF2B5EF4-FFF2-40B4-BE49-F238E27FC236}">
                <a16:creationId xmlns:a16="http://schemas.microsoft.com/office/drawing/2014/main" id="{AD702751-7C23-F545-9A6B-B5C55F17F5F1}"/>
              </a:ext>
            </a:extLst>
          </p:cNvPr>
          <p:cNvSpPr>
            <a:spLocks noChangeArrowheads="1"/>
          </p:cNvSpPr>
          <p:nvPr/>
        </p:nvSpPr>
        <p:spPr bwMode="auto">
          <a:xfrm>
            <a:off x="1741028" y="3128803"/>
            <a:ext cx="32962" cy="1675554"/>
          </a:xfrm>
          <a:custGeom>
            <a:avLst/>
            <a:gdLst>
              <a:gd name="T0" fmla="*/ 25 w 52"/>
              <a:gd name="T1" fmla="*/ 2689 h 2690"/>
              <a:gd name="T2" fmla="*/ 25 w 52"/>
              <a:gd name="T3" fmla="*/ 2689 h 2690"/>
              <a:gd name="T4" fmla="*/ 0 w 52"/>
              <a:gd name="T5" fmla="*/ 2664 h 2690"/>
              <a:gd name="T6" fmla="*/ 0 w 52"/>
              <a:gd name="T7" fmla="*/ 25 h 2690"/>
              <a:gd name="T8" fmla="*/ 0 w 52"/>
              <a:gd name="T9" fmla="*/ 25 h 2690"/>
              <a:gd name="T10" fmla="*/ 25 w 52"/>
              <a:gd name="T11" fmla="*/ 0 h 2690"/>
              <a:gd name="T12" fmla="*/ 25 w 52"/>
              <a:gd name="T13" fmla="*/ 0 h 2690"/>
              <a:gd name="T14" fmla="*/ 51 w 52"/>
              <a:gd name="T15" fmla="*/ 25 h 2690"/>
              <a:gd name="T16" fmla="*/ 51 w 52"/>
              <a:gd name="T17" fmla="*/ 2664 h 2690"/>
              <a:gd name="T18" fmla="*/ 51 w 52"/>
              <a:gd name="T19" fmla="*/ 2664 h 2690"/>
              <a:gd name="T20" fmla="*/ 25 w 52"/>
              <a:gd name="T21" fmla="*/ 2689 h 2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2690">
                <a:moveTo>
                  <a:pt x="25" y="2689"/>
                </a:moveTo>
                <a:lnTo>
                  <a:pt x="25" y="2689"/>
                </a:lnTo>
                <a:cubicBezTo>
                  <a:pt x="11" y="2689"/>
                  <a:pt x="0" y="2678"/>
                  <a:pt x="0" y="2664"/>
                </a:cubicBezTo>
                <a:lnTo>
                  <a:pt x="0" y="25"/>
                </a:lnTo>
                <a:lnTo>
                  <a:pt x="0" y="25"/>
                </a:lnTo>
                <a:cubicBezTo>
                  <a:pt x="0" y="11"/>
                  <a:pt x="11" y="0"/>
                  <a:pt x="25" y="0"/>
                </a:cubicBezTo>
                <a:lnTo>
                  <a:pt x="25" y="0"/>
                </a:lnTo>
                <a:cubicBezTo>
                  <a:pt x="39" y="0"/>
                  <a:pt x="51" y="11"/>
                  <a:pt x="51" y="25"/>
                </a:cubicBezTo>
                <a:lnTo>
                  <a:pt x="51" y="2664"/>
                </a:lnTo>
                <a:lnTo>
                  <a:pt x="51" y="2664"/>
                </a:lnTo>
                <a:cubicBezTo>
                  <a:pt x="51" y="2678"/>
                  <a:pt x="39" y="2689"/>
                  <a:pt x="25" y="2689"/>
                </a:cubicBezTo>
              </a:path>
            </a:pathLst>
          </a:custGeom>
          <a:solidFill>
            <a:schemeClr val="accent1"/>
          </a:solidFill>
          <a:ln>
            <a:noFill/>
          </a:ln>
          <a:effectLst/>
        </p:spPr>
        <p:txBody>
          <a:bodyPr wrap="none" anchor="ctr"/>
          <a:lstStyle/>
          <a:p>
            <a:endParaRPr lang="en-US" sz="3265" dirty="0">
              <a:latin typeface="Lato Light" panose="020F0502020204030203" pitchFamily="34" charset="0"/>
            </a:endParaRPr>
          </a:p>
        </p:txBody>
      </p:sp>
      <p:sp>
        <p:nvSpPr>
          <p:cNvPr id="11" name="Freeform 73">
            <a:extLst>
              <a:ext uri="{FF2B5EF4-FFF2-40B4-BE49-F238E27FC236}">
                <a16:creationId xmlns:a16="http://schemas.microsoft.com/office/drawing/2014/main" id="{0DC8AE54-FE19-7845-BD35-EA59DDF18ABD}"/>
              </a:ext>
            </a:extLst>
          </p:cNvPr>
          <p:cNvSpPr>
            <a:spLocks noChangeArrowheads="1"/>
          </p:cNvSpPr>
          <p:nvPr/>
        </p:nvSpPr>
        <p:spPr bwMode="auto">
          <a:xfrm>
            <a:off x="1661371" y="4710965"/>
            <a:ext cx="192277" cy="189529"/>
          </a:xfrm>
          <a:custGeom>
            <a:avLst/>
            <a:gdLst>
              <a:gd name="T0" fmla="*/ 153 w 307"/>
              <a:gd name="T1" fmla="*/ 0 h 306"/>
              <a:gd name="T2" fmla="*/ 153 w 307"/>
              <a:gd name="T3" fmla="*/ 0 h 306"/>
              <a:gd name="T4" fmla="*/ 306 w 307"/>
              <a:gd name="T5" fmla="*/ 152 h 306"/>
              <a:gd name="T6" fmla="*/ 306 w 307"/>
              <a:gd name="T7" fmla="*/ 152 h 306"/>
              <a:gd name="T8" fmla="*/ 153 w 307"/>
              <a:gd name="T9" fmla="*/ 305 h 306"/>
              <a:gd name="T10" fmla="*/ 153 w 307"/>
              <a:gd name="T11" fmla="*/ 305 h 306"/>
              <a:gd name="T12" fmla="*/ 0 w 307"/>
              <a:gd name="T13" fmla="*/ 152 h 306"/>
              <a:gd name="T14" fmla="*/ 0 w 307"/>
              <a:gd name="T15" fmla="*/ 152 h 306"/>
              <a:gd name="T16" fmla="*/ 153 w 307"/>
              <a:gd name="T17"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306">
                <a:moveTo>
                  <a:pt x="153" y="0"/>
                </a:moveTo>
                <a:lnTo>
                  <a:pt x="153" y="0"/>
                </a:lnTo>
                <a:cubicBezTo>
                  <a:pt x="237" y="0"/>
                  <a:pt x="306" y="68"/>
                  <a:pt x="306" y="152"/>
                </a:cubicBezTo>
                <a:lnTo>
                  <a:pt x="306" y="152"/>
                </a:lnTo>
                <a:cubicBezTo>
                  <a:pt x="306" y="237"/>
                  <a:pt x="237" y="305"/>
                  <a:pt x="153" y="305"/>
                </a:cubicBezTo>
                <a:lnTo>
                  <a:pt x="153" y="305"/>
                </a:lnTo>
                <a:cubicBezTo>
                  <a:pt x="68" y="305"/>
                  <a:pt x="0" y="237"/>
                  <a:pt x="0" y="152"/>
                </a:cubicBezTo>
                <a:lnTo>
                  <a:pt x="0" y="152"/>
                </a:lnTo>
                <a:cubicBezTo>
                  <a:pt x="0" y="68"/>
                  <a:pt x="68" y="0"/>
                  <a:pt x="153" y="0"/>
                </a:cubicBezTo>
              </a:path>
            </a:pathLst>
          </a:custGeom>
          <a:solidFill>
            <a:schemeClr val="accent1"/>
          </a:solidFill>
          <a:ln>
            <a:noFill/>
          </a:ln>
          <a:effectLst/>
        </p:spPr>
        <p:txBody>
          <a:bodyPr wrap="none" anchor="ctr"/>
          <a:lstStyle/>
          <a:p>
            <a:endParaRPr lang="en-US" sz="3265" dirty="0">
              <a:latin typeface="Lato Light" panose="020F0502020204030203" pitchFamily="34" charset="0"/>
            </a:endParaRPr>
          </a:p>
        </p:txBody>
      </p:sp>
      <p:sp>
        <p:nvSpPr>
          <p:cNvPr id="13" name="Freeform 79">
            <a:extLst>
              <a:ext uri="{FF2B5EF4-FFF2-40B4-BE49-F238E27FC236}">
                <a16:creationId xmlns:a16="http://schemas.microsoft.com/office/drawing/2014/main" id="{726BBA4C-5A4C-6C49-82AC-8D754555B589}"/>
              </a:ext>
            </a:extLst>
          </p:cNvPr>
          <p:cNvSpPr>
            <a:spLocks noChangeArrowheads="1"/>
          </p:cNvSpPr>
          <p:nvPr/>
        </p:nvSpPr>
        <p:spPr bwMode="auto">
          <a:xfrm>
            <a:off x="3389067" y="3235926"/>
            <a:ext cx="1079497" cy="1079497"/>
          </a:xfrm>
          <a:custGeom>
            <a:avLst/>
            <a:gdLst>
              <a:gd name="T0" fmla="*/ 867 w 1734"/>
              <a:gd name="T1" fmla="*/ 0 h 1733"/>
              <a:gd name="T2" fmla="*/ 867 w 1734"/>
              <a:gd name="T3" fmla="*/ 0 h 1733"/>
              <a:gd name="T4" fmla="*/ 1733 w 1734"/>
              <a:gd name="T5" fmla="*/ 865 h 1733"/>
              <a:gd name="T6" fmla="*/ 1733 w 1734"/>
              <a:gd name="T7" fmla="*/ 865 h 1733"/>
              <a:gd name="T8" fmla="*/ 867 w 1734"/>
              <a:gd name="T9" fmla="*/ 1732 h 1733"/>
              <a:gd name="T10" fmla="*/ 867 w 1734"/>
              <a:gd name="T11" fmla="*/ 1732 h 1733"/>
              <a:gd name="T12" fmla="*/ 0 w 1734"/>
              <a:gd name="T13" fmla="*/ 865 h 1733"/>
              <a:gd name="T14" fmla="*/ 0 w 1734"/>
              <a:gd name="T15" fmla="*/ 865 h 1733"/>
              <a:gd name="T16" fmla="*/ 867 w 1734"/>
              <a:gd name="T17" fmla="*/ 0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4" h="1733">
                <a:moveTo>
                  <a:pt x="867" y="0"/>
                </a:moveTo>
                <a:lnTo>
                  <a:pt x="867" y="0"/>
                </a:lnTo>
                <a:cubicBezTo>
                  <a:pt x="1345" y="0"/>
                  <a:pt x="1733" y="387"/>
                  <a:pt x="1733" y="865"/>
                </a:cubicBezTo>
                <a:lnTo>
                  <a:pt x="1733" y="865"/>
                </a:lnTo>
                <a:cubicBezTo>
                  <a:pt x="1733" y="1344"/>
                  <a:pt x="1345" y="1732"/>
                  <a:pt x="867" y="1732"/>
                </a:cubicBezTo>
                <a:lnTo>
                  <a:pt x="867" y="1732"/>
                </a:lnTo>
                <a:cubicBezTo>
                  <a:pt x="388" y="1732"/>
                  <a:pt x="0" y="1344"/>
                  <a:pt x="0" y="865"/>
                </a:cubicBezTo>
                <a:lnTo>
                  <a:pt x="0" y="865"/>
                </a:lnTo>
                <a:cubicBezTo>
                  <a:pt x="0" y="387"/>
                  <a:pt x="388" y="0"/>
                  <a:pt x="867" y="0"/>
                </a:cubicBezTo>
              </a:path>
            </a:pathLst>
          </a:custGeom>
          <a:solidFill>
            <a:schemeClr val="accent2"/>
          </a:solidFill>
          <a:ln>
            <a:noFill/>
          </a:ln>
          <a:effectLst/>
        </p:spPr>
        <p:txBody>
          <a:bodyPr wrap="none" anchor="ctr"/>
          <a:lstStyle/>
          <a:p>
            <a:endParaRPr lang="en-US" sz="3265" dirty="0">
              <a:latin typeface="Lato Light" panose="020F0502020204030203" pitchFamily="34" charset="0"/>
            </a:endParaRPr>
          </a:p>
        </p:txBody>
      </p:sp>
      <p:sp>
        <p:nvSpPr>
          <p:cNvPr id="14" name="Freeform 80">
            <a:extLst>
              <a:ext uri="{FF2B5EF4-FFF2-40B4-BE49-F238E27FC236}">
                <a16:creationId xmlns:a16="http://schemas.microsoft.com/office/drawing/2014/main" id="{05EBE9EA-927E-034C-A22E-E3BAADD8629A}"/>
              </a:ext>
            </a:extLst>
          </p:cNvPr>
          <p:cNvSpPr>
            <a:spLocks noChangeArrowheads="1"/>
          </p:cNvSpPr>
          <p:nvPr/>
        </p:nvSpPr>
        <p:spPr bwMode="auto">
          <a:xfrm>
            <a:off x="3548384" y="3395243"/>
            <a:ext cx="763613" cy="763613"/>
          </a:xfrm>
          <a:custGeom>
            <a:avLst/>
            <a:gdLst>
              <a:gd name="T0" fmla="*/ 612 w 1224"/>
              <a:gd name="T1" fmla="*/ 0 h 1224"/>
              <a:gd name="T2" fmla="*/ 612 w 1224"/>
              <a:gd name="T3" fmla="*/ 0 h 1224"/>
              <a:gd name="T4" fmla="*/ 1223 w 1224"/>
              <a:gd name="T5" fmla="*/ 611 h 1224"/>
              <a:gd name="T6" fmla="*/ 1223 w 1224"/>
              <a:gd name="T7" fmla="*/ 611 h 1224"/>
              <a:gd name="T8" fmla="*/ 612 w 1224"/>
              <a:gd name="T9" fmla="*/ 1223 h 1224"/>
              <a:gd name="T10" fmla="*/ 612 w 1224"/>
              <a:gd name="T11" fmla="*/ 1223 h 1224"/>
              <a:gd name="T12" fmla="*/ 0 w 1224"/>
              <a:gd name="T13" fmla="*/ 611 h 1224"/>
              <a:gd name="T14" fmla="*/ 0 w 1224"/>
              <a:gd name="T15" fmla="*/ 611 h 1224"/>
              <a:gd name="T16" fmla="*/ 612 w 1224"/>
              <a:gd name="T17" fmla="*/ 0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4" h="1224">
                <a:moveTo>
                  <a:pt x="612" y="0"/>
                </a:moveTo>
                <a:lnTo>
                  <a:pt x="612" y="0"/>
                </a:lnTo>
                <a:cubicBezTo>
                  <a:pt x="949" y="0"/>
                  <a:pt x="1223" y="274"/>
                  <a:pt x="1223" y="611"/>
                </a:cubicBezTo>
                <a:lnTo>
                  <a:pt x="1223" y="611"/>
                </a:lnTo>
                <a:cubicBezTo>
                  <a:pt x="1223" y="949"/>
                  <a:pt x="949" y="1223"/>
                  <a:pt x="612" y="1223"/>
                </a:cubicBezTo>
                <a:lnTo>
                  <a:pt x="612" y="1223"/>
                </a:lnTo>
                <a:cubicBezTo>
                  <a:pt x="273" y="1223"/>
                  <a:pt x="0" y="949"/>
                  <a:pt x="0" y="611"/>
                </a:cubicBezTo>
                <a:lnTo>
                  <a:pt x="0" y="611"/>
                </a:lnTo>
                <a:cubicBezTo>
                  <a:pt x="0" y="274"/>
                  <a:pt x="273" y="0"/>
                  <a:pt x="612" y="0"/>
                </a:cubicBezTo>
              </a:path>
            </a:pathLst>
          </a:custGeom>
          <a:solidFill>
            <a:schemeClr val="bg1"/>
          </a:solidFill>
          <a:ln>
            <a:noFill/>
          </a:ln>
          <a:effectLst/>
          <a:extLst>
            <a:ext uri="{91240B29-F687-4F45-9708-019B960494DF}">
              <a14:hiddenLine xmlns:a14="http://schemas.microsoft.com/office/drawing/2010/main" w="9525" cap="flat">
                <a:solidFill>
                  <a:srgbClr val="06D6A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dirty="0">
              <a:latin typeface="Lato Light" panose="020F0502020204030203" pitchFamily="34" charset="0"/>
            </a:endParaRPr>
          </a:p>
        </p:txBody>
      </p:sp>
      <p:sp>
        <p:nvSpPr>
          <p:cNvPr id="16" name="Freeform 147">
            <a:extLst>
              <a:ext uri="{FF2B5EF4-FFF2-40B4-BE49-F238E27FC236}">
                <a16:creationId xmlns:a16="http://schemas.microsoft.com/office/drawing/2014/main" id="{5A86A2EE-C6EB-2947-97A0-53B783988E19}"/>
              </a:ext>
            </a:extLst>
          </p:cNvPr>
          <p:cNvSpPr>
            <a:spLocks noChangeArrowheads="1"/>
          </p:cNvSpPr>
          <p:nvPr/>
        </p:nvSpPr>
        <p:spPr bwMode="auto">
          <a:xfrm>
            <a:off x="3908215" y="4200057"/>
            <a:ext cx="32962" cy="604298"/>
          </a:xfrm>
          <a:custGeom>
            <a:avLst/>
            <a:gdLst>
              <a:gd name="T0" fmla="*/ 25 w 52"/>
              <a:gd name="T1" fmla="*/ 967 h 968"/>
              <a:gd name="T2" fmla="*/ 25 w 52"/>
              <a:gd name="T3" fmla="*/ 967 h 968"/>
              <a:gd name="T4" fmla="*/ 0 w 52"/>
              <a:gd name="T5" fmla="*/ 942 h 968"/>
              <a:gd name="T6" fmla="*/ 0 w 52"/>
              <a:gd name="T7" fmla="*/ 24 h 968"/>
              <a:gd name="T8" fmla="*/ 0 w 52"/>
              <a:gd name="T9" fmla="*/ 24 h 968"/>
              <a:gd name="T10" fmla="*/ 25 w 52"/>
              <a:gd name="T11" fmla="*/ 0 h 968"/>
              <a:gd name="T12" fmla="*/ 25 w 52"/>
              <a:gd name="T13" fmla="*/ 0 h 968"/>
              <a:gd name="T14" fmla="*/ 51 w 52"/>
              <a:gd name="T15" fmla="*/ 24 h 968"/>
              <a:gd name="T16" fmla="*/ 51 w 52"/>
              <a:gd name="T17" fmla="*/ 942 h 968"/>
              <a:gd name="T18" fmla="*/ 51 w 52"/>
              <a:gd name="T19" fmla="*/ 942 h 968"/>
              <a:gd name="T20" fmla="*/ 25 w 52"/>
              <a:gd name="T21" fmla="*/ 967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968">
                <a:moveTo>
                  <a:pt x="25" y="967"/>
                </a:moveTo>
                <a:lnTo>
                  <a:pt x="25" y="967"/>
                </a:lnTo>
                <a:cubicBezTo>
                  <a:pt x="11" y="967"/>
                  <a:pt x="0" y="956"/>
                  <a:pt x="0" y="942"/>
                </a:cubicBezTo>
                <a:lnTo>
                  <a:pt x="0" y="24"/>
                </a:lnTo>
                <a:lnTo>
                  <a:pt x="0" y="24"/>
                </a:lnTo>
                <a:cubicBezTo>
                  <a:pt x="0" y="11"/>
                  <a:pt x="11" y="0"/>
                  <a:pt x="25" y="0"/>
                </a:cubicBezTo>
                <a:lnTo>
                  <a:pt x="25" y="0"/>
                </a:lnTo>
                <a:cubicBezTo>
                  <a:pt x="39" y="0"/>
                  <a:pt x="51" y="11"/>
                  <a:pt x="51" y="24"/>
                </a:cubicBezTo>
                <a:lnTo>
                  <a:pt x="51" y="942"/>
                </a:lnTo>
                <a:lnTo>
                  <a:pt x="51" y="942"/>
                </a:lnTo>
                <a:cubicBezTo>
                  <a:pt x="51" y="956"/>
                  <a:pt x="39" y="967"/>
                  <a:pt x="25" y="967"/>
                </a:cubicBezTo>
              </a:path>
            </a:pathLst>
          </a:custGeom>
          <a:solidFill>
            <a:schemeClr val="accent2"/>
          </a:solidFill>
          <a:ln>
            <a:noFill/>
          </a:ln>
          <a:effectLst/>
        </p:spPr>
        <p:txBody>
          <a:bodyPr wrap="none" anchor="ctr"/>
          <a:lstStyle/>
          <a:p>
            <a:endParaRPr lang="en-US" sz="3265" dirty="0">
              <a:latin typeface="Lato Light" panose="020F0502020204030203" pitchFamily="34" charset="0"/>
            </a:endParaRPr>
          </a:p>
        </p:txBody>
      </p:sp>
      <p:sp>
        <p:nvSpPr>
          <p:cNvPr id="17" name="Freeform 148">
            <a:extLst>
              <a:ext uri="{FF2B5EF4-FFF2-40B4-BE49-F238E27FC236}">
                <a16:creationId xmlns:a16="http://schemas.microsoft.com/office/drawing/2014/main" id="{E9F2E811-A568-C84A-B50C-E0698D3C69A5}"/>
              </a:ext>
            </a:extLst>
          </p:cNvPr>
          <p:cNvSpPr>
            <a:spLocks noChangeArrowheads="1"/>
          </p:cNvSpPr>
          <p:nvPr/>
        </p:nvSpPr>
        <p:spPr bwMode="auto">
          <a:xfrm>
            <a:off x="3828557" y="4708216"/>
            <a:ext cx="197771" cy="197770"/>
          </a:xfrm>
          <a:custGeom>
            <a:avLst/>
            <a:gdLst>
              <a:gd name="T0" fmla="*/ 157 w 317"/>
              <a:gd name="T1" fmla="*/ 0 h 317"/>
              <a:gd name="T2" fmla="*/ 157 w 317"/>
              <a:gd name="T3" fmla="*/ 0 h 317"/>
              <a:gd name="T4" fmla="*/ 316 w 317"/>
              <a:gd name="T5" fmla="*/ 157 h 317"/>
              <a:gd name="T6" fmla="*/ 316 w 317"/>
              <a:gd name="T7" fmla="*/ 157 h 317"/>
              <a:gd name="T8" fmla="*/ 157 w 317"/>
              <a:gd name="T9" fmla="*/ 316 h 317"/>
              <a:gd name="T10" fmla="*/ 157 w 317"/>
              <a:gd name="T11" fmla="*/ 316 h 317"/>
              <a:gd name="T12" fmla="*/ 0 w 317"/>
              <a:gd name="T13" fmla="*/ 157 h 317"/>
              <a:gd name="T14" fmla="*/ 0 w 317"/>
              <a:gd name="T15" fmla="*/ 157 h 317"/>
              <a:gd name="T16" fmla="*/ 157 w 317"/>
              <a:gd name="T1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317">
                <a:moveTo>
                  <a:pt x="157" y="0"/>
                </a:moveTo>
                <a:lnTo>
                  <a:pt x="157" y="0"/>
                </a:lnTo>
                <a:cubicBezTo>
                  <a:pt x="245" y="0"/>
                  <a:pt x="316" y="71"/>
                  <a:pt x="316" y="157"/>
                </a:cubicBezTo>
                <a:lnTo>
                  <a:pt x="316" y="157"/>
                </a:lnTo>
                <a:cubicBezTo>
                  <a:pt x="316" y="245"/>
                  <a:pt x="245" y="316"/>
                  <a:pt x="157" y="316"/>
                </a:cubicBezTo>
                <a:lnTo>
                  <a:pt x="157" y="316"/>
                </a:lnTo>
                <a:cubicBezTo>
                  <a:pt x="70" y="316"/>
                  <a:pt x="0" y="245"/>
                  <a:pt x="0" y="157"/>
                </a:cubicBezTo>
                <a:lnTo>
                  <a:pt x="0" y="157"/>
                </a:lnTo>
                <a:cubicBezTo>
                  <a:pt x="0" y="71"/>
                  <a:pt x="70" y="0"/>
                  <a:pt x="157" y="0"/>
                </a:cubicBezTo>
              </a:path>
            </a:pathLst>
          </a:custGeom>
          <a:solidFill>
            <a:schemeClr val="accent2"/>
          </a:solidFill>
          <a:ln>
            <a:noFill/>
          </a:ln>
          <a:effectLst/>
        </p:spPr>
        <p:txBody>
          <a:bodyPr wrap="none" anchor="ctr"/>
          <a:lstStyle/>
          <a:p>
            <a:endParaRPr lang="en-US" sz="3265" dirty="0">
              <a:latin typeface="Lato Light" panose="020F0502020204030203" pitchFamily="34" charset="0"/>
            </a:endParaRPr>
          </a:p>
        </p:txBody>
      </p:sp>
      <p:sp>
        <p:nvSpPr>
          <p:cNvPr id="18" name="Freeform 153">
            <a:extLst>
              <a:ext uri="{FF2B5EF4-FFF2-40B4-BE49-F238E27FC236}">
                <a16:creationId xmlns:a16="http://schemas.microsoft.com/office/drawing/2014/main" id="{CBD56266-5655-D548-A090-C9DAE63E2EDD}"/>
              </a:ext>
            </a:extLst>
          </p:cNvPr>
          <p:cNvSpPr>
            <a:spLocks noChangeArrowheads="1"/>
          </p:cNvSpPr>
          <p:nvPr/>
        </p:nvSpPr>
        <p:spPr bwMode="auto">
          <a:xfrm>
            <a:off x="9890626" y="2156433"/>
            <a:ext cx="1079496" cy="1079495"/>
          </a:xfrm>
          <a:custGeom>
            <a:avLst/>
            <a:gdLst>
              <a:gd name="T0" fmla="*/ 866 w 1734"/>
              <a:gd name="T1" fmla="*/ 0 h 1734"/>
              <a:gd name="T2" fmla="*/ 866 w 1734"/>
              <a:gd name="T3" fmla="*/ 0 h 1734"/>
              <a:gd name="T4" fmla="*/ 1733 w 1734"/>
              <a:gd name="T5" fmla="*/ 867 h 1734"/>
              <a:gd name="T6" fmla="*/ 1733 w 1734"/>
              <a:gd name="T7" fmla="*/ 867 h 1734"/>
              <a:gd name="T8" fmla="*/ 866 w 1734"/>
              <a:gd name="T9" fmla="*/ 1733 h 1734"/>
              <a:gd name="T10" fmla="*/ 866 w 1734"/>
              <a:gd name="T11" fmla="*/ 1733 h 1734"/>
              <a:gd name="T12" fmla="*/ 0 w 1734"/>
              <a:gd name="T13" fmla="*/ 867 h 1734"/>
              <a:gd name="T14" fmla="*/ 0 w 1734"/>
              <a:gd name="T15" fmla="*/ 867 h 1734"/>
              <a:gd name="T16" fmla="*/ 866 w 1734"/>
              <a:gd name="T17" fmla="*/ 0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4" h="1734">
                <a:moveTo>
                  <a:pt x="866" y="0"/>
                </a:moveTo>
                <a:lnTo>
                  <a:pt x="866" y="0"/>
                </a:lnTo>
                <a:cubicBezTo>
                  <a:pt x="1345" y="0"/>
                  <a:pt x="1733" y="388"/>
                  <a:pt x="1733" y="867"/>
                </a:cubicBezTo>
                <a:lnTo>
                  <a:pt x="1733" y="867"/>
                </a:lnTo>
                <a:cubicBezTo>
                  <a:pt x="1733" y="1345"/>
                  <a:pt x="1345" y="1733"/>
                  <a:pt x="866" y="1733"/>
                </a:cubicBezTo>
                <a:lnTo>
                  <a:pt x="866" y="1733"/>
                </a:lnTo>
                <a:cubicBezTo>
                  <a:pt x="388" y="1733"/>
                  <a:pt x="0" y="1345"/>
                  <a:pt x="0" y="867"/>
                </a:cubicBezTo>
                <a:lnTo>
                  <a:pt x="0" y="867"/>
                </a:lnTo>
                <a:cubicBezTo>
                  <a:pt x="0" y="388"/>
                  <a:pt x="388" y="0"/>
                  <a:pt x="866" y="0"/>
                </a:cubicBezTo>
              </a:path>
            </a:pathLst>
          </a:custGeom>
          <a:solidFill>
            <a:schemeClr val="accent5"/>
          </a:solidFill>
          <a:ln>
            <a:noFill/>
          </a:ln>
          <a:effectLst/>
        </p:spPr>
        <p:txBody>
          <a:bodyPr wrap="none" anchor="ctr"/>
          <a:lstStyle/>
          <a:p>
            <a:endParaRPr lang="en-US" sz="3265" dirty="0">
              <a:latin typeface="Lato Light" panose="020F0502020204030203" pitchFamily="34" charset="0"/>
            </a:endParaRPr>
          </a:p>
        </p:txBody>
      </p:sp>
      <p:sp>
        <p:nvSpPr>
          <p:cNvPr id="19" name="Freeform 154">
            <a:extLst>
              <a:ext uri="{FF2B5EF4-FFF2-40B4-BE49-F238E27FC236}">
                <a16:creationId xmlns:a16="http://schemas.microsoft.com/office/drawing/2014/main" id="{63645AF1-684B-C04C-8AA3-7623854A1B1B}"/>
              </a:ext>
            </a:extLst>
          </p:cNvPr>
          <p:cNvSpPr>
            <a:spLocks noChangeArrowheads="1"/>
          </p:cNvSpPr>
          <p:nvPr/>
        </p:nvSpPr>
        <p:spPr bwMode="auto">
          <a:xfrm>
            <a:off x="10047194" y="2315748"/>
            <a:ext cx="763613" cy="763613"/>
          </a:xfrm>
          <a:custGeom>
            <a:avLst/>
            <a:gdLst>
              <a:gd name="T0" fmla="*/ 612 w 1224"/>
              <a:gd name="T1" fmla="*/ 0 h 1224"/>
              <a:gd name="T2" fmla="*/ 612 w 1224"/>
              <a:gd name="T3" fmla="*/ 0 h 1224"/>
              <a:gd name="T4" fmla="*/ 1223 w 1224"/>
              <a:gd name="T5" fmla="*/ 612 h 1224"/>
              <a:gd name="T6" fmla="*/ 1223 w 1224"/>
              <a:gd name="T7" fmla="*/ 612 h 1224"/>
              <a:gd name="T8" fmla="*/ 612 w 1224"/>
              <a:gd name="T9" fmla="*/ 1223 h 1224"/>
              <a:gd name="T10" fmla="*/ 612 w 1224"/>
              <a:gd name="T11" fmla="*/ 1223 h 1224"/>
              <a:gd name="T12" fmla="*/ 0 w 1224"/>
              <a:gd name="T13" fmla="*/ 612 h 1224"/>
              <a:gd name="T14" fmla="*/ 0 w 1224"/>
              <a:gd name="T15" fmla="*/ 612 h 1224"/>
              <a:gd name="T16" fmla="*/ 612 w 1224"/>
              <a:gd name="T17" fmla="*/ 0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4" h="1224">
                <a:moveTo>
                  <a:pt x="612" y="0"/>
                </a:moveTo>
                <a:lnTo>
                  <a:pt x="612" y="0"/>
                </a:lnTo>
                <a:cubicBezTo>
                  <a:pt x="950" y="0"/>
                  <a:pt x="1223" y="274"/>
                  <a:pt x="1223" y="612"/>
                </a:cubicBezTo>
                <a:lnTo>
                  <a:pt x="1223" y="612"/>
                </a:lnTo>
                <a:cubicBezTo>
                  <a:pt x="1223" y="949"/>
                  <a:pt x="950" y="1223"/>
                  <a:pt x="612" y="1223"/>
                </a:cubicBezTo>
                <a:lnTo>
                  <a:pt x="612" y="1223"/>
                </a:lnTo>
                <a:cubicBezTo>
                  <a:pt x="274" y="1223"/>
                  <a:pt x="0" y="949"/>
                  <a:pt x="0" y="612"/>
                </a:cubicBezTo>
                <a:lnTo>
                  <a:pt x="0" y="612"/>
                </a:lnTo>
                <a:cubicBezTo>
                  <a:pt x="0" y="274"/>
                  <a:pt x="274" y="0"/>
                  <a:pt x="612" y="0"/>
                </a:cubicBezTo>
              </a:path>
            </a:pathLst>
          </a:custGeom>
          <a:solidFill>
            <a:schemeClr val="bg1"/>
          </a:solidFill>
          <a:ln>
            <a:noFill/>
          </a:ln>
          <a:effectLst/>
          <a:extLst>
            <a:ext uri="{91240B29-F687-4F45-9708-019B960494DF}">
              <a14:hiddenLine xmlns:a14="http://schemas.microsoft.com/office/drawing/2010/main" w="9525" cap="flat">
                <a:solidFill>
                  <a:srgbClr val="06D6A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dirty="0">
              <a:latin typeface="Lato Light" panose="020F0502020204030203" pitchFamily="34" charset="0"/>
            </a:endParaRPr>
          </a:p>
        </p:txBody>
      </p:sp>
      <p:sp>
        <p:nvSpPr>
          <p:cNvPr id="21" name="Freeform 216">
            <a:extLst>
              <a:ext uri="{FF2B5EF4-FFF2-40B4-BE49-F238E27FC236}">
                <a16:creationId xmlns:a16="http://schemas.microsoft.com/office/drawing/2014/main" id="{FC9091C8-7E42-8C41-8E4C-5D2AB13BD669}"/>
              </a:ext>
            </a:extLst>
          </p:cNvPr>
          <p:cNvSpPr>
            <a:spLocks noChangeArrowheads="1"/>
          </p:cNvSpPr>
          <p:nvPr/>
        </p:nvSpPr>
        <p:spPr bwMode="auto">
          <a:xfrm>
            <a:off x="10409771" y="3128803"/>
            <a:ext cx="32962" cy="1675554"/>
          </a:xfrm>
          <a:custGeom>
            <a:avLst/>
            <a:gdLst>
              <a:gd name="T0" fmla="*/ 26 w 53"/>
              <a:gd name="T1" fmla="*/ 2689 h 2690"/>
              <a:gd name="T2" fmla="*/ 26 w 53"/>
              <a:gd name="T3" fmla="*/ 2689 h 2690"/>
              <a:gd name="T4" fmla="*/ 0 w 53"/>
              <a:gd name="T5" fmla="*/ 2664 h 2690"/>
              <a:gd name="T6" fmla="*/ 0 w 53"/>
              <a:gd name="T7" fmla="*/ 25 h 2690"/>
              <a:gd name="T8" fmla="*/ 0 w 53"/>
              <a:gd name="T9" fmla="*/ 25 h 2690"/>
              <a:gd name="T10" fmla="*/ 26 w 53"/>
              <a:gd name="T11" fmla="*/ 0 h 2690"/>
              <a:gd name="T12" fmla="*/ 26 w 53"/>
              <a:gd name="T13" fmla="*/ 0 h 2690"/>
              <a:gd name="T14" fmla="*/ 52 w 53"/>
              <a:gd name="T15" fmla="*/ 25 h 2690"/>
              <a:gd name="T16" fmla="*/ 52 w 53"/>
              <a:gd name="T17" fmla="*/ 2664 h 2690"/>
              <a:gd name="T18" fmla="*/ 52 w 53"/>
              <a:gd name="T19" fmla="*/ 2664 h 2690"/>
              <a:gd name="T20" fmla="*/ 26 w 53"/>
              <a:gd name="T21" fmla="*/ 2689 h 2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690">
                <a:moveTo>
                  <a:pt x="26" y="2689"/>
                </a:moveTo>
                <a:lnTo>
                  <a:pt x="26" y="2689"/>
                </a:lnTo>
                <a:cubicBezTo>
                  <a:pt x="12" y="2689"/>
                  <a:pt x="0" y="2678"/>
                  <a:pt x="0" y="2664"/>
                </a:cubicBezTo>
                <a:lnTo>
                  <a:pt x="0" y="25"/>
                </a:lnTo>
                <a:lnTo>
                  <a:pt x="0" y="25"/>
                </a:lnTo>
                <a:cubicBezTo>
                  <a:pt x="0" y="11"/>
                  <a:pt x="12" y="0"/>
                  <a:pt x="26" y="0"/>
                </a:cubicBezTo>
                <a:lnTo>
                  <a:pt x="26" y="0"/>
                </a:lnTo>
                <a:cubicBezTo>
                  <a:pt x="40" y="0"/>
                  <a:pt x="52" y="11"/>
                  <a:pt x="52" y="25"/>
                </a:cubicBezTo>
                <a:lnTo>
                  <a:pt x="52" y="2664"/>
                </a:lnTo>
                <a:lnTo>
                  <a:pt x="52" y="2664"/>
                </a:lnTo>
                <a:cubicBezTo>
                  <a:pt x="52" y="2678"/>
                  <a:pt x="40" y="2689"/>
                  <a:pt x="26" y="2689"/>
                </a:cubicBezTo>
              </a:path>
            </a:pathLst>
          </a:custGeom>
          <a:solidFill>
            <a:schemeClr val="accent5"/>
          </a:solidFill>
          <a:ln>
            <a:noFill/>
          </a:ln>
          <a:effectLst/>
        </p:spPr>
        <p:txBody>
          <a:bodyPr wrap="none" anchor="ctr"/>
          <a:lstStyle/>
          <a:p>
            <a:endParaRPr lang="en-US" sz="3265" dirty="0">
              <a:latin typeface="Lato Light" panose="020F0502020204030203" pitchFamily="34" charset="0"/>
            </a:endParaRPr>
          </a:p>
        </p:txBody>
      </p:sp>
      <p:sp>
        <p:nvSpPr>
          <p:cNvPr id="22" name="Freeform 217">
            <a:extLst>
              <a:ext uri="{FF2B5EF4-FFF2-40B4-BE49-F238E27FC236}">
                <a16:creationId xmlns:a16="http://schemas.microsoft.com/office/drawing/2014/main" id="{F57C642E-7EEE-604F-9150-1E7050E681CA}"/>
              </a:ext>
            </a:extLst>
          </p:cNvPr>
          <p:cNvSpPr>
            <a:spLocks noChangeArrowheads="1"/>
          </p:cNvSpPr>
          <p:nvPr/>
        </p:nvSpPr>
        <p:spPr bwMode="auto">
          <a:xfrm>
            <a:off x="10330116" y="4710965"/>
            <a:ext cx="192277" cy="189529"/>
          </a:xfrm>
          <a:custGeom>
            <a:avLst/>
            <a:gdLst>
              <a:gd name="T0" fmla="*/ 153 w 307"/>
              <a:gd name="T1" fmla="*/ 0 h 306"/>
              <a:gd name="T2" fmla="*/ 153 w 307"/>
              <a:gd name="T3" fmla="*/ 0 h 306"/>
              <a:gd name="T4" fmla="*/ 306 w 307"/>
              <a:gd name="T5" fmla="*/ 152 h 306"/>
              <a:gd name="T6" fmla="*/ 306 w 307"/>
              <a:gd name="T7" fmla="*/ 152 h 306"/>
              <a:gd name="T8" fmla="*/ 153 w 307"/>
              <a:gd name="T9" fmla="*/ 305 h 306"/>
              <a:gd name="T10" fmla="*/ 153 w 307"/>
              <a:gd name="T11" fmla="*/ 305 h 306"/>
              <a:gd name="T12" fmla="*/ 0 w 307"/>
              <a:gd name="T13" fmla="*/ 152 h 306"/>
              <a:gd name="T14" fmla="*/ 0 w 307"/>
              <a:gd name="T15" fmla="*/ 152 h 306"/>
              <a:gd name="T16" fmla="*/ 153 w 307"/>
              <a:gd name="T17"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306">
                <a:moveTo>
                  <a:pt x="153" y="0"/>
                </a:moveTo>
                <a:lnTo>
                  <a:pt x="153" y="0"/>
                </a:lnTo>
                <a:cubicBezTo>
                  <a:pt x="238" y="0"/>
                  <a:pt x="306" y="68"/>
                  <a:pt x="306" y="152"/>
                </a:cubicBezTo>
                <a:lnTo>
                  <a:pt x="306" y="152"/>
                </a:lnTo>
                <a:cubicBezTo>
                  <a:pt x="306" y="237"/>
                  <a:pt x="238" y="305"/>
                  <a:pt x="153" y="305"/>
                </a:cubicBezTo>
                <a:lnTo>
                  <a:pt x="153" y="305"/>
                </a:lnTo>
                <a:cubicBezTo>
                  <a:pt x="68" y="305"/>
                  <a:pt x="0" y="237"/>
                  <a:pt x="0" y="152"/>
                </a:cubicBezTo>
                <a:lnTo>
                  <a:pt x="0" y="152"/>
                </a:lnTo>
                <a:cubicBezTo>
                  <a:pt x="0" y="68"/>
                  <a:pt x="68" y="0"/>
                  <a:pt x="153" y="0"/>
                </a:cubicBezTo>
              </a:path>
            </a:pathLst>
          </a:custGeom>
          <a:solidFill>
            <a:schemeClr val="accent5"/>
          </a:solidFill>
          <a:ln>
            <a:noFill/>
          </a:ln>
          <a:effectLst/>
        </p:spPr>
        <p:txBody>
          <a:bodyPr wrap="none" anchor="ctr"/>
          <a:lstStyle/>
          <a:p>
            <a:endParaRPr lang="en-US" sz="3265" dirty="0">
              <a:latin typeface="Lato Light" panose="020F0502020204030203" pitchFamily="34" charset="0"/>
            </a:endParaRPr>
          </a:p>
        </p:txBody>
      </p:sp>
      <p:sp>
        <p:nvSpPr>
          <p:cNvPr id="24" name="Freeform 223">
            <a:extLst>
              <a:ext uri="{FF2B5EF4-FFF2-40B4-BE49-F238E27FC236}">
                <a16:creationId xmlns:a16="http://schemas.microsoft.com/office/drawing/2014/main" id="{20B59B02-8EBB-7D4F-ACDA-4953F4AF181F}"/>
              </a:ext>
            </a:extLst>
          </p:cNvPr>
          <p:cNvSpPr>
            <a:spLocks noChangeArrowheads="1"/>
          </p:cNvSpPr>
          <p:nvPr/>
        </p:nvSpPr>
        <p:spPr bwMode="auto">
          <a:xfrm>
            <a:off x="7723441" y="3235926"/>
            <a:ext cx="1079496" cy="1079497"/>
          </a:xfrm>
          <a:custGeom>
            <a:avLst/>
            <a:gdLst>
              <a:gd name="T0" fmla="*/ 866 w 1733"/>
              <a:gd name="T1" fmla="*/ 0 h 1733"/>
              <a:gd name="T2" fmla="*/ 866 w 1733"/>
              <a:gd name="T3" fmla="*/ 0 h 1733"/>
              <a:gd name="T4" fmla="*/ 1732 w 1733"/>
              <a:gd name="T5" fmla="*/ 865 h 1733"/>
              <a:gd name="T6" fmla="*/ 1732 w 1733"/>
              <a:gd name="T7" fmla="*/ 865 h 1733"/>
              <a:gd name="T8" fmla="*/ 866 w 1733"/>
              <a:gd name="T9" fmla="*/ 1732 h 1733"/>
              <a:gd name="T10" fmla="*/ 866 w 1733"/>
              <a:gd name="T11" fmla="*/ 1732 h 1733"/>
              <a:gd name="T12" fmla="*/ 0 w 1733"/>
              <a:gd name="T13" fmla="*/ 865 h 1733"/>
              <a:gd name="T14" fmla="*/ 0 w 1733"/>
              <a:gd name="T15" fmla="*/ 865 h 1733"/>
              <a:gd name="T16" fmla="*/ 866 w 1733"/>
              <a:gd name="T17" fmla="*/ 0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3" h="1733">
                <a:moveTo>
                  <a:pt x="866" y="0"/>
                </a:moveTo>
                <a:lnTo>
                  <a:pt x="866" y="0"/>
                </a:lnTo>
                <a:cubicBezTo>
                  <a:pt x="1344" y="0"/>
                  <a:pt x="1732" y="387"/>
                  <a:pt x="1732" y="865"/>
                </a:cubicBezTo>
                <a:lnTo>
                  <a:pt x="1732" y="865"/>
                </a:lnTo>
                <a:cubicBezTo>
                  <a:pt x="1732" y="1344"/>
                  <a:pt x="1344" y="1732"/>
                  <a:pt x="866" y="1732"/>
                </a:cubicBezTo>
                <a:lnTo>
                  <a:pt x="866" y="1732"/>
                </a:lnTo>
                <a:cubicBezTo>
                  <a:pt x="387" y="1732"/>
                  <a:pt x="0" y="1344"/>
                  <a:pt x="0" y="865"/>
                </a:cubicBezTo>
                <a:lnTo>
                  <a:pt x="0" y="865"/>
                </a:lnTo>
                <a:cubicBezTo>
                  <a:pt x="0" y="387"/>
                  <a:pt x="387" y="0"/>
                  <a:pt x="866" y="0"/>
                </a:cubicBezTo>
              </a:path>
            </a:pathLst>
          </a:custGeom>
          <a:solidFill>
            <a:schemeClr val="accent4"/>
          </a:solidFill>
          <a:ln>
            <a:noFill/>
          </a:ln>
          <a:effectLst/>
          <a:extLst>
            <a:ext uri="{91240B29-F687-4F45-9708-019B960494DF}">
              <a14:hiddenLine xmlns:a14="http://schemas.microsoft.com/office/drawing/2010/main" w="9525" cap="flat">
                <a:solidFill>
                  <a:srgbClr val="118AB2"/>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dirty="0">
              <a:latin typeface="Lato Light" panose="020F0502020204030203" pitchFamily="34" charset="0"/>
            </a:endParaRPr>
          </a:p>
        </p:txBody>
      </p:sp>
      <p:sp>
        <p:nvSpPr>
          <p:cNvPr id="25" name="Freeform 224">
            <a:extLst>
              <a:ext uri="{FF2B5EF4-FFF2-40B4-BE49-F238E27FC236}">
                <a16:creationId xmlns:a16="http://schemas.microsoft.com/office/drawing/2014/main" id="{58AE7B52-C351-BB45-9976-AB199B371F65}"/>
              </a:ext>
            </a:extLst>
          </p:cNvPr>
          <p:cNvSpPr>
            <a:spLocks noChangeArrowheads="1"/>
          </p:cNvSpPr>
          <p:nvPr/>
        </p:nvSpPr>
        <p:spPr bwMode="auto">
          <a:xfrm>
            <a:off x="7880008" y="3395243"/>
            <a:ext cx="763613" cy="763613"/>
          </a:xfrm>
          <a:custGeom>
            <a:avLst/>
            <a:gdLst>
              <a:gd name="T0" fmla="*/ 612 w 1224"/>
              <a:gd name="T1" fmla="*/ 0 h 1224"/>
              <a:gd name="T2" fmla="*/ 612 w 1224"/>
              <a:gd name="T3" fmla="*/ 0 h 1224"/>
              <a:gd name="T4" fmla="*/ 1223 w 1224"/>
              <a:gd name="T5" fmla="*/ 611 h 1224"/>
              <a:gd name="T6" fmla="*/ 1223 w 1224"/>
              <a:gd name="T7" fmla="*/ 611 h 1224"/>
              <a:gd name="T8" fmla="*/ 612 w 1224"/>
              <a:gd name="T9" fmla="*/ 1223 h 1224"/>
              <a:gd name="T10" fmla="*/ 612 w 1224"/>
              <a:gd name="T11" fmla="*/ 1223 h 1224"/>
              <a:gd name="T12" fmla="*/ 0 w 1224"/>
              <a:gd name="T13" fmla="*/ 611 h 1224"/>
              <a:gd name="T14" fmla="*/ 0 w 1224"/>
              <a:gd name="T15" fmla="*/ 611 h 1224"/>
              <a:gd name="T16" fmla="*/ 612 w 1224"/>
              <a:gd name="T17" fmla="*/ 0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4" h="1224">
                <a:moveTo>
                  <a:pt x="612" y="0"/>
                </a:moveTo>
                <a:lnTo>
                  <a:pt x="612" y="0"/>
                </a:lnTo>
                <a:cubicBezTo>
                  <a:pt x="950" y="0"/>
                  <a:pt x="1223" y="274"/>
                  <a:pt x="1223" y="611"/>
                </a:cubicBezTo>
                <a:lnTo>
                  <a:pt x="1223" y="611"/>
                </a:lnTo>
                <a:cubicBezTo>
                  <a:pt x="1223" y="949"/>
                  <a:pt x="950" y="1223"/>
                  <a:pt x="612" y="1223"/>
                </a:cubicBezTo>
                <a:lnTo>
                  <a:pt x="612" y="1223"/>
                </a:lnTo>
                <a:cubicBezTo>
                  <a:pt x="274" y="1223"/>
                  <a:pt x="0" y="949"/>
                  <a:pt x="0" y="611"/>
                </a:cubicBezTo>
                <a:lnTo>
                  <a:pt x="0" y="611"/>
                </a:lnTo>
                <a:cubicBezTo>
                  <a:pt x="0" y="274"/>
                  <a:pt x="274" y="0"/>
                  <a:pt x="612" y="0"/>
                </a:cubicBezTo>
              </a:path>
            </a:pathLst>
          </a:custGeom>
          <a:solidFill>
            <a:schemeClr val="bg1"/>
          </a:solidFill>
          <a:ln>
            <a:noFill/>
          </a:ln>
          <a:effectLst/>
          <a:extLst>
            <a:ext uri="{91240B29-F687-4F45-9708-019B960494DF}">
              <a14:hiddenLine xmlns:a14="http://schemas.microsoft.com/office/drawing/2010/main" w="9525" cap="flat">
                <a:solidFill>
                  <a:srgbClr val="118AB2"/>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dirty="0">
              <a:latin typeface="Lato Light" panose="020F0502020204030203" pitchFamily="34" charset="0"/>
            </a:endParaRPr>
          </a:p>
        </p:txBody>
      </p:sp>
      <p:sp>
        <p:nvSpPr>
          <p:cNvPr id="27" name="Freeform 285">
            <a:extLst>
              <a:ext uri="{FF2B5EF4-FFF2-40B4-BE49-F238E27FC236}">
                <a16:creationId xmlns:a16="http://schemas.microsoft.com/office/drawing/2014/main" id="{E0B88467-10C9-F544-97F7-6EE9C456BC21}"/>
              </a:ext>
            </a:extLst>
          </p:cNvPr>
          <p:cNvSpPr>
            <a:spLocks noChangeArrowheads="1"/>
          </p:cNvSpPr>
          <p:nvPr/>
        </p:nvSpPr>
        <p:spPr bwMode="auto">
          <a:xfrm>
            <a:off x="8242585" y="4200057"/>
            <a:ext cx="32962" cy="604298"/>
          </a:xfrm>
          <a:custGeom>
            <a:avLst/>
            <a:gdLst>
              <a:gd name="T0" fmla="*/ 26 w 52"/>
              <a:gd name="T1" fmla="*/ 967 h 968"/>
              <a:gd name="T2" fmla="*/ 26 w 52"/>
              <a:gd name="T3" fmla="*/ 967 h 968"/>
              <a:gd name="T4" fmla="*/ 0 w 52"/>
              <a:gd name="T5" fmla="*/ 942 h 968"/>
              <a:gd name="T6" fmla="*/ 0 w 52"/>
              <a:gd name="T7" fmla="*/ 24 h 968"/>
              <a:gd name="T8" fmla="*/ 0 w 52"/>
              <a:gd name="T9" fmla="*/ 24 h 968"/>
              <a:gd name="T10" fmla="*/ 26 w 52"/>
              <a:gd name="T11" fmla="*/ 0 h 968"/>
              <a:gd name="T12" fmla="*/ 26 w 52"/>
              <a:gd name="T13" fmla="*/ 0 h 968"/>
              <a:gd name="T14" fmla="*/ 51 w 52"/>
              <a:gd name="T15" fmla="*/ 24 h 968"/>
              <a:gd name="T16" fmla="*/ 51 w 52"/>
              <a:gd name="T17" fmla="*/ 942 h 968"/>
              <a:gd name="T18" fmla="*/ 51 w 52"/>
              <a:gd name="T19" fmla="*/ 942 h 968"/>
              <a:gd name="T20" fmla="*/ 26 w 52"/>
              <a:gd name="T21" fmla="*/ 967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968">
                <a:moveTo>
                  <a:pt x="26" y="967"/>
                </a:moveTo>
                <a:lnTo>
                  <a:pt x="26" y="967"/>
                </a:lnTo>
                <a:cubicBezTo>
                  <a:pt x="11" y="967"/>
                  <a:pt x="0" y="956"/>
                  <a:pt x="0" y="942"/>
                </a:cubicBezTo>
                <a:lnTo>
                  <a:pt x="0" y="24"/>
                </a:lnTo>
                <a:lnTo>
                  <a:pt x="0" y="24"/>
                </a:lnTo>
                <a:cubicBezTo>
                  <a:pt x="0" y="11"/>
                  <a:pt x="11" y="0"/>
                  <a:pt x="26" y="0"/>
                </a:cubicBezTo>
                <a:lnTo>
                  <a:pt x="26" y="0"/>
                </a:lnTo>
                <a:cubicBezTo>
                  <a:pt x="40" y="0"/>
                  <a:pt x="51" y="11"/>
                  <a:pt x="51" y="24"/>
                </a:cubicBezTo>
                <a:lnTo>
                  <a:pt x="51" y="942"/>
                </a:lnTo>
                <a:lnTo>
                  <a:pt x="51" y="942"/>
                </a:lnTo>
                <a:cubicBezTo>
                  <a:pt x="51" y="956"/>
                  <a:pt x="40" y="967"/>
                  <a:pt x="26" y="967"/>
                </a:cubicBezTo>
              </a:path>
            </a:pathLst>
          </a:custGeom>
          <a:solidFill>
            <a:schemeClr val="accent4"/>
          </a:solidFill>
          <a:ln>
            <a:noFill/>
          </a:ln>
          <a:effectLst/>
          <a:extLst>
            <a:ext uri="{91240B29-F687-4F45-9708-019B960494DF}">
              <a14:hiddenLine xmlns:a14="http://schemas.microsoft.com/office/drawing/2010/main" w="9525" cap="flat">
                <a:solidFill>
                  <a:srgbClr val="118AB2"/>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dirty="0">
              <a:latin typeface="Lato Light" panose="020F0502020204030203" pitchFamily="34" charset="0"/>
            </a:endParaRPr>
          </a:p>
        </p:txBody>
      </p:sp>
      <p:sp>
        <p:nvSpPr>
          <p:cNvPr id="28" name="Freeform 286">
            <a:extLst>
              <a:ext uri="{FF2B5EF4-FFF2-40B4-BE49-F238E27FC236}">
                <a16:creationId xmlns:a16="http://schemas.microsoft.com/office/drawing/2014/main" id="{448A05F0-A901-8D4D-82E0-0564660DF4E7}"/>
              </a:ext>
            </a:extLst>
          </p:cNvPr>
          <p:cNvSpPr>
            <a:spLocks noChangeArrowheads="1"/>
          </p:cNvSpPr>
          <p:nvPr/>
        </p:nvSpPr>
        <p:spPr bwMode="auto">
          <a:xfrm>
            <a:off x="8162930" y="4710965"/>
            <a:ext cx="189529" cy="189529"/>
          </a:xfrm>
          <a:custGeom>
            <a:avLst/>
            <a:gdLst>
              <a:gd name="T0" fmla="*/ 153 w 306"/>
              <a:gd name="T1" fmla="*/ 0 h 306"/>
              <a:gd name="T2" fmla="*/ 153 w 306"/>
              <a:gd name="T3" fmla="*/ 0 h 306"/>
              <a:gd name="T4" fmla="*/ 305 w 306"/>
              <a:gd name="T5" fmla="*/ 152 h 306"/>
              <a:gd name="T6" fmla="*/ 305 w 306"/>
              <a:gd name="T7" fmla="*/ 152 h 306"/>
              <a:gd name="T8" fmla="*/ 153 w 306"/>
              <a:gd name="T9" fmla="*/ 305 h 306"/>
              <a:gd name="T10" fmla="*/ 153 w 306"/>
              <a:gd name="T11" fmla="*/ 305 h 306"/>
              <a:gd name="T12" fmla="*/ 0 w 306"/>
              <a:gd name="T13" fmla="*/ 152 h 306"/>
              <a:gd name="T14" fmla="*/ 0 w 306"/>
              <a:gd name="T15" fmla="*/ 152 h 306"/>
              <a:gd name="T16" fmla="*/ 153 w 306"/>
              <a:gd name="T17"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6">
                <a:moveTo>
                  <a:pt x="153" y="0"/>
                </a:moveTo>
                <a:lnTo>
                  <a:pt x="153" y="0"/>
                </a:lnTo>
                <a:cubicBezTo>
                  <a:pt x="237" y="0"/>
                  <a:pt x="305" y="68"/>
                  <a:pt x="305" y="152"/>
                </a:cubicBezTo>
                <a:lnTo>
                  <a:pt x="305" y="152"/>
                </a:lnTo>
                <a:cubicBezTo>
                  <a:pt x="305" y="237"/>
                  <a:pt x="237" y="305"/>
                  <a:pt x="153" y="305"/>
                </a:cubicBezTo>
                <a:lnTo>
                  <a:pt x="153" y="305"/>
                </a:lnTo>
                <a:cubicBezTo>
                  <a:pt x="68" y="305"/>
                  <a:pt x="0" y="237"/>
                  <a:pt x="0" y="152"/>
                </a:cubicBezTo>
                <a:lnTo>
                  <a:pt x="0" y="152"/>
                </a:lnTo>
                <a:cubicBezTo>
                  <a:pt x="0" y="68"/>
                  <a:pt x="68" y="0"/>
                  <a:pt x="153" y="0"/>
                </a:cubicBezTo>
              </a:path>
            </a:pathLst>
          </a:custGeom>
          <a:solidFill>
            <a:schemeClr val="accent4"/>
          </a:solidFill>
          <a:ln>
            <a:noFill/>
          </a:ln>
          <a:effectLst/>
          <a:extLst>
            <a:ext uri="{91240B29-F687-4F45-9708-019B960494DF}">
              <a14:hiddenLine xmlns:a14="http://schemas.microsoft.com/office/drawing/2010/main" w="9525" cap="flat">
                <a:solidFill>
                  <a:srgbClr val="118AB2"/>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dirty="0">
              <a:latin typeface="Lato Light" panose="020F0502020204030203" pitchFamily="34" charset="0"/>
            </a:endParaRPr>
          </a:p>
        </p:txBody>
      </p:sp>
      <p:sp>
        <p:nvSpPr>
          <p:cNvPr id="46" name="Freeform 153">
            <a:extLst>
              <a:ext uri="{FF2B5EF4-FFF2-40B4-BE49-F238E27FC236}">
                <a16:creationId xmlns:a16="http://schemas.microsoft.com/office/drawing/2014/main" id="{5E0EFFE4-AF6F-8344-8CD3-EF1EB384FA21}"/>
              </a:ext>
            </a:extLst>
          </p:cNvPr>
          <p:cNvSpPr>
            <a:spLocks noChangeArrowheads="1"/>
          </p:cNvSpPr>
          <p:nvPr/>
        </p:nvSpPr>
        <p:spPr bwMode="auto">
          <a:xfrm>
            <a:off x="5556255" y="2156433"/>
            <a:ext cx="1079496" cy="1079495"/>
          </a:xfrm>
          <a:custGeom>
            <a:avLst/>
            <a:gdLst>
              <a:gd name="T0" fmla="*/ 866 w 1734"/>
              <a:gd name="T1" fmla="*/ 0 h 1734"/>
              <a:gd name="T2" fmla="*/ 866 w 1734"/>
              <a:gd name="T3" fmla="*/ 0 h 1734"/>
              <a:gd name="T4" fmla="*/ 1733 w 1734"/>
              <a:gd name="T5" fmla="*/ 867 h 1734"/>
              <a:gd name="T6" fmla="*/ 1733 w 1734"/>
              <a:gd name="T7" fmla="*/ 867 h 1734"/>
              <a:gd name="T8" fmla="*/ 866 w 1734"/>
              <a:gd name="T9" fmla="*/ 1733 h 1734"/>
              <a:gd name="T10" fmla="*/ 866 w 1734"/>
              <a:gd name="T11" fmla="*/ 1733 h 1734"/>
              <a:gd name="T12" fmla="*/ 0 w 1734"/>
              <a:gd name="T13" fmla="*/ 867 h 1734"/>
              <a:gd name="T14" fmla="*/ 0 w 1734"/>
              <a:gd name="T15" fmla="*/ 867 h 1734"/>
              <a:gd name="T16" fmla="*/ 866 w 1734"/>
              <a:gd name="T17" fmla="*/ 0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4" h="1734">
                <a:moveTo>
                  <a:pt x="866" y="0"/>
                </a:moveTo>
                <a:lnTo>
                  <a:pt x="866" y="0"/>
                </a:lnTo>
                <a:cubicBezTo>
                  <a:pt x="1345" y="0"/>
                  <a:pt x="1733" y="388"/>
                  <a:pt x="1733" y="867"/>
                </a:cubicBezTo>
                <a:lnTo>
                  <a:pt x="1733" y="867"/>
                </a:lnTo>
                <a:cubicBezTo>
                  <a:pt x="1733" y="1345"/>
                  <a:pt x="1345" y="1733"/>
                  <a:pt x="866" y="1733"/>
                </a:cubicBezTo>
                <a:lnTo>
                  <a:pt x="866" y="1733"/>
                </a:lnTo>
                <a:cubicBezTo>
                  <a:pt x="388" y="1733"/>
                  <a:pt x="0" y="1345"/>
                  <a:pt x="0" y="867"/>
                </a:cubicBezTo>
                <a:lnTo>
                  <a:pt x="0" y="867"/>
                </a:lnTo>
                <a:cubicBezTo>
                  <a:pt x="0" y="388"/>
                  <a:pt x="388" y="0"/>
                  <a:pt x="866" y="0"/>
                </a:cubicBezTo>
              </a:path>
            </a:pathLst>
          </a:custGeom>
          <a:solidFill>
            <a:schemeClr val="accent3"/>
          </a:solidFill>
          <a:ln>
            <a:noFill/>
          </a:ln>
          <a:effectLst/>
          <a:extLst>
            <a:ext uri="{91240B29-F687-4F45-9708-019B960494DF}">
              <a14:hiddenLine xmlns:a14="http://schemas.microsoft.com/office/drawing/2010/main" w="9525" cap="flat">
                <a:solidFill>
                  <a:srgbClr val="06D6A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dirty="0">
              <a:latin typeface="Lato Light" panose="020F0502020204030203" pitchFamily="34" charset="0"/>
            </a:endParaRPr>
          </a:p>
        </p:txBody>
      </p:sp>
      <p:sp>
        <p:nvSpPr>
          <p:cNvPr id="47" name="Freeform 154">
            <a:extLst>
              <a:ext uri="{FF2B5EF4-FFF2-40B4-BE49-F238E27FC236}">
                <a16:creationId xmlns:a16="http://schemas.microsoft.com/office/drawing/2014/main" id="{EC1BDAF0-6F72-F546-B253-C3E68920FBAB}"/>
              </a:ext>
            </a:extLst>
          </p:cNvPr>
          <p:cNvSpPr>
            <a:spLocks noChangeArrowheads="1"/>
          </p:cNvSpPr>
          <p:nvPr/>
        </p:nvSpPr>
        <p:spPr bwMode="auto">
          <a:xfrm>
            <a:off x="5712822" y="2315748"/>
            <a:ext cx="763613" cy="763613"/>
          </a:xfrm>
          <a:custGeom>
            <a:avLst/>
            <a:gdLst>
              <a:gd name="T0" fmla="*/ 612 w 1224"/>
              <a:gd name="T1" fmla="*/ 0 h 1224"/>
              <a:gd name="T2" fmla="*/ 612 w 1224"/>
              <a:gd name="T3" fmla="*/ 0 h 1224"/>
              <a:gd name="T4" fmla="*/ 1223 w 1224"/>
              <a:gd name="T5" fmla="*/ 612 h 1224"/>
              <a:gd name="T6" fmla="*/ 1223 w 1224"/>
              <a:gd name="T7" fmla="*/ 612 h 1224"/>
              <a:gd name="T8" fmla="*/ 612 w 1224"/>
              <a:gd name="T9" fmla="*/ 1223 h 1224"/>
              <a:gd name="T10" fmla="*/ 612 w 1224"/>
              <a:gd name="T11" fmla="*/ 1223 h 1224"/>
              <a:gd name="T12" fmla="*/ 0 w 1224"/>
              <a:gd name="T13" fmla="*/ 612 h 1224"/>
              <a:gd name="T14" fmla="*/ 0 w 1224"/>
              <a:gd name="T15" fmla="*/ 612 h 1224"/>
              <a:gd name="T16" fmla="*/ 612 w 1224"/>
              <a:gd name="T17" fmla="*/ 0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4" h="1224">
                <a:moveTo>
                  <a:pt x="612" y="0"/>
                </a:moveTo>
                <a:lnTo>
                  <a:pt x="612" y="0"/>
                </a:lnTo>
                <a:cubicBezTo>
                  <a:pt x="950" y="0"/>
                  <a:pt x="1223" y="274"/>
                  <a:pt x="1223" y="612"/>
                </a:cubicBezTo>
                <a:lnTo>
                  <a:pt x="1223" y="612"/>
                </a:lnTo>
                <a:cubicBezTo>
                  <a:pt x="1223" y="949"/>
                  <a:pt x="950" y="1223"/>
                  <a:pt x="612" y="1223"/>
                </a:cubicBezTo>
                <a:lnTo>
                  <a:pt x="612" y="1223"/>
                </a:lnTo>
                <a:cubicBezTo>
                  <a:pt x="274" y="1223"/>
                  <a:pt x="0" y="949"/>
                  <a:pt x="0" y="612"/>
                </a:cubicBezTo>
                <a:lnTo>
                  <a:pt x="0" y="612"/>
                </a:lnTo>
                <a:cubicBezTo>
                  <a:pt x="0" y="274"/>
                  <a:pt x="274" y="0"/>
                  <a:pt x="612" y="0"/>
                </a:cubicBezTo>
              </a:path>
            </a:pathLst>
          </a:custGeom>
          <a:solidFill>
            <a:schemeClr val="bg1"/>
          </a:solidFill>
          <a:ln>
            <a:noFill/>
          </a:ln>
          <a:effectLst/>
          <a:extLst>
            <a:ext uri="{91240B29-F687-4F45-9708-019B960494DF}">
              <a14:hiddenLine xmlns:a14="http://schemas.microsoft.com/office/drawing/2010/main" w="9525" cap="flat">
                <a:solidFill>
                  <a:srgbClr val="06D6A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dirty="0">
              <a:latin typeface="Lato Light" panose="020F0502020204030203" pitchFamily="34" charset="0"/>
            </a:endParaRPr>
          </a:p>
        </p:txBody>
      </p:sp>
      <p:sp>
        <p:nvSpPr>
          <p:cNvPr id="48" name="Freeform 216">
            <a:extLst>
              <a:ext uri="{FF2B5EF4-FFF2-40B4-BE49-F238E27FC236}">
                <a16:creationId xmlns:a16="http://schemas.microsoft.com/office/drawing/2014/main" id="{43726655-B19F-3045-B6D1-388F0ABB3F3C}"/>
              </a:ext>
            </a:extLst>
          </p:cNvPr>
          <p:cNvSpPr>
            <a:spLocks noChangeArrowheads="1"/>
          </p:cNvSpPr>
          <p:nvPr/>
        </p:nvSpPr>
        <p:spPr bwMode="auto">
          <a:xfrm>
            <a:off x="6075399" y="3128803"/>
            <a:ext cx="32962" cy="1675554"/>
          </a:xfrm>
          <a:custGeom>
            <a:avLst/>
            <a:gdLst>
              <a:gd name="T0" fmla="*/ 26 w 53"/>
              <a:gd name="T1" fmla="*/ 2689 h 2690"/>
              <a:gd name="T2" fmla="*/ 26 w 53"/>
              <a:gd name="T3" fmla="*/ 2689 h 2690"/>
              <a:gd name="T4" fmla="*/ 0 w 53"/>
              <a:gd name="T5" fmla="*/ 2664 h 2690"/>
              <a:gd name="T6" fmla="*/ 0 w 53"/>
              <a:gd name="T7" fmla="*/ 25 h 2690"/>
              <a:gd name="T8" fmla="*/ 0 w 53"/>
              <a:gd name="T9" fmla="*/ 25 h 2690"/>
              <a:gd name="T10" fmla="*/ 26 w 53"/>
              <a:gd name="T11" fmla="*/ 0 h 2690"/>
              <a:gd name="T12" fmla="*/ 26 w 53"/>
              <a:gd name="T13" fmla="*/ 0 h 2690"/>
              <a:gd name="T14" fmla="*/ 52 w 53"/>
              <a:gd name="T15" fmla="*/ 25 h 2690"/>
              <a:gd name="T16" fmla="*/ 52 w 53"/>
              <a:gd name="T17" fmla="*/ 2664 h 2690"/>
              <a:gd name="T18" fmla="*/ 52 w 53"/>
              <a:gd name="T19" fmla="*/ 2664 h 2690"/>
              <a:gd name="T20" fmla="*/ 26 w 53"/>
              <a:gd name="T21" fmla="*/ 2689 h 2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690">
                <a:moveTo>
                  <a:pt x="26" y="2689"/>
                </a:moveTo>
                <a:lnTo>
                  <a:pt x="26" y="2689"/>
                </a:lnTo>
                <a:cubicBezTo>
                  <a:pt x="12" y="2689"/>
                  <a:pt x="0" y="2678"/>
                  <a:pt x="0" y="2664"/>
                </a:cubicBezTo>
                <a:lnTo>
                  <a:pt x="0" y="25"/>
                </a:lnTo>
                <a:lnTo>
                  <a:pt x="0" y="25"/>
                </a:lnTo>
                <a:cubicBezTo>
                  <a:pt x="0" y="11"/>
                  <a:pt x="12" y="0"/>
                  <a:pt x="26" y="0"/>
                </a:cubicBezTo>
                <a:lnTo>
                  <a:pt x="26" y="0"/>
                </a:lnTo>
                <a:cubicBezTo>
                  <a:pt x="40" y="0"/>
                  <a:pt x="52" y="11"/>
                  <a:pt x="52" y="25"/>
                </a:cubicBezTo>
                <a:lnTo>
                  <a:pt x="52" y="2664"/>
                </a:lnTo>
                <a:lnTo>
                  <a:pt x="52" y="2664"/>
                </a:lnTo>
                <a:cubicBezTo>
                  <a:pt x="52" y="2678"/>
                  <a:pt x="40" y="2689"/>
                  <a:pt x="26" y="2689"/>
                </a:cubicBezTo>
              </a:path>
            </a:pathLst>
          </a:custGeom>
          <a:solidFill>
            <a:schemeClr val="accent3"/>
          </a:solidFill>
          <a:ln>
            <a:noFill/>
          </a:ln>
          <a:effectLst/>
          <a:extLst>
            <a:ext uri="{91240B29-F687-4F45-9708-019B960494DF}">
              <a14:hiddenLine xmlns:a14="http://schemas.microsoft.com/office/drawing/2010/main" w="9525" cap="flat">
                <a:solidFill>
                  <a:srgbClr val="06D6A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dirty="0">
              <a:latin typeface="Lato Light" panose="020F0502020204030203" pitchFamily="34" charset="0"/>
            </a:endParaRPr>
          </a:p>
        </p:txBody>
      </p:sp>
      <p:sp>
        <p:nvSpPr>
          <p:cNvPr id="49" name="Freeform 217">
            <a:extLst>
              <a:ext uri="{FF2B5EF4-FFF2-40B4-BE49-F238E27FC236}">
                <a16:creationId xmlns:a16="http://schemas.microsoft.com/office/drawing/2014/main" id="{3029D794-6629-B440-8358-794161C04FAB}"/>
              </a:ext>
            </a:extLst>
          </p:cNvPr>
          <p:cNvSpPr>
            <a:spLocks noChangeArrowheads="1"/>
          </p:cNvSpPr>
          <p:nvPr/>
        </p:nvSpPr>
        <p:spPr bwMode="auto">
          <a:xfrm>
            <a:off x="5995744" y="4710965"/>
            <a:ext cx="192277" cy="189529"/>
          </a:xfrm>
          <a:custGeom>
            <a:avLst/>
            <a:gdLst>
              <a:gd name="T0" fmla="*/ 153 w 307"/>
              <a:gd name="T1" fmla="*/ 0 h 306"/>
              <a:gd name="T2" fmla="*/ 153 w 307"/>
              <a:gd name="T3" fmla="*/ 0 h 306"/>
              <a:gd name="T4" fmla="*/ 306 w 307"/>
              <a:gd name="T5" fmla="*/ 152 h 306"/>
              <a:gd name="T6" fmla="*/ 306 w 307"/>
              <a:gd name="T7" fmla="*/ 152 h 306"/>
              <a:gd name="T8" fmla="*/ 153 w 307"/>
              <a:gd name="T9" fmla="*/ 305 h 306"/>
              <a:gd name="T10" fmla="*/ 153 w 307"/>
              <a:gd name="T11" fmla="*/ 305 h 306"/>
              <a:gd name="T12" fmla="*/ 0 w 307"/>
              <a:gd name="T13" fmla="*/ 152 h 306"/>
              <a:gd name="T14" fmla="*/ 0 w 307"/>
              <a:gd name="T15" fmla="*/ 152 h 306"/>
              <a:gd name="T16" fmla="*/ 153 w 307"/>
              <a:gd name="T17"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306">
                <a:moveTo>
                  <a:pt x="153" y="0"/>
                </a:moveTo>
                <a:lnTo>
                  <a:pt x="153" y="0"/>
                </a:lnTo>
                <a:cubicBezTo>
                  <a:pt x="238" y="0"/>
                  <a:pt x="306" y="68"/>
                  <a:pt x="306" y="152"/>
                </a:cubicBezTo>
                <a:lnTo>
                  <a:pt x="306" y="152"/>
                </a:lnTo>
                <a:cubicBezTo>
                  <a:pt x="306" y="237"/>
                  <a:pt x="238" y="305"/>
                  <a:pt x="153" y="305"/>
                </a:cubicBezTo>
                <a:lnTo>
                  <a:pt x="153" y="305"/>
                </a:lnTo>
                <a:cubicBezTo>
                  <a:pt x="68" y="305"/>
                  <a:pt x="0" y="237"/>
                  <a:pt x="0" y="152"/>
                </a:cubicBezTo>
                <a:lnTo>
                  <a:pt x="0" y="152"/>
                </a:lnTo>
                <a:cubicBezTo>
                  <a:pt x="0" y="68"/>
                  <a:pt x="68" y="0"/>
                  <a:pt x="153" y="0"/>
                </a:cubicBezTo>
              </a:path>
            </a:pathLst>
          </a:custGeom>
          <a:solidFill>
            <a:schemeClr val="accent3"/>
          </a:solidFill>
          <a:ln>
            <a:noFill/>
          </a:ln>
          <a:effectLst/>
          <a:extLst>
            <a:ext uri="{91240B29-F687-4F45-9708-019B960494DF}">
              <a14:hiddenLine xmlns:a14="http://schemas.microsoft.com/office/drawing/2010/main" w="9525" cap="flat">
                <a:solidFill>
                  <a:srgbClr val="06D6A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dirty="0">
              <a:latin typeface="Lato Light" panose="020F0502020204030203" pitchFamily="34" charset="0"/>
            </a:endParaRPr>
          </a:p>
        </p:txBody>
      </p:sp>
      <p:sp>
        <p:nvSpPr>
          <p:cNvPr id="55" name="TextBox 54">
            <a:extLst>
              <a:ext uri="{FF2B5EF4-FFF2-40B4-BE49-F238E27FC236}">
                <a16:creationId xmlns:a16="http://schemas.microsoft.com/office/drawing/2014/main" id="{354C9448-A010-ED40-A185-17B62495D90E}"/>
              </a:ext>
            </a:extLst>
          </p:cNvPr>
          <p:cNvSpPr txBox="1"/>
          <p:nvPr/>
        </p:nvSpPr>
        <p:spPr>
          <a:xfrm>
            <a:off x="1375945" y="1584018"/>
            <a:ext cx="771365" cy="461665"/>
          </a:xfrm>
          <a:prstGeom prst="rect">
            <a:avLst/>
          </a:prstGeom>
          <a:noFill/>
        </p:spPr>
        <p:txBody>
          <a:bodyPr wrap="none" rtlCol="0" anchor="b" anchorCtr="0">
            <a:spAutoFit/>
          </a:bodyPr>
          <a:lstStyle/>
          <a:p>
            <a:pPr algn="ctr"/>
            <a:r>
              <a:rPr lang="en-US" sz="2400" b="1" dirty="0">
                <a:solidFill>
                  <a:schemeClr val="tx2"/>
                </a:solidFill>
                <a:latin typeface="Segoe UI Light" panose="020B0502040204020203" pitchFamily="34" charset="0"/>
                <a:ea typeface="League Spartan" charset="0"/>
                <a:cs typeface="Poppins" pitchFamily="2" charset="77"/>
              </a:rPr>
              <a:t>2016</a:t>
            </a:r>
          </a:p>
        </p:txBody>
      </p:sp>
      <p:sp>
        <p:nvSpPr>
          <p:cNvPr id="56" name="TextBox 55">
            <a:extLst>
              <a:ext uri="{FF2B5EF4-FFF2-40B4-BE49-F238E27FC236}">
                <a16:creationId xmlns:a16="http://schemas.microsoft.com/office/drawing/2014/main" id="{C1362B2E-BCF2-F74A-8101-FBFF4E96D936}"/>
              </a:ext>
            </a:extLst>
          </p:cNvPr>
          <p:cNvSpPr txBox="1"/>
          <p:nvPr/>
        </p:nvSpPr>
        <p:spPr>
          <a:xfrm>
            <a:off x="3545538" y="2617695"/>
            <a:ext cx="766555" cy="461665"/>
          </a:xfrm>
          <a:prstGeom prst="rect">
            <a:avLst/>
          </a:prstGeom>
          <a:noFill/>
        </p:spPr>
        <p:txBody>
          <a:bodyPr wrap="none" rtlCol="0" anchor="b" anchorCtr="0">
            <a:spAutoFit/>
          </a:bodyPr>
          <a:lstStyle/>
          <a:p>
            <a:pPr algn="ctr"/>
            <a:r>
              <a:rPr lang="en-US" sz="2400" b="1" dirty="0">
                <a:solidFill>
                  <a:schemeClr val="tx2"/>
                </a:solidFill>
                <a:latin typeface="Segoe UI Light" panose="020B0502040204020203" pitchFamily="34" charset="0"/>
                <a:ea typeface="League Spartan" charset="0"/>
                <a:cs typeface="Poppins" pitchFamily="2" charset="77"/>
              </a:rPr>
              <a:t>2017</a:t>
            </a:r>
          </a:p>
        </p:txBody>
      </p:sp>
      <p:sp>
        <p:nvSpPr>
          <p:cNvPr id="57" name="TextBox 56">
            <a:extLst>
              <a:ext uri="{FF2B5EF4-FFF2-40B4-BE49-F238E27FC236}">
                <a16:creationId xmlns:a16="http://schemas.microsoft.com/office/drawing/2014/main" id="{91EF11AF-7CD7-FC49-B6FC-406648F3ABDC}"/>
              </a:ext>
            </a:extLst>
          </p:cNvPr>
          <p:cNvSpPr txBox="1"/>
          <p:nvPr/>
        </p:nvSpPr>
        <p:spPr>
          <a:xfrm>
            <a:off x="5710317" y="1584018"/>
            <a:ext cx="771365" cy="461665"/>
          </a:xfrm>
          <a:prstGeom prst="rect">
            <a:avLst/>
          </a:prstGeom>
          <a:noFill/>
        </p:spPr>
        <p:txBody>
          <a:bodyPr wrap="none" rtlCol="0" anchor="b" anchorCtr="0">
            <a:spAutoFit/>
          </a:bodyPr>
          <a:lstStyle/>
          <a:p>
            <a:pPr algn="ctr"/>
            <a:r>
              <a:rPr lang="en-US" sz="2400" b="1" dirty="0">
                <a:solidFill>
                  <a:schemeClr val="tx2"/>
                </a:solidFill>
                <a:latin typeface="Segoe UI Light" panose="020B0502040204020203" pitchFamily="34" charset="0"/>
                <a:ea typeface="League Spartan" charset="0"/>
                <a:cs typeface="Poppins" pitchFamily="2" charset="77"/>
              </a:rPr>
              <a:t>2018</a:t>
            </a:r>
          </a:p>
        </p:txBody>
      </p:sp>
      <p:sp>
        <p:nvSpPr>
          <p:cNvPr id="58" name="TextBox 57">
            <a:extLst>
              <a:ext uri="{FF2B5EF4-FFF2-40B4-BE49-F238E27FC236}">
                <a16:creationId xmlns:a16="http://schemas.microsoft.com/office/drawing/2014/main" id="{7003149D-4084-364C-B2E8-AEA87B789B44}"/>
              </a:ext>
            </a:extLst>
          </p:cNvPr>
          <p:cNvSpPr txBox="1"/>
          <p:nvPr/>
        </p:nvSpPr>
        <p:spPr>
          <a:xfrm>
            <a:off x="7872012" y="2617695"/>
            <a:ext cx="771365" cy="461665"/>
          </a:xfrm>
          <a:prstGeom prst="rect">
            <a:avLst/>
          </a:prstGeom>
          <a:noFill/>
        </p:spPr>
        <p:txBody>
          <a:bodyPr wrap="none" rtlCol="0" anchor="b" anchorCtr="0">
            <a:spAutoFit/>
          </a:bodyPr>
          <a:lstStyle/>
          <a:p>
            <a:pPr algn="ctr"/>
            <a:r>
              <a:rPr lang="en-US" sz="2400" b="1" dirty="0">
                <a:solidFill>
                  <a:schemeClr val="tx2"/>
                </a:solidFill>
                <a:latin typeface="Segoe UI Light" panose="020B0502040204020203" pitchFamily="34" charset="0"/>
                <a:ea typeface="League Spartan" charset="0"/>
                <a:cs typeface="Poppins" pitchFamily="2" charset="77"/>
              </a:rPr>
              <a:t>2019</a:t>
            </a:r>
          </a:p>
        </p:txBody>
      </p:sp>
      <p:sp>
        <p:nvSpPr>
          <p:cNvPr id="59" name="TextBox 58">
            <a:extLst>
              <a:ext uri="{FF2B5EF4-FFF2-40B4-BE49-F238E27FC236}">
                <a16:creationId xmlns:a16="http://schemas.microsoft.com/office/drawing/2014/main" id="{F0F750B5-BBB0-0D45-9EF5-06AD249926B7}"/>
              </a:ext>
            </a:extLst>
          </p:cNvPr>
          <p:cNvSpPr txBox="1"/>
          <p:nvPr/>
        </p:nvSpPr>
        <p:spPr>
          <a:xfrm>
            <a:off x="10020645" y="1584018"/>
            <a:ext cx="819455" cy="461665"/>
          </a:xfrm>
          <a:prstGeom prst="rect">
            <a:avLst/>
          </a:prstGeom>
          <a:noFill/>
        </p:spPr>
        <p:txBody>
          <a:bodyPr wrap="none" rtlCol="0" anchor="b" anchorCtr="0">
            <a:spAutoFit/>
          </a:bodyPr>
          <a:lstStyle/>
          <a:p>
            <a:pPr algn="ctr"/>
            <a:r>
              <a:rPr lang="en-US" sz="2400" b="1" dirty="0">
                <a:solidFill>
                  <a:schemeClr val="tx2"/>
                </a:solidFill>
                <a:latin typeface="Segoe UI Light" panose="020B0502040204020203" pitchFamily="34" charset="0"/>
                <a:ea typeface="League Spartan" charset="0"/>
                <a:cs typeface="Poppins" pitchFamily="2" charset="77"/>
              </a:rPr>
              <a:t>2020</a:t>
            </a:r>
          </a:p>
        </p:txBody>
      </p:sp>
      <p:sp>
        <p:nvSpPr>
          <p:cNvPr id="60" name="Subtitle 2">
            <a:extLst>
              <a:ext uri="{FF2B5EF4-FFF2-40B4-BE49-F238E27FC236}">
                <a16:creationId xmlns:a16="http://schemas.microsoft.com/office/drawing/2014/main" id="{319BEA8C-BA45-2E48-9D40-9746B0452476}"/>
              </a:ext>
            </a:extLst>
          </p:cNvPr>
          <p:cNvSpPr txBox="1">
            <a:spLocks/>
          </p:cNvSpPr>
          <p:nvPr/>
        </p:nvSpPr>
        <p:spPr>
          <a:xfrm>
            <a:off x="744530" y="5096034"/>
            <a:ext cx="2025956" cy="946606"/>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 Aenean commodo ligula eget dolor. Aenean massa.</a:t>
            </a:r>
          </a:p>
        </p:txBody>
      </p:sp>
      <p:sp>
        <p:nvSpPr>
          <p:cNvPr id="61" name="Subtitle 2">
            <a:extLst>
              <a:ext uri="{FF2B5EF4-FFF2-40B4-BE49-F238E27FC236}">
                <a16:creationId xmlns:a16="http://schemas.microsoft.com/office/drawing/2014/main" id="{B0B7FB65-6AC0-174D-B7CF-3B8EF7BD8388}"/>
              </a:ext>
            </a:extLst>
          </p:cNvPr>
          <p:cNvSpPr txBox="1">
            <a:spLocks/>
          </p:cNvSpPr>
          <p:nvPr/>
        </p:nvSpPr>
        <p:spPr>
          <a:xfrm>
            <a:off x="2915838" y="5096034"/>
            <a:ext cx="2025956" cy="946606"/>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 Aenean commodo ligula eget dolor. Aenean massa.</a:t>
            </a:r>
          </a:p>
        </p:txBody>
      </p:sp>
      <p:sp>
        <p:nvSpPr>
          <p:cNvPr id="62" name="Subtitle 2">
            <a:extLst>
              <a:ext uri="{FF2B5EF4-FFF2-40B4-BE49-F238E27FC236}">
                <a16:creationId xmlns:a16="http://schemas.microsoft.com/office/drawing/2014/main" id="{F42062D1-D92D-F74B-90DE-48E3BBEAAD62}"/>
              </a:ext>
            </a:extLst>
          </p:cNvPr>
          <p:cNvSpPr txBox="1">
            <a:spLocks/>
          </p:cNvSpPr>
          <p:nvPr/>
        </p:nvSpPr>
        <p:spPr>
          <a:xfrm>
            <a:off x="5083022" y="5096034"/>
            <a:ext cx="2025956" cy="946606"/>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 Aenean commodo ligula eget dolor. Aenean massa.</a:t>
            </a:r>
          </a:p>
        </p:txBody>
      </p:sp>
      <p:sp>
        <p:nvSpPr>
          <p:cNvPr id="63" name="Subtitle 2">
            <a:extLst>
              <a:ext uri="{FF2B5EF4-FFF2-40B4-BE49-F238E27FC236}">
                <a16:creationId xmlns:a16="http://schemas.microsoft.com/office/drawing/2014/main" id="{1586771A-3256-1246-BABC-F7487EF51C37}"/>
              </a:ext>
            </a:extLst>
          </p:cNvPr>
          <p:cNvSpPr txBox="1">
            <a:spLocks/>
          </p:cNvSpPr>
          <p:nvPr/>
        </p:nvSpPr>
        <p:spPr>
          <a:xfrm>
            <a:off x="7250208" y="5096034"/>
            <a:ext cx="2025956" cy="946606"/>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 Aenean commodo ligula eget dolor. Aenean massa.</a:t>
            </a:r>
          </a:p>
        </p:txBody>
      </p:sp>
      <p:sp>
        <p:nvSpPr>
          <p:cNvPr id="64" name="Subtitle 2">
            <a:extLst>
              <a:ext uri="{FF2B5EF4-FFF2-40B4-BE49-F238E27FC236}">
                <a16:creationId xmlns:a16="http://schemas.microsoft.com/office/drawing/2014/main" id="{9107621E-133C-E043-A230-32107444FC3D}"/>
              </a:ext>
            </a:extLst>
          </p:cNvPr>
          <p:cNvSpPr txBox="1">
            <a:spLocks/>
          </p:cNvSpPr>
          <p:nvPr/>
        </p:nvSpPr>
        <p:spPr>
          <a:xfrm>
            <a:off x="9417394" y="5096034"/>
            <a:ext cx="2025956" cy="946606"/>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 Aenean commodo ligula eget dolor. Aenean massa.</a:t>
            </a:r>
          </a:p>
        </p:txBody>
      </p:sp>
      <p:sp>
        <p:nvSpPr>
          <p:cNvPr id="65" name="Freeform 1053">
            <a:extLst>
              <a:ext uri="{FF2B5EF4-FFF2-40B4-BE49-F238E27FC236}">
                <a16:creationId xmlns:a16="http://schemas.microsoft.com/office/drawing/2014/main" id="{1F345425-9484-BD48-B68D-6B106FF7F2CD}"/>
              </a:ext>
            </a:extLst>
          </p:cNvPr>
          <p:cNvSpPr>
            <a:spLocks noChangeAspect="1" noChangeArrowheads="1"/>
          </p:cNvSpPr>
          <p:nvPr/>
        </p:nvSpPr>
        <p:spPr bwMode="auto">
          <a:xfrm>
            <a:off x="8080547" y="3593859"/>
            <a:ext cx="362536" cy="363631"/>
          </a:xfrm>
          <a:custGeom>
            <a:avLst/>
            <a:gdLst>
              <a:gd name="T0" fmla="*/ 50512908 w 290150"/>
              <a:gd name="T1" fmla="*/ 112216769 h 290153"/>
              <a:gd name="T2" fmla="*/ 71643929 w 290150"/>
              <a:gd name="T3" fmla="*/ 112216769 h 290153"/>
              <a:gd name="T4" fmla="*/ 72851536 w 290150"/>
              <a:gd name="T5" fmla="*/ 104874323 h 290153"/>
              <a:gd name="T6" fmla="*/ 73303909 w 290150"/>
              <a:gd name="T7" fmla="*/ 125807186 h 290153"/>
              <a:gd name="T8" fmla="*/ 47041501 w 290150"/>
              <a:gd name="T9" fmla="*/ 112216769 h 290153"/>
              <a:gd name="T10" fmla="*/ 60928191 w 290150"/>
              <a:gd name="T11" fmla="*/ 92618361 h 290153"/>
              <a:gd name="T12" fmla="*/ 65299099 w 290150"/>
              <a:gd name="T13" fmla="*/ 96900809 h 290153"/>
              <a:gd name="T14" fmla="*/ 69067784 w 290150"/>
              <a:gd name="T15" fmla="*/ 96900809 h 290153"/>
              <a:gd name="T16" fmla="*/ 60928191 w 290150"/>
              <a:gd name="T17" fmla="*/ 88794158 h 290153"/>
              <a:gd name="T18" fmla="*/ 97925242 w 290150"/>
              <a:gd name="T19" fmla="*/ 95540301 h 290153"/>
              <a:gd name="T20" fmla="*/ 119137542 w 290150"/>
              <a:gd name="T21" fmla="*/ 95540301 h 290153"/>
              <a:gd name="T22" fmla="*/ 120521184 w 290150"/>
              <a:gd name="T23" fmla="*/ 88354753 h 290153"/>
              <a:gd name="T24" fmla="*/ 120982084 w 290150"/>
              <a:gd name="T25" fmla="*/ 109287812 h 290153"/>
              <a:gd name="T26" fmla="*/ 94083017 w 290150"/>
              <a:gd name="T27" fmla="*/ 95540301 h 290153"/>
              <a:gd name="T28" fmla="*/ 5225161 w 290150"/>
              <a:gd name="T29" fmla="*/ 88198331 h 290153"/>
              <a:gd name="T30" fmla="*/ 3841671 w 290150"/>
              <a:gd name="T31" fmla="*/ 105538387 h 290153"/>
              <a:gd name="T32" fmla="*/ 23210418 w 290150"/>
              <a:gd name="T33" fmla="*/ 90854292 h 290153"/>
              <a:gd name="T34" fmla="*/ 28743105 w 290150"/>
              <a:gd name="T35" fmla="*/ 95540301 h 290153"/>
              <a:gd name="T36" fmla="*/ 1843151 w 290150"/>
              <a:gd name="T37" fmla="*/ 109287812 h 290153"/>
              <a:gd name="T38" fmla="*/ 2613370 w 290150"/>
              <a:gd name="T39" fmla="*/ 88354753 h 290153"/>
              <a:gd name="T40" fmla="*/ 103749164 w 290150"/>
              <a:gd name="T41" fmla="*/ 80534003 h 290153"/>
              <a:gd name="T42" fmla="*/ 108120542 w 290150"/>
              <a:gd name="T43" fmla="*/ 76170591 h 290153"/>
              <a:gd name="T44" fmla="*/ 14113170 w 290150"/>
              <a:gd name="T45" fmla="*/ 84897974 h 290153"/>
              <a:gd name="T46" fmla="*/ 108120542 w 290150"/>
              <a:gd name="T47" fmla="*/ 72274450 h 290153"/>
              <a:gd name="T48" fmla="*/ 100131720 w 290150"/>
              <a:gd name="T49" fmla="*/ 80534003 h 290153"/>
              <a:gd name="T50" fmla="*/ 22026811 w 290150"/>
              <a:gd name="T51" fmla="*/ 80534003 h 290153"/>
              <a:gd name="T52" fmla="*/ 14113170 w 290150"/>
              <a:gd name="T53" fmla="*/ 72274450 h 290153"/>
              <a:gd name="T54" fmla="*/ 63008703 w 290150"/>
              <a:gd name="T55" fmla="*/ 80412125 h 290153"/>
              <a:gd name="T56" fmla="*/ 59137589 w 290150"/>
              <a:gd name="T57" fmla="*/ 62603942 h 290153"/>
              <a:gd name="T58" fmla="*/ 80256690 w 290150"/>
              <a:gd name="T59" fmla="*/ 57099948 h 290153"/>
              <a:gd name="T60" fmla="*/ 93931211 w 290150"/>
              <a:gd name="T61" fmla="*/ 80409045 h 290153"/>
              <a:gd name="T62" fmla="*/ 76610144 w 290150"/>
              <a:gd name="T63" fmla="*/ 80409045 h 290153"/>
              <a:gd name="T64" fmla="*/ 43722759 w 290150"/>
              <a:gd name="T65" fmla="*/ 55066252 h 290153"/>
              <a:gd name="T66" fmla="*/ 43722759 w 290150"/>
              <a:gd name="T67" fmla="*/ 82442127 h 290153"/>
              <a:gd name="T68" fmla="*/ 30048198 w 290150"/>
              <a:gd name="T69" fmla="*/ 78531644 h 290153"/>
              <a:gd name="T70" fmla="*/ 43722759 w 290150"/>
              <a:gd name="T71" fmla="*/ 55066252 h 290153"/>
              <a:gd name="T72" fmla="*/ 63252607 w 290150"/>
              <a:gd name="T73" fmla="*/ 25159684 h 290153"/>
              <a:gd name="T74" fmla="*/ 72601980 w 290150"/>
              <a:gd name="T75" fmla="*/ 29060761 h 290153"/>
              <a:gd name="T76" fmla="*/ 61566426 w 290150"/>
              <a:gd name="T77" fmla="*/ 40455101 h 290153"/>
              <a:gd name="T78" fmla="*/ 50225094 w 290150"/>
              <a:gd name="T79" fmla="*/ 29060761 h 290153"/>
              <a:gd name="T80" fmla="*/ 59574112 w 290150"/>
              <a:gd name="T81" fmla="*/ 25159684 h 290153"/>
              <a:gd name="T82" fmla="*/ 61230865 w 290150"/>
              <a:gd name="T83" fmla="*/ 3765819 h 290153"/>
              <a:gd name="T84" fmla="*/ 84052482 w 290150"/>
              <a:gd name="T85" fmla="*/ 27296629 h 290153"/>
              <a:gd name="T86" fmla="*/ 87881874 w 290150"/>
              <a:gd name="T87" fmla="*/ 27296629 h 290153"/>
              <a:gd name="T88" fmla="*/ 61230865 w 290150"/>
              <a:gd name="T89" fmla="*/ 0 h 2901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90150" h="290153">
                <a:moveTo>
                  <a:pt x="122891" y="241515"/>
                </a:moveTo>
                <a:cubicBezTo>
                  <a:pt x="124674" y="242596"/>
                  <a:pt x="125030" y="245478"/>
                  <a:pt x="123604" y="247639"/>
                </a:cubicBezTo>
                <a:cubicBezTo>
                  <a:pt x="121108" y="250882"/>
                  <a:pt x="119325" y="254485"/>
                  <a:pt x="119325" y="258808"/>
                </a:cubicBezTo>
                <a:lnTo>
                  <a:pt x="119325" y="281506"/>
                </a:lnTo>
                <a:lnTo>
                  <a:pt x="169243" y="281506"/>
                </a:lnTo>
                <a:lnTo>
                  <a:pt x="169243" y="258808"/>
                </a:lnTo>
                <a:cubicBezTo>
                  <a:pt x="169243" y="254485"/>
                  <a:pt x="167460" y="250882"/>
                  <a:pt x="164964" y="247639"/>
                </a:cubicBezTo>
                <a:cubicBezTo>
                  <a:pt x="163538" y="245478"/>
                  <a:pt x="163894" y="242596"/>
                  <a:pt x="166034" y="241515"/>
                </a:cubicBezTo>
                <a:cubicBezTo>
                  <a:pt x="167460" y="239713"/>
                  <a:pt x="170312" y="239713"/>
                  <a:pt x="172095" y="241875"/>
                </a:cubicBezTo>
                <a:cubicBezTo>
                  <a:pt x="175660" y="246919"/>
                  <a:pt x="177443" y="252683"/>
                  <a:pt x="177443" y="258808"/>
                </a:cubicBezTo>
                <a:lnTo>
                  <a:pt x="177443" y="285469"/>
                </a:lnTo>
                <a:cubicBezTo>
                  <a:pt x="177443" y="288352"/>
                  <a:pt x="175660" y="290153"/>
                  <a:pt x="173165" y="290153"/>
                </a:cubicBezTo>
                <a:lnTo>
                  <a:pt x="115047" y="290153"/>
                </a:lnTo>
                <a:cubicBezTo>
                  <a:pt x="112908" y="290153"/>
                  <a:pt x="111125" y="288352"/>
                  <a:pt x="111125" y="285469"/>
                </a:cubicBezTo>
                <a:lnTo>
                  <a:pt x="111125" y="258808"/>
                </a:lnTo>
                <a:cubicBezTo>
                  <a:pt x="111125" y="252683"/>
                  <a:pt x="112908" y="246919"/>
                  <a:pt x="116830" y="241875"/>
                </a:cubicBezTo>
                <a:cubicBezTo>
                  <a:pt x="118256" y="239713"/>
                  <a:pt x="121108" y="239713"/>
                  <a:pt x="122891" y="241515"/>
                </a:cubicBezTo>
                <a:close/>
                <a:moveTo>
                  <a:pt x="143929" y="213608"/>
                </a:moveTo>
                <a:cubicBezTo>
                  <a:pt x="138944" y="213608"/>
                  <a:pt x="134315" y="218194"/>
                  <a:pt x="134315" y="223485"/>
                </a:cubicBezTo>
                <a:cubicBezTo>
                  <a:pt x="134315" y="229483"/>
                  <a:pt x="138944" y="234069"/>
                  <a:pt x="143929" y="234069"/>
                </a:cubicBezTo>
                <a:cubicBezTo>
                  <a:pt x="149626" y="234069"/>
                  <a:pt x="154255" y="229483"/>
                  <a:pt x="154255" y="223485"/>
                </a:cubicBezTo>
                <a:cubicBezTo>
                  <a:pt x="154255" y="218194"/>
                  <a:pt x="149626" y="213608"/>
                  <a:pt x="143929" y="213608"/>
                </a:cubicBezTo>
                <a:close/>
                <a:moveTo>
                  <a:pt x="143929" y="204788"/>
                </a:moveTo>
                <a:cubicBezTo>
                  <a:pt x="154611" y="204788"/>
                  <a:pt x="163157" y="213608"/>
                  <a:pt x="163157" y="223485"/>
                </a:cubicBezTo>
                <a:cubicBezTo>
                  <a:pt x="163157" y="234069"/>
                  <a:pt x="154611" y="242535"/>
                  <a:pt x="143929" y="242535"/>
                </a:cubicBezTo>
                <a:cubicBezTo>
                  <a:pt x="133959" y="242535"/>
                  <a:pt x="125413" y="234069"/>
                  <a:pt x="125413" y="223485"/>
                </a:cubicBezTo>
                <a:cubicBezTo>
                  <a:pt x="125413" y="213608"/>
                  <a:pt x="133959" y="204788"/>
                  <a:pt x="143929" y="204788"/>
                </a:cubicBezTo>
                <a:close/>
                <a:moveTo>
                  <a:pt x="234596" y="203415"/>
                </a:moveTo>
                <a:cubicBezTo>
                  <a:pt x="236411" y="204856"/>
                  <a:pt x="236411" y="207378"/>
                  <a:pt x="235322" y="209539"/>
                </a:cubicBezTo>
                <a:cubicBezTo>
                  <a:pt x="232417" y="212782"/>
                  <a:pt x="231328" y="216385"/>
                  <a:pt x="231328" y="220348"/>
                </a:cubicBezTo>
                <a:lnTo>
                  <a:pt x="231328" y="243406"/>
                </a:lnTo>
                <a:lnTo>
                  <a:pt x="281436" y="243406"/>
                </a:lnTo>
                <a:lnTo>
                  <a:pt x="281436" y="220348"/>
                </a:lnTo>
                <a:cubicBezTo>
                  <a:pt x="281436" y="216385"/>
                  <a:pt x="279983" y="212782"/>
                  <a:pt x="277079" y="209539"/>
                </a:cubicBezTo>
                <a:cubicBezTo>
                  <a:pt x="275989" y="207378"/>
                  <a:pt x="276352" y="204856"/>
                  <a:pt x="278168" y="203415"/>
                </a:cubicBezTo>
                <a:cubicBezTo>
                  <a:pt x="279983" y="201613"/>
                  <a:pt x="282525" y="201974"/>
                  <a:pt x="284704" y="203775"/>
                </a:cubicBezTo>
                <a:cubicBezTo>
                  <a:pt x="288335" y="208459"/>
                  <a:pt x="290150" y="214223"/>
                  <a:pt x="290150" y="220348"/>
                </a:cubicBezTo>
                <a:lnTo>
                  <a:pt x="290150" y="247730"/>
                </a:lnTo>
                <a:cubicBezTo>
                  <a:pt x="290150" y="250252"/>
                  <a:pt x="288335" y="252053"/>
                  <a:pt x="285793" y="252053"/>
                </a:cubicBezTo>
                <a:lnTo>
                  <a:pt x="226607" y="252053"/>
                </a:lnTo>
                <a:cubicBezTo>
                  <a:pt x="224066" y="252053"/>
                  <a:pt x="222250" y="250252"/>
                  <a:pt x="222250" y="247730"/>
                </a:cubicBezTo>
                <a:lnTo>
                  <a:pt x="222250" y="220348"/>
                </a:lnTo>
                <a:cubicBezTo>
                  <a:pt x="222250" y="214223"/>
                  <a:pt x="224066" y="208459"/>
                  <a:pt x="228423" y="203775"/>
                </a:cubicBezTo>
                <a:cubicBezTo>
                  <a:pt x="229875" y="201974"/>
                  <a:pt x="232417" y="201613"/>
                  <a:pt x="234596" y="203415"/>
                </a:cubicBezTo>
                <a:close/>
                <a:moveTo>
                  <a:pt x="12345" y="203415"/>
                </a:moveTo>
                <a:cubicBezTo>
                  <a:pt x="13798" y="204856"/>
                  <a:pt x="14161" y="207378"/>
                  <a:pt x="12708" y="209539"/>
                </a:cubicBezTo>
                <a:cubicBezTo>
                  <a:pt x="10167" y="212782"/>
                  <a:pt x="9077" y="216385"/>
                  <a:pt x="9077" y="220348"/>
                </a:cubicBezTo>
                <a:lnTo>
                  <a:pt x="9077" y="243406"/>
                </a:lnTo>
                <a:lnTo>
                  <a:pt x="59185" y="243406"/>
                </a:lnTo>
                <a:lnTo>
                  <a:pt x="59185" y="220348"/>
                </a:lnTo>
                <a:cubicBezTo>
                  <a:pt x="59185" y="216385"/>
                  <a:pt x="57733" y="212782"/>
                  <a:pt x="54828" y="209539"/>
                </a:cubicBezTo>
                <a:cubicBezTo>
                  <a:pt x="53739" y="207378"/>
                  <a:pt x="53739" y="204856"/>
                  <a:pt x="55917" y="203415"/>
                </a:cubicBezTo>
                <a:cubicBezTo>
                  <a:pt x="57733" y="201613"/>
                  <a:pt x="60275" y="201974"/>
                  <a:pt x="62090" y="203775"/>
                </a:cubicBezTo>
                <a:cubicBezTo>
                  <a:pt x="66084" y="208459"/>
                  <a:pt x="67900" y="214223"/>
                  <a:pt x="67900" y="220348"/>
                </a:cubicBezTo>
                <a:lnTo>
                  <a:pt x="67900" y="247730"/>
                </a:lnTo>
                <a:cubicBezTo>
                  <a:pt x="67900" y="250252"/>
                  <a:pt x="66084" y="252053"/>
                  <a:pt x="63542" y="252053"/>
                </a:cubicBezTo>
                <a:lnTo>
                  <a:pt x="4357" y="252053"/>
                </a:lnTo>
                <a:cubicBezTo>
                  <a:pt x="1815" y="252053"/>
                  <a:pt x="0" y="250252"/>
                  <a:pt x="0" y="247730"/>
                </a:cubicBezTo>
                <a:lnTo>
                  <a:pt x="0" y="220348"/>
                </a:lnTo>
                <a:cubicBezTo>
                  <a:pt x="0" y="214223"/>
                  <a:pt x="2178" y="208459"/>
                  <a:pt x="6172" y="203775"/>
                </a:cubicBezTo>
                <a:cubicBezTo>
                  <a:pt x="7625" y="201974"/>
                  <a:pt x="10167" y="201613"/>
                  <a:pt x="12345" y="203415"/>
                </a:cubicBezTo>
                <a:close/>
                <a:moveTo>
                  <a:pt x="255410" y="175674"/>
                </a:moveTo>
                <a:cubicBezTo>
                  <a:pt x="249713" y="175674"/>
                  <a:pt x="245084" y="179987"/>
                  <a:pt x="245084" y="185738"/>
                </a:cubicBezTo>
                <a:cubicBezTo>
                  <a:pt x="245084" y="191130"/>
                  <a:pt x="249713" y="195802"/>
                  <a:pt x="255410" y="195802"/>
                </a:cubicBezTo>
                <a:cubicBezTo>
                  <a:pt x="260751" y="195802"/>
                  <a:pt x="265380" y="191130"/>
                  <a:pt x="265380" y="185738"/>
                </a:cubicBezTo>
                <a:cubicBezTo>
                  <a:pt x="265380" y="179987"/>
                  <a:pt x="260751" y="175674"/>
                  <a:pt x="255410" y="175674"/>
                </a:cubicBezTo>
                <a:close/>
                <a:moveTo>
                  <a:pt x="33338" y="175674"/>
                </a:moveTo>
                <a:cubicBezTo>
                  <a:pt x="27693" y="175674"/>
                  <a:pt x="23107" y="179987"/>
                  <a:pt x="23107" y="185738"/>
                </a:cubicBezTo>
                <a:cubicBezTo>
                  <a:pt x="23107" y="191130"/>
                  <a:pt x="27693" y="195802"/>
                  <a:pt x="33338" y="195802"/>
                </a:cubicBezTo>
                <a:cubicBezTo>
                  <a:pt x="38629" y="195802"/>
                  <a:pt x="43216" y="191130"/>
                  <a:pt x="43216" y="185738"/>
                </a:cubicBezTo>
                <a:cubicBezTo>
                  <a:pt x="43216" y="179987"/>
                  <a:pt x="38629" y="175674"/>
                  <a:pt x="33338" y="175674"/>
                </a:cubicBezTo>
                <a:close/>
                <a:moveTo>
                  <a:pt x="255410" y="166688"/>
                </a:moveTo>
                <a:cubicBezTo>
                  <a:pt x="265736" y="166688"/>
                  <a:pt x="274282" y="175315"/>
                  <a:pt x="274282" y="185738"/>
                </a:cubicBezTo>
                <a:cubicBezTo>
                  <a:pt x="274282" y="196521"/>
                  <a:pt x="265736" y="204429"/>
                  <a:pt x="255410" y="204429"/>
                </a:cubicBezTo>
                <a:cubicBezTo>
                  <a:pt x="244728" y="204429"/>
                  <a:pt x="236538" y="196521"/>
                  <a:pt x="236538" y="185738"/>
                </a:cubicBezTo>
                <a:cubicBezTo>
                  <a:pt x="236538" y="175315"/>
                  <a:pt x="244728" y="166688"/>
                  <a:pt x="255410" y="166688"/>
                </a:cubicBezTo>
                <a:close/>
                <a:moveTo>
                  <a:pt x="33338" y="166688"/>
                </a:moveTo>
                <a:cubicBezTo>
                  <a:pt x="43568" y="166688"/>
                  <a:pt x="52035" y="175315"/>
                  <a:pt x="52035" y="185738"/>
                </a:cubicBezTo>
                <a:cubicBezTo>
                  <a:pt x="52035" y="196521"/>
                  <a:pt x="43568" y="204429"/>
                  <a:pt x="33338" y="204429"/>
                </a:cubicBezTo>
                <a:cubicBezTo>
                  <a:pt x="22754" y="204429"/>
                  <a:pt x="14288" y="196521"/>
                  <a:pt x="14288" y="185738"/>
                </a:cubicBezTo>
                <a:cubicBezTo>
                  <a:pt x="14288" y="175315"/>
                  <a:pt x="22754" y="166688"/>
                  <a:pt x="33338" y="166688"/>
                </a:cubicBezTo>
                <a:close/>
                <a:moveTo>
                  <a:pt x="143891" y="139700"/>
                </a:moveTo>
                <a:cubicBezTo>
                  <a:pt x="146939" y="139700"/>
                  <a:pt x="148844" y="141862"/>
                  <a:pt x="148844" y="144384"/>
                </a:cubicBezTo>
                <a:lnTo>
                  <a:pt x="148844" y="185456"/>
                </a:lnTo>
                <a:cubicBezTo>
                  <a:pt x="148844" y="187978"/>
                  <a:pt x="146939" y="190140"/>
                  <a:pt x="143891" y="190140"/>
                </a:cubicBezTo>
                <a:cubicBezTo>
                  <a:pt x="141605" y="190140"/>
                  <a:pt x="139700" y="187978"/>
                  <a:pt x="139700" y="185456"/>
                </a:cubicBezTo>
                <a:lnTo>
                  <a:pt x="139700" y="144384"/>
                </a:lnTo>
                <a:cubicBezTo>
                  <a:pt x="139700" y="141862"/>
                  <a:pt x="141605" y="139700"/>
                  <a:pt x="143891" y="139700"/>
                </a:cubicBezTo>
                <a:close/>
                <a:moveTo>
                  <a:pt x="185282" y="127000"/>
                </a:moveTo>
                <a:cubicBezTo>
                  <a:pt x="188154" y="127000"/>
                  <a:pt x="189589" y="128804"/>
                  <a:pt x="189589" y="131691"/>
                </a:cubicBezTo>
                <a:lnTo>
                  <a:pt x="189589" y="181120"/>
                </a:lnTo>
                <a:lnTo>
                  <a:pt x="217225" y="181120"/>
                </a:lnTo>
                <a:cubicBezTo>
                  <a:pt x="219738" y="181120"/>
                  <a:pt x="221891" y="182924"/>
                  <a:pt x="221891" y="185449"/>
                </a:cubicBezTo>
                <a:cubicBezTo>
                  <a:pt x="221891" y="187975"/>
                  <a:pt x="219738" y="190139"/>
                  <a:pt x="217225" y="190139"/>
                </a:cubicBezTo>
                <a:lnTo>
                  <a:pt x="185282" y="190139"/>
                </a:lnTo>
                <a:cubicBezTo>
                  <a:pt x="182770" y="190139"/>
                  <a:pt x="180975" y="187975"/>
                  <a:pt x="180975" y="185449"/>
                </a:cubicBezTo>
                <a:lnTo>
                  <a:pt x="180975" y="131691"/>
                </a:lnTo>
                <a:cubicBezTo>
                  <a:pt x="180975" y="128804"/>
                  <a:pt x="182770" y="127000"/>
                  <a:pt x="185282" y="127000"/>
                </a:cubicBezTo>
                <a:close/>
                <a:moveTo>
                  <a:pt x="103284" y="127000"/>
                </a:moveTo>
                <a:cubicBezTo>
                  <a:pt x="105796" y="127000"/>
                  <a:pt x="107591" y="128804"/>
                  <a:pt x="107591" y="131691"/>
                </a:cubicBezTo>
                <a:lnTo>
                  <a:pt x="107591" y="185449"/>
                </a:lnTo>
                <a:cubicBezTo>
                  <a:pt x="107591" y="187975"/>
                  <a:pt x="105796" y="190139"/>
                  <a:pt x="103284" y="190139"/>
                </a:cubicBezTo>
                <a:lnTo>
                  <a:pt x="70982" y="190139"/>
                </a:lnTo>
                <a:cubicBezTo>
                  <a:pt x="68828" y="190139"/>
                  <a:pt x="66675" y="187975"/>
                  <a:pt x="66675" y="185449"/>
                </a:cubicBezTo>
                <a:cubicBezTo>
                  <a:pt x="66675" y="182924"/>
                  <a:pt x="68828" y="181120"/>
                  <a:pt x="70982" y="181120"/>
                </a:cubicBezTo>
                <a:lnTo>
                  <a:pt x="98977" y="181120"/>
                </a:lnTo>
                <a:lnTo>
                  <a:pt x="98977" y="131691"/>
                </a:lnTo>
                <a:cubicBezTo>
                  <a:pt x="98977" y="128804"/>
                  <a:pt x="101130" y="127000"/>
                  <a:pt x="103284" y="127000"/>
                </a:cubicBezTo>
                <a:close/>
                <a:moveTo>
                  <a:pt x="145437" y="31750"/>
                </a:moveTo>
                <a:cubicBezTo>
                  <a:pt x="147610" y="31750"/>
                  <a:pt x="149420" y="33550"/>
                  <a:pt x="149420" y="36429"/>
                </a:cubicBezTo>
                <a:lnTo>
                  <a:pt x="149420" y="58027"/>
                </a:lnTo>
                <a:lnTo>
                  <a:pt x="171506" y="58027"/>
                </a:lnTo>
                <a:cubicBezTo>
                  <a:pt x="174040" y="58027"/>
                  <a:pt x="175851" y="60546"/>
                  <a:pt x="175851" y="62346"/>
                </a:cubicBezTo>
                <a:cubicBezTo>
                  <a:pt x="175851" y="65226"/>
                  <a:pt x="174040" y="67026"/>
                  <a:pt x="171506" y="67026"/>
                </a:cubicBezTo>
                <a:lnTo>
                  <a:pt x="149420" y="67026"/>
                </a:lnTo>
                <a:lnTo>
                  <a:pt x="149420" y="88983"/>
                </a:lnTo>
                <a:cubicBezTo>
                  <a:pt x="149420" y="91503"/>
                  <a:pt x="147610" y="93303"/>
                  <a:pt x="145437" y="93303"/>
                </a:cubicBezTo>
                <a:cubicBezTo>
                  <a:pt x="142541" y="93303"/>
                  <a:pt x="140730" y="91503"/>
                  <a:pt x="140730" y="88983"/>
                </a:cubicBezTo>
                <a:lnTo>
                  <a:pt x="140730" y="67026"/>
                </a:lnTo>
                <a:lnTo>
                  <a:pt x="118645" y="67026"/>
                </a:lnTo>
                <a:cubicBezTo>
                  <a:pt x="116110" y="67026"/>
                  <a:pt x="114300" y="65226"/>
                  <a:pt x="114300" y="62346"/>
                </a:cubicBezTo>
                <a:cubicBezTo>
                  <a:pt x="114300" y="60546"/>
                  <a:pt x="116110" y="58027"/>
                  <a:pt x="118645" y="58027"/>
                </a:cubicBezTo>
                <a:lnTo>
                  <a:pt x="140730" y="58027"/>
                </a:lnTo>
                <a:lnTo>
                  <a:pt x="140730" y="36429"/>
                </a:lnTo>
                <a:cubicBezTo>
                  <a:pt x="140730" y="33550"/>
                  <a:pt x="142541" y="31750"/>
                  <a:pt x="145437" y="31750"/>
                </a:cubicBezTo>
                <a:close/>
                <a:moveTo>
                  <a:pt x="144644" y="8684"/>
                </a:moveTo>
                <a:cubicBezTo>
                  <a:pt x="114251" y="8684"/>
                  <a:pt x="89647" y="33288"/>
                  <a:pt x="89647" y="62957"/>
                </a:cubicBezTo>
                <a:cubicBezTo>
                  <a:pt x="89647" y="93350"/>
                  <a:pt x="114251" y="117954"/>
                  <a:pt x="144644" y="117954"/>
                </a:cubicBezTo>
                <a:cubicBezTo>
                  <a:pt x="174313" y="117954"/>
                  <a:pt x="198556" y="93350"/>
                  <a:pt x="198556" y="62957"/>
                </a:cubicBezTo>
                <a:cubicBezTo>
                  <a:pt x="198556" y="33288"/>
                  <a:pt x="174313" y="8684"/>
                  <a:pt x="144644" y="8684"/>
                </a:cubicBezTo>
                <a:close/>
                <a:moveTo>
                  <a:pt x="144644" y="0"/>
                </a:moveTo>
                <a:cubicBezTo>
                  <a:pt x="179379" y="0"/>
                  <a:pt x="207601" y="28222"/>
                  <a:pt x="207601" y="62957"/>
                </a:cubicBezTo>
                <a:cubicBezTo>
                  <a:pt x="207601" y="98416"/>
                  <a:pt x="179379" y="126638"/>
                  <a:pt x="144644" y="126638"/>
                </a:cubicBezTo>
                <a:cubicBezTo>
                  <a:pt x="109185" y="126638"/>
                  <a:pt x="80963" y="98416"/>
                  <a:pt x="80963" y="62957"/>
                </a:cubicBezTo>
                <a:cubicBezTo>
                  <a:pt x="80963" y="28222"/>
                  <a:pt x="109185" y="0"/>
                  <a:pt x="144644" y="0"/>
                </a:cubicBezTo>
                <a:close/>
              </a:path>
            </a:pathLst>
          </a:custGeom>
          <a:solidFill>
            <a:schemeClr val="tx2"/>
          </a:solidFill>
          <a:ln>
            <a:noFill/>
          </a:ln>
          <a:effectLst/>
        </p:spPr>
        <p:txBody>
          <a:bodyPr anchor="ctr"/>
          <a:lstStyle/>
          <a:p>
            <a:endParaRPr lang="en-US" sz="900" dirty="0">
              <a:latin typeface="Lato Light" panose="020F0502020204030203" pitchFamily="34" charset="0"/>
            </a:endParaRPr>
          </a:p>
        </p:txBody>
      </p:sp>
      <p:sp>
        <p:nvSpPr>
          <p:cNvPr id="66" name="Freeform 1061">
            <a:extLst>
              <a:ext uri="{FF2B5EF4-FFF2-40B4-BE49-F238E27FC236}">
                <a16:creationId xmlns:a16="http://schemas.microsoft.com/office/drawing/2014/main" id="{EA967FE8-C39B-FA46-B854-5D513479428A}"/>
              </a:ext>
            </a:extLst>
          </p:cNvPr>
          <p:cNvSpPr>
            <a:spLocks noChangeAspect="1" noChangeArrowheads="1"/>
          </p:cNvSpPr>
          <p:nvPr/>
        </p:nvSpPr>
        <p:spPr bwMode="auto">
          <a:xfrm>
            <a:off x="5913089" y="2515739"/>
            <a:ext cx="365821" cy="363630"/>
          </a:xfrm>
          <a:custGeom>
            <a:avLst/>
            <a:gdLst>
              <a:gd name="T0" fmla="*/ 6381463 w 291074"/>
              <a:gd name="T1" fmla="*/ 118260728 h 290436"/>
              <a:gd name="T2" fmla="*/ 117329382 w 291074"/>
              <a:gd name="T3" fmla="*/ 103178766 h 290436"/>
              <a:gd name="T4" fmla="*/ 127248536 w 291074"/>
              <a:gd name="T5" fmla="*/ 112881339 h 290436"/>
              <a:gd name="T6" fmla="*/ 99326893 w 291074"/>
              <a:gd name="T7" fmla="*/ 104121746 h 290436"/>
              <a:gd name="T8" fmla="*/ 111246539 w 291074"/>
              <a:gd name="T9" fmla="*/ 100893816 h 290436"/>
              <a:gd name="T10" fmla="*/ 20587701 w 291074"/>
              <a:gd name="T11" fmla="*/ 99970716 h 290436"/>
              <a:gd name="T12" fmla="*/ 25976383 w 291074"/>
              <a:gd name="T13" fmla="*/ 104888675 h 290436"/>
              <a:gd name="T14" fmla="*/ 112063241 w 291074"/>
              <a:gd name="T15" fmla="*/ 74148473 h 290436"/>
              <a:gd name="T16" fmla="*/ 114185614 w 291074"/>
              <a:gd name="T17" fmla="*/ 98279943 h 290436"/>
              <a:gd name="T18" fmla="*/ 127575500 w 291074"/>
              <a:gd name="T19" fmla="*/ 120873984 h 290436"/>
              <a:gd name="T20" fmla="*/ 103735349 w 291074"/>
              <a:gd name="T21" fmla="*/ 108269985 h 290436"/>
              <a:gd name="T22" fmla="*/ 82018180 w 291074"/>
              <a:gd name="T23" fmla="*/ 109960490 h 290436"/>
              <a:gd name="T24" fmla="*/ 84794463 w 291074"/>
              <a:gd name="T25" fmla="*/ 107195892 h 290436"/>
              <a:gd name="T26" fmla="*/ 114185614 w 291074"/>
              <a:gd name="T27" fmla="*/ 87367490 h 290436"/>
              <a:gd name="T28" fmla="*/ 19118593 w 291074"/>
              <a:gd name="T29" fmla="*/ 74148473 h 290436"/>
              <a:gd name="T30" fmla="*/ 16832540 w 291074"/>
              <a:gd name="T31" fmla="*/ 87367490 h 290436"/>
              <a:gd name="T32" fmla="*/ 46550735 w 291074"/>
              <a:gd name="T33" fmla="*/ 107195892 h 290436"/>
              <a:gd name="T34" fmla="*/ 49326661 w 291074"/>
              <a:gd name="T35" fmla="*/ 109960490 h 290436"/>
              <a:gd name="T36" fmla="*/ 27609146 w 291074"/>
              <a:gd name="T37" fmla="*/ 108269985 h 290436"/>
              <a:gd name="T38" fmla="*/ 3605544 w 291074"/>
              <a:gd name="T39" fmla="*/ 120873984 h 290436"/>
              <a:gd name="T40" fmla="*/ 16342408 w 291074"/>
              <a:gd name="T41" fmla="*/ 99663363 h 290436"/>
              <a:gd name="T42" fmla="*/ 15362259 w 291074"/>
              <a:gd name="T43" fmla="*/ 77684115 h 290436"/>
              <a:gd name="T44" fmla="*/ 103517169 w 291074"/>
              <a:gd name="T45" fmla="*/ 64213815 h 290436"/>
              <a:gd name="T46" fmla="*/ 90254916 w 291074"/>
              <a:gd name="T47" fmla="*/ 89822304 h 290436"/>
              <a:gd name="T48" fmla="*/ 40765357 w 291074"/>
              <a:gd name="T49" fmla="*/ 89822304 h 290436"/>
              <a:gd name="T50" fmla="*/ 27503865 w 291074"/>
              <a:gd name="T51" fmla="*/ 64213815 h 290436"/>
              <a:gd name="T52" fmla="*/ 93167027 w 291074"/>
              <a:gd name="T53" fmla="*/ 37532648 h 290436"/>
              <a:gd name="T54" fmla="*/ 37854342 w 291074"/>
              <a:gd name="T55" fmla="*/ 37532648 h 290436"/>
              <a:gd name="T56" fmla="*/ 67451366 w 291074"/>
              <a:gd name="T57" fmla="*/ 26338658 h 290436"/>
              <a:gd name="T58" fmla="*/ 67451366 w 291074"/>
              <a:gd name="T59" fmla="*/ 26338658 h 290436"/>
              <a:gd name="T60" fmla="*/ 63569847 w 291074"/>
              <a:gd name="T61" fmla="*/ 60534775 h 290436"/>
              <a:gd name="T62" fmla="*/ 65510590 w 291074"/>
              <a:gd name="T63" fmla="*/ 102396416 h 290436"/>
              <a:gd name="T64" fmla="*/ 105347701 w 291074"/>
              <a:gd name="T65" fmla="*/ 19545095 h 290436"/>
              <a:gd name="T66" fmla="*/ 111024396 w 291074"/>
              <a:gd name="T67" fmla="*/ 23400513 h 290436"/>
              <a:gd name="T68" fmla="*/ 22546907 w 291074"/>
              <a:gd name="T69" fmla="*/ 21445794 h 290436"/>
              <a:gd name="T70" fmla="*/ 31854966 w 291074"/>
              <a:gd name="T71" fmla="*/ 20209379 h 290436"/>
              <a:gd name="T72" fmla="*/ 111835813 w 291074"/>
              <a:gd name="T73" fmla="*/ 7210767 h 290436"/>
              <a:gd name="T74" fmla="*/ 124489747 w 291074"/>
              <a:gd name="T75" fmla="*/ 6133343 h 290436"/>
              <a:gd name="T76" fmla="*/ 6381463 w 291074"/>
              <a:gd name="T77" fmla="*/ 5976613 h 290436"/>
              <a:gd name="T78" fmla="*/ 18954381 w 291074"/>
              <a:gd name="T79" fmla="*/ 7057561 h 290436"/>
              <a:gd name="T80" fmla="*/ 126274243 w 291074"/>
              <a:gd name="T81" fmla="*/ 20779408 h 290436"/>
              <a:gd name="T82" fmla="*/ 114106565 w 291074"/>
              <a:gd name="T83" fmla="*/ 30799944 h 290436"/>
              <a:gd name="T84" fmla="*/ 110375232 w 291074"/>
              <a:gd name="T85" fmla="*/ 50841781 h 290436"/>
              <a:gd name="T86" fmla="*/ 113944458 w 291074"/>
              <a:gd name="T87" fmla="*/ 37274747 h 290436"/>
              <a:gd name="T88" fmla="*/ 84744057 w 291074"/>
              <a:gd name="T89" fmla="*/ 17233676 h 290436"/>
              <a:gd name="T90" fmla="*/ 77930966 w 291074"/>
              <a:gd name="T91" fmla="*/ 18157288 h 290436"/>
              <a:gd name="T92" fmla="*/ 103562180 w 291074"/>
              <a:gd name="T93" fmla="*/ 16153871 h 290436"/>
              <a:gd name="T94" fmla="*/ 118649116 w 291074"/>
              <a:gd name="T95" fmla="*/ 120409 h 290436"/>
              <a:gd name="T96" fmla="*/ 27445716 w 291074"/>
              <a:gd name="T97" fmla="*/ 16031862 h 290436"/>
              <a:gd name="T98" fmla="*/ 53082351 w 291074"/>
              <a:gd name="T99" fmla="*/ 18042582 h 290436"/>
              <a:gd name="T100" fmla="*/ 46550735 w 291074"/>
              <a:gd name="T101" fmla="*/ 17114714 h 290436"/>
              <a:gd name="T102" fmla="*/ 16832540 w 291074"/>
              <a:gd name="T103" fmla="*/ 37226834 h 290436"/>
              <a:gd name="T104" fmla="*/ 20587701 w 291074"/>
              <a:gd name="T105" fmla="*/ 50841697 h 290436"/>
              <a:gd name="T106" fmla="*/ 16832540 w 291074"/>
              <a:gd name="T107" fmla="*/ 30728957 h 290436"/>
              <a:gd name="T108" fmla="*/ 4585657 w 291074"/>
              <a:gd name="T109" fmla="*/ 20673549 h 2904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91074" h="290436">
                <a:moveTo>
                  <a:pt x="31551" y="241515"/>
                </a:moveTo>
                <a:cubicBezTo>
                  <a:pt x="26841" y="241515"/>
                  <a:pt x="21406" y="243674"/>
                  <a:pt x="16334" y="248710"/>
                </a:cubicBezTo>
                <a:cubicBezTo>
                  <a:pt x="11986" y="253386"/>
                  <a:pt x="9088" y="258781"/>
                  <a:pt x="8726" y="264177"/>
                </a:cubicBezTo>
                <a:cubicBezTo>
                  <a:pt x="8726" y="268493"/>
                  <a:pt x="10899" y="273170"/>
                  <a:pt x="14160" y="276767"/>
                </a:cubicBezTo>
                <a:cubicBezTo>
                  <a:pt x="21769" y="284321"/>
                  <a:pt x="33000" y="283601"/>
                  <a:pt x="42058" y="274249"/>
                </a:cubicBezTo>
                <a:cubicBezTo>
                  <a:pt x="51478" y="264896"/>
                  <a:pt x="52204" y="255184"/>
                  <a:pt x="43870" y="246911"/>
                </a:cubicBezTo>
                <a:cubicBezTo>
                  <a:pt x="40247" y="243314"/>
                  <a:pt x="36261" y="241515"/>
                  <a:pt x="31551" y="241515"/>
                </a:cubicBezTo>
                <a:close/>
                <a:moveTo>
                  <a:pt x="260338" y="241470"/>
                </a:moveTo>
                <a:cubicBezTo>
                  <a:pt x="255718" y="241156"/>
                  <a:pt x="251189" y="242954"/>
                  <a:pt x="247204" y="246911"/>
                </a:cubicBezTo>
                <a:cubicBezTo>
                  <a:pt x="238871" y="255184"/>
                  <a:pt x="239595" y="264896"/>
                  <a:pt x="248653" y="274249"/>
                </a:cubicBezTo>
                <a:cubicBezTo>
                  <a:pt x="258073" y="283601"/>
                  <a:pt x="269305" y="284321"/>
                  <a:pt x="276913" y="276767"/>
                </a:cubicBezTo>
                <a:cubicBezTo>
                  <a:pt x="280899" y="273170"/>
                  <a:pt x="282348" y="268493"/>
                  <a:pt x="282348" y="264177"/>
                </a:cubicBezTo>
                <a:cubicBezTo>
                  <a:pt x="281986" y="258781"/>
                  <a:pt x="279450" y="253386"/>
                  <a:pt x="274015" y="248710"/>
                </a:cubicBezTo>
                <a:cubicBezTo>
                  <a:pt x="269667" y="244213"/>
                  <a:pt x="264957" y="241785"/>
                  <a:pt x="260338" y="241470"/>
                </a:cubicBezTo>
                <a:close/>
                <a:moveTo>
                  <a:pt x="243943" y="220652"/>
                </a:moveTo>
                <a:cubicBezTo>
                  <a:pt x="232349" y="223530"/>
                  <a:pt x="223291" y="231803"/>
                  <a:pt x="220393" y="243674"/>
                </a:cubicBezTo>
                <a:cubicBezTo>
                  <a:pt x="225103" y="242595"/>
                  <a:pt x="229451" y="242954"/>
                  <a:pt x="234523" y="245472"/>
                </a:cubicBezTo>
                <a:lnTo>
                  <a:pt x="236334" y="246551"/>
                </a:lnTo>
                <a:cubicBezTo>
                  <a:pt x="237784" y="244753"/>
                  <a:pt x="238871" y="242595"/>
                  <a:pt x="241045" y="240796"/>
                </a:cubicBezTo>
                <a:cubicBezTo>
                  <a:pt x="242494" y="238997"/>
                  <a:pt x="244668" y="237199"/>
                  <a:pt x="246842" y="236120"/>
                </a:cubicBezTo>
                <a:lnTo>
                  <a:pt x="245392" y="233602"/>
                </a:lnTo>
                <a:cubicBezTo>
                  <a:pt x="243581" y="229645"/>
                  <a:pt x="242494" y="224609"/>
                  <a:pt x="243943" y="220652"/>
                </a:cubicBezTo>
                <a:close/>
                <a:moveTo>
                  <a:pt x="47131" y="220652"/>
                </a:moveTo>
                <a:cubicBezTo>
                  <a:pt x="48580" y="224609"/>
                  <a:pt x="47493" y="229645"/>
                  <a:pt x="45681" y="233962"/>
                </a:cubicBezTo>
                <a:lnTo>
                  <a:pt x="44232" y="236120"/>
                </a:lnTo>
                <a:cubicBezTo>
                  <a:pt x="46406" y="237199"/>
                  <a:pt x="48580" y="238997"/>
                  <a:pt x="50029" y="240796"/>
                </a:cubicBezTo>
                <a:cubicBezTo>
                  <a:pt x="52204" y="242595"/>
                  <a:pt x="53290" y="244753"/>
                  <a:pt x="54740" y="246551"/>
                </a:cubicBezTo>
                <a:lnTo>
                  <a:pt x="57638" y="245472"/>
                </a:lnTo>
                <a:cubicBezTo>
                  <a:pt x="61624" y="242954"/>
                  <a:pt x="65971" y="242595"/>
                  <a:pt x="70681" y="243674"/>
                </a:cubicBezTo>
                <a:cubicBezTo>
                  <a:pt x="67783" y="231803"/>
                  <a:pt x="59087" y="223530"/>
                  <a:pt x="47131" y="220652"/>
                </a:cubicBezTo>
                <a:close/>
                <a:moveTo>
                  <a:pt x="242494" y="173531"/>
                </a:moveTo>
                <a:cubicBezTo>
                  <a:pt x="244305" y="171732"/>
                  <a:pt x="247204" y="171732"/>
                  <a:pt x="248653" y="173531"/>
                </a:cubicBezTo>
                <a:lnTo>
                  <a:pt x="257349" y="181804"/>
                </a:lnTo>
                <a:cubicBezTo>
                  <a:pt x="265319" y="189718"/>
                  <a:pt x="266406" y="201588"/>
                  <a:pt x="260609" y="209501"/>
                </a:cubicBezTo>
                <a:lnTo>
                  <a:pt x="253725" y="219214"/>
                </a:lnTo>
                <a:cubicBezTo>
                  <a:pt x="251552" y="222091"/>
                  <a:pt x="251552" y="226408"/>
                  <a:pt x="253363" y="230005"/>
                </a:cubicBezTo>
                <a:lnTo>
                  <a:pt x="254812" y="233242"/>
                </a:lnTo>
                <a:cubicBezTo>
                  <a:pt x="263508" y="231444"/>
                  <a:pt x="272928" y="234321"/>
                  <a:pt x="280899" y="242595"/>
                </a:cubicBezTo>
                <a:cubicBezTo>
                  <a:pt x="287420" y="249069"/>
                  <a:pt x="290681" y="256263"/>
                  <a:pt x="291044" y="263817"/>
                </a:cubicBezTo>
                <a:cubicBezTo>
                  <a:pt x="291406" y="270652"/>
                  <a:pt x="288507" y="277486"/>
                  <a:pt x="283073" y="282882"/>
                </a:cubicBezTo>
                <a:cubicBezTo>
                  <a:pt x="278363" y="287918"/>
                  <a:pt x="272203" y="290436"/>
                  <a:pt x="264595" y="290436"/>
                </a:cubicBezTo>
                <a:cubicBezTo>
                  <a:pt x="257711" y="290436"/>
                  <a:pt x="250102" y="287918"/>
                  <a:pt x="242494" y="280364"/>
                </a:cubicBezTo>
                <a:cubicBezTo>
                  <a:pt x="234885" y="272450"/>
                  <a:pt x="231624" y="263458"/>
                  <a:pt x="232711" y="254825"/>
                </a:cubicBezTo>
                <a:lnTo>
                  <a:pt x="230175" y="253386"/>
                </a:lnTo>
                <a:cubicBezTo>
                  <a:pt x="226190" y="251587"/>
                  <a:pt x="222204" y="251587"/>
                  <a:pt x="219306" y="253386"/>
                </a:cubicBezTo>
                <a:lnTo>
                  <a:pt x="209523" y="260580"/>
                </a:lnTo>
                <a:cubicBezTo>
                  <a:pt x="206263" y="262738"/>
                  <a:pt x="201915" y="263817"/>
                  <a:pt x="198292" y="263817"/>
                </a:cubicBezTo>
                <a:cubicBezTo>
                  <a:pt x="192132" y="263817"/>
                  <a:pt x="186335" y="261659"/>
                  <a:pt x="181988" y="257342"/>
                </a:cubicBezTo>
                <a:lnTo>
                  <a:pt x="172930" y="248710"/>
                </a:lnTo>
                <a:cubicBezTo>
                  <a:pt x="171118" y="246911"/>
                  <a:pt x="171118" y="244033"/>
                  <a:pt x="172930" y="242595"/>
                </a:cubicBezTo>
                <a:cubicBezTo>
                  <a:pt x="174741" y="240796"/>
                  <a:pt x="178002" y="240796"/>
                  <a:pt x="179451" y="242595"/>
                </a:cubicBezTo>
                <a:lnTo>
                  <a:pt x="188147" y="250868"/>
                </a:lnTo>
                <a:cubicBezTo>
                  <a:pt x="192495" y="255544"/>
                  <a:pt x="199741" y="256263"/>
                  <a:pt x="204089" y="253386"/>
                </a:cubicBezTo>
                <a:lnTo>
                  <a:pt x="210610" y="248710"/>
                </a:lnTo>
                <a:cubicBezTo>
                  <a:pt x="211697" y="228206"/>
                  <a:pt x="228364" y="212019"/>
                  <a:pt x="248653" y="210940"/>
                </a:cubicBezTo>
                <a:lnTo>
                  <a:pt x="253363" y="204466"/>
                </a:lnTo>
                <a:cubicBezTo>
                  <a:pt x="256986" y="199789"/>
                  <a:pt x="255899" y="192955"/>
                  <a:pt x="251189" y="187919"/>
                </a:cubicBezTo>
                <a:lnTo>
                  <a:pt x="242494" y="180006"/>
                </a:lnTo>
                <a:cubicBezTo>
                  <a:pt x="240682" y="178207"/>
                  <a:pt x="240682" y="175329"/>
                  <a:pt x="242494" y="173531"/>
                </a:cubicBezTo>
                <a:close/>
                <a:moveTo>
                  <a:pt x="42421" y="173531"/>
                </a:moveTo>
                <a:cubicBezTo>
                  <a:pt x="43870" y="171732"/>
                  <a:pt x="46768" y="171732"/>
                  <a:pt x="48580" y="173531"/>
                </a:cubicBezTo>
                <a:cubicBezTo>
                  <a:pt x="50029" y="175329"/>
                  <a:pt x="50029" y="178207"/>
                  <a:pt x="48580" y="180006"/>
                </a:cubicBezTo>
                <a:lnTo>
                  <a:pt x="40247" y="187919"/>
                </a:lnTo>
                <a:cubicBezTo>
                  <a:pt x="35537" y="192955"/>
                  <a:pt x="34087" y="199789"/>
                  <a:pt x="37348" y="204466"/>
                </a:cubicBezTo>
                <a:lnTo>
                  <a:pt x="42058" y="210940"/>
                </a:lnTo>
                <a:cubicBezTo>
                  <a:pt x="62711" y="212019"/>
                  <a:pt x="79377" y="228206"/>
                  <a:pt x="80464" y="248710"/>
                </a:cubicBezTo>
                <a:lnTo>
                  <a:pt x="86986" y="253386"/>
                </a:lnTo>
                <a:cubicBezTo>
                  <a:pt x="91696" y="256263"/>
                  <a:pt x="98580" y="255544"/>
                  <a:pt x="103290" y="250868"/>
                </a:cubicBezTo>
                <a:lnTo>
                  <a:pt x="111623" y="242595"/>
                </a:lnTo>
                <a:cubicBezTo>
                  <a:pt x="113434" y="240796"/>
                  <a:pt x="115970" y="240796"/>
                  <a:pt x="117782" y="242595"/>
                </a:cubicBezTo>
                <a:cubicBezTo>
                  <a:pt x="119956" y="244033"/>
                  <a:pt x="119956" y="246911"/>
                  <a:pt x="117782" y="248710"/>
                </a:cubicBezTo>
                <a:lnTo>
                  <a:pt x="109449" y="257342"/>
                </a:lnTo>
                <a:cubicBezTo>
                  <a:pt x="104739" y="261659"/>
                  <a:pt x="98942" y="263817"/>
                  <a:pt x="93145" y="263817"/>
                </a:cubicBezTo>
                <a:cubicBezTo>
                  <a:pt x="89159" y="263817"/>
                  <a:pt x="85536" y="262738"/>
                  <a:pt x="82275" y="260580"/>
                </a:cubicBezTo>
                <a:lnTo>
                  <a:pt x="71768" y="253386"/>
                </a:lnTo>
                <a:cubicBezTo>
                  <a:pt x="68870" y="251587"/>
                  <a:pt x="64884" y="251227"/>
                  <a:pt x="61261" y="253386"/>
                </a:cubicBezTo>
                <a:lnTo>
                  <a:pt x="58001" y="254825"/>
                </a:lnTo>
                <a:cubicBezTo>
                  <a:pt x="59450" y="263458"/>
                  <a:pt x="56551" y="272450"/>
                  <a:pt x="48580" y="280364"/>
                </a:cubicBezTo>
                <a:cubicBezTo>
                  <a:pt x="40971" y="287918"/>
                  <a:pt x="33363" y="290436"/>
                  <a:pt x="26479" y="290436"/>
                </a:cubicBezTo>
                <a:cubicBezTo>
                  <a:pt x="18870" y="290436"/>
                  <a:pt x="12349" y="287918"/>
                  <a:pt x="8001" y="282882"/>
                </a:cubicBezTo>
                <a:cubicBezTo>
                  <a:pt x="2566" y="277486"/>
                  <a:pt x="-332" y="270652"/>
                  <a:pt x="30" y="263817"/>
                </a:cubicBezTo>
                <a:cubicBezTo>
                  <a:pt x="30" y="256263"/>
                  <a:pt x="3653" y="249069"/>
                  <a:pt x="10175" y="242595"/>
                </a:cubicBezTo>
                <a:cubicBezTo>
                  <a:pt x="17059" y="236120"/>
                  <a:pt x="24305" y="232882"/>
                  <a:pt x="31551" y="232882"/>
                </a:cubicBezTo>
                <a:cubicBezTo>
                  <a:pt x="33363" y="232882"/>
                  <a:pt x="34450" y="232882"/>
                  <a:pt x="36261" y="233242"/>
                </a:cubicBezTo>
                <a:lnTo>
                  <a:pt x="37348" y="230364"/>
                </a:lnTo>
                <a:cubicBezTo>
                  <a:pt x="39522" y="226408"/>
                  <a:pt x="39522" y="222091"/>
                  <a:pt x="37348" y="219214"/>
                </a:cubicBezTo>
                <a:lnTo>
                  <a:pt x="30464" y="209501"/>
                </a:lnTo>
                <a:cubicBezTo>
                  <a:pt x="24667" y="201588"/>
                  <a:pt x="25754" y="189718"/>
                  <a:pt x="34087" y="181804"/>
                </a:cubicBezTo>
                <a:lnTo>
                  <a:pt x="42421" y="173531"/>
                </a:lnTo>
                <a:close/>
                <a:moveTo>
                  <a:pt x="183399" y="150280"/>
                </a:moveTo>
                <a:cubicBezTo>
                  <a:pt x="184834" y="171094"/>
                  <a:pt x="192729" y="189755"/>
                  <a:pt x="206725" y="204109"/>
                </a:cubicBezTo>
                <a:cubicBezTo>
                  <a:pt x="220362" y="190114"/>
                  <a:pt x="228974" y="171453"/>
                  <a:pt x="229692" y="150280"/>
                </a:cubicBezTo>
                <a:lnTo>
                  <a:pt x="183399" y="150280"/>
                </a:lnTo>
                <a:close/>
                <a:moveTo>
                  <a:pt x="149666" y="150280"/>
                </a:moveTo>
                <a:lnTo>
                  <a:pt x="149666" y="230665"/>
                </a:lnTo>
                <a:cubicBezTo>
                  <a:pt x="169045" y="229588"/>
                  <a:pt x="186629" y="222052"/>
                  <a:pt x="200265" y="210210"/>
                </a:cubicBezTo>
                <a:cubicBezTo>
                  <a:pt x="184834" y="194061"/>
                  <a:pt x="175863" y="172888"/>
                  <a:pt x="174786" y="150280"/>
                </a:cubicBezTo>
                <a:lnTo>
                  <a:pt x="149666" y="150280"/>
                </a:lnTo>
                <a:close/>
                <a:moveTo>
                  <a:pt x="115574" y="150280"/>
                </a:moveTo>
                <a:cubicBezTo>
                  <a:pt x="114857" y="172888"/>
                  <a:pt x="105885" y="194061"/>
                  <a:pt x="90454" y="210210"/>
                </a:cubicBezTo>
                <a:cubicBezTo>
                  <a:pt x="104450" y="222052"/>
                  <a:pt x="121316" y="229588"/>
                  <a:pt x="141054" y="230665"/>
                </a:cubicBezTo>
                <a:lnTo>
                  <a:pt x="141054" y="150280"/>
                </a:lnTo>
                <a:lnTo>
                  <a:pt x="115574" y="150280"/>
                </a:lnTo>
                <a:close/>
                <a:moveTo>
                  <a:pt x="61028" y="150280"/>
                </a:moveTo>
                <a:cubicBezTo>
                  <a:pt x="62104" y="171453"/>
                  <a:pt x="70717" y="190114"/>
                  <a:pt x="83995" y="204109"/>
                </a:cubicBezTo>
                <a:cubicBezTo>
                  <a:pt x="97990" y="189755"/>
                  <a:pt x="105885" y="171094"/>
                  <a:pt x="107321" y="150280"/>
                </a:cubicBezTo>
                <a:lnTo>
                  <a:pt x="61028" y="150280"/>
                </a:lnTo>
                <a:close/>
                <a:moveTo>
                  <a:pt x="206725" y="87839"/>
                </a:moveTo>
                <a:cubicBezTo>
                  <a:pt x="192729" y="102911"/>
                  <a:pt x="184834" y="121571"/>
                  <a:pt x="183399" y="141668"/>
                </a:cubicBezTo>
                <a:lnTo>
                  <a:pt x="229692" y="141668"/>
                </a:lnTo>
                <a:cubicBezTo>
                  <a:pt x="228974" y="120854"/>
                  <a:pt x="220362" y="101834"/>
                  <a:pt x="206725" y="87839"/>
                </a:cubicBezTo>
                <a:close/>
                <a:moveTo>
                  <a:pt x="83995" y="87839"/>
                </a:moveTo>
                <a:cubicBezTo>
                  <a:pt x="70717" y="101834"/>
                  <a:pt x="62104" y="120854"/>
                  <a:pt x="61028" y="141668"/>
                </a:cubicBezTo>
                <a:lnTo>
                  <a:pt x="107321" y="141668"/>
                </a:lnTo>
                <a:cubicBezTo>
                  <a:pt x="105885" y="121571"/>
                  <a:pt x="97990" y="102911"/>
                  <a:pt x="83995" y="87839"/>
                </a:cubicBezTo>
                <a:close/>
                <a:moveTo>
                  <a:pt x="149666" y="61642"/>
                </a:moveTo>
                <a:lnTo>
                  <a:pt x="149666" y="141668"/>
                </a:lnTo>
                <a:lnTo>
                  <a:pt x="174786" y="141668"/>
                </a:lnTo>
                <a:cubicBezTo>
                  <a:pt x="175863" y="119059"/>
                  <a:pt x="184834" y="98245"/>
                  <a:pt x="200265" y="82097"/>
                </a:cubicBezTo>
                <a:cubicBezTo>
                  <a:pt x="186629" y="69896"/>
                  <a:pt x="169045" y="62718"/>
                  <a:pt x="149666" y="61642"/>
                </a:cubicBezTo>
                <a:close/>
                <a:moveTo>
                  <a:pt x="141054" y="61642"/>
                </a:moveTo>
                <a:cubicBezTo>
                  <a:pt x="121316" y="62718"/>
                  <a:pt x="104450" y="69896"/>
                  <a:pt x="90454" y="82097"/>
                </a:cubicBezTo>
                <a:cubicBezTo>
                  <a:pt x="105885" y="98245"/>
                  <a:pt x="114857" y="119059"/>
                  <a:pt x="115574" y="141668"/>
                </a:cubicBezTo>
                <a:lnTo>
                  <a:pt x="141054" y="141668"/>
                </a:lnTo>
                <a:lnTo>
                  <a:pt x="141054" y="61642"/>
                </a:lnTo>
                <a:close/>
                <a:moveTo>
                  <a:pt x="145360" y="52670"/>
                </a:moveTo>
                <a:cubicBezTo>
                  <a:pt x="197036" y="52670"/>
                  <a:pt x="239022" y="94657"/>
                  <a:pt x="239022" y="146333"/>
                </a:cubicBezTo>
                <a:cubicBezTo>
                  <a:pt x="239022" y="197650"/>
                  <a:pt x="197036" y="239636"/>
                  <a:pt x="145360" y="239636"/>
                </a:cubicBezTo>
                <a:cubicBezTo>
                  <a:pt x="93684" y="239636"/>
                  <a:pt x="52056" y="197650"/>
                  <a:pt x="52056" y="146333"/>
                </a:cubicBezTo>
                <a:cubicBezTo>
                  <a:pt x="52056" y="94657"/>
                  <a:pt x="93684" y="52670"/>
                  <a:pt x="145360" y="52670"/>
                </a:cubicBezTo>
                <a:close/>
                <a:moveTo>
                  <a:pt x="235910" y="44660"/>
                </a:moveTo>
                <a:lnTo>
                  <a:pt x="233751" y="45742"/>
                </a:lnTo>
                <a:cubicBezTo>
                  <a:pt x="229071" y="47907"/>
                  <a:pt x="224752" y="48268"/>
                  <a:pt x="220072" y="47546"/>
                </a:cubicBezTo>
                <a:cubicBezTo>
                  <a:pt x="222952" y="59092"/>
                  <a:pt x="231951" y="67751"/>
                  <a:pt x="243469" y="70638"/>
                </a:cubicBezTo>
                <a:cubicBezTo>
                  <a:pt x="242030" y="66308"/>
                  <a:pt x="243110" y="61257"/>
                  <a:pt x="245269" y="56927"/>
                </a:cubicBezTo>
                <a:lnTo>
                  <a:pt x="246349" y="54763"/>
                </a:lnTo>
                <a:cubicBezTo>
                  <a:pt x="244189" y="53680"/>
                  <a:pt x="242030" y="52237"/>
                  <a:pt x="240590" y="50433"/>
                </a:cubicBezTo>
                <a:cubicBezTo>
                  <a:pt x="238430" y="48629"/>
                  <a:pt x="237350" y="46825"/>
                  <a:pt x="235910" y="44660"/>
                </a:cubicBezTo>
                <a:close/>
                <a:moveTo>
                  <a:pt x="54740" y="44398"/>
                </a:moveTo>
                <a:cubicBezTo>
                  <a:pt x="53290" y="46570"/>
                  <a:pt x="52204" y="48381"/>
                  <a:pt x="50029" y="50191"/>
                </a:cubicBezTo>
                <a:cubicBezTo>
                  <a:pt x="48580" y="52001"/>
                  <a:pt x="46406" y="53450"/>
                  <a:pt x="44232" y="54536"/>
                </a:cubicBezTo>
                <a:lnTo>
                  <a:pt x="45681" y="57071"/>
                </a:lnTo>
                <a:cubicBezTo>
                  <a:pt x="47493" y="61053"/>
                  <a:pt x="48580" y="66122"/>
                  <a:pt x="47131" y="70467"/>
                </a:cubicBezTo>
                <a:cubicBezTo>
                  <a:pt x="59087" y="67570"/>
                  <a:pt x="67783" y="58881"/>
                  <a:pt x="70681" y="47295"/>
                </a:cubicBezTo>
                <a:cubicBezTo>
                  <a:pt x="65971" y="48019"/>
                  <a:pt x="61624" y="47657"/>
                  <a:pt x="56914" y="45122"/>
                </a:cubicBezTo>
                <a:lnTo>
                  <a:pt x="54740" y="44398"/>
                </a:lnTo>
                <a:close/>
                <a:moveTo>
                  <a:pt x="263627" y="9302"/>
                </a:moveTo>
                <a:cubicBezTo>
                  <a:pt x="258948" y="9662"/>
                  <a:pt x="253188" y="11827"/>
                  <a:pt x="248149" y="16878"/>
                </a:cubicBezTo>
                <a:cubicBezTo>
                  <a:pt x="243829" y="21930"/>
                  <a:pt x="240950" y="26620"/>
                  <a:pt x="240950" y="32032"/>
                </a:cubicBezTo>
                <a:cubicBezTo>
                  <a:pt x="240950" y="36001"/>
                  <a:pt x="243110" y="40691"/>
                  <a:pt x="246709" y="44299"/>
                </a:cubicBezTo>
                <a:cubicBezTo>
                  <a:pt x="254628" y="52237"/>
                  <a:pt x="264707" y="51515"/>
                  <a:pt x="273346" y="42495"/>
                </a:cubicBezTo>
                <a:cubicBezTo>
                  <a:pt x="283425" y="33114"/>
                  <a:pt x="284145" y="22290"/>
                  <a:pt x="276226" y="14353"/>
                </a:cubicBezTo>
                <a:cubicBezTo>
                  <a:pt x="272626" y="11106"/>
                  <a:pt x="268666" y="9302"/>
                  <a:pt x="264707" y="9302"/>
                </a:cubicBezTo>
                <a:cubicBezTo>
                  <a:pt x="263987" y="9302"/>
                  <a:pt x="263987" y="9302"/>
                  <a:pt x="263627" y="9302"/>
                </a:cubicBezTo>
                <a:close/>
                <a:moveTo>
                  <a:pt x="26479" y="8916"/>
                </a:moveTo>
                <a:cubicBezTo>
                  <a:pt x="21769" y="8916"/>
                  <a:pt x="17783" y="10364"/>
                  <a:pt x="14160" y="13985"/>
                </a:cubicBezTo>
                <a:cubicBezTo>
                  <a:pt x="10899" y="17605"/>
                  <a:pt x="8726" y="21950"/>
                  <a:pt x="8726" y="26657"/>
                </a:cubicBezTo>
                <a:cubicBezTo>
                  <a:pt x="9088" y="31726"/>
                  <a:pt x="11986" y="37157"/>
                  <a:pt x="16334" y="42226"/>
                </a:cubicBezTo>
                <a:cubicBezTo>
                  <a:pt x="25754" y="51277"/>
                  <a:pt x="35899" y="52001"/>
                  <a:pt x="43870" y="44036"/>
                </a:cubicBezTo>
                <a:cubicBezTo>
                  <a:pt x="52204" y="35709"/>
                  <a:pt x="51478" y="25933"/>
                  <a:pt x="42058" y="16519"/>
                </a:cubicBezTo>
                <a:cubicBezTo>
                  <a:pt x="36986" y="11088"/>
                  <a:pt x="31551" y="8916"/>
                  <a:pt x="26479" y="8916"/>
                </a:cubicBezTo>
                <a:close/>
                <a:moveTo>
                  <a:pt x="263267" y="282"/>
                </a:moveTo>
                <a:cubicBezTo>
                  <a:pt x="270826" y="282"/>
                  <a:pt x="277305" y="3168"/>
                  <a:pt x="282345" y="8219"/>
                </a:cubicBezTo>
                <a:cubicBezTo>
                  <a:pt x="291704" y="17600"/>
                  <a:pt x="294583" y="34197"/>
                  <a:pt x="280185" y="48629"/>
                </a:cubicBezTo>
                <a:cubicBezTo>
                  <a:pt x="273346" y="55123"/>
                  <a:pt x="266147" y="58371"/>
                  <a:pt x="258948" y="58371"/>
                </a:cubicBezTo>
                <a:cubicBezTo>
                  <a:pt x="257148" y="58371"/>
                  <a:pt x="256068" y="58371"/>
                  <a:pt x="254268" y="58010"/>
                </a:cubicBezTo>
                <a:lnTo>
                  <a:pt x="253188" y="60896"/>
                </a:lnTo>
                <a:cubicBezTo>
                  <a:pt x="251029" y="65226"/>
                  <a:pt x="251029" y="69194"/>
                  <a:pt x="253188" y="72081"/>
                </a:cubicBezTo>
                <a:lnTo>
                  <a:pt x="260027" y="81822"/>
                </a:lnTo>
                <a:cubicBezTo>
                  <a:pt x="266147" y="90121"/>
                  <a:pt x="264707" y="101305"/>
                  <a:pt x="256788" y="109604"/>
                </a:cubicBezTo>
                <a:lnTo>
                  <a:pt x="248149" y="117902"/>
                </a:lnTo>
                <a:cubicBezTo>
                  <a:pt x="247429" y="118624"/>
                  <a:pt x="246349" y="118984"/>
                  <a:pt x="244909" y="118984"/>
                </a:cubicBezTo>
                <a:cubicBezTo>
                  <a:pt x="244189" y="118984"/>
                  <a:pt x="243110" y="118624"/>
                  <a:pt x="242030" y="117902"/>
                </a:cubicBezTo>
                <a:cubicBezTo>
                  <a:pt x="240230" y="116098"/>
                  <a:pt x="240230" y="113572"/>
                  <a:pt x="242030" y="111769"/>
                </a:cubicBezTo>
                <a:lnTo>
                  <a:pt x="250669" y="103109"/>
                </a:lnTo>
                <a:cubicBezTo>
                  <a:pt x="255348" y="98419"/>
                  <a:pt x="256428" y="91564"/>
                  <a:pt x="252828" y="87234"/>
                </a:cubicBezTo>
                <a:lnTo>
                  <a:pt x="248149" y="80740"/>
                </a:lnTo>
                <a:cubicBezTo>
                  <a:pt x="227991" y="79297"/>
                  <a:pt x="211433" y="63061"/>
                  <a:pt x="210353" y="42495"/>
                </a:cubicBezTo>
                <a:lnTo>
                  <a:pt x="203874" y="37805"/>
                </a:lnTo>
                <a:cubicBezTo>
                  <a:pt x="199555" y="34557"/>
                  <a:pt x="192356" y="35640"/>
                  <a:pt x="188036" y="40330"/>
                </a:cubicBezTo>
                <a:lnTo>
                  <a:pt x="179397" y="48629"/>
                </a:lnTo>
                <a:cubicBezTo>
                  <a:pt x="178677" y="49711"/>
                  <a:pt x="177238" y="50072"/>
                  <a:pt x="176158" y="50072"/>
                </a:cubicBezTo>
                <a:cubicBezTo>
                  <a:pt x="175438" y="50072"/>
                  <a:pt x="173998" y="49711"/>
                  <a:pt x="172918" y="48629"/>
                </a:cubicBezTo>
                <a:cubicBezTo>
                  <a:pt x="171118" y="47185"/>
                  <a:pt x="171118" y="44299"/>
                  <a:pt x="172918" y="42495"/>
                </a:cubicBezTo>
                <a:lnTo>
                  <a:pt x="181917" y="34197"/>
                </a:lnTo>
                <a:cubicBezTo>
                  <a:pt x="189116" y="26259"/>
                  <a:pt x="200995" y="24816"/>
                  <a:pt x="209274" y="30228"/>
                </a:cubicBezTo>
                <a:lnTo>
                  <a:pt x="218992" y="37805"/>
                </a:lnTo>
                <a:cubicBezTo>
                  <a:pt x="221872" y="39609"/>
                  <a:pt x="225832" y="39609"/>
                  <a:pt x="229791" y="37805"/>
                </a:cubicBezTo>
                <a:lnTo>
                  <a:pt x="232311" y="36361"/>
                </a:lnTo>
                <a:cubicBezTo>
                  <a:pt x="232311" y="34918"/>
                  <a:pt x="231951" y="33114"/>
                  <a:pt x="231951" y="32032"/>
                </a:cubicBezTo>
                <a:cubicBezTo>
                  <a:pt x="231951" y="24094"/>
                  <a:pt x="235550" y="17239"/>
                  <a:pt x="242030" y="10745"/>
                </a:cubicBezTo>
                <a:cubicBezTo>
                  <a:pt x="248509" y="4251"/>
                  <a:pt x="256068" y="643"/>
                  <a:pt x="263267" y="282"/>
                </a:cubicBezTo>
                <a:close/>
                <a:moveTo>
                  <a:pt x="26253" y="0"/>
                </a:moveTo>
                <a:cubicBezTo>
                  <a:pt x="33363" y="-45"/>
                  <a:pt x="41153" y="2942"/>
                  <a:pt x="48580" y="10364"/>
                </a:cubicBezTo>
                <a:cubicBezTo>
                  <a:pt x="56551" y="18692"/>
                  <a:pt x="59450" y="27743"/>
                  <a:pt x="58001" y="36071"/>
                </a:cubicBezTo>
                <a:lnTo>
                  <a:pt x="60899" y="37519"/>
                </a:lnTo>
                <a:cubicBezTo>
                  <a:pt x="64884" y="39329"/>
                  <a:pt x="68870" y="39329"/>
                  <a:pt x="71768" y="37519"/>
                </a:cubicBezTo>
                <a:lnTo>
                  <a:pt x="82275" y="29916"/>
                </a:lnTo>
                <a:cubicBezTo>
                  <a:pt x="89884" y="24485"/>
                  <a:pt x="101840" y="25933"/>
                  <a:pt x="109449" y="33898"/>
                </a:cubicBezTo>
                <a:lnTo>
                  <a:pt x="117782" y="42226"/>
                </a:lnTo>
                <a:cubicBezTo>
                  <a:pt x="119956" y="44036"/>
                  <a:pt x="119956" y="46932"/>
                  <a:pt x="117782" y="48381"/>
                </a:cubicBezTo>
                <a:cubicBezTo>
                  <a:pt x="117057" y="49467"/>
                  <a:pt x="115970" y="49829"/>
                  <a:pt x="114884" y="49829"/>
                </a:cubicBezTo>
                <a:cubicBezTo>
                  <a:pt x="113797" y="49829"/>
                  <a:pt x="112710" y="49467"/>
                  <a:pt x="111623" y="48381"/>
                </a:cubicBezTo>
                <a:lnTo>
                  <a:pt x="103290" y="40053"/>
                </a:lnTo>
                <a:cubicBezTo>
                  <a:pt x="98580" y="35347"/>
                  <a:pt x="91696" y="34260"/>
                  <a:pt x="86986" y="37519"/>
                </a:cubicBezTo>
                <a:lnTo>
                  <a:pt x="80464" y="42226"/>
                </a:lnTo>
                <a:cubicBezTo>
                  <a:pt x="79377" y="62864"/>
                  <a:pt x="62711" y="79156"/>
                  <a:pt x="42058" y="80605"/>
                </a:cubicBezTo>
                <a:lnTo>
                  <a:pt x="37348" y="87122"/>
                </a:lnTo>
                <a:cubicBezTo>
                  <a:pt x="34087" y="91467"/>
                  <a:pt x="35537" y="98346"/>
                  <a:pt x="40247" y="103052"/>
                </a:cubicBezTo>
                <a:lnTo>
                  <a:pt x="48580" y="111742"/>
                </a:lnTo>
                <a:cubicBezTo>
                  <a:pt x="50029" y="113552"/>
                  <a:pt x="50029" y="116087"/>
                  <a:pt x="48580" y="117897"/>
                </a:cubicBezTo>
                <a:cubicBezTo>
                  <a:pt x="47493" y="118621"/>
                  <a:pt x="46768" y="118983"/>
                  <a:pt x="45681" y="118983"/>
                </a:cubicBezTo>
                <a:cubicBezTo>
                  <a:pt x="44232" y="118983"/>
                  <a:pt x="43145" y="118621"/>
                  <a:pt x="42421" y="117897"/>
                </a:cubicBezTo>
                <a:lnTo>
                  <a:pt x="34087" y="109570"/>
                </a:lnTo>
                <a:cubicBezTo>
                  <a:pt x="25754" y="101242"/>
                  <a:pt x="24667" y="90018"/>
                  <a:pt x="30464" y="81691"/>
                </a:cubicBezTo>
                <a:lnTo>
                  <a:pt x="37348" y="71915"/>
                </a:lnTo>
                <a:cubicBezTo>
                  <a:pt x="39522" y="69019"/>
                  <a:pt x="39522" y="65036"/>
                  <a:pt x="37348" y="60691"/>
                </a:cubicBezTo>
                <a:lnTo>
                  <a:pt x="36261" y="57795"/>
                </a:lnTo>
                <a:cubicBezTo>
                  <a:pt x="34450" y="58157"/>
                  <a:pt x="33363" y="58157"/>
                  <a:pt x="31551" y="58157"/>
                </a:cubicBezTo>
                <a:cubicBezTo>
                  <a:pt x="24667" y="58157"/>
                  <a:pt x="17059" y="54898"/>
                  <a:pt x="10175" y="48381"/>
                </a:cubicBezTo>
                <a:cubicBezTo>
                  <a:pt x="3653" y="41864"/>
                  <a:pt x="30" y="34622"/>
                  <a:pt x="30" y="27019"/>
                </a:cubicBezTo>
                <a:cubicBezTo>
                  <a:pt x="-332" y="19778"/>
                  <a:pt x="2566" y="13261"/>
                  <a:pt x="8001" y="7830"/>
                </a:cubicBezTo>
                <a:cubicBezTo>
                  <a:pt x="12711" y="3123"/>
                  <a:pt x="19142" y="46"/>
                  <a:pt x="26253" y="0"/>
                </a:cubicBezTo>
                <a:close/>
              </a:path>
            </a:pathLst>
          </a:custGeom>
          <a:solidFill>
            <a:schemeClr val="tx2"/>
          </a:solidFill>
          <a:ln>
            <a:noFill/>
          </a:ln>
          <a:effectLst/>
        </p:spPr>
        <p:txBody>
          <a:bodyPr anchor="ctr"/>
          <a:lstStyle/>
          <a:p>
            <a:endParaRPr lang="en-US" sz="900" dirty="0">
              <a:latin typeface="Lato Light" panose="020F0502020204030203" pitchFamily="34" charset="0"/>
            </a:endParaRPr>
          </a:p>
        </p:txBody>
      </p:sp>
      <p:sp>
        <p:nvSpPr>
          <p:cNvPr id="67" name="Freeform 1059">
            <a:extLst>
              <a:ext uri="{FF2B5EF4-FFF2-40B4-BE49-F238E27FC236}">
                <a16:creationId xmlns:a16="http://schemas.microsoft.com/office/drawing/2014/main" id="{0E150840-D0B0-B848-BDBB-FD5C28CF7F6E}"/>
              </a:ext>
            </a:extLst>
          </p:cNvPr>
          <p:cNvSpPr>
            <a:spLocks noChangeAspect="1" noChangeArrowheads="1"/>
          </p:cNvSpPr>
          <p:nvPr/>
        </p:nvSpPr>
        <p:spPr bwMode="auto">
          <a:xfrm>
            <a:off x="10247462" y="2515739"/>
            <a:ext cx="365821" cy="363630"/>
          </a:xfrm>
          <a:custGeom>
            <a:avLst/>
            <a:gdLst>
              <a:gd name="T0" fmla="*/ 89779237 w 291737"/>
              <a:gd name="T1" fmla="*/ 109284772 h 290153"/>
              <a:gd name="T2" fmla="*/ 102871663 w 291737"/>
              <a:gd name="T3" fmla="*/ 104718570 h 290153"/>
              <a:gd name="T4" fmla="*/ 123273045 w 291737"/>
              <a:gd name="T5" fmla="*/ 122214270 h 290153"/>
              <a:gd name="T6" fmla="*/ 124538682 w 291737"/>
              <a:gd name="T7" fmla="*/ 105031042 h 290153"/>
              <a:gd name="T8" fmla="*/ 99391902 w 291737"/>
              <a:gd name="T9" fmla="*/ 125807186 h 290153"/>
              <a:gd name="T10" fmla="*/ 102871663 w 291737"/>
              <a:gd name="T11" fmla="*/ 104718570 h 290153"/>
              <a:gd name="T12" fmla="*/ 3931849 w 291737"/>
              <a:gd name="T13" fmla="*/ 122214270 h 290153"/>
              <a:gd name="T14" fmla="*/ 24383897 w 291737"/>
              <a:gd name="T15" fmla="*/ 104718570 h 290153"/>
              <a:gd name="T16" fmla="*/ 27686387 w 291737"/>
              <a:gd name="T17" fmla="*/ 125807186 h 290153"/>
              <a:gd name="T18" fmla="*/ 2675210 w 291737"/>
              <a:gd name="T19" fmla="*/ 105031042 h 290153"/>
              <a:gd name="T20" fmla="*/ 111858698 w 291737"/>
              <a:gd name="T21" fmla="*/ 101300184 h 290153"/>
              <a:gd name="T22" fmla="*/ 10672229 w 291737"/>
              <a:gd name="T23" fmla="*/ 96976848 h 290153"/>
              <a:gd name="T24" fmla="*/ 111858698 w 291737"/>
              <a:gd name="T25" fmla="*/ 88794158 h 290153"/>
              <a:gd name="T26" fmla="*/ 111858698 w 291737"/>
              <a:gd name="T27" fmla="*/ 88794158 h 290153"/>
              <a:gd name="T28" fmla="*/ 6915088 w 291737"/>
              <a:gd name="T29" fmla="*/ 96976848 h 290153"/>
              <a:gd name="T30" fmla="*/ 99462300 w 291737"/>
              <a:gd name="T31" fmla="*/ 96153616 h 290153"/>
              <a:gd name="T32" fmla="*/ 82229262 w 291737"/>
              <a:gd name="T33" fmla="*/ 84875441 h 290153"/>
              <a:gd name="T34" fmla="*/ 44678279 w 291737"/>
              <a:gd name="T35" fmla="*/ 84875441 h 290153"/>
              <a:gd name="T36" fmla="*/ 27764580 w 291737"/>
              <a:gd name="T37" fmla="*/ 96153616 h 290153"/>
              <a:gd name="T38" fmla="*/ 52334178 w 291737"/>
              <a:gd name="T39" fmla="*/ 68852146 h 290153"/>
              <a:gd name="T40" fmla="*/ 72313118 w 291737"/>
              <a:gd name="T41" fmla="*/ 64165631 h 290153"/>
              <a:gd name="T42" fmla="*/ 77976585 w 291737"/>
              <a:gd name="T43" fmla="*/ 80724467 h 290153"/>
              <a:gd name="T44" fmla="*/ 48401249 w 291737"/>
              <a:gd name="T45" fmla="*/ 68852146 h 290153"/>
              <a:gd name="T46" fmla="*/ 59193458 w 291737"/>
              <a:gd name="T47" fmla="*/ 54222035 h 290153"/>
              <a:gd name="T48" fmla="*/ 63536008 w 291737"/>
              <a:gd name="T49" fmla="*/ 46117364 h 290153"/>
              <a:gd name="T50" fmla="*/ 63536008 w 291737"/>
              <a:gd name="T51" fmla="*/ 46117364 h 290153"/>
              <a:gd name="T52" fmla="*/ 111765453 w 291737"/>
              <a:gd name="T53" fmla="*/ 83819484 h 290153"/>
              <a:gd name="T54" fmla="*/ 15051580 w 291737"/>
              <a:gd name="T55" fmla="*/ 41987648 h 290153"/>
              <a:gd name="T56" fmla="*/ 13138120 w 291737"/>
              <a:gd name="T57" fmla="*/ 82102572 h 290153"/>
              <a:gd name="T58" fmla="*/ 91709610 w 291737"/>
              <a:gd name="T59" fmla="*/ 35208138 h 290153"/>
              <a:gd name="T60" fmla="*/ 77223386 w 291737"/>
              <a:gd name="T61" fmla="*/ 49457136 h 290153"/>
              <a:gd name="T62" fmla="*/ 37911938 w 291737"/>
              <a:gd name="T63" fmla="*/ 35208138 h 290153"/>
              <a:gd name="T64" fmla="*/ 46976875 w 291737"/>
              <a:gd name="T65" fmla="*/ 49457136 h 290153"/>
              <a:gd name="T66" fmla="*/ 89779237 w 291737"/>
              <a:gd name="T67" fmla="*/ 16518775 h 290153"/>
              <a:gd name="T68" fmla="*/ 34572388 w 291737"/>
              <a:gd name="T69" fmla="*/ 18502114 h 290153"/>
              <a:gd name="T70" fmla="*/ 101289900 w 291737"/>
              <a:gd name="T71" fmla="*/ 23421996 h 290153"/>
              <a:gd name="T72" fmla="*/ 121533257 w 291737"/>
              <a:gd name="T73" fmla="*/ 18424099 h 290153"/>
              <a:gd name="T74" fmla="*/ 127068263 w 291737"/>
              <a:gd name="T75" fmla="*/ 35139610 h 290153"/>
              <a:gd name="T76" fmla="*/ 97494406 w 291737"/>
              <a:gd name="T77" fmla="*/ 23421996 h 290153"/>
              <a:gd name="T78" fmla="*/ 5662450 w 291737"/>
              <a:gd name="T79" fmla="*/ 18424099 h 290153"/>
              <a:gd name="T80" fmla="*/ 25641957 w 291737"/>
              <a:gd name="T81" fmla="*/ 23421996 h 290153"/>
              <a:gd name="T82" fmla="*/ 29575230 w 291737"/>
              <a:gd name="T83" fmla="*/ 23421996 h 290153"/>
              <a:gd name="T84" fmla="*/ 0 w 291737"/>
              <a:gd name="T85" fmla="*/ 35139610 h 290153"/>
              <a:gd name="T86" fmla="*/ 111858698 w 291737"/>
              <a:gd name="T87" fmla="*/ 3859771 h 290153"/>
              <a:gd name="T88" fmla="*/ 111858698 w 291737"/>
              <a:gd name="T89" fmla="*/ 3859771 h 290153"/>
              <a:gd name="T90" fmla="*/ 19439297 w 291737"/>
              <a:gd name="T91" fmla="*/ 8182036 h 290153"/>
              <a:gd name="T92" fmla="*/ 111858698 w 291737"/>
              <a:gd name="T93" fmla="*/ 16365797 h 290153"/>
              <a:gd name="T94" fmla="*/ 23352569 w 291737"/>
              <a:gd name="T95" fmla="*/ 8182036 h 2901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1737" h="290153">
                <a:moveTo>
                  <a:pt x="83671" y="242888"/>
                </a:moveTo>
                <a:lnTo>
                  <a:pt x="206125" y="242888"/>
                </a:lnTo>
                <a:cubicBezTo>
                  <a:pt x="208631" y="242888"/>
                  <a:pt x="210779" y="245086"/>
                  <a:pt x="210779" y="247651"/>
                </a:cubicBezTo>
                <a:cubicBezTo>
                  <a:pt x="210779" y="250215"/>
                  <a:pt x="208631" y="252047"/>
                  <a:pt x="206125" y="252047"/>
                </a:cubicBezTo>
                <a:lnTo>
                  <a:pt x="83671" y="252047"/>
                </a:lnTo>
                <a:cubicBezTo>
                  <a:pt x="81523" y="252047"/>
                  <a:pt x="79375" y="250215"/>
                  <a:pt x="79375" y="247651"/>
                </a:cubicBezTo>
                <a:cubicBezTo>
                  <a:pt x="79375" y="245086"/>
                  <a:pt x="81523" y="242888"/>
                  <a:pt x="83671" y="242888"/>
                </a:cubicBezTo>
                <a:close/>
                <a:moveTo>
                  <a:pt x="236183" y="241515"/>
                </a:moveTo>
                <a:cubicBezTo>
                  <a:pt x="237998" y="242956"/>
                  <a:pt x="238361" y="245838"/>
                  <a:pt x="236546" y="248000"/>
                </a:cubicBezTo>
                <a:cubicBezTo>
                  <a:pt x="233641" y="250882"/>
                  <a:pt x="232552" y="254845"/>
                  <a:pt x="232552" y="258808"/>
                </a:cubicBezTo>
                <a:lnTo>
                  <a:pt x="232552" y="281866"/>
                </a:lnTo>
                <a:lnTo>
                  <a:pt x="283023" y="281866"/>
                </a:lnTo>
                <a:lnTo>
                  <a:pt x="283023" y="258808"/>
                </a:lnTo>
                <a:cubicBezTo>
                  <a:pt x="283023" y="254845"/>
                  <a:pt x="281570" y="250882"/>
                  <a:pt x="279029" y="248000"/>
                </a:cubicBezTo>
                <a:cubicBezTo>
                  <a:pt x="277213" y="245838"/>
                  <a:pt x="277939" y="242956"/>
                  <a:pt x="279392" y="241515"/>
                </a:cubicBezTo>
                <a:cubicBezTo>
                  <a:pt x="281570" y="239713"/>
                  <a:pt x="284475" y="240074"/>
                  <a:pt x="285928" y="242235"/>
                </a:cubicBezTo>
                <a:cubicBezTo>
                  <a:pt x="289559" y="246559"/>
                  <a:pt x="291737" y="252683"/>
                  <a:pt x="291737" y="258808"/>
                </a:cubicBezTo>
                <a:lnTo>
                  <a:pt x="291737" y="285830"/>
                </a:lnTo>
                <a:cubicBezTo>
                  <a:pt x="291737" y="288712"/>
                  <a:pt x="289922" y="290153"/>
                  <a:pt x="287743" y="290153"/>
                </a:cubicBezTo>
                <a:lnTo>
                  <a:pt x="228194" y="290153"/>
                </a:lnTo>
                <a:cubicBezTo>
                  <a:pt x="226016" y="290153"/>
                  <a:pt x="223837" y="288712"/>
                  <a:pt x="223837" y="285830"/>
                </a:cubicBezTo>
                <a:lnTo>
                  <a:pt x="223837" y="258808"/>
                </a:lnTo>
                <a:cubicBezTo>
                  <a:pt x="223837" y="252683"/>
                  <a:pt x="226016" y="246559"/>
                  <a:pt x="229647" y="242235"/>
                </a:cubicBezTo>
                <a:cubicBezTo>
                  <a:pt x="231462" y="240074"/>
                  <a:pt x="234367" y="239713"/>
                  <a:pt x="236183" y="241515"/>
                </a:cubicBezTo>
                <a:close/>
                <a:moveTo>
                  <a:pt x="12280" y="241515"/>
                </a:moveTo>
                <a:cubicBezTo>
                  <a:pt x="14447" y="242956"/>
                  <a:pt x="14808" y="245838"/>
                  <a:pt x="13002" y="248000"/>
                </a:cubicBezTo>
                <a:cubicBezTo>
                  <a:pt x="10835" y="250882"/>
                  <a:pt x="9029" y="254845"/>
                  <a:pt x="9029" y="258808"/>
                </a:cubicBezTo>
                <a:lnTo>
                  <a:pt x="9029" y="281866"/>
                </a:lnTo>
                <a:lnTo>
                  <a:pt x="59232" y="281866"/>
                </a:lnTo>
                <a:lnTo>
                  <a:pt x="59232" y="258808"/>
                </a:lnTo>
                <a:cubicBezTo>
                  <a:pt x="59232" y="254845"/>
                  <a:pt x="57788" y="250882"/>
                  <a:pt x="55259" y="248000"/>
                </a:cubicBezTo>
                <a:cubicBezTo>
                  <a:pt x="53454" y="245838"/>
                  <a:pt x="54176" y="242956"/>
                  <a:pt x="55982" y="241515"/>
                </a:cubicBezTo>
                <a:cubicBezTo>
                  <a:pt x="57788" y="239713"/>
                  <a:pt x="60677" y="240074"/>
                  <a:pt x="61761" y="242235"/>
                </a:cubicBezTo>
                <a:cubicBezTo>
                  <a:pt x="65734" y="246559"/>
                  <a:pt x="67901" y="252683"/>
                  <a:pt x="67901" y="258808"/>
                </a:cubicBezTo>
                <a:lnTo>
                  <a:pt x="67901" y="285830"/>
                </a:lnTo>
                <a:cubicBezTo>
                  <a:pt x="67901" y="288712"/>
                  <a:pt x="65734" y="290153"/>
                  <a:pt x="63566" y="290153"/>
                </a:cubicBezTo>
                <a:lnTo>
                  <a:pt x="4695" y="290153"/>
                </a:lnTo>
                <a:cubicBezTo>
                  <a:pt x="2528" y="290153"/>
                  <a:pt x="0" y="288712"/>
                  <a:pt x="0" y="285830"/>
                </a:cubicBezTo>
                <a:lnTo>
                  <a:pt x="0" y="258808"/>
                </a:lnTo>
                <a:cubicBezTo>
                  <a:pt x="0" y="252683"/>
                  <a:pt x="2528" y="246559"/>
                  <a:pt x="6140" y="242235"/>
                </a:cubicBezTo>
                <a:cubicBezTo>
                  <a:pt x="7946" y="240074"/>
                  <a:pt x="10835" y="239713"/>
                  <a:pt x="12280" y="241515"/>
                </a:cubicBezTo>
                <a:close/>
                <a:moveTo>
                  <a:pt x="256816" y="213690"/>
                </a:moveTo>
                <a:cubicBezTo>
                  <a:pt x="251065" y="213690"/>
                  <a:pt x="246752" y="217963"/>
                  <a:pt x="246752" y="223660"/>
                </a:cubicBezTo>
                <a:cubicBezTo>
                  <a:pt x="246752" y="229357"/>
                  <a:pt x="251065" y="233630"/>
                  <a:pt x="256816" y="233630"/>
                </a:cubicBezTo>
                <a:cubicBezTo>
                  <a:pt x="262926" y="233630"/>
                  <a:pt x="267599" y="229357"/>
                  <a:pt x="267599" y="223660"/>
                </a:cubicBezTo>
                <a:cubicBezTo>
                  <a:pt x="267599" y="217963"/>
                  <a:pt x="262926" y="213690"/>
                  <a:pt x="256816" y="213690"/>
                </a:cubicBezTo>
                <a:close/>
                <a:moveTo>
                  <a:pt x="34565" y="213690"/>
                </a:moveTo>
                <a:cubicBezTo>
                  <a:pt x="29174" y="213690"/>
                  <a:pt x="24501" y="217963"/>
                  <a:pt x="24501" y="223660"/>
                </a:cubicBezTo>
                <a:cubicBezTo>
                  <a:pt x="24501" y="229357"/>
                  <a:pt x="29174" y="233630"/>
                  <a:pt x="34565" y="233630"/>
                </a:cubicBezTo>
                <a:cubicBezTo>
                  <a:pt x="40316" y="233630"/>
                  <a:pt x="44629" y="229357"/>
                  <a:pt x="44629" y="223660"/>
                </a:cubicBezTo>
                <a:cubicBezTo>
                  <a:pt x="44629" y="217963"/>
                  <a:pt x="40316" y="213690"/>
                  <a:pt x="34565" y="213690"/>
                </a:cubicBezTo>
                <a:close/>
                <a:moveTo>
                  <a:pt x="256816" y="204788"/>
                </a:moveTo>
                <a:cubicBezTo>
                  <a:pt x="267599" y="204788"/>
                  <a:pt x="275866" y="213334"/>
                  <a:pt x="275866" y="223660"/>
                </a:cubicBezTo>
                <a:cubicBezTo>
                  <a:pt x="275866" y="234342"/>
                  <a:pt x="267599" y="242532"/>
                  <a:pt x="256816" y="242532"/>
                </a:cubicBezTo>
                <a:cubicBezTo>
                  <a:pt x="246752" y="242532"/>
                  <a:pt x="238125" y="234342"/>
                  <a:pt x="238125" y="223660"/>
                </a:cubicBezTo>
                <a:cubicBezTo>
                  <a:pt x="238125" y="213334"/>
                  <a:pt x="246752" y="204788"/>
                  <a:pt x="256816" y="204788"/>
                </a:cubicBezTo>
                <a:close/>
                <a:moveTo>
                  <a:pt x="34565" y="204788"/>
                </a:moveTo>
                <a:cubicBezTo>
                  <a:pt x="45348" y="204788"/>
                  <a:pt x="53615" y="213334"/>
                  <a:pt x="53615" y="223660"/>
                </a:cubicBezTo>
                <a:cubicBezTo>
                  <a:pt x="53615" y="234342"/>
                  <a:pt x="45348" y="242532"/>
                  <a:pt x="34565" y="242532"/>
                </a:cubicBezTo>
                <a:cubicBezTo>
                  <a:pt x="24142" y="242532"/>
                  <a:pt x="15875" y="234342"/>
                  <a:pt x="15875" y="223660"/>
                </a:cubicBezTo>
                <a:cubicBezTo>
                  <a:pt x="15875" y="213334"/>
                  <a:pt x="24142" y="204788"/>
                  <a:pt x="34565" y="204788"/>
                </a:cubicBezTo>
                <a:close/>
                <a:moveTo>
                  <a:pt x="188791" y="189157"/>
                </a:moveTo>
                <a:cubicBezTo>
                  <a:pt x="190622" y="187325"/>
                  <a:pt x="193553" y="187325"/>
                  <a:pt x="195385" y="189157"/>
                </a:cubicBezTo>
                <a:lnTo>
                  <a:pt x="228356" y="221762"/>
                </a:lnTo>
                <a:cubicBezTo>
                  <a:pt x="229821" y="223960"/>
                  <a:pt x="229821" y="226891"/>
                  <a:pt x="228356" y="228356"/>
                </a:cubicBezTo>
                <a:cubicBezTo>
                  <a:pt x="226890" y="229089"/>
                  <a:pt x="226157" y="229822"/>
                  <a:pt x="225058" y="229822"/>
                </a:cubicBezTo>
                <a:cubicBezTo>
                  <a:pt x="223593" y="229822"/>
                  <a:pt x="222860" y="229089"/>
                  <a:pt x="222128" y="228356"/>
                </a:cubicBezTo>
                <a:lnTo>
                  <a:pt x="188791" y="195751"/>
                </a:lnTo>
                <a:cubicBezTo>
                  <a:pt x="187325" y="193553"/>
                  <a:pt x="187325" y="190622"/>
                  <a:pt x="188791" y="189157"/>
                </a:cubicBezTo>
                <a:close/>
                <a:moveTo>
                  <a:pt x="96349" y="189157"/>
                </a:moveTo>
                <a:cubicBezTo>
                  <a:pt x="98180" y="187325"/>
                  <a:pt x="100745" y="187325"/>
                  <a:pt x="102577" y="189157"/>
                </a:cubicBezTo>
                <a:cubicBezTo>
                  <a:pt x="104408" y="190622"/>
                  <a:pt x="104408" y="193553"/>
                  <a:pt x="102577" y="195751"/>
                </a:cubicBezTo>
                <a:lnTo>
                  <a:pt x="69971" y="228356"/>
                </a:lnTo>
                <a:cubicBezTo>
                  <a:pt x="68872" y="229089"/>
                  <a:pt x="67773" y="229822"/>
                  <a:pt x="66674" y="229822"/>
                </a:cubicBezTo>
                <a:cubicBezTo>
                  <a:pt x="65575" y="229822"/>
                  <a:pt x="64476" y="229089"/>
                  <a:pt x="63744" y="228356"/>
                </a:cubicBezTo>
                <a:cubicBezTo>
                  <a:pt x="61912" y="226891"/>
                  <a:pt x="61912" y="223960"/>
                  <a:pt x="63744" y="221762"/>
                </a:cubicBezTo>
                <a:lnTo>
                  <a:pt x="96349" y="189157"/>
                </a:lnTo>
                <a:close/>
                <a:moveTo>
                  <a:pt x="123405" y="141862"/>
                </a:moveTo>
                <a:cubicBezTo>
                  <a:pt x="125572" y="142943"/>
                  <a:pt x="125572" y="145825"/>
                  <a:pt x="123766" y="147987"/>
                </a:cubicBezTo>
                <a:cubicBezTo>
                  <a:pt x="121599" y="150509"/>
                  <a:pt x="120154" y="154832"/>
                  <a:pt x="120154" y="158795"/>
                </a:cubicBezTo>
                <a:lnTo>
                  <a:pt x="120154" y="181493"/>
                </a:lnTo>
                <a:lnTo>
                  <a:pt x="169996" y="181493"/>
                </a:lnTo>
                <a:lnTo>
                  <a:pt x="169996" y="158795"/>
                </a:lnTo>
                <a:cubicBezTo>
                  <a:pt x="169996" y="154832"/>
                  <a:pt x="168913" y="150509"/>
                  <a:pt x="166023" y="147987"/>
                </a:cubicBezTo>
                <a:cubicBezTo>
                  <a:pt x="164217" y="145825"/>
                  <a:pt x="164940" y="142943"/>
                  <a:pt x="166746" y="141862"/>
                </a:cubicBezTo>
                <a:cubicBezTo>
                  <a:pt x="168552" y="140061"/>
                  <a:pt x="171802" y="140421"/>
                  <a:pt x="172886" y="142222"/>
                </a:cubicBezTo>
                <a:cubicBezTo>
                  <a:pt x="176498" y="146546"/>
                  <a:pt x="179026" y="152670"/>
                  <a:pt x="179026" y="158795"/>
                </a:cubicBezTo>
                <a:lnTo>
                  <a:pt x="179026" y="186177"/>
                </a:lnTo>
                <a:cubicBezTo>
                  <a:pt x="179026" y="188699"/>
                  <a:pt x="176859" y="190140"/>
                  <a:pt x="174691" y="190140"/>
                </a:cubicBezTo>
                <a:lnTo>
                  <a:pt x="115820" y="190140"/>
                </a:lnTo>
                <a:cubicBezTo>
                  <a:pt x="113292" y="190140"/>
                  <a:pt x="111125" y="188699"/>
                  <a:pt x="111125" y="186177"/>
                </a:cubicBezTo>
                <a:lnTo>
                  <a:pt x="111125" y="158795"/>
                </a:lnTo>
                <a:cubicBezTo>
                  <a:pt x="111125" y="152670"/>
                  <a:pt x="113292" y="146546"/>
                  <a:pt x="117265" y="142222"/>
                </a:cubicBezTo>
                <a:cubicBezTo>
                  <a:pt x="118709" y="140421"/>
                  <a:pt x="121599" y="139700"/>
                  <a:pt x="123405" y="141862"/>
                </a:cubicBezTo>
                <a:close/>
                <a:moveTo>
                  <a:pt x="145872" y="114990"/>
                </a:moveTo>
                <a:cubicBezTo>
                  <a:pt x="140175" y="114990"/>
                  <a:pt x="135902" y="119662"/>
                  <a:pt x="135902" y="125054"/>
                </a:cubicBezTo>
                <a:cubicBezTo>
                  <a:pt x="135902" y="130805"/>
                  <a:pt x="140175" y="135118"/>
                  <a:pt x="145872" y="135118"/>
                </a:cubicBezTo>
                <a:cubicBezTo>
                  <a:pt x="151569" y="135118"/>
                  <a:pt x="155842" y="130805"/>
                  <a:pt x="155842" y="125054"/>
                </a:cubicBezTo>
                <a:cubicBezTo>
                  <a:pt x="155842" y="119662"/>
                  <a:pt x="151569" y="114990"/>
                  <a:pt x="145872" y="114990"/>
                </a:cubicBezTo>
                <a:close/>
                <a:moveTo>
                  <a:pt x="145872" y="106363"/>
                </a:moveTo>
                <a:cubicBezTo>
                  <a:pt x="156554" y="106363"/>
                  <a:pt x="164744" y="114271"/>
                  <a:pt x="164744" y="125054"/>
                </a:cubicBezTo>
                <a:cubicBezTo>
                  <a:pt x="164744" y="135477"/>
                  <a:pt x="156554" y="144104"/>
                  <a:pt x="145872" y="144104"/>
                </a:cubicBezTo>
                <a:cubicBezTo>
                  <a:pt x="135546" y="144104"/>
                  <a:pt x="127000" y="135477"/>
                  <a:pt x="127000" y="125054"/>
                </a:cubicBezTo>
                <a:cubicBezTo>
                  <a:pt x="127000" y="114271"/>
                  <a:pt x="135546" y="106363"/>
                  <a:pt x="145872" y="106363"/>
                </a:cubicBezTo>
                <a:close/>
                <a:moveTo>
                  <a:pt x="256603" y="96838"/>
                </a:moveTo>
                <a:cubicBezTo>
                  <a:pt x="259270" y="96838"/>
                  <a:pt x="261556" y="98998"/>
                  <a:pt x="261556" y="101158"/>
                </a:cubicBezTo>
                <a:lnTo>
                  <a:pt x="261556" y="189355"/>
                </a:lnTo>
                <a:cubicBezTo>
                  <a:pt x="261556" y="191875"/>
                  <a:pt x="259270" y="193315"/>
                  <a:pt x="256603" y="193315"/>
                </a:cubicBezTo>
                <a:cubicBezTo>
                  <a:pt x="254317" y="193315"/>
                  <a:pt x="252412" y="191875"/>
                  <a:pt x="252412" y="189355"/>
                </a:cubicBezTo>
                <a:lnTo>
                  <a:pt x="252412" y="101158"/>
                </a:lnTo>
                <a:cubicBezTo>
                  <a:pt x="252412" y="98998"/>
                  <a:pt x="254317" y="96838"/>
                  <a:pt x="256603" y="96838"/>
                </a:cubicBezTo>
                <a:close/>
                <a:moveTo>
                  <a:pt x="34558" y="96838"/>
                </a:moveTo>
                <a:cubicBezTo>
                  <a:pt x="37122" y="96838"/>
                  <a:pt x="39320" y="98998"/>
                  <a:pt x="39320" y="101158"/>
                </a:cubicBezTo>
                <a:lnTo>
                  <a:pt x="39320" y="189355"/>
                </a:lnTo>
                <a:cubicBezTo>
                  <a:pt x="39320" y="191875"/>
                  <a:pt x="37122" y="193315"/>
                  <a:pt x="34558" y="193315"/>
                </a:cubicBezTo>
                <a:cubicBezTo>
                  <a:pt x="31993" y="193315"/>
                  <a:pt x="30162" y="191875"/>
                  <a:pt x="30162" y="189355"/>
                </a:cubicBezTo>
                <a:lnTo>
                  <a:pt x="30162" y="101158"/>
                </a:lnTo>
                <a:cubicBezTo>
                  <a:pt x="30162" y="98998"/>
                  <a:pt x="31993" y="96838"/>
                  <a:pt x="34558" y="96838"/>
                </a:cubicBezTo>
                <a:close/>
                <a:moveTo>
                  <a:pt x="204410" y="81201"/>
                </a:moveTo>
                <a:cubicBezTo>
                  <a:pt x="206218" y="79375"/>
                  <a:pt x="208387" y="79375"/>
                  <a:pt x="210556" y="81201"/>
                </a:cubicBezTo>
                <a:cubicBezTo>
                  <a:pt x="212364" y="82661"/>
                  <a:pt x="212364" y="85582"/>
                  <a:pt x="210556" y="87408"/>
                </a:cubicBezTo>
                <a:lnTo>
                  <a:pt x="184166" y="114063"/>
                </a:lnTo>
                <a:cubicBezTo>
                  <a:pt x="183081" y="114793"/>
                  <a:pt x="181996" y="115523"/>
                  <a:pt x="180912" y="115523"/>
                </a:cubicBezTo>
                <a:cubicBezTo>
                  <a:pt x="179466" y="115523"/>
                  <a:pt x="178743" y="114793"/>
                  <a:pt x="177297" y="114063"/>
                </a:cubicBezTo>
                <a:cubicBezTo>
                  <a:pt x="176212" y="112602"/>
                  <a:pt x="176212" y="109681"/>
                  <a:pt x="177297" y="107855"/>
                </a:cubicBezTo>
                <a:lnTo>
                  <a:pt x="204410" y="81201"/>
                </a:lnTo>
                <a:close/>
                <a:moveTo>
                  <a:pt x="80835" y="81201"/>
                </a:moveTo>
                <a:cubicBezTo>
                  <a:pt x="82661" y="79375"/>
                  <a:pt x="85947" y="79375"/>
                  <a:pt x="87042" y="81201"/>
                </a:cubicBezTo>
                <a:lnTo>
                  <a:pt x="114061" y="107855"/>
                </a:lnTo>
                <a:cubicBezTo>
                  <a:pt x="115522" y="109681"/>
                  <a:pt x="115522" y="112602"/>
                  <a:pt x="114061" y="114063"/>
                </a:cubicBezTo>
                <a:cubicBezTo>
                  <a:pt x="113331" y="114793"/>
                  <a:pt x="111870" y="115523"/>
                  <a:pt x="111140" y="115523"/>
                </a:cubicBezTo>
                <a:cubicBezTo>
                  <a:pt x="109680" y="115523"/>
                  <a:pt x="108584" y="114793"/>
                  <a:pt x="107854" y="114063"/>
                </a:cubicBezTo>
                <a:lnTo>
                  <a:pt x="80835" y="87408"/>
                </a:lnTo>
                <a:cubicBezTo>
                  <a:pt x="79375" y="85582"/>
                  <a:pt x="79375" y="82661"/>
                  <a:pt x="80835" y="81201"/>
                </a:cubicBezTo>
                <a:close/>
                <a:moveTo>
                  <a:pt x="83671" y="38100"/>
                </a:moveTo>
                <a:lnTo>
                  <a:pt x="206125" y="38100"/>
                </a:lnTo>
                <a:cubicBezTo>
                  <a:pt x="208631" y="38100"/>
                  <a:pt x="210779" y="40386"/>
                  <a:pt x="210779" y="42672"/>
                </a:cubicBezTo>
                <a:cubicBezTo>
                  <a:pt x="210779" y="45339"/>
                  <a:pt x="208631" y="47244"/>
                  <a:pt x="206125" y="47244"/>
                </a:cubicBezTo>
                <a:lnTo>
                  <a:pt x="83671" y="47244"/>
                </a:lnTo>
                <a:cubicBezTo>
                  <a:pt x="81523" y="47244"/>
                  <a:pt x="79375" y="45339"/>
                  <a:pt x="79375" y="42672"/>
                </a:cubicBezTo>
                <a:cubicBezTo>
                  <a:pt x="79375" y="40386"/>
                  <a:pt x="81523" y="38100"/>
                  <a:pt x="83671" y="38100"/>
                </a:cubicBezTo>
                <a:close/>
                <a:moveTo>
                  <a:pt x="236183" y="36366"/>
                </a:moveTo>
                <a:cubicBezTo>
                  <a:pt x="237998" y="38167"/>
                  <a:pt x="238361" y="41050"/>
                  <a:pt x="236546" y="42491"/>
                </a:cubicBezTo>
                <a:cubicBezTo>
                  <a:pt x="233641" y="45733"/>
                  <a:pt x="232552" y="50057"/>
                  <a:pt x="232552" y="54020"/>
                </a:cubicBezTo>
                <a:lnTo>
                  <a:pt x="232552" y="76718"/>
                </a:lnTo>
                <a:lnTo>
                  <a:pt x="283023" y="76718"/>
                </a:lnTo>
                <a:lnTo>
                  <a:pt x="283023" y="54020"/>
                </a:lnTo>
                <a:cubicBezTo>
                  <a:pt x="283023" y="50057"/>
                  <a:pt x="281570" y="45733"/>
                  <a:pt x="279029" y="42491"/>
                </a:cubicBezTo>
                <a:cubicBezTo>
                  <a:pt x="277213" y="41050"/>
                  <a:pt x="277939" y="38167"/>
                  <a:pt x="279392" y="36366"/>
                </a:cubicBezTo>
                <a:cubicBezTo>
                  <a:pt x="281570" y="34925"/>
                  <a:pt x="284475" y="35285"/>
                  <a:pt x="285928" y="37447"/>
                </a:cubicBezTo>
                <a:cubicBezTo>
                  <a:pt x="289559" y="41770"/>
                  <a:pt x="291737" y="47895"/>
                  <a:pt x="291737" y="54020"/>
                </a:cubicBezTo>
                <a:lnTo>
                  <a:pt x="291737" y="81042"/>
                </a:lnTo>
                <a:cubicBezTo>
                  <a:pt x="291737" y="83924"/>
                  <a:pt x="289922" y="85365"/>
                  <a:pt x="287743" y="85365"/>
                </a:cubicBezTo>
                <a:lnTo>
                  <a:pt x="228194" y="85365"/>
                </a:lnTo>
                <a:cubicBezTo>
                  <a:pt x="226016" y="85365"/>
                  <a:pt x="223837" y="83924"/>
                  <a:pt x="223837" y="81042"/>
                </a:cubicBezTo>
                <a:lnTo>
                  <a:pt x="223837" y="54020"/>
                </a:lnTo>
                <a:cubicBezTo>
                  <a:pt x="223837" y="47895"/>
                  <a:pt x="226016" y="41770"/>
                  <a:pt x="229647" y="37447"/>
                </a:cubicBezTo>
                <a:cubicBezTo>
                  <a:pt x="231462" y="35285"/>
                  <a:pt x="234367" y="34925"/>
                  <a:pt x="236183" y="36366"/>
                </a:cubicBezTo>
                <a:close/>
                <a:moveTo>
                  <a:pt x="12280" y="36366"/>
                </a:moveTo>
                <a:cubicBezTo>
                  <a:pt x="14447" y="38167"/>
                  <a:pt x="14808" y="41050"/>
                  <a:pt x="13002" y="42491"/>
                </a:cubicBezTo>
                <a:cubicBezTo>
                  <a:pt x="10835" y="45733"/>
                  <a:pt x="9029" y="50057"/>
                  <a:pt x="9029" y="54020"/>
                </a:cubicBezTo>
                <a:lnTo>
                  <a:pt x="9029" y="76718"/>
                </a:lnTo>
                <a:lnTo>
                  <a:pt x="58871" y="76718"/>
                </a:lnTo>
                <a:lnTo>
                  <a:pt x="58871" y="54020"/>
                </a:lnTo>
                <a:cubicBezTo>
                  <a:pt x="58871" y="50057"/>
                  <a:pt x="57788" y="45733"/>
                  <a:pt x="55259" y="42491"/>
                </a:cubicBezTo>
                <a:cubicBezTo>
                  <a:pt x="53454" y="41050"/>
                  <a:pt x="54176" y="38167"/>
                  <a:pt x="55982" y="36366"/>
                </a:cubicBezTo>
                <a:cubicBezTo>
                  <a:pt x="57788" y="34925"/>
                  <a:pt x="60677" y="35285"/>
                  <a:pt x="61761" y="37447"/>
                </a:cubicBezTo>
                <a:cubicBezTo>
                  <a:pt x="65734" y="41770"/>
                  <a:pt x="67901" y="47895"/>
                  <a:pt x="67901" y="54020"/>
                </a:cubicBezTo>
                <a:lnTo>
                  <a:pt x="67901" y="81042"/>
                </a:lnTo>
                <a:cubicBezTo>
                  <a:pt x="67901" y="83924"/>
                  <a:pt x="65734" y="85365"/>
                  <a:pt x="63566" y="85365"/>
                </a:cubicBezTo>
                <a:lnTo>
                  <a:pt x="4695" y="85365"/>
                </a:lnTo>
                <a:cubicBezTo>
                  <a:pt x="2528" y="85365"/>
                  <a:pt x="0" y="83924"/>
                  <a:pt x="0" y="81042"/>
                </a:cubicBezTo>
                <a:lnTo>
                  <a:pt x="0" y="54020"/>
                </a:lnTo>
                <a:cubicBezTo>
                  <a:pt x="0" y="47895"/>
                  <a:pt x="2528" y="41770"/>
                  <a:pt x="6140" y="37447"/>
                </a:cubicBezTo>
                <a:cubicBezTo>
                  <a:pt x="7946" y="35285"/>
                  <a:pt x="10835" y="34925"/>
                  <a:pt x="12280" y="36366"/>
                </a:cubicBezTo>
                <a:close/>
                <a:moveTo>
                  <a:pt x="256816" y="8902"/>
                </a:moveTo>
                <a:cubicBezTo>
                  <a:pt x="251065" y="8902"/>
                  <a:pt x="246752" y="13175"/>
                  <a:pt x="246752" y="18872"/>
                </a:cubicBezTo>
                <a:cubicBezTo>
                  <a:pt x="246752" y="24569"/>
                  <a:pt x="251065" y="29198"/>
                  <a:pt x="256816" y="29198"/>
                </a:cubicBezTo>
                <a:cubicBezTo>
                  <a:pt x="262926" y="29198"/>
                  <a:pt x="267599" y="24569"/>
                  <a:pt x="267599" y="18872"/>
                </a:cubicBezTo>
                <a:cubicBezTo>
                  <a:pt x="267599" y="13175"/>
                  <a:pt x="262926" y="8902"/>
                  <a:pt x="256816" y="8902"/>
                </a:cubicBezTo>
                <a:close/>
                <a:moveTo>
                  <a:pt x="34565" y="8902"/>
                </a:moveTo>
                <a:cubicBezTo>
                  <a:pt x="29174" y="8902"/>
                  <a:pt x="24501" y="13175"/>
                  <a:pt x="24501" y="18872"/>
                </a:cubicBezTo>
                <a:cubicBezTo>
                  <a:pt x="24501" y="24569"/>
                  <a:pt x="29174" y="29198"/>
                  <a:pt x="34565" y="29198"/>
                </a:cubicBezTo>
                <a:cubicBezTo>
                  <a:pt x="40316" y="29198"/>
                  <a:pt x="44629" y="24569"/>
                  <a:pt x="44629" y="18872"/>
                </a:cubicBezTo>
                <a:cubicBezTo>
                  <a:pt x="44629" y="13175"/>
                  <a:pt x="40316" y="8902"/>
                  <a:pt x="34565" y="8902"/>
                </a:cubicBezTo>
                <a:close/>
                <a:moveTo>
                  <a:pt x="256816" y="0"/>
                </a:moveTo>
                <a:cubicBezTo>
                  <a:pt x="267599" y="0"/>
                  <a:pt x="275866" y="8189"/>
                  <a:pt x="275866" y="18872"/>
                </a:cubicBezTo>
                <a:cubicBezTo>
                  <a:pt x="275866" y="29198"/>
                  <a:pt x="267599" y="37744"/>
                  <a:pt x="256816" y="37744"/>
                </a:cubicBezTo>
                <a:cubicBezTo>
                  <a:pt x="246752" y="37744"/>
                  <a:pt x="238125" y="29198"/>
                  <a:pt x="238125" y="18872"/>
                </a:cubicBezTo>
                <a:cubicBezTo>
                  <a:pt x="238125" y="8189"/>
                  <a:pt x="246752" y="0"/>
                  <a:pt x="256816" y="0"/>
                </a:cubicBezTo>
                <a:close/>
                <a:moveTo>
                  <a:pt x="34565" y="0"/>
                </a:moveTo>
                <a:cubicBezTo>
                  <a:pt x="45348" y="0"/>
                  <a:pt x="53615" y="8189"/>
                  <a:pt x="53615" y="18872"/>
                </a:cubicBezTo>
                <a:cubicBezTo>
                  <a:pt x="53615" y="29198"/>
                  <a:pt x="45348" y="37744"/>
                  <a:pt x="34565" y="37744"/>
                </a:cubicBezTo>
                <a:cubicBezTo>
                  <a:pt x="24142" y="37744"/>
                  <a:pt x="15875" y="29198"/>
                  <a:pt x="15875" y="18872"/>
                </a:cubicBezTo>
                <a:cubicBezTo>
                  <a:pt x="15875" y="8189"/>
                  <a:pt x="24142" y="0"/>
                  <a:pt x="34565" y="0"/>
                </a:cubicBezTo>
                <a:close/>
              </a:path>
            </a:pathLst>
          </a:custGeom>
          <a:solidFill>
            <a:schemeClr val="tx2"/>
          </a:solidFill>
          <a:ln>
            <a:noFill/>
          </a:ln>
          <a:effectLst/>
        </p:spPr>
        <p:txBody>
          <a:bodyPr anchor="ctr"/>
          <a:lstStyle/>
          <a:p>
            <a:endParaRPr lang="en-US" sz="900" dirty="0">
              <a:latin typeface="Lato Light" panose="020F0502020204030203" pitchFamily="34" charset="0"/>
            </a:endParaRPr>
          </a:p>
        </p:txBody>
      </p:sp>
      <p:sp>
        <p:nvSpPr>
          <p:cNvPr id="68" name="Freeform 1021">
            <a:extLst>
              <a:ext uri="{FF2B5EF4-FFF2-40B4-BE49-F238E27FC236}">
                <a16:creationId xmlns:a16="http://schemas.microsoft.com/office/drawing/2014/main" id="{7CDA1E74-5B7B-6844-8A13-5526AC214FC3}"/>
              </a:ext>
            </a:extLst>
          </p:cNvPr>
          <p:cNvSpPr>
            <a:spLocks noChangeAspect="1" noChangeArrowheads="1"/>
          </p:cNvSpPr>
          <p:nvPr/>
        </p:nvSpPr>
        <p:spPr bwMode="auto">
          <a:xfrm>
            <a:off x="3748649" y="3595234"/>
            <a:ext cx="363084" cy="363631"/>
          </a:xfrm>
          <a:custGeom>
            <a:avLst/>
            <a:gdLst>
              <a:gd name="T0" fmla="*/ 69401580 w 290150"/>
              <a:gd name="T1" fmla="*/ 121905821 h 290152"/>
              <a:gd name="T2" fmla="*/ 101735209 w 290150"/>
              <a:gd name="T3" fmla="*/ 104566787 h 290152"/>
              <a:gd name="T4" fmla="*/ 122048015 w 290150"/>
              <a:gd name="T5" fmla="*/ 121907862 h 290152"/>
              <a:gd name="T6" fmla="*/ 123308159 w 290150"/>
              <a:gd name="T7" fmla="*/ 104878861 h 290152"/>
              <a:gd name="T8" fmla="*/ 98428740 w 290150"/>
              <a:gd name="T9" fmla="*/ 125812788 h 290152"/>
              <a:gd name="T10" fmla="*/ 101735209 w 290150"/>
              <a:gd name="T11" fmla="*/ 104566787 h 290152"/>
              <a:gd name="T12" fmla="*/ 3711393 w 290150"/>
              <a:gd name="T13" fmla="*/ 121907862 h 290152"/>
              <a:gd name="T14" fmla="*/ 23657262 w 290150"/>
              <a:gd name="T15" fmla="*/ 104566787 h 290152"/>
              <a:gd name="T16" fmla="*/ 26904877 w 290150"/>
              <a:gd name="T17" fmla="*/ 125812788 h 290152"/>
              <a:gd name="T18" fmla="*/ 2629532 w 290150"/>
              <a:gd name="T19" fmla="*/ 104878861 h 290152"/>
              <a:gd name="T20" fmla="*/ 80814075 w 290150"/>
              <a:gd name="T21" fmla="*/ 110495926 h 290152"/>
              <a:gd name="T22" fmla="*/ 106318684 w 290150"/>
              <a:gd name="T23" fmla="*/ 97058230 h 290152"/>
              <a:gd name="T24" fmla="*/ 14300614 w 290150"/>
              <a:gd name="T25" fmla="*/ 92538574 h 290152"/>
              <a:gd name="T26" fmla="*/ 14300614 w 290150"/>
              <a:gd name="T27" fmla="*/ 92538574 h 290152"/>
              <a:gd name="T28" fmla="*/ 102577386 w 290150"/>
              <a:gd name="T29" fmla="*/ 97058230 h 290152"/>
              <a:gd name="T30" fmla="*/ 14300614 w 290150"/>
              <a:gd name="T31" fmla="*/ 105162994 h 290152"/>
              <a:gd name="T32" fmla="*/ 57207559 w 290150"/>
              <a:gd name="T33" fmla="*/ 99086212 h 290152"/>
              <a:gd name="T34" fmla="*/ 76124319 w 290150"/>
              <a:gd name="T35" fmla="*/ 71108083 h 290152"/>
              <a:gd name="T36" fmla="*/ 80032537 w 290150"/>
              <a:gd name="T37" fmla="*/ 74859260 h 290152"/>
              <a:gd name="T38" fmla="*/ 49547474 w 290150"/>
              <a:gd name="T39" fmla="*/ 78766754 h 290152"/>
              <a:gd name="T40" fmla="*/ 7803059 w 290150"/>
              <a:gd name="T41" fmla="*/ 43366069 h 290152"/>
              <a:gd name="T42" fmla="*/ 8874038 w 290150"/>
              <a:gd name="T43" fmla="*/ 85731906 h 290152"/>
              <a:gd name="T44" fmla="*/ 0 w 290150"/>
              <a:gd name="T45" fmla="*/ 51338760 h 290152"/>
              <a:gd name="T46" fmla="*/ 121572332 w 290150"/>
              <a:gd name="T47" fmla="*/ 75808223 h 290152"/>
              <a:gd name="T48" fmla="*/ 117848892 w 290150"/>
              <a:gd name="T49" fmla="*/ 74564562 h 290152"/>
              <a:gd name="T50" fmla="*/ 87807546 w 290150"/>
              <a:gd name="T51" fmla="*/ 58917106 h 290152"/>
              <a:gd name="T52" fmla="*/ 62460013 w 290150"/>
              <a:gd name="T53" fmla="*/ 41082802 h 290152"/>
              <a:gd name="T54" fmla="*/ 29224563 w 290150"/>
              <a:gd name="T55" fmla="*/ 62824121 h 290152"/>
              <a:gd name="T56" fmla="*/ 53456051 w 290150"/>
              <a:gd name="T57" fmla="*/ 82518084 h 290152"/>
              <a:gd name="T58" fmla="*/ 57207559 w 290150"/>
              <a:gd name="T59" fmla="*/ 74859260 h 290152"/>
              <a:gd name="T60" fmla="*/ 76124319 w 290150"/>
              <a:gd name="T61" fmla="*/ 67356844 h 290152"/>
              <a:gd name="T62" fmla="*/ 72372353 w 290150"/>
              <a:gd name="T63" fmla="*/ 99086212 h 290152"/>
              <a:gd name="T64" fmla="*/ 62835889 w 290150"/>
              <a:gd name="T65" fmla="*/ 29220374 h 290152"/>
              <a:gd name="T66" fmla="*/ 84722256 w 290150"/>
              <a:gd name="T67" fmla="*/ 101430210 h 290152"/>
              <a:gd name="T68" fmla="*/ 78938244 w 290150"/>
              <a:gd name="T69" fmla="*/ 116279211 h 290152"/>
              <a:gd name="T70" fmla="*/ 47203090 w 290150"/>
              <a:gd name="T71" fmla="*/ 114246758 h 290152"/>
              <a:gd name="T72" fmla="*/ 36415736 w 290150"/>
              <a:gd name="T73" fmla="*/ 89238866 h 290152"/>
              <a:gd name="T74" fmla="*/ 102050172 w 290150"/>
              <a:gd name="T75" fmla="*/ 18424697 h 290152"/>
              <a:gd name="T76" fmla="*/ 122048015 w 290150"/>
              <a:gd name="T77" fmla="*/ 23268009 h 290152"/>
              <a:gd name="T78" fmla="*/ 125826538 w 290150"/>
              <a:gd name="T79" fmla="*/ 23268009 h 290152"/>
              <a:gd name="T80" fmla="*/ 96381088 w 290150"/>
              <a:gd name="T81" fmla="*/ 35140894 h 290152"/>
              <a:gd name="T82" fmla="*/ 5103055 w 290150"/>
              <a:gd name="T83" fmla="*/ 15925338 h 290152"/>
              <a:gd name="T84" fmla="*/ 25048641 w 290150"/>
              <a:gd name="T85" fmla="*/ 33265548 h 290152"/>
              <a:gd name="T86" fmla="*/ 26285795 w 290150"/>
              <a:gd name="T87" fmla="*/ 16080347 h 290152"/>
              <a:gd name="T88" fmla="*/ 1854307 w 290150"/>
              <a:gd name="T89" fmla="*/ 37015182 h 290152"/>
              <a:gd name="T90" fmla="*/ 5103055 w 290150"/>
              <a:gd name="T91" fmla="*/ 15925338 h 290152"/>
              <a:gd name="T92" fmla="*/ 115203078 w 290150"/>
              <a:gd name="T93" fmla="*/ 8183128 h 290152"/>
              <a:gd name="T94" fmla="*/ 14300614 w 290150"/>
              <a:gd name="T95" fmla="*/ 12660410 h 290152"/>
              <a:gd name="T96" fmla="*/ 85475857 w 290150"/>
              <a:gd name="T97" fmla="*/ 7107584 h 290152"/>
              <a:gd name="T98" fmla="*/ 83908002 w 290150"/>
              <a:gd name="T99" fmla="*/ 10353978 h 290152"/>
              <a:gd name="T100" fmla="*/ 31389377 w 290150"/>
              <a:gd name="T101" fmla="*/ 11435744 h 290152"/>
              <a:gd name="T102" fmla="*/ 110839091 w 290150"/>
              <a:gd name="T103" fmla="*/ 16366151 h 290152"/>
              <a:gd name="T104" fmla="*/ 22561810 w 290150"/>
              <a:gd name="T105" fmla="*/ 8183128 h 29015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0150" h="290152">
                <a:moveTo>
                  <a:pt x="117499" y="263478"/>
                </a:moveTo>
                <a:lnTo>
                  <a:pt x="117499" y="268164"/>
                </a:lnTo>
                <a:cubicBezTo>
                  <a:pt x="117499" y="275373"/>
                  <a:pt x="123627" y="281140"/>
                  <a:pt x="130837" y="281140"/>
                </a:cubicBezTo>
                <a:lnTo>
                  <a:pt x="160037" y="281140"/>
                </a:lnTo>
                <a:cubicBezTo>
                  <a:pt x="167247" y="281140"/>
                  <a:pt x="173015" y="275373"/>
                  <a:pt x="173015" y="268164"/>
                </a:cubicBezTo>
                <a:lnTo>
                  <a:pt x="173015" y="263478"/>
                </a:lnTo>
                <a:lnTo>
                  <a:pt x="117499" y="263478"/>
                </a:lnTo>
                <a:close/>
                <a:moveTo>
                  <a:pt x="234596" y="241153"/>
                </a:moveTo>
                <a:cubicBezTo>
                  <a:pt x="236774" y="242955"/>
                  <a:pt x="236774" y="245477"/>
                  <a:pt x="235322" y="247278"/>
                </a:cubicBezTo>
                <a:cubicBezTo>
                  <a:pt x="232417" y="250521"/>
                  <a:pt x="231328" y="254124"/>
                  <a:pt x="231328" y="258447"/>
                </a:cubicBezTo>
                <a:lnTo>
                  <a:pt x="231328" y="281145"/>
                </a:lnTo>
                <a:lnTo>
                  <a:pt x="281436" y="281145"/>
                </a:lnTo>
                <a:lnTo>
                  <a:pt x="281436" y="258447"/>
                </a:lnTo>
                <a:cubicBezTo>
                  <a:pt x="281436" y="254124"/>
                  <a:pt x="279983" y="250521"/>
                  <a:pt x="277442" y="247278"/>
                </a:cubicBezTo>
                <a:cubicBezTo>
                  <a:pt x="275626" y="245477"/>
                  <a:pt x="275989" y="242955"/>
                  <a:pt x="278168" y="241153"/>
                </a:cubicBezTo>
                <a:cubicBezTo>
                  <a:pt x="279983" y="239712"/>
                  <a:pt x="282525" y="239712"/>
                  <a:pt x="284341" y="241874"/>
                </a:cubicBezTo>
                <a:cubicBezTo>
                  <a:pt x="287972" y="246558"/>
                  <a:pt x="290150" y="252322"/>
                  <a:pt x="290150" y="258447"/>
                </a:cubicBezTo>
                <a:lnTo>
                  <a:pt x="290150" y="285829"/>
                </a:lnTo>
                <a:cubicBezTo>
                  <a:pt x="290150" y="287990"/>
                  <a:pt x="288335" y="290152"/>
                  <a:pt x="285793" y="290152"/>
                </a:cubicBezTo>
                <a:lnTo>
                  <a:pt x="226971" y="290152"/>
                </a:lnTo>
                <a:cubicBezTo>
                  <a:pt x="224429" y="290152"/>
                  <a:pt x="222250" y="287990"/>
                  <a:pt x="222250" y="285829"/>
                </a:cubicBezTo>
                <a:lnTo>
                  <a:pt x="222250" y="258447"/>
                </a:lnTo>
                <a:cubicBezTo>
                  <a:pt x="222250" y="252322"/>
                  <a:pt x="224429" y="246558"/>
                  <a:pt x="228423" y="241874"/>
                </a:cubicBezTo>
                <a:cubicBezTo>
                  <a:pt x="229875" y="239712"/>
                  <a:pt x="232780" y="239712"/>
                  <a:pt x="234596" y="241153"/>
                </a:cubicBezTo>
                <a:close/>
                <a:moveTo>
                  <a:pt x="11766" y="241153"/>
                </a:moveTo>
                <a:cubicBezTo>
                  <a:pt x="13905" y="242955"/>
                  <a:pt x="14262" y="245477"/>
                  <a:pt x="12479" y="247278"/>
                </a:cubicBezTo>
                <a:cubicBezTo>
                  <a:pt x="9983" y="250521"/>
                  <a:pt x="8557" y="254124"/>
                  <a:pt x="8557" y="258447"/>
                </a:cubicBezTo>
                <a:lnTo>
                  <a:pt x="8557" y="281145"/>
                </a:lnTo>
                <a:lnTo>
                  <a:pt x="57761" y="281145"/>
                </a:lnTo>
                <a:lnTo>
                  <a:pt x="57761" y="258447"/>
                </a:lnTo>
                <a:cubicBezTo>
                  <a:pt x="57761" y="254124"/>
                  <a:pt x="56335" y="250521"/>
                  <a:pt x="53839" y="247278"/>
                </a:cubicBezTo>
                <a:cubicBezTo>
                  <a:pt x="52413" y="245477"/>
                  <a:pt x="52413" y="242955"/>
                  <a:pt x="54552" y="241153"/>
                </a:cubicBezTo>
                <a:cubicBezTo>
                  <a:pt x="56335" y="239712"/>
                  <a:pt x="59188" y="239712"/>
                  <a:pt x="60614" y="241874"/>
                </a:cubicBezTo>
                <a:cubicBezTo>
                  <a:pt x="64179" y="246558"/>
                  <a:pt x="66319" y="252322"/>
                  <a:pt x="66319" y="258447"/>
                </a:cubicBezTo>
                <a:lnTo>
                  <a:pt x="66319" y="285829"/>
                </a:lnTo>
                <a:cubicBezTo>
                  <a:pt x="66319" y="287990"/>
                  <a:pt x="64536" y="290152"/>
                  <a:pt x="62040" y="290152"/>
                </a:cubicBezTo>
                <a:lnTo>
                  <a:pt x="4278" y="290152"/>
                </a:lnTo>
                <a:cubicBezTo>
                  <a:pt x="1783" y="290152"/>
                  <a:pt x="0" y="287990"/>
                  <a:pt x="0" y="285829"/>
                </a:cubicBezTo>
                <a:lnTo>
                  <a:pt x="0" y="258447"/>
                </a:lnTo>
                <a:cubicBezTo>
                  <a:pt x="0" y="252322"/>
                  <a:pt x="2139" y="246558"/>
                  <a:pt x="6061" y="241874"/>
                </a:cubicBezTo>
                <a:cubicBezTo>
                  <a:pt x="7487" y="239712"/>
                  <a:pt x="9983" y="239712"/>
                  <a:pt x="11766" y="241153"/>
                </a:cubicBezTo>
                <a:close/>
                <a:moveTo>
                  <a:pt x="104160" y="237525"/>
                </a:moveTo>
                <a:lnTo>
                  <a:pt x="104160" y="254827"/>
                </a:lnTo>
                <a:lnTo>
                  <a:pt x="186353" y="254827"/>
                </a:lnTo>
                <a:lnTo>
                  <a:pt x="186353" y="237525"/>
                </a:lnTo>
                <a:lnTo>
                  <a:pt x="104160" y="237525"/>
                </a:lnTo>
                <a:close/>
                <a:moveTo>
                  <a:pt x="255588" y="213414"/>
                </a:moveTo>
                <a:cubicBezTo>
                  <a:pt x="249837" y="213414"/>
                  <a:pt x="245165" y="218086"/>
                  <a:pt x="245165" y="223837"/>
                </a:cubicBezTo>
                <a:cubicBezTo>
                  <a:pt x="245165" y="229229"/>
                  <a:pt x="249837" y="233901"/>
                  <a:pt x="255588" y="233901"/>
                </a:cubicBezTo>
                <a:cubicBezTo>
                  <a:pt x="260980" y="233901"/>
                  <a:pt x="265652" y="229229"/>
                  <a:pt x="265652" y="223837"/>
                </a:cubicBezTo>
                <a:cubicBezTo>
                  <a:pt x="265652" y="218086"/>
                  <a:pt x="260980" y="213414"/>
                  <a:pt x="255588" y="213414"/>
                </a:cubicBezTo>
                <a:close/>
                <a:moveTo>
                  <a:pt x="32978" y="213414"/>
                </a:moveTo>
                <a:cubicBezTo>
                  <a:pt x="27587" y="213414"/>
                  <a:pt x="22914" y="218086"/>
                  <a:pt x="22914" y="223837"/>
                </a:cubicBezTo>
                <a:cubicBezTo>
                  <a:pt x="22914" y="229229"/>
                  <a:pt x="27587" y="233901"/>
                  <a:pt x="32978" y="233901"/>
                </a:cubicBezTo>
                <a:cubicBezTo>
                  <a:pt x="38729" y="233901"/>
                  <a:pt x="43402" y="229229"/>
                  <a:pt x="43402" y="223837"/>
                </a:cubicBezTo>
                <a:cubicBezTo>
                  <a:pt x="43402" y="218086"/>
                  <a:pt x="38729" y="213414"/>
                  <a:pt x="32978" y="213414"/>
                </a:cubicBezTo>
                <a:close/>
                <a:moveTo>
                  <a:pt x="255588" y="204787"/>
                </a:moveTo>
                <a:cubicBezTo>
                  <a:pt x="266012" y="204787"/>
                  <a:pt x="274279" y="213414"/>
                  <a:pt x="274279" y="223837"/>
                </a:cubicBezTo>
                <a:cubicBezTo>
                  <a:pt x="274279" y="234261"/>
                  <a:pt x="266012" y="242528"/>
                  <a:pt x="255588" y="242528"/>
                </a:cubicBezTo>
                <a:cubicBezTo>
                  <a:pt x="245165" y="242528"/>
                  <a:pt x="236538" y="234261"/>
                  <a:pt x="236538" y="223837"/>
                </a:cubicBezTo>
                <a:cubicBezTo>
                  <a:pt x="236538" y="213414"/>
                  <a:pt x="245165" y="204787"/>
                  <a:pt x="255588" y="204787"/>
                </a:cubicBezTo>
                <a:close/>
                <a:moveTo>
                  <a:pt x="32978" y="204787"/>
                </a:moveTo>
                <a:cubicBezTo>
                  <a:pt x="43402" y="204787"/>
                  <a:pt x="52028" y="213414"/>
                  <a:pt x="52028" y="223837"/>
                </a:cubicBezTo>
                <a:cubicBezTo>
                  <a:pt x="52028" y="234261"/>
                  <a:pt x="43402" y="242528"/>
                  <a:pt x="32978" y="242528"/>
                </a:cubicBezTo>
                <a:cubicBezTo>
                  <a:pt x="22555" y="242528"/>
                  <a:pt x="14288" y="234261"/>
                  <a:pt x="14288" y="223837"/>
                </a:cubicBezTo>
                <a:cubicBezTo>
                  <a:pt x="14288" y="213414"/>
                  <a:pt x="22555" y="204787"/>
                  <a:pt x="32978" y="204787"/>
                </a:cubicBezTo>
                <a:close/>
                <a:moveTo>
                  <a:pt x="131918" y="190305"/>
                </a:moveTo>
                <a:lnTo>
                  <a:pt x="131918" y="228513"/>
                </a:lnTo>
                <a:lnTo>
                  <a:pt x="158235" y="228513"/>
                </a:lnTo>
                <a:lnTo>
                  <a:pt x="158235" y="190305"/>
                </a:lnTo>
                <a:lnTo>
                  <a:pt x="131918" y="190305"/>
                </a:lnTo>
                <a:close/>
                <a:moveTo>
                  <a:pt x="175538" y="163991"/>
                </a:moveTo>
                <a:cubicBezTo>
                  <a:pt x="171212" y="163991"/>
                  <a:pt x="166886" y="168317"/>
                  <a:pt x="166886" y="172642"/>
                </a:cubicBezTo>
                <a:lnTo>
                  <a:pt x="166886" y="181654"/>
                </a:lnTo>
                <a:lnTo>
                  <a:pt x="175538" y="181654"/>
                </a:lnTo>
                <a:cubicBezTo>
                  <a:pt x="180585" y="181654"/>
                  <a:pt x="184551" y="177689"/>
                  <a:pt x="184551" y="172642"/>
                </a:cubicBezTo>
                <a:cubicBezTo>
                  <a:pt x="184551" y="168317"/>
                  <a:pt x="180585" y="163991"/>
                  <a:pt x="175538" y="163991"/>
                </a:cubicBezTo>
                <a:close/>
                <a:moveTo>
                  <a:pt x="114254" y="163991"/>
                </a:moveTo>
                <a:cubicBezTo>
                  <a:pt x="109568" y="163991"/>
                  <a:pt x="105602" y="168317"/>
                  <a:pt x="105602" y="172642"/>
                </a:cubicBezTo>
                <a:cubicBezTo>
                  <a:pt x="105602" y="177689"/>
                  <a:pt x="109568" y="181654"/>
                  <a:pt x="114254" y="181654"/>
                </a:cubicBezTo>
                <a:lnTo>
                  <a:pt x="123267" y="181654"/>
                </a:lnTo>
                <a:lnTo>
                  <a:pt x="123267" y="172642"/>
                </a:lnTo>
                <a:cubicBezTo>
                  <a:pt x="123267" y="168317"/>
                  <a:pt x="119301" y="163991"/>
                  <a:pt x="114254" y="163991"/>
                </a:cubicBezTo>
                <a:close/>
                <a:moveTo>
                  <a:pt x="17991" y="100012"/>
                </a:moveTo>
                <a:lnTo>
                  <a:pt x="25047" y="125249"/>
                </a:lnTo>
                <a:lnTo>
                  <a:pt x="16580" y="123086"/>
                </a:lnTo>
                <a:cubicBezTo>
                  <a:pt x="12700" y="146160"/>
                  <a:pt x="14816" y="169955"/>
                  <a:pt x="22930" y="191948"/>
                </a:cubicBezTo>
                <a:cubicBezTo>
                  <a:pt x="23636" y="194471"/>
                  <a:pt x="22578" y="196995"/>
                  <a:pt x="20461" y="197716"/>
                </a:cubicBezTo>
                <a:cubicBezTo>
                  <a:pt x="19755" y="198077"/>
                  <a:pt x="19403" y="198077"/>
                  <a:pt x="18697" y="198077"/>
                </a:cubicBezTo>
                <a:cubicBezTo>
                  <a:pt x="17286" y="198077"/>
                  <a:pt x="15522" y="196995"/>
                  <a:pt x="14816" y="195192"/>
                </a:cubicBezTo>
                <a:cubicBezTo>
                  <a:pt x="5997" y="171397"/>
                  <a:pt x="3880" y="145800"/>
                  <a:pt x="8114" y="120923"/>
                </a:cubicBezTo>
                <a:lnTo>
                  <a:pt x="0" y="118399"/>
                </a:lnTo>
                <a:lnTo>
                  <a:pt x="17991" y="100012"/>
                </a:lnTo>
                <a:close/>
                <a:moveTo>
                  <a:pt x="270322" y="95609"/>
                </a:moveTo>
                <a:cubicBezTo>
                  <a:pt x="272469" y="95250"/>
                  <a:pt x="274615" y="95967"/>
                  <a:pt x="275689" y="98476"/>
                </a:cubicBezTo>
                <a:cubicBezTo>
                  <a:pt x="284275" y="123211"/>
                  <a:pt x="285706" y="149020"/>
                  <a:pt x="280339" y="174830"/>
                </a:cubicBezTo>
                <a:lnTo>
                  <a:pt x="288568" y="176980"/>
                </a:lnTo>
                <a:lnTo>
                  <a:pt x="269249" y="194904"/>
                </a:lnTo>
                <a:lnTo>
                  <a:pt x="263525" y="169453"/>
                </a:lnTo>
                <a:lnTo>
                  <a:pt x="271753" y="171962"/>
                </a:lnTo>
                <a:cubicBezTo>
                  <a:pt x="276762" y="148662"/>
                  <a:pt x="275331" y="124286"/>
                  <a:pt x="267460" y="101344"/>
                </a:cubicBezTo>
                <a:cubicBezTo>
                  <a:pt x="266745" y="99193"/>
                  <a:pt x="267818" y="96326"/>
                  <a:pt x="270322" y="95609"/>
                </a:cubicBezTo>
                <a:close/>
                <a:moveTo>
                  <a:pt x="144030" y="85725"/>
                </a:moveTo>
                <a:cubicBezTo>
                  <a:pt x="173615" y="85725"/>
                  <a:pt x="197788" y="107012"/>
                  <a:pt x="202479" y="135875"/>
                </a:cubicBezTo>
                <a:cubicBezTo>
                  <a:pt x="202839" y="138401"/>
                  <a:pt x="201396" y="140205"/>
                  <a:pt x="198871" y="140926"/>
                </a:cubicBezTo>
                <a:cubicBezTo>
                  <a:pt x="198510" y="140926"/>
                  <a:pt x="198149" y="140926"/>
                  <a:pt x="198149" y="140926"/>
                </a:cubicBezTo>
                <a:cubicBezTo>
                  <a:pt x="195984" y="140926"/>
                  <a:pt x="194180" y="139483"/>
                  <a:pt x="193820" y="137319"/>
                </a:cubicBezTo>
                <a:cubicBezTo>
                  <a:pt x="190212" y="112785"/>
                  <a:pt x="168925" y="94745"/>
                  <a:pt x="144030" y="94745"/>
                </a:cubicBezTo>
                <a:cubicBezTo>
                  <a:pt x="141865" y="94745"/>
                  <a:pt x="139700" y="92580"/>
                  <a:pt x="139700" y="90416"/>
                </a:cubicBezTo>
                <a:cubicBezTo>
                  <a:pt x="139700" y="87890"/>
                  <a:pt x="141865" y="85725"/>
                  <a:pt x="144030" y="85725"/>
                </a:cubicBezTo>
                <a:close/>
                <a:moveTo>
                  <a:pt x="144896" y="67388"/>
                </a:moveTo>
                <a:cubicBezTo>
                  <a:pt x="102358" y="67388"/>
                  <a:pt x="67390" y="102353"/>
                  <a:pt x="67390" y="144887"/>
                </a:cubicBezTo>
                <a:cubicBezTo>
                  <a:pt x="67390" y="165433"/>
                  <a:pt x="75681" y="184898"/>
                  <a:pt x="89741" y="199677"/>
                </a:cubicBezTo>
                <a:cubicBezTo>
                  <a:pt x="97672" y="207607"/>
                  <a:pt x="102718" y="217700"/>
                  <a:pt x="103800" y="228513"/>
                </a:cubicBezTo>
                <a:lnTo>
                  <a:pt x="123267" y="228513"/>
                </a:lnTo>
                <a:lnTo>
                  <a:pt x="123267" y="190305"/>
                </a:lnTo>
                <a:lnTo>
                  <a:pt x="114254" y="190305"/>
                </a:lnTo>
                <a:cubicBezTo>
                  <a:pt x="104881" y="190305"/>
                  <a:pt x="96590" y="182375"/>
                  <a:pt x="96590" y="172642"/>
                </a:cubicBezTo>
                <a:cubicBezTo>
                  <a:pt x="96590" y="163270"/>
                  <a:pt x="104881" y="155340"/>
                  <a:pt x="114254" y="155340"/>
                </a:cubicBezTo>
                <a:cubicBezTo>
                  <a:pt x="123988" y="155340"/>
                  <a:pt x="131918" y="163270"/>
                  <a:pt x="131918" y="172642"/>
                </a:cubicBezTo>
                <a:lnTo>
                  <a:pt x="131918" y="181654"/>
                </a:lnTo>
                <a:lnTo>
                  <a:pt x="158235" y="181654"/>
                </a:lnTo>
                <a:lnTo>
                  <a:pt x="158235" y="172642"/>
                </a:lnTo>
                <a:cubicBezTo>
                  <a:pt x="158235" y="163270"/>
                  <a:pt x="166165" y="155340"/>
                  <a:pt x="175538" y="155340"/>
                </a:cubicBezTo>
                <a:cubicBezTo>
                  <a:pt x="185272" y="155340"/>
                  <a:pt x="193202" y="163270"/>
                  <a:pt x="193202" y="172642"/>
                </a:cubicBezTo>
                <a:cubicBezTo>
                  <a:pt x="193202" y="182375"/>
                  <a:pt x="185272" y="190305"/>
                  <a:pt x="175538" y="190305"/>
                </a:cubicBezTo>
                <a:lnTo>
                  <a:pt x="166886" y="190305"/>
                </a:lnTo>
                <a:lnTo>
                  <a:pt x="166886" y="228513"/>
                </a:lnTo>
                <a:lnTo>
                  <a:pt x="187074" y="228513"/>
                </a:lnTo>
                <a:cubicBezTo>
                  <a:pt x="187795" y="217339"/>
                  <a:pt x="192842" y="207246"/>
                  <a:pt x="200412" y="199316"/>
                </a:cubicBezTo>
                <a:cubicBezTo>
                  <a:pt x="214832" y="184537"/>
                  <a:pt x="222402" y="165433"/>
                  <a:pt x="222402" y="144887"/>
                </a:cubicBezTo>
                <a:cubicBezTo>
                  <a:pt x="222402" y="102353"/>
                  <a:pt x="187795" y="67388"/>
                  <a:pt x="144896" y="67388"/>
                </a:cubicBezTo>
                <a:close/>
                <a:moveTo>
                  <a:pt x="144896" y="58737"/>
                </a:moveTo>
                <a:cubicBezTo>
                  <a:pt x="192481" y="58737"/>
                  <a:pt x="231415" y="97306"/>
                  <a:pt x="231415" y="144887"/>
                </a:cubicBezTo>
                <a:cubicBezTo>
                  <a:pt x="231415" y="167596"/>
                  <a:pt x="222763" y="189223"/>
                  <a:pt x="206901" y="205444"/>
                </a:cubicBezTo>
                <a:cubicBezTo>
                  <a:pt x="199331" y="213014"/>
                  <a:pt x="195365" y="223106"/>
                  <a:pt x="195365" y="233920"/>
                </a:cubicBezTo>
                <a:lnTo>
                  <a:pt x="195365" y="254827"/>
                </a:lnTo>
                <a:cubicBezTo>
                  <a:pt x="195365" y="259513"/>
                  <a:pt x="191400" y="263478"/>
                  <a:pt x="186353" y="263478"/>
                </a:cubicBezTo>
                <a:lnTo>
                  <a:pt x="182027" y="263478"/>
                </a:lnTo>
                <a:lnTo>
                  <a:pt x="182027" y="268164"/>
                </a:lnTo>
                <a:cubicBezTo>
                  <a:pt x="182027" y="280059"/>
                  <a:pt x="171933" y="290152"/>
                  <a:pt x="160037" y="290152"/>
                </a:cubicBezTo>
                <a:lnTo>
                  <a:pt x="130837" y="290152"/>
                </a:lnTo>
                <a:cubicBezTo>
                  <a:pt x="118580" y="290152"/>
                  <a:pt x="108847" y="280059"/>
                  <a:pt x="108847" y="268164"/>
                </a:cubicBezTo>
                <a:lnTo>
                  <a:pt x="108847" y="263478"/>
                </a:lnTo>
                <a:lnTo>
                  <a:pt x="104521" y="263478"/>
                </a:lnTo>
                <a:cubicBezTo>
                  <a:pt x="99474" y="263478"/>
                  <a:pt x="95509" y="259513"/>
                  <a:pt x="95509" y="254827"/>
                </a:cubicBezTo>
                <a:lnTo>
                  <a:pt x="95509" y="234641"/>
                </a:lnTo>
                <a:cubicBezTo>
                  <a:pt x="95509" y="223467"/>
                  <a:pt x="91543" y="213374"/>
                  <a:pt x="83973" y="205804"/>
                </a:cubicBezTo>
                <a:cubicBezTo>
                  <a:pt x="67751" y="189584"/>
                  <a:pt x="58738" y="167956"/>
                  <a:pt x="58738" y="144887"/>
                </a:cubicBezTo>
                <a:cubicBezTo>
                  <a:pt x="58738" y="97306"/>
                  <a:pt x="97672" y="58737"/>
                  <a:pt x="144896" y="58737"/>
                </a:cubicBezTo>
                <a:close/>
                <a:moveTo>
                  <a:pt x="234596" y="36726"/>
                </a:moveTo>
                <a:cubicBezTo>
                  <a:pt x="236774" y="38167"/>
                  <a:pt x="236774" y="40689"/>
                  <a:pt x="235322" y="42491"/>
                </a:cubicBezTo>
                <a:cubicBezTo>
                  <a:pt x="232417" y="45733"/>
                  <a:pt x="231328" y="49696"/>
                  <a:pt x="231328" y="53660"/>
                </a:cubicBezTo>
                <a:lnTo>
                  <a:pt x="231328" y="76718"/>
                </a:lnTo>
                <a:lnTo>
                  <a:pt x="281436" y="76718"/>
                </a:lnTo>
                <a:lnTo>
                  <a:pt x="281436" y="53660"/>
                </a:lnTo>
                <a:cubicBezTo>
                  <a:pt x="281436" y="49696"/>
                  <a:pt x="279983" y="45733"/>
                  <a:pt x="277442" y="42491"/>
                </a:cubicBezTo>
                <a:cubicBezTo>
                  <a:pt x="275626" y="40689"/>
                  <a:pt x="275989" y="38167"/>
                  <a:pt x="278168" y="36726"/>
                </a:cubicBezTo>
                <a:cubicBezTo>
                  <a:pt x="279983" y="34925"/>
                  <a:pt x="282525" y="35285"/>
                  <a:pt x="284341" y="37086"/>
                </a:cubicBezTo>
                <a:cubicBezTo>
                  <a:pt x="287972" y="41770"/>
                  <a:pt x="290150" y="47895"/>
                  <a:pt x="290150" y="53660"/>
                </a:cubicBezTo>
                <a:lnTo>
                  <a:pt x="290150" y="81042"/>
                </a:lnTo>
                <a:cubicBezTo>
                  <a:pt x="290150" y="83203"/>
                  <a:pt x="288335" y="85365"/>
                  <a:pt x="285793" y="85365"/>
                </a:cubicBezTo>
                <a:lnTo>
                  <a:pt x="226971" y="85365"/>
                </a:lnTo>
                <a:cubicBezTo>
                  <a:pt x="224429" y="85365"/>
                  <a:pt x="222250" y="83203"/>
                  <a:pt x="222250" y="81042"/>
                </a:cubicBezTo>
                <a:lnTo>
                  <a:pt x="222250" y="53660"/>
                </a:lnTo>
                <a:cubicBezTo>
                  <a:pt x="222250" y="47895"/>
                  <a:pt x="224429" y="41770"/>
                  <a:pt x="228423" y="37086"/>
                </a:cubicBezTo>
                <a:cubicBezTo>
                  <a:pt x="229875" y="35285"/>
                  <a:pt x="232780" y="34925"/>
                  <a:pt x="234596" y="36726"/>
                </a:cubicBezTo>
                <a:close/>
                <a:moveTo>
                  <a:pt x="11766" y="36726"/>
                </a:moveTo>
                <a:cubicBezTo>
                  <a:pt x="13905" y="38167"/>
                  <a:pt x="14262" y="40689"/>
                  <a:pt x="12479" y="42491"/>
                </a:cubicBezTo>
                <a:cubicBezTo>
                  <a:pt x="9983" y="45733"/>
                  <a:pt x="8557" y="49696"/>
                  <a:pt x="8557" y="53660"/>
                </a:cubicBezTo>
                <a:lnTo>
                  <a:pt x="8557" y="76718"/>
                </a:lnTo>
                <a:lnTo>
                  <a:pt x="57761" y="76718"/>
                </a:lnTo>
                <a:lnTo>
                  <a:pt x="57761" y="53660"/>
                </a:lnTo>
                <a:cubicBezTo>
                  <a:pt x="57761" y="49696"/>
                  <a:pt x="56335" y="45733"/>
                  <a:pt x="53839" y="42491"/>
                </a:cubicBezTo>
                <a:cubicBezTo>
                  <a:pt x="52413" y="40689"/>
                  <a:pt x="52413" y="38167"/>
                  <a:pt x="54552" y="36726"/>
                </a:cubicBezTo>
                <a:cubicBezTo>
                  <a:pt x="56335" y="34925"/>
                  <a:pt x="59188" y="35285"/>
                  <a:pt x="60614" y="37086"/>
                </a:cubicBezTo>
                <a:cubicBezTo>
                  <a:pt x="64179" y="41770"/>
                  <a:pt x="66319" y="47895"/>
                  <a:pt x="66319" y="53660"/>
                </a:cubicBezTo>
                <a:lnTo>
                  <a:pt x="66319" y="81042"/>
                </a:lnTo>
                <a:cubicBezTo>
                  <a:pt x="66319" y="83203"/>
                  <a:pt x="64536" y="85365"/>
                  <a:pt x="62040" y="85365"/>
                </a:cubicBezTo>
                <a:lnTo>
                  <a:pt x="4278" y="85365"/>
                </a:lnTo>
                <a:cubicBezTo>
                  <a:pt x="1783" y="85365"/>
                  <a:pt x="0" y="83203"/>
                  <a:pt x="0" y="81042"/>
                </a:cubicBezTo>
                <a:lnTo>
                  <a:pt x="0" y="53660"/>
                </a:lnTo>
                <a:cubicBezTo>
                  <a:pt x="0" y="47895"/>
                  <a:pt x="2139" y="41770"/>
                  <a:pt x="6061" y="37086"/>
                </a:cubicBezTo>
                <a:cubicBezTo>
                  <a:pt x="7487" y="35285"/>
                  <a:pt x="9983" y="34925"/>
                  <a:pt x="11766" y="36726"/>
                </a:cubicBezTo>
                <a:close/>
                <a:moveTo>
                  <a:pt x="255588" y="8902"/>
                </a:moveTo>
                <a:cubicBezTo>
                  <a:pt x="249837" y="8902"/>
                  <a:pt x="245165" y="13531"/>
                  <a:pt x="245165" y="18872"/>
                </a:cubicBezTo>
                <a:cubicBezTo>
                  <a:pt x="245165" y="24569"/>
                  <a:pt x="249837" y="29198"/>
                  <a:pt x="255588" y="29198"/>
                </a:cubicBezTo>
                <a:cubicBezTo>
                  <a:pt x="260980" y="29198"/>
                  <a:pt x="265652" y="24569"/>
                  <a:pt x="265652" y="18872"/>
                </a:cubicBezTo>
                <a:cubicBezTo>
                  <a:pt x="265652" y="13531"/>
                  <a:pt x="260980" y="8902"/>
                  <a:pt x="255588" y="8902"/>
                </a:cubicBezTo>
                <a:close/>
                <a:moveTo>
                  <a:pt x="32978" y="8902"/>
                </a:moveTo>
                <a:cubicBezTo>
                  <a:pt x="27587" y="8902"/>
                  <a:pt x="22914" y="13531"/>
                  <a:pt x="22914" y="18872"/>
                </a:cubicBezTo>
                <a:cubicBezTo>
                  <a:pt x="22914" y="24569"/>
                  <a:pt x="27587" y="29198"/>
                  <a:pt x="32978" y="29198"/>
                </a:cubicBezTo>
                <a:cubicBezTo>
                  <a:pt x="38729" y="29198"/>
                  <a:pt x="43402" y="24569"/>
                  <a:pt x="43402" y="18872"/>
                </a:cubicBezTo>
                <a:cubicBezTo>
                  <a:pt x="43402" y="13531"/>
                  <a:pt x="38729" y="8902"/>
                  <a:pt x="32978" y="8902"/>
                </a:cubicBezTo>
                <a:close/>
                <a:moveTo>
                  <a:pt x="133521" y="6815"/>
                </a:moveTo>
                <a:cubicBezTo>
                  <a:pt x="154896" y="5078"/>
                  <a:pt x="176676" y="8197"/>
                  <a:pt x="197102" y="16393"/>
                </a:cubicBezTo>
                <a:lnTo>
                  <a:pt x="201078" y="8553"/>
                </a:lnTo>
                <a:lnTo>
                  <a:pt x="215539" y="30292"/>
                </a:lnTo>
                <a:lnTo>
                  <a:pt x="189149" y="31717"/>
                </a:lnTo>
                <a:lnTo>
                  <a:pt x="193487" y="23877"/>
                </a:lnTo>
                <a:cubicBezTo>
                  <a:pt x="155167" y="9266"/>
                  <a:pt x="112147" y="12829"/>
                  <a:pt x="77080" y="33856"/>
                </a:cubicBezTo>
                <a:cubicBezTo>
                  <a:pt x="76357" y="34212"/>
                  <a:pt x="75634" y="34568"/>
                  <a:pt x="74911" y="34568"/>
                </a:cubicBezTo>
                <a:cubicBezTo>
                  <a:pt x="73465" y="34568"/>
                  <a:pt x="72019" y="33856"/>
                  <a:pt x="70935" y="32430"/>
                </a:cubicBezTo>
                <a:cubicBezTo>
                  <a:pt x="69850" y="30292"/>
                  <a:pt x="70212" y="27441"/>
                  <a:pt x="72381" y="26372"/>
                </a:cubicBezTo>
                <a:cubicBezTo>
                  <a:pt x="91179" y="15146"/>
                  <a:pt x="112147" y="8553"/>
                  <a:pt x="133521" y="6815"/>
                </a:cubicBezTo>
                <a:close/>
                <a:moveTo>
                  <a:pt x="255588" y="0"/>
                </a:moveTo>
                <a:cubicBezTo>
                  <a:pt x="266012" y="0"/>
                  <a:pt x="274279" y="8546"/>
                  <a:pt x="274279" y="18872"/>
                </a:cubicBezTo>
                <a:cubicBezTo>
                  <a:pt x="274279" y="29198"/>
                  <a:pt x="266012" y="37744"/>
                  <a:pt x="255588" y="37744"/>
                </a:cubicBezTo>
                <a:cubicBezTo>
                  <a:pt x="245165" y="37744"/>
                  <a:pt x="236538" y="29198"/>
                  <a:pt x="236538" y="18872"/>
                </a:cubicBezTo>
                <a:cubicBezTo>
                  <a:pt x="236538" y="8546"/>
                  <a:pt x="245165" y="0"/>
                  <a:pt x="255588" y="0"/>
                </a:cubicBezTo>
                <a:close/>
                <a:moveTo>
                  <a:pt x="32978" y="0"/>
                </a:moveTo>
                <a:cubicBezTo>
                  <a:pt x="43402" y="0"/>
                  <a:pt x="52028" y="8546"/>
                  <a:pt x="52028" y="18872"/>
                </a:cubicBezTo>
                <a:cubicBezTo>
                  <a:pt x="52028" y="29198"/>
                  <a:pt x="43402" y="37744"/>
                  <a:pt x="32978" y="37744"/>
                </a:cubicBezTo>
                <a:cubicBezTo>
                  <a:pt x="22555" y="37744"/>
                  <a:pt x="14288" y="29198"/>
                  <a:pt x="14288" y="18872"/>
                </a:cubicBezTo>
                <a:cubicBezTo>
                  <a:pt x="14288" y="8546"/>
                  <a:pt x="22555" y="0"/>
                  <a:pt x="32978" y="0"/>
                </a:cubicBezTo>
                <a:close/>
              </a:path>
            </a:pathLst>
          </a:custGeom>
          <a:solidFill>
            <a:schemeClr val="tx2"/>
          </a:solidFill>
          <a:ln>
            <a:noFill/>
          </a:ln>
          <a:effectLst/>
        </p:spPr>
        <p:txBody>
          <a:bodyPr anchor="ctr"/>
          <a:lstStyle/>
          <a:p>
            <a:endParaRPr lang="en-US" sz="900" dirty="0">
              <a:latin typeface="Lato Light" panose="020F0502020204030203" pitchFamily="34" charset="0"/>
            </a:endParaRPr>
          </a:p>
        </p:txBody>
      </p:sp>
      <p:sp>
        <p:nvSpPr>
          <p:cNvPr id="69" name="Freeform 1031">
            <a:extLst>
              <a:ext uri="{FF2B5EF4-FFF2-40B4-BE49-F238E27FC236}">
                <a16:creationId xmlns:a16="http://schemas.microsoft.com/office/drawing/2014/main" id="{5A01FEBA-E4FE-3040-875E-0BE23360B5C5}"/>
              </a:ext>
            </a:extLst>
          </p:cNvPr>
          <p:cNvSpPr>
            <a:spLocks noChangeAspect="1" noChangeArrowheads="1"/>
          </p:cNvSpPr>
          <p:nvPr/>
        </p:nvSpPr>
        <p:spPr bwMode="auto">
          <a:xfrm>
            <a:off x="1579545" y="2513822"/>
            <a:ext cx="366916" cy="367464"/>
          </a:xfrm>
          <a:custGeom>
            <a:avLst/>
            <a:gdLst>
              <a:gd name="T0" fmla="*/ 68774937 w 293328"/>
              <a:gd name="T1" fmla="*/ 119643747 h 293328"/>
              <a:gd name="T2" fmla="*/ 77985361 w 293328"/>
              <a:gd name="T3" fmla="*/ 119643747 h 293328"/>
              <a:gd name="T4" fmla="*/ 79828350 w 293328"/>
              <a:gd name="T5" fmla="*/ 88042880 h 293328"/>
              <a:gd name="T6" fmla="*/ 81670393 w 293328"/>
              <a:gd name="T7" fmla="*/ 119643747 h 293328"/>
              <a:gd name="T8" fmla="*/ 90880933 w 293328"/>
              <a:gd name="T9" fmla="*/ 119643747 h 293328"/>
              <a:gd name="T10" fmla="*/ 68774937 w 293328"/>
              <a:gd name="T11" fmla="*/ 83169438 h 293328"/>
              <a:gd name="T12" fmla="*/ 81769808 w 293328"/>
              <a:gd name="T13" fmla="*/ 72036662 h 293328"/>
              <a:gd name="T14" fmla="*/ 77869883 w 293328"/>
              <a:gd name="T15" fmla="*/ 72036662 h 293328"/>
              <a:gd name="T16" fmla="*/ 79820244 w 293328"/>
              <a:gd name="T17" fmla="*/ 61024530 h 293328"/>
              <a:gd name="T18" fmla="*/ 79820244 w 293328"/>
              <a:gd name="T19" fmla="*/ 65025693 h 293328"/>
              <a:gd name="T20" fmla="*/ 79820244 w 293328"/>
              <a:gd name="T21" fmla="*/ 61024530 h 293328"/>
              <a:gd name="T22" fmla="*/ 81769808 w 293328"/>
              <a:gd name="T23" fmla="*/ 53313538 h 293328"/>
              <a:gd name="T24" fmla="*/ 77869883 w 293328"/>
              <a:gd name="T25" fmla="*/ 53313538 h 293328"/>
              <a:gd name="T26" fmla="*/ 41142411 w 293328"/>
              <a:gd name="T27" fmla="*/ 25155529 h 293328"/>
              <a:gd name="T28" fmla="*/ 65551253 w 293328"/>
              <a:gd name="T29" fmla="*/ 55026678 h 293328"/>
              <a:gd name="T30" fmla="*/ 68774937 w 293328"/>
              <a:gd name="T31" fmla="*/ 79238482 h 293328"/>
              <a:gd name="T32" fmla="*/ 90880933 w 293328"/>
              <a:gd name="T33" fmla="*/ 56284742 h 293328"/>
              <a:gd name="T34" fmla="*/ 94719662 w 293328"/>
              <a:gd name="T35" fmla="*/ 56284742 h 293328"/>
              <a:gd name="T36" fmla="*/ 97943104 w 293328"/>
              <a:gd name="T37" fmla="*/ 84898726 h 293328"/>
              <a:gd name="T38" fmla="*/ 101166843 w 293328"/>
              <a:gd name="T39" fmla="*/ 54555247 h 293328"/>
              <a:gd name="T40" fmla="*/ 71077972 w 293328"/>
              <a:gd name="T41" fmla="*/ 46065160 h 293328"/>
              <a:gd name="T42" fmla="*/ 45594413 w 293328"/>
              <a:gd name="T43" fmla="*/ 25155529 h 293328"/>
              <a:gd name="T44" fmla="*/ 79900704 w 293328"/>
              <a:gd name="T45" fmla="*/ 19856664 h 293328"/>
              <a:gd name="T46" fmla="*/ 79900704 w 293328"/>
              <a:gd name="T47" fmla="*/ 34077248 h 293328"/>
              <a:gd name="T48" fmla="*/ 79900704 w 293328"/>
              <a:gd name="T49" fmla="*/ 19856664 h 293328"/>
              <a:gd name="T50" fmla="*/ 90582629 w 293328"/>
              <a:gd name="T51" fmla="*/ 26889373 h 293328"/>
              <a:gd name="T52" fmla="*/ 69066944 w 293328"/>
              <a:gd name="T53" fmla="*/ 26889373 h 293328"/>
              <a:gd name="T54" fmla="*/ 1841582 w 293328"/>
              <a:gd name="T55" fmla="*/ 0 h 293328"/>
              <a:gd name="T56" fmla="*/ 125114871 w 293328"/>
              <a:gd name="T57" fmla="*/ 2044476 h 293328"/>
              <a:gd name="T58" fmla="*/ 117592766 w 293328"/>
              <a:gd name="T59" fmla="*/ 3930422 h 293328"/>
              <a:gd name="T60" fmla="*/ 115597421 w 293328"/>
              <a:gd name="T61" fmla="*/ 73735681 h 293328"/>
              <a:gd name="T62" fmla="*/ 105004974 w 293328"/>
              <a:gd name="T63" fmla="*/ 81754117 h 293328"/>
              <a:gd name="T64" fmla="*/ 94719662 w 293328"/>
              <a:gd name="T65" fmla="*/ 88042880 h 293328"/>
              <a:gd name="T66" fmla="*/ 86275502 w 293328"/>
              <a:gd name="T67" fmla="*/ 128133161 h 293328"/>
              <a:gd name="T68" fmla="*/ 73380249 w 293328"/>
              <a:gd name="T69" fmla="*/ 128133161 h 293328"/>
              <a:gd name="T70" fmla="*/ 64937487 w 293328"/>
              <a:gd name="T71" fmla="*/ 62730148 h 293328"/>
              <a:gd name="T72" fmla="*/ 38379011 w 293328"/>
              <a:gd name="T73" fmla="*/ 32544374 h 293328"/>
              <a:gd name="T74" fmla="*/ 48357047 w 293328"/>
              <a:gd name="T75" fmla="*/ 22325141 h 293328"/>
              <a:gd name="T76" fmla="*/ 71077972 w 293328"/>
              <a:gd name="T77" fmla="*/ 42134862 h 293328"/>
              <a:gd name="T78" fmla="*/ 105004974 w 293328"/>
              <a:gd name="T79" fmla="*/ 54555247 h 293328"/>
              <a:gd name="T80" fmla="*/ 113755352 w 293328"/>
              <a:gd name="T81" fmla="*/ 69962757 h 293328"/>
              <a:gd name="T82" fmla="*/ 11360453 w 293328"/>
              <a:gd name="T83" fmla="*/ 3930422 h 293328"/>
              <a:gd name="T84" fmla="*/ 59103376 w 293328"/>
              <a:gd name="T85" fmla="*/ 69962757 h 293328"/>
              <a:gd name="T86" fmla="*/ 59103376 w 293328"/>
              <a:gd name="T87" fmla="*/ 73735681 h 293328"/>
              <a:gd name="T88" fmla="*/ 7522971 w 293328"/>
              <a:gd name="T89" fmla="*/ 71849273 h 293328"/>
              <a:gd name="T90" fmla="*/ 1841582 w 293328"/>
              <a:gd name="T91" fmla="*/ 3930422 h 293328"/>
              <a:gd name="T92" fmla="*/ 1841582 w 293328"/>
              <a:gd name="T93" fmla="*/ 0 h 2933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93328" h="293328">
                <a:moveTo>
                  <a:pt x="161240" y="190394"/>
                </a:moveTo>
                <a:lnTo>
                  <a:pt x="161240" y="273893"/>
                </a:lnTo>
                <a:cubicBezTo>
                  <a:pt x="161240" y="279652"/>
                  <a:pt x="165919" y="284690"/>
                  <a:pt x="172038" y="284690"/>
                </a:cubicBezTo>
                <a:cubicBezTo>
                  <a:pt x="177796" y="284690"/>
                  <a:pt x="182835" y="279652"/>
                  <a:pt x="182835" y="273893"/>
                </a:cubicBezTo>
                <a:lnTo>
                  <a:pt x="182835" y="205870"/>
                </a:lnTo>
                <a:cubicBezTo>
                  <a:pt x="182835" y="203350"/>
                  <a:pt x="184635" y="201551"/>
                  <a:pt x="187154" y="201551"/>
                </a:cubicBezTo>
                <a:cubicBezTo>
                  <a:pt x="189674" y="201551"/>
                  <a:pt x="191473" y="203350"/>
                  <a:pt x="191473" y="205870"/>
                </a:cubicBezTo>
                <a:lnTo>
                  <a:pt x="191473" y="273893"/>
                </a:lnTo>
                <a:cubicBezTo>
                  <a:pt x="191473" y="279652"/>
                  <a:pt x="196512" y="284690"/>
                  <a:pt x="202270" y="284690"/>
                </a:cubicBezTo>
                <a:cubicBezTo>
                  <a:pt x="208389" y="284690"/>
                  <a:pt x="213068" y="279652"/>
                  <a:pt x="213068" y="273893"/>
                </a:cubicBezTo>
                <a:lnTo>
                  <a:pt x="213068" y="190394"/>
                </a:lnTo>
                <a:lnTo>
                  <a:pt x="161240" y="190394"/>
                </a:lnTo>
                <a:close/>
                <a:moveTo>
                  <a:pt x="187135" y="160338"/>
                </a:moveTo>
                <a:cubicBezTo>
                  <a:pt x="189802" y="160338"/>
                  <a:pt x="191707" y="162624"/>
                  <a:pt x="191707" y="164910"/>
                </a:cubicBezTo>
                <a:cubicBezTo>
                  <a:pt x="191707" y="167577"/>
                  <a:pt x="189802" y="169482"/>
                  <a:pt x="187135" y="169482"/>
                </a:cubicBezTo>
                <a:cubicBezTo>
                  <a:pt x="184468" y="169482"/>
                  <a:pt x="182563" y="167577"/>
                  <a:pt x="182563" y="164910"/>
                </a:cubicBezTo>
                <a:cubicBezTo>
                  <a:pt x="182563" y="162243"/>
                  <a:pt x="184468" y="160338"/>
                  <a:pt x="187135" y="160338"/>
                </a:cubicBezTo>
                <a:close/>
                <a:moveTo>
                  <a:pt x="187135" y="139700"/>
                </a:moveTo>
                <a:cubicBezTo>
                  <a:pt x="189802" y="139700"/>
                  <a:pt x="191707" y="141532"/>
                  <a:pt x="191707" y="144096"/>
                </a:cubicBezTo>
                <a:cubicBezTo>
                  <a:pt x="191707" y="146661"/>
                  <a:pt x="189802" y="148859"/>
                  <a:pt x="187135" y="148859"/>
                </a:cubicBezTo>
                <a:cubicBezTo>
                  <a:pt x="184468" y="148859"/>
                  <a:pt x="182563" y="146661"/>
                  <a:pt x="182563" y="144096"/>
                </a:cubicBezTo>
                <a:cubicBezTo>
                  <a:pt x="182563" y="141532"/>
                  <a:pt x="184468" y="139700"/>
                  <a:pt x="187135" y="139700"/>
                </a:cubicBezTo>
                <a:close/>
                <a:moveTo>
                  <a:pt x="187135" y="117475"/>
                </a:moveTo>
                <a:cubicBezTo>
                  <a:pt x="189802" y="117475"/>
                  <a:pt x="191707" y="119761"/>
                  <a:pt x="191707" y="122047"/>
                </a:cubicBezTo>
                <a:cubicBezTo>
                  <a:pt x="191707" y="124714"/>
                  <a:pt x="189802" y="126619"/>
                  <a:pt x="187135" y="126619"/>
                </a:cubicBezTo>
                <a:cubicBezTo>
                  <a:pt x="184468" y="126619"/>
                  <a:pt x="182563" y="124714"/>
                  <a:pt x="182563" y="122047"/>
                </a:cubicBezTo>
                <a:cubicBezTo>
                  <a:pt x="182563" y="119761"/>
                  <a:pt x="184468" y="117475"/>
                  <a:pt x="187135" y="117475"/>
                </a:cubicBezTo>
                <a:close/>
                <a:moveTo>
                  <a:pt x="96456" y="57586"/>
                </a:moveTo>
                <a:cubicBezTo>
                  <a:pt x="93577" y="60465"/>
                  <a:pt x="93577" y="65144"/>
                  <a:pt x="96456" y="68023"/>
                </a:cubicBezTo>
                <a:lnTo>
                  <a:pt x="153682" y="125969"/>
                </a:lnTo>
                <a:cubicBezTo>
                  <a:pt x="158361" y="130648"/>
                  <a:pt x="161240" y="136767"/>
                  <a:pt x="161240" y="143605"/>
                </a:cubicBezTo>
                <a:lnTo>
                  <a:pt x="161240" y="181396"/>
                </a:lnTo>
                <a:lnTo>
                  <a:pt x="213068" y="181396"/>
                </a:lnTo>
                <a:lnTo>
                  <a:pt x="213068" y="128849"/>
                </a:lnTo>
                <a:cubicBezTo>
                  <a:pt x="213068" y="126329"/>
                  <a:pt x="215227" y="124530"/>
                  <a:pt x="217387" y="124530"/>
                </a:cubicBezTo>
                <a:cubicBezTo>
                  <a:pt x="219906" y="124530"/>
                  <a:pt x="222066" y="126329"/>
                  <a:pt x="222066" y="128849"/>
                </a:cubicBezTo>
                <a:lnTo>
                  <a:pt x="222066" y="187154"/>
                </a:lnTo>
                <a:cubicBezTo>
                  <a:pt x="222066" y="191113"/>
                  <a:pt x="225305" y="194353"/>
                  <a:pt x="229624" y="194353"/>
                </a:cubicBezTo>
                <a:cubicBezTo>
                  <a:pt x="233943" y="194353"/>
                  <a:pt x="237182" y="191113"/>
                  <a:pt x="237182" y="187154"/>
                </a:cubicBezTo>
                <a:lnTo>
                  <a:pt x="237182" y="124890"/>
                </a:lnTo>
                <a:cubicBezTo>
                  <a:pt x="237182" y="114092"/>
                  <a:pt x="228184" y="105454"/>
                  <a:pt x="217387" y="105454"/>
                </a:cubicBezTo>
                <a:lnTo>
                  <a:pt x="166639" y="105454"/>
                </a:lnTo>
                <a:cubicBezTo>
                  <a:pt x="159081" y="105454"/>
                  <a:pt x="151883" y="102575"/>
                  <a:pt x="146124" y="96816"/>
                </a:cubicBezTo>
                <a:lnTo>
                  <a:pt x="106894" y="57586"/>
                </a:lnTo>
                <a:cubicBezTo>
                  <a:pt x="104014" y="54706"/>
                  <a:pt x="98976" y="54706"/>
                  <a:pt x="96456" y="57586"/>
                </a:cubicBezTo>
                <a:close/>
                <a:moveTo>
                  <a:pt x="187325" y="45456"/>
                </a:moveTo>
                <a:cubicBezTo>
                  <a:pt x="178381" y="45456"/>
                  <a:pt x="170869" y="52611"/>
                  <a:pt x="170869" y="61555"/>
                </a:cubicBezTo>
                <a:cubicBezTo>
                  <a:pt x="170869" y="70856"/>
                  <a:pt x="178381" y="78011"/>
                  <a:pt x="187325" y="78011"/>
                </a:cubicBezTo>
                <a:cubicBezTo>
                  <a:pt x="196269" y="78011"/>
                  <a:pt x="203781" y="70856"/>
                  <a:pt x="203781" y="61555"/>
                </a:cubicBezTo>
                <a:cubicBezTo>
                  <a:pt x="203781" y="52611"/>
                  <a:pt x="196269" y="45456"/>
                  <a:pt x="187325" y="45456"/>
                </a:cubicBezTo>
                <a:close/>
                <a:moveTo>
                  <a:pt x="187325" y="36513"/>
                </a:moveTo>
                <a:cubicBezTo>
                  <a:pt x="201277" y="36513"/>
                  <a:pt x="212367" y="47961"/>
                  <a:pt x="212367" y="61555"/>
                </a:cubicBezTo>
                <a:cubicBezTo>
                  <a:pt x="212367" y="75507"/>
                  <a:pt x="201277" y="86955"/>
                  <a:pt x="187325" y="86955"/>
                </a:cubicBezTo>
                <a:cubicBezTo>
                  <a:pt x="173373" y="86955"/>
                  <a:pt x="161925" y="75507"/>
                  <a:pt x="161925" y="61555"/>
                </a:cubicBezTo>
                <a:cubicBezTo>
                  <a:pt x="161925" y="47961"/>
                  <a:pt x="173373" y="36513"/>
                  <a:pt x="187325" y="36513"/>
                </a:cubicBezTo>
                <a:close/>
                <a:moveTo>
                  <a:pt x="4319" y="0"/>
                </a:moveTo>
                <a:lnTo>
                  <a:pt x="289009" y="0"/>
                </a:lnTo>
                <a:cubicBezTo>
                  <a:pt x="291529" y="0"/>
                  <a:pt x="293328" y="1799"/>
                  <a:pt x="293328" y="4679"/>
                </a:cubicBezTo>
                <a:cubicBezTo>
                  <a:pt x="293328" y="6838"/>
                  <a:pt x="291529" y="8998"/>
                  <a:pt x="289009" y="8998"/>
                </a:cubicBezTo>
                <a:lnTo>
                  <a:pt x="275692" y="8998"/>
                </a:lnTo>
                <a:lnTo>
                  <a:pt x="275692" y="164480"/>
                </a:lnTo>
                <a:cubicBezTo>
                  <a:pt x="275692" y="166999"/>
                  <a:pt x="273893" y="168799"/>
                  <a:pt x="271014" y="168799"/>
                </a:cubicBezTo>
                <a:lnTo>
                  <a:pt x="246180" y="168799"/>
                </a:lnTo>
                <a:lnTo>
                  <a:pt x="246180" y="187154"/>
                </a:lnTo>
                <a:cubicBezTo>
                  <a:pt x="246180" y="196152"/>
                  <a:pt x="238622" y="203710"/>
                  <a:pt x="229624" y="203710"/>
                </a:cubicBezTo>
                <a:cubicBezTo>
                  <a:pt x="226744" y="203710"/>
                  <a:pt x="224225" y="202631"/>
                  <a:pt x="222066" y="201551"/>
                </a:cubicBezTo>
                <a:lnTo>
                  <a:pt x="222066" y="273893"/>
                </a:lnTo>
                <a:cubicBezTo>
                  <a:pt x="222066" y="284690"/>
                  <a:pt x="213068" y="293328"/>
                  <a:pt x="202270" y="293328"/>
                </a:cubicBezTo>
                <a:cubicBezTo>
                  <a:pt x="196152" y="293328"/>
                  <a:pt x="190753" y="290449"/>
                  <a:pt x="187154" y="286130"/>
                </a:cubicBezTo>
                <a:cubicBezTo>
                  <a:pt x="183555" y="290449"/>
                  <a:pt x="178156" y="293328"/>
                  <a:pt x="172038" y="293328"/>
                </a:cubicBezTo>
                <a:cubicBezTo>
                  <a:pt x="161240" y="293328"/>
                  <a:pt x="152243" y="284690"/>
                  <a:pt x="152243" y="273893"/>
                </a:cubicBezTo>
                <a:lnTo>
                  <a:pt x="152243" y="143605"/>
                </a:lnTo>
                <a:cubicBezTo>
                  <a:pt x="152243" y="139286"/>
                  <a:pt x="150443" y="135327"/>
                  <a:pt x="147204" y="132088"/>
                </a:cubicBezTo>
                <a:lnTo>
                  <a:pt x="89978" y="74501"/>
                </a:lnTo>
                <a:cubicBezTo>
                  <a:pt x="83859" y="68023"/>
                  <a:pt x="83859" y="57586"/>
                  <a:pt x="89978" y="51107"/>
                </a:cubicBezTo>
                <a:cubicBezTo>
                  <a:pt x="96456" y="44989"/>
                  <a:pt x="106894" y="44989"/>
                  <a:pt x="113372" y="51107"/>
                </a:cubicBezTo>
                <a:lnTo>
                  <a:pt x="152603" y="90698"/>
                </a:lnTo>
                <a:cubicBezTo>
                  <a:pt x="156562" y="94297"/>
                  <a:pt x="161600" y="96456"/>
                  <a:pt x="166639" y="96456"/>
                </a:cubicBezTo>
                <a:lnTo>
                  <a:pt x="217387" y="96456"/>
                </a:lnTo>
                <a:cubicBezTo>
                  <a:pt x="233223" y="96456"/>
                  <a:pt x="246180" y="109053"/>
                  <a:pt x="246180" y="124890"/>
                </a:cubicBezTo>
                <a:lnTo>
                  <a:pt x="246180" y="160161"/>
                </a:lnTo>
                <a:lnTo>
                  <a:pt x="266695" y="160161"/>
                </a:lnTo>
                <a:lnTo>
                  <a:pt x="266695" y="8998"/>
                </a:lnTo>
                <a:lnTo>
                  <a:pt x="26633" y="8998"/>
                </a:lnTo>
                <a:lnTo>
                  <a:pt x="26633" y="160161"/>
                </a:lnTo>
                <a:lnTo>
                  <a:pt x="138566" y="160161"/>
                </a:lnTo>
                <a:cubicBezTo>
                  <a:pt x="141085" y="160161"/>
                  <a:pt x="143245" y="161961"/>
                  <a:pt x="143245" y="164480"/>
                </a:cubicBezTo>
                <a:cubicBezTo>
                  <a:pt x="143245" y="166999"/>
                  <a:pt x="141085" y="168799"/>
                  <a:pt x="138566" y="168799"/>
                </a:cubicBezTo>
                <a:lnTo>
                  <a:pt x="22314" y="168799"/>
                </a:lnTo>
                <a:cubicBezTo>
                  <a:pt x="19795" y="168799"/>
                  <a:pt x="17636" y="166999"/>
                  <a:pt x="17636" y="164480"/>
                </a:cubicBezTo>
                <a:lnTo>
                  <a:pt x="17636" y="8998"/>
                </a:lnTo>
                <a:lnTo>
                  <a:pt x="4319" y="8998"/>
                </a:lnTo>
                <a:cubicBezTo>
                  <a:pt x="1799" y="8998"/>
                  <a:pt x="0" y="6838"/>
                  <a:pt x="0" y="4679"/>
                </a:cubicBezTo>
                <a:cubicBezTo>
                  <a:pt x="0" y="1799"/>
                  <a:pt x="1799" y="0"/>
                  <a:pt x="4319" y="0"/>
                </a:cubicBezTo>
                <a:close/>
              </a:path>
            </a:pathLst>
          </a:custGeom>
          <a:solidFill>
            <a:schemeClr val="tx2"/>
          </a:solidFill>
          <a:ln>
            <a:noFill/>
          </a:ln>
          <a:effectLst/>
        </p:spPr>
        <p:txBody>
          <a:bodyPr anchor="ctr"/>
          <a:lstStyle/>
          <a:p>
            <a:endParaRPr lang="en-US" sz="900" dirty="0">
              <a:latin typeface="Lato Light" panose="020F0502020204030203" pitchFamily="34" charset="0"/>
            </a:endParaRPr>
          </a:p>
        </p:txBody>
      </p:sp>
      <p:sp>
        <p:nvSpPr>
          <p:cNvPr id="40" name="Titel 1">
            <a:extLst>
              <a:ext uri="{FF2B5EF4-FFF2-40B4-BE49-F238E27FC236}">
                <a16:creationId xmlns:a16="http://schemas.microsoft.com/office/drawing/2014/main" id="{BC8E4080-3EB4-412B-8DA0-5D2F51B98DAF}"/>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Timeline slide</a:t>
            </a:r>
          </a:p>
        </p:txBody>
      </p:sp>
    </p:spTree>
    <p:custDataLst>
      <p:tags r:id="rId1"/>
    </p:custDataLst>
    <p:extLst>
      <p:ext uri="{BB962C8B-B14F-4D97-AF65-F5344CB8AC3E}">
        <p14:creationId xmlns:p14="http://schemas.microsoft.com/office/powerpoint/2010/main" val="20449819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Phone on orange">
            <a:extLst>
              <a:ext uri="{FF2B5EF4-FFF2-40B4-BE49-F238E27FC236}">
                <a16:creationId xmlns:a16="http://schemas.microsoft.com/office/drawing/2014/main" id="{E801F373-CD0C-4CD4-A001-99C2A7A4B42A}"/>
              </a:ext>
            </a:extLst>
          </p:cNvPr>
          <p:cNvPicPr>
            <a:picLocks noGrp="1" noChangeAspect="1"/>
          </p:cNvPicPr>
          <p:nvPr>
            <p:ph type="pic" sz="quarter" idx="13"/>
            <p:custDataLst>
              <p:tags r:id="rId1"/>
            </p:custDataLst>
          </p:nvPr>
        </p:nvPicPr>
        <p:blipFill>
          <a:blip r:embed="rId3">
            <a:extLst>
              <a:ext uri="{28A0092B-C50C-407E-A947-70E740481C1C}">
                <a14:useLocalDpi xmlns:a14="http://schemas.microsoft.com/office/drawing/2010/main" val="0"/>
              </a:ext>
            </a:extLst>
          </a:blip>
          <a:srcRect t="8408" b="8408"/>
          <a:stretch>
            <a:fillRect/>
          </a:stretch>
        </p:blipFill>
        <p:spPr>
          <a:xfrm>
            <a:off x="1" y="96839"/>
            <a:ext cx="12191345" cy="6760799"/>
          </a:xfrm>
          <a:prstGeom prst="rect">
            <a:avLst/>
          </a:prstGeom>
        </p:spPr>
      </p:pic>
      <p:sp>
        <p:nvSpPr>
          <p:cNvPr id="4" name="Text Placeholder 3">
            <a:extLst>
              <a:ext uri="{FF2B5EF4-FFF2-40B4-BE49-F238E27FC236}">
                <a16:creationId xmlns:a16="http://schemas.microsoft.com/office/drawing/2014/main" id="{BFB352BF-4C0C-41CF-982E-2165F5906E1A}"/>
              </a:ext>
            </a:extLst>
          </p:cNvPr>
          <p:cNvSpPr>
            <a:spLocks noGrp="1"/>
          </p:cNvSpPr>
          <p:nvPr>
            <p:ph type="body" sz="quarter" idx="14"/>
          </p:nvPr>
        </p:nvSpPr>
        <p:spPr>
          <a:xfrm>
            <a:off x="0" y="3914775"/>
            <a:ext cx="8737969" cy="738664"/>
          </a:xfrm>
        </p:spPr>
        <p:txBody>
          <a:bodyPr/>
          <a:lstStyle/>
          <a:p>
            <a:r>
              <a:rPr lang="de-DE" dirty="0"/>
              <a:t>Slides with device mockups</a:t>
            </a:r>
            <a:endParaRPr lang="en-US" dirty="0"/>
          </a:p>
        </p:txBody>
      </p:sp>
    </p:spTree>
    <p:extLst>
      <p:ext uri="{BB962C8B-B14F-4D97-AF65-F5344CB8AC3E}">
        <p14:creationId xmlns:p14="http://schemas.microsoft.com/office/powerpoint/2010/main" val="1579967482"/>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9C5E7C7-68E5-1544-9756-5CD2D514B8EA}"/>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l="7946" t="17609" r="7980" b="19410"/>
          <a:stretch/>
        </p:blipFill>
        <p:spPr>
          <a:xfrm>
            <a:off x="-329271" y="1503361"/>
            <a:ext cx="6731685" cy="5042860"/>
          </a:xfrm>
          <a:prstGeom prst="rect">
            <a:avLst/>
          </a:prstGeom>
        </p:spPr>
      </p:pic>
      <p:sp>
        <p:nvSpPr>
          <p:cNvPr id="24" name="TextBox 23">
            <a:extLst>
              <a:ext uri="{FF2B5EF4-FFF2-40B4-BE49-F238E27FC236}">
                <a16:creationId xmlns:a16="http://schemas.microsoft.com/office/drawing/2014/main" id="{1710E77C-EA0B-6645-8BB1-0B891F9CFE67}"/>
              </a:ext>
            </a:extLst>
          </p:cNvPr>
          <p:cNvSpPr txBox="1"/>
          <p:nvPr/>
        </p:nvSpPr>
        <p:spPr>
          <a:xfrm>
            <a:off x="7147353" y="1618344"/>
            <a:ext cx="413896" cy="861774"/>
          </a:xfrm>
          <a:prstGeom prst="rect">
            <a:avLst/>
          </a:prstGeom>
          <a:noFill/>
        </p:spPr>
        <p:txBody>
          <a:bodyPr wrap="none" rtlCol="0">
            <a:spAutoFit/>
          </a:bodyPr>
          <a:lstStyle/>
          <a:p>
            <a:r>
              <a:rPr lang="en-US" sz="5000" b="1" dirty="0">
                <a:gradFill>
                  <a:gsLst>
                    <a:gs pos="0">
                      <a:schemeClr val="accent1">
                        <a:alpha val="25000"/>
                      </a:schemeClr>
                    </a:gs>
                    <a:gs pos="50000">
                      <a:schemeClr val="accent2">
                        <a:alpha val="25000"/>
                      </a:schemeClr>
                    </a:gs>
                    <a:gs pos="100000">
                      <a:schemeClr val="accent3">
                        <a:alpha val="25000"/>
                      </a:schemeClr>
                    </a:gs>
                  </a:gsLst>
                  <a:lin ang="2700000" scaled="0"/>
                </a:gradFill>
                <a:latin typeface="Segoe UI Light" panose="020B0502040204020203" pitchFamily="34" charset="0"/>
              </a:rPr>
              <a:t>1</a:t>
            </a:r>
          </a:p>
        </p:txBody>
      </p:sp>
      <p:sp>
        <p:nvSpPr>
          <p:cNvPr id="25" name="TextBox 24">
            <a:extLst>
              <a:ext uri="{FF2B5EF4-FFF2-40B4-BE49-F238E27FC236}">
                <a16:creationId xmlns:a16="http://schemas.microsoft.com/office/drawing/2014/main" id="{EAC19258-1B57-D749-80D2-EF79E38F2DED}"/>
              </a:ext>
            </a:extLst>
          </p:cNvPr>
          <p:cNvSpPr txBox="1"/>
          <p:nvPr/>
        </p:nvSpPr>
        <p:spPr>
          <a:xfrm>
            <a:off x="7271850" y="1876122"/>
            <a:ext cx="1278042" cy="338554"/>
          </a:xfrm>
          <a:prstGeom prst="rect">
            <a:avLst/>
          </a:prstGeom>
          <a:noFill/>
          <a:ln>
            <a:noFill/>
          </a:ln>
        </p:spPr>
        <p:txBody>
          <a:bodyPr wrap="none" rtlCol="0" anchor="b">
            <a:spAutoFit/>
          </a:bodyPr>
          <a:lstStyle/>
          <a:p>
            <a:r>
              <a:rPr lang="en-US" sz="1600" b="1" spc="75" dirty="0">
                <a:solidFill>
                  <a:schemeClr val="tx2"/>
                </a:solidFill>
                <a:latin typeface="Segoe UI Light" panose="020B0502040204020203" pitchFamily="34" charset="0"/>
                <a:ea typeface="Source Sans Pro" panose="020B0503030403020204" pitchFamily="34" charset="0"/>
                <a:cs typeface="Lato Heavy" panose="020F0502020204030203" pitchFamily="34" charset="0"/>
              </a:rPr>
              <a:t>FEATURE 01</a:t>
            </a:r>
          </a:p>
        </p:txBody>
      </p:sp>
      <p:sp>
        <p:nvSpPr>
          <p:cNvPr id="26" name="Subtitle 2">
            <a:extLst>
              <a:ext uri="{FF2B5EF4-FFF2-40B4-BE49-F238E27FC236}">
                <a16:creationId xmlns:a16="http://schemas.microsoft.com/office/drawing/2014/main" id="{EC95D21F-D005-7C41-8DB6-257B34A653D4}"/>
              </a:ext>
            </a:extLst>
          </p:cNvPr>
          <p:cNvSpPr txBox="1">
            <a:spLocks/>
          </p:cNvSpPr>
          <p:nvPr/>
        </p:nvSpPr>
        <p:spPr>
          <a:xfrm>
            <a:off x="7271850" y="2251592"/>
            <a:ext cx="4158151" cy="48494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a:t>
            </a:r>
          </a:p>
        </p:txBody>
      </p:sp>
      <p:sp>
        <p:nvSpPr>
          <p:cNvPr id="27" name="TextBox 26">
            <a:extLst>
              <a:ext uri="{FF2B5EF4-FFF2-40B4-BE49-F238E27FC236}">
                <a16:creationId xmlns:a16="http://schemas.microsoft.com/office/drawing/2014/main" id="{4AE73A1C-D3EF-7945-BB2E-38C8A1A902D0}"/>
              </a:ext>
            </a:extLst>
          </p:cNvPr>
          <p:cNvSpPr txBox="1"/>
          <p:nvPr/>
        </p:nvSpPr>
        <p:spPr>
          <a:xfrm>
            <a:off x="7147353" y="3390987"/>
            <a:ext cx="514885" cy="861774"/>
          </a:xfrm>
          <a:prstGeom prst="rect">
            <a:avLst/>
          </a:prstGeom>
          <a:noFill/>
        </p:spPr>
        <p:txBody>
          <a:bodyPr wrap="none" rtlCol="0">
            <a:spAutoFit/>
          </a:bodyPr>
          <a:lstStyle/>
          <a:p>
            <a:r>
              <a:rPr lang="en-US" sz="5000" b="1" dirty="0">
                <a:gradFill>
                  <a:gsLst>
                    <a:gs pos="0">
                      <a:schemeClr val="accent1">
                        <a:alpha val="25000"/>
                      </a:schemeClr>
                    </a:gs>
                    <a:gs pos="50000">
                      <a:schemeClr val="accent2">
                        <a:alpha val="25000"/>
                      </a:schemeClr>
                    </a:gs>
                    <a:gs pos="100000">
                      <a:schemeClr val="accent3">
                        <a:alpha val="25000"/>
                      </a:schemeClr>
                    </a:gs>
                  </a:gsLst>
                  <a:lin ang="2700000" scaled="0"/>
                </a:gradFill>
                <a:latin typeface="Segoe UI Light" panose="020B0502040204020203" pitchFamily="34" charset="0"/>
              </a:rPr>
              <a:t>2</a:t>
            </a:r>
          </a:p>
        </p:txBody>
      </p:sp>
      <p:sp>
        <p:nvSpPr>
          <p:cNvPr id="28" name="TextBox 27">
            <a:extLst>
              <a:ext uri="{FF2B5EF4-FFF2-40B4-BE49-F238E27FC236}">
                <a16:creationId xmlns:a16="http://schemas.microsoft.com/office/drawing/2014/main" id="{E5DA2E73-0270-E746-95D5-8551A377EAE3}"/>
              </a:ext>
            </a:extLst>
          </p:cNvPr>
          <p:cNvSpPr txBox="1"/>
          <p:nvPr/>
        </p:nvSpPr>
        <p:spPr>
          <a:xfrm>
            <a:off x="7271850" y="3648765"/>
            <a:ext cx="1310102" cy="338554"/>
          </a:xfrm>
          <a:prstGeom prst="rect">
            <a:avLst/>
          </a:prstGeom>
          <a:noFill/>
          <a:ln>
            <a:noFill/>
          </a:ln>
        </p:spPr>
        <p:txBody>
          <a:bodyPr wrap="none" rtlCol="0" anchor="b">
            <a:spAutoFit/>
          </a:bodyPr>
          <a:lstStyle/>
          <a:p>
            <a:r>
              <a:rPr lang="en-US" sz="1600" b="1" spc="75" dirty="0">
                <a:solidFill>
                  <a:schemeClr val="tx2"/>
                </a:solidFill>
                <a:latin typeface="Segoe UI Light" panose="020B0502040204020203" pitchFamily="34" charset="0"/>
                <a:ea typeface="Source Sans Pro" panose="020B0503030403020204" pitchFamily="34" charset="0"/>
                <a:cs typeface="Lato Heavy" panose="020F0502020204030203" pitchFamily="34" charset="0"/>
              </a:rPr>
              <a:t>FEATURE 02</a:t>
            </a:r>
          </a:p>
        </p:txBody>
      </p:sp>
      <p:sp>
        <p:nvSpPr>
          <p:cNvPr id="31" name="Subtitle 2">
            <a:extLst>
              <a:ext uri="{FF2B5EF4-FFF2-40B4-BE49-F238E27FC236}">
                <a16:creationId xmlns:a16="http://schemas.microsoft.com/office/drawing/2014/main" id="{1B4C7DAB-21F7-E447-9D7D-92CED4A0B32E}"/>
              </a:ext>
            </a:extLst>
          </p:cNvPr>
          <p:cNvSpPr txBox="1">
            <a:spLocks/>
          </p:cNvSpPr>
          <p:nvPr/>
        </p:nvSpPr>
        <p:spPr>
          <a:xfrm>
            <a:off x="7271850" y="4024235"/>
            <a:ext cx="4158150" cy="48494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a:t>
            </a:r>
          </a:p>
        </p:txBody>
      </p:sp>
      <p:sp>
        <p:nvSpPr>
          <p:cNvPr id="32" name="TextBox 31">
            <a:extLst>
              <a:ext uri="{FF2B5EF4-FFF2-40B4-BE49-F238E27FC236}">
                <a16:creationId xmlns:a16="http://schemas.microsoft.com/office/drawing/2014/main" id="{0DB4673E-4ADE-774D-B0FF-8FBC72FF592C}"/>
              </a:ext>
            </a:extLst>
          </p:cNvPr>
          <p:cNvSpPr txBox="1"/>
          <p:nvPr/>
        </p:nvSpPr>
        <p:spPr>
          <a:xfrm>
            <a:off x="7147353" y="5163630"/>
            <a:ext cx="514885" cy="861774"/>
          </a:xfrm>
          <a:prstGeom prst="rect">
            <a:avLst/>
          </a:prstGeom>
          <a:noFill/>
        </p:spPr>
        <p:txBody>
          <a:bodyPr wrap="none" rtlCol="0">
            <a:spAutoFit/>
          </a:bodyPr>
          <a:lstStyle/>
          <a:p>
            <a:r>
              <a:rPr lang="en-US" sz="5000" b="1" dirty="0">
                <a:gradFill>
                  <a:gsLst>
                    <a:gs pos="0">
                      <a:schemeClr val="accent1">
                        <a:alpha val="25000"/>
                      </a:schemeClr>
                    </a:gs>
                    <a:gs pos="50000">
                      <a:schemeClr val="accent2">
                        <a:alpha val="25000"/>
                      </a:schemeClr>
                    </a:gs>
                    <a:gs pos="100000">
                      <a:schemeClr val="accent3">
                        <a:alpha val="25000"/>
                      </a:schemeClr>
                    </a:gs>
                  </a:gsLst>
                  <a:lin ang="2700000" scaled="0"/>
                </a:gradFill>
                <a:latin typeface="Segoe UI Light" panose="020B0502040204020203" pitchFamily="34" charset="0"/>
              </a:rPr>
              <a:t>3</a:t>
            </a:r>
          </a:p>
        </p:txBody>
      </p:sp>
      <p:sp>
        <p:nvSpPr>
          <p:cNvPr id="33" name="TextBox 32">
            <a:extLst>
              <a:ext uri="{FF2B5EF4-FFF2-40B4-BE49-F238E27FC236}">
                <a16:creationId xmlns:a16="http://schemas.microsoft.com/office/drawing/2014/main" id="{C12480AF-5EB4-454C-9813-8D35600E96DE}"/>
              </a:ext>
            </a:extLst>
          </p:cNvPr>
          <p:cNvSpPr txBox="1"/>
          <p:nvPr/>
        </p:nvSpPr>
        <p:spPr>
          <a:xfrm>
            <a:off x="7271850" y="5421408"/>
            <a:ext cx="1310102" cy="338554"/>
          </a:xfrm>
          <a:prstGeom prst="rect">
            <a:avLst/>
          </a:prstGeom>
          <a:noFill/>
          <a:ln>
            <a:noFill/>
          </a:ln>
        </p:spPr>
        <p:txBody>
          <a:bodyPr wrap="none" rtlCol="0" anchor="b">
            <a:spAutoFit/>
          </a:bodyPr>
          <a:lstStyle/>
          <a:p>
            <a:r>
              <a:rPr lang="en-US" sz="1600" b="1" spc="75" dirty="0">
                <a:solidFill>
                  <a:schemeClr val="tx2"/>
                </a:solidFill>
                <a:latin typeface="Segoe UI Light" panose="020B0502040204020203" pitchFamily="34" charset="0"/>
                <a:ea typeface="Source Sans Pro" panose="020B0503030403020204" pitchFamily="34" charset="0"/>
                <a:cs typeface="Lato Heavy" panose="020F0502020204030203" pitchFamily="34" charset="0"/>
              </a:rPr>
              <a:t>FEATURE 03</a:t>
            </a:r>
          </a:p>
        </p:txBody>
      </p:sp>
      <p:sp>
        <p:nvSpPr>
          <p:cNvPr id="34" name="Subtitle 2">
            <a:extLst>
              <a:ext uri="{FF2B5EF4-FFF2-40B4-BE49-F238E27FC236}">
                <a16:creationId xmlns:a16="http://schemas.microsoft.com/office/drawing/2014/main" id="{C077D341-FAE1-1A4B-8BC1-D05FB2DD684B}"/>
              </a:ext>
            </a:extLst>
          </p:cNvPr>
          <p:cNvSpPr txBox="1">
            <a:spLocks/>
          </p:cNvSpPr>
          <p:nvPr/>
        </p:nvSpPr>
        <p:spPr>
          <a:xfrm>
            <a:off x="7271850" y="5796878"/>
            <a:ext cx="4158150" cy="48494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a:t>
            </a:r>
          </a:p>
        </p:txBody>
      </p:sp>
      <p:sp>
        <p:nvSpPr>
          <p:cNvPr id="3" name="Picture Placeholder 2">
            <a:extLst>
              <a:ext uri="{FF2B5EF4-FFF2-40B4-BE49-F238E27FC236}">
                <a16:creationId xmlns:a16="http://schemas.microsoft.com/office/drawing/2014/main" id="{1D6781B4-BDB6-084F-A542-8493D68FAFF2}"/>
              </a:ext>
            </a:extLst>
          </p:cNvPr>
          <p:cNvSpPr>
            <a:spLocks noGrp="1"/>
          </p:cNvSpPr>
          <p:nvPr>
            <p:ph type="pic" sz="quarter" idx="10"/>
          </p:nvPr>
        </p:nvSpPr>
        <p:spPr/>
      </p:sp>
      <p:sp>
        <p:nvSpPr>
          <p:cNvPr id="15" name="Titel 1">
            <a:extLst>
              <a:ext uri="{FF2B5EF4-FFF2-40B4-BE49-F238E27FC236}">
                <a16:creationId xmlns:a16="http://schemas.microsoft.com/office/drawing/2014/main" id="{C9F97296-6F2A-4D91-9B6D-52F244FA90DA}"/>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Desktop features app</a:t>
            </a:r>
          </a:p>
        </p:txBody>
      </p:sp>
    </p:spTree>
    <p:custDataLst>
      <p:tags r:id="rId1"/>
    </p:custDataLst>
    <p:extLst>
      <p:ext uri="{BB962C8B-B14F-4D97-AF65-F5344CB8AC3E}">
        <p14:creationId xmlns:p14="http://schemas.microsoft.com/office/powerpoint/2010/main" val="375348601"/>
      </p:ext>
    </p:extLst>
  </p:cSld>
  <p:clrMapOvr>
    <a:masterClrMapping/>
  </p:clrMapOvr>
  <mc:AlternateContent xmlns:mc="http://schemas.openxmlformats.org/markup-compatibility/2006" xmlns:p14="http://schemas.microsoft.com/office/powerpoint/2010/main">
    <mc:Choice Requires="p14">
      <p:transition spd="med">
        <p14:pan/>
      </p:transition>
    </mc:Choice>
    <mc:Fallback xmlns:a14="http://schemas.microsoft.com/office/drawing/2010/main"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 name="Freeform 166">
            <a:extLst>
              <a:ext uri="{FF2B5EF4-FFF2-40B4-BE49-F238E27FC236}">
                <a16:creationId xmlns:a16="http://schemas.microsoft.com/office/drawing/2014/main" id="{193EF99C-5701-C84E-BEB4-8ADEC65E70E5}"/>
              </a:ext>
            </a:extLst>
          </p:cNvPr>
          <p:cNvSpPr>
            <a:spLocks noChangeArrowheads="1"/>
          </p:cNvSpPr>
          <p:nvPr/>
        </p:nvSpPr>
        <p:spPr bwMode="auto">
          <a:xfrm>
            <a:off x="878713" y="1534423"/>
            <a:ext cx="8470483" cy="924222"/>
          </a:xfrm>
          <a:custGeom>
            <a:avLst/>
            <a:gdLst>
              <a:gd name="connsiteX0" fmla="*/ 16479627 w 16940965"/>
              <a:gd name="connsiteY0" fmla="*/ 1610378 h 1848444"/>
              <a:gd name="connsiteX1" fmla="*/ 16396061 w 16940965"/>
              <a:gd name="connsiteY1" fmla="*/ 1694502 h 1848444"/>
              <a:gd name="connsiteX2" fmla="*/ 16479627 w 16940965"/>
              <a:gd name="connsiteY2" fmla="*/ 1778054 h 1848444"/>
              <a:gd name="connsiteX3" fmla="*/ 16563195 w 16940965"/>
              <a:gd name="connsiteY3" fmla="*/ 1694502 h 1848444"/>
              <a:gd name="connsiteX4" fmla="*/ 16479627 w 16940965"/>
              <a:gd name="connsiteY4" fmla="*/ 1610378 h 1848444"/>
              <a:gd name="connsiteX5" fmla="*/ 14699694 w 16940965"/>
              <a:gd name="connsiteY5" fmla="*/ 1610378 h 1848444"/>
              <a:gd name="connsiteX6" fmla="*/ 14616127 w 16940965"/>
              <a:gd name="connsiteY6" fmla="*/ 1694502 h 1848444"/>
              <a:gd name="connsiteX7" fmla="*/ 14699694 w 16940965"/>
              <a:gd name="connsiteY7" fmla="*/ 1778054 h 1848444"/>
              <a:gd name="connsiteX8" fmla="*/ 14783261 w 16940965"/>
              <a:gd name="connsiteY8" fmla="*/ 1694502 h 1848444"/>
              <a:gd name="connsiteX9" fmla="*/ 14699694 w 16940965"/>
              <a:gd name="connsiteY9" fmla="*/ 1610378 h 1848444"/>
              <a:gd name="connsiteX10" fmla="*/ 12919760 w 16940965"/>
              <a:gd name="connsiteY10" fmla="*/ 1610378 h 1848444"/>
              <a:gd name="connsiteX11" fmla="*/ 12836193 w 16940965"/>
              <a:gd name="connsiteY11" fmla="*/ 1694502 h 1848444"/>
              <a:gd name="connsiteX12" fmla="*/ 12919760 w 16940965"/>
              <a:gd name="connsiteY12" fmla="*/ 1778054 h 1848444"/>
              <a:gd name="connsiteX13" fmla="*/ 13003327 w 16940965"/>
              <a:gd name="connsiteY13" fmla="*/ 1694502 h 1848444"/>
              <a:gd name="connsiteX14" fmla="*/ 12919760 w 16940965"/>
              <a:gd name="connsiteY14" fmla="*/ 1610378 h 1848444"/>
              <a:gd name="connsiteX15" fmla="*/ 11139826 w 16940965"/>
              <a:gd name="connsiteY15" fmla="*/ 1610378 h 1848444"/>
              <a:gd name="connsiteX16" fmla="*/ 11056259 w 16940965"/>
              <a:gd name="connsiteY16" fmla="*/ 1694502 h 1848444"/>
              <a:gd name="connsiteX17" fmla="*/ 11139826 w 16940965"/>
              <a:gd name="connsiteY17" fmla="*/ 1778054 h 1848444"/>
              <a:gd name="connsiteX18" fmla="*/ 11223393 w 16940965"/>
              <a:gd name="connsiteY18" fmla="*/ 1694502 h 1848444"/>
              <a:gd name="connsiteX19" fmla="*/ 11139826 w 16940965"/>
              <a:gd name="connsiteY19" fmla="*/ 1610378 h 1848444"/>
              <a:gd name="connsiteX20" fmla="*/ 9359892 w 16940965"/>
              <a:gd name="connsiteY20" fmla="*/ 1610378 h 1848444"/>
              <a:gd name="connsiteX21" fmla="*/ 9276325 w 16940965"/>
              <a:gd name="connsiteY21" fmla="*/ 1694502 h 1848444"/>
              <a:gd name="connsiteX22" fmla="*/ 9359892 w 16940965"/>
              <a:gd name="connsiteY22" fmla="*/ 1778054 h 1848444"/>
              <a:gd name="connsiteX23" fmla="*/ 9443459 w 16940965"/>
              <a:gd name="connsiteY23" fmla="*/ 1694502 h 1848444"/>
              <a:gd name="connsiteX24" fmla="*/ 9359892 w 16940965"/>
              <a:gd name="connsiteY24" fmla="*/ 1610378 h 1848444"/>
              <a:gd name="connsiteX25" fmla="*/ 7579958 w 16940965"/>
              <a:gd name="connsiteY25" fmla="*/ 1610378 h 1848444"/>
              <a:gd name="connsiteX26" fmla="*/ 7496391 w 16940965"/>
              <a:gd name="connsiteY26" fmla="*/ 1694502 h 1848444"/>
              <a:gd name="connsiteX27" fmla="*/ 7579958 w 16940965"/>
              <a:gd name="connsiteY27" fmla="*/ 1778054 h 1848444"/>
              <a:gd name="connsiteX28" fmla="*/ 7663525 w 16940965"/>
              <a:gd name="connsiteY28" fmla="*/ 1694502 h 1848444"/>
              <a:gd name="connsiteX29" fmla="*/ 7579958 w 16940965"/>
              <a:gd name="connsiteY29" fmla="*/ 1610378 h 1848444"/>
              <a:gd name="connsiteX30" fmla="*/ 5800316 w 16940965"/>
              <a:gd name="connsiteY30" fmla="*/ 1610378 h 1848444"/>
              <a:gd name="connsiteX31" fmla="*/ 5716748 w 16940965"/>
              <a:gd name="connsiteY31" fmla="*/ 1694502 h 1848444"/>
              <a:gd name="connsiteX32" fmla="*/ 5800316 w 16940965"/>
              <a:gd name="connsiteY32" fmla="*/ 1778054 h 1848444"/>
              <a:gd name="connsiteX33" fmla="*/ 5883883 w 16940965"/>
              <a:gd name="connsiteY33" fmla="*/ 1694502 h 1848444"/>
              <a:gd name="connsiteX34" fmla="*/ 5800316 w 16940965"/>
              <a:gd name="connsiteY34" fmla="*/ 1610378 h 1848444"/>
              <a:gd name="connsiteX35" fmla="*/ 4020673 w 16940965"/>
              <a:gd name="connsiteY35" fmla="*/ 1610378 h 1848444"/>
              <a:gd name="connsiteX36" fmla="*/ 3937105 w 16940965"/>
              <a:gd name="connsiteY36" fmla="*/ 1694502 h 1848444"/>
              <a:gd name="connsiteX37" fmla="*/ 4020673 w 16940965"/>
              <a:gd name="connsiteY37" fmla="*/ 1778054 h 1848444"/>
              <a:gd name="connsiteX38" fmla="*/ 4104241 w 16940965"/>
              <a:gd name="connsiteY38" fmla="*/ 1694502 h 1848444"/>
              <a:gd name="connsiteX39" fmla="*/ 4020673 w 16940965"/>
              <a:gd name="connsiteY39" fmla="*/ 1610378 h 1848444"/>
              <a:gd name="connsiteX40" fmla="*/ 2241030 w 16940965"/>
              <a:gd name="connsiteY40" fmla="*/ 1610378 h 1848444"/>
              <a:gd name="connsiteX41" fmla="*/ 2157463 w 16940965"/>
              <a:gd name="connsiteY41" fmla="*/ 1694502 h 1848444"/>
              <a:gd name="connsiteX42" fmla="*/ 2241030 w 16940965"/>
              <a:gd name="connsiteY42" fmla="*/ 1778054 h 1848444"/>
              <a:gd name="connsiteX43" fmla="*/ 2324597 w 16940965"/>
              <a:gd name="connsiteY43" fmla="*/ 1694502 h 1848444"/>
              <a:gd name="connsiteX44" fmla="*/ 2241030 w 16940965"/>
              <a:gd name="connsiteY44" fmla="*/ 1610378 h 1848444"/>
              <a:gd name="connsiteX45" fmla="*/ 461337 w 16940965"/>
              <a:gd name="connsiteY45" fmla="*/ 1610378 h 1848444"/>
              <a:gd name="connsiteX46" fmla="*/ 377770 w 16940965"/>
              <a:gd name="connsiteY46" fmla="*/ 1694502 h 1848444"/>
              <a:gd name="connsiteX47" fmla="*/ 461337 w 16940965"/>
              <a:gd name="connsiteY47" fmla="*/ 1778054 h 1848444"/>
              <a:gd name="connsiteX48" fmla="*/ 544905 w 16940965"/>
              <a:gd name="connsiteY48" fmla="*/ 1694502 h 1848444"/>
              <a:gd name="connsiteX49" fmla="*/ 461337 w 16940965"/>
              <a:gd name="connsiteY49" fmla="*/ 1610378 h 1848444"/>
              <a:gd name="connsiteX50" fmla="*/ 16102431 w 16940965"/>
              <a:gd name="connsiteY50" fmla="*/ 209452 h 1848444"/>
              <a:gd name="connsiteX51" fmla="*/ 16102431 w 16940965"/>
              <a:gd name="connsiteY51" fmla="*/ 1552006 h 1848444"/>
              <a:gd name="connsiteX52" fmla="*/ 16857397 w 16940965"/>
              <a:gd name="connsiteY52" fmla="*/ 1552006 h 1848444"/>
              <a:gd name="connsiteX53" fmla="*/ 16857397 w 16940965"/>
              <a:gd name="connsiteY53" fmla="*/ 209452 h 1848444"/>
              <a:gd name="connsiteX54" fmla="*/ 14322497 w 16940965"/>
              <a:gd name="connsiteY54" fmla="*/ 209452 h 1848444"/>
              <a:gd name="connsiteX55" fmla="*/ 14322497 w 16940965"/>
              <a:gd name="connsiteY55" fmla="*/ 1552006 h 1848444"/>
              <a:gd name="connsiteX56" fmla="*/ 15077463 w 16940965"/>
              <a:gd name="connsiteY56" fmla="*/ 1552006 h 1848444"/>
              <a:gd name="connsiteX57" fmla="*/ 15077463 w 16940965"/>
              <a:gd name="connsiteY57" fmla="*/ 209452 h 1848444"/>
              <a:gd name="connsiteX58" fmla="*/ 12542563 w 16940965"/>
              <a:gd name="connsiteY58" fmla="*/ 209452 h 1848444"/>
              <a:gd name="connsiteX59" fmla="*/ 12542563 w 16940965"/>
              <a:gd name="connsiteY59" fmla="*/ 1552006 h 1848444"/>
              <a:gd name="connsiteX60" fmla="*/ 13297529 w 16940965"/>
              <a:gd name="connsiteY60" fmla="*/ 1552006 h 1848444"/>
              <a:gd name="connsiteX61" fmla="*/ 13297529 w 16940965"/>
              <a:gd name="connsiteY61" fmla="*/ 209452 h 1848444"/>
              <a:gd name="connsiteX62" fmla="*/ 10762629 w 16940965"/>
              <a:gd name="connsiteY62" fmla="*/ 209452 h 1848444"/>
              <a:gd name="connsiteX63" fmla="*/ 10762629 w 16940965"/>
              <a:gd name="connsiteY63" fmla="*/ 1552006 h 1848444"/>
              <a:gd name="connsiteX64" fmla="*/ 11517595 w 16940965"/>
              <a:gd name="connsiteY64" fmla="*/ 1552006 h 1848444"/>
              <a:gd name="connsiteX65" fmla="*/ 11517595 w 16940965"/>
              <a:gd name="connsiteY65" fmla="*/ 209452 h 1848444"/>
              <a:gd name="connsiteX66" fmla="*/ 8982695 w 16940965"/>
              <a:gd name="connsiteY66" fmla="*/ 209452 h 1848444"/>
              <a:gd name="connsiteX67" fmla="*/ 8982695 w 16940965"/>
              <a:gd name="connsiteY67" fmla="*/ 1552006 h 1848444"/>
              <a:gd name="connsiteX68" fmla="*/ 9737661 w 16940965"/>
              <a:gd name="connsiteY68" fmla="*/ 1552006 h 1848444"/>
              <a:gd name="connsiteX69" fmla="*/ 9737661 w 16940965"/>
              <a:gd name="connsiteY69" fmla="*/ 209452 h 1848444"/>
              <a:gd name="connsiteX70" fmla="*/ 7202761 w 16940965"/>
              <a:gd name="connsiteY70" fmla="*/ 209452 h 1848444"/>
              <a:gd name="connsiteX71" fmla="*/ 7202761 w 16940965"/>
              <a:gd name="connsiteY71" fmla="*/ 1552006 h 1848444"/>
              <a:gd name="connsiteX72" fmla="*/ 7957727 w 16940965"/>
              <a:gd name="connsiteY72" fmla="*/ 1552006 h 1848444"/>
              <a:gd name="connsiteX73" fmla="*/ 7957727 w 16940965"/>
              <a:gd name="connsiteY73" fmla="*/ 209452 h 1848444"/>
              <a:gd name="connsiteX74" fmla="*/ 5423118 w 16940965"/>
              <a:gd name="connsiteY74" fmla="*/ 209452 h 1848444"/>
              <a:gd name="connsiteX75" fmla="*/ 5423118 w 16940965"/>
              <a:gd name="connsiteY75" fmla="*/ 1552006 h 1848444"/>
              <a:gd name="connsiteX76" fmla="*/ 6178086 w 16940965"/>
              <a:gd name="connsiteY76" fmla="*/ 1552006 h 1848444"/>
              <a:gd name="connsiteX77" fmla="*/ 6178086 w 16940965"/>
              <a:gd name="connsiteY77" fmla="*/ 209452 h 1848444"/>
              <a:gd name="connsiteX78" fmla="*/ 3643475 w 16940965"/>
              <a:gd name="connsiteY78" fmla="*/ 209452 h 1848444"/>
              <a:gd name="connsiteX79" fmla="*/ 3643475 w 16940965"/>
              <a:gd name="connsiteY79" fmla="*/ 1552006 h 1848444"/>
              <a:gd name="connsiteX80" fmla="*/ 4398443 w 16940965"/>
              <a:gd name="connsiteY80" fmla="*/ 1552006 h 1848444"/>
              <a:gd name="connsiteX81" fmla="*/ 4398443 w 16940965"/>
              <a:gd name="connsiteY81" fmla="*/ 209452 h 1848444"/>
              <a:gd name="connsiteX82" fmla="*/ 1863833 w 16940965"/>
              <a:gd name="connsiteY82" fmla="*/ 209452 h 1848444"/>
              <a:gd name="connsiteX83" fmla="*/ 1863833 w 16940965"/>
              <a:gd name="connsiteY83" fmla="*/ 1552006 h 1848444"/>
              <a:gd name="connsiteX84" fmla="*/ 2618799 w 16940965"/>
              <a:gd name="connsiteY84" fmla="*/ 1552006 h 1848444"/>
              <a:gd name="connsiteX85" fmla="*/ 2618799 w 16940965"/>
              <a:gd name="connsiteY85" fmla="*/ 209452 h 1848444"/>
              <a:gd name="connsiteX86" fmla="*/ 84140 w 16940965"/>
              <a:gd name="connsiteY86" fmla="*/ 209452 h 1848444"/>
              <a:gd name="connsiteX87" fmla="*/ 84140 w 16940965"/>
              <a:gd name="connsiteY87" fmla="*/ 1552006 h 1848444"/>
              <a:gd name="connsiteX88" fmla="*/ 839107 w 16940965"/>
              <a:gd name="connsiteY88" fmla="*/ 1552006 h 1848444"/>
              <a:gd name="connsiteX89" fmla="*/ 839107 w 16940965"/>
              <a:gd name="connsiteY89" fmla="*/ 209452 h 1848444"/>
              <a:gd name="connsiteX90" fmla="*/ 16364579 w 16940965"/>
              <a:gd name="connsiteY90" fmla="*/ 84124 h 1848444"/>
              <a:gd name="connsiteX91" fmla="*/ 16353705 w 16940965"/>
              <a:gd name="connsiteY91" fmla="*/ 101865 h 1848444"/>
              <a:gd name="connsiteX92" fmla="*/ 16353705 w 16940965"/>
              <a:gd name="connsiteY92" fmla="*/ 107015 h 1848444"/>
              <a:gd name="connsiteX93" fmla="*/ 16364579 w 16940965"/>
              <a:gd name="connsiteY93" fmla="*/ 125328 h 1848444"/>
              <a:gd name="connsiteX94" fmla="*/ 16594103 w 16940965"/>
              <a:gd name="connsiteY94" fmla="*/ 125328 h 1848444"/>
              <a:gd name="connsiteX95" fmla="*/ 16606123 w 16940965"/>
              <a:gd name="connsiteY95" fmla="*/ 107015 h 1848444"/>
              <a:gd name="connsiteX96" fmla="*/ 16606123 w 16940965"/>
              <a:gd name="connsiteY96" fmla="*/ 101865 h 1848444"/>
              <a:gd name="connsiteX97" fmla="*/ 16594103 w 16940965"/>
              <a:gd name="connsiteY97" fmla="*/ 84124 h 1848444"/>
              <a:gd name="connsiteX98" fmla="*/ 14584646 w 16940965"/>
              <a:gd name="connsiteY98" fmla="*/ 84124 h 1848444"/>
              <a:gd name="connsiteX99" fmla="*/ 14573771 w 16940965"/>
              <a:gd name="connsiteY99" fmla="*/ 101865 h 1848444"/>
              <a:gd name="connsiteX100" fmla="*/ 14573771 w 16940965"/>
              <a:gd name="connsiteY100" fmla="*/ 107015 h 1848444"/>
              <a:gd name="connsiteX101" fmla="*/ 14584646 w 16940965"/>
              <a:gd name="connsiteY101" fmla="*/ 125328 h 1848444"/>
              <a:gd name="connsiteX102" fmla="*/ 14814169 w 16940965"/>
              <a:gd name="connsiteY102" fmla="*/ 125328 h 1848444"/>
              <a:gd name="connsiteX103" fmla="*/ 14826189 w 16940965"/>
              <a:gd name="connsiteY103" fmla="*/ 107015 h 1848444"/>
              <a:gd name="connsiteX104" fmla="*/ 14826189 w 16940965"/>
              <a:gd name="connsiteY104" fmla="*/ 101865 h 1848444"/>
              <a:gd name="connsiteX105" fmla="*/ 14814169 w 16940965"/>
              <a:gd name="connsiteY105" fmla="*/ 84124 h 1848444"/>
              <a:gd name="connsiteX106" fmla="*/ 12804712 w 16940965"/>
              <a:gd name="connsiteY106" fmla="*/ 84124 h 1848444"/>
              <a:gd name="connsiteX107" fmla="*/ 12793837 w 16940965"/>
              <a:gd name="connsiteY107" fmla="*/ 101865 h 1848444"/>
              <a:gd name="connsiteX108" fmla="*/ 12793837 w 16940965"/>
              <a:gd name="connsiteY108" fmla="*/ 107015 h 1848444"/>
              <a:gd name="connsiteX109" fmla="*/ 12804712 w 16940965"/>
              <a:gd name="connsiteY109" fmla="*/ 125328 h 1848444"/>
              <a:gd name="connsiteX110" fmla="*/ 13034235 w 16940965"/>
              <a:gd name="connsiteY110" fmla="*/ 125328 h 1848444"/>
              <a:gd name="connsiteX111" fmla="*/ 13046255 w 16940965"/>
              <a:gd name="connsiteY111" fmla="*/ 107015 h 1848444"/>
              <a:gd name="connsiteX112" fmla="*/ 13046255 w 16940965"/>
              <a:gd name="connsiteY112" fmla="*/ 101865 h 1848444"/>
              <a:gd name="connsiteX113" fmla="*/ 13034235 w 16940965"/>
              <a:gd name="connsiteY113" fmla="*/ 84124 h 1848444"/>
              <a:gd name="connsiteX114" fmla="*/ 11024778 w 16940965"/>
              <a:gd name="connsiteY114" fmla="*/ 84124 h 1848444"/>
              <a:gd name="connsiteX115" fmla="*/ 11013903 w 16940965"/>
              <a:gd name="connsiteY115" fmla="*/ 101865 h 1848444"/>
              <a:gd name="connsiteX116" fmla="*/ 11013903 w 16940965"/>
              <a:gd name="connsiteY116" fmla="*/ 107015 h 1848444"/>
              <a:gd name="connsiteX117" fmla="*/ 11024778 w 16940965"/>
              <a:gd name="connsiteY117" fmla="*/ 125328 h 1848444"/>
              <a:gd name="connsiteX118" fmla="*/ 11254301 w 16940965"/>
              <a:gd name="connsiteY118" fmla="*/ 125328 h 1848444"/>
              <a:gd name="connsiteX119" fmla="*/ 11266321 w 16940965"/>
              <a:gd name="connsiteY119" fmla="*/ 107015 h 1848444"/>
              <a:gd name="connsiteX120" fmla="*/ 11266321 w 16940965"/>
              <a:gd name="connsiteY120" fmla="*/ 101865 h 1848444"/>
              <a:gd name="connsiteX121" fmla="*/ 11254301 w 16940965"/>
              <a:gd name="connsiteY121" fmla="*/ 84124 h 1848444"/>
              <a:gd name="connsiteX122" fmla="*/ 9244844 w 16940965"/>
              <a:gd name="connsiteY122" fmla="*/ 84124 h 1848444"/>
              <a:gd name="connsiteX123" fmla="*/ 9233969 w 16940965"/>
              <a:gd name="connsiteY123" fmla="*/ 101865 h 1848444"/>
              <a:gd name="connsiteX124" fmla="*/ 9233969 w 16940965"/>
              <a:gd name="connsiteY124" fmla="*/ 107015 h 1848444"/>
              <a:gd name="connsiteX125" fmla="*/ 9244844 w 16940965"/>
              <a:gd name="connsiteY125" fmla="*/ 125328 h 1848444"/>
              <a:gd name="connsiteX126" fmla="*/ 9474367 w 16940965"/>
              <a:gd name="connsiteY126" fmla="*/ 125328 h 1848444"/>
              <a:gd name="connsiteX127" fmla="*/ 9486387 w 16940965"/>
              <a:gd name="connsiteY127" fmla="*/ 107015 h 1848444"/>
              <a:gd name="connsiteX128" fmla="*/ 9486387 w 16940965"/>
              <a:gd name="connsiteY128" fmla="*/ 101865 h 1848444"/>
              <a:gd name="connsiteX129" fmla="*/ 9474367 w 16940965"/>
              <a:gd name="connsiteY129" fmla="*/ 84124 h 1848444"/>
              <a:gd name="connsiteX130" fmla="*/ 7464910 w 16940965"/>
              <a:gd name="connsiteY130" fmla="*/ 84124 h 1848444"/>
              <a:gd name="connsiteX131" fmla="*/ 7454035 w 16940965"/>
              <a:gd name="connsiteY131" fmla="*/ 101865 h 1848444"/>
              <a:gd name="connsiteX132" fmla="*/ 7454035 w 16940965"/>
              <a:gd name="connsiteY132" fmla="*/ 107015 h 1848444"/>
              <a:gd name="connsiteX133" fmla="*/ 7464910 w 16940965"/>
              <a:gd name="connsiteY133" fmla="*/ 125328 h 1848444"/>
              <a:gd name="connsiteX134" fmla="*/ 7694433 w 16940965"/>
              <a:gd name="connsiteY134" fmla="*/ 125328 h 1848444"/>
              <a:gd name="connsiteX135" fmla="*/ 7706453 w 16940965"/>
              <a:gd name="connsiteY135" fmla="*/ 107015 h 1848444"/>
              <a:gd name="connsiteX136" fmla="*/ 7706453 w 16940965"/>
              <a:gd name="connsiteY136" fmla="*/ 101865 h 1848444"/>
              <a:gd name="connsiteX137" fmla="*/ 7694433 w 16940965"/>
              <a:gd name="connsiteY137" fmla="*/ 84124 h 1848444"/>
              <a:gd name="connsiteX138" fmla="*/ 5685268 w 16940965"/>
              <a:gd name="connsiteY138" fmla="*/ 84124 h 1848444"/>
              <a:gd name="connsiteX139" fmla="*/ 5674393 w 16940965"/>
              <a:gd name="connsiteY139" fmla="*/ 101865 h 1848444"/>
              <a:gd name="connsiteX140" fmla="*/ 5674393 w 16940965"/>
              <a:gd name="connsiteY140" fmla="*/ 107015 h 1848444"/>
              <a:gd name="connsiteX141" fmla="*/ 5685268 w 16940965"/>
              <a:gd name="connsiteY141" fmla="*/ 125328 h 1848444"/>
              <a:gd name="connsiteX142" fmla="*/ 5914792 w 16940965"/>
              <a:gd name="connsiteY142" fmla="*/ 125328 h 1848444"/>
              <a:gd name="connsiteX143" fmla="*/ 5926811 w 16940965"/>
              <a:gd name="connsiteY143" fmla="*/ 107015 h 1848444"/>
              <a:gd name="connsiteX144" fmla="*/ 5926811 w 16940965"/>
              <a:gd name="connsiteY144" fmla="*/ 101865 h 1848444"/>
              <a:gd name="connsiteX145" fmla="*/ 5914792 w 16940965"/>
              <a:gd name="connsiteY145" fmla="*/ 84124 h 1848444"/>
              <a:gd name="connsiteX146" fmla="*/ 3905625 w 16940965"/>
              <a:gd name="connsiteY146" fmla="*/ 84124 h 1848444"/>
              <a:gd name="connsiteX147" fmla="*/ 3894749 w 16940965"/>
              <a:gd name="connsiteY147" fmla="*/ 101865 h 1848444"/>
              <a:gd name="connsiteX148" fmla="*/ 3894749 w 16940965"/>
              <a:gd name="connsiteY148" fmla="*/ 107015 h 1848444"/>
              <a:gd name="connsiteX149" fmla="*/ 3905625 w 16940965"/>
              <a:gd name="connsiteY149" fmla="*/ 125328 h 1848444"/>
              <a:gd name="connsiteX150" fmla="*/ 4135148 w 16940965"/>
              <a:gd name="connsiteY150" fmla="*/ 125328 h 1848444"/>
              <a:gd name="connsiteX151" fmla="*/ 4147168 w 16940965"/>
              <a:gd name="connsiteY151" fmla="*/ 107015 h 1848444"/>
              <a:gd name="connsiteX152" fmla="*/ 4147168 w 16940965"/>
              <a:gd name="connsiteY152" fmla="*/ 101865 h 1848444"/>
              <a:gd name="connsiteX153" fmla="*/ 4135148 w 16940965"/>
              <a:gd name="connsiteY153" fmla="*/ 84124 h 1848444"/>
              <a:gd name="connsiteX154" fmla="*/ 2125982 w 16940965"/>
              <a:gd name="connsiteY154" fmla="*/ 84124 h 1848444"/>
              <a:gd name="connsiteX155" fmla="*/ 2115107 w 16940965"/>
              <a:gd name="connsiteY155" fmla="*/ 101865 h 1848444"/>
              <a:gd name="connsiteX156" fmla="*/ 2115107 w 16940965"/>
              <a:gd name="connsiteY156" fmla="*/ 107015 h 1848444"/>
              <a:gd name="connsiteX157" fmla="*/ 2125982 w 16940965"/>
              <a:gd name="connsiteY157" fmla="*/ 125328 h 1848444"/>
              <a:gd name="connsiteX158" fmla="*/ 2355505 w 16940965"/>
              <a:gd name="connsiteY158" fmla="*/ 125328 h 1848444"/>
              <a:gd name="connsiteX159" fmla="*/ 2367526 w 16940965"/>
              <a:gd name="connsiteY159" fmla="*/ 107015 h 1848444"/>
              <a:gd name="connsiteX160" fmla="*/ 2367526 w 16940965"/>
              <a:gd name="connsiteY160" fmla="*/ 101865 h 1848444"/>
              <a:gd name="connsiteX161" fmla="*/ 2355505 w 16940965"/>
              <a:gd name="connsiteY161" fmla="*/ 84124 h 1848444"/>
              <a:gd name="connsiteX162" fmla="*/ 346289 w 16940965"/>
              <a:gd name="connsiteY162" fmla="*/ 84124 h 1848444"/>
              <a:gd name="connsiteX163" fmla="*/ 335414 w 16940965"/>
              <a:gd name="connsiteY163" fmla="*/ 101865 h 1848444"/>
              <a:gd name="connsiteX164" fmla="*/ 335414 w 16940965"/>
              <a:gd name="connsiteY164" fmla="*/ 107015 h 1848444"/>
              <a:gd name="connsiteX165" fmla="*/ 346289 w 16940965"/>
              <a:gd name="connsiteY165" fmla="*/ 125328 h 1848444"/>
              <a:gd name="connsiteX166" fmla="*/ 575813 w 16940965"/>
              <a:gd name="connsiteY166" fmla="*/ 125328 h 1848444"/>
              <a:gd name="connsiteX167" fmla="*/ 587833 w 16940965"/>
              <a:gd name="connsiteY167" fmla="*/ 107015 h 1848444"/>
              <a:gd name="connsiteX168" fmla="*/ 587833 w 16940965"/>
              <a:gd name="connsiteY168" fmla="*/ 101865 h 1848444"/>
              <a:gd name="connsiteX169" fmla="*/ 575813 w 16940965"/>
              <a:gd name="connsiteY169" fmla="*/ 84124 h 1848444"/>
              <a:gd name="connsiteX170" fmla="*/ 16185997 w 16940965"/>
              <a:gd name="connsiteY170" fmla="*/ 0 h 1848444"/>
              <a:gd name="connsiteX171" fmla="*/ 16773257 w 16940965"/>
              <a:gd name="connsiteY171" fmla="*/ 0 h 1848444"/>
              <a:gd name="connsiteX172" fmla="*/ 16940965 w 16940965"/>
              <a:gd name="connsiteY172" fmla="*/ 167676 h 1848444"/>
              <a:gd name="connsiteX173" fmla="*/ 16940965 w 16940965"/>
              <a:gd name="connsiteY173" fmla="*/ 1679623 h 1848444"/>
              <a:gd name="connsiteX174" fmla="*/ 16773257 w 16940965"/>
              <a:gd name="connsiteY174" fmla="*/ 1848444 h 1848444"/>
              <a:gd name="connsiteX175" fmla="*/ 16185997 w 16940965"/>
              <a:gd name="connsiteY175" fmla="*/ 1848444 h 1848444"/>
              <a:gd name="connsiteX176" fmla="*/ 16018291 w 16940965"/>
              <a:gd name="connsiteY176" fmla="*/ 1679623 h 1848444"/>
              <a:gd name="connsiteX177" fmla="*/ 16018291 w 16940965"/>
              <a:gd name="connsiteY177" fmla="*/ 167676 h 1848444"/>
              <a:gd name="connsiteX178" fmla="*/ 16185997 w 16940965"/>
              <a:gd name="connsiteY178" fmla="*/ 0 h 1848444"/>
              <a:gd name="connsiteX179" fmla="*/ 14406064 w 16940965"/>
              <a:gd name="connsiteY179" fmla="*/ 0 h 1848444"/>
              <a:gd name="connsiteX180" fmla="*/ 14993324 w 16940965"/>
              <a:gd name="connsiteY180" fmla="*/ 0 h 1848444"/>
              <a:gd name="connsiteX181" fmla="*/ 15161031 w 16940965"/>
              <a:gd name="connsiteY181" fmla="*/ 167676 h 1848444"/>
              <a:gd name="connsiteX182" fmla="*/ 15161031 w 16940965"/>
              <a:gd name="connsiteY182" fmla="*/ 1679623 h 1848444"/>
              <a:gd name="connsiteX183" fmla="*/ 14993324 w 16940965"/>
              <a:gd name="connsiteY183" fmla="*/ 1848444 h 1848444"/>
              <a:gd name="connsiteX184" fmla="*/ 14406064 w 16940965"/>
              <a:gd name="connsiteY184" fmla="*/ 1848444 h 1848444"/>
              <a:gd name="connsiteX185" fmla="*/ 14238357 w 16940965"/>
              <a:gd name="connsiteY185" fmla="*/ 1679623 h 1848444"/>
              <a:gd name="connsiteX186" fmla="*/ 14238357 w 16940965"/>
              <a:gd name="connsiteY186" fmla="*/ 167676 h 1848444"/>
              <a:gd name="connsiteX187" fmla="*/ 14406064 w 16940965"/>
              <a:gd name="connsiteY187" fmla="*/ 0 h 1848444"/>
              <a:gd name="connsiteX188" fmla="*/ 12626130 w 16940965"/>
              <a:gd name="connsiteY188" fmla="*/ 0 h 1848444"/>
              <a:gd name="connsiteX189" fmla="*/ 13213390 w 16940965"/>
              <a:gd name="connsiteY189" fmla="*/ 0 h 1848444"/>
              <a:gd name="connsiteX190" fmla="*/ 13381097 w 16940965"/>
              <a:gd name="connsiteY190" fmla="*/ 167676 h 1848444"/>
              <a:gd name="connsiteX191" fmla="*/ 13381097 w 16940965"/>
              <a:gd name="connsiteY191" fmla="*/ 1679623 h 1848444"/>
              <a:gd name="connsiteX192" fmla="*/ 13213390 w 16940965"/>
              <a:gd name="connsiteY192" fmla="*/ 1848444 h 1848444"/>
              <a:gd name="connsiteX193" fmla="*/ 12626130 w 16940965"/>
              <a:gd name="connsiteY193" fmla="*/ 1848444 h 1848444"/>
              <a:gd name="connsiteX194" fmla="*/ 12458423 w 16940965"/>
              <a:gd name="connsiteY194" fmla="*/ 1679623 h 1848444"/>
              <a:gd name="connsiteX195" fmla="*/ 12458423 w 16940965"/>
              <a:gd name="connsiteY195" fmla="*/ 167676 h 1848444"/>
              <a:gd name="connsiteX196" fmla="*/ 12626130 w 16940965"/>
              <a:gd name="connsiteY196" fmla="*/ 0 h 1848444"/>
              <a:gd name="connsiteX197" fmla="*/ 10846196 w 16940965"/>
              <a:gd name="connsiteY197" fmla="*/ 0 h 1848444"/>
              <a:gd name="connsiteX198" fmla="*/ 11433456 w 16940965"/>
              <a:gd name="connsiteY198" fmla="*/ 0 h 1848444"/>
              <a:gd name="connsiteX199" fmla="*/ 11601163 w 16940965"/>
              <a:gd name="connsiteY199" fmla="*/ 167676 h 1848444"/>
              <a:gd name="connsiteX200" fmla="*/ 11601163 w 16940965"/>
              <a:gd name="connsiteY200" fmla="*/ 1679623 h 1848444"/>
              <a:gd name="connsiteX201" fmla="*/ 11433456 w 16940965"/>
              <a:gd name="connsiteY201" fmla="*/ 1848444 h 1848444"/>
              <a:gd name="connsiteX202" fmla="*/ 10846196 w 16940965"/>
              <a:gd name="connsiteY202" fmla="*/ 1848444 h 1848444"/>
              <a:gd name="connsiteX203" fmla="*/ 10678489 w 16940965"/>
              <a:gd name="connsiteY203" fmla="*/ 1679623 h 1848444"/>
              <a:gd name="connsiteX204" fmla="*/ 10678489 w 16940965"/>
              <a:gd name="connsiteY204" fmla="*/ 167676 h 1848444"/>
              <a:gd name="connsiteX205" fmla="*/ 10846196 w 16940965"/>
              <a:gd name="connsiteY205" fmla="*/ 0 h 1848444"/>
              <a:gd name="connsiteX206" fmla="*/ 9066262 w 16940965"/>
              <a:gd name="connsiteY206" fmla="*/ 0 h 1848444"/>
              <a:gd name="connsiteX207" fmla="*/ 9653522 w 16940965"/>
              <a:gd name="connsiteY207" fmla="*/ 0 h 1848444"/>
              <a:gd name="connsiteX208" fmla="*/ 9821229 w 16940965"/>
              <a:gd name="connsiteY208" fmla="*/ 167676 h 1848444"/>
              <a:gd name="connsiteX209" fmla="*/ 9821229 w 16940965"/>
              <a:gd name="connsiteY209" fmla="*/ 1679623 h 1848444"/>
              <a:gd name="connsiteX210" fmla="*/ 9653522 w 16940965"/>
              <a:gd name="connsiteY210" fmla="*/ 1848444 h 1848444"/>
              <a:gd name="connsiteX211" fmla="*/ 9066262 w 16940965"/>
              <a:gd name="connsiteY211" fmla="*/ 1848444 h 1848444"/>
              <a:gd name="connsiteX212" fmla="*/ 8898555 w 16940965"/>
              <a:gd name="connsiteY212" fmla="*/ 1679623 h 1848444"/>
              <a:gd name="connsiteX213" fmla="*/ 8898555 w 16940965"/>
              <a:gd name="connsiteY213" fmla="*/ 167676 h 1848444"/>
              <a:gd name="connsiteX214" fmla="*/ 9066262 w 16940965"/>
              <a:gd name="connsiteY214" fmla="*/ 0 h 1848444"/>
              <a:gd name="connsiteX215" fmla="*/ 7286328 w 16940965"/>
              <a:gd name="connsiteY215" fmla="*/ 0 h 1848444"/>
              <a:gd name="connsiteX216" fmla="*/ 7873588 w 16940965"/>
              <a:gd name="connsiteY216" fmla="*/ 0 h 1848444"/>
              <a:gd name="connsiteX217" fmla="*/ 8041295 w 16940965"/>
              <a:gd name="connsiteY217" fmla="*/ 167676 h 1848444"/>
              <a:gd name="connsiteX218" fmla="*/ 8041295 w 16940965"/>
              <a:gd name="connsiteY218" fmla="*/ 1679623 h 1848444"/>
              <a:gd name="connsiteX219" fmla="*/ 7873588 w 16940965"/>
              <a:gd name="connsiteY219" fmla="*/ 1848444 h 1848444"/>
              <a:gd name="connsiteX220" fmla="*/ 7286328 w 16940965"/>
              <a:gd name="connsiteY220" fmla="*/ 1848444 h 1848444"/>
              <a:gd name="connsiteX221" fmla="*/ 7118621 w 16940965"/>
              <a:gd name="connsiteY221" fmla="*/ 1679623 h 1848444"/>
              <a:gd name="connsiteX222" fmla="*/ 7118621 w 16940965"/>
              <a:gd name="connsiteY222" fmla="*/ 167676 h 1848444"/>
              <a:gd name="connsiteX223" fmla="*/ 7286328 w 16940965"/>
              <a:gd name="connsiteY223" fmla="*/ 0 h 1848444"/>
              <a:gd name="connsiteX224" fmla="*/ 5506685 w 16940965"/>
              <a:gd name="connsiteY224" fmla="*/ 0 h 1848444"/>
              <a:gd name="connsiteX225" fmla="*/ 6093946 w 16940965"/>
              <a:gd name="connsiteY225" fmla="*/ 0 h 1848444"/>
              <a:gd name="connsiteX226" fmla="*/ 6261652 w 16940965"/>
              <a:gd name="connsiteY226" fmla="*/ 167676 h 1848444"/>
              <a:gd name="connsiteX227" fmla="*/ 6261652 w 16940965"/>
              <a:gd name="connsiteY227" fmla="*/ 1679623 h 1848444"/>
              <a:gd name="connsiteX228" fmla="*/ 6093946 w 16940965"/>
              <a:gd name="connsiteY228" fmla="*/ 1848444 h 1848444"/>
              <a:gd name="connsiteX229" fmla="*/ 5506685 w 16940965"/>
              <a:gd name="connsiteY229" fmla="*/ 1848444 h 1848444"/>
              <a:gd name="connsiteX230" fmla="*/ 5338979 w 16940965"/>
              <a:gd name="connsiteY230" fmla="*/ 1679623 h 1848444"/>
              <a:gd name="connsiteX231" fmla="*/ 5338979 w 16940965"/>
              <a:gd name="connsiteY231" fmla="*/ 167676 h 1848444"/>
              <a:gd name="connsiteX232" fmla="*/ 5506685 w 16940965"/>
              <a:gd name="connsiteY232" fmla="*/ 0 h 1848444"/>
              <a:gd name="connsiteX233" fmla="*/ 3727043 w 16940965"/>
              <a:gd name="connsiteY233" fmla="*/ 0 h 1848444"/>
              <a:gd name="connsiteX234" fmla="*/ 4314302 w 16940965"/>
              <a:gd name="connsiteY234" fmla="*/ 0 h 1848444"/>
              <a:gd name="connsiteX235" fmla="*/ 4482010 w 16940965"/>
              <a:gd name="connsiteY235" fmla="*/ 167676 h 1848444"/>
              <a:gd name="connsiteX236" fmla="*/ 4482010 w 16940965"/>
              <a:gd name="connsiteY236" fmla="*/ 1679623 h 1848444"/>
              <a:gd name="connsiteX237" fmla="*/ 4314302 w 16940965"/>
              <a:gd name="connsiteY237" fmla="*/ 1848444 h 1848444"/>
              <a:gd name="connsiteX238" fmla="*/ 3727043 w 16940965"/>
              <a:gd name="connsiteY238" fmla="*/ 1848444 h 1848444"/>
              <a:gd name="connsiteX239" fmla="*/ 3559337 w 16940965"/>
              <a:gd name="connsiteY239" fmla="*/ 1679623 h 1848444"/>
              <a:gd name="connsiteX240" fmla="*/ 3559337 w 16940965"/>
              <a:gd name="connsiteY240" fmla="*/ 167676 h 1848444"/>
              <a:gd name="connsiteX241" fmla="*/ 3727043 w 16940965"/>
              <a:gd name="connsiteY241" fmla="*/ 0 h 1848444"/>
              <a:gd name="connsiteX242" fmla="*/ 1947400 w 16940965"/>
              <a:gd name="connsiteY242" fmla="*/ 0 h 1848444"/>
              <a:gd name="connsiteX243" fmla="*/ 2534660 w 16940965"/>
              <a:gd name="connsiteY243" fmla="*/ 0 h 1848444"/>
              <a:gd name="connsiteX244" fmla="*/ 2702367 w 16940965"/>
              <a:gd name="connsiteY244" fmla="*/ 167676 h 1848444"/>
              <a:gd name="connsiteX245" fmla="*/ 2702367 w 16940965"/>
              <a:gd name="connsiteY245" fmla="*/ 1679623 h 1848444"/>
              <a:gd name="connsiteX246" fmla="*/ 2534660 w 16940965"/>
              <a:gd name="connsiteY246" fmla="*/ 1848444 h 1848444"/>
              <a:gd name="connsiteX247" fmla="*/ 1947400 w 16940965"/>
              <a:gd name="connsiteY247" fmla="*/ 1848444 h 1848444"/>
              <a:gd name="connsiteX248" fmla="*/ 1779693 w 16940965"/>
              <a:gd name="connsiteY248" fmla="*/ 1679623 h 1848444"/>
              <a:gd name="connsiteX249" fmla="*/ 1779693 w 16940965"/>
              <a:gd name="connsiteY249" fmla="*/ 167676 h 1848444"/>
              <a:gd name="connsiteX250" fmla="*/ 1947400 w 16940965"/>
              <a:gd name="connsiteY250" fmla="*/ 0 h 1848444"/>
              <a:gd name="connsiteX251" fmla="*/ 167707 w 16940965"/>
              <a:gd name="connsiteY251" fmla="*/ 0 h 1848444"/>
              <a:gd name="connsiteX252" fmla="*/ 754967 w 16940965"/>
              <a:gd name="connsiteY252" fmla="*/ 0 h 1848444"/>
              <a:gd name="connsiteX253" fmla="*/ 922674 w 16940965"/>
              <a:gd name="connsiteY253" fmla="*/ 167676 h 1848444"/>
              <a:gd name="connsiteX254" fmla="*/ 922674 w 16940965"/>
              <a:gd name="connsiteY254" fmla="*/ 1679623 h 1848444"/>
              <a:gd name="connsiteX255" fmla="*/ 754967 w 16940965"/>
              <a:gd name="connsiteY255" fmla="*/ 1848444 h 1848444"/>
              <a:gd name="connsiteX256" fmla="*/ 167707 w 16940965"/>
              <a:gd name="connsiteY256" fmla="*/ 1848444 h 1848444"/>
              <a:gd name="connsiteX257" fmla="*/ 0 w 16940965"/>
              <a:gd name="connsiteY257" fmla="*/ 1679623 h 1848444"/>
              <a:gd name="connsiteX258" fmla="*/ 0 w 16940965"/>
              <a:gd name="connsiteY258" fmla="*/ 167676 h 1848444"/>
              <a:gd name="connsiteX259" fmla="*/ 167707 w 16940965"/>
              <a:gd name="connsiteY259" fmla="*/ 0 h 184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16940965" h="1848444">
                <a:moveTo>
                  <a:pt x="16479627" y="1610378"/>
                </a:moveTo>
                <a:cubicBezTo>
                  <a:pt x="16433265" y="1610378"/>
                  <a:pt x="16396061" y="1648148"/>
                  <a:pt x="16396061" y="1694502"/>
                </a:cubicBezTo>
                <a:cubicBezTo>
                  <a:pt x="16396061" y="1740284"/>
                  <a:pt x="16433265" y="1778054"/>
                  <a:pt x="16479627" y="1778054"/>
                </a:cubicBezTo>
                <a:cubicBezTo>
                  <a:pt x="16525991" y="1778054"/>
                  <a:pt x="16563195" y="1740284"/>
                  <a:pt x="16563195" y="1694502"/>
                </a:cubicBezTo>
                <a:cubicBezTo>
                  <a:pt x="16563195" y="1648148"/>
                  <a:pt x="16525991" y="1610378"/>
                  <a:pt x="16479627" y="1610378"/>
                </a:cubicBezTo>
                <a:close/>
                <a:moveTo>
                  <a:pt x="14699694" y="1610378"/>
                </a:moveTo>
                <a:cubicBezTo>
                  <a:pt x="14653331" y="1610378"/>
                  <a:pt x="14616127" y="1648148"/>
                  <a:pt x="14616127" y="1694502"/>
                </a:cubicBezTo>
                <a:cubicBezTo>
                  <a:pt x="14616127" y="1740284"/>
                  <a:pt x="14653331" y="1778054"/>
                  <a:pt x="14699694" y="1778054"/>
                </a:cubicBezTo>
                <a:cubicBezTo>
                  <a:pt x="14746056" y="1778054"/>
                  <a:pt x="14783261" y="1740284"/>
                  <a:pt x="14783261" y="1694502"/>
                </a:cubicBezTo>
                <a:cubicBezTo>
                  <a:pt x="14783261" y="1648148"/>
                  <a:pt x="14746056" y="1610378"/>
                  <a:pt x="14699694" y="1610378"/>
                </a:cubicBezTo>
                <a:close/>
                <a:moveTo>
                  <a:pt x="12919760" y="1610378"/>
                </a:moveTo>
                <a:cubicBezTo>
                  <a:pt x="12873397" y="1610378"/>
                  <a:pt x="12836193" y="1648148"/>
                  <a:pt x="12836193" y="1694502"/>
                </a:cubicBezTo>
                <a:cubicBezTo>
                  <a:pt x="12836193" y="1740284"/>
                  <a:pt x="12873397" y="1778054"/>
                  <a:pt x="12919760" y="1778054"/>
                </a:cubicBezTo>
                <a:cubicBezTo>
                  <a:pt x="12966122" y="1778054"/>
                  <a:pt x="13003327" y="1740284"/>
                  <a:pt x="13003327" y="1694502"/>
                </a:cubicBezTo>
                <a:cubicBezTo>
                  <a:pt x="13003327" y="1648148"/>
                  <a:pt x="12966122" y="1610378"/>
                  <a:pt x="12919760" y="1610378"/>
                </a:cubicBezTo>
                <a:close/>
                <a:moveTo>
                  <a:pt x="11139826" y="1610378"/>
                </a:moveTo>
                <a:cubicBezTo>
                  <a:pt x="11093463" y="1610378"/>
                  <a:pt x="11056259" y="1648148"/>
                  <a:pt x="11056259" y="1694502"/>
                </a:cubicBezTo>
                <a:cubicBezTo>
                  <a:pt x="11056259" y="1740284"/>
                  <a:pt x="11093463" y="1778054"/>
                  <a:pt x="11139826" y="1778054"/>
                </a:cubicBezTo>
                <a:cubicBezTo>
                  <a:pt x="11186188" y="1778054"/>
                  <a:pt x="11223393" y="1740284"/>
                  <a:pt x="11223393" y="1694502"/>
                </a:cubicBezTo>
                <a:cubicBezTo>
                  <a:pt x="11223393" y="1648148"/>
                  <a:pt x="11186188" y="1610378"/>
                  <a:pt x="11139826" y="1610378"/>
                </a:cubicBezTo>
                <a:close/>
                <a:moveTo>
                  <a:pt x="9359892" y="1610378"/>
                </a:moveTo>
                <a:cubicBezTo>
                  <a:pt x="9313529" y="1610378"/>
                  <a:pt x="9276325" y="1648148"/>
                  <a:pt x="9276325" y="1694502"/>
                </a:cubicBezTo>
                <a:cubicBezTo>
                  <a:pt x="9276325" y="1740284"/>
                  <a:pt x="9313529" y="1778054"/>
                  <a:pt x="9359892" y="1778054"/>
                </a:cubicBezTo>
                <a:cubicBezTo>
                  <a:pt x="9406254" y="1778054"/>
                  <a:pt x="9443459" y="1740284"/>
                  <a:pt x="9443459" y="1694502"/>
                </a:cubicBezTo>
                <a:cubicBezTo>
                  <a:pt x="9443459" y="1648148"/>
                  <a:pt x="9406254" y="1610378"/>
                  <a:pt x="9359892" y="1610378"/>
                </a:cubicBezTo>
                <a:close/>
                <a:moveTo>
                  <a:pt x="7579958" y="1610378"/>
                </a:moveTo>
                <a:cubicBezTo>
                  <a:pt x="7533595" y="1610378"/>
                  <a:pt x="7496391" y="1648148"/>
                  <a:pt x="7496391" y="1694502"/>
                </a:cubicBezTo>
                <a:cubicBezTo>
                  <a:pt x="7496391" y="1740284"/>
                  <a:pt x="7533595" y="1778054"/>
                  <a:pt x="7579958" y="1778054"/>
                </a:cubicBezTo>
                <a:cubicBezTo>
                  <a:pt x="7626320" y="1778054"/>
                  <a:pt x="7663525" y="1740284"/>
                  <a:pt x="7663525" y="1694502"/>
                </a:cubicBezTo>
                <a:cubicBezTo>
                  <a:pt x="7663525" y="1648148"/>
                  <a:pt x="7626320" y="1610378"/>
                  <a:pt x="7579958" y="1610378"/>
                </a:cubicBezTo>
                <a:close/>
                <a:moveTo>
                  <a:pt x="5800316" y="1610378"/>
                </a:moveTo>
                <a:cubicBezTo>
                  <a:pt x="5753952" y="1610378"/>
                  <a:pt x="5716748" y="1648148"/>
                  <a:pt x="5716748" y="1694502"/>
                </a:cubicBezTo>
                <a:cubicBezTo>
                  <a:pt x="5716748" y="1740284"/>
                  <a:pt x="5753952" y="1778054"/>
                  <a:pt x="5800316" y="1778054"/>
                </a:cubicBezTo>
                <a:cubicBezTo>
                  <a:pt x="5846678" y="1778054"/>
                  <a:pt x="5883883" y="1740284"/>
                  <a:pt x="5883883" y="1694502"/>
                </a:cubicBezTo>
                <a:cubicBezTo>
                  <a:pt x="5883883" y="1648148"/>
                  <a:pt x="5846678" y="1610378"/>
                  <a:pt x="5800316" y="1610378"/>
                </a:cubicBezTo>
                <a:close/>
                <a:moveTo>
                  <a:pt x="4020673" y="1610378"/>
                </a:moveTo>
                <a:cubicBezTo>
                  <a:pt x="3974310" y="1610378"/>
                  <a:pt x="3937105" y="1648148"/>
                  <a:pt x="3937105" y="1694502"/>
                </a:cubicBezTo>
                <a:cubicBezTo>
                  <a:pt x="3937105" y="1740284"/>
                  <a:pt x="3974310" y="1778054"/>
                  <a:pt x="4020673" y="1778054"/>
                </a:cubicBezTo>
                <a:cubicBezTo>
                  <a:pt x="4067035" y="1778054"/>
                  <a:pt x="4104241" y="1740284"/>
                  <a:pt x="4104241" y="1694502"/>
                </a:cubicBezTo>
                <a:cubicBezTo>
                  <a:pt x="4104241" y="1648148"/>
                  <a:pt x="4067035" y="1610378"/>
                  <a:pt x="4020673" y="1610378"/>
                </a:cubicBezTo>
                <a:close/>
                <a:moveTo>
                  <a:pt x="2241030" y="1610378"/>
                </a:moveTo>
                <a:cubicBezTo>
                  <a:pt x="2194667" y="1610378"/>
                  <a:pt x="2157463" y="1648148"/>
                  <a:pt x="2157463" y="1694502"/>
                </a:cubicBezTo>
                <a:cubicBezTo>
                  <a:pt x="2157463" y="1740284"/>
                  <a:pt x="2194667" y="1778054"/>
                  <a:pt x="2241030" y="1778054"/>
                </a:cubicBezTo>
                <a:cubicBezTo>
                  <a:pt x="2287393" y="1778054"/>
                  <a:pt x="2324597" y="1740284"/>
                  <a:pt x="2324597" y="1694502"/>
                </a:cubicBezTo>
                <a:cubicBezTo>
                  <a:pt x="2324597" y="1648148"/>
                  <a:pt x="2287393" y="1610378"/>
                  <a:pt x="2241030" y="1610378"/>
                </a:cubicBezTo>
                <a:close/>
                <a:moveTo>
                  <a:pt x="461337" y="1610378"/>
                </a:moveTo>
                <a:cubicBezTo>
                  <a:pt x="414975" y="1610378"/>
                  <a:pt x="377770" y="1648148"/>
                  <a:pt x="377770" y="1694502"/>
                </a:cubicBezTo>
                <a:cubicBezTo>
                  <a:pt x="377770" y="1740284"/>
                  <a:pt x="414975" y="1778054"/>
                  <a:pt x="461337" y="1778054"/>
                </a:cubicBezTo>
                <a:cubicBezTo>
                  <a:pt x="507700" y="1778054"/>
                  <a:pt x="544905" y="1740284"/>
                  <a:pt x="544905" y="1694502"/>
                </a:cubicBezTo>
                <a:cubicBezTo>
                  <a:pt x="544905" y="1648148"/>
                  <a:pt x="507700" y="1610378"/>
                  <a:pt x="461337" y="1610378"/>
                </a:cubicBezTo>
                <a:close/>
                <a:moveTo>
                  <a:pt x="16102431" y="209452"/>
                </a:moveTo>
                <a:lnTo>
                  <a:pt x="16102431" y="1552006"/>
                </a:lnTo>
                <a:lnTo>
                  <a:pt x="16857397" y="1552006"/>
                </a:lnTo>
                <a:lnTo>
                  <a:pt x="16857397" y="209452"/>
                </a:lnTo>
                <a:close/>
                <a:moveTo>
                  <a:pt x="14322497" y="209452"/>
                </a:moveTo>
                <a:lnTo>
                  <a:pt x="14322497" y="1552006"/>
                </a:lnTo>
                <a:lnTo>
                  <a:pt x="15077463" y="1552006"/>
                </a:lnTo>
                <a:lnTo>
                  <a:pt x="15077463" y="209452"/>
                </a:lnTo>
                <a:close/>
                <a:moveTo>
                  <a:pt x="12542563" y="209452"/>
                </a:moveTo>
                <a:lnTo>
                  <a:pt x="12542563" y="1552006"/>
                </a:lnTo>
                <a:lnTo>
                  <a:pt x="13297529" y="1552006"/>
                </a:lnTo>
                <a:lnTo>
                  <a:pt x="13297529" y="209452"/>
                </a:lnTo>
                <a:close/>
                <a:moveTo>
                  <a:pt x="10762629" y="209452"/>
                </a:moveTo>
                <a:lnTo>
                  <a:pt x="10762629" y="1552006"/>
                </a:lnTo>
                <a:lnTo>
                  <a:pt x="11517595" y="1552006"/>
                </a:lnTo>
                <a:lnTo>
                  <a:pt x="11517595" y="209452"/>
                </a:lnTo>
                <a:close/>
                <a:moveTo>
                  <a:pt x="8982695" y="209452"/>
                </a:moveTo>
                <a:lnTo>
                  <a:pt x="8982695" y="1552006"/>
                </a:lnTo>
                <a:lnTo>
                  <a:pt x="9737661" y="1552006"/>
                </a:lnTo>
                <a:lnTo>
                  <a:pt x="9737661" y="209452"/>
                </a:lnTo>
                <a:close/>
                <a:moveTo>
                  <a:pt x="7202761" y="209452"/>
                </a:moveTo>
                <a:lnTo>
                  <a:pt x="7202761" y="1552006"/>
                </a:lnTo>
                <a:lnTo>
                  <a:pt x="7957727" y="1552006"/>
                </a:lnTo>
                <a:lnTo>
                  <a:pt x="7957727" y="209452"/>
                </a:lnTo>
                <a:close/>
                <a:moveTo>
                  <a:pt x="5423118" y="209452"/>
                </a:moveTo>
                <a:lnTo>
                  <a:pt x="5423118" y="1552006"/>
                </a:lnTo>
                <a:lnTo>
                  <a:pt x="6178086" y="1552006"/>
                </a:lnTo>
                <a:lnTo>
                  <a:pt x="6178086" y="209452"/>
                </a:lnTo>
                <a:close/>
                <a:moveTo>
                  <a:pt x="3643475" y="209452"/>
                </a:moveTo>
                <a:lnTo>
                  <a:pt x="3643475" y="1552006"/>
                </a:lnTo>
                <a:lnTo>
                  <a:pt x="4398443" y="1552006"/>
                </a:lnTo>
                <a:lnTo>
                  <a:pt x="4398443" y="209452"/>
                </a:lnTo>
                <a:close/>
                <a:moveTo>
                  <a:pt x="1863833" y="209452"/>
                </a:moveTo>
                <a:lnTo>
                  <a:pt x="1863833" y="1552006"/>
                </a:lnTo>
                <a:lnTo>
                  <a:pt x="2618799" y="1552006"/>
                </a:lnTo>
                <a:lnTo>
                  <a:pt x="2618799" y="209452"/>
                </a:lnTo>
                <a:close/>
                <a:moveTo>
                  <a:pt x="84140" y="209452"/>
                </a:moveTo>
                <a:lnTo>
                  <a:pt x="84140" y="1552006"/>
                </a:lnTo>
                <a:lnTo>
                  <a:pt x="839107" y="1552006"/>
                </a:lnTo>
                <a:lnTo>
                  <a:pt x="839107" y="209452"/>
                </a:lnTo>
                <a:close/>
                <a:moveTo>
                  <a:pt x="16364579" y="84124"/>
                </a:moveTo>
                <a:cubicBezTo>
                  <a:pt x="16358857" y="84124"/>
                  <a:pt x="16353705" y="92136"/>
                  <a:pt x="16353705" y="101865"/>
                </a:cubicBezTo>
                <a:lnTo>
                  <a:pt x="16353705" y="107015"/>
                </a:lnTo>
                <a:cubicBezTo>
                  <a:pt x="16353705" y="117316"/>
                  <a:pt x="16358857" y="125328"/>
                  <a:pt x="16364579" y="125328"/>
                </a:cubicBezTo>
                <a:lnTo>
                  <a:pt x="16594103" y="125328"/>
                </a:lnTo>
                <a:cubicBezTo>
                  <a:pt x="16600399" y="125328"/>
                  <a:pt x="16606123" y="117888"/>
                  <a:pt x="16606123" y="107015"/>
                </a:cubicBezTo>
                <a:lnTo>
                  <a:pt x="16606123" y="101865"/>
                </a:lnTo>
                <a:cubicBezTo>
                  <a:pt x="16606123" y="92136"/>
                  <a:pt x="16600399" y="84124"/>
                  <a:pt x="16594103" y="84124"/>
                </a:cubicBezTo>
                <a:close/>
                <a:moveTo>
                  <a:pt x="14584646" y="84124"/>
                </a:moveTo>
                <a:cubicBezTo>
                  <a:pt x="14578922" y="84124"/>
                  <a:pt x="14573771" y="92136"/>
                  <a:pt x="14573771" y="101865"/>
                </a:cubicBezTo>
                <a:lnTo>
                  <a:pt x="14573771" y="107015"/>
                </a:lnTo>
                <a:cubicBezTo>
                  <a:pt x="14573771" y="117316"/>
                  <a:pt x="14578922" y="125328"/>
                  <a:pt x="14584646" y="125328"/>
                </a:cubicBezTo>
                <a:lnTo>
                  <a:pt x="14814169" y="125328"/>
                </a:lnTo>
                <a:cubicBezTo>
                  <a:pt x="14820466" y="125328"/>
                  <a:pt x="14826189" y="117888"/>
                  <a:pt x="14826189" y="107015"/>
                </a:cubicBezTo>
                <a:lnTo>
                  <a:pt x="14826189" y="101865"/>
                </a:lnTo>
                <a:cubicBezTo>
                  <a:pt x="14826189" y="92136"/>
                  <a:pt x="14820466" y="84124"/>
                  <a:pt x="14814169" y="84124"/>
                </a:cubicBezTo>
                <a:close/>
                <a:moveTo>
                  <a:pt x="12804712" y="84124"/>
                </a:moveTo>
                <a:cubicBezTo>
                  <a:pt x="12798988" y="84124"/>
                  <a:pt x="12793837" y="92136"/>
                  <a:pt x="12793837" y="101865"/>
                </a:cubicBezTo>
                <a:lnTo>
                  <a:pt x="12793837" y="107015"/>
                </a:lnTo>
                <a:cubicBezTo>
                  <a:pt x="12793837" y="117316"/>
                  <a:pt x="12798988" y="125328"/>
                  <a:pt x="12804712" y="125328"/>
                </a:cubicBezTo>
                <a:lnTo>
                  <a:pt x="13034235" y="125328"/>
                </a:lnTo>
                <a:cubicBezTo>
                  <a:pt x="13040532" y="125328"/>
                  <a:pt x="13046255" y="117888"/>
                  <a:pt x="13046255" y="107015"/>
                </a:cubicBezTo>
                <a:lnTo>
                  <a:pt x="13046255" y="101865"/>
                </a:lnTo>
                <a:cubicBezTo>
                  <a:pt x="13046255" y="92136"/>
                  <a:pt x="13040532" y="84124"/>
                  <a:pt x="13034235" y="84124"/>
                </a:cubicBezTo>
                <a:close/>
                <a:moveTo>
                  <a:pt x="11024778" y="84124"/>
                </a:moveTo>
                <a:cubicBezTo>
                  <a:pt x="11019054" y="84124"/>
                  <a:pt x="11013903" y="92136"/>
                  <a:pt x="11013903" y="101865"/>
                </a:cubicBezTo>
                <a:lnTo>
                  <a:pt x="11013903" y="107015"/>
                </a:lnTo>
                <a:cubicBezTo>
                  <a:pt x="11013903" y="117316"/>
                  <a:pt x="11019054" y="125328"/>
                  <a:pt x="11024778" y="125328"/>
                </a:cubicBezTo>
                <a:lnTo>
                  <a:pt x="11254301" y="125328"/>
                </a:lnTo>
                <a:cubicBezTo>
                  <a:pt x="11260598" y="125328"/>
                  <a:pt x="11266321" y="117888"/>
                  <a:pt x="11266321" y="107015"/>
                </a:cubicBezTo>
                <a:lnTo>
                  <a:pt x="11266321" y="101865"/>
                </a:lnTo>
                <a:cubicBezTo>
                  <a:pt x="11266321" y="92136"/>
                  <a:pt x="11260598" y="84124"/>
                  <a:pt x="11254301" y="84124"/>
                </a:cubicBezTo>
                <a:close/>
                <a:moveTo>
                  <a:pt x="9244844" y="84124"/>
                </a:moveTo>
                <a:cubicBezTo>
                  <a:pt x="9239120" y="84124"/>
                  <a:pt x="9233969" y="92136"/>
                  <a:pt x="9233969" y="101865"/>
                </a:cubicBezTo>
                <a:lnTo>
                  <a:pt x="9233969" y="107015"/>
                </a:lnTo>
                <a:cubicBezTo>
                  <a:pt x="9233969" y="117316"/>
                  <a:pt x="9239120" y="125328"/>
                  <a:pt x="9244844" y="125328"/>
                </a:cubicBezTo>
                <a:lnTo>
                  <a:pt x="9474367" y="125328"/>
                </a:lnTo>
                <a:cubicBezTo>
                  <a:pt x="9480664" y="125328"/>
                  <a:pt x="9486387" y="117888"/>
                  <a:pt x="9486387" y="107015"/>
                </a:cubicBezTo>
                <a:lnTo>
                  <a:pt x="9486387" y="101865"/>
                </a:lnTo>
                <a:cubicBezTo>
                  <a:pt x="9486387" y="92136"/>
                  <a:pt x="9480664" y="84124"/>
                  <a:pt x="9474367" y="84124"/>
                </a:cubicBezTo>
                <a:close/>
                <a:moveTo>
                  <a:pt x="7464910" y="84124"/>
                </a:moveTo>
                <a:cubicBezTo>
                  <a:pt x="7459186" y="84124"/>
                  <a:pt x="7454035" y="92136"/>
                  <a:pt x="7454035" y="101865"/>
                </a:cubicBezTo>
                <a:lnTo>
                  <a:pt x="7454035" y="107015"/>
                </a:lnTo>
                <a:cubicBezTo>
                  <a:pt x="7454035" y="117316"/>
                  <a:pt x="7459186" y="125328"/>
                  <a:pt x="7464910" y="125328"/>
                </a:cubicBezTo>
                <a:lnTo>
                  <a:pt x="7694433" y="125328"/>
                </a:lnTo>
                <a:cubicBezTo>
                  <a:pt x="7700730" y="125328"/>
                  <a:pt x="7706453" y="117888"/>
                  <a:pt x="7706453" y="107015"/>
                </a:cubicBezTo>
                <a:lnTo>
                  <a:pt x="7706453" y="101865"/>
                </a:lnTo>
                <a:cubicBezTo>
                  <a:pt x="7706453" y="92136"/>
                  <a:pt x="7700730" y="84124"/>
                  <a:pt x="7694433" y="84124"/>
                </a:cubicBezTo>
                <a:close/>
                <a:moveTo>
                  <a:pt x="5685268" y="84124"/>
                </a:moveTo>
                <a:cubicBezTo>
                  <a:pt x="5679543" y="84124"/>
                  <a:pt x="5674393" y="92136"/>
                  <a:pt x="5674393" y="101865"/>
                </a:cubicBezTo>
                <a:lnTo>
                  <a:pt x="5674393" y="107015"/>
                </a:lnTo>
                <a:cubicBezTo>
                  <a:pt x="5674393" y="117316"/>
                  <a:pt x="5679543" y="125328"/>
                  <a:pt x="5685268" y="125328"/>
                </a:cubicBezTo>
                <a:lnTo>
                  <a:pt x="5914792" y="125328"/>
                </a:lnTo>
                <a:cubicBezTo>
                  <a:pt x="5921087" y="125328"/>
                  <a:pt x="5926811" y="117888"/>
                  <a:pt x="5926811" y="107015"/>
                </a:cubicBezTo>
                <a:lnTo>
                  <a:pt x="5926811" y="101865"/>
                </a:lnTo>
                <a:cubicBezTo>
                  <a:pt x="5926811" y="92136"/>
                  <a:pt x="5921087" y="84124"/>
                  <a:pt x="5914792" y="84124"/>
                </a:cubicBezTo>
                <a:close/>
                <a:moveTo>
                  <a:pt x="3905625" y="84124"/>
                </a:moveTo>
                <a:cubicBezTo>
                  <a:pt x="3899900" y="84124"/>
                  <a:pt x="3894749" y="92136"/>
                  <a:pt x="3894749" y="101865"/>
                </a:cubicBezTo>
                <a:lnTo>
                  <a:pt x="3894749" y="107015"/>
                </a:lnTo>
                <a:cubicBezTo>
                  <a:pt x="3894749" y="117316"/>
                  <a:pt x="3899900" y="125328"/>
                  <a:pt x="3905625" y="125328"/>
                </a:cubicBezTo>
                <a:lnTo>
                  <a:pt x="4135148" y="125328"/>
                </a:lnTo>
                <a:cubicBezTo>
                  <a:pt x="4141444" y="125328"/>
                  <a:pt x="4147168" y="117888"/>
                  <a:pt x="4147168" y="107015"/>
                </a:cubicBezTo>
                <a:lnTo>
                  <a:pt x="4147168" y="101865"/>
                </a:lnTo>
                <a:cubicBezTo>
                  <a:pt x="4147168" y="92136"/>
                  <a:pt x="4141444" y="84124"/>
                  <a:pt x="4135148" y="84124"/>
                </a:cubicBezTo>
                <a:close/>
                <a:moveTo>
                  <a:pt x="2125982" y="84124"/>
                </a:moveTo>
                <a:cubicBezTo>
                  <a:pt x="2120258" y="84124"/>
                  <a:pt x="2115107" y="92136"/>
                  <a:pt x="2115107" y="101865"/>
                </a:cubicBezTo>
                <a:lnTo>
                  <a:pt x="2115107" y="107015"/>
                </a:lnTo>
                <a:cubicBezTo>
                  <a:pt x="2115107" y="117316"/>
                  <a:pt x="2120258" y="125328"/>
                  <a:pt x="2125982" y="125328"/>
                </a:cubicBezTo>
                <a:lnTo>
                  <a:pt x="2355505" y="125328"/>
                </a:lnTo>
                <a:cubicBezTo>
                  <a:pt x="2361802" y="125328"/>
                  <a:pt x="2367526" y="117888"/>
                  <a:pt x="2367526" y="107015"/>
                </a:cubicBezTo>
                <a:lnTo>
                  <a:pt x="2367526" y="101865"/>
                </a:lnTo>
                <a:cubicBezTo>
                  <a:pt x="2367526" y="92136"/>
                  <a:pt x="2361802" y="84124"/>
                  <a:pt x="2355505" y="84124"/>
                </a:cubicBezTo>
                <a:close/>
                <a:moveTo>
                  <a:pt x="346289" y="84124"/>
                </a:moveTo>
                <a:cubicBezTo>
                  <a:pt x="340565" y="84124"/>
                  <a:pt x="335414" y="92136"/>
                  <a:pt x="335414" y="101865"/>
                </a:cubicBezTo>
                <a:lnTo>
                  <a:pt x="335414" y="107015"/>
                </a:lnTo>
                <a:cubicBezTo>
                  <a:pt x="335414" y="117316"/>
                  <a:pt x="340565" y="125328"/>
                  <a:pt x="346289" y="125328"/>
                </a:cubicBezTo>
                <a:lnTo>
                  <a:pt x="575813" y="125328"/>
                </a:lnTo>
                <a:cubicBezTo>
                  <a:pt x="582109" y="125328"/>
                  <a:pt x="587833" y="117888"/>
                  <a:pt x="587833" y="107015"/>
                </a:cubicBezTo>
                <a:lnTo>
                  <a:pt x="587833" y="101865"/>
                </a:lnTo>
                <a:cubicBezTo>
                  <a:pt x="587833" y="92136"/>
                  <a:pt x="582109" y="84124"/>
                  <a:pt x="575813" y="84124"/>
                </a:cubicBezTo>
                <a:close/>
                <a:moveTo>
                  <a:pt x="16185997" y="0"/>
                </a:moveTo>
                <a:lnTo>
                  <a:pt x="16773257" y="0"/>
                </a:lnTo>
                <a:cubicBezTo>
                  <a:pt x="16773257" y="0"/>
                  <a:pt x="16940965" y="0"/>
                  <a:pt x="16940965" y="167676"/>
                </a:cubicBezTo>
                <a:lnTo>
                  <a:pt x="16940965" y="1679623"/>
                </a:lnTo>
                <a:cubicBezTo>
                  <a:pt x="16940965" y="1848444"/>
                  <a:pt x="16773257" y="1848444"/>
                  <a:pt x="16773257" y="1848444"/>
                </a:cubicBezTo>
                <a:lnTo>
                  <a:pt x="16185997" y="1848444"/>
                </a:lnTo>
                <a:cubicBezTo>
                  <a:pt x="16185997" y="1848444"/>
                  <a:pt x="16018291" y="1848444"/>
                  <a:pt x="16018291" y="1679623"/>
                </a:cubicBezTo>
                <a:lnTo>
                  <a:pt x="16018291" y="167676"/>
                </a:lnTo>
                <a:cubicBezTo>
                  <a:pt x="16018291" y="0"/>
                  <a:pt x="16185997" y="0"/>
                  <a:pt x="16185997" y="0"/>
                </a:cubicBezTo>
                <a:close/>
                <a:moveTo>
                  <a:pt x="14406064" y="0"/>
                </a:moveTo>
                <a:lnTo>
                  <a:pt x="14993324" y="0"/>
                </a:lnTo>
                <a:cubicBezTo>
                  <a:pt x="14993324" y="0"/>
                  <a:pt x="15161031" y="0"/>
                  <a:pt x="15161031" y="167676"/>
                </a:cubicBezTo>
                <a:lnTo>
                  <a:pt x="15161031" y="1679623"/>
                </a:lnTo>
                <a:cubicBezTo>
                  <a:pt x="15161031" y="1848444"/>
                  <a:pt x="14993324" y="1848444"/>
                  <a:pt x="14993324" y="1848444"/>
                </a:cubicBezTo>
                <a:lnTo>
                  <a:pt x="14406064" y="1848444"/>
                </a:lnTo>
                <a:cubicBezTo>
                  <a:pt x="14406064" y="1848444"/>
                  <a:pt x="14238357" y="1848444"/>
                  <a:pt x="14238357" y="1679623"/>
                </a:cubicBezTo>
                <a:lnTo>
                  <a:pt x="14238357" y="167676"/>
                </a:lnTo>
                <a:cubicBezTo>
                  <a:pt x="14238357" y="0"/>
                  <a:pt x="14406064" y="0"/>
                  <a:pt x="14406064" y="0"/>
                </a:cubicBezTo>
                <a:close/>
                <a:moveTo>
                  <a:pt x="12626130" y="0"/>
                </a:moveTo>
                <a:lnTo>
                  <a:pt x="13213390" y="0"/>
                </a:lnTo>
                <a:cubicBezTo>
                  <a:pt x="13213390" y="0"/>
                  <a:pt x="13381097" y="0"/>
                  <a:pt x="13381097" y="167676"/>
                </a:cubicBezTo>
                <a:lnTo>
                  <a:pt x="13381097" y="1679623"/>
                </a:lnTo>
                <a:cubicBezTo>
                  <a:pt x="13381097" y="1848444"/>
                  <a:pt x="13213390" y="1848444"/>
                  <a:pt x="13213390" y="1848444"/>
                </a:cubicBezTo>
                <a:lnTo>
                  <a:pt x="12626130" y="1848444"/>
                </a:lnTo>
                <a:cubicBezTo>
                  <a:pt x="12626130" y="1848444"/>
                  <a:pt x="12458423" y="1848444"/>
                  <a:pt x="12458423" y="1679623"/>
                </a:cubicBezTo>
                <a:lnTo>
                  <a:pt x="12458423" y="167676"/>
                </a:lnTo>
                <a:cubicBezTo>
                  <a:pt x="12458423" y="0"/>
                  <a:pt x="12626130" y="0"/>
                  <a:pt x="12626130" y="0"/>
                </a:cubicBezTo>
                <a:close/>
                <a:moveTo>
                  <a:pt x="10846196" y="0"/>
                </a:moveTo>
                <a:lnTo>
                  <a:pt x="11433456" y="0"/>
                </a:lnTo>
                <a:cubicBezTo>
                  <a:pt x="11433456" y="0"/>
                  <a:pt x="11601163" y="0"/>
                  <a:pt x="11601163" y="167676"/>
                </a:cubicBezTo>
                <a:lnTo>
                  <a:pt x="11601163" y="1679623"/>
                </a:lnTo>
                <a:cubicBezTo>
                  <a:pt x="11601163" y="1848444"/>
                  <a:pt x="11433456" y="1848444"/>
                  <a:pt x="11433456" y="1848444"/>
                </a:cubicBezTo>
                <a:lnTo>
                  <a:pt x="10846196" y="1848444"/>
                </a:lnTo>
                <a:cubicBezTo>
                  <a:pt x="10846196" y="1848444"/>
                  <a:pt x="10678489" y="1848444"/>
                  <a:pt x="10678489" y="1679623"/>
                </a:cubicBezTo>
                <a:lnTo>
                  <a:pt x="10678489" y="167676"/>
                </a:lnTo>
                <a:cubicBezTo>
                  <a:pt x="10678489" y="0"/>
                  <a:pt x="10846196" y="0"/>
                  <a:pt x="10846196" y="0"/>
                </a:cubicBezTo>
                <a:close/>
                <a:moveTo>
                  <a:pt x="9066262" y="0"/>
                </a:moveTo>
                <a:lnTo>
                  <a:pt x="9653522" y="0"/>
                </a:lnTo>
                <a:cubicBezTo>
                  <a:pt x="9653522" y="0"/>
                  <a:pt x="9821229" y="0"/>
                  <a:pt x="9821229" y="167676"/>
                </a:cubicBezTo>
                <a:lnTo>
                  <a:pt x="9821229" y="1679623"/>
                </a:lnTo>
                <a:cubicBezTo>
                  <a:pt x="9821229" y="1848444"/>
                  <a:pt x="9653522" y="1848444"/>
                  <a:pt x="9653522" y="1848444"/>
                </a:cubicBezTo>
                <a:lnTo>
                  <a:pt x="9066262" y="1848444"/>
                </a:lnTo>
                <a:cubicBezTo>
                  <a:pt x="9066262" y="1848444"/>
                  <a:pt x="8898555" y="1848444"/>
                  <a:pt x="8898555" y="1679623"/>
                </a:cubicBezTo>
                <a:lnTo>
                  <a:pt x="8898555" y="167676"/>
                </a:lnTo>
                <a:cubicBezTo>
                  <a:pt x="8898555" y="0"/>
                  <a:pt x="9066262" y="0"/>
                  <a:pt x="9066262" y="0"/>
                </a:cubicBezTo>
                <a:close/>
                <a:moveTo>
                  <a:pt x="7286328" y="0"/>
                </a:moveTo>
                <a:lnTo>
                  <a:pt x="7873588" y="0"/>
                </a:lnTo>
                <a:cubicBezTo>
                  <a:pt x="7873588" y="0"/>
                  <a:pt x="8041295" y="0"/>
                  <a:pt x="8041295" y="167676"/>
                </a:cubicBezTo>
                <a:lnTo>
                  <a:pt x="8041295" y="1679623"/>
                </a:lnTo>
                <a:cubicBezTo>
                  <a:pt x="8041295" y="1848444"/>
                  <a:pt x="7873588" y="1848444"/>
                  <a:pt x="7873588" y="1848444"/>
                </a:cubicBezTo>
                <a:lnTo>
                  <a:pt x="7286328" y="1848444"/>
                </a:lnTo>
                <a:cubicBezTo>
                  <a:pt x="7286328" y="1848444"/>
                  <a:pt x="7118621" y="1848444"/>
                  <a:pt x="7118621" y="1679623"/>
                </a:cubicBezTo>
                <a:lnTo>
                  <a:pt x="7118621" y="167676"/>
                </a:lnTo>
                <a:cubicBezTo>
                  <a:pt x="7118621" y="0"/>
                  <a:pt x="7286328" y="0"/>
                  <a:pt x="7286328" y="0"/>
                </a:cubicBezTo>
                <a:close/>
                <a:moveTo>
                  <a:pt x="5506685" y="0"/>
                </a:moveTo>
                <a:lnTo>
                  <a:pt x="6093946" y="0"/>
                </a:lnTo>
                <a:cubicBezTo>
                  <a:pt x="6093946" y="0"/>
                  <a:pt x="6261652" y="0"/>
                  <a:pt x="6261652" y="167676"/>
                </a:cubicBezTo>
                <a:lnTo>
                  <a:pt x="6261652" y="1679623"/>
                </a:lnTo>
                <a:cubicBezTo>
                  <a:pt x="6261652" y="1848444"/>
                  <a:pt x="6093946" y="1848444"/>
                  <a:pt x="6093946" y="1848444"/>
                </a:cubicBezTo>
                <a:lnTo>
                  <a:pt x="5506685" y="1848444"/>
                </a:lnTo>
                <a:cubicBezTo>
                  <a:pt x="5506685" y="1848444"/>
                  <a:pt x="5338979" y="1848444"/>
                  <a:pt x="5338979" y="1679623"/>
                </a:cubicBezTo>
                <a:lnTo>
                  <a:pt x="5338979" y="167676"/>
                </a:lnTo>
                <a:cubicBezTo>
                  <a:pt x="5338979" y="0"/>
                  <a:pt x="5506685" y="0"/>
                  <a:pt x="5506685" y="0"/>
                </a:cubicBezTo>
                <a:close/>
                <a:moveTo>
                  <a:pt x="3727043" y="0"/>
                </a:moveTo>
                <a:lnTo>
                  <a:pt x="4314302" y="0"/>
                </a:lnTo>
                <a:cubicBezTo>
                  <a:pt x="4314302" y="0"/>
                  <a:pt x="4482010" y="0"/>
                  <a:pt x="4482010" y="167676"/>
                </a:cubicBezTo>
                <a:lnTo>
                  <a:pt x="4482010" y="1679623"/>
                </a:lnTo>
                <a:cubicBezTo>
                  <a:pt x="4482010" y="1848444"/>
                  <a:pt x="4314302" y="1848444"/>
                  <a:pt x="4314302" y="1848444"/>
                </a:cubicBezTo>
                <a:lnTo>
                  <a:pt x="3727043" y="1848444"/>
                </a:lnTo>
                <a:cubicBezTo>
                  <a:pt x="3727043" y="1848444"/>
                  <a:pt x="3559337" y="1848444"/>
                  <a:pt x="3559337" y="1679623"/>
                </a:cubicBezTo>
                <a:lnTo>
                  <a:pt x="3559337" y="167676"/>
                </a:lnTo>
                <a:cubicBezTo>
                  <a:pt x="3559337" y="0"/>
                  <a:pt x="3727043" y="0"/>
                  <a:pt x="3727043" y="0"/>
                </a:cubicBezTo>
                <a:close/>
                <a:moveTo>
                  <a:pt x="1947400" y="0"/>
                </a:moveTo>
                <a:lnTo>
                  <a:pt x="2534660" y="0"/>
                </a:lnTo>
                <a:cubicBezTo>
                  <a:pt x="2534660" y="0"/>
                  <a:pt x="2702367" y="0"/>
                  <a:pt x="2702367" y="167676"/>
                </a:cubicBezTo>
                <a:lnTo>
                  <a:pt x="2702367" y="1679623"/>
                </a:lnTo>
                <a:cubicBezTo>
                  <a:pt x="2702367" y="1848444"/>
                  <a:pt x="2534660" y="1848444"/>
                  <a:pt x="2534660" y="1848444"/>
                </a:cubicBezTo>
                <a:lnTo>
                  <a:pt x="1947400" y="1848444"/>
                </a:lnTo>
                <a:cubicBezTo>
                  <a:pt x="1947400" y="1848444"/>
                  <a:pt x="1779693" y="1848444"/>
                  <a:pt x="1779693" y="1679623"/>
                </a:cubicBezTo>
                <a:lnTo>
                  <a:pt x="1779693" y="167676"/>
                </a:lnTo>
                <a:cubicBezTo>
                  <a:pt x="1779693" y="0"/>
                  <a:pt x="1947400" y="0"/>
                  <a:pt x="1947400" y="0"/>
                </a:cubicBezTo>
                <a:close/>
                <a:moveTo>
                  <a:pt x="167707" y="0"/>
                </a:moveTo>
                <a:lnTo>
                  <a:pt x="754967" y="0"/>
                </a:lnTo>
                <a:cubicBezTo>
                  <a:pt x="754967" y="0"/>
                  <a:pt x="922674" y="0"/>
                  <a:pt x="922674" y="167676"/>
                </a:cubicBezTo>
                <a:lnTo>
                  <a:pt x="922674" y="1679623"/>
                </a:lnTo>
                <a:cubicBezTo>
                  <a:pt x="922674" y="1848444"/>
                  <a:pt x="754967" y="1848444"/>
                  <a:pt x="754967" y="1848444"/>
                </a:cubicBezTo>
                <a:lnTo>
                  <a:pt x="167707" y="1848444"/>
                </a:lnTo>
                <a:cubicBezTo>
                  <a:pt x="167707" y="1848444"/>
                  <a:pt x="0" y="1848444"/>
                  <a:pt x="0" y="1679623"/>
                </a:cubicBezTo>
                <a:lnTo>
                  <a:pt x="0" y="167676"/>
                </a:lnTo>
                <a:cubicBezTo>
                  <a:pt x="0" y="0"/>
                  <a:pt x="167707" y="0"/>
                  <a:pt x="167707" y="0"/>
                </a:cubicBezTo>
                <a:close/>
              </a:path>
            </a:pathLst>
          </a:custGeom>
          <a:solidFill>
            <a:schemeClr val="bg2">
              <a:lumMod val="85000"/>
            </a:schemeClr>
          </a:solidFill>
          <a:ln>
            <a:noFill/>
          </a:ln>
          <a:effectLst/>
        </p:spPr>
        <p:txBody>
          <a:bodyPr wrap="square" anchor="ctr">
            <a:noAutofit/>
          </a:bodyPr>
          <a:lstStyle/>
          <a:p>
            <a:endParaRPr lang="en-US" sz="900" dirty="0"/>
          </a:p>
        </p:txBody>
      </p:sp>
      <p:sp>
        <p:nvSpPr>
          <p:cNvPr id="165" name="Rectangle 164">
            <a:extLst>
              <a:ext uri="{FF2B5EF4-FFF2-40B4-BE49-F238E27FC236}">
                <a16:creationId xmlns:a16="http://schemas.microsoft.com/office/drawing/2014/main" id="{8077F907-086F-E842-85D8-3B35D3B64C4A}"/>
              </a:ext>
            </a:extLst>
          </p:cNvPr>
          <p:cNvSpPr/>
          <p:nvPr/>
        </p:nvSpPr>
        <p:spPr>
          <a:xfrm>
            <a:off x="833962" y="1500968"/>
            <a:ext cx="8277336" cy="9621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66" name="Freeform 165">
            <a:extLst>
              <a:ext uri="{FF2B5EF4-FFF2-40B4-BE49-F238E27FC236}">
                <a16:creationId xmlns:a16="http://schemas.microsoft.com/office/drawing/2014/main" id="{B38E6F08-FE4A-8A4B-A252-8535F30A1FD8}"/>
              </a:ext>
            </a:extLst>
          </p:cNvPr>
          <p:cNvSpPr/>
          <p:nvPr/>
        </p:nvSpPr>
        <p:spPr>
          <a:xfrm>
            <a:off x="788232" y="1435517"/>
            <a:ext cx="8729630" cy="1140727"/>
          </a:xfrm>
          <a:custGeom>
            <a:avLst/>
            <a:gdLst>
              <a:gd name="connsiteX0" fmla="*/ 16660589 w 17459259"/>
              <a:gd name="connsiteY0" fmla="*/ 1807094 h 2281453"/>
              <a:gd name="connsiteX1" fmla="*/ 16744157 w 17459259"/>
              <a:gd name="connsiteY1" fmla="*/ 1891218 h 2281453"/>
              <a:gd name="connsiteX2" fmla="*/ 16660589 w 17459259"/>
              <a:gd name="connsiteY2" fmla="*/ 1974770 h 2281453"/>
              <a:gd name="connsiteX3" fmla="*/ 16577023 w 17459259"/>
              <a:gd name="connsiteY3" fmla="*/ 1891218 h 2281453"/>
              <a:gd name="connsiteX4" fmla="*/ 16660589 w 17459259"/>
              <a:gd name="connsiteY4" fmla="*/ 1807094 h 2281453"/>
              <a:gd name="connsiteX5" fmla="*/ 14880656 w 17459259"/>
              <a:gd name="connsiteY5" fmla="*/ 1807094 h 2281453"/>
              <a:gd name="connsiteX6" fmla="*/ 14964223 w 17459259"/>
              <a:gd name="connsiteY6" fmla="*/ 1891218 h 2281453"/>
              <a:gd name="connsiteX7" fmla="*/ 14880656 w 17459259"/>
              <a:gd name="connsiteY7" fmla="*/ 1974770 h 2281453"/>
              <a:gd name="connsiteX8" fmla="*/ 14797089 w 17459259"/>
              <a:gd name="connsiteY8" fmla="*/ 1891218 h 2281453"/>
              <a:gd name="connsiteX9" fmla="*/ 14880656 w 17459259"/>
              <a:gd name="connsiteY9" fmla="*/ 1807094 h 2281453"/>
              <a:gd name="connsiteX10" fmla="*/ 13100722 w 17459259"/>
              <a:gd name="connsiteY10" fmla="*/ 1807094 h 2281453"/>
              <a:gd name="connsiteX11" fmla="*/ 13184289 w 17459259"/>
              <a:gd name="connsiteY11" fmla="*/ 1891218 h 2281453"/>
              <a:gd name="connsiteX12" fmla="*/ 13100722 w 17459259"/>
              <a:gd name="connsiteY12" fmla="*/ 1974770 h 2281453"/>
              <a:gd name="connsiteX13" fmla="*/ 13017155 w 17459259"/>
              <a:gd name="connsiteY13" fmla="*/ 1891218 h 2281453"/>
              <a:gd name="connsiteX14" fmla="*/ 13100722 w 17459259"/>
              <a:gd name="connsiteY14" fmla="*/ 1807094 h 2281453"/>
              <a:gd name="connsiteX15" fmla="*/ 11320788 w 17459259"/>
              <a:gd name="connsiteY15" fmla="*/ 1807094 h 2281453"/>
              <a:gd name="connsiteX16" fmla="*/ 11404355 w 17459259"/>
              <a:gd name="connsiteY16" fmla="*/ 1891218 h 2281453"/>
              <a:gd name="connsiteX17" fmla="*/ 11320788 w 17459259"/>
              <a:gd name="connsiteY17" fmla="*/ 1974770 h 2281453"/>
              <a:gd name="connsiteX18" fmla="*/ 11237221 w 17459259"/>
              <a:gd name="connsiteY18" fmla="*/ 1891218 h 2281453"/>
              <a:gd name="connsiteX19" fmla="*/ 11320788 w 17459259"/>
              <a:gd name="connsiteY19" fmla="*/ 1807094 h 2281453"/>
              <a:gd name="connsiteX20" fmla="*/ 9540854 w 17459259"/>
              <a:gd name="connsiteY20" fmla="*/ 1807094 h 2281453"/>
              <a:gd name="connsiteX21" fmla="*/ 9624421 w 17459259"/>
              <a:gd name="connsiteY21" fmla="*/ 1891218 h 2281453"/>
              <a:gd name="connsiteX22" fmla="*/ 9540854 w 17459259"/>
              <a:gd name="connsiteY22" fmla="*/ 1974770 h 2281453"/>
              <a:gd name="connsiteX23" fmla="*/ 9457287 w 17459259"/>
              <a:gd name="connsiteY23" fmla="*/ 1891218 h 2281453"/>
              <a:gd name="connsiteX24" fmla="*/ 9540854 w 17459259"/>
              <a:gd name="connsiteY24" fmla="*/ 1807094 h 2281453"/>
              <a:gd name="connsiteX25" fmla="*/ 7760920 w 17459259"/>
              <a:gd name="connsiteY25" fmla="*/ 1807094 h 2281453"/>
              <a:gd name="connsiteX26" fmla="*/ 7844487 w 17459259"/>
              <a:gd name="connsiteY26" fmla="*/ 1891218 h 2281453"/>
              <a:gd name="connsiteX27" fmla="*/ 7760920 w 17459259"/>
              <a:gd name="connsiteY27" fmla="*/ 1974770 h 2281453"/>
              <a:gd name="connsiteX28" fmla="*/ 7677353 w 17459259"/>
              <a:gd name="connsiteY28" fmla="*/ 1891218 h 2281453"/>
              <a:gd name="connsiteX29" fmla="*/ 7760920 w 17459259"/>
              <a:gd name="connsiteY29" fmla="*/ 1807094 h 2281453"/>
              <a:gd name="connsiteX30" fmla="*/ 5981278 w 17459259"/>
              <a:gd name="connsiteY30" fmla="*/ 1807094 h 2281453"/>
              <a:gd name="connsiteX31" fmla="*/ 6064845 w 17459259"/>
              <a:gd name="connsiteY31" fmla="*/ 1891218 h 2281453"/>
              <a:gd name="connsiteX32" fmla="*/ 5981278 w 17459259"/>
              <a:gd name="connsiteY32" fmla="*/ 1974770 h 2281453"/>
              <a:gd name="connsiteX33" fmla="*/ 5897711 w 17459259"/>
              <a:gd name="connsiteY33" fmla="*/ 1891218 h 2281453"/>
              <a:gd name="connsiteX34" fmla="*/ 5981278 w 17459259"/>
              <a:gd name="connsiteY34" fmla="*/ 1807094 h 2281453"/>
              <a:gd name="connsiteX35" fmla="*/ 4201635 w 17459259"/>
              <a:gd name="connsiteY35" fmla="*/ 1807094 h 2281453"/>
              <a:gd name="connsiteX36" fmla="*/ 4285204 w 17459259"/>
              <a:gd name="connsiteY36" fmla="*/ 1891218 h 2281453"/>
              <a:gd name="connsiteX37" fmla="*/ 4201635 w 17459259"/>
              <a:gd name="connsiteY37" fmla="*/ 1974770 h 2281453"/>
              <a:gd name="connsiteX38" fmla="*/ 4118068 w 17459259"/>
              <a:gd name="connsiteY38" fmla="*/ 1891218 h 2281453"/>
              <a:gd name="connsiteX39" fmla="*/ 4201635 w 17459259"/>
              <a:gd name="connsiteY39" fmla="*/ 1807094 h 2281453"/>
              <a:gd name="connsiteX40" fmla="*/ 2421992 w 17459259"/>
              <a:gd name="connsiteY40" fmla="*/ 1807094 h 2281453"/>
              <a:gd name="connsiteX41" fmla="*/ 2505559 w 17459259"/>
              <a:gd name="connsiteY41" fmla="*/ 1891218 h 2281453"/>
              <a:gd name="connsiteX42" fmla="*/ 2421992 w 17459259"/>
              <a:gd name="connsiteY42" fmla="*/ 1974770 h 2281453"/>
              <a:gd name="connsiteX43" fmla="*/ 2338425 w 17459259"/>
              <a:gd name="connsiteY43" fmla="*/ 1891218 h 2281453"/>
              <a:gd name="connsiteX44" fmla="*/ 2421992 w 17459259"/>
              <a:gd name="connsiteY44" fmla="*/ 1807094 h 2281453"/>
              <a:gd name="connsiteX45" fmla="*/ 642299 w 17459259"/>
              <a:gd name="connsiteY45" fmla="*/ 1807094 h 2281453"/>
              <a:gd name="connsiteX46" fmla="*/ 725867 w 17459259"/>
              <a:gd name="connsiteY46" fmla="*/ 1891218 h 2281453"/>
              <a:gd name="connsiteX47" fmla="*/ 642299 w 17459259"/>
              <a:gd name="connsiteY47" fmla="*/ 1974770 h 2281453"/>
              <a:gd name="connsiteX48" fmla="*/ 558732 w 17459259"/>
              <a:gd name="connsiteY48" fmla="*/ 1891218 h 2281453"/>
              <a:gd name="connsiteX49" fmla="*/ 642299 w 17459259"/>
              <a:gd name="connsiteY49" fmla="*/ 1807094 h 2281453"/>
              <a:gd name="connsiteX50" fmla="*/ 16283393 w 17459259"/>
              <a:gd name="connsiteY50" fmla="*/ 406168 h 2281453"/>
              <a:gd name="connsiteX51" fmla="*/ 17038359 w 17459259"/>
              <a:gd name="connsiteY51" fmla="*/ 406168 h 2281453"/>
              <a:gd name="connsiteX52" fmla="*/ 17038359 w 17459259"/>
              <a:gd name="connsiteY52" fmla="*/ 1748722 h 2281453"/>
              <a:gd name="connsiteX53" fmla="*/ 16283393 w 17459259"/>
              <a:gd name="connsiteY53" fmla="*/ 1748722 h 2281453"/>
              <a:gd name="connsiteX54" fmla="*/ 14503459 w 17459259"/>
              <a:gd name="connsiteY54" fmla="*/ 406168 h 2281453"/>
              <a:gd name="connsiteX55" fmla="*/ 15258425 w 17459259"/>
              <a:gd name="connsiteY55" fmla="*/ 406168 h 2281453"/>
              <a:gd name="connsiteX56" fmla="*/ 15258425 w 17459259"/>
              <a:gd name="connsiteY56" fmla="*/ 1748722 h 2281453"/>
              <a:gd name="connsiteX57" fmla="*/ 14503459 w 17459259"/>
              <a:gd name="connsiteY57" fmla="*/ 1748722 h 2281453"/>
              <a:gd name="connsiteX58" fmla="*/ 12723525 w 17459259"/>
              <a:gd name="connsiteY58" fmla="*/ 406168 h 2281453"/>
              <a:gd name="connsiteX59" fmla="*/ 13478491 w 17459259"/>
              <a:gd name="connsiteY59" fmla="*/ 406168 h 2281453"/>
              <a:gd name="connsiteX60" fmla="*/ 13478491 w 17459259"/>
              <a:gd name="connsiteY60" fmla="*/ 1748722 h 2281453"/>
              <a:gd name="connsiteX61" fmla="*/ 12723525 w 17459259"/>
              <a:gd name="connsiteY61" fmla="*/ 1748722 h 2281453"/>
              <a:gd name="connsiteX62" fmla="*/ 10943591 w 17459259"/>
              <a:gd name="connsiteY62" fmla="*/ 406168 h 2281453"/>
              <a:gd name="connsiteX63" fmla="*/ 11698557 w 17459259"/>
              <a:gd name="connsiteY63" fmla="*/ 406168 h 2281453"/>
              <a:gd name="connsiteX64" fmla="*/ 11698557 w 17459259"/>
              <a:gd name="connsiteY64" fmla="*/ 1748722 h 2281453"/>
              <a:gd name="connsiteX65" fmla="*/ 10943591 w 17459259"/>
              <a:gd name="connsiteY65" fmla="*/ 1748722 h 2281453"/>
              <a:gd name="connsiteX66" fmla="*/ 9163657 w 17459259"/>
              <a:gd name="connsiteY66" fmla="*/ 406168 h 2281453"/>
              <a:gd name="connsiteX67" fmla="*/ 9918623 w 17459259"/>
              <a:gd name="connsiteY67" fmla="*/ 406168 h 2281453"/>
              <a:gd name="connsiteX68" fmla="*/ 9918623 w 17459259"/>
              <a:gd name="connsiteY68" fmla="*/ 1748722 h 2281453"/>
              <a:gd name="connsiteX69" fmla="*/ 9163657 w 17459259"/>
              <a:gd name="connsiteY69" fmla="*/ 1748722 h 2281453"/>
              <a:gd name="connsiteX70" fmla="*/ 7383723 w 17459259"/>
              <a:gd name="connsiteY70" fmla="*/ 406168 h 2281453"/>
              <a:gd name="connsiteX71" fmla="*/ 8138689 w 17459259"/>
              <a:gd name="connsiteY71" fmla="*/ 406168 h 2281453"/>
              <a:gd name="connsiteX72" fmla="*/ 8138689 w 17459259"/>
              <a:gd name="connsiteY72" fmla="*/ 1748722 h 2281453"/>
              <a:gd name="connsiteX73" fmla="*/ 7383723 w 17459259"/>
              <a:gd name="connsiteY73" fmla="*/ 1748722 h 2281453"/>
              <a:gd name="connsiteX74" fmla="*/ 5604080 w 17459259"/>
              <a:gd name="connsiteY74" fmla="*/ 406168 h 2281453"/>
              <a:gd name="connsiteX75" fmla="*/ 6359048 w 17459259"/>
              <a:gd name="connsiteY75" fmla="*/ 406168 h 2281453"/>
              <a:gd name="connsiteX76" fmla="*/ 6359048 w 17459259"/>
              <a:gd name="connsiteY76" fmla="*/ 1748722 h 2281453"/>
              <a:gd name="connsiteX77" fmla="*/ 5604080 w 17459259"/>
              <a:gd name="connsiteY77" fmla="*/ 1748722 h 2281453"/>
              <a:gd name="connsiteX78" fmla="*/ 3824438 w 17459259"/>
              <a:gd name="connsiteY78" fmla="*/ 406168 h 2281453"/>
              <a:gd name="connsiteX79" fmla="*/ 4579405 w 17459259"/>
              <a:gd name="connsiteY79" fmla="*/ 406168 h 2281453"/>
              <a:gd name="connsiteX80" fmla="*/ 4579405 w 17459259"/>
              <a:gd name="connsiteY80" fmla="*/ 1748722 h 2281453"/>
              <a:gd name="connsiteX81" fmla="*/ 3824438 w 17459259"/>
              <a:gd name="connsiteY81" fmla="*/ 1748722 h 2281453"/>
              <a:gd name="connsiteX82" fmla="*/ 2044795 w 17459259"/>
              <a:gd name="connsiteY82" fmla="*/ 406168 h 2281453"/>
              <a:gd name="connsiteX83" fmla="*/ 2799761 w 17459259"/>
              <a:gd name="connsiteY83" fmla="*/ 406168 h 2281453"/>
              <a:gd name="connsiteX84" fmla="*/ 2799761 w 17459259"/>
              <a:gd name="connsiteY84" fmla="*/ 1748722 h 2281453"/>
              <a:gd name="connsiteX85" fmla="*/ 2044795 w 17459259"/>
              <a:gd name="connsiteY85" fmla="*/ 1748722 h 2281453"/>
              <a:gd name="connsiteX86" fmla="*/ 265102 w 17459259"/>
              <a:gd name="connsiteY86" fmla="*/ 406168 h 2281453"/>
              <a:gd name="connsiteX87" fmla="*/ 1020069 w 17459259"/>
              <a:gd name="connsiteY87" fmla="*/ 406168 h 2281453"/>
              <a:gd name="connsiteX88" fmla="*/ 1020069 w 17459259"/>
              <a:gd name="connsiteY88" fmla="*/ 1748722 h 2281453"/>
              <a:gd name="connsiteX89" fmla="*/ 265102 w 17459259"/>
              <a:gd name="connsiteY89" fmla="*/ 1748722 h 2281453"/>
              <a:gd name="connsiteX90" fmla="*/ 16545541 w 17459259"/>
              <a:gd name="connsiteY90" fmla="*/ 280840 h 2281453"/>
              <a:gd name="connsiteX91" fmla="*/ 16775065 w 17459259"/>
              <a:gd name="connsiteY91" fmla="*/ 280840 h 2281453"/>
              <a:gd name="connsiteX92" fmla="*/ 16787085 w 17459259"/>
              <a:gd name="connsiteY92" fmla="*/ 298581 h 2281453"/>
              <a:gd name="connsiteX93" fmla="*/ 16787085 w 17459259"/>
              <a:gd name="connsiteY93" fmla="*/ 303731 h 2281453"/>
              <a:gd name="connsiteX94" fmla="*/ 16775065 w 17459259"/>
              <a:gd name="connsiteY94" fmla="*/ 322044 h 2281453"/>
              <a:gd name="connsiteX95" fmla="*/ 16545541 w 17459259"/>
              <a:gd name="connsiteY95" fmla="*/ 322044 h 2281453"/>
              <a:gd name="connsiteX96" fmla="*/ 16534667 w 17459259"/>
              <a:gd name="connsiteY96" fmla="*/ 303731 h 2281453"/>
              <a:gd name="connsiteX97" fmla="*/ 16534667 w 17459259"/>
              <a:gd name="connsiteY97" fmla="*/ 298581 h 2281453"/>
              <a:gd name="connsiteX98" fmla="*/ 16545541 w 17459259"/>
              <a:gd name="connsiteY98" fmla="*/ 280840 h 2281453"/>
              <a:gd name="connsiteX99" fmla="*/ 14765608 w 17459259"/>
              <a:gd name="connsiteY99" fmla="*/ 280840 h 2281453"/>
              <a:gd name="connsiteX100" fmla="*/ 14995131 w 17459259"/>
              <a:gd name="connsiteY100" fmla="*/ 280840 h 2281453"/>
              <a:gd name="connsiteX101" fmla="*/ 15007151 w 17459259"/>
              <a:gd name="connsiteY101" fmla="*/ 298581 h 2281453"/>
              <a:gd name="connsiteX102" fmla="*/ 15007151 w 17459259"/>
              <a:gd name="connsiteY102" fmla="*/ 303731 h 2281453"/>
              <a:gd name="connsiteX103" fmla="*/ 14995131 w 17459259"/>
              <a:gd name="connsiteY103" fmla="*/ 322044 h 2281453"/>
              <a:gd name="connsiteX104" fmla="*/ 14765608 w 17459259"/>
              <a:gd name="connsiteY104" fmla="*/ 322044 h 2281453"/>
              <a:gd name="connsiteX105" fmla="*/ 14754733 w 17459259"/>
              <a:gd name="connsiteY105" fmla="*/ 303731 h 2281453"/>
              <a:gd name="connsiteX106" fmla="*/ 14754733 w 17459259"/>
              <a:gd name="connsiteY106" fmla="*/ 298581 h 2281453"/>
              <a:gd name="connsiteX107" fmla="*/ 14765608 w 17459259"/>
              <a:gd name="connsiteY107" fmla="*/ 280840 h 2281453"/>
              <a:gd name="connsiteX108" fmla="*/ 12985674 w 17459259"/>
              <a:gd name="connsiteY108" fmla="*/ 280840 h 2281453"/>
              <a:gd name="connsiteX109" fmla="*/ 13215197 w 17459259"/>
              <a:gd name="connsiteY109" fmla="*/ 280840 h 2281453"/>
              <a:gd name="connsiteX110" fmla="*/ 13227217 w 17459259"/>
              <a:gd name="connsiteY110" fmla="*/ 298581 h 2281453"/>
              <a:gd name="connsiteX111" fmla="*/ 13227217 w 17459259"/>
              <a:gd name="connsiteY111" fmla="*/ 303731 h 2281453"/>
              <a:gd name="connsiteX112" fmla="*/ 13215197 w 17459259"/>
              <a:gd name="connsiteY112" fmla="*/ 322044 h 2281453"/>
              <a:gd name="connsiteX113" fmla="*/ 12985674 w 17459259"/>
              <a:gd name="connsiteY113" fmla="*/ 322044 h 2281453"/>
              <a:gd name="connsiteX114" fmla="*/ 12974799 w 17459259"/>
              <a:gd name="connsiteY114" fmla="*/ 303731 h 2281453"/>
              <a:gd name="connsiteX115" fmla="*/ 12974799 w 17459259"/>
              <a:gd name="connsiteY115" fmla="*/ 298581 h 2281453"/>
              <a:gd name="connsiteX116" fmla="*/ 12985674 w 17459259"/>
              <a:gd name="connsiteY116" fmla="*/ 280840 h 2281453"/>
              <a:gd name="connsiteX117" fmla="*/ 11205740 w 17459259"/>
              <a:gd name="connsiteY117" fmla="*/ 280840 h 2281453"/>
              <a:gd name="connsiteX118" fmla="*/ 11435263 w 17459259"/>
              <a:gd name="connsiteY118" fmla="*/ 280840 h 2281453"/>
              <a:gd name="connsiteX119" fmla="*/ 11447283 w 17459259"/>
              <a:gd name="connsiteY119" fmla="*/ 298581 h 2281453"/>
              <a:gd name="connsiteX120" fmla="*/ 11447283 w 17459259"/>
              <a:gd name="connsiteY120" fmla="*/ 303731 h 2281453"/>
              <a:gd name="connsiteX121" fmla="*/ 11435263 w 17459259"/>
              <a:gd name="connsiteY121" fmla="*/ 322044 h 2281453"/>
              <a:gd name="connsiteX122" fmla="*/ 11205740 w 17459259"/>
              <a:gd name="connsiteY122" fmla="*/ 322044 h 2281453"/>
              <a:gd name="connsiteX123" fmla="*/ 11194865 w 17459259"/>
              <a:gd name="connsiteY123" fmla="*/ 303731 h 2281453"/>
              <a:gd name="connsiteX124" fmla="*/ 11194865 w 17459259"/>
              <a:gd name="connsiteY124" fmla="*/ 298581 h 2281453"/>
              <a:gd name="connsiteX125" fmla="*/ 11205740 w 17459259"/>
              <a:gd name="connsiteY125" fmla="*/ 280840 h 2281453"/>
              <a:gd name="connsiteX126" fmla="*/ 9425806 w 17459259"/>
              <a:gd name="connsiteY126" fmla="*/ 280840 h 2281453"/>
              <a:gd name="connsiteX127" fmla="*/ 9655329 w 17459259"/>
              <a:gd name="connsiteY127" fmla="*/ 280840 h 2281453"/>
              <a:gd name="connsiteX128" fmla="*/ 9667349 w 17459259"/>
              <a:gd name="connsiteY128" fmla="*/ 298581 h 2281453"/>
              <a:gd name="connsiteX129" fmla="*/ 9667349 w 17459259"/>
              <a:gd name="connsiteY129" fmla="*/ 303731 h 2281453"/>
              <a:gd name="connsiteX130" fmla="*/ 9655329 w 17459259"/>
              <a:gd name="connsiteY130" fmla="*/ 322044 h 2281453"/>
              <a:gd name="connsiteX131" fmla="*/ 9425806 w 17459259"/>
              <a:gd name="connsiteY131" fmla="*/ 322044 h 2281453"/>
              <a:gd name="connsiteX132" fmla="*/ 9414931 w 17459259"/>
              <a:gd name="connsiteY132" fmla="*/ 303731 h 2281453"/>
              <a:gd name="connsiteX133" fmla="*/ 9414931 w 17459259"/>
              <a:gd name="connsiteY133" fmla="*/ 298581 h 2281453"/>
              <a:gd name="connsiteX134" fmla="*/ 9425806 w 17459259"/>
              <a:gd name="connsiteY134" fmla="*/ 280840 h 2281453"/>
              <a:gd name="connsiteX135" fmla="*/ 7645872 w 17459259"/>
              <a:gd name="connsiteY135" fmla="*/ 280840 h 2281453"/>
              <a:gd name="connsiteX136" fmla="*/ 7875395 w 17459259"/>
              <a:gd name="connsiteY136" fmla="*/ 280840 h 2281453"/>
              <a:gd name="connsiteX137" fmla="*/ 7887415 w 17459259"/>
              <a:gd name="connsiteY137" fmla="*/ 298581 h 2281453"/>
              <a:gd name="connsiteX138" fmla="*/ 7887415 w 17459259"/>
              <a:gd name="connsiteY138" fmla="*/ 303731 h 2281453"/>
              <a:gd name="connsiteX139" fmla="*/ 7875395 w 17459259"/>
              <a:gd name="connsiteY139" fmla="*/ 322044 h 2281453"/>
              <a:gd name="connsiteX140" fmla="*/ 7645872 w 17459259"/>
              <a:gd name="connsiteY140" fmla="*/ 322044 h 2281453"/>
              <a:gd name="connsiteX141" fmla="*/ 7634997 w 17459259"/>
              <a:gd name="connsiteY141" fmla="*/ 303731 h 2281453"/>
              <a:gd name="connsiteX142" fmla="*/ 7634997 w 17459259"/>
              <a:gd name="connsiteY142" fmla="*/ 298581 h 2281453"/>
              <a:gd name="connsiteX143" fmla="*/ 7645872 w 17459259"/>
              <a:gd name="connsiteY143" fmla="*/ 280840 h 2281453"/>
              <a:gd name="connsiteX144" fmla="*/ 5866231 w 17459259"/>
              <a:gd name="connsiteY144" fmla="*/ 280840 h 2281453"/>
              <a:gd name="connsiteX145" fmla="*/ 6095755 w 17459259"/>
              <a:gd name="connsiteY145" fmla="*/ 280840 h 2281453"/>
              <a:gd name="connsiteX146" fmla="*/ 6107773 w 17459259"/>
              <a:gd name="connsiteY146" fmla="*/ 298581 h 2281453"/>
              <a:gd name="connsiteX147" fmla="*/ 6107773 w 17459259"/>
              <a:gd name="connsiteY147" fmla="*/ 303731 h 2281453"/>
              <a:gd name="connsiteX148" fmla="*/ 6095755 w 17459259"/>
              <a:gd name="connsiteY148" fmla="*/ 322044 h 2281453"/>
              <a:gd name="connsiteX149" fmla="*/ 5866231 w 17459259"/>
              <a:gd name="connsiteY149" fmla="*/ 322044 h 2281453"/>
              <a:gd name="connsiteX150" fmla="*/ 5855355 w 17459259"/>
              <a:gd name="connsiteY150" fmla="*/ 303731 h 2281453"/>
              <a:gd name="connsiteX151" fmla="*/ 5855355 w 17459259"/>
              <a:gd name="connsiteY151" fmla="*/ 298581 h 2281453"/>
              <a:gd name="connsiteX152" fmla="*/ 5866231 w 17459259"/>
              <a:gd name="connsiteY152" fmla="*/ 280840 h 2281453"/>
              <a:gd name="connsiteX153" fmla="*/ 4086588 w 17459259"/>
              <a:gd name="connsiteY153" fmla="*/ 280840 h 2281453"/>
              <a:gd name="connsiteX154" fmla="*/ 4316110 w 17459259"/>
              <a:gd name="connsiteY154" fmla="*/ 280840 h 2281453"/>
              <a:gd name="connsiteX155" fmla="*/ 4328130 w 17459259"/>
              <a:gd name="connsiteY155" fmla="*/ 298581 h 2281453"/>
              <a:gd name="connsiteX156" fmla="*/ 4328130 w 17459259"/>
              <a:gd name="connsiteY156" fmla="*/ 303731 h 2281453"/>
              <a:gd name="connsiteX157" fmla="*/ 4316110 w 17459259"/>
              <a:gd name="connsiteY157" fmla="*/ 322044 h 2281453"/>
              <a:gd name="connsiteX158" fmla="*/ 4086588 w 17459259"/>
              <a:gd name="connsiteY158" fmla="*/ 322044 h 2281453"/>
              <a:gd name="connsiteX159" fmla="*/ 4075711 w 17459259"/>
              <a:gd name="connsiteY159" fmla="*/ 303731 h 2281453"/>
              <a:gd name="connsiteX160" fmla="*/ 4075711 w 17459259"/>
              <a:gd name="connsiteY160" fmla="*/ 298581 h 2281453"/>
              <a:gd name="connsiteX161" fmla="*/ 4086588 w 17459259"/>
              <a:gd name="connsiteY161" fmla="*/ 280840 h 2281453"/>
              <a:gd name="connsiteX162" fmla="*/ 2306944 w 17459259"/>
              <a:gd name="connsiteY162" fmla="*/ 280840 h 2281453"/>
              <a:gd name="connsiteX163" fmla="*/ 2536467 w 17459259"/>
              <a:gd name="connsiteY163" fmla="*/ 280840 h 2281453"/>
              <a:gd name="connsiteX164" fmla="*/ 2548488 w 17459259"/>
              <a:gd name="connsiteY164" fmla="*/ 298581 h 2281453"/>
              <a:gd name="connsiteX165" fmla="*/ 2548488 w 17459259"/>
              <a:gd name="connsiteY165" fmla="*/ 303731 h 2281453"/>
              <a:gd name="connsiteX166" fmla="*/ 2536467 w 17459259"/>
              <a:gd name="connsiteY166" fmla="*/ 322044 h 2281453"/>
              <a:gd name="connsiteX167" fmla="*/ 2306944 w 17459259"/>
              <a:gd name="connsiteY167" fmla="*/ 322044 h 2281453"/>
              <a:gd name="connsiteX168" fmla="*/ 2296069 w 17459259"/>
              <a:gd name="connsiteY168" fmla="*/ 303731 h 2281453"/>
              <a:gd name="connsiteX169" fmla="*/ 2296069 w 17459259"/>
              <a:gd name="connsiteY169" fmla="*/ 298581 h 2281453"/>
              <a:gd name="connsiteX170" fmla="*/ 2306944 w 17459259"/>
              <a:gd name="connsiteY170" fmla="*/ 280840 h 2281453"/>
              <a:gd name="connsiteX171" fmla="*/ 527251 w 17459259"/>
              <a:gd name="connsiteY171" fmla="*/ 280840 h 2281453"/>
              <a:gd name="connsiteX172" fmla="*/ 756775 w 17459259"/>
              <a:gd name="connsiteY172" fmla="*/ 280840 h 2281453"/>
              <a:gd name="connsiteX173" fmla="*/ 768796 w 17459259"/>
              <a:gd name="connsiteY173" fmla="*/ 298581 h 2281453"/>
              <a:gd name="connsiteX174" fmla="*/ 768796 w 17459259"/>
              <a:gd name="connsiteY174" fmla="*/ 303731 h 2281453"/>
              <a:gd name="connsiteX175" fmla="*/ 756775 w 17459259"/>
              <a:gd name="connsiteY175" fmla="*/ 322044 h 2281453"/>
              <a:gd name="connsiteX176" fmla="*/ 527251 w 17459259"/>
              <a:gd name="connsiteY176" fmla="*/ 322044 h 2281453"/>
              <a:gd name="connsiteX177" fmla="*/ 516376 w 17459259"/>
              <a:gd name="connsiteY177" fmla="*/ 303731 h 2281453"/>
              <a:gd name="connsiteX178" fmla="*/ 516376 w 17459259"/>
              <a:gd name="connsiteY178" fmla="*/ 298581 h 2281453"/>
              <a:gd name="connsiteX179" fmla="*/ 527251 w 17459259"/>
              <a:gd name="connsiteY179" fmla="*/ 280840 h 2281453"/>
              <a:gd name="connsiteX180" fmla="*/ 16366959 w 17459259"/>
              <a:gd name="connsiteY180" fmla="*/ 196716 h 2281453"/>
              <a:gd name="connsiteX181" fmla="*/ 16199253 w 17459259"/>
              <a:gd name="connsiteY181" fmla="*/ 364392 h 2281453"/>
              <a:gd name="connsiteX182" fmla="*/ 16199253 w 17459259"/>
              <a:gd name="connsiteY182" fmla="*/ 1876339 h 2281453"/>
              <a:gd name="connsiteX183" fmla="*/ 16366959 w 17459259"/>
              <a:gd name="connsiteY183" fmla="*/ 2045160 h 2281453"/>
              <a:gd name="connsiteX184" fmla="*/ 16954219 w 17459259"/>
              <a:gd name="connsiteY184" fmla="*/ 2045160 h 2281453"/>
              <a:gd name="connsiteX185" fmla="*/ 17121927 w 17459259"/>
              <a:gd name="connsiteY185" fmla="*/ 1876339 h 2281453"/>
              <a:gd name="connsiteX186" fmla="*/ 17121927 w 17459259"/>
              <a:gd name="connsiteY186" fmla="*/ 364392 h 2281453"/>
              <a:gd name="connsiteX187" fmla="*/ 16954219 w 17459259"/>
              <a:gd name="connsiteY187" fmla="*/ 196716 h 2281453"/>
              <a:gd name="connsiteX188" fmla="*/ 14587026 w 17459259"/>
              <a:gd name="connsiteY188" fmla="*/ 196716 h 2281453"/>
              <a:gd name="connsiteX189" fmla="*/ 14419319 w 17459259"/>
              <a:gd name="connsiteY189" fmla="*/ 364392 h 2281453"/>
              <a:gd name="connsiteX190" fmla="*/ 14419319 w 17459259"/>
              <a:gd name="connsiteY190" fmla="*/ 1876339 h 2281453"/>
              <a:gd name="connsiteX191" fmla="*/ 14587026 w 17459259"/>
              <a:gd name="connsiteY191" fmla="*/ 2045160 h 2281453"/>
              <a:gd name="connsiteX192" fmla="*/ 15174286 w 17459259"/>
              <a:gd name="connsiteY192" fmla="*/ 2045160 h 2281453"/>
              <a:gd name="connsiteX193" fmla="*/ 15341993 w 17459259"/>
              <a:gd name="connsiteY193" fmla="*/ 1876339 h 2281453"/>
              <a:gd name="connsiteX194" fmla="*/ 15341993 w 17459259"/>
              <a:gd name="connsiteY194" fmla="*/ 364392 h 2281453"/>
              <a:gd name="connsiteX195" fmla="*/ 15174286 w 17459259"/>
              <a:gd name="connsiteY195" fmla="*/ 196716 h 2281453"/>
              <a:gd name="connsiteX196" fmla="*/ 12807092 w 17459259"/>
              <a:gd name="connsiteY196" fmla="*/ 196716 h 2281453"/>
              <a:gd name="connsiteX197" fmla="*/ 12639385 w 17459259"/>
              <a:gd name="connsiteY197" fmla="*/ 364392 h 2281453"/>
              <a:gd name="connsiteX198" fmla="*/ 12639385 w 17459259"/>
              <a:gd name="connsiteY198" fmla="*/ 1876339 h 2281453"/>
              <a:gd name="connsiteX199" fmla="*/ 12807092 w 17459259"/>
              <a:gd name="connsiteY199" fmla="*/ 2045160 h 2281453"/>
              <a:gd name="connsiteX200" fmla="*/ 13394352 w 17459259"/>
              <a:gd name="connsiteY200" fmla="*/ 2045160 h 2281453"/>
              <a:gd name="connsiteX201" fmla="*/ 13562059 w 17459259"/>
              <a:gd name="connsiteY201" fmla="*/ 1876339 h 2281453"/>
              <a:gd name="connsiteX202" fmla="*/ 13562059 w 17459259"/>
              <a:gd name="connsiteY202" fmla="*/ 364392 h 2281453"/>
              <a:gd name="connsiteX203" fmla="*/ 13394352 w 17459259"/>
              <a:gd name="connsiteY203" fmla="*/ 196716 h 2281453"/>
              <a:gd name="connsiteX204" fmla="*/ 11027158 w 17459259"/>
              <a:gd name="connsiteY204" fmla="*/ 196716 h 2281453"/>
              <a:gd name="connsiteX205" fmla="*/ 10859451 w 17459259"/>
              <a:gd name="connsiteY205" fmla="*/ 364392 h 2281453"/>
              <a:gd name="connsiteX206" fmla="*/ 10859451 w 17459259"/>
              <a:gd name="connsiteY206" fmla="*/ 1876339 h 2281453"/>
              <a:gd name="connsiteX207" fmla="*/ 11027158 w 17459259"/>
              <a:gd name="connsiteY207" fmla="*/ 2045160 h 2281453"/>
              <a:gd name="connsiteX208" fmla="*/ 11614418 w 17459259"/>
              <a:gd name="connsiteY208" fmla="*/ 2045160 h 2281453"/>
              <a:gd name="connsiteX209" fmla="*/ 11782125 w 17459259"/>
              <a:gd name="connsiteY209" fmla="*/ 1876339 h 2281453"/>
              <a:gd name="connsiteX210" fmla="*/ 11782125 w 17459259"/>
              <a:gd name="connsiteY210" fmla="*/ 364392 h 2281453"/>
              <a:gd name="connsiteX211" fmla="*/ 11614418 w 17459259"/>
              <a:gd name="connsiteY211" fmla="*/ 196716 h 2281453"/>
              <a:gd name="connsiteX212" fmla="*/ 9247224 w 17459259"/>
              <a:gd name="connsiteY212" fmla="*/ 196716 h 2281453"/>
              <a:gd name="connsiteX213" fmla="*/ 9079517 w 17459259"/>
              <a:gd name="connsiteY213" fmla="*/ 364392 h 2281453"/>
              <a:gd name="connsiteX214" fmla="*/ 9079517 w 17459259"/>
              <a:gd name="connsiteY214" fmla="*/ 1876339 h 2281453"/>
              <a:gd name="connsiteX215" fmla="*/ 9247224 w 17459259"/>
              <a:gd name="connsiteY215" fmla="*/ 2045160 h 2281453"/>
              <a:gd name="connsiteX216" fmla="*/ 9834484 w 17459259"/>
              <a:gd name="connsiteY216" fmla="*/ 2045160 h 2281453"/>
              <a:gd name="connsiteX217" fmla="*/ 10002191 w 17459259"/>
              <a:gd name="connsiteY217" fmla="*/ 1876339 h 2281453"/>
              <a:gd name="connsiteX218" fmla="*/ 10002191 w 17459259"/>
              <a:gd name="connsiteY218" fmla="*/ 364392 h 2281453"/>
              <a:gd name="connsiteX219" fmla="*/ 9834484 w 17459259"/>
              <a:gd name="connsiteY219" fmla="*/ 196716 h 2281453"/>
              <a:gd name="connsiteX220" fmla="*/ 7467290 w 17459259"/>
              <a:gd name="connsiteY220" fmla="*/ 196716 h 2281453"/>
              <a:gd name="connsiteX221" fmla="*/ 7299583 w 17459259"/>
              <a:gd name="connsiteY221" fmla="*/ 364392 h 2281453"/>
              <a:gd name="connsiteX222" fmla="*/ 7299583 w 17459259"/>
              <a:gd name="connsiteY222" fmla="*/ 1876339 h 2281453"/>
              <a:gd name="connsiteX223" fmla="*/ 7467290 w 17459259"/>
              <a:gd name="connsiteY223" fmla="*/ 2045160 h 2281453"/>
              <a:gd name="connsiteX224" fmla="*/ 8054550 w 17459259"/>
              <a:gd name="connsiteY224" fmla="*/ 2045160 h 2281453"/>
              <a:gd name="connsiteX225" fmla="*/ 8222257 w 17459259"/>
              <a:gd name="connsiteY225" fmla="*/ 1876339 h 2281453"/>
              <a:gd name="connsiteX226" fmla="*/ 8222257 w 17459259"/>
              <a:gd name="connsiteY226" fmla="*/ 364392 h 2281453"/>
              <a:gd name="connsiteX227" fmla="*/ 8054550 w 17459259"/>
              <a:gd name="connsiteY227" fmla="*/ 196716 h 2281453"/>
              <a:gd name="connsiteX228" fmla="*/ 5687647 w 17459259"/>
              <a:gd name="connsiteY228" fmla="*/ 196716 h 2281453"/>
              <a:gd name="connsiteX229" fmla="*/ 5519942 w 17459259"/>
              <a:gd name="connsiteY229" fmla="*/ 364392 h 2281453"/>
              <a:gd name="connsiteX230" fmla="*/ 5519942 w 17459259"/>
              <a:gd name="connsiteY230" fmla="*/ 1876339 h 2281453"/>
              <a:gd name="connsiteX231" fmla="*/ 5687647 w 17459259"/>
              <a:gd name="connsiteY231" fmla="*/ 2045160 h 2281453"/>
              <a:gd name="connsiteX232" fmla="*/ 6274908 w 17459259"/>
              <a:gd name="connsiteY232" fmla="*/ 2045160 h 2281453"/>
              <a:gd name="connsiteX233" fmla="*/ 6442614 w 17459259"/>
              <a:gd name="connsiteY233" fmla="*/ 1876339 h 2281453"/>
              <a:gd name="connsiteX234" fmla="*/ 6442614 w 17459259"/>
              <a:gd name="connsiteY234" fmla="*/ 364392 h 2281453"/>
              <a:gd name="connsiteX235" fmla="*/ 6274908 w 17459259"/>
              <a:gd name="connsiteY235" fmla="*/ 196716 h 2281453"/>
              <a:gd name="connsiteX236" fmla="*/ 3908006 w 17459259"/>
              <a:gd name="connsiteY236" fmla="*/ 196716 h 2281453"/>
              <a:gd name="connsiteX237" fmla="*/ 3740299 w 17459259"/>
              <a:gd name="connsiteY237" fmla="*/ 364392 h 2281453"/>
              <a:gd name="connsiteX238" fmla="*/ 3740299 w 17459259"/>
              <a:gd name="connsiteY238" fmla="*/ 1876339 h 2281453"/>
              <a:gd name="connsiteX239" fmla="*/ 3908006 w 17459259"/>
              <a:gd name="connsiteY239" fmla="*/ 2045160 h 2281453"/>
              <a:gd name="connsiteX240" fmla="*/ 4495265 w 17459259"/>
              <a:gd name="connsiteY240" fmla="*/ 2045160 h 2281453"/>
              <a:gd name="connsiteX241" fmla="*/ 4662972 w 17459259"/>
              <a:gd name="connsiteY241" fmla="*/ 1876339 h 2281453"/>
              <a:gd name="connsiteX242" fmla="*/ 4662972 w 17459259"/>
              <a:gd name="connsiteY242" fmla="*/ 364392 h 2281453"/>
              <a:gd name="connsiteX243" fmla="*/ 4495265 w 17459259"/>
              <a:gd name="connsiteY243" fmla="*/ 196716 h 2281453"/>
              <a:gd name="connsiteX244" fmla="*/ 2128363 w 17459259"/>
              <a:gd name="connsiteY244" fmla="*/ 196716 h 2281453"/>
              <a:gd name="connsiteX245" fmla="*/ 1960655 w 17459259"/>
              <a:gd name="connsiteY245" fmla="*/ 364392 h 2281453"/>
              <a:gd name="connsiteX246" fmla="*/ 1960655 w 17459259"/>
              <a:gd name="connsiteY246" fmla="*/ 1876339 h 2281453"/>
              <a:gd name="connsiteX247" fmla="*/ 2128363 w 17459259"/>
              <a:gd name="connsiteY247" fmla="*/ 2045160 h 2281453"/>
              <a:gd name="connsiteX248" fmla="*/ 2715623 w 17459259"/>
              <a:gd name="connsiteY248" fmla="*/ 2045160 h 2281453"/>
              <a:gd name="connsiteX249" fmla="*/ 2883330 w 17459259"/>
              <a:gd name="connsiteY249" fmla="*/ 1876339 h 2281453"/>
              <a:gd name="connsiteX250" fmla="*/ 2883330 w 17459259"/>
              <a:gd name="connsiteY250" fmla="*/ 364392 h 2281453"/>
              <a:gd name="connsiteX251" fmla="*/ 2715623 w 17459259"/>
              <a:gd name="connsiteY251" fmla="*/ 196716 h 2281453"/>
              <a:gd name="connsiteX252" fmla="*/ 348669 w 17459259"/>
              <a:gd name="connsiteY252" fmla="*/ 196716 h 2281453"/>
              <a:gd name="connsiteX253" fmla="*/ 180962 w 17459259"/>
              <a:gd name="connsiteY253" fmla="*/ 364392 h 2281453"/>
              <a:gd name="connsiteX254" fmla="*/ 180962 w 17459259"/>
              <a:gd name="connsiteY254" fmla="*/ 1876339 h 2281453"/>
              <a:gd name="connsiteX255" fmla="*/ 348669 w 17459259"/>
              <a:gd name="connsiteY255" fmla="*/ 2045160 h 2281453"/>
              <a:gd name="connsiteX256" fmla="*/ 935929 w 17459259"/>
              <a:gd name="connsiteY256" fmla="*/ 2045160 h 2281453"/>
              <a:gd name="connsiteX257" fmla="*/ 1103637 w 17459259"/>
              <a:gd name="connsiteY257" fmla="*/ 1876339 h 2281453"/>
              <a:gd name="connsiteX258" fmla="*/ 1103637 w 17459259"/>
              <a:gd name="connsiteY258" fmla="*/ 364392 h 2281453"/>
              <a:gd name="connsiteX259" fmla="*/ 935929 w 17459259"/>
              <a:gd name="connsiteY259" fmla="*/ 196716 h 2281453"/>
              <a:gd name="connsiteX260" fmla="*/ 0 w 17459259"/>
              <a:gd name="connsiteY260" fmla="*/ 0 h 2281453"/>
              <a:gd name="connsiteX261" fmla="*/ 17459259 w 17459259"/>
              <a:gd name="connsiteY261" fmla="*/ 0 h 2281453"/>
              <a:gd name="connsiteX262" fmla="*/ 17459259 w 17459259"/>
              <a:gd name="connsiteY262" fmla="*/ 2281453 h 2281453"/>
              <a:gd name="connsiteX263" fmla="*/ 0 w 17459259"/>
              <a:gd name="connsiteY263" fmla="*/ 2281453 h 2281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Lst>
            <a:rect l="l" t="t" r="r" b="b"/>
            <a:pathLst>
              <a:path w="17459259" h="2281453">
                <a:moveTo>
                  <a:pt x="16660589" y="1807094"/>
                </a:moveTo>
                <a:cubicBezTo>
                  <a:pt x="16706953" y="1807094"/>
                  <a:pt x="16744157" y="1844864"/>
                  <a:pt x="16744157" y="1891218"/>
                </a:cubicBezTo>
                <a:cubicBezTo>
                  <a:pt x="16744157" y="1937000"/>
                  <a:pt x="16706953" y="1974770"/>
                  <a:pt x="16660589" y="1974770"/>
                </a:cubicBezTo>
                <a:cubicBezTo>
                  <a:pt x="16614227" y="1974770"/>
                  <a:pt x="16577023" y="1937000"/>
                  <a:pt x="16577023" y="1891218"/>
                </a:cubicBezTo>
                <a:cubicBezTo>
                  <a:pt x="16577023" y="1844864"/>
                  <a:pt x="16614227" y="1807094"/>
                  <a:pt x="16660589" y="1807094"/>
                </a:cubicBezTo>
                <a:close/>
                <a:moveTo>
                  <a:pt x="14880656" y="1807094"/>
                </a:moveTo>
                <a:cubicBezTo>
                  <a:pt x="14927018" y="1807094"/>
                  <a:pt x="14964223" y="1844864"/>
                  <a:pt x="14964223" y="1891218"/>
                </a:cubicBezTo>
                <a:cubicBezTo>
                  <a:pt x="14964223" y="1937000"/>
                  <a:pt x="14927018" y="1974770"/>
                  <a:pt x="14880656" y="1974770"/>
                </a:cubicBezTo>
                <a:cubicBezTo>
                  <a:pt x="14834293" y="1974770"/>
                  <a:pt x="14797089" y="1937000"/>
                  <a:pt x="14797089" y="1891218"/>
                </a:cubicBezTo>
                <a:cubicBezTo>
                  <a:pt x="14797089" y="1844864"/>
                  <a:pt x="14834293" y="1807094"/>
                  <a:pt x="14880656" y="1807094"/>
                </a:cubicBezTo>
                <a:close/>
                <a:moveTo>
                  <a:pt x="13100722" y="1807094"/>
                </a:moveTo>
                <a:cubicBezTo>
                  <a:pt x="13147084" y="1807094"/>
                  <a:pt x="13184289" y="1844864"/>
                  <a:pt x="13184289" y="1891218"/>
                </a:cubicBezTo>
                <a:cubicBezTo>
                  <a:pt x="13184289" y="1937000"/>
                  <a:pt x="13147084" y="1974770"/>
                  <a:pt x="13100722" y="1974770"/>
                </a:cubicBezTo>
                <a:cubicBezTo>
                  <a:pt x="13054359" y="1974770"/>
                  <a:pt x="13017155" y="1937000"/>
                  <a:pt x="13017155" y="1891218"/>
                </a:cubicBezTo>
                <a:cubicBezTo>
                  <a:pt x="13017155" y="1844864"/>
                  <a:pt x="13054359" y="1807094"/>
                  <a:pt x="13100722" y="1807094"/>
                </a:cubicBezTo>
                <a:close/>
                <a:moveTo>
                  <a:pt x="11320788" y="1807094"/>
                </a:moveTo>
                <a:cubicBezTo>
                  <a:pt x="11367150" y="1807094"/>
                  <a:pt x="11404355" y="1844864"/>
                  <a:pt x="11404355" y="1891218"/>
                </a:cubicBezTo>
                <a:cubicBezTo>
                  <a:pt x="11404355" y="1937000"/>
                  <a:pt x="11367150" y="1974770"/>
                  <a:pt x="11320788" y="1974770"/>
                </a:cubicBezTo>
                <a:cubicBezTo>
                  <a:pt x="11274425" y="1974770"/>
                  <a:pt x="11237221" y="1937000"/>
                  <a:pt x="11237221" y="1891218"/>
                </a:cubicBezTo>
                <a:cubicBezTo>
                  <a:pt x="11237221" y="1844864"/>
                  <a:pt x="11274425" y="1807094"/>
                  <a:pt x="11320788" y="1807094"/>
                </a:cubicBezTo>
                <a:close/>
                <a:moveTo>
                  <a:pt x="9540854" y="1807094"/>
                </a:moveTo>
                <a:cubicBezTo>
                  <a:pt x="9587216" y="1807094"/>
                  <a:pt x="9624421" y="1844864"/>
                  <a:pt x="9624421" y="1891218"/>
                </a:cubicBezTo>
                <a:cubicBezTo>
                  <a:pt x="9624421" y="1937000"/>
                  <a:pt x="9587216" y="1974770"/>
                  <a:pt x="9540854" y="1974770"/>
                </a:cubicBezTo>
                <a:cubicBezTo>
                  <a:pt x="9494491" y="1974770"/>
                  <a:pt x="9457287" y="1937000"/>
                  <a:pt x="9457287" y="1891218"/>
                </a:cubicBezTo>
                <a:cubicBezTo>
                  <a:pt x="9457287" y="1844864"/>
                  <a:pt x="9494491" y="1807094"/>
                  <a:pt x="9540854" y="1807094"/>
                </a:cubicBezTo>
                <a:close/>
                <a:moveTo>
                  <a:pt x="7760920" y="1807094"/>
                </a:moveTo>
                <a:cubicBezTo>
                  <a:pt x="7807282" y="1807094"/>
                  <a:pt x="7844487" y="1844864"/>
                  <a:pt x="7844487" y="1891218"/>
                </a:cubicBezTo>
                <a:cubicBezTo>
                  <a:pt x="7844487" y="1937000"/>
                  <a:pt x="7807282" y="1974770"/>
                  <a:pt x="7760920" y="1974770"/>
                </a:cubicBezTo>
                <a:cubicBezTo>
                  <a:pt x="7714557" y="1974770"/>
                  <a:pt x="7677353" y="1937000"/>
                  <a:pt x="7677353" y="1891218"/>
                </a:cubicBezTo>
                <a:cubicBezTo>
                  <a:pt x="7677353" y="1844864"/>
                  <a:pt x="7714557" y="1807094"/>
                  <a:pt x="7760920" y="1807094"/>
                </a:cubicBezTo>
                <a:close/>
                <a:moveTo>
                  <a:pt x="5981278" y="1807094"/>
                </a:moveTo>
                <a:cubicBezTo>
                  <a:pt x="6027641" y="1807094"/>
                  <a:pt x="6064845" y="1844864"/>
                  <a:pt x="6064845" y="1891218"/>
                </a:cubicBezTo>
                <a:cubicBezTo>
                  <a:pt x="6064845" y="1937000"/>
                  <a:pt x="6027641" y="1974770"/>
                  <a:pt x="5981278" y="1974770"/>
                </a:cubicBezTo>
                <a:cubicBezTo>
                  <a:pt x="5934914" y="1974770"/>
                  <a:pt x="5897711" y="1937000"/>
                  <a:pt x="5897711" y="1891218"/>
                </a:cubicBezTo>
                <a:cubicBezTo>
                  <a:pt x="5897711" y="1844864"/>
                  <a:pt x="5934914" y="1807094"/>
                  <a:pt x="5981278" y="1807094"/>
                </a:cubicBezTo>
                <a:close/>
                <a:moveTo>
                  <a:pt x="4201635" y="1807094"/>
                </a:moveTo>
                <a:cubicBezTo>
                  <a:pt x="4247998" y="1807094"/>
                  <a:pt x="4285204" y="1844864"/>
                  <a:pt x="4285204" y="1891218"/>
                </a:cubicBezTo>
                <a:cubicBezTo>
                  <a:pt x="4285204" y="1937000"/>
                  <a:pt x="4247998" y="1974770"/>
                  <a:pt x="4201635" y="1974770"/>
                </a:cubicBezTo>
                <a:cubicBezTo>
                  <a:pt x="4155273" y="1974770"/>
                  <a:pt x="4118068" y="1937000"/>
                  <a:pt x="4118068" y="1891218"/>
                </a:cubicBezTo>
                <a:cubicBezTo>
                  <a:pt x="4118068" y="1844864"/>
                  <a:pt x="4155273" y="1807094"/>
                  <a:pt x="4201635" y="1807094"/>
                </a:cubicBezTo>
                <a:close/>
                <a:moveTo>
                  <a:pt x="2421992" y="1807094"/>
                </a:moveTo>
                <a:cubicBezTo>
                  <a:pt x="2468355" y="1807094"/>
                  <a:pt x="2505559" y="1844864"/>
                  <a:pt x="2505559" y="1891218"/>
                </a:cubicBezTo>
                <a:cubicBezTo>
                  <a:pt x="2505559" y="1937000"/>
                  <a:pt x="2468355" y="1974770"/>
                  <a:pt x="2421992" y="1974770"/>
                </a:cubicBezTo>
                <a:cubicBezTo>
                  <a:pt x="2375629" y="1974770"/>
                  <a:pt x="2338425" y="1937000"/>
                  <a:pt x="2338425" y="1891218"/>
                </a:cubicBezTo>
                <a:cubicBezTo>
                  <a:pt x="2338425" y="1844864"/>
                  <a:pt x="2375629" y="1807094"/>
                  <a:pt x="2421992" y="1807094"/>
                </a:cubicBezTo>
                <a:close/>
                <a:moveTo>
                  <a:pt x="642299" y="1807094"/>
                </a:moveTo>
                <a:cubicBezTo>
                  <a:pt x="688662" y="1807094"/>
                  <a:pt x="725867" y="1844864"/>
                  <a:pt x="725867" y="1891218"/>
                </a:cubicBezTo>
                <a:cubicBezTo>
                  <a:pt x="725867" y="1937000"/>
                  <a:pt x="688662" y="1974770"/>
                  <a:pt x="642299" y="1974770"/>
                </a:cubicBezTo>
                <a:cubicBezTo>
                  <a:pt x="595937" y="1974770"/>
                  <a:pt x="558732" y="1937000"/>
                  <a:pt x="558732" y="1891218"/>
                </a:cubicBezTo>
                <a:cubicBezTo>
                  <a:pt x="558732" y="1844864"/>
                  <a:pt x="595937" y="1807094"/>
                  <a:pt x="642299" y="1807094"/>
                </a:cubicBezTo>
                <a:close/>
                <a:moveTo>
                  <a:pt x="16283393" y="406168"/>
                </a:moveTo>
                <a:lnTo>
                  <a:pt x="17038359" y="406168"/>
                </a:lnTo>
                <a:lnTo>
                  <a:pt x="17038359" y="1748722"/>
                </a:lnTo>
                <a:lnTo>
                  <a:pt x="16283393" y="1748722"/>
                </a:lnTo>
                <a:close/>
                <a:moveTo>
                  <a:pt x="14503459" y="406168"/>
                </a:moveTo>
                <a:lnTo>
                  <a:pt x="15258425" y="406168"/>
                </a:lnTo>
                <a:lnTo>
                  <a:pt x="15258425" y="1748722"/>
                </a:lnTo>
                <a:lnTo>
                  <a:pt x="14503459" y="1748722"/>
                </a:lnTo>
                <a:close/>
                <a:moveTo>
                  <a:pt x="12723525" y="406168"/>
                </a:moveTo>
                <a:lnTo>
                  <a:pt x="13478491" y="406168"/>
                </a:lnTo>
                <a:lnTo>
                  <a:pt x="13478491" y="1748722"/>
                </a:lnTo>
                <a:lnTo>
                  <a:pt x="12723525" y="1748722"/>
                </a:lnTo>
                <a:close/>
                <a:moveTo>
                  <a:pt x="10943591" y="406168"/>
                </a:moveTo>
                <a:lnTo>
                  <a:pt x="11698557" y="406168"/>
                </a:lnTo>
                <a:lnTo>
                  <a:pt x="11698557" y="1748722"/>
                </a:lnTo>
                <a:lnTo>
                  <a:pt x="10943591" y="1748722"/>
                </a:lnTo>
                <a:close/>
                <a:moveTo>
                  <a:pt x="9163657" y="406168"/>
                </a:moveTo>
                <a:lnTo>
                  <a:pt x="9918623" y="406168"/>
                </a:lnTo>
                <a:lnTo>
                  <a:pt x="9918623" y="1748722"/>
                </a:lnTo>
                <a:lnTo>
                  <a:pt x="9163657" y="1748722"/>
                </a:lnTo>
                <a:close/>
                <a:moveTo>
                  <a:pt x="7383723" y="406168"/>
                </a:moveTo>
                <a:lnTo>
                  <a:pt x="8138689" y="406168"/>
                </a:lnTo>
                <a:lnTo>
                  <a:pt x="8138689" y="1748722"/>
                </a:lnTo>
                <a:lnTo>
                  <a:pt x="7383723" y="1748722"/>
                </a:lnTo>
                <a:close/>
                <a:moveTo>
                  <a:pt x="5604080" y="406168"/>
                </a:moveTo>
                <a:lnTo>
                  <a:pt x="6359048" y="406168"/>
                </a:lnTo>
                <a:lnTo>
                  <a:pt x="6359048" y="1748722"/>
                </a:lnTo>
                <a:lnTo>
                  <a:pt x="5604080" y="1748722"/>
                </a:lnTo>
                <a:close/>
                <a:moveTo>
                  <a:pt x="3824438" y="406168"/>
                </a:moveTo>
                <a:lnTo>
                  <a:pt x="4579405" y="406168"/>
                </a:lnTo>
                <a:lnTo>
                  <a:pt x="4579405" y="1748722"/>
                </a:lnTo>
                <a:lnTo>
                  <a:pt x="3824438" y="1748722"/>
                </a:lnTo>
                <a:close/>
                <a:moveTo>
                  <a:pt x="2044795" y="406168"/>
                </a:moveTo>
                <a:lnTo>
                  <a:pt x="2799761" y="406168"/>
                </a:lnTo>
                <a:lnTo>
                  <a:pt x="2799761" y="1748722"/>
                </a:lnTo>
                <a:lnTo>
                  <a:pt x="2044795" y="1748722"/>
                </a:lnTo>
                <a:close/>
                <a:moveTo>
                  <a:pt x="265102" y="406168"/>
                </a:moveTo>
                <a:lnTo>
                  <a:pt x="1020069" y="406168"/>
                </a:lnTo>
                <a:lnTo>
                  <a:pt x="1020069" y="1748722"/>
                </a:lnTo>
                <a:lnTo>
                  <a:pt x="265102" y="1748722"/>
                </a:lnTo>
                <a:close/>
                <a:moveTo>
                  <a:pt x="16545541" y="280840"/>
                </a:moveTo>
                <a:lnTo>
                  <a:pt x="16775065" y="280840"/>
                </a:lnTo>
                <a:cubicBezTo>
                  <a:pt x="16781361" y="280840"/>
                  <a:pt x="16787085" y="288852"/>
                  <a:pt x="16787085" y="298581"/>
                </a:cubicBezTo>
                <a:lnTo>
                  <a:pt x="16787085" y="303731"/>
                </a:lnTo>
                <a:cubicBezTo>
                  <a:pt x="16787085" y="314604"/>
                  <a:pt x="16781361" y="322044"/>
                  <a:pt x="16775065" y="322044"/>
                </a:cubicBezTo>
                <a:lnTo>
                  <a:pt x="16545541" y="322044"/>
                </a:lnTo>
                <a:cubicBezTo>
                  <a:pt x="16539819" y="322044"/>
                  <a:pt x="16534667" y="314032"/>
                  <a:pt x="16534667" y="303731"/>
                </a:cubicBezTo>
                <a:lnTo>
                  <a:pt x="16534667" y="298581"/>
                </a:lnTo>
                <a:cubicBezTo>
                  <a:pt x="16534667" y="288852"/>
                  <a:pt x="16539819" y="280840"/>
                  <a:pt x="16545541" y="280840"/>
                </a:cubicBezTo>
                <a:close/>
                <a:moveTo>
                  <a:pt x="14765608" y="280840"/>
                </a:moveTo>
                <a:lnTo>
                  <a:pt x="14995131" y="280840"/>
                </a:lnTo>
                <a:cubicBezTo>
                  <a:pt x="15001428" y="280840"/>
                  <a:pt x="15007151" y="288852"/>
                  <a:pt x="15007151" y="298581"/>
                </a:cubicBezTo>
                <a:lnTo>
                  <a:pt x="15007151" y="303731"/>
                </a:lnTo>
                <a:cubicBezTo>
                  <a:pt x="15007151" y="314604"/>
                  <a:pt x="15001428" y="322044"/>
                  <a:pt x="14995131" y="322044"/>
                </a:cubicBezTo>
                <a:lnTo>
                  <a:pt x="14765608" y="322044"/>
                </a:lnTo>
                <a:cubicBezTo>
                  <a:pt x="14759884" y="322044"/>
                  <a:pt x="14754733" y="314032"/>
                  <a:pt x="14754733" y="303731"/>
                </a:cubicBezTo>
                <a:lnTo>
                  <a:pt x="14754733" y="298581"/>
                </a:lnTo>
                <a:cubicBezTo>
                  <a:pt x="14754733" y="288852"/>
                  <a:pt x="14759884" y="280840"/>
                  <a:pt x="14765608" y="280840"/>
                </a:cubicBezTo>
                <a:close/>
                <a:moveTo>
                  <a:pt x="12985674" y="280840"/>
                </a:moveTo>
                <a:lnTo>
                  <a:pt x="13215197" y="280840"/>
                </a:lnTo>
                <a:cubicBezTo>
                  <a:pt x="13221494" y="280840"/>
                  <a:pt x="13227217" y="288852"/>
                  <a:pt x="13227217" y="298581"/>
                </a:cubicBezTo>
                <a:lnTo>
                  <a:pt x="13227217" y="303731"/>
                </a:lnTo>
                <a:cubicBezTo>
                  <a:pt x="13227217" y="314604"/>
                  <a:pt x="13221494" y="322044"/>
                  <a:pt x="13215197" y="322044"/>
                </a:cubicBezTo>
                <a:lnTo>
                  <a:pt x="12985674" y="322044"/>
                </a:lnTo>
                <a:cubicBezTo>
                  <a:pt x="12979950" y="322044"/>
                  <a:pt x="12974799" y="314032"/>
                  <a:pt x="12974799" y="303731"/>
                </a:cubicBezTo>
                <a:lnTo>
                  <a:pt x="12974799" y="298581"/>
                </a:lnTo>
                <a:cubicBezTo>
                  <a:pt x="12974799" y="288852"/>
                  <a:pt x="12979950" y="280840"/>
                  <a:pt x="12985674" y="280840"/>
                </a:cubicBezTo>
                <a:close/>
                <a:moveTo>
                  <a:pt x="11205740" y="280840"/>
                </a:moveTo>
                <a:lnTo>
                  <a:pt x="11435263" y="280840"/>
                </a:lnTo>
                <a:cubicBezTo>
                  <a:pt x="11441560" y="280840"/>
                  <a:pt x="11447283" y="288852"/>
                  <a:pt x="11447283" y="298581"/>
                </a:cubicBezTo>
                <a:lnTo>
                  <a:pt x="11447283" y="303731"/>
                </a:lnTo>
                <a:cubicBezTo>
                  <a:pt x="11447283" y="314604"/>
                  <a:pt x="11441560" y="322044"/>
                  <a:pt x="11435263" y="322044"/>
                </a:cubicBezTo>
                <a:lnTo>
                  <a:pt x="11205740" y="322044"/>
                </a:lnTo>
                <a:cubicBezTo>
                  <a:pt x="11200016" y="322044"/>
                  <a:pt x="11194865" y="314032"/>
                  <a:pt x="11194865" y="303731"/>
                </a:cubicBezTo>
                <a:lnTo>
                  <a:pt x="11194865" y="298581"/>
                </a:lnTo>
                <a:cubicBezTo>
                  <a:pt x="11194865" y="288852"/>
                  <a:pt x="11200016" y="280840"/>
                  <a:pt x="11205740" y="280840"/>
                </a:cubicBezTo>
                <a:close/>
                <a:moveTo>
                  <a:pt x="9425806" y="280840"/>
                </a:moveTo>
                <a:lnTo>
                  <a:pt x="9655329" y="280840"/>
                </a:lnTo>
                <a:cubicBezTo>
                  <a:pt x="9661626" y="280840"/>
                  <a:pt x="9667349" y="288852"/>
                  <a:pt x="9667349" y="298581"/>
                </a:cubicBezTo>
                <a:lnTo>
                  <a:pt x="9667349" y="303731"/>
                </a:lnTo>
                <a:cubicBezTo>
                  <a:pt x="9667349" y="314604"/>
                  <a:pt x="9661626" y="322044"/>
                  <a:pt x="9655329" y="322044"/>
                </a:cubicBezTo>
                <a:lnTo>
                  <a:pt x="9425806" y="322044"/>
                </a:lnTo>
                <a:cubicBezTo>
                  <a:pt x="9420082" y="322044"/>
                  <a:pt x="9414931" y="314032"/>
                  <a:pt x="9414931" y="303731"/>
                </a:cubicBezTo>
                <a:lnTo>
                  <a:pt x="9414931" y="298581"/>
                </a:lnTo>
                <a:cubicBezTo>
                  <a:pt x="9414931" y="288852"/>
                  <a:pt x="9420082" y="280840"/>
                  <a:pt x="9425806" y="280840"/>
                </a:cubicBezTo>
                <a:close/>
                <a:moveTo>
                  <a:pt x="7645872" y="280840"/>
                </a:moveTo>
                <a:lnTo>
                  <a:pt x="7875395" y="280840"/>
                </a:lnTo>
                <a:cubicBezTo>
                  <a:pt x="7881692" y="280840"/>
                  <a:pt x="7887415" y="288852"/>
                  <a:pt x="7887415" y="298581"/>
                </a:cubicBezTo>
                <a:lnTo>
                  <a:pt x="7887415" y="303731"/>
                </a:lnTo>
                <a:cubicBezTo>
                  <a:pt x="7887415" y="314604"/>
                  <a:pt x="7881692" y="322044"/>
                  <a:pt x="7875395" y="322044"/>
                </a:cubicBezTo>
                <a:lnTo>
                  <a:pt x="7645872" y="322044"/>
                </a:lnTo>
                <a:cubicBezTo>
                  <a:pt x="7640148" y="322044"/>
                  <a:pt x="7634997" y="314032"/>
                  <a:pt x="7634997" y="303731"/>
                </a:cubicBezTo>
                <a:lnTo>
                  <a:pt x="7634997" y="298581"/>
                </a:lnTo>
                <a:cubicBezTo>
                  <a:pt x="7634997" y="288852"/>
                  <a:pt x="7640148" y="280840"/>
                  <a:pt x="7645872" y="280840"/>
                </a:cubicBezTo>
                <a:close/>
                <a:moveTo>
                  <a:pt x="5866231" y="280840"/>
                </a:moveTo>
                <a:lnTo>
                  <a:pt x="6095755" y="280840"/>
                </a:lnTo>
                <a:cubicBezTo>
                  <a:pt x="6102050" y="280840"/>
                  <a:pt x="6107773" y="288852"/>
                  <a:pt x="6107773" y="298581"/>
                </a:cubicBezTo>
                <a:lnTo>
                  <a:pt x="6107773" y="303731"/>
                </a:lnTo>
                <a:cubicBezTo>
                  <a:pt x="6107773" y="314604"/>
                  <a:pt x="6102050" y="322044"/>
                  <a:pt x="6095755" y="322044"/>
                </a:cubicBezTo>
                <a:lnTo>
                  <a:pt x="5866231" y="322044"/>
                </a:lnTo>
                <a:cubicBezTo>
                  <a:pt x="5860505" y="322044"/>
                  <a:pt x="5855355" y="314032"/>
                  <a:pt x="5855355" y="303731"/>
                </a:cubicBezTo>
                <a:lnTo>
                  <a:pt x="5855355" y="298581"/>
                </a:lnTo>
                <a:cubicBezTo>
                  <a:pt x="5855355" y="288852"/>
                  <a:pt x="5860505" y="280840"/>
                  <a:pt x="5866231" y="280840"/>
                </a:cubicBezTo>
                <a:close/>
                <a:moveTo>
                  <a:pt x="4086588" y="280840"/>
                </a:moveTo>
                <a:lnTo>
                  <a:pt x="4316110" y="280840"/>
                </a:lnTo>
                <a:cubicBezTo>
                  <a:pt x="4322407" y="280840"/>
                  <a:pt x="4328130" y="288852"/>
                  <a:pt x="4328130" y="298581"/>
                </a:cubicBezTo>
                <a:lnTo>
                  <a:pt x="4328130" y="303731"/>
                </a:lnTo>
                <a:cubicBezTo>
                  <a:pt x="4328130" y="314604"/>
                  <a:pt x="4322407" y="322044"/>
                  <a:pt x="4316110" y="322044"/>
                </a:cubicBezTo>
                <a:lnTo>
                  <a:pt x="4086588" y="322044"/>
                </a:lnTo>
                <a:cubicBezTo>
                  <a:pt x="4080862" y="322044"/>
                  <a:pt x="4075711" y="314032"/>
                  <a:pt x="4075711" y="303731"/>
                </a:cubicBezTo>
                <a:lnTo>
                  <a:pt x="4075711" y="298581"/>
                </a:lnTo>
                <a:cubicBezTo>
                  <a:pt x="4075711" y="288852"/>
                  <a:pt x="4080862" y="280840"/>
                  <a:pt x="4086588" y="280840"/>
                </a:cubicBezTo>
                <a:close/>
                <a:moveTo>
                  <a:pt x="2306944" y="280840"/>
                </a:moveTo>
                <a:lnTo>
                  <a:pt x="2536467" y="280840"/>
                </a:lnTo>
                <a:cubicBezTo>
                  <a:pt x="2542764" y="280840"/>
                  <a:pt x="2548488" y="288852"/>
                  <a:pt x="2548488" y="298581"/>
                </a:cubicBezTo>
                <a:lnTo>
                  <a:pt x="2548488" y="303731"/>
                </a:lnTo>
                <a:cubicBezTo>
                  <a:pt x="2548488" y="314604"/>
                  <a:pt x="2542764" y="322044"/>
                  <a:pt x="2536467" y="322044"/>
                </a:cubicBezTo>
                <a:lnTo>
                  <a:pt x="2306944" y="322044"/>
                </a:lnTo>
                <a:cubicBezTo>
                  <a:pt x="2301220" y="322044"/>
                  <a:pt x="2296069" y="314032"/>
                  <a:pt x="2296069" y="303731"/>
                </a:cubicBezTo>
                <a:lnTo>
                  <a:pt x="2296069" y="298581"/>
                </a:lnTo>
                <a:cubicBezTo>
                  <a:pt x="2296069" y="288852"/>
                  <a:pt x="2301220" y="280840"/>
                  <a:pt x="2306944" y="280840"/>
                </a:cubicBezTo>
                <a:close/>
                <a:moveTo>
                  <a:pt x="527251" y="280840"/>
                </a:moveTo>
                <a:lnTo>
                  <a:pt x="756775" y="280840"/>
                </a:lnTo>
                <a:cubicBezTo>
                  <a:pt x="763071" y="280840"/>
                  <a:pt x="768796" y="288852"/>
                  <a:pt x="768796" y="298581"/>
                </a:cubicBezTo>
                <a:lnTo>
                  <a:pt x="768796" y="303731"/>
                </a:lnTo>
                <a:cubicBezTo>
                  <a:pt x="768796" y="314604"/>
                  <a:pt x="763071" y="322044"/>
                  <a:pt x="756775" y="322044"/>
                </a:cubicBezTo>
                <a:lnTo>
                  <a:pt x="527251" y="322044"/>
                </a:lnTo>
                <a:cubicBezTo>
                  <a:pt x="521527" y="322044"/>
                  <a:pt x="516376" y="314032"/>
                  <a:pt x="516376" y="303731"/>
                </a:cubicBezTo>
                <a:lnTo>
                  <a:pt x="516376" y="298581"/>
                </a:lnTo>
                <a:cubicBezTo>
                  <a:pt x="516376" y="288852"/>
                  <a:pt x="521527" y="280840"/>
                  <a:pt x="527251" y="280840"/>
                </a:cubicBezTo>
                <a:close/>
                <a:moveTo>
                  <a:pt x="16366959" y="196716"/>
                </a:moveTo>
                <a:cubicBezTo>
                  <a:pt x="16366959" y="196716"/>
                  <a:pt x="16199253" y="196716"/>
                  <a:pt x="16199253" y="364392"/>
                </a:cubicBezTo>
                <a:lnTo>
                  <a:pt x="16199253" y="1876339"/>
                </a:lnTo>
                <a:cubicBezTo>
                  <a:pt x="16199253" y="2045160"/>
                  <a:pt x="16366959" y="2045160"/>
                  <a:pt x="16366959" y="2045160"/>
                </a:cubicBezTo>
                <a:lnTo>
                  <a:pt x="16954219" y="2045160"/>
                </a:lnTo>
                <a:cubicBezTo>
                  <a:pt x="16954219" y="2045160"/>
                  <a:pt x="17121927" y="2045160"/>
                  <a:pt x="17121927" y="1876339"/>
                </a:cubicBezTo>
                <a:lnTo>
                  <a:pt x="17121927" y="364392"/>
                </a:lnTo>
                <a:cubicBezTo>
                  <a:pt x="17121927" y="196716"/>
                  <a:pt x="16954219" y="196716"/>
                  <a:pt x="16954219" y="196716"/>
                </a:cubicBezTo>
                <a:close/>
                <a:moveTo>
                  <a:pt x="14587026" y="196716"/>
                </a:moveTo>
                <a:cubicBezTo>
                  <a:pt x="14587026" y="196716"/>
                  <a:pt x="14419319" y="196716"/>
                  <a:pt x="14419319" y="364392"/>
                </a:cubicBezTo>
                <a:lnTo>
                  <a:pt x="14419319" y="1876339"/>
                </a:lnTo>
                <a:cubicBezTo>
                  <a:pt x="14419319" y="2045160"/>
                  <a:pt x="14587026" y="2045160"/>
                  <a:pt x="14587026" y="2045160"/>
                </a:cubicBezTo>
                <a:lnTo>
                  <a:pt x="15174286" y="2045160"/>
                </a:lnTo>
                <a:cubicBezTo>
                  <a:pt x="15174286" y="2045160"/>
                  <a:pt x="15341993" y="2045160"/>
                  <a:pt x="15341993" y="1876339"/>
                </a:cubicBezTo>
                <a:lnTo>
                  <a:pt x="15341993" y="364392"/>
                </a:lnTo>
                <a:cubicBezTo>
                  <a:pt x="15341993" y="196716"/>
                  <a:pt x="15174286" y="196716"/>
                  <a:pt x="15174286" y="196716"/>
                </a:cubicBezTo>
                <a:close/>
                <a:moveTo>
                  <a:pt x="12807092" y="196716"/>
                </a:moveTo>
                <a:cubicBezTo>
                  <a:pt x="12807092" y="196716"/>
                  <a:pt x="12639385" y="196716"/>
                  <a:pt x="12639385" y="364392"/>
                </a:cubicBezTo>
                <a:lnTo>
                  <a:pt x="12639385" y="1876339"/>
                </a:lnTo>
                <a:cubicBezTo>
                  <a:pt x="12639385" y="2045160"/>
                  <a:pt x="12807092" y="2045160"/>
                  <a:pt x="12807092" y="2045160"/>
                </a:cubicBezTo>
                <a:lnTo>
                  <a:pt x="13394352" y="2045160"/>
                </a:lnTo>
                <a:cubicBezTo>
                  <a:pt x="13394352" y="2045160"/>
                  <a:pt x="13562059" y="2045160"/>
                  <a:pt x="13562059" y="1876339"/>
                </a:cubicBezTo>
                <a:lnTo>
                  <a:pt x="13562059" y="364392"/>
                </a:lnTo>
                <a:cubicBezTo>
                  <a:pt x="13562059" y="196716"/>
                  <a:pt x="13394352" y="196716"/>
                  <a:pt x="13394352" y="196716"/>
                </a:cubicBezTo>
                <a:close/>
                <a:moveTo>
                  <a:pt x="11027158" y="196716"/>
                </a:moveTo>
                <a:cubicBezTo>
                  <a:pt x="11027158" y="196716"/>
                  <a:pt x="10859451" y="196716"/>
                  <a:pt x="10859451" y="364392"/>
                </a:cubicBezTo>
                <a:lnTo>
                  <a:pt x="10859451" y="1876339"/>
                </a:lnTo>
                <a:cubicBezTo>
                  <a:pt x="10859451" y="2045160"/>
                  <a:pt x="11027158" y="2045160"/>
                  <a:pt x="11027158" y="2045160"/>
                </a:cubicBezTo>
                <a:lnTo>
                  <a:pt x="11614418" y="2045160"/>
                </a:lnTo>
                <a:cubicBezTo>
                  <a:pt x="11614418" y="2045160"/>
                  <a:pt x="11782125" y="2045160"/>
                  <a:pt x="11782125" y="1876339"/>
                </a:cubicBezTo>
                <a:lnTo>
                  <a:pt x="11782125" y="364392"/>
                </a:lnTo>
                <a:cubicBezTo>
                  <a:pt x="11782125" y="196716"/>
                  <a:pt x="11614418" y="196716"/>
                  <a:pt x="11614418" y="196716"/>
                </a:cubicBezTo>
                <a:close/>
                <a:moveTo>
                  <a:pt x="9247224" y="196716"/>
                </a:moveTo>
                <a:cubicBezTo>
                  <a:pt x="9247224" y="196716"/>
                  <a:pt x="9079517" y="196716"/>
                  <a:pt x="9079517" y="364392"/>
                </a:cubicBezTo>
                <a:lnTo>
                  <a:pt x="9079517" y="1876339"/>
                </a:lnTo>
                <a:cubicBezTo>
                  <a:pt x="9079517" y="2045160"/>
                  <a:pt x="9247224" y="2045160"/>
                  <a:pt x="9247224" y="2045160"/>
                </a:cubicBezTo>
                <a:lnTo>
                  <a:pt x="9834484" y="2045160"/>
                </a:lnTo>
                <a:cubicBezTo>
                  <a:pt x="9834484" y="2045160"/>
                  <a:pt x="10002191" y="2045160"/>
                  <a:pt x="10002191" y="1876339"/>
                </a:cubicBezTo>
                <a:lnTo>
                  <a:pt x="10002191" y="364392"/>
                </a:lnTo>
                <a:cubicBezTo>
                  <a:pt x="10002191" y="196716"/>
                  <a:pt x="9834484" y="196716"/>
                  <a:pt x="9834484" y="196716"/>
                </a:cubicBezTo>
                <a:close/>
                <a:moveTo>
                  <a:pt x="7467290" y="196716"/>
                </a:moveTo>
                <a:cubicBezTo>
                  <a:pt x="7467290" y="196716"/>
                  <a:pt x="7299583" y="196716"/>
                  <a:pt x="7299583" y="364392"/>
                </a:cubicBezTo>
                <a:lnTo>
                  <a:pt x="7299583" y="1876339"/>
                </a:lnTo>
                <a:cubicBezTo>
                  <a:pt x="7299583" y="2045160"/>
                  <a:pt x="7467290" y="2045160"/>
                  <a:pt x="7467290" y="2045160"/>
                </a:cubicBezTo>
                <a:lnTo>
                  <a:pt x="8054550" y="2045160"/>
                </a:lnTo>
                <a:cubicBezTo>
                  <a:pt x="8054550" y="2045160"/>
                  <a:pt x="8222257" y="2045160"/>
                  <a:pt x="8222257" y="1876339"/>
                </a:cubicBezTo>
                <a:lnTo>
                  <a:pt x="8222257" y="364392"/>
                </a:lnTo>
                <a:cubicBezTo>
                  <a:pt x="8222257" y="196716"/>
                  <a:pt x="8054550" y="196716"/>
                  <a:pt x="8054550" y="196716"/>
                </a:cubicBezTo>
                <a:close/>
                <a:moveTo>
                  <a:pt x="5687647" y="196716"/>
                </a:moveTo>
                <a:cubicBezTo>
                  <a:pt x="5687647" y="196716"/>
                  <a:pt x="5519942" y="196716"/>
                  <a:pt x="5519942" y="364392"/>
                </a:cubicBezTo>
                <a:lnTo>
                  <a:pt x="5519942" y="1876339"/>
                </a:lnTo>
                <a:cubicBezTo>
                  <a:pt x="5519942" y="2045160"/>
                  <a:pt x="5687647" y="2045160"/>
                  <a:pt x="5687647" y="2045160"/>
                </a:cubicBezTo>
                <a:lnTo>
                  <a:pt x="6274908" y="2045160"/>
                </a:lnTo>
                <a:cubicBezTo>
                  <a:pt x="6274908" y="2045160"/>
                  <a:pt x="6442614" y="2045160"/>
                  <a:pt x="6442614" y="1876339"/>
                </a:cubicBezTo>
                <a:lnTo>
                  <a:pt x="6442614" y="364392"/>
                </a:lnTo>
                <a:cubicBezTo>
                  <a:pt x="6442614" y="196716"/>
                  <a:pt x="6274908" y="196716"/>
                  <a:pt x="6274908" y="196716"/>
                </a:cubicBezTo>
                <a:close/>
                <a:moveTo>
                  <a:pt x="3908006" y="196716"/>
                </a:moveTo>
                <a:cubicBezTo>
                  <a:pt x="3908006" y="196716"/>
                  <a:pt x="3740299" y="196716"/>
                  <a:pt x="3740299" y="364392"/>
                </a:cubicBezTo>
                <a:lnTo>
                  <a:pt x="3740299" y="1876339"/>
                </a:lnTo>
                <a:cubicBezTo>
                  <a:pt x="3740299" y="2045160"/>
                  <a:pt x="3908006" y="2045160"/>
                  <a:pt x="3908006" y="2045160"/>
                </a:cubicBezTo>
                <a:lnTo>
                  <a:pt x="4495265" y="2045160"/>
                </a:lnTo>
                <a:cubicBezTo>
                  <a:pt x="4495265" y="2045160"/>
                  <a:pt x="4662972" y="2045160"/>
                  <a:pt x="4662972" y="1876339"/>
                </a:cubicBezTo>
                <a:lnTo>
                  <a:pt x="4662972" y="364392"/>
                </a:lnTo>
                <a:cubicBezTo>
                  <a:pt x="4662972" y="196716"/>
                  <a:pt x="4495265" y="196716"/>
                  <a:pt x="4495265" y="196716"/>
                </a:cubicBezTo>
                <a:close/>
                <a:moveTo>
                  <a:pt x="2128363" y="196716"/>
                </a:moveTo>
                <a:cubicBezTo>
                  <a:pt x="2128363" y="196716"/>
                  <a:pt x="1960655" y="196716"/>
                  <a:pt x="1960655" y="364392"/>
                </a:cubicBezTo>
                <a:lnTo>
                  <a:pt x="1960655" y="1876339"/>
                </a:lnTo>
                <a:cubicBezTo>
                  <a:pt x="1960655" y="2045160"/>
                  <a:pt x="2128363" y="2045160"/>
                  <a:pt x="2128363" y="2045160"/>
                </a:cubicBezTo>
                <a:lnTo>
                  <a:pt x="2715623" y="2045160"/>
                </a:lnTo>
                <a:cubicBezTo>
                  <a:pt x="2715623" y="2045160"/>
                  <a:pt x="2883330" y="2045160"/>
                  <a:pt x="2883330" y="1876339"/>
                </a:cubicBezTo>
                <a:lnTo>
                  <a:pt x="2883330" y="364392"/>
                </a:lnTo>
                <a:cubicBezTo>
                  <a:pt x="2883330" y="196716"/>
                  <a:pt x="2715623" y="196716"/>
                  <a:pt x="2715623" y="196716"/>
                </a:cubicBezTo>
                <a:close/>
                <a:moveTo>
                  <a:pt x="348669" y="196716"/>
                </a:moveTo>
                <a:cubicBezTo>
                  <a:pt x="348669" y="196716"/>
                  <a:pt x="180962" y="196716"/>
                  <a:pt x="180962" y="364392"/>
                </a:cubicBezTo>
                <a:lnTo>
                  <a:pt x="180962" y="1876339"/>
                </a:lnTo>
                <a:cubicBezTo>
                  <a:pt x="180962" y="2045160"/>
                  <a:pt x="348669" y="2045160"/>
                  <a:pt x="348669" y="2045160"/>
                </a:cubicBezTo>
                <a:lnTo>
                  <a:pt x="935929" y="2045160"/>
                </a:lnTo>
                <a:cubicBezTo>
                  <a:pt x="935929" y="2045160"/>
                  <a:pt x="1103637" y="2045160"/>
                  <a:pt x="1103637" y="1876339"/>
                </a:cubicBezTo>
                <a:lnTo>
                  <a:pt x="1103637" y="364392"/>
                </a:lnTo>
                <a:cubicBezTo>
                  <a:pt x="1103637" y="196716"/>
                  <a:pt x="935929" y="196716"/>
                  <a:pt x="935929" y="196716"/>
                </a:cubicBezTo>
                <a:close/>
                <a:moveTo>
                  <a:pt x="0" y="0"/>
                </a:moveTo>
                <a:lnTo>
                  <a:pt x="17459259" y="0"/>
                </a:lnTo>
                <a:lnTo>
                  <a:pt x="17459259" y="2281453"/>
                </a:lnTo>
                <a:lnTo>
                  <a:pt x="0" y="228145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77" name="Freeform 176">
            <a:extLst>
              <a:ext uri="{FF2B5EF4-FFF2-40B4-BE49-F238E27FC236}">
                <a16:creationId xmlns:a16="http://schemas.microsoft.com/office/drawing/2014/main" id="{C6BA14E4-AC51-C441-9A5F-A74C3405FB3D}"/>
              </a:ext>
            </a:extLst>
          </p:cNvPr>
          <p:cNvSpPr>
            <a:spLocks noChangeArrowheads="1"/>
          </p:cNvSpPr>
          <p:nvPr/>
        </p:nvSpPr>
        <p:spPr bwMode="auto">
          <a:xfrm>
            <a:off x="788233" y="3060115"/>
            <a:ext cx="8756751" cy="790320"/>
          </a:xfrm>
          <a:custGeom>
            <a:avLst/>
            <a:gdLst>
              <a:gd name="connsiteX0" fmla="*/ 2389067 w 17513501"/>
              <a:gd name="connsiteY0" fmla="*/ 1413012 h 1580640"/>
              <a:gd name="connsiteX1" fmla="*/ 2325628 w 17513501"/>
              <a:gd name="connsiteY1" fmla="*/ 1476772 h 1580640"/>
              <a:gd name="connsiteX2" fmla="*/ 2389067 w 17513501"/>
              <a:gd name="connsiteY2" fmla="*/ 1540533 h 1580640"/>
              <a:gd name="connsiteX3" fmla="*/ 2451995 w 17513501"/>
              <a:gd name="connsiteY3" fmla="*/ 1476772 h 1580640"/>
              <a:gd name="connsiteX4" fmla="*/ 2389067 w 17513501"/>
              <a:gd name="connsiteY4" fmla="*/ 1413012 h 1580640"/>
              <a:gd name="connsiteX5" fmla="*/ 16937945 w 17513501"/>
              <a:gd name="connsiteY5" fmla="*/ 1406519 h 1580640"/>
              <a:gd name="connsiteX6" fmla="*/ 16874505 w 17513501"/>
              <a:gd name="connsiteY6" fmla="*/ 1469986 h 1580640"/>
              <a:gd name="connsiteX7" fmla="*/ 16937945 w 17513501"/>
              <a:gd name="connsiteY7" fmla="*/ 1533453 h 1580640"/>
              <a:gd name="connsiteX8" fmla="*/ 17000873 w 17513501"/>
              <a:gd name="connsiteY8" fmla="*/ 1469986 h 1580640"/>
              <a:gd name="connsiteX9" fmla="*/ 16937945 w 17513501"/>
              <a:gd name="connsiteY9" fmla="*/ 1406519 h 1580640"/>
              <a:gd name="connsiteX10" fmla="*/ 15118938 w 17513501"/>
              <a:gd name="connsiteY10" fmla="*/ 1406519 h 1580640"/>
              <a:gd name="connsiteX11" fmla="*/ 15055499 w 17513501"/>
              <a:gd name="connsiteY11" fmla="*/ 1469986 h 1580640"/>
              <a:gd name="connsiteX12" fmla="*/ 15118938 w 17513501"/>
              <a:gd name="connsiteY12" fmla="*/ 1533453 h 1580640"/>
              <a:gd name="connsiteX13" fmla="*/ 15181865 w 17513501"/>
              <a:gd name="connsiteY13" fmla="*/ 1469986 h 1580640"/>
              <a:gd name="connsiteX14" fmla="*/ 15118938 w 17513501"/>
              <a:gd name="connsiteY14" fmla="*/ 1406519 h 1580640"/>
              <a:gd name="connsiteX15" fmla="*/ 13299931 w 17513501"/>
              <a:gd name="connsiteY15" fmla="*/ 1406519 h 1580640"/>
              <a:gd name="connsiteX16" fmla="*/ 13236492 w 17513501"/>
              <a:gd name="connsiteY16" fmla="*/ 1469986 h 1580640"/>
              <a:gd name="connsiteX17" fmla="*/ 13299931 w 17513501"/>
              <a:gd name="connsiteY17" fmla="*/ 1533453 h 1580640"/>
              <a:gd name="connsiteX18" fmla="*/ 13362858 w 17513501"/>
              <a:gd name="connsiteY18" fmla="*/ 1469986 h 1580640"/>
              <a:gd name="connsiteX19" fmla="*/ 13299931 w 17513501"/>
              <a:gd name="connsiteY19" fmla="*/ 1406519 h 1580640"/>
              <a:gd name="connsiteX20" fmla="*/ 11484101 w 17513501"/>
              <a:gd name="connsiteY20" fmla="*/ 1406519 h 1580640"/>
              <a:gd name="connsiteX21" fmla="*/ 11420662 w 17513501"/>
              <a:gd name="connsiteY21" fmla="*/ 1469986 h 1580640"/>
              <a:gd name="connsiteX22" fmla="*/ 11484101 w 17513501"/>
              <a:gd name="connsiteY22" fmla="*/ 1533453 h 1580640"/>
              <a:gd name="connsiteX23" fmla="*/ 11547028 w 17513501"/>
              <a:gd name="connsiteY23" fmla="*/ 1469986 h 1580640"/>
              <a:gd name="connsiteX24" fmla="*/ 11484101 w 17513501"/>
              <a:gd name="connsiteY24" fmla="*/ 1406519 h 1580640"/>
              <a:gd name="connsiteX25" fmla="*/ 9665094 w 17513501"/>
              <a:gd name="connsiteY25" fmla="*/ 1406519 h 1580640"/>
              <a:gd name="connsiteX26" fmla="*/ 9601655 w 17513501"/>
              <a:gd name="connsiteY26" fmla="*/ 1469986 h 1580640"/>
              <a:gd name="connsiteX27" fmla="*/ 9665094 w 17513501"/>
              <a:gd name="connsiteY27" fmla="*/ 1533453 h 1580640"/>
              <a:gd name="connsiteX28" fmla="*/ 9728021 w 17513501"/>
              <a:gd name="connsiteY28" fmla="*/ 1469986 h 1580640"/>
              <a:gd name="connsiteX29" fmla="*/ 9665094 w 17513501"/>
              <a:gd name="connsiteY29" fmla="*/ 1406519 h 1580640"/>
              <a:gd name="connsiteX30" fmla="*/ 7846087 w 17513501"/>
              <a:gd name="connsiteY30" fmla="*/ 1406519 h 1580640"/>
              <a:gd name="connsiteX31" fmla="*/ 7782648 w 17513501"/>
              <a:gd name="connsiteY31" fmla="*/ 1469986 h 1580640"/>
              <a:gd name="connsiteX32" fmla="*/ 7846087 w 17513501"/>
              <a:gd name="connsiteY32" fmla="*/ 1533453 h 1580640"/>
              <a:gd name="connsiteX33" fmla="*/ 7909014 w 17513501"/>
              <a:gd name="connsiteY33" fmla="*/ 1469986 h 1580640"/>
              <a:gd name="connsiteX34" fmla="*/ 7846087 w 17513501"/>
              <a:gd name="connsiteY34" fmla="*/ 1406519 h 1580640"/>
              <a:gd name="connsiteX35" fmla="*/ 6027080 w 17513501"/>
              <a:gd name="connsiteY35" fmla="*/ 1406519 h 1580640"/>
              <a:gd name="connsiteX36" fmla="*/ 5963642 w 17513501"/>
              <a:gd name="connsiteY36" fmla="*/ 1469986 h 1580640"/>
              <a:gd name="connsiteX37" fmla="*/ 6027080 w 17513501"/>
              <a:gd name="connsiteY37" fmla="*/ 1533453 h 1580640"/>
              <a:gd name="connsiteX38" fmla="*/ 6090007 w 17513501"/>
              <a:gd name="connsiteY38" fmla="*/ 1469986 h 1580640"/>
              <a:gd name="connsiteX39" fmla="*/ 6027080 w 17513501"/>
              <a:gd name="connsiteY39" fmla="*/ 1406519 h 1580640"/>
              <a:gd name="connsiteX40" fmla="*/ 4208073 w 17513501"/>
              <a:gd name="connsiteY40" fmla="*/ 1406519 h 1580640"/>
              <a:gd name="connsiteX41" fmla="*/ 4144634 w 17513501"/>
              <a:gd name="connsiteY41" fmla="*/ 1469986 h 1580640"/>
              <a:gd name="connsiteX42" fmla="*/ 4208073 w 17513501"/>
              <a:gd name="connsiteY42" fmla="*/ 1533453 h 1580640"/>
              <a:gd name="connsiteX43" fmla="*/ 4271001 w 17513501"/>
              <a:gd name="connsiteY43" fmla="*/ 1469986 h 1580640"/>
              <a:gd name="connsiteX44" fmla="*/ 4208073 w 17513501"/>
              <a:gd name="connsiteY44" fmla="*/ 1406519 h 1580640"/>
              <a:gd name="connsiteX45" fmla="*/ 575556 w 17513501"/>
              <a:gd name="connsiteY45" fmla="*/ 1406519 h 1580640"/>
              <a:gd name="connsiteX46" fmla="*/ 512117 w 17513501"/>
              <a:gd name="connsiteY46" fmla="*/ 1469986 h 1580640"/>
              <a:gd name="connsiteX47" fmla="*/ 575556 w 17513501"/>
              <a:gd name="connsiteY47" fmla="*/ 1533453 h 1580640"/>
              <a:gd name="connsiteX48" fmla="*/ 638484 w 17513501"/>
              <a:gd name="connsiteY48" fmla="*/ 1469986 h 1580640"/>
              <a:gd name="connsiteX49" fmla="*/ 575556 w 17513501"/>
              <a:gd name="connsiteY49" fmla="*/ 1406519 h 1580640"/>
              <a:gd name="connsiteX50" fmla="*/ 1921459 w 17513501"/>
              <a:gd name="connsiteY50" fmla="*/ 128549 h 1580640"/>
              <a:gd name="connsiteX51" fmla="*/ 1921459 w 17513501"/>
              <a:gd name="connsiteY51" fmla="*/ 1356965 h 1580640"/>
              <a:gd name="connsiteX52" fmla="*/ 2856163 w 17513501"/>
              <a:gd name="connsiteY52" fmla="*/ 1356965 h 1580640"/>
              <a:gd name="connsiteX53" fmla="*/ 2856163 w 17513501"/>
              <a:gd name="connsiteY53" fmla="*/ 128549 h 1580640"/>
              <a:gd name="connsiteX54" fmla="*/ 16470337 w 17513501"/>
              <a:gd name="connsiteY54" fmla="*/ 127959 h 1580640"/>
              <a:gd name="connsiteX55" fmla="*/ 16470337 w 17513501"/>
              <a:gd name="connsiteY55" fmla="*/ 1350729 h 1580640"/>
              <a:gd name="connsiteX56" fmla="*/ 17405041 w 17513501"/>
              <a:gd name="connsiteY56" fmla="*/ 1350729 h 1580640"/>
              <a:gd name="connsiteX57" fmla="*/ 17405041 w 17513501"/>
              <a:gd name="connsiteY57" fmla="*/ 127959 h 1580640"/>
              <a:gd name="connsiteX58" fmla="*/ 14651330 w 17513501"/>
              <a:gd name="connsiteY58" fmla="*/ 127959 h 1580640"/>
              <a:gd name="connsiteX59" fmla="*/ 14651330 w 17513501"/>
              <a:gd name="connsiteY59" fmla="*/ 1350729 h 1580640"/>
              <a:gd name="connsiteX60" fmla="*/ 15586033 w 17513501"/>
              <a:gd name="connsiteY60" fmla="*/ 1350729 h 1580640"/>
              <a:gd name="connsiteX61" fmla="*/ 15586033 w 17513501"/>
              <a:gd name="connsiteY61" fmla="*/ 127959 h 1580640"/>
              <a:gd name="connsiteX62" fmla="*/ 12832323 w 17513501"/>
              <a:gd name="connsiteY62" fmla="*/ 127959 h 1580640"/>
              <a:gd name="connsiteX63" fmla="*/ 12832323 w 17513501"/>
              <a:gd name="connsiteY63" fmla="*/ 1350729 h 1580640"/>
              <a:gd name="connsiteX64" fmla="*/ 13767027 w 17513501"/>
              <a:gd name="connsiteY64" fmla="*/ 1350729 h 1580640"/>
              <a:gd name="connsiteX65" fmla="*/ 13767027 w 17513501"/>
              <a:gd name="connsiteY65" fmla="*/ 127959 h 1580640"/>
              <a:gd name="connsiteX66" fmla="*/ 11016493 w 17513501"/>
              <a:gd name="connsiteY66" fmla="*/ 127959 h 1580640"/>
              <a:gd name="connsiteX67" fmla="*/ 11016493 w 17513501"/>
              <a:gd name="connsiteY67" fmla="*/ 1350729 h 1580640"/>
              <a:gd name="connsiteX68" fmla="*/ 11951197 w 17513501"/>
              <a:gd name="connsiteY68" fmla="*/ 1350729 h 1580640"/>
              <a:gd name="connsiteX69" fmla="*/ 11951197 w 17513501"/>
              <a:gd name="connsiteY69" fmla="*/ 127959 h 1580640"/>
              <a:gd name="connsiteX70" fmla="*/ 9197486 w 17513501"/>
              <a:gd name="connsiteY70" fmla="*/ 127959 h 1580640"/>
              <a:gd name="connsiteX71" fmla="*/ 9197486 w 17513501"/>
              <a:gd name="connsiteY71" fmla="*/ 1350729 h 1580640"/>
              <a:gd name="connsiteX72" fmla="*/ 10132190 w 17513501"/>
              <a:gd name="connsiteY72" fmla="*/ 1350729 h 1580640"/>
              <a:gd name="connsiteX73" fmla="*/ 10132190 w 17513501"/>
              <a:gd name="connsiteY73" fmla="*/ 127959 h 1580640"/>
              <a:gd name="connsiteX74" fmla="*/ 7378479 w 17513501"/>
              <a:gd name="connsiteY74" fmla="*/ 127959 h 1580640"/>
              <a:gd name="connsiteX75" fmla="*/ 7378479 w 17513501"/>
              <a:gd name="connsiteY75" fmla="*/ 1350729 h 1580640"/>
              <a:gd name="connsiteX76" fmla="*/ 8313183 w 17513501"/>
              <a:gd name="connsiteY76" fmla="*/ 1350729 h 1580640"/>
              <a:gd name="connsiteX77" fmla="*/ 8313183 w 17513501"/>
              <a:gd name="connsiteY77" fmla="*/ 127959 h 1580640"/>
              <a:gd name="connsiteX78" fmla="*/ 5559473 w 17513501"/>
              <a:gd name="connsiteY78" fmla="*/ 127959 h 1580640"/>
              <a:gd name="connsiteX79" fmla="*/ 5559473 w 17513501"/>
              <a:gd name="connsiteY79" fmla="*/ 1350729 h 1580640"/>
              <a:gd name="connsiteX80" fmla="*/ 6494176 w 17513501"/>
              <a:gd name="connsiteY80" fmla="*/ 1350729 h 1580640"/>
              <a:gd name="connsiteX81" fmla="*/ 6494176 w 17513501"/>
              <a:gd name="connsiteY81" fmla="*/ 127959 h 1580640"/>
              <a:gd name="connsiteX82" fmla="*/ 3740466 w 17513501"/>
              <a:gd name="connsiteY82" fmla="*/ 127959 h 1580640"/>
              <a:gd name="connsiteX83" fmla="*/ 3740466 w 17513501"/>
              <a:gd name="connsiteY83" fmla="*/ 1350729 h 1580640"/>
              <a:gd name="connsiteX84" fmla="*/ 4675169 w 17513501"/>
              <a:gd name="connsiteY84" fmla="*/ 1350729 h 1580640"/>
              <a:gd name="connsiteX85" fmla="*/ 4675169 w 17513501"/>
              <a:gd name="connsiteY85" fmla="*/ 127959 h 1580640"/>
              <a:gd name="connsiteX86" fmla="*/ 107948 w 17513501"/>
              <a:gd name="connsiteY86" fmla="*/ 127959 h 1580640"/>
              <a:gd name="connsiteX87" fmla="*/ 107948 w 17513501"/>
              <a:gd name="connsiteY87" fmla="*/ 1350729 h 1580640"/>
              <a:gd name="connsiteX88" fmla="*/ 1042652 w 17513501"/>
              <a:gd name="connsiteY88" fmla="*/ 1350729 h 1580640"/>
              <a:gd name="connsiteX89" fmla="*/ 1042652 w 17513501"/>
              <a:gd name="connsiteY89" fmla="*/ 127959 h 1580640"/>
              <a:gd name="connsiteX90" fmla="*/ 16468803 w 17513501"/>
              <a:gd name="connsiteY90" fmla="*/ 0 h 1580640"/>
              <a:gd name="connsiteX91" fmla="*/ 17406575 w 17513501"/>
              <a:gd name="connsiteY91" fmla="*/ 0 h 1580640"/>
              <a:gd name="connsiteX92" fmla="*/ 17513501 w 17513501"/>
              <a:gd name="connsiteY92" fmla="*/ 106462 h 1580640"/>
              <a:gd name="connsiteX93" fmla="*/ 17513501 w 17513501"/>
              <a:gd name="connsiteY93" fmla="*/ 1466403 h 1580640"/>
              <a:gd name="connsiteX94" fmla="*/ 17406575 w 17513501"/>
              <a:gd name="connsiteY94" fmla="*/ 1573376 h 1580640"/>
              <a:gd name="connsiteX95" fmla="*/ 16468803 w 17513501"/>
              <a:gd name="connsiteY95" fmla="*/ 1573376 h 1580640"/>
              <a:gd name="connsiteX96" fmla="*/ 16362389 w 17513501"/>
              <a:gd name="connsiteY96" fmla="*/ 1466403 h 1580640"/>
              <a:gd name="connsiteX97" fmla="*/ 16362389 w 17513501"/>
              <a:gd name="connsiteY97" fmla="*/ 106462 h 1580640"/>
              <a:gd name="connsiteX98" fmla="*/ 16468803 w 17513501"/>
              <a:gd name="connsiteY98" fmla="*/ 0 h 1580640"/>
              <a:gd name="connsiteX99" fmla="*/ 14649795 w 17513501"/>
              <a:gd name="connsiteY99" fmla="*/ 0 h 1580640"/>
              <a:gd name="connsiteX100" fmla="*/ 15587569 w 17513501"/>
              <a:gd name="connsiteY100" fmla="*/ 0 h 1580640"/>
              <a:gd name="connsiteX101" fmla="*/ 15694495 w 17513501"/>
              <a:gd name="connsiteY101" fmla="*/ 106462 h 1580640"/>
              <a:gd name="connsiteX102" fmla="*/ 15694495 w 17513501"/>
              <a:gd name="connsiteY102" fmla="*/ 1466403 h 1580640"/>
              <a:gd name="connsiteX103" fmla="*/ 15587569 w 17513501"/>
              <a:gd name="connsiteY103" fmla="*/ 1573376 h 1580640"/>
              <a:gd name="connsiteX104" fmla="*/ 14649795 w 17513501"/>
              <a:gd name="connsiteY104" fmla="*/ 1573376 h 1580640"/>
              <a:gd name="connsiteX105" fmla="*/ 14543381 w 17513501"/>
              <a:gd name="connsiteY105" fmla="*/ 1466403 h 1580640"/>
              <a:gd name="connsiteX106" fmla="*/ 14543381 w 17513501"/>
              <a:gd name="connsiteY106" fmla="*/ 106462 h 1580640"/>
              <a:gd name="connsiteX107" fmla="*/ 14649795 w 17513501"/>
              <a:gd name="connsiteY107" fmla="*/ 0 h 1580640"/>
              <a:gd name="connsiteX108" fmla="*/ 12830788 w 17513501"/>
              <a:gd name="connsiteY108" fmla="*/ 0 h 1580640"/>
              <a:gd name="connsiteX109" fmla="*/ 13768562 w 17513501"/>
              <a:gd name="connsiteY109" fmla="*/ 0 h 1580640"/>
              <a:gd name="connsiteX110" fmla="*/ 13875487 w 17513501"/>
              <a:gd name="connsiteY110" fmla="*/ 106462 h 1580640"/>
              <a:gd name="connsiteX111" fmla="*/ 13875487 w 17513501"/>
              <a:gd name="connsiteY111" fmla="*/ 1466403 h 1580640"/>
              <a:gd name="connsiteX112" fmla="*/ 13768562 w 17513501"/>
              <a:gd name="connsiteY112" fmla="*/ 1573376 h 1580640"/>
              <a:gd name="connsiteX113" fmla="*/ 12830788 w 17513501"/>
              <a:gd name="connsiteY113" fmla="*/ 1573376 h 1580640"/>
              <a:gd name="connsiteX114" fmla="*/ 12724374 w 17513501"/>
              <a:gd name="connsiteY114" fmla="*/ 1466403 h 1580640"/>
              <a:gd name="connsiteX115" fmla="*/ 12724374 w 17513501"/>
              <a:gd name="connsiteY115" fmla="*/ 106462 h 1580640"/>
              <a:gd name="connsiteX116" fmla="*/ 12830788 w 17513501"/>
              <a:gd name="connsiteY116" fmla="*/ 0 h 1580640"/>
              <a:gd name="connsiteX117" fmla="*/ 11014958 w 17513501"/>
              <a:gd name="connsiteY117" fmla="*/ 0 h 1580640"/>
              <a:gd name="connsiteX118" fmla="*/ 11952732 w 17513501"/>
              <a:gd name="connsiteY118" fmla="*/ 0 h 1580640"/>
              <a:gd name="connsiteX119" fmla="*/ 12059657 w 17513501"/>
              <a:gd name="connsiteY119" fmla="*/ 106462 h 1580640"/>
              <a:gd name="connsiteX120" fmla="*/ 12059657 w 17513501"/>
              <a:gd name="connsiteY120" fmla="*/ 1466403 h 1580640"/>
              <a:gd name="connsiteX121" fmla="*/ 11952732 w 17513501"/>
              <a:gd name="connsiteY121" fmla="*/ 1573376 h 1580640"/>
              <a:gd name="connsiteX122" fmla="*/ 11014958 w 17513501"/>
              <a:gd name="connsiteY122" fmla="*/ 1573376 h 1580640"/>
              <a:gd name="connsiteX123" fmla="*/ 10908544 w 17513501"/>
              <a:gd name="connsiteY123" fmla="*/ 1466403 h 1580640"/>
              <a:gd name="connsiteX124" fmla="*/ 10908544 w 17513501"/>
              <a:gd name="connsiteY124" fmla="*/ 106462 h 1580640"/>
              <a:gd name="connsiteX125" fmla="*/ 11014958 w 17513501"/>
              <a:gd name="connsiteY125" fmla="*/ 0 h 1580640"/>
              <a:gd name="connsiteX126" fmla="*/ 9195951 w 17513501"/>
              <a:gd name="connsiteY126" fmla="*/ 0 h 1580640"/>
              <a:gd name="connsiteX127" fmla="*/ 10133725 w 17513501"/>
              <a:gd name="connsiteY127" fmla="*/ 0 h 1580640"/>
              <a:gd name="connsiteX128" fmla="*/ 10240650 w 17513501"/>
              <a:gd name="connsiteY128" fmla="*/ 106462 h 1580640"/>
              <a:gd name="connsiteX129" fmla="*/ 10240650 w 17513501"/>
              <a:gd name="connsiteY129" fmla="*/ 1466403 h 1580640"/>
              <a:gd name="connsiteX130" fmla="*/ 10133725 w 17513501"/>
              <a:gd name="connsiteY130" fmla="*/ 1573376 h 1580640"/>
              <a:gd name="connsiteX131" fmla="*/ 9195951 w 17513501"/>
              <a:gd name="connsiteY131" fmla="*/ 1573376 h 1580640"/>
              <a:gd name="connsiteX132" fmla="*/ 9089537 w 17513501"/>
              <a:gd name="connsiteY132" fmla="*/ 1466403 h 1580640"/>
              <a:gd name="connsiteX133" fmla="*/ 9089537 w 17513501"/>
              <a:gd name="connsiteY133" fmla="*/ 106462 h 1580640"/>
              <a:gd name="connsiteX134" fmla="*/ 9195951 w 17513501"/>
              <a:gd name="connsiteY134" fmla="*/ 0 h 1580640"/>
              <a:gd name="connsiteX135" fmla="*/ 7376944 w 17513501"/>
              <a:gd name="connsiteY135" fmla="*/ 0 h 1580640"/>
              <a:gd name="connsiteX136" fmla="*/ 8314718 w 17513501"/>
              <a:gd name="connsiteY136" fmla="*/ 0 h 1580640"/>
              <a:gd name="connsiteX137" fmla="*/ 8421643 w 17513501"/>
              <a:gd name="connsiteY137" fmla="*/ 106462 h 1580640"/>
              <a:gd name="connsiteX138" fmla="*/ 8421643 w 17513501"/>
              <a:gd name="connsiteY138" fmla="*/ 1466403 h 1580640"/>
              <a:gd name="connsiteX139" fmla="*/ 8314718 w 17513501"/>
              <a:gd name="connsiteY139" fmla="*/ 1573376 h 1580640"/>
              <a:gd name="connsiteX140" fmla="*/ 7376944 w 17513501"/>
              <a:gd name="connsiteY140" fmla="*/ 1573376 h 1580640"/>
              <a:gd name="connsiteX141" fmla="*/ 7270530 w 17513501"/>
              <a:gd name="connsiteY141" fmla="*/ 1466403 h 1580640"/>
              <a:gd name="connsiteX142" fmla="*/ 7270530 w 17513501"/>
              <a:gd name="connsiteY142" fmla="*/ 106462 h 1580640"/>
              <a:gd name="connsiteX143" fmla="*/ 7376944 w 17513501"/>
              <a:gd name="connsiteY143" fmla="*/ 0 h 1580640"/>
              <a:gd name="connsiteX144" fmla="*/ 5557937 w 17513501"/>
              <a:gd name="connsiteY144" fmla="*/ 0 h 1580640"/>
              <a:gd name="connsiteX145" fmla="*/ 6495711 w 17513501"/>
              <a:gd name="connsiteY145" fmla="*/ 0 h 1580640"/>
              <a:gd name="connsiteX146" fmla="*/ 6602637 w 17513501"/>
              <a:gd name="connsiteY146" fmla="*/ 106462 h 1580640"/>
              <a:gd name="connsiteX147" fmla="*/ 6602637 w 17513501"/>
              <a:gd name="connsiteY147" fmla="*/ 1466403 h 1580640"/>
              <a:gd name="connsiteX148" fmla="*/ 6495711 w 17513501"/>
              <a:gd name="connsiteY148" fmla="*/ 1573376 h 1580640"/>
              <a:gd name="connsiteX149" fmla="*/ 5557937 w 17513501"/>
              <a:gd name="connsiteY149" fmla="*/ 1573376 h 1580640"/>
              <a:gd name="connsiteX150" fmla="*/ 5451523 w 17513501"/>
              <a:gd name="connsiteY150" fmla="*/ 1466403 h 1580640"/>
              <a:gd name="connsiteX151" fmla="*/ 5451523 w 17513501"/>
              <a:gd name="connsiteY151" fmla="*/ 106462 h 1580640"/>
              <a:gd name="connsiteX152" fmla="*/ 5557937 w 17513501"/>
              <a:gd name="connsiteY152" fmla="*/ 0 h 1580640"/>
              <a:gd name="connsiteX153" fmla="*/ 3738931 w 17513501"/>
              <a:gd name="connsiteY153" fmla="*/ 0 h 1580640"/>
              <a:gd name="connsiteX154" fmla="*/ 4676705 w 17513501"/>
              <a:gd name="connsiteY154" fmla="*/ 0 h 1580640"/>
              <a:gd name="connsiteX155" fmla="*/ 4783631 w 17513501"/>
              <a:gd name="connsiteY155" fmla="*/ 106462 h 1580640"/>
              <a:gd name="connsiteX156" fmla="*/ 4783631 w 17513501"/>
              <a:gd name="connsiteY156" fmla="*/ 1466403 h 1580640"/>
              <a:gd name="connsiteX157" fmla="*/ 4676705 w 17513501"/>
              <a:gd name="connsiteY157" fmla="*/ 1573376 h 1580640"/>
              <a:gd name="connsiteX158" fmla="*/ 3738931 w 17513501"/>
              <a:gd name="connsiteY158" fmla="*/ 1573376 h 1580640"/>
              <a:gd name="connsiteX159" fmla="*/ 3632517 w 17513501"/>
              <a:gd name="connsiteY159" fmla="*/ 1466403 h 1580640"/>
              <a:gd name="connsiteX160" fmla="*/ 3632517 w 17513501"/>
              <a:gd name="connsiteY160" fmla="*/ 106462 h 1580640"/>
              <a:gd name="connsiteX161" fmla="*/ 3738931 w 17513501"/>
              <a:gd name="connsiteY161" fmla="*/ 0 h 1580640"/>
              <a:gd name="connsiteX162" fmla="*/ 1919924 w 17513501"/>
              <a:gd name="connsiteY162" fmla="*/ 0 h 1580640"/>
              <a:gd name="connsiteX163" fmla="*/ 2857698 w 17513501"/>
              <a:gd name="connsiteY163" fmla="*/ 0 h 1580640"/>
              <a:gd name="connsiteX164" fmla="*/ 2964624 w 17513501"/>
              <a:gd name="connsiteY164" fmla="*/ 106953 h 1580640"/>
              <a:gd name="connsiteX165" fmla="*/ 2964624 w 17513501"/>
              <a:gd name="connsiteY165" fmla="*/ 1473173 h 1580640"/>
              <a:gd name="connsiteX166" fmla="*/ 2857698 w 17513501"/>
              <a:gd name="connsiteY166" fmla="*/ 1580640 h 1580640"/>
              <a:gd name="connsiteX167" fmla="*/ 1919924 w 17513501"/>
              <a:gd name="connsiteY167" fmla="*/ 1580640 h 1580640"/>
              <a:gd name="connsiteX168" fmla="*/ 1813510 w 17513501"/>
              <a:gd name="connsiteY168" fmla="*/ 1473173 h 1580640"/>
              <a:gd name="connsiteX169" fmla="*/ 1813510 w 17513501"/>
              <a:gd name="connsiteY169" fmla="*/ 106953 h 1580640"/>
              <a:gd name="connsiteX170" fmla="*/ 1919924 w 17513501"/>
              <a:gd name="connsiteY170" fmla="*/ 0 h 1580640"/>
              <a:gd name="connsiteX171" fmla="*/ 106413 w 17513501"/>
              <a:gd name="connsiteY171" fmla="*/ 0 h 1580640"/>
              <a:gd name="connsiteX172" fmla="*/ 1044187 w 17513501"/>
              <a:gd name="connsiteY172" fmla="*/ 0 h 1580640"/>
              <a:gd name="connsiteX173" fmla="*/ 1151113 w 17513501"/>
              <a:gd name="connsiteY173" fmla="*/ 106462 h 1580640"/>
              <a:gd name="connsiteX174" fmla="*/ 1151113 w 17513501"/>
              <a:gd name="connsiteY174" fmla="*/ 1466403 h 1580640"/>
              <a:gd name="connsiteX175" fmla="*/ 1044187 w 17513501"/>
              <a:gd name="connsiteY175" fmla="*/ 1573376 h 1580640"/>
              <a:gd name="connsiteX176" fmla="*/ 106413 w 17513501"/>
              <a:gd name="connsiteY176" fmla="*/ 1573376 h 1580640"/>
              <a:gd name="connsiteX177" fmla="*/ 0 w 17513501"/>
              <a:gd name="connsiteY177" fmla="*/ 1466403 h 1580640"/>
              <a:gd name="connsiteX178" fmla="*/ 0 w 17513501"/>
              <a:gd name="connsiteY178" fmla="*/ 106462 h 1580640"/>
              <a:gd name="connsiteX179" fmla="*/ 106413 w 17513501"/>
              <a:gd name="connsiteY179" fmla="*/ 0 h 158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7513501" h="1580640">
                <a:moveTo>
                  <a:pt x="2389067" y="1413012"/>
                </a:moveTo>
                <a:cubicBezTo>
                  <a:pt x="2353766" y="1413012"/>
                  <a:pt x="2325628" y="1441807"/>
                  <a:pt x="2325628" y="1476772"/>
                </a:cubicBezTo>
                <a:cubicBezTo>
                  <a:pt x="2325628" y="1511738"/>
                  <a:pt x="2353766" y="1540533"/>
                  <a:pt x="2389067" y="1540533"/>
                </a:cubicBezTo>
                <a:cubicBezTo>
                  <a:pt x="2423856" y="1540533"/>
                  <a:pt x="2451995" y="1511738"/>
                  <a:pt x="2451995" y="1476772"/>
                </a:cubicBezTo>
                <a:cubicBezTo>
                  <a:pt x="2451995" y="1441807"/>
                  <a:pt x="2423856" y="1413012"/>
                  <a:pt x="2389067" y="1413012"/>
                </a:cubicBezTo>
                <a:close/>
                <a:moveTo>
                  <a:pt x="16937945" y="1406519"/>
                </a:moveTo>
                <a:cubicBezTo>
                  <a:pt x="16902643" y="1406519"/>
                  <a:pt x="16874505" y="1435181"/>
                  <a:pt x="16874505" y="1469986"/>
                </a:cubicBezTo>
                <a:cubicBezTo>
                  <a:pt x="16874505" y="1504791"/>
                  <a:pt x="16902643" y="1533453"/>
                  <a:pt x="16937945" y="1533453"/>
                </a:cubicBezTo>
                <a:cubicBezTo>
                  <a:pt x="16972733" y="1533453"/>
                  <a:pt x="17000873" y="1504791"/>
                  <a:pt x="17000873" y="1469986"/>
                </a:cubicBezTo>
                <a:cubicBezTo>
                  <a:pt x="17000873" y="1435181"/>
                  <a:pt x="16972733" y="1406519"/>
                  <a:pt x="16937945" y="1406519"/>
                </a:cubicBezTo>
                <a:close/>
                <a:moveTo>
                  <a:pt x="15118938" y="1406519"/>
                </a:moveTo>
                <a:cubicBezTo>
                  <a:pt x="15083637" y="1406519"/>
                  <a:pt x="15055499" y="1435181"/>
                  <a:pt x="15055499" y="1469986"/>
                </a:cubicBezTo>
                <a:cubicBezTo>
                  <a:pt x="15055499" y="1504791"/>
                  <a:pt x="15083637" y="1533453"/>
                  <a:pt x="15118938" y="1533453"/>
                </a:cubicBezTo>
                <a:cubicBezTo>
                  <a:pt x="15153727" y="1533453"/>
                  <a:pt x="15181865" y="1504791"/>
                  <a:pt x="15181865" y="1469986"/>
                </a:cubicBezTo>
                <a:cubicBezTo>
                  <a:pt x="15181865" y="1435181"/>
                  <a:pt x="15153727" y="1406519"/>
                  <a:pt x="15118938" y="1406519"/>
                </a:cubicBezTo>
                <a:close/>
                <a:moveTo>
                  <a:pt x="13299931" y="1406519"/>
                </a:moveTo>
                <a:cubicBezTo>
                  <a:pt x="13264630" y="1406519"/>
                  <a:pt x="13236492" y="1435181"/>
                  <a:pt x="13236492" y="1469986"/>
                </a:cubicBezTo>
                <a:cubicBezTo>
                  <a:pt x="13236492" y="1504791"/>
                  <a:pt x="13264630" y="1533453"/>
                  <a:pt x="13299931" y="1533453"/>
                </a:cubicBezTo>
                <a:cubicBezTo>
                  <a:pt x="13334720" y="1533453"/>
                  <a:pt x="13362858" y="1504791"/>
                  <a:pt x="13362858" y="1469986"/>
                </a:cubicBezTo>
                <a:cubicBezTo>
                  <a:pt x="13362858" y="1435181"/>
                  <a:pt x="13334720" y="1406519"/>
                  <a:pt x="13299931" y="1406519"/>
                </a:cubicBezTo>
                <a:close/>
                <a:moveTo>
                  <a:pt x="11484101" y="1406519"/>
                </a:moveTo>
                <a:cubicBezTo>
                  <a:pt x="11448800" y="1406519"/>
                  <a:pt x="11420662" y="1435181"/>
                  <a:pt x="11420662" y="1469986"/>
                </a:cubicBezTo>
                <a:cubicBezTo>
                  <a:pt x="11420662" y="1504791"/>
                  <a:pt x="11448800" y="1533453"/>
                  <a:pt x="11484101" y="1533453"/>
                </a:cubicBezTo>
                <a:cubicBezTo>
                  <a:pt x="11518890" y="1533453"/>
                  <a:pt x="11547028" y="1504791"/>
                  <a:pt x="11547028" y="1469986"/>
                </a:cubicBezTo>
                <a:cubicBezTo>
                  <a:pt x="11547028" y="1435181"/>
                  <a:pt x="11518890" y="1406519"/>
                  <a:pt x="11484101" y="1406519"/>
                </a:cubicBezTo>
                <a:close/>
                <a:moveTo>
                  <a:pt x="9665094" y="1406519"/>
                </a:moveTo>
                <a:cubicBezTo>
                  <a:pt x="9629793" y="1406519"/>
                  <a:pt x="9601655" y="1435181"/>
                  <a:pt x="9601655" y="1469986"/>
                </a:cubicBezTo>
                <a:cubicBezTo>
                  <a:pt x="9601655" y="1504791"/>
                  <a:pt x="9629793" y="1533453"/>
                  <a:pt x="9665094" y="1533453"/>
                </a:cubicBezTo>
                <a:cubicBezTo>
                  <a:pt x="9699883" y="1533453"/>
                  <a:pt x="9728021" y="1504791"/>
                  <a:pt x="9728021" y="1469986"/>
                </a:cubicBezTo>
                <a:cubicBezTo>
                  <a:pt x="9728021" y="1435181"/>
                  <a:pt x="9699883" y="1406519"/>
                  <a:pt x="9665094" y="1406519"/>
                </a:cubicBezTo>
                <a:close/>
                <a:moveTo>
                  <a:pt x="7846087" y="1406519"/>
                </a:moveTo>
                <a:cubicBezTo>
                  <a:pt x="7810786" y="1406519"/>
                  <a:pt x="7782648" y="1435181"/>
                  <a:pt x="7782648" y="1469986"/>
                </a:cubicBezTo>
                <a:cubicBezTo>
                  <a:pt x="7782648" y="1504791"/>
                  <a:pt x="7810786" y="1533453"/>
                  <a:pt x="7846087" y="1533453"/>
                </a:cubicBezTo>
                <a:cubicBezTo>
                  <a:pt x="7880876" y="1533453"/>
                  <a:pt x="7909014" y="1504791"/>
                  <a:pt x="7909014" y="1469986"/>
                </a:cubicBezTo>
                <a:cubicBezTo>
                  <a:pt x="7909014" y="1435181"/>
                  <a:pt x="7880876" y="1406519"/>
                  <a:pt x="7846087" y="1406519"/>
                </a:cubicBezTo>
                <a:close/>
                <a:moveTo>
                  <a:pt x="6027080" y="1406519"/>
                </a:moveTo>
                <a:cubicBezTo>
                  <a:pt x="5991780" y="1406519"/>
                  <a:pt x="5963642" y="1435181"/>
                  <a:pt x="5963642" y="1469986"/>
                </a:cubicBezTo>
                <a:cubicBezTo>
                  <a:pt x="5963642" y="1504791"/>
                  <a:pt x="5991780" y="1533453"/>
                  <a:pt x="6027080" y="1533453"/>
                </a:cubicBezTo>
                <a:cubicBezTo>
                  <a:pt x="6061870" y="1533453"/>
                  <a:pt x="6090007" y="1504791"/>
                  <a:pt x="6090007" y="1469986"/>
                </a:cubicBezTo>
                <a:cubicBezTo>
                  <a:pt x="6090007" y="1435181"/>
                  <a:pt x="6061870" y="1406519"/>
                  <a:pt x="6027080" y="1406519"/>
                </a:cubicBezTo>
                <a:close/>
                <a:moveTo>
                  <a:pt x="4208073" y="1406519"/>
                </a:moveTo>
                <a:cubicBezTo>
                  <a:pt x="4172772" y="1406519"/>
                  <a:pt x="4144634" y="1435181"/>
                  <a:pt x="4144634" y="1469986"/>
                </a:cubicBezTo>
                <a:cubicBezTo>
                  <a:pt x="4144634" y="1504791"/>
                  <a:pt x="4172772" y="1533453"/>
                  <a:pt x="4208073" y="1533453"/>
                </a:cubicBezTo>
                <a:cubicBezTo>
                  <a:pt x="4242863" y="1533453"/>
                  <a:pt x="4271001" y="1504791"/>
                  <a:pt x="4271001" y="1469986"/>
                </a:cubicBezTo>
                <a:cubicBezTo>
                  <a:pt x="4271001" y="1435181"/>
                  <a:pt x="4242863" y="1406519"/>
                  <a:pt x="4208073" y="1406519"/>
                </a:cubicBezTo>
                <a:close/>
                <a:moveTo>
                  <a:pt x="575556" y="1406519"/>
                </a:moveTo>
                <a:cubicBezTo>
                  <a:pt x="540255" y="1406519"/>
                  <a:pt x="512117" y="1435181"/>
                  <a:pt x="512117" y="1469986"/>
                </a:cubicBezTo>
                <a:cubicBezTo>
                  <a:pt x="512117" y="1504791"/>
                  <a:pt x="540255" y="1533453"/>
                  <a:pt x="575556" y="1533453"/>
                </a:cubicBezTo>
                <a:cubicBezTo>
                  <a:pt x="610346" y="1533453"/>
                  <a:pt x="638484" y="1504791"/>
                  <a:pt x="638484" y="1469986"/>
                </a:cubicBezTo>
                <a:cubicBezTo>
                  <a:pt x="638484" y="1435181"/>
                  <a:pt x="610346" y="1406519"/>
                  <a:pt x="575556" y="1406519"/>
                </a:cubicBezTo>
                <a:close/>
                <a:moveTo>
                  <a:pt x="1921459" y="128549"/>
                </a:moveTo>
                <a:lnTo>
                  <a:pt x="1921459" y="1356965"/>
                </a:lnTo>
                <a:lnTo>
                  <a:pt x="2856163" y="1356965"/>
                </a:lnTo>
                <a:lnTo>
                  <a:pt x="2856163" y="128549"/>
                </a:lnTo>
                <a:close/>
                <a:moveTo>
                  <a:pt x="16470337" y="127959"/>
                </a:moveTo>
                <a:lnTo>
                  <a:pt x="16470337" y="1350729"/>
                </a:lnTo>
                <a:lnTo>
                  <a:pt x="17405041" y="1350729"/>
                </a:lnTo>
                <a:lnTo>
                  <a:pt x="17405041" y="127959"/>
                </a:lnTo>
                <a:close/>
                <a:moveTo>
                  <a:pt x="14651330" y="127959"/>
                </a:moveTo>
                <a:lnTo>
                  <a:pt x="14651330" y="1350729"/>
                </a:lnTo>
                <a:lnTo>
                  <a:pt x="15586033" y="1350729"/>
                </a:lnTo>
                <a:lnTo>
                  <a:pt x="15586033" y="127959"/>
                </a:lnTo>
                <a:close/>
                <a:moveTo>
                  <a:pt x="12832323" y="127959"/>
                </a:moveTo>
                <a:lnTo>
                  <a:pt x="12832323" y="1350729"/>
                </a:lnTo>
                <a:lnTo>
                  <a:pt x="13767027" y="1350729"/>
                </a:lnTo>
                <a:lnTo>
                  <a:pt x="13767027" y="127959"/>
                </a:lnTo>
                <a:close/>
                <a:moveTo>
                  <a:pt x="11016493" y="127959"/>
                </a:moveTo>
                <a:lnTo>
                  <a:pt x="11016493" y="1350729"/>
                </a:lnTo>
                <a:lnTo>
                  <a:pt x="11951197" y="1350729"/>
                </a:lnTo>
                <a:lnTo>
                  <a:pt x="11951197" y="127959"/>
                </a:lnTo>
                <a:close/>
                <a:moveTo>
                  <a:pt x="9197486" y="127959"/>
                </a:moveTo>
                <a:lnTo>
                  <a:pt x="9197486" y="1350729"/>
                </a:lnTo>
                <a:lnTo>
                  <a:pt x="10132190" y="1350729"/>
                </a:lnTo>
                <a:lnTo>
                  <a:pt x="10132190" y="127959"/>
                </a:lnTo>
                <a:close/>
                <a:moveTo>
                  <a:pt x="7378479" y="127959"/>
                </a:moveTo>
                <a:lnTo>
                  <a:pt x="7378479" y="1350729"/>
                </a:lnTo>
                <a:lnTo>
                  <a:pt x="8313183" y="1350729"/>
                </a:lnTo>
                <a:lnTo>
                  <a:pt x="8313183" y="127959"/>
                </a:lnTo>
                <a:close/>
                <a:moveTo>
                  <a:pt x="5559473" y="127959"/>
                </a:moveTo>
                <a:lnTo>
                  <a:pt x="5559473" y="1350729"/>
                </a:lnTo>
                <a:lnTo>
                  <a:pt x="6494176" y="1350729"/>
                </a:lnTo>
                <a:lnTo>
                  <a:pt x="6494176" y="127959"/>
                </a:lnTo>
                <a:close/>
                <a:moveTo>
                  <a:pt x="3740466" y="127959"/>
                </a:moveTo>
                <a:lnTo>
                  <a:pt x="3740466" y="1350729"/>
                </a:lnTo>
                <a:lnTo>
                  <a:pt x="4675169" y="1350729"/>
                </a:lnTo>
                <a:lnTo>
                  <a:pt x="4675169" y="127959"/>
                </a:lnTo>
                <a:close/>
                <a:moveTo>
                  <a:pt x="107948" y="127959"/>
                </a:moveTo>
                <a:lnTo>
                  <a:pt x="107948" y="1350729"/>
                </a:lnTo>
                <a:lnTo>
                  <a:pt x="1042652" y="1350729"/>
                </a:lnTo>
                <a:lnTo>
                  <a:pt x="1042652" y="127959"/>
                </a:lnTo>
                <a:close/>
                <a:moveTo>
                  <a:pt x="16468803" y="0"/>
                </a:moveTo>
                <a:lnTo>
                  <a:pt x="17406575" y="0"/>
                </a:lnTo>
                <a:cubicBezTo>
                  <a:pt x="17465411" y="0"/>
                  <a:pt x="17513501" y="47601"/>
                  <a:pt x="17513501" y="106462"/>
                </a:cubicBezTo>
                <a:lnTo>
                  <a:pt x="17513501" y="1466403"/>
                </a:lnTo>
                <a:cubicBezTo>
                  <a:pt x="17513501" y="1525776"/>
                  <a:pt x="17465411" y="1573376"/>
                  <a:pt x="17406575" y="1573376"/>
                </a:cubicBezTo>
                <a:lnTo>
                  <a:pt x="16468803" y="1573376"/>
                </a:lnTo>
                <a:cubicBezTo>
                  <a:pt x="16409967" y="1573376"/>
                  <a:pt x="16362389" y="1525776"/>
                  <a:pt x="16362389" y="1466403"/>
                </a:cubicBezTo>
                <a:lnTo>
                  <a:pt x="16362389" y="106462"/>
                </a:lnTo>
                <a:cubicBezTo>
                  <a:pt x="16362389" y="47601"/>
                  <a:pt x="16409967" y="0"/>
                  <a:pt x="16468803" y="0"/>
                </a:cubicBezTo>
                <a:close/>
                <a:moveTo>
                  <a:pt x="14649795" y="0"/>
                </a:moveTo>
                <a:lnTo>
                  <a:pt x="15587569" y="0"/>
                </a:lnTo>
                <a:cubicBezTo>
                  <a:pt x="15646403" y="0"/>
                  <a:pt x="15694495" y="47601"/>
                  <a:pt x="15694495" y="106462"/>
                </a:cubicBezTo>
                <a:lnTo>
                  <a:pt x="15694495" y="1466403"/>
                </a:lnTo>
                <a:cubicBezTo>
                  <a:pt x="15694495" y="1525776"/>
                  <a:pt x="15646403" y="1573376"/>
                  <a:pt x="15587569" y="1573376"/>
                </a:cubicBezTo>
                <a:lnTo>
                  <a:pt x="14649795" y="1573376"/>
                </a:lnTo>
                <a:cubicBezTo>
                  <a:pt x="14590960" y="1573376"/>
                  <a:pt x="14543381" y="1525776"/>
                  <a:pt x="14543381" y="1466403"/>
                </a:cubicBezTo>
                <a:lnTo>
                  <a:pt x="14543381" y="106462"/>
                </a:lnTo>
                <a:cubicBezTo>
                  <a:pt x="14543381" y="47601"/>
                  <a:pt x="14590960" y="0"/>
                  <a:pt x="14649795" y="0"/>
                </a:cubicBezTo>
                <a:close/>
                <a:moveTo>
                  <a:pt x="12830788" y="0"/>
                </a:moveTo>
                <a:lnTo>
                  <a:pt x="13768562" y="0"/>
                </a:lnTo>
                <a:cubicBezTo>
                  <a:pt x="13827396" y="0"/>
                  <a:pt x="13875487" y="47601"/>
                  <a:pt x="13875487" y="106462"/>
                </a:cubicBezTo>
                <a:lnTo>
                  <a:pt x="13875487" y="1466403"/>
                </a:lnTo>
                <a:cubicBezTo>
                  <a:pt x="13875487" y="1525776"/>
                  <a:pt x="13827396" y="1573376"/>
                  <a:pt x="13768562" y="1573376"/>
                </a:cubicBezTo>
                <a:lnTo>
                  <a:pt x="12830788" y="1573376"/>
                </a:lnTo>
                <a:cubicBezTo>
                  <a:pt x="12771953" y="1573376"/>
                  <a:pt x="12724374" y="1525776"/>
                  <a:pt x="12724374" y="1466403"/>
                </a:cubicBezTo>
                <a:lnTo>
                  <a:pt x="12724374" y="106462"/>
                </a:lnTo>
                <a:cubicBezTo>
                  <a:pt x="12724374" y="47601"/>
                  <a:pt x="12771953" y="0"/>
                  <a:pt x="12830788" y="0"/>
                </a:cubicBezTo>
                <a:close/>
                <a:moveTo>
                  <a:pt x="11014958" y="0"/>
                </a:moveTo>
                <a:lnTo>
                  <a:pt x="11952732" y="0"/>
                </a:lnTo>
                <a:cubicBezTo>
                  <a:pt x="12011566" y="0"/>
                  <a:pt x="12059657" y="47601"/>
                  <a:pt x="12059657" y="106462"/>
                </a:cubicBezTo>
                <a:lnTo>
                  <a:pt x="12059657" y="1466403"/>
                </a:lnTo>
                <a:cubicBezTo>
                  <a:pt x="12059657" y="1525776"/>
                  <a:pt x="12011566" y="1573376"/>
                  <a:pt x="11952732" y="1573376"/>
                </a:cubicBezTo>
                <a:lnTo>
                  <a:pt x="11014958" y="1573376"/>
                </a:lnTo>
                <a:cubicBezTo>
                  <a:pt x="10956123" y="1573376"/>
                  <a:pt x="10908544" y="1525776"/>
                  <a:pt x="10908544" y="1466403"/>
                </a:cubicBezTo>
                <a:lnTo>
                  <a:pt x="10908544" y="106462"/>
                </a:lnTo>
                <a:cubicBezTo>
                  <a:pt x="10908544" y="47601"/>
                  <a:pt x="10956123" y="0"/>
                  <a:pt x="11014958" y="0"/>
                </a:cubicBezTo>
                <a:close/>
                <a:moveTo>
                  <a:pt x="9195951" y="0"/>
                </a:moveTo>
                <a:lnTo>
                  <a:pt x="10133725" y="0"/>
                </a:lnTo>
                <a:cubicBezTo>
                  <a:pt x="10192559" y="0"/>
                  <a:pt x="10240650" y="47601"/>
                  <a:pt x="10240650" y="106462"/>
                </a:cubicBezTo>
                <a:lnTo>
                  <a:pt x="10240650" y="1466403"/>
                </a:lnTo>
                <a:cubicBezTo>
                  <a:pt x="10240650" y="1525776"/>
                  <a:pt x="10192559" y="1573376"/>
                  <a:pt x="10133725" y="1573376"/>
                </a:cubicBezTo>
                <a:lnTo>
                  <a:pt x="9195951" y="1573376"/>
                </a:lnTo>
                <a:cubicBezTo>
                  <a:pt x="9137116" y="1573376"/>
                  <a:pt x="9089537" y="1525776"/>
                  <a:pt x="9089537" y="1466403"/>
                </a:cubicBezTo>
                <a:lnTo>
                  <a:pt x="9089537" y="106462"/>
                </a:lnTo>
                <a:cubicBezTo>
                  <a:pt x="9089537" y="47601"/>
                  <a:pt x="9137116" y="0"/>
                  <a:pt x="9195951" y="0"/>
                </a:cubicBezTo>
                <a:close/>
                <a:moveTo>
                  <a:pt x="7376944" y="0"/>
                </a:moveTo>
                <a:lnTo>
                  <a:pt x="8314718" y="0"/>
                </a:lnTo>
                <a:cubicBezTo>
                  <a:pt x="8373552" y="0"/>
                  <a:pt x="8421643" y="47601"/>
                  <a:pt x="8421643" y="106462"/>
                </a:cubicBezTo>
                <a:lnTo>
                  <a:pt x="8421643" y="1466403"/>
                </a:lnTo>
                <a:cubicBezTo>
                  <a:pt x="8421643" y="1525776"/>
                  <a:pt x="8373552" y="1573376"/>
                  <a:pt x="8314718" y="1573376"/>
                </a:cubicBezTo>
                <a:lnTo>
                  <a:pt x="7376944" y="1573376"/>
                </a:lnTo>
                <a:cubicBezTo>
                  <a:pt x="7318109" y="1573376"/>
                  <a:pt x="7270530" y="1525776"/>
                  <a:pt x="7270530" y="1466403"/>
                </a:cubicBezTo>
                <a:lnTo>
                  <a:pt x="7270530" y="106462"/>
                </a:lnTo>
                <a:cubicBezTo>
                  <a:pt x="7270530" y="47601"/>
                  <a:pt x="7318109" y="0"/>
                  <a:pt x="7376944" y="0"/>
                </a:cubicBezTo>
                <a:close/>
                <a:moveTo>
                  <a:pt x="5557937" y="0"/>
                </a:moveTo>
                <a:lnTo>
                  <a:pt x="6495711" y="0"/>
                </a:lnTo>
                <a:cubicBezTo>
                  <a:pt x="6554547" y="0"/>
                  <a:pt x="6602637" y="47601"/>
                  <a:pt x="6602637" y="106462"/>
                </a:cubicBezTo>
                <a:lnTo>
                  <a:pt x="6602637" y="1466403"/>
                </a:lnTo>
                <a:cubicBezTo>
                  <a:pt x="6602637" y="1525776"/>
                  <a:pt x="6554547" y="1573376"/>
                  <a:pt x="6495711" y="1573376"/>
                </a:cubicBezTo>
                <a:lnTo>
                  <a:pt x="5557937" y="1573376"/>
                </a:lnTo>
                <a:cubicBezTo>
                  <a:pt x="5499104" y="1573376"/>
                  <a:pt x="5451523" y="1525776"/>
                  <a:pt x="5451523" y="1466403"/>
                </a:cubicBezTo>
                <a:lnTo>
                  <a:pt x="5451523" y="106462"/>
                </a:lnTo>
                <a:cubicBezTo>
                  <a:pt x="5451523" y="47601"/>
                  <a:pt x="5499104" y="0"/>
                  <a:pt x="5557937" y="0"/>
                </a:cubicBezTo>
                <a:close/>
                <a:moveTo>
                  <a:pt x="3738931" y="0"/>
                </a:moveTo>
                <a:lnTo>
                  <a:pt x="4676705" y="0"/>
                </a:lnTo>
                <a:cubicBezTo>
                  <a:pt x="4735540" y="0"/>
                  <a:pt x="4783631" y="47601"/>
                  <a:pt x="4783631" y="106462"/>
                </a:cubicBezTo>
                <a:lnTo>
                  <a:pt x="4783631" y="1466403"/>
                </a:lnTo>
                <a:cubicBezTo>
                  <a:pt x="4783631" y="1525776"/>
                  <a:pt x="4735540" y="1573376"/>
                  <a:pt x="4676705" y="1573376"/>
                </a:cubicBezTo>
                <a:lnTo>
                  <a:pt x="3738931" y="1573376"/>
                </a:lnTo>
                <a:cubicBezTo>
                  <a:pt x="3680097" y="1573376"/>
                  <a:pt x="3632517" y="1525776"/>
                  <a:pt x="3632517" y="1466403"/>
                </a:cubicBezTo>
                <a:lnTo>
                  <a:pt x="3632517" y="106462"/>
                </a:lnTo>
                <a:cubicBezTo>
                  <a:pt x="3632517" y="47601"/>
                  <a:pt x="3680097" y="0"/>
                  <a:pt x="3738931" y="0"/>
                </a:cubicBezTo>
                <a:close/>
                <a:moveTo>
                  <a:pt x="1919924" y="0"/>
                </a:moveTo>
                <a:lnTo>
                  <a:pt x="2857698" y="0"/>
                </a:lnTo>
                <a:cubicBezTo>
                  <a:pt x="2916533" y="0"/>
                  <a:pt x="2964624" y="47821"/>
                  <a:pt x="2964624" y="106953"/>
                </a:cubicBezTo>
                <a:lnTo>
                  <a:pt x="2964624" y="1473173"/>
                </a:lnTo>
                <a:cubicBezTo>
                  <a:pt x="2964624" y="1532820"/>
                  <a:pt x="2916533" y="1580640"/>
                  <a:pt x="2857698" y="1580640"/>
                </a:cubicBezTo>
                <a:lnTo>
                  <a:pt x="1919924" y="1580640"/>
                </a:lnTo>
                <a:cubicBezTo>
                  <a:pt x="1861090" y="1580640"/>
                  <a:pt x="1813510" y="1532820"/>
                  <a:pt x="1813510" y="1473173"/>
                </a:cubicBezTo>
                <a:lnTo>
                  <a:pt x="1813510" y="106953"/>
                </a:lnTo>
                <a:cubicBezTo>
                  <a:pt x="1813510" y="47821"/>
                  <a:pt x="1861090" y="0"/>
                  <a:pt x="1919924" y="0"/>
                </a:cubicBezTo>
                <a:close/>
                <a:moveTo>
                  <a:pt x="106413" y="0"/>
                </a:moveTo>
                <a:lnTo>
                  <a:pt x="1044187" y="0"/>
                </a:lnTo>
                <a:cubicBezTo>
                  <a:pt x="1103021" y="0"/>
                  <a:pt x="1151113" y="47601"/>
                  <a:pt x="1151113" y="106462"/>
                </a:cubicBezTo>
                <a:lnTo>
                  <a:pt x="1151113" y="1466403"/>
                </a:lnTo>
                <a:cubicBezTo>
                  <a:pt x="1151113" y="1525776"/>
                  <a:pt x="1103021" y="1573376"/>
                  <a:pt x="1044187" y="1573376"/>
                </a:cubicBezTo>
                <a:lnTo>
                  <a:pt x="106413" y="1573376"/>
                </a:lnTo>
                <a:cubicBezTo>
                  <a:pt x="47579" y="1573376"/>
                  <a:pt x="0" y="1525776"/>
                  <a:pt x="0" y="1466403"/>
                </a:cubicBezTo>
                <a:lnTo>
                  <a:pt x="0" y="106462"/>
                </a:lnTo>
                <a:cubicBezTo>
                  <a:pt x="0" y="47601"/>
                  <a:pt x="47579" y="0"/>
                  <a:pt x="106413" y="0"/>
                </a:cubicBezTo>
                <a:close/>
              </a:path>
            </a:pathLst>
          </a:custGeom>
          <a:solidFill>
            <a:schemeClr val="bg2">
              <a:lumMod val="85000"/>
            </a:schemeClr>
          </a:solidFill>
          <a:ln>
            <a:noFill/>
          </a:ln>
          <a:effectLst/>
        </p:spPr>
        <p:txBody>
          <a:bodyPr wrap="square" anchor="ctr">
            <a:noAutofit/>
          </a:bodyPr>
          <a:lstStyle/>
          <a:p>
            <a:endParaRPr lang="en-US" sz="900" dirty="0"/>
          </a:p>
        </p:txBody>
      </p:sp>
      <p:sp>
        <p:nvSpPr>
          <p:cNvPr id="205" name="Rectangle 204">
            <a:extLst>
              <a:ext uri="{FF2B5EF4-FFF2-40B4-BE49-F238E27FC236}">
                <a16:creationId xmlns:a16="http://schemas.microsoft.com/office/drawing/2014/main" id="{568EFA01-5D68-4A45-B398-F0B847FEFF2F}"/>
              </a:ext>
            </a:extLst>
          </p:cNvPr>
          <p:cNvSpPr/>
          <p:nvPr/>
        </p:nvSpPr>
        <p:spPr>
          <a:xfrm>
            <a:off x="788233" y="3015759"/>
            <a:ext cx="4743298" cy="8615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04" name="Freeform 203">
            <a:extLst>
              <a:ext uri="{FF2B5EF4-FFF2-40B4-BE49-F238E27FC236}">
                <a16:creationId xmlns:a16="http://schemas.microsoft.com/office/drawing/2014/main" id="{C3421C9F-BCAE-6346-8A6F-42482B1E9620}"/>
              </a:ext>
            </a:extLst>
          </p:cNvPr>
          <p:cNvSpPr/>
          <p:nvPr/>
        </p:nvSpPr>
        <p:spPr>
          <a:xfrm>
            <a:off x="749139" y="2967283"/>
            <a:ext cx="8940735" cy="1032243"/>
          </a:xfrm>
          <a:custGeom>
            <a:avLst/>
            <a:gdLst>
              <a:gd name="connsiteX0" fmla="*/ 2467255 w 17881469"/>
              <a:gd name="connsiteY0" fmla="*/ 1598676 h 2064486"/>
              <a:gd name="connsiteX1" fmla="*/ 2530183 w 17881469"/>
              <a:gd name="connsiteY1" fmla="*/ 1662436 h 2064486"/>
              <a:gd name="connsiteX2" fmla="*/ 2467255 w 17881469"/>
              <a:gd name="connsiteY2" fmla="*/ 1726197 h 2064486"/>
              <a:gd name="connsiteX3" fmla="*/ 2403816 w 17881469"/>
              <a:gd name="connsiteY3" fmla="*/ 1662436 h 2064486"/>
              <a:gd name="connsiteX4" fmla="*/ 2467255 w 17881469"/>
              <a:gd name="connsiteY4" fmla="*/ 1598676 h 2064486"/>
              <a:gd name="connsiteX5" fmla="*/ 17016133 w 17881469"/>
              <a:gd name="connsiteY5" fmla="*/ 1592183 h 2064486"/>
              <a:gd name="connsiteX6" fmla="*/ 17079061 w 17881469"/>
              <a:gd name="connsiteY6" fmla="*/ 1655650 h 2064486"/>
              <a:gd name="connsiteX7" fmla="*/ 17016133 w 17881469"/>
              <a:gd name="connsiteY7" fmla="*/ 1719117 h 2064486"/>
              <a:gd name="connsiteX8" fmla="*/ 16952693 w 17881469"/>
              <a:gd name="connsiteY8" fmla="*/ 1655650 h 2064486"/>
              <a:gd name="connsiteX9" fmla="*/ 17016133 w 17881469"/>
              <a:gd name="connsiteY9" fmla="*/ 1592183 h 2064486"/>
              <a:gd name="connsiteX10" fmla="*/ 15197126 w 17881469"/>
              <a:gd name="connsiteY10" fmla="*/ 1592183 h 2064486"/>
              <a:gd name="connsiteX11" fmla="*/ 15260053 w 17881469"/>
              <a:gd name="connsiteY11" fmla="*/ 1655650 h 2064486"/>
              <a:gd name="connsiteX12" fmla="*/ 15197126 w 17881469"/>
              <a:gd name="connsiteY12" fmla="*/ 1719117 h 2064486"/>
              <a:gd name="connsiteX13" fmla="*/ 15133687 w 17881469"/>
              <a:gd name="connsiteY13" fmla="*/ 1655650 h 2064486"/>
              <a:gd name="connsiteX14" fmla="*/ 15197126 w 17881469"/>
              <a:gd name="connsiteY14" fmla="*/ 1592183 h 2064486"/>
              <a:gd name="connsiteX15" fmla="*/ 13378119 w 17881469"/>
              <a:gd name="connsiteY15" fmla="*/ 1592183 h 2064486"/>
              <a:gd name="connsiteX16" fmla="*/ 13441046 w 17881469"/>
              <a:gd name="connsiteY16" fmla="*/ 1655650 h 2064486"/>
              <a:gd name="connsiteX17" fmla="*/ 13378119 w 17881469"/>
              <a:gd name="connsiteY17" fmla="*/ 1719117 h 2064486"/>
              <a:gd name="connsiteX18" fmla="*/ 13314680 w 17881469"/>
              <a:gd name="connsiteY18" fmla="*/ 1655650 h 2064486"/>
              <a:gd name="connsiteX19" fmla="*/ 13378119 w 17881469"/>
              <a:gd name="connsiteY19" fmla="*/ 1592183 h 2064486"/>
              <a:gd name="connsiteX20" fmla="*/ 11562289 w 17881469"/>
              <a:gd name="connsiteY20" fmla="*/ 1592183 h 2064486"/>
              <a:gd name="connsiteX21" fmla="*/ 11625216 w 17881469"/>
              <a:gd name="connsiteY21" fmla="*/ 1655650 h 2064486"/>
              <a:gd name="connsiteX22" fmla="*/ 11562289 w 17881469"/>
              <a:gd name="connsiteY22" fmla="*/ 1719117 h 2064486"/>
              <a:gd name="connsiteX23" fmla="*/ 11498850 w 17881469"/>
              <a:gd name="connsiteY23" fmla="*/ 1655650 h 2064486"/>
              <a:gd name="connsiteX24" fmla="*/ 11562289 w 17881469"/>
              <a:gd name="connsiteY24" fmla="*/ 1592183 h 2064486"/>
              <a:gd name="connsiteX25" fmla="*/ 9743282 w 17881469"/>
              <a:gd name="connsiteY25" fmla="*/ 1592183 h 2064486"/>
              <a:gd name="connsiteX26" fmla="*/ 9806209 w 17881469"/>
              <a:gd name="connsiteY26" fmla="*/ 1655650 h 2064486"/>
              <a:gd name="connsiteX27" fmla="*/ 9743282 w 17881469"/>
              <a:gd name="connsiteY27" fmla="*/ 1719117 h 2064486"/>
              <a:gd name="connsiteX28" fmla="*/ 9679843 w 17881469"/>
              <a:gd name="connsiteY28" fmla="*/ 1655650 h 2064486"/>
              <a:gd name="connsiteX29" fmla="*/ 9743282 w 17881469"/>
              <a:gd name="connsiteY29" fmla="*/ 1592183 h 2064486"/>
              <a:gd name="connsiteX30" fmla="*/ 7924275 w 17881469"/>
              <a:gd name="connsiteY30" fmla="*/ 1592183 h 2064486"/>
              <a:gd name="connsiteX31" fmla="*/ 7987202 w 17881469"/>
              <a:gd name="connsiteY31" fmla="*/ 1655650 h 2064486"/>
              <a:gd name="connsiteX32" fmla="*/ 7924275 w 17881469"/>
              <a:gd name="connsiteY32" fmla="*/ 1719117 h 2064486"/>
              <a:gd name="connsiteX33" fmla="*/ 7860836 w 17881469"/>
              <a:gd name="connsiteY33" fmla="*/ 1655650 h 2064486"/>
              <a:gd name="connsiteX34" fmla="*/ 7924275 w 17881469"/>
              <a:gd name="connsiteY34" fmla="*/ 1592183 h 2064486"/>
              <a:gd name="connsiteX35" fmla="*/ 6105268 w 17881469"/>
              <a:gd name="connsiteY35" fmla="*/ 1592183 h 2064486"/>
              <a:gd name="connsiteX36" fmla="*/ 6168195 w 17881469"/>
              <a:gd name="connsiteY36" fmla="*/ 1655650 h 2064486"/>
              <a:gd name="connsiteX37" fmla="*/ 6105268 w 17881469"/>
              <a:gd name="connsiteY37" fmla="*/ 1719117 h 2064486"/>
              <a:gd name="connsiteX38" fmla="*/ 6041831 w 17881469"/>
              <a:gd name="connsiteY38" fmla="*/ 1655650 h 2064486"/>
              <a:gd name="connsiteX39" fmla="*/ 6105268 w 17881469"/>
              <a:gd name="connsiteY39" fmla="*/ 1592183 h 2064486"/>
              <a:gd name="connsiteX40" fmla="*/ 4286262 w 17881469"/>
              <a:gd name="connsiteY40" fmla="*/ 1592183 h 2064486"/>
              <a:gd name="connsiteX41" fmla="*/ 4349189 w 17881469"/>
              <a:gd name="connsiteY41" fmla="*/ 1655650 h 2064486"/>
              <a:gd name="connsiteX42" fmla="*/ 4286262 w 17881469"/>
              <a:gd name="connsiteY42" fmla="*/ 1719117 h 2064486"/>
              <a:gd name="connsiteX43" fmla="*/ 4222822 w 17881469"/>
              <a:gd name="connsiteY43" fmla="*/ 1655650 h 2064486"/>
              <a:gd name="connsiteX44" fmla="*/ 4286262 w 17881469"/>
              <a:gd name="connsiteY44" fmla="*/ 1592183 h 2064486"/>
              <a:gd name="connsiteX45" fmla="*/ 653744 w 17881469"/>
              <a:gd name="connsiteY45" fmla="*/ 1592183 h 2064486"/>
              <a:gd name="connsiteX46" fmla="*/ 716672 w 17881469"/>
              <a:gd name="connsiteY46" fmla="*/ 1655650 h 2064486"/>
              <a:gd name="connsiteX47" fmla="*/ 653744 w 17881469"/>
              <a:gd name="connsiteY47" fmla="*/ 1719117 h 2064486"/>
              <a:gd name="connsiteX48" fmla="*/ 590305 w 17881469"/>
              <a:gd name="connsiteY48" fmla="*/ 1655650 h 2064486"/>
              <a:gd name="connsiteX49" fmla="*/ 653744 w 17881469"/>
              <a:gd name="connsiteY49" fmla="*/ 1592183 h 2064486"/>
              <a:gd name="connsiteX50" fmla="*/ 1999647 w 17881469"/>
              <a:gd name="connsiteY50" fmla="*/ 314213 h 2064486"/>
              <a:gd name="connsiteX51" fmla="*/ 2934351 w 17881469"/>
              <a:gd name="connsiteY51" fmla="*/ 314213 h 2064486"/>
              <a:gd name="connsiteX52" fmla="*/ 2934351 w 17881469"/>
              <a:gd name="connsiteY52" fmla="*/ 1542629 h 2064486"/>
              <a:gd name="connsiteX53" fmla="*/ 1999647 w 17881469"/>
              <a:gd name="connsiteY53" fmla="*/ 1542629 h 2064486"/>
              <a:gd name="connsiteX54" fmla="*/ 16548525 w 17881469"/>
              <a:gd name="connsiteY54" fmla="*/ 313623 h 2064486"/>
              <a:gd name="connsiteX55" fmla="*/ 17483229 w 17881469"/>
              <a:gd name="connsiteY55" fmla="*/ 313623 h 2064486"/>
              <a:gd name="connsiteX56" fmla="*/ 17483229 w 17881469"/>
              <a:gd name="connsiteY56" fmla="*/ 1536393 h 2064486"/>
              <a:gd name="connsiteX57" fmla="*/ 16548525 w 17881469"/>
              <a:gd name="connsiteY57" fmla="*/ 1536393 h 2064486"/>
              <a:gd name="connsiteX58" fmla="*/ 14729518 w 17881469"/>
              <a:gd name="connsiteY58" fmla="*/ 313623 h 2064486"/>
              <a:gd name="connsiteX59" fmla="*/ 15664221 w 17881469"/>
              <a:gd name="connsiteY59" fmla="*/ 313623 h 2064486"/>
              <a:gd name="connsiteX60" fmla="*/ 15664221 w 17881469"/>
              <a:gd name="connsiteY60" fmla="*/ 1536393 h 2064486"/>
              <a:gd name="connsiteX61" fmla="*/ 14729518 w 17881469"/>
              <a:gd name="connsiteY61" fmla="*/ 1536393 h 2064486"/>
              <a:gd name="connsiteX62" fmla="*/ 12910511 w 17881469"/>
              <a:gd name="connsiteY62" fmla="*/ 313623 h 2064486"/>
              <a:gd name="connsiteX63" fmla="*/ 13845215 w 17881469"/>
              <a:gd name="connsiteY63" fmla="*/ 313623 h 2064486"/>
              <a:gd name="connsiteX64" fmla="*/ 13845215 w 17881469"/>
              <a:gd name="connsiteY64" fmla="*/ 1536393 h 2064486"/>
              <a:gd name="connsiteX65" fmla="*/ 12910511 w 17881469"/>
              <a:gd name="connsiteY65" fmla="*/ 1536393 h 2064486"/>
              <a:gd name="connsiteX66" fmla="*/ 11094681 w 17881469"/>
              <a:gd name="connsiteY66" fmla="*/ 313623 h 2064486"/>
              <a:gd name="connsiteX67" fmla="*/ 12029385 w 17881469"/>
              <a:gd name="connsiteY67" fmla="*/ 313623 h 2064486"/>
              <a:gd name="connsiteX68" fmla="*/ 12029385 w 17881469"/>
              <a:gd name="connsiteY68" fmla="*/ 1536393 h 2064486"/>
              <a:gd name="connsiteX69" fmla="*/ 11094681 w 17881469"/>
              <a:gd name="connsiteY69" fmla="*/ 1536393 h 2064486"/>
              <a:gd name="connsiteX70" fmla="*/ 9275674 w 17881469"/>
              <a:gd name="connsiteY70" fmla="*/ 313623 h 2064486"/>
              <a:gd name="connsiteX71" fmla="*/ 10210378 w 17881469"/>
              <a:gd name="connsiteY71" fmla="*/ 313623 h 2064486"/>
              <a:gd name="connsiteX72" fmla="*/ 10210378 w 17881469"/>
              <a:gd name="connsiteY72" fmla="*/ 1536393 h 2064486"/>
              <a:gd name="connsiteX73" fmla="*/ 9275674 w 17881469"/>
              <a:gd name="connsiteY73" fmla="*/ 1536393 h 2064486"/>
              <a:gd name="connsiteX74" fmla="*/ 7456667 w 17881469"/>
              <a:gd name="connsiteY74" fmla="*/ 313623 h 2064486"/>
              <a:gd name="connsiteX75" fmla="*/ 8391371 w 17881469"/>
              <a:gd name="connsiteY75" fmla="*/ 313623 h 2064486"/>
              <a:gd name="connsiteX76" fmla="*/ 8391371 w 17881469"/>
              <a:gd name="connsiteY76" fmla="*/ 1536393 h 2064486"/>
              <a:gd name="connsiteX77" fmla="*/ 7456667 w 17881469"/>
              <a:gd name="connsiteY77" fmla="*/ 1536393 h 2064486"/>
              <a:gd name="connsiteX78" fmla="*/ 5637662 w 17881469"/>
              <a:gd name="connsiteY78" fmla="*/ 313623 h 2064486"/>
              <a:gd name="connsiteX79" fmla="*/ 6572364 w 17881469"/>
              <a:gd name="connsiteY79" fmla="*/ 313623 h 2064486"/>
              <a:gd name="connsiteX80" fmla="*/ 6572364 w 17881469"/>
              <a:gd name="connsiteY80" fmla="*/ 1536393 h 2064486"/>
              <a:gd name="connsiteX81" fmla="*/ 5637662 w 17881469"/>
              <a:gd name="connsiteY81" fmla="*/ 1536393 h 2064486"/>
              <a:gd name="connsiteX82" fmla="*/ 3818654 w 17881469"/>
              <a:gd name="connsiteY82" fmla="*/ 313623 h 2064486"/>
              <a:gd name="connsiteX83" fmla="*/ 4753357 w 17881469"/>
              <a:gd name="connsiteY83" fmla="*/ 313623 h 2064486"/>
              <a:gd name="connsiteX84" fmla="*/ 4753357 w 17881469"/>
              <a:gd name="connsiteY84" fmla="*/ 1536393 h 2064486"/>
              <a:gd name="connsiteX85" fmla="*/ 3818654 w 17881469"/>
              <a:gd name="connsiteY85" fmla="*/ 1536393 h 2064486"/>
              <a:gd name="connsiteX86" fmla="*/ 186136 w 17881469"/>
              <a:gd name="connsiteY86" fmla="*/ 313623 h 2064486"/>
              <a:gd name="connsiteX87" fmla="*/ 1120840 w 17881469"/>
              <a:gd name="connsiteY87" fmla="*/ 313623 h 2064486"/>
              <a:gd name="connsiteX88" fmla="*/ 1120840 w 17881469"/>
              <a:gd name="connsiteY88" fmla="*/ 1536393 h 2064486"/>
              <a:gd name="connsiteX89" fmla="*/ 186136 w 17881469"/>
              <a:gd name="connsiteY89" fmla="*/ 1536393 h 2064486"/>
              <a:gd name="connsiteX90" fmla="*/ 16546991 w 17881469"/>
              <a:gd name="connsiteY90" fmla="*/ 185664 h 2064486"/>
              <a:gd name="connsiteX91" fmla="*/ 16440577 w 17881469"/>
              <a:gd name="connsiteY91" fmla="*/ 292126 h 2064486"/>
              <a:gd name="connsiteX92" fmla="*/ 16440577 w 17881469"/>
              <a:gd name="connsiteY92" fmla="*/ 1652067 h 2064486"/>
              <a:gd name="connsiteX93" fmla="*/ 16546991 w 17881469"/>
              <a:gd name="connsiteY93" fmla="*/ 1759040 h 2064486"/>
              <a:gd name="connsiteX94" fmla="*/ 17484765 w 17881469"/>
              <a:gd name="connsiteY94" fmla="*/ 1759040 h 2064486"/>
              <a:gd name="connsiteX95" fmla="*/ 17591689 w 17881469"/>
              <a:gd name="connsiteY95" fmla="*/ 1652067 h 2064486"/>
              <a:gd name="connsiteX96" fmla="*/ 17591689 w 17881469"/>
              <a:gd name="connsiteY96" fmla="*/ 292126 h 2064486"/>
              <a:gd name="connsiteX97" fmla="*/ 17484765 w 17881469"/>
              <a:gd name="connsiteY97" fmla="*/ 185664 h 2064486"/>
              <a:gd name="connsiteX98" fmla="*/ 14727983 w 17881469"/>
              <a:gd name="connsiteY98" fmla="*/ 185664 h 2064486"/>
              <a:gd name="connsiteX99" fmla="*/ 14621569 w 17881469"/>
              <a:gd name="connsiteY99" fmla="*/ 292126 h 2064486"/>
              <a:gd name="connsiteX100" fmla="*/ 14621569 w 17881469"/>
              <a:gd name="connsiteY100" fmla="*/ 1652067 h 2064486"/>
              <a:gd name="connsiteX101" fmla="*/ 14727983 w 17881469"/>
              <a:gd name="connsiteY101" fmla="*/ 1759040 h 2064486"/>
              <a:gd name="connsiteX102" fmla="*/ 15665757 w 17881469"/>
              <a:gd name="connsiteY102" fmla="*/ 1759040 h 2064486"/>
              <a:gd name="connsiteX103" fmla="*/ 15772683 w 17881469"/>
              <a:gd name="connsiteY103" fmla="*/ 1652067 h 2064486"/>
              <a:gd name="connsiteX104" fmla="*/ 15772683 w 17881469"/>
              <a:gd name="connsiteY104" fmla="*/ 292126 h 2064486"/>
              <a:gd name="connsiteX105" fmla="*/ 15665757 w 17881469"/>
              <a:gd name="connsiteY105" fmla="*/ 185664 h 2064486"/>
              <a:gd name="connsiteX106" fmla="*/ 12908976 w 17881469"/>
              <a:gd name="connsiteY106" fmla="*/ 185664 h 2064486"/>
              <a:gd name="connsiteX107" fmla="*/ 12802562 w 17881469"/>
              <a:gd name="connsiteY107" fmla="*/ 292126 h 2064486"/>
              <a:gd name="connsiteX108" fmla="*/ 12802562 w 17881469"/>
              <a:gd name="connsiteY108" fmla="*/ 1652067 h 2064486"/>
              <a:gd name="connsiteX109" fmla="*/ 12908976 w 17881469"/>
              <a:gd name="connsiteY109" fmla="*/ 1759040 h 2064486"/>
              <a:gd name="connsiteX110" fmla="*/ 13846750 w 17881469"/>
              <a:gd name="connsiteY110" fmla="*/ 1759040 h 2064486"/>
              <a:gd name="connsiteX111" fmla="*/ 13953675 w 17881469"/>
              <a:gd name="connsiteY111" fmla="*/ 1652067 h 2064486"/>
              <a:gd name="connsiteX112" fmla="*/ 13953675 w 17881469"/>
              <a:gd name="connsiteY112" fmla="*/ 292126 h 2064486"/>
              <a:gd name="connsiteX113" fmla="*/ 13846750 w 17881469"/>
              <a:gd name="connsiteY113" fmla="*/ 185664 h 2064486"/>
              <a:gd name="connsiteX114" fmla="*/ 11093146 w 17881469"/>
              <a:gd name="connsiteY114" fmla="*/ 185664 h 2064486"/>
              <a:gd name="connsiteX115" fmla="*/ 10986732 w 17881469"/>
              <a:gd name="connsiteY115" fmla="*/ 292126 h 2064486"/>
              <a:gd name="connsiteX116" fmla="*/ 10986732 w 17881469"/>
              <a:gd name="connsiteY116" fmla="*/ 1652067 h 2064486"/>
              <a:gd name="connsiteX117" fmla="*/ 11093146 w 17881469"/>
              <a:gd name="connsiteY117" fmla="*/ 1759040 h 2064486"/>
              <a:gd name="connsiteX118" fmla="*/ 12030920 w 17881469"/>
              <a:gd name="connsiteY118" fmla="*/ 1759040 h 2064486"/>
              <a:gd name="connsiteX119" fmla="*/ 12137845 w 17881469"/>
              <a:gd name="connsiteY119" fmla="*/ 1652067 h 2064486"/>
              <a:gd name="connsiteX120" fmla="*/ 12137845 w 17881469"/>
              <a:gd name="connsiteY120" fmla="*/ 292126 h 2064486"/>
              <a:gd name="connsiteX121" fmla="*/ 12030920 w 17881469"/>
              <a:gd name="connsiteY121" fmla="*/ 185664 h 2064486"/>
              <a:gd name="connsiteX122" fmla="*/ 9274139 w 17881469"/>
              <a:gd name="connsiteY122" fmla="*/ 185664 h 2064486"/>
              <a:gd name="connsiteX123" fmla="*/ 9167725 w 17881469"/>
              <a:gd name="connsiteY123" fmla="*/ 292126 h 2064486"/>
              <a:gd name="connsiteX124" fmla="*/ 9167725 w 17881469"/>
              <a:gd name="connsiteY124" fmla="*/ 1652067 h 2064486"/>
              <a:gd name="connsiteX125" fmla="*/ 9274139 w 17881469"/>
              <a:gd name="connsiteY125" fmla="*/ 1759040 h 2064486"/>
              <a:gd name="connsiteX126" fmla="*/ 10211913 w 17881469"/>
              <a:gd name="connsiteY126" fmla="*/ 1759040 h 2064486"/>
              <a:gd name="connsiteX127" fmla="*/ 10318838 w 17881469"/>
              <a:gd name="connsiteY127" fmla="*/ 1652067 h 2064486"/>
              <a:gd name="connsiteX128" fmla="*/ 10318838 w 17881469"/>
              <a:gd name="connsiteY128" fmla="*/ 292126 h 2064486"/>
              <a:gd name="connsiteX129" fmla="*/ 10211913 w 17881469"/>
              <a:gd name="connsiteY129" fmla="*/ 185664 h 2064486"/>
              <a:gd name="connsiteX130" fmla="*/ 7455132 w 17881469"/>
              <a:gd name="connsiteY130" fmla="*/ 185664 h 2064486"/>
              <a:gd name="connsiteX131" fmla="*/ 7348718 w 17881469"/>
              <a:gd name="connsiteY131" fmla="*/ 292126 h 2064486"/>
              <a:gd name="connsiteX132" fmla="*/ 7348718 w 17881469"/>
              <a:gd name="connsiteY132" fmla="*/ 1652067 h 2064486"/>
              <a:gd name="connsiteX133" fmla="*/ 7455132 w 17881469"/>
              <a:gd name="connsiteY133" fmla="*/ 1759040 h 2064486"/>
              <a:gd name="connsiteX134" fmla="*/ 8392906 w 17881469"/>
              <a:gd name="connsiteY134" fmla="*/ 1759040 h 2064486"/>
              <a:gd name="connsiteX135" fmla="*/ 8499831 w 17881469"/>
              <a:gd name="connsiteY135" fmla="*/ 1652067 h 2064486"/>
              <a:gd name="connsiteX136" fmla="*/ 8499831 w 17881469"/>
              <a:gd name="connsiteY136" fmla="*/ 292126 h 2064486"/>
              <a:gd name="connsiteX137" fmla="*/ 8392906 w 17881469"/>
              <a:gd name="connsiteY137" fmla="*/ 185664 h 2064486"/>
              <a:gd name="connsiteX138" fmla="*/ 5636125 w 17881469"/>
              <a:gd name="connsiteY138" fmla="*/ 185664 h 2064486"/>
              <a:gd name="connsiteX139" fmla="*/ 5529711 w 17881469"/>
              <a:gd name="connsiteY139" fmla="*/ 292126 h 2064486"/>
              <a:gd name="connsiteX140" fmla="*/ 5529711 w 17881469"/>
              <a:gd name="connsiteY140" fmla="*/ 1652067 h 2064486"/>
              <a:gd name="connsiteX141" fmla="*/ 5636125 w 17881469"/>
              <a:gd name="connsiteY141" fmla="*/ 1759040 h 2064486"/>
              <a:gd name="connsiteX142" fmla="*/ 6573900 w 17881469"/>
              <a:gd name="connsiteY142" fmla="*/ 1759040 h 2064486"/>
              <a:gd name="connsiteX143" fmla="*/ 6680826 w 17881469"/>
              <a:gd name="connsiteY143" fmla="*/ 1652067 h 2064486"/>
              <a:gd name="connsiteX144" fmla="*/ 6680826 w 17881469"/>
              <a:gd name="connsiteY144" fmla="*/ 292126 h 2064486"/>
              <a:gd name="connsiteX145" fmla="*/ 6573900 w 17881469"/>
              <a:gd name="connsiteY145" fmla="*/ 185664 h 2064486"/>
              <a:gd name="connsiteX146" fmla="*/ 3817119 w 17881469"/>
              <a:gd name="connsiteY146" fmla="*/ 185664 h 2064486"/>
              <a:gd name="connsiteX147" fmla="*/ 3710705 w 17881469"/>
              <a:gd name="connsiteY147" fmla="*/ 292126 h 2064486"/>
              <a:gd name="connsiteX148" fmla="*/ 3710705 w 17881469"/>
              <a:gd name="connsiteY148" fmla="*/ 1652067 h 2064486"/>
              <a:gd name="connsiteX149" fmla="*/ 3817119 w 17881469"/>
              <a:gd name="connsiteY149" fmla="*/ 1759040 h 2064486"/>
              <a:gd name="connsiteX150" fmla="*/ 4754894 w 17881469"/>
              <a:gd name="connsiteY150" fmla="*/ 1759040 h 2064486"/>
              <a:gd name="connsiteX151" fmla="*/ 4861819 w 17881469"/>
              <a:gd name="connsiteY151" fmla="*/ 1652067 h 2064486"/>
              <a:gd name="connsiteX152" fmla="*/ 4861819 w 17881469"/>
              <a:gd name="connsiteY152" fmla="*/ 292126 h 2064486"/>
              <a:gd name="connsiteX153" fmla="*/ 4754894 w 17881469"/>
              <a:gd name="connsiteY153" fmla="*/ 185664 h 2064486"/>
              <a:gd name="connsiteX154" fmla="*/ 1998112 w 17881469"/>
              <a:gd name="connsiteY154" fmla="*/ 185664 h 2064486"/>
              <a:gd name="connsiteX155" fmla="*/ 1891698 w 17881469"/>
              <a:gd name="connsiteY155" fmla="*/ 292617 h 2064486"/>
              <a:gd name="connsiteX156" fmla="*/ 1891698 w 17881469"/>
              <a:gd name="connsiteY156" fmla="*/ 1658837 h 2064486"/>
              <a:gd name="connsiteX157" fmla="*/ 1998112 w 17881469"/>
              <a:gd name="connsiteY157" fmla="*/ 1766304 h 2064486"/>
              <a:gd name="connsiteX158" fmla="*/ 2935886 w 17881469"/>
              <a:gd name="connsiteY158" fmla="*/ 1766304 h 2064486"/>
              <a:gd name="connsiteX159" fmla="*/ 3042813 w 17881469"/>
              <a:gd name="connsiteY159" fmla="*/ 1658837 h 2064486"/>
              <a:gd name="connsiteX160" fmla="*/ 3042813 w 17881469"/>
              <a:gd name="connsiteY160" fmla="*/ 292617 h 2064486"/>
              <a:gd name="connsiteX161" fmla="*/ 2935886 w 17881469"/>
              <a:gd name="connsiteY161" fmla="*/ 185664 h 2064486"/>
              <a:gd name="connsiteX162" fmla="*/ 184601 w 17881469"/>
              <a:gd name="connsiteY162" fmla="*/ 185664 h 2064486"/>
              <a:gd name="connsiteX163" fmla="*/ 78188 w 17881469"/>
              <a:gd name="connsiteY163" fmla="*/ 292126 h 2064486"/>
              <a:gd name="connsiteX164" fmla="*/ 78188 w 17881469"/>
              <a:gd name="connsiteY164" fmla="*/ 1652067 h 2064486"/>
              <a:gd name="connsiteX165" fmla="*/ 184601 w 17881469"/>
              <a:gd name="connsiteY165" fmla="*/ 1759040 h 2064486"/>
              <a:gd name="connsiteX166" fmla="*/ 1122375 w 17881469"/>
              <a:gd name="connsiteY166" fmla="*/ 1759040 h 2064486"/>
              <a:gd name="connsiteX167" fmla="*/ 1229301 w 17881469"/>
              <a:gd name="connsiteY167" fmla="*/ 1652067 h 2064486"/>
              <a:gd name="connsiteX168" fmla="*/ 1229301 w 17881469"/>
              <a:gd name="connsiteY168" fmla="*/ 292126 h 2064486"/>
              <a:gd name="connsiteX169" fmla="*/ 1122375 w 17881469"/>
              <a:gd name="connsiteY169" fmla="*/ 185664 h 2064486"/>
              <a:gd name="connsiteX170" fmla="*/ 0 w 17881469"/>
              <a:gd name="connsiteY170" fmla="*/ 0 h 2064486"/>
              <a:gd name="connsiteX171" fmla="*/ 17881469 w 17881469"/>
              <a:gd name="connsiteY171" fmla="*/ 0 h 2064486"/>
              <a:gd name="connsiteX172" fmla="*/ 17881469 w 17881469"/>
              <a:gd name="connsiteY172" fmla="*/ 2064486 h 2064486"/>
              <a:gd name="connsiteX173" fmla="*/ 0 w 17881469"/>
              <a:gd name="connsiteY173" fmla="*/ 2064486 h 2064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Lst>
            <a:rect l="l" t="t" r="r" b="b"/>
            <a:pathLst>
              <a:path w="17881469" h="2064486">
                <a:moveTo>
                  <a:pt x="2467255" y="1598676"/>
                </a:moveTo>
                <a:cubicBezTo>
                  <a:pt x="2502044" y="1598676"/>
                  <a:pt x="2530183" y="1627471"/>
                  <a:pt x="2530183" y="1662436"/>
                </a:cubicBezTo>
                <a:cubicBezTo>
                  <a:pt x="2530183" y="1697402"/>
                  <a:pt x="2502044" y="1726197"/>
                  <a:pt x="2467255" y="1726197"/>
                </a:cubicBezTo>
                <a:cubicBezTo>
                  <a:pt x="2431954" y="1726197"/>
                  <a:pt x="2403816" y="1697402"/>
                  <a:pt x="2403816" y="1662436"/>
                </a:cubicBezTo>
                <a:cubicBezTo>
                  <a:pt x="2403816" y="1627471"/>
                  <a:pt x="2431954" y="1598676"/>
                  <a:pt x="2467255" y="1598676"/>
                </a:cubicBezTo>
                <a:close/>
                <a:moveTo>
                  <a:pt x="17016133" y="1592183"/>
                </a:moveTo>
                <a:cubicBezTo>
                  <a:pt x="17050921" y="1592183"/>
                  <a:pt x="17079061" y="1620845"/>
                  <a:pt x="17079061" y="1655650"/>
                </a:cubicBezTo>
                <a:cubicBezTo>
                  <a:pt x="17079061" y="1690455"/>
                  <a:pt x="17050921" y="1719117"/>
                  <a:pt x="17016133" y="1719117"/>
                </a:cubicBezTo>
                <a:cubicBezTo>
                  <a:pt x="16980833" y="1719117"/>
                  <a:pt x="16952693" y="1690455"/>
                  <a:pt x="16952693" y="1655650"/>
                </a:cubicBezTo>
                <a:cubicBezTo>
                  <a:pt x="16952693" y="1620845"/>
                  <a:pt x="16980833" y="1592183"/>
                  <a:pt x="17016133" y="1592183"/>
                </a:cubicBezTo>
                <a:close/>
                <a:moveTo>
                  <a:pt x="15197126" y="1592183"/>
                </a:moveTo>
                <a:cubicBezTo>
                  <a:pt x="15231915" y="1592183"/>
                  <a:pt x="15260053" y="1620845"/>
                  <a:pt x="15260053" y="1655650"/>
                </a:cubicBezTo>
                <a:cubicBezTo>
                  <a:pt x="15260053" y="1690455"/>
                  <a:pt x="15231915" y="1719117"/>
                  <a:pt x="15197126" y="1719117"/>
                </a:cubicBezTo>
                <a:cubicBezTo>
                  <a:pt x="15161825" y="1719117"/>
                  <a:pt x="15133687" y="1690455"/>
                  <a:pt x="15133687" y="1655650"/>
                </a:cubicBezTo>
                <a:cubicBezTo>
                  <a:pt x="15133687" y="1620845"/>
                  <a:pt x="15161825" y="1592183"/>
                  <a:pt x="15197126" y="1592183"/>
                </a:cubicBezTo>
                <a:close/>
                <a:moveTo>
                  <a:pt x="13378119" y="1592183"/>
                </a:moveTo>
                <a:cubicBezTo>
                  <a:pt x="13412908" y="1592183"/>
                  <a:pt x="13441046" y="1620845"/>
                  <a:pt x="13441046" y="1655650"/>
                </a:cubicBezTo>
                <a:cubicBezTo>
                  <a:pt x="13441046" y="1690455"/>
                  <a:pt x="13412908" y="1719117"/>
                  <a:pt x="13378119" y="1719117"/>
                </a:cubicBezTo>
                <a:cubicBezTo>
                  <a:pt x="13342818" y="1719117"/>
                  <a:pt x="13314680" y="1690455"/>
                  <a:pt x="13314680" y="1655650"/>
                </a:cubicBezTo>
                <a:cubicBezTo>
                  <a:pt x="13314680" y="1620845"/>
                  <a:pt x="13342818" y="1592183"/>
                  <a:pt x="13378119" y="1592183"/>
                </a:cubicBezTo>
                <a:close/>
                <a:moveTo>
                  <a:pt x="11562289" y="1592183"/>
                </a:moveTo>
                <a:cubicBezTo>
                  <a:pt x="11597078" y="1592183"/>
                  <a:pt x="11625216" y="1620845"/>
                  <a:pt x="11625216" y="1655650"/>
                </a:cubicBezTo>
                <a:cubicBezTo>
                  <a:pt x="11625216" y="1690455"/>
                  <a:pt x="11597078" y="1719117"/>
                  <a:pt x="11562289" y="1719117"/>
                </a:cubicBezTo>
                <a:cubicBezTo>
                  <a:pt x="11526988" y="1719117"/>
                  <a:pt x="11498850" y="1690455"/>
                  <a:pt x="11498850" y="1655650"/>
                </a:cubicBezTo>
                <a:cubicBezTo>
                  <a:pt x="11498850" y="1620845"/>
                  <a:pt x="11526988" y="1592183"/>
                  <a:pt x="11562289" y="1592183"/>
                </a:cubicBezTo>
                <a:close/>
                <a:moveTo>
                  <a:pt x="9743282" y="1592183"/>
                </a:moveTo>
                <a:cubicBezTo>
                  <a:pt x="9778071" y="1592183"/>
                  <a:pt x="9806209" y="1620845"/>
                  <a:pt x="9806209" y="1655650"/>
                </a:cubicBezTo>
                <a:cubicBezTo>
                  <a:pt x="9806209" y="1690455"/>
                  <a:pt x="9778071" y="1719117"/>
                  <a:pt x="9743282" y="1719117"/>
                </a:cubicBezTo>
                <a:cubicBezTo>
                  <a:pt x="9707981" y="1719117"/>
                  <a:pt x="9679843" y="1690455"/>
                  <a:pt x="9679843" y="1655650"/>
                </a:cubicBezTo>
                <a:cubicBezTo>
                  <a:pt x="9679843" y="1620845"/>
                  <a:pt x="9707981" y="1592183"/>
                  <a:pt x="9743282" y="1592183"/>
                </a:cubicBezTo>
                <a:close/>
                <a:moveTo>
                  <a:pt x="7924275" y="1592183"/>
                </a:moveTo>
                <a:cubicBezTo>
                  <a:pt x="7959064" y="1592183"/>
                  <a:pt x="7987202" y="1620845"/>
                  <a:pt x="7987202" y="1655650"/>
                </a:cubicBezTo>
                <a:cubicBezTo>
                  <a:pt x="7987202" y="1690455"/>
                  <a:pt x="7959064" y="1719117"/>
                  <a:pt x="7924275" y="1719117"/>
                </a:cubicBezTo>
                <a:cubicBezTo>
                  <a:pt x="7888974" y="1719117"/>
                  <a:pt x="7860836" y="1690455"/>
                  <a:pt x="7860836" y="1655650"/>
                </a:cubicBezTo>
                <a:cubicBezTo>
                  <a:pt x="7860836" y="1620845"/>
                  <a:pt x="7888974" y="1592183"/>
                  <a:pt x="7924275" y="1592183"/>
                </a:cubicBezTo>
                <a:close/>
                <a:moveTo>
                  <a:pt x="6105268" y="1592183"/>
                </a:moveTo>
                <a:cubicBezTo>
                  <a:pt x="6140059" y="1592183"/>
                  <a:pt x="6168195" y="1620845"/>
                  <a:pt x="6168195" y="1655650"/>
                </a:cubicBezTo>
                <a:cubicBezTo>
                  <a:pt x="6168195" y="1690455"/>
                  <a:pt x="6140059" y="1719117"/>
                  <a:pt x="6105268" y="1719117"/>
                </a:cubicBezTo>
                <a:cubicBezTo>
                  <a:pt x="6069968" y="1719117"/>
                  <a:pt x="6041831" y="1690455"/>
                  <a:pt x="6041831" y="1655650"/>
                </a:cubicBezTo>
                <a:cubicBezTo>
                  <a:pt x="6041831" y="1620845"/>
                  <a:pt x="6069968" y="1592183"/>
                  <a:pt x="6105268" y="1592183"/>
                </a:cubicBezTo>
                <a:close/>
                <a:moveTo>
                  <a:pt x="4286262" y="1592183"/>
                </a:moveTo>
                <a:cubicBezTo>
                  <a:pt x="4321052" y="1592183"/>
                  <a:pt x="4349189" y="1620845"/>
                  <a:pt x="4349189" y="1655650"/>
                </a:cubicBezTo>
                <a:cubicBezTo>
                  <a:pt x="4349189" y="1690455"/>
                  <a:pt x="4321052" y="1719117"/>
                  <a:pt x="4286262" y="1719117"/>
                </a:cubicBezTo>
                <a:cubicBezTo>
                  <a:pt x="4250961" y="1719117"/>
                  <a:pt x="4222822" y="1690455"/>
                  <a:pt x="4222822" y="1655650"/>
                </a:cubicBezTo>
                <a:cubicBezTo>
                  <a:pt x="4222822" y="1620845"/>
                  <a:pt x="4250961" y="1592183"/>
                  <a:pt x="4286262" y="1592183"/>
                </a:cubicBezTo>
                <a:close/>
                <a:moveTo>
                  <a:pt x="653744" y="1592183"/>
                </a:moveTo>
                <a:cubicBezTo>
                  <a:pt x="688534" y="1592183"/>
                  <a:pt x="716672" y="1620845"/>
                  <a:pt x="716672" y="1655650"/>
                </a:cubicBezTo>
                <a:cubicBezTo>
                  <a:pt x="716672" y="1690455"/>
                  <a:pt x="688534" y="1719117"/>
                  <a:pt x="653744" y="1719117"/>
                </a:cubicBezTo>
                <a:cubicBezTo>
                  <a:pt x="618443" y="1719117"/>
                  <a:pt x="590305" y="1690455"/>
                  <a:pt x="590305" y="1655650"/>
                </a:cubicBezTo>
                <a:cubicBezTo>
                  <a:pt x="590305" y="1620845"/>
                  <a:pt x="618443" y="1592183"/>
                  <a:pt x="653744" y="1592183"/>
                </a:cubicBezTo>
                <a:close/>
                <a:moveTo>
                  <a:pt x="1999647" y="314213"/>
                </a:moveTo>
                <a:lnTo>
                  <a:pt x="2934351" y="314213"/>
                </a:lnTo>
                <a:lnTo>
                  <a:pt x="2934351" y="1542629"/>
                </a:lnTo>
                <a:lnTo>
                  <a:pt x="1999647" y="1542629"/>
                </a:lnTo>
                <a:close/>
                <a:moveTo>
                  <a:pt x="16548525" y="313623"/>
                </a:moveTo>
                <a:lnTo>
                  <a:pt x="17483229" y="313623"/>
                </a:lnTo>
                <a:lnTo>
                  <a:pt x="17483229" y="1536393"/>
                </a:lnTo>
                <a:lnTo>
                  <a:pt x="16548525" y="1536393"/>
                </a:lnTo>
                <a:close/>
                <a:moveTo>
                  <a:pt x="14729518" y="313623"/>
                </a:moveTo>
                <a:lnTo>
                  <a:pt x="15664221" y="313623"/>
                </a:lnTo>
                <a:lnTo>
                  <a:pt x="15664221" y="1536393"/>
                </a:lnTo>
                <a:lnTo>
                  <a:pt x="14729518" y="1536393"/>
                </a:lnTo>
                <a:close/>
                <a:moveTo>
                  <a:pt x="12910511" y="313623"/>
                </a:moveTo>
                <a:lnTo>
                  <a:pt x="13845215" y="313623"/>
                </a:lnTo>
                <a:lnTo>
                  <a:pt x="13845215" y="1536393"/>
                </a:lnTo>
                <a:lnTo>
                  <a:pt x="12910511" y="1536393"/>
                </a:lnTo>
                <a:close/>
                <a:moveTo>
                  <a:pt x="11094681" y="313623"/>
                </a:moveTo>
                <a:lnTo>
                  <a:pt x="12029385" y="313623"/>
                </a:lnTo>
                <a:lnTo>
                  <a:pt x="12029385" y="1536393"/>
                </a:lnTo>
                <a:lnTo>
                  <a:pt x="11094681" y="1536393"/>
                </a:lnTo>
                <a:close/>
                <a:moveTo>
                  <a:pt x="9275674" y="313623"/>
                </a:moveTo>
                <a:lnTo>
                  <a:pt x="10210378" y="313623"/>
                </a:lnTo>
                <a:lnTo>
                  <a:pt x="10210378" y="1536393"/>
                </a:lnTo>
                <a:lnTo>
                  <a:pt x="9275674" y="1536393"/>
                </a:lnTo>
                <a:close/>
                <a:moveTo>
                  <a:pt x="7456667" y="313623"/>
                </a:moveTo>
                <a:lnTo>
                  <a:pt x="8391371" y="313623"/>
                </a:lnTo>
                <a:lnTo>
                  <a:pt x="8391371" y="1536393"/>
                </a:lnTo>
                <a:lnTo>
                  <a:pt x="7456667" y="1536393"/>
                </a:lnTo>
                <a:close/>
                <a:moveTo>
                  <a:pt x="5637662" y="313623"/>
                </a:moveTo>
                <a:lnTo>
                  <a:pt x="6572364" y="313623"/>
                </a:lnTo>
                <a:lnTo>
                  <a:pt x="6572364" y="1536393"/>
                </a:lnTo>
                <a:lnTo>
                  <a:pt x="5637662" y="1536393"/>
                </a:lnTo>
                <a:close/>
                <a:moveTo>
                  <a:pt x="3818654" y="313623"/>
                </a:moveTo>
                <a:lnTo>
                  <a:pt x="4753357" y="313623"/>
                </a:lnTo>
                <a:lnTo>
                  <a:pt x="4753357" y="1536393"/>
                </a:lnTo>
                <a:lnTo>
                  <a:pt x="3818654" y="1536393"/>
                </a:lnTo>
                <a:close/>
                <a:moveTo>
                  <a:pt x="186136" y="313623"/>
                </a:moveTo>
                <a:lnTo>
                  <a:pt x="1120840" y="313623"/>
                </a:lnTo>
                <a:lnTo>
                  <a:pt x="1120840" y="1536393"/>
                </a:lnTo>
                <a:lnTo>
                  <a:pt x="186136" y="1536393"/>
                </a:lnTo>
                <a:close/>
                <a:moveTo>
                  <a:pt x="16546991" y="185664"/>
                </a:moveTo>
                <a:cubicBezTo>
                  <a:pt x="16488155" y="185664"/>
                  <a:pt x="16440577" y="233265"/>
                  <a:pt x="16440577" y="292126"/>
                </a:cubicBezTo>
                <a:lnTo>
                  <a:pt x="16440577" y="1652067"/>
                </a:lnTo>
                <a:cubicBezTo>
                  <a:pt x="16440577" y="1711440"/>
                  <a:pt x="16488155" y="1759040"/>
                  <a:pt x="16546991" y="1759040"/>
                </a:cubicBezTo>
                <a:lnTo>
                  <a:pt x="17484765" y="1759040"/>
                </a:lnTo>
                <a:cubicBezTo>
                  <a:pt x="17543601" y="1759040"/>
                  <a:pt x="17591689" y="1711440"/>
                  <a:pt x="17591689" y="1652067"/>
                </a:cubicBezTo>
                <a:lnTo>
                  <a:pt x="17591689" y="292126"/>
                </a:lnTo>
                <a:cubicBezTo>
                  <a:pt x="17591689" y="233265"/>
                  <a:pt x="17543601" y="185664"/>
                  <a:pt x="17484765" y="185664"/>
                </a:cubicBezTo>
                <a:close/>
                <a:moveTo>
                  <a:pt x="14727983" y="185664"/>
                </a:moveTo>
                <a:cubicBezTo>
                  <a:pt x="14669148" y="185664"/>
                  <a:pt x="14621569" y="233265"/>
                  <a:pt x="14621569" y="292126"/>
                </a:cubicBezTo>
                <a:lnTo>
                  <a:pt x="14621569" y="1652067"/>
                </a:lnTo>
                <a:cubicBezTo>
                  <a:pt x="14621569" y="1711440"/>
                  <a:pt x="14669148" y="1759040"/>
                  <a:pt x="14727983" y="1759040"/>
                </a:cubicBezTo>
                <a:lnTo>
                  <a:pt x="15665757" y="1759040"/>
                </a:lnTo>
                <a:cubicBezTo>
                  <a:pt x="15724591" y="1759040"/>
                  <a:pt x="15772683" y="1711440"/>
                  <a:pt x="15772683" y="1652067"/>
                </a:cubicBezTo>
                <a:lnTo>
                  <a:pt x="15772683" y="292126"/>
                </a:lnTo>
                <a:cubicBezTo>
                  <a:pt x="15772683" y="233265"/>
                  <a:pt x="15724591" y="185664"/>
                  <a:pt x="15665757" y="185664"/>
                </a:cubicBezTo>
                <a:close/>
                <a:moveTo>
                  <a:pt x="12908976" y="185664"/>
                </a:moveTo>
                <a:cubicBezTo>
                  <a:pt x="12850141" y="185664"/>
                  <a:pt x="12802562" y="233265"/>
                  <a:pt x="12802562" y="292126"/>
                </a:cubicBezTo>
                <a:lnTo>
                  <a:pt x="12802562" y="1652067"/>
                </a:lnTo>
                <a:cubicBezTo>
                  <a:pt x="12802562" y="1711440"/>
                  <a:pt x="12850141" y="1759040"/>
                  <a:pt x="12908976" y="1759040"/>
                </a:cubicBezTo>
                <a:lnTo>
                  <a:pt x="13846750" y="1759040"/>
                </a:lnTo>
                <a:cubicBezTo>
                  <a:pt x="13905584" y="1759040"/>
                  <a:pt x="13953675" y="1711440"/>
                  <a:pt x="13953675" y="1652067"/>
                </a:cubicBezTo>
                <a:lnTo>
                  <a:pt x="13953675" y="292126"/>
                </a:lnTo>
                <a:cubicBezTo>
                  <a:pt x="13953675" y="233265"/>
                  <a:pt x="13905584" y="185664"/>
                  <a:pt x="13846750" y="185664"/>
                </a:cubicBezTo>
                <a:close/>
                <a:moveTo>
                  <a:pt x="11093146" y="185664"/>
                </a:moveTo>
                <a:cubicBezTo>
                  <a:pt x="11034311" y="185664"/>
                  <a:pt x="10986732" y="233265"/>
                  <a:pt x="10986732" y="292126"/>
                </a:cubicBezTo>
                <a:lnTo>
                  <a:pt x="10986732" y="1652067"/>
                </a:lnTo>
                <a:cubicBezTo>
                  <a:pt x="10986732" y="1711440"/>
                  <a:pt x="11034311" y="1759040"/>
                  <a:pt x="11093146" y="1759040"/>
                </a:cubicBezTo>
                <a:lnTo>
                  <a:pt x="12030920" y="1759040"/>
                </a:lnTo>
                <a:cubicBezTo>
                  <a:pt x="12089754" y="1759040"/>
                  <a:pt x="12137845" y="1711440"/>
                  <a:pt x="12137845" y="1652067"/>
                </a:cubicBezTo>
                <a:lnTo>
                  <a:pt x="12137845" y="292126"/>
                </a:lnTo>
                <a:cubicBezTo>
                  <a:pt x="12137845" y="233265"/>
                  <a:pt x="12089754" y="185664"/>
                  <a:pt x="12030920" y="185664"/>
                </a:cubicBezTo>
                <a:close/>
                <a:moveTo>
                  <a:pt x="9274139" y="185664"/>
                </a:moveTo>
                <a:cubicBezTo>
                  <a:pt x="9215304" y="185664"/>
                  <a:pt x="9167725" y="233265"/>
                  <a:pt x="9167725" y="292126"/>
                </a:cubicBezTo>
                <a:lnTo>
                  <a:pt x="9167725" y="1652067"/>
                </a:lnTo>
                <a:cubicBezTo>
                  <a:pt x="9167725" y="1711440"/>
                  <a:pt x="9215304" y="1759040"/>
                  <a:pt x="9274139" y="1759040"/>
                </a:cubicBezTo>
                <a:lnTo>
                  <a:pt x="10211913" y="1759040"/>
                </a:lnTo>
                <a:cubicBezTo>
                  <a:pt x="10270747" y="1759040"/>
                  <a:pt x="10318838" y="1711440"/>
                  <a:pt x="10318838" y="1652067"/>
                </a:cubicBezTo>
                <a:lnTo>
                  <a:pt x="10318838" y="292126"/>
                </a:lnTo>
                <a:cubicBezTo>
                  <a:pt x="10318838" y="233265"/>
                  <a:pt x="10270747" y="185664"/>
                  <a:pt x="10211913" y="185664"/>
                </a:cubicBezTo>
                <a:close/>
                <a:moveTo>
                  <a:pt x="7455132" y="185664"/>
                </a:moveTo>
                <a:cubicBezTo>
                  <a:pt x="7396297" y="185664"/>
                  <a:pt x="7348718" y="233265"/>
                  <a:pt x="7348718" y="292126"/>
                </a:cubicBezTo>
                <a:lnTo>
                  <a:pt x="7348718" y="1652067"/>
                </a:lnTo>
                <a:cubicBezTo>
                  <a:pt x="7348718" y="1711440"/>
                  <a:pt x="7396297" y="1759040"/>
                  <a:pt x="7455132" y="1759040"/>
                </a:cubicBezTo>
                <a:lnTo>
                  <a:pt x="8392906" y="1759040"/>
                </a:lnTo>
                <a:cubicBezTo>
                  <a:pt x="8451740" y="1759040"/>
                  <a:pt x="8499831" y="1711440"/>
                  <a:pt x="8499831" y="1652067"/>
                </a:cubicBezTo>
                <a:lnTo>
                  <a:pt x="8499831" y="292126"/>
                </a:lnTo>
                <a:cubicBezTo>
                  <a:pt x="8499831" y="233265"/>
                  <a:pt x="8451740" y="185664"/>
                  <a:pt x="8392906" y="185664"/>
                </a:cubicBezTo>
                <a:close/>
                <a:moveTo>
                  <a:pt x="5636125" y="185664"/>
                </a:moveTo>
                <a:cubicBezTo>
                  <a:pt x="5577292" y="185664"/>
                  <a:pt x="5529711" y="233265"/>
                  <a:pt x="5529711" y="292126"/>
                </a:cubicBezTo>
                <a:lnTo>
                  <a:pt x="5529711" y="1652067"/>
                </a:lnTo>
                <a:cubicBezTo>
                  <a:pt x="5529711" y="1711440"/>
                  <a:pt x="5577292" y="1759040"/>
                  <a:pt x="5636125" y="1759040"/>
                </a:cubicBezTo>
                <a:lnTo>
                  <a:pt x="6573900" y="1759040"/>
                </a:lnTo>
                <a:cubicBezTo>
                  <a:pt x="6632736" y="1759040"/>
                  <a:pt x="6680826" y="1711440"/>
                  <a:pt x="6680826" y="1652067"/>
                </a:cubicBezTo>
                <a:lnTo>
                  <a:pt x="6680826" y="292126"/>
                </a:lnTo>
                <a:cubicBezTo>
                  <a:pt x="6680826" y="233265"/>
                  <a:pt x="6632736" y="185664"/>
                  <a:pt x="6573900" y="185664"/>
                </a:cubicBezTo>
                <a:close/>
                <a:moveTo>
                  <a:pt x="3817119" y="185664"/>
                </a:moveTo>
                <a:cubicBezTo>
                  <a:pt x="3758285" y="185664"/>
                  <a:pt x="3710705" y="233265"/>
                  <a:pt x="3710705" y="292126"/>
                </a:cubicBezTo>
                <a:lnTo>
                  <a:pt x="3710705" y="1652067"/>
                </a:lnTo>
                <a:cubicBezTo>
                  <a:pt x="3710705" y="1711440"/>
                  <a:pt x="3758285" y="1759040"/>
                  <a:pt x="3817119" y="1759040"/>
                </a:cubicBezTo>
                <a:lnTo>
                  <a:pt x="4754894" y="1759040"/>
                </a:lnTo>
                <a:cubicBezTo>
                  <a:pt x="4813729" y="1759040"/>
                  <a:pt x="4861819" y="1711440"/>
                  <a:pt x="4861819" y="1652067"/>
                </a:cubicBezTo>
                <a:lnTo>
                  <a:pt x="4861819" y="292126"/>
                </a:lnTo>
                <a:cubicBezTo>
                  <a:pt x="4861819" y="233265"/>
                  <a:pt x="4813729" y="185664"/>
                  <a:pt x="4754894" y="185664"/>
                </a:cubicBezTo>
                <a:close/>
                <a:moveTo>
                  <a:pt x="1998112" y="185664"/>
                </a:moveTo>
                <a:cubicBezTo>
                  <a:pt x="1939278" y="185664"/>
                  <a:pt x="1891698" y="233485"/>
                  <a:pt x="1891698" y="292617"/>
                </a:cubicBezTo>
                <a:lnTo>
                  <a:pt x="1891698" y="1658837"/>
                </a:lnTo>
                <a:cubicBezTo>
                  <a:pt x="1891698" y="1718484"/>
                  <a:pt x="1939278" y="1766304"/>
                  <a:pt x="1998112" y="1766304"/>
                </a:cubicBezTo>
                <a:lnTo>
                  <a:pt x="2935886" y="1766304"/>
                </a:lnTo>
                <a:cubicBezTo>
                  <a:pt x="2994722" y="1766304"/>
                  <a:pt x="3042813" y="1718484"/>
                  <a:pt x="3042813" y="1658837"/>
                </a:cubicBezTo>
                <a:lnTo>
                  <a:pt x="3042813" y="292617"/>
                </a:lnTo>
                <a:cubicBezTo>
                  <a:pt x="3042813" y="233485"/>
                  <a:pt x="2994722" y="185664"/>
                  <a:pt x="2935886" y="185664"/>
                </a:cubicBezTo>
                <a:close/>
                <a:moveTo>
                  <a:pt x="184601" y="185664"/>
                </a:moveTo>
                <a:cubicBezTo>
                  <a:pt x="125767" y="185664"/>
                  <a:pt x="78188" y="233265"/>
                  <a:pt x="78188" y="292126"/>
                </a:cubicBezTo>
                <a:lnTo>
                  <a:pt x="78188" y="1652067"/>
                </a:lnTo>
                <a:cubicBezTo>
                  <a:pt x="78188" y="1711440"/>
                  <a:pt x="125767" y="1759040"/>
                  <a:pt x="184601" y="1759040"/>
                </a:cubicBezTo>
                <a:lnTo>
                  <a:pt x="1122375" y="1759040"/>
                </a:lnTo>
                <a:cubicBezTo>
                  <a:pt x="1181209" y="1759040"/>
                  <a:pt x="1229301" y="1711440"/>
                  <a:pt x="1229301" y="1652067"/>
                </a:cubicBezTo>
                <a:lnTo>
                  <a:pt x="1229301" y="292126"/>
                </a:lnTo>
                <a:cubicBezTo>
                  <a:pt x="1229301" y="233265"/>
                  <a:pt x="1181209" y="185664"/>
                  <a:pt x="1122375" y="185664"/>
                </a:cubicBezTo>
                <a:close/>
                <a:moveTo>
                  <a:pt x="0" y="0"/>
                </a:moveTo>
                <a:lnTo>
                  <a:pt x="17881469" y="0"/>
                </a:lnTo>
                <a:lnTo>
                  <a:pt x="17881469" y="2064486"/>
                </a:lnTo>
                <a:lnTo>
                  <a:pt x="0" y="2064486"/>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69" name="Freeform 168">
            <a:extLst>
              <a:ext uri="{FF2B5EF4-FFF2-40B4-BE49-F238E27FC236}">
                <a16:creationId xmlns:a16="http://schemas.microsoft.com/office/drawing/2014/main" id="{088EFC7C-354F-A049-AB5A-C4595AD3CE9E}"/>
              </a:ext>
            </a:extLst>
          </p:cNvPr>
          <p:cNvSpPr>
            <a:spLocks noChangeArrowheads="1"/>
          </p:cNvSpPr>
          <p:nvPr/>
        </p:nvSpPr>
        <p:spPr bwMode="auto">
          <a:xfrm>
            <a:off x="774969" y="4478750"/>
            <a:ext cx="8782804" cy="562187"/>
          </a:xfrm>
          <a:custGeom>
            <a:avLst/>
            <a:gdLst>
              <a:gd name="connsiteX0" fmla="*/ 16581526 w 17565607"/>
              <a:gd name="connsiteY0" fmla="*/ 1011197 h 1124374"/>
              <a:gd name="connsiteX1" fmla="*/ 16581526 w 17565607"/>
              <a:gd name="connsiteY1" fmla="*/ 1069621 h 1124374"/>
              <a:gd name="connsiteX2" fmla="*/ 16836896 w 17565607"/>
              <a:gd name="connsiteY2" fmla="*/ 1069621 h 1124374"/>
              <a:gd name="connsiteX3" fmla="*/ 16836896 w 17565607"/>
              <a:gd name="connsiteY3" fmla="*/ 1011197 h 1124374"/>
              <a:gd name="connsiteX4" fmla="*/ 14820102 w 17565607"/>
              <a:gd name="connsiteY4" fmla="*/ 1011197 h 1124374"/>
              <a:gd name="connsiteX5" fmla="*/ 14820102 w 17565607"/>
              <a:gd name="connsiteY5" fmla="*/ 1069621 h 1124374"/>
              <a:gd name="connsiteX6" fmla="*/ 15075473 w 17565607"/>
              <a:gd name="connsiteY6" fmla="*/ 1069621 h 1124374"/>
              <a:gd name="connsiteX7" fmla="*/ 15075473 w 17565607"/>
              <a:gd name="connsiteY7" fmla="*/ 1011197 h 1124374"/>
              <a:gd name="connsiteX8" fmla="*/ 13058678 w 17565607"/>
              <a:gd name="connsiteY8" fmla="*/ 1011197 h 1124374"/>
              <a:gd name="connsiteX9" fmla="*/ 13058678 w 17565607"/>
              <a:gd name="connsiteY9" fmla="*/ 1069621 h 1124374"/>
              <a:gd name="connsiteX10" fmla="*/ 13314049 w 17565607"/>
              <a:gd name="connsiteY10" fmla="*/ 1069621 h 1124374"/>
              <a:gd name="connsiteX11" fmla="*/ 13314049 w 17565607"/>
              <a:gd name="connsiteY11" fmla="*/ 1011197 h 1124374"/>
              <a:gd name="connsiteX12" fmla="*/ 11297254 w 17565607"/>
              <a:gd name="connsiteY12" fmla="*/ 1011197 h 1124374"/>
              <a:gd name="connsiteX13" fmla="*/ 11297254 w 17565607"/>
              <a:gd name="connsiteY13" fmla="*/ 1069621 h 1124374"/>
              <a:gd name="connsiteX14" fmla="*/ 11552625 w 17565607"/>
              <a:gd name="connsiteY14" fmla="*/ 1069621 h 1124374"/>
              <a:gd name="connsiteX15" fmla="*/ 11552625 w 17565607"/>
              <a:gd name="connsiteY15" fmla="*/ 1011197 h 1124374"/>
              <a:gd name="connsiteX16" fmla="*/ 9535830 w 17565607"/>
              <a:gd name="connsiteY16" fmla="*/ 1011197 h 1124374"/>
              <a:gd name="connsiteX17" fmla="*/ 9535830 w 17565607"/>
              <a:gd name="connsiteY17" fmla="*/ 1069621 h 1124374"/>
              <a:gd name="connsiteX18" fmla="*/ 9791201 w 17565607"/>
              <a:gd name="connsiteY18" fmla="*/ 1069621 h 1124374"/>
              <a:gd name="connsiteX19" fmla="*/ 9791201 w 17565607"/>
              <a:gd name="connsiteY19" fmla="*/ 1011197 h 1124374"/>
              <a:gd name="connsiteX20" fmla="*/ 7774406 w 17565607"/>
              <a:gd name="connsiteY20" fmla="*/ 1011197 h 1124374"/>
              <a:gd name="connsiteX21" fmla="*/ 7774406 w 17565607"/>
              <a:gd name="connsiteY21" fmla="*/ 1069621 h 1124374"/>
              <a:gd name="connsiteX22" fmla="*/ 8029777 w 17565607"/>
              <a:gd name="connsiteY22" fmla="*/ 1069621 h 1124374"/>
              <a:gd name="connsiteX23" fmla="*/ 8029777 w 17565607"/>
              <a:gd name="connsiteY23" fmla="*/ 1011197 h 1124374"/>
              <a:gd name="connsiteX24" fmla="*/ 6012983 w 17565607"/>
              <a:gd name="connsiteY24" fmla="*/ 1011197 h 1124374"/>
              <a:gd name="connsiteX25" fmla="*/ 6012983 w 17565607"/>
              <a:gd name="connsiteY25" fmla="*/ 1069621 h 1124374"/>
              <a:gd name="connsiteX26" fmla="*/ 6268353 w 17565607"/>
              <a:gd name="connsiteY26" fmla="*/ 1069621 h 1124374"/>
              <a:gd name="connsiteX27" fmla="*/ 6268353 w 17565607"/>
              <a:gd name="connsiteY27" fmla="*/ 1011197 h 1124374"/>
              <a:gd name="connsiteX28" fmla="*/ 4251560 w 17565607"/>
              <a:gd name="connsiteY28" fmla="*/ 1011197 h 1124374"/>
              <a:gd name="connsiteX29" fmla="*/ 4251560 w 17565607"/>
              <a:gd name="connsiteY29" fmla="*/ 1069621 h 1124374"/>
              <a:gd name="connsiteX30" fmla="*/ 4506930 w 17565607"/>
              <a:gd name="connsiteY30" fmla="*/ 1069621 h 1124374"/>
              <a:gd name="connsiteX31" fmla="*/ 4506930 w 17565607"/>
              <a:gd name="connsiteY31" fmla="*/ 1011197 h 1124374"/>
              <a:gd name="connsiteX32" fmla="*/ 2490136 w 17565607"/>
              <a:gd name="connsiteY32" fmla="*/ 1011197 h 1124374"/>
              <a:gd name="connsiteX33" fmla="*/ 2490136 w 17565607"/>
              <a:gd name="connsiteY33" fmla="*/ 1069621 h 1124374"/>
              <a:gd name="connsiteX34" fmla="*/ 2745506 w 17565607"/>
              <a:gd name="connsiteY34" fmla="*/ 1069621 h 1124374"/>
              <a:gd name="connsiteX35" fmla="*/ 2745506 w 17565607"/>
              <a:gd name="connsiteY35" fmla="*/ 1011197 h 1124374"/>
              <a:gd name="connsiteX36" fmla="*/ 728711 w 17565607"/>
              <a:gd name="connsiteY36" fmla="*/ 1011197 h 1124374"/>
              <a:gd name="connsiteX37" fmla="*/ 728711 w 17565607"/>
              <a:gd name="connsiteY37" fmla="*/ 1069621 h 1124374"/>
              <a:gd name="connsiteX38" fmla="*/ 984082 w 17565607"/>
              <a:gd name="connsiteY38" fmla="*/ 1069621 h 1124374"/>
              <a:gd name="connsiteX39" fmla="*/ 984082 w 17565607"/>
              <a:gd name="connsiteY39" fmla="*/ 1011197 h 1124374"/>
              <a:gd name="connsiteX40" fmla="*/ 15861600 w 17565607"/>
              <a:gd name="connsiteY40" fmla="*/ 956444 h 1124374"/>
              <a:gd name="connsiteX41" fmla="*/ 17556822 w 17565607"/>
              <a:gd name="connsiteY41" fmla="*/ 956444 h 1124374"/>
              <a:gd name="connsiteX42" fmla="*/ 17563516 w 17565607"/>
              <a:gd name="connsiteY42" fmla="*/ 959449 h 1124374"/>
              <a:gd name="connsiteX43" fmla="*/ 17565524 w 17565607"/>
              <a:gd name="connsiteY43" fmla="*/ 966126 h 1124374"/>
              <a:gd name="connsiteX44" fmla="*/ 17341280 w 17565607"/>
              <a:gd name="connsiteY44" fmla="*/ 1124374 h 1124374"/>
              <a:gd name="connsiteX45" fmla="*/ 16077142 w 17565607"/>
              <a:gd name="connsiteY45" fmla="*/ 1124374 h 1124374"/>
              <a:gd name="connsiteX46" fmla="*/ 15852898 w 17565607"/>
              <a:gd name="connsiteY46" fmla="*/ 966126 h 1124374"/>
              <a:gd name="connsiteX47" fmla="*/ 15854906 w 17565607"/>
              <a:gd name="connsiteY47" fmla="*/ 959449 h 1124374"/>
              <a:gd name="connsiteX48" fmla="*/ 15861600 w 17565607"/>
              <a:gd name="connsiteY48" fmla="*/ 956444 h 1124374"/>
              <a:gd name="connsiteX49" fmla="*/ 14100176 w 17565607"/>
              <a:gd name="connsiteY49" fmla="*/ 956444 h 1124374"/>
              <a:gd name="connsiteX50" fmla="*/ 15795398 w 17565607"/>
              <a:gd name="connsiteY50" fmla="*/ 956444 h 1124374"/>
              <a:gd name="connsiteX51" fmla="*/ 15802092 w 17565607"/>
              <a:gd name="connsiteY51" fmla="*/ 959449 h 1124374"/>
              <a:gd name="connsiteX52" fmla="*/ 15804100 w 17565607"/>
              <a:gd name="connsiteY52" fmla="*/ 966126 h 1124374"/>
              <a:gd name="connsiteX53" fmla="*/ 15579856 w 17565607"/>
              <a:gd name="connsiteY53" fmla="*/ 1124374 h 1124374"/>
              <a:gd name="connsiteX54" fmla="*/ 14315719 w 17565607"/>
              <a:gd name="connsiteY54" fmla="*/ 1124374 h 1124374"/>
              <a:gd name="connsiteX55" fmla="*/ 14091475 w 17565607"/>
              <a:gd name="connsiteY55" fmla="*/ 966126 h 1124374"/>
              <a:gd name="connsiteX56" fmla="*/ 14093483 w 17565607"/>
              <a:gd name="connsiteY56" fmla="*/ 959449 h 1124374"/>
              <a:gd name="connsiteX57" fmla="*/ 14100176 w 17565607"/>
              <a:gd name="connsiteY57" fmla="*/ 956444 h 1124374"/>
              <a:gd name="connsiteX58" fmla="*/ 12338752 w 17565607"/>
              <a:gd name="connsiteY58" fmla="*/ 956444 h 1124374"/>
              <a:gd name="connsiteX59" fmla="*/ 14033975 w 17565607"/>
              <a:gd name="connsiteY59" fmla="*/ 956444 h 1124374"/>
              <a:gd name="connsiteX60" fmla="*/ 14040668 w 17565607"/>
              <a:gd name="connsiteY60" fmla="*/ 959449 h 1124374"/>
              <a:gd name="connsiteX61" fmla="*/ 14042676 w 17565607"/>
              <a:gd name="connsiteY61" fmla="*/ 966126 h 1124374"/>
              <a:gd name="connsiteX62" fmla="*/ 13818432 w 17565607"/>
              <a:gd name="connsiteY62" fmla="*/ 1124374 h 1124374"/>
              <a:gd name="connsiteX63" fmla="*/ 12554295 w 17565607"/>
              <a:gd name="connsiteY63" fmla="*/ 1124374 h 1124374"/>
              <a:gd name="connsiteX64" fmla="*/ 12330051 w 17565607"/>
              <a:gd name="connsiteY64" fmla="*/ 966126 h 1124374"/>
              <a:gd name="connsiteX65" fmla="*/ 12332059 w 17565607"/>
              <a:gd name="connsiteY65" fmla="*/ 959449 h 1124374"/>
              <a:gd name="connsiteX66" fmla="*/ 12338752 w 17565607"/>
              <a:gd name="connsiteY66" fmla="*/ 956444 h 1124374"/>
              <a:gd name="connsiteX67" fmla="*/ 10577328 w 17565607"/>
              <a:gd name="connsiteY67" fmla="*/ 956444 h 1124374"/>
              <a:gd name="connsiteX68" fmla="*/ 12272551 w 17565607"/>
              <a:gd name="connsiteY68" fmla="*/ 956444 h 1124374"/>
              <a:gd name="connsiteX69" fmla="*/ 12279244 w 17565607"/>
              <a:gd name="connsiteY69" fmla="*/ 959449 h 1124374"/>
              <a:gd name="connsiteX70" fmla="*/ 12281252 w 17565607"/>
              <a:gd name="connsiteY70" fmla="*/ 966126 h 1124374"/>
              <a:gd name="connsiteX71" fmla="*/ 12057008 w 17565607"/>
              <a:gd name="connsiteY71" fmla="*/ 1124374 h 1124374"/>
              <a:gd name="connsiteX72" fmla="*/ 10792871 w 17565607"/>
              <a:gd name="connsiteY72" fmla="*/ 1124374 h 1124374"/>
              <a:gd name="connsiteX73" fmla="*/ 10568627 w 17565607"/>
              <a:gd name="connsiteY73" fmla="*/ 966126 h 1124374"/>
              <a:gd name="connsiteX74" fmla="*/ 10570635 w 17565607"/>
              <a:gd name="connsiteY74" fmla="*/ 959449 h 1124374"/>
              <a:gd name="connsiteX75" fmla="*/ 10577328 w 17565607"/>
              <a:gd name="connsiteY75" fmla="*/ 956444 h 1124374"/>
              <a:gd name="connsiteX76" fmla="*/ 8815904 w 17565607"/>
              <a:gd name="connsiteY76" fmla="*/ 956444 h 1124374"/>
              <a:gd name="connsiteX77" fmla="*/ 10511127 w 17565607"/>
              <a:gd name="connsiteY77" fmla="*/ 956444 h 1124374"/>
              <a:gd name="connsiteX78" fmla="*/ 10517820 w 17565607"/>
              <a:gd name="connsiteY78" fmla="*/ 959449 h 1124374"/>
              <a:gd name="connsiteX79" fmla="*/ 10519828 w 17565607"/>
              <a:gd name="connsiteY79" fmla="*/ 966126 h 1124374"/>
              <a:gd name="connsiteX80" fmla="*/ 10295584 w 17565607"/>
              <a:gd name="connsiteY80" fmla="*/ 1124374 h 1124374"/>
              <a:gd name="connsiteX81" fmla="*/ 9031447 w 17565607"/>
              <a:gd name="connsiteY81" fmla="*/ 1124374 h 1124374"/>
              <a:gd name="connsiteX82" fmla="*/ 8807203 w 17565607"/>
              <a:gd name="connsiteY82" fmla="*/ 966126 h 1124374"/>
              <a:gd name="connsiteX83" fmla="*/ 8809211 w 17565607"/>
              <a:gd name="connsiteY83" fmla="*/ 959449 h 1124374"/>
              <a:gd name="connsiteX84" fmla="*/ 8815904 w 17565607"/>
              <a:gd name="connsiteY84" fmla="*/ 956444 h 1124374"/>
              <a:gd name="connsiteX85" fmla="*/ 7054480 w 17565607"/>
              <a:gd name="connsiteY85" fmla="*/ 956444 h 1124374"/>
              <a:gd name="connsiteX86" fmla="*/ 8749703 w 17565607"/>
              <a:gd name="connsiteY86" fmla="*/ 956444 h 1124374"/>
              <a:gd name="connsiteX87" fmla="*/ 8756396 w 17565607"/>
              <a:gd name="connsiteY87" fmla="*/ 959449 h 1124374"/>
              <a:gd name="connsiteX88" fmla="*/ 8758404 w 17565607"/>
              <a:gd name="connsiteY88" fmla="*/ 966126 h 1124374"/>
              <a:gd name="connsiteX89" fmla="*/ 8534160 w 17565607"/>
              <a:gd name="connsiteY89" fmla="*/ 1124374 h 1124374"/>
              <a:gd name="connsiteX90" fmla="*/ 7270023 w 17565607"/>
              <a:gd name="connsiteY90" fmla="*/ 1124374 h 1124374"/>
              <a:gd name="connsiteX91" fmla="*/ 7045779 w 17565607"/>
              <a:gd name="connsiteY91" fmla="*/ 966126 h 1124374"/>
              <a:gd name="connsiteX92" fmla="*/ 7047787 w 17565607"/>
              <a:gd name="connsiteY92" fmla="*/ 959449 h 1124374"/>
              <a:gd name="connsiteX93" fmla="*/ 7054480 w 17565607"/>
              <a:gd name="connsiteY93" fmla="*/ 956444 h 1124374"/>
              <a:gd name="connsiteX94" fmla="*/ 5293058 w 17565607"/>
              <a:gd name="connsiteY94" fmla="*/ 956444 h 1124374"/>
              <a:gd name="connsiteX95" fmla="*/ 6988279 w 17565607"/>
              <a:gd name="connsiteY95" fmla="*/ 956444 h 1124374"/>
              <a:gd name="connsiteX96" fmla="*/ 6994972 w 17565607"/>
              <a:gd name="connsiteY96" fmla="*/ 959449 h 1124374"/>
              <a:gd name="connsiteX97" fmla="*/ 6996980 w 17565607"/>
              <a:gd name="connsiteY97" fmla="*/ 966126 h 1124374"/>
              <a:gd name="connsiteX98" fmla="*/ 6772737 w 17565607"/>
              <a:gd name="connsiteY98" fmla="*/ 1124374 h 1124374"/>
              <a:gd name="connsiteX99" fmla="*/ 5508600 w 17565607"/>
              <a:gd name="connsiteY99" fmla="*/ 1124374 h 1124374"/>
              <a:gd name="connsiteX100" fmla="*/ 5284356 w 17565607"/>
              <a:gd name="connsiteY100" fmla="*/ 966126 h 1124374"/>
              <a:gd name="connsiteX101" fmla="*/ 5286364 w 17565607"/>
              <a:gd name="connsiteY101" fmla="*/ 959449 h 1124374"/>
              <a:gd name="connsiteX102" fmla="*/ 5293058 w 17565607"/>
              <a:gd name="connsiteY102" fmla="*/ 956444 h 1124374"/>
              <a:gd name="connsiteX103" fmla="*/ 3531633 w 17565607"/>
              <a:gd name="connsiteY103" fmla="*/ 956444 h 1124374"/>
              <a:gd name="connsiteX104" fmla="*/ 5226856 w 17565607"/>
              <a:gd name="connsiteY104" fmla="*/ 956444 h 1124374"/>
              <a:gd name="connsiteX105" fmla="*/ 5233548 w 17565607"/>
              <a:gd name="connsiteY105" fmla="*/ 959449 h 1124374"/>
              <a:gd name="connsiteX106" fmla="*/ 5235557 w 17565607"/>
              <a:gd name="connsiteY106" fmla="*/ 966126 h 1124374"/>
              <a:gd name="connsiteX107" fmla="*/ 5011313 w 17565607"/>
              <a:gd name="connsiteY107" fmla="*/ 1124374 h 1124374"/>
              <a:gd name="connsiteX108" fmla="*/ 3747176 w 17565607"/>
              <a:gd name="connsiteY108" fmla="*/ 1124374 h 1124374"/>
              <a:gd name="connsiteX109" fmla="*/ 3522932 w 17565607"/>
              <a:gd name="connsiteY109" fmla="*/ 966126 h 1124374"/>
              <a:gd name="connsiteX110" fmla="*/ 3524941 w 17565607"/>
              <a:gd name="connsiteY110" fmla="*/ 959449 h 1124374"/>
              <a:gd name="connsiteX111" fmla="*/ 3531633 w 17565607"/>
              <a:gd name="connsiteY111" fmla="*/ 956444 h 1124374"/>
              <a:gd name="connsiteX112" fmla="*/ 1770210 w 17565607"/>
              <a:gd name="connsiteY112" fmla="*/ 956444 h 1124374"/>
              <a:gd name="connsiteX113" fmla="*/ 3465432 w 17565607"/>
              <a:gd name="connsiteY113" fmla="*/ 956444 h 1124374"/>
              <a:gd name="connsiteX114" fmla="*/ 3472125 w 17565607"/>
              <a:gd name="connsiteY114" fmla="*/ 959449 h 1124374"/>
              <a:gd name="connsiteX115" fmla="*/ 3474133 w 17565607"/>
              <a:gd name="connsiteY115" fmla="*/ 966126 h 1124374"/>
              <a:gd name="connsiteX116" fmla="*/ 3249889 w 17565607"/>
              <a:gd name="connsiteY116" fmla="*/ 1124374 h 1124374"/>
              <a:gd name="connsiteX117" fmla="*/ 1985753 w 17565607"/>
              <a:gd name="connsiteY117" fmla="*/ 1124374 h 1124374"/>
              <a:gd name="connsiteX118" fmla="*/ 1761508 w 17565607"/>
              <a:gd name="connsiteY118" fmla="*/ 966126 h 1124374"/>
              <a:gd name="connsiteX119" fmla="*/ 1763517 w 17565607"/>
              <a:gd name="connsiteY119" fmla="*/ 959449 h 1124374"/>
              <a:gd name="connsiteX120" fmla="*/ 1770210 w 17565607"/>
              <a:gd name="connsiteY120" fmla="*/ 956444 h 1124374"/>
              <a:gd name="connsiteX121" fmla="*/ 8786 w 17565607"/>
              <a:gd name="connsiteY121" fmla="*/ 956444 h 1124374"/>
              <a:gd name="connsiteX122" fmla="*/ 1704008 w 17565607"/>
              <a:gd name="connsiteY122" fmla="*/ 956444 h 1124374"/>
              <a:gd name="connsiteX123" fmla="*/ 1710702 w 17565607"/>
              <a:gd name="connsiteY123" fmla="*/ 959449 h 1124374"/>
              <a:gd name="connsiteX124" fmla="*/ 1712710 w 17565607"/>
              <a:gd name="connsiteY124" fmla="*/ 966126 h 1124374"/>
              <a:gd name="connsiteX125" fmla="*/ 1488466 w 17565607"/>
              <a:gd name="connsiteY125" fmla="*/ 1124374 h 1124374"/>
              <a:gd name="connsiteX126" fmla="*/ 224329 w 17565607"/>
              <a:gd name="connsiteY126" fmla="*/ 1124374 h 1124374"/>
              <a:gd name="connsiteX127" fmla="*/ 84 w 17565607"/>
              <a:gd name="connsiteY127" fmla="*/ 966126 h 1124374"/>
              <a:gd name="connsiteX128" fmla="*/ 2093 w 17565607"/>
              <a:gd name="connsiteY128" fmla="*/ 959449 h 1124374"/>
              <a:gd name="connsiteX129" fmla="*/ 8786 w 17565607"/>
              <a:gd name="connsiteY129" fmla="*/ 956444 h 1124374"/>
              <a:gd name="connsiteX130" fmla="*/ 16126306 w 17565607"/>
              <a:gd name="connsiteY130" fmla="*/ 123161 h 1124374"/>
              <a:gd name="connsiteX131" fmla="*/ 16126306 w 17565607"/>
              <a:gd name="connsiteY131" fmla="*/ 772433 h 1124374"/>
              <a:gd name="connsiteX132" fmla="*/ 17293594 w 17565607"/>
              <a:gd name="connsiteY132" fmla="*/ 772433 h 1124374"/>
              <a:gd name="connsiteX133" fmla="*/ 17293594 w 17565607"/>
              <a:gd name="connsiteY133" fmla="*/ 123161 h 1124374"/>
              <a:gd name="connsiteX134" fmla="*/ 14364881 w 17565607"/>
              <a:gd name="connsiteY134" fmla="*/ 123161 h 1124374"/>
              <a:gd name="connsiteX135" fmla="*/ 14364881 w 17565607"/>
              <a:gd name="connsiteY135" fmla="*/ 772433 h 1124374"/>
              <a:gd name="connsiteX136" fmla="*/ 15532170 w 17565607"/>
              <a:gd name="connsiteY136" fmla="*/ 772433 h 1124374"/>
              <a:gd name="connsiteX137" fmla="*/ 15532170 w 17565607"/>
              <a:gd name="connsiteY137" fmla="*/ 123161 h 1124374"/>
              <a:gd name="connsiteX138" fmla="*/ 12603457 w 17565607"/>
              <a:gd name="connsiteY138" fmla="*/ 123161 h 1124374"/>
              <a:gd name="connsiteX139" fmla="*/ 12603457 w 17565607"/>
              <a:gd name="connsiteY139" fmla="*/ 772433 h 1124374"/>
              <a:gd name="connsiteX140" fmla="*/ 13770746 w 17565607"/>
              <a:gd name="connsiteY140" fmla="*/ 772433 h 1124374"/>
              <a:gd name="connsiteX141" fmla="*/ 13770746 w 17565607"/>
              <a:gd name="connsiteY141" fmla="*/ 123161 h 1124374"/>
              <a:gd name="connsiteX142" fmla="*/ 10842033 w 17565607"/>
              <a:gd name="connsiteY142" fmla="*/ 123161 h 1124374"/>
              <a:gd name="connsiteX143" fmla="*/ 10842033 w 17565607"/>
              <a:gd name="connsiteY143" fmla="*/ 772433 h 1124374"/>
              <a:gd name="connsiteX144" fmla="*/ 12009322 w 17565607"/>
              <a:gd name="connsiteY144" fmla="*/ 772433 h 1124374"/>
              <a:gd name="connsiteX145" fmla="*/ 12009322 w 17565607"/>
              <a:gd name="connsiteY145" fmla="*/ 123161 h 1124374"/>
              <a:gd name="connsiteX146" fmla="*/ 9080609 w 17565607"/>
              <a:gd name="connsiteY146" fmla="*/ 123161 h 1124374"/>
              <a:gd name="connsiteX147" fmla="*/ 9080609 w 17565607"/>
              <a:gd name="connsiteY147" fmla="*/ 772433 h 1124374"/>
              <a:gd name="connsiteX148" fmla="*/ 10247898 w 17565607"/>
              <a:gd name="connsiteY148" fmla="*/ 772433 h 1124374"/>
              <a:gd name="connsiteX149" fmla="*/ 10247898 w 17565607"/>
              <a:gd name="connsiteY149" fmla="*/ 123161 h 1124374"/>
              <a:gd name="connsiteX150" fmla="*/ 7319185 w 17565607"/>
              <a:gd name="connsiteY150" fmla="*/ 123161 h 1124374"/>
              <a:gd name="connsiteX151" fmla="*/ 7319185 w 17565607"/>
              <a:gd name="connsiteY151" fmla="*/ 772433 h 1124374"/>
              <a:gd name="connsiteX152" fmla="*/ 8486474 w 17565607"/>
              <a:gd name="connsiteY152" fmla="*/ 772433 h 1124374"/>
              <a:gd name="connsiteX153" fmla="*/ 8486474 w 17565607"/>
              <a:gd name="connsiteY153" fmla="*/ 123161 h 1124374"/>
              <a:gd name="connsiteX154" fmla="*/ 5557761 w 17565607"/>
              <a:gd name="connsiteY154" fmla="*/ 123161 h 1124374"/>
              <a:gd name="connsiteX155" fmla="*/ 5557761 w 17565607"/>
              <a:gd name="connsiteY155" fmla="*/ 772433 h 1124374"/>
              <a:gd name="connsiteX156" fmla="*/ 6725052 w 17565607"/>
              <a:gd name="connsiteY156" fmla="*/ 772433 h 1124374"/>
              <a:gd name="connsiteX157" fmla="*/ 6725052 w 17565607"/>
              <a:gd name="connsiteY157" fmla="*/ 123161 h 1124374"/>
              <a:gd name="connsiteX158" fmla="*/ 3796338 w 17565607"/>
              <a:gd name="connsiteY158" fmla="*/ 123161 h 1124374"/>
              <a:gd name="connsiteX159" fmla="*/ 3796338 w 17565607"/>
              <a:gd name="connsiteY159" fmla="*/ 772433 h 1124374"/>
              <a:gd name="connsiteX160" fmla="*/ 4963628 w 17565607"/>
              <a:gd name="connsiteY160" fmla="*/ 772433 h 1124374"/>
              <a:gd name="connsiteX161" fmla="*/ 4963628 w 17565607"/>
              <a:gd name="connsiteY161" fmla="*/ 123161 h 1124374"/>
              <a:gd name="connsiteX162" fmla="*/ 2034915 w 17565607"/>
              <a:gd name="connsiteY162" fmla="*/ 123161 h 1124374"/>
              <a:gd name="connsiteX163" fmla="*/ 2034915 w 17565607"/>
              <a:gd name="connsiteY163" fmla="*/ 772433 h 1124374"/>
              <a:gd name="connsiteX164" fmla="*/ 3202204 w 17565607"/>
              <a:gd name="connsiteY164" fmla="*/ 772433 h 1124374"/>
              <a:gd name="connsiteX165" fmla="*/ 3202204 w 17565607"/>
              <a:gd name="connsiteY165" fmla="*/ 123161 h 1124374"/>
              <a:gd name="connsiteX166" fmla="*/ 273491 w 17565607"/>
              <a:gd name="connsiteY166" fmla="*/ 123161 h 1124374"/>
              <a:gd name="connsiteX167" fmla="*/ 273491 w 17565607"/>
              <a:gd name="connsiteY167" fmla="*/ 772433 h 1124374"/>
              <a:gd name="connsiteX168" fmla="*/ 1440780 w 17565607"/>
              <a:gd name="connsiteY168" fmla="*/ 772433 h 1124374"/>
              <a:gd name="connsiteX169" fmla="*/ 1440780 w 17565607"/>
              <a:gd name="connsiteY169" fmla="*/ 123161 h 1124374"/>
              <a:gd name="connsiteX170" fmla="*/ 16038266 w 17565607"/>
              <a:gd name="connsiteY170" fmla="*/ 0 h 1124374"/>
              <a:gd name="connsiteX171" fmla="*/ 17381300 w 17565607"/>
              <a:gd name="connsiteY171" fmla="*/ 0 h 1124374"/>
              <a:gd name="connsiteX172" fmla="*/ 17416784 w 17565607"/>
              <a:gd name="connsiteY172" fmla="*/ 35476 h 1124374"/>
              <a:gd name="connsiteX173" fmla="*/ 17416784 w 17565607"/>
              <a:gd name="connsiteY173" fmla="*/ 860118 h 1124374"/>
              <a:gd name="connsiteX174" fmla="*/ 17381300 w 17565607"/>
              <a:gd name="connsiteY174" fmla="*/ 895593 h 1124374"/>
              <a:gd name="connsiteX175" fmla="*/ 16038266 w 17565607"/>
              <a:gd name="connsiteY175" fmla="*/ 895593 h 1124374"/>
              <a:gd name="connsiteX176" fmla="*/ 16003116 w 17565607"/>
              <a:gd name="connsiteY176" fmla="*/ 860118 h 1124374"/>
              <a:gd name="connsiteX177" fmla="*/ 16003116 w 17565607"/>
              <a:gd name="connsiteY177" fmla="*/ 35476 h 1124374"/>
              <a:gd name="connsiteX178" fmla="*/ 16038266 w 17565607"/>
              <a:gd name="connsiteY178" fmla="*/ 0 h 1124374"/>
              <a:gd name="connsiteX179" fmla="*/ 14276841 w 17565607"/>
              <a:gd name="connsiteY179" fmla="*/ 0 h 1124374"/>
              <a:gd name="connsiteX180" fmla="*/ 15619876 w 17565607"/>
              <a:gd name="connsiteY180" fmla="*/ 0 h 1124374"/>
              <a:gd name="connsiteX181" fmla="*/ 15655360 w 17565607"/>
              <a:gd name="connsiteY181" fmla="*/ 35476 h 1124374"/>
              <a:gd name="connsiteX182" fmla="*/ 15655360 w 17565607"/>
              <a:gd name="connsiteY182" fmla="*/ 860118 h 1124374"/>
              <a:gd name="connsiteX183" fmla="*/ 15619876 w 17565607"/>
              <a:gd name="connsiteY183" fmla="*/ 895593 h 1124374"/>
              <a:gd name="connsiteX184" fmla="*/ 14276841 w 17565607"/>
              <a:gd name="connsiteY184" fmla="*/ 895593 h 1124374"/>
              <a:gd name="connsiteX185" fmla="*/ 14241691 w 17565607"/>
              <a:gd name="connsiteY185" fmla="*/ 860118 h 1124374"/>
              <a:gd name="connsiteX186" fmla="*/ 14241691 w 17565607"/>
              <a:gd name="connsiteY186" fmla="*/ 35476 h 1124374"/>
              <a:gd name="connsiteX187" fmla="*/ 14276841 w 17565607"/>
              <a:gd name="connsiteY187" fmla="*/ 0 h 1124374"/>
              <a:gd name="connsiteX188" fmla="*/ 12515417 w 17565607"/>
              <a:gd name="connsiteY188" fmla="*/ 0 h 1124374"/>
              <a:gd name="connsiteX189" fmla="*/ 13858452 w 17565607"/>
              <a:gd name="connsiteY189" fmla="*/ 0 h 1124374"/>
              <a:gd name="connsiteX190" fmla="*/ 13893936 w 17565607"/>
              <a:gd name="connsiteY190" fmla="*/ 35476 h 1124374"/>
              <a:gd name="connsiteX191" fmla="*/ 13893936 w 17565607"/>
              <a:gd name="connsiteY191" fmla="*/ 860118 h 1124374"/>
              <a:gd name="connsiteX192" fmla="*/ 13858452 w 17565607"/>
              <a:gd name="connsiteY192" fmla="*/ 895593 h 1124374"/>
              <a:gd name="connsiteX193" fmla="*/ 12515417 w 17565607"/>
              <a:gd name="connsiteY193" fmla="*/ 895593 h 1124374"/>
              <a:gd name="connsiteX194" fmla="*/ 12480267 w 17565607"/>
              <a:gd name="connsiteY194" fmla="*/ 860118 h 1124374"/>
              <a:gd name="connsiteX195" fmla="*/ 12480267 w 17565607"/>
              <a:gd name="connsiteY195" fmla="*/ 35476 h 1124374"/>
              <a:gd name="connsiteX196" fmla="*/ 12515417 w 17565607"/>
              <a:gd name="connsiteY196" fmla="*/ 0 h 1124374"/>
              <a:gd name="connsiteX197" fmla="*/ 10753993 w 17565607"/>
              <a:gd name="connsiteY197" fmla="*/ 0 h 1124374"/>
              <a:gd name="connsiteX198" fmla="*/ 12097028 w 17565607"/>
              <a:gd name="connsiteY198" fmla="*/ 0 h 1124374"/>
              <a:gd name="connsiteX199" fmla="*/ 12132512 w 17565607"/>
              <a:gd name="connsiteY199" fmla="*/ 35476 h 1124374"/>
              <a:gd name="connsiteX200" fmla="*/ 12132512 w 17565607"/>
              <a:gd name="connsiteY200" fmla="*/ 860118 h 1124374"/>
              <a:gd name="connsiteX201" fmla="*/ 12097028 w 17565607"/>
              <a:gd name="connsiteY201" fmla="*/ 895593 h 1124374"/>
              <a:gd name="connsiteX202" fmla="*/ 10753993 w 17565607"/>
              <a:gd name="connsiteY202" fmla="*/ 895593 h 1124374"/>
              <a:gd name="connsiteX203" fmla="*/ 10718843 w 17565607"/>
              <a:gd name="connsiteY203" fmla="*/ 860118 h 1124374"/>
              <a:gd name="connsiteX204" fmla="*/ 10718843 w 17565607"/>
              <a:gd name="connsiteY204" fmla="*/ 35476 h 1124374"/>
              <a:gd name="connsiteX205" fmla="*/ 10753993 w 17565607"/>
              <a:gd name="connsiteY205" fmla="*/ 0 h 1124374"/>
              <a:gd name="connsiteX206" fmla="*/ 8992569 w 17565607"/>
              <a:gd name="connsiteY206" fmla="*/ 0 h 1124374"/>
              <a:gd name="connsiteX207" fmla="*/ 10335604 w 17565607"/>
              <a:gd name="connsiteY207" fmla="*/ 0 h 1124374"/>
              <a:gd name="connsiteX208" fmla="*/ 10371088 w 17565607"/>
              <a:gd name="connsiteY208" fmla="*/ 35476 h 1124374"/>
              <a:gd name="connsiteX209" fmla="*/ 10371088 w 17565607"/>
              <a:gd name="connsiteY209" fmla="*/ 860118 h 1124374"/>
              <a:gd name="connsiteX210" fmla="*/ 10335604 w 17565607"/>
              <a:gd name="connsiteY210" fmla="*/ 895593 h 1124374"/>
              <a:gd name="connsiteX211" fmla="*/ 8992569 w 17565607"/>
              <a:gd name="connsiteY211" fmla="*/ 895593 h 1124374"/>
              <a:gd name="connsiteX212" fmla="*/ 8957419 w 17565607"/>
              <a:gd name="connsiteY212" fmla="*/ 860118 h 1124374"/>
              <a:gd name="connsiteX213" fmla="*/ 8957419 w 17565607"/>
              <a:gd name="connsiteY213" fmla="*/ 35476 h 1124374"/>
              <a:gd name="connsiteX214" fmla="*/ 8992569 w 17565607"/>
              <a:gd name="connsiteY214" fmla="*/ 0 h 1124374"/>
              <a:gd name="connsiteX215" fmla="*/ 7231145 w 17565607"/>
              <a:gd name="connsiteY215" fmla="*/ 0 h 1124374"/>
              <a:gd name="connsiteX216" fmla="*/ 8574180 w 17565607"/>
              <a:gd name="connsiteY216" fmla="*/ 0 h 1124374"/>
              <a:gd name="connsiteX217" fmla="*/ 8609664 w 17565607"/>
              <a:gd name="connsiteY217" fmla="*/ 35476 h 1124374"/>
              <a:gd name="connsiteX218" fmla="*/ 8609664 w 17565607"/>
              <a:gd name="connsiteY218" fmla="*/ 860118 h 1124374"/>
              <a:gd name="connsiteX219" fmla="*/ 8574180 w 17565607"/>
              <a:gd name="connsiteY219" fmla="*/ 895593 h 1124374"/>
              <a:gd name="connsiteX220" fmla="*/ 7231145 w 17565607"/>
              <a:gd name="connsiteY220" fmla="*/ 895593 h 1124374"/>
              <a:gd name="connsiteX221" fmla="*/ 7195995 w 17565607"/>
              <a:gd name="connsiteY221" fmla="*/ 860118 h 1124374"/>
              <a:gd name="connsiteX222" fmla="*/ 7195995 w 17565607"/>
              <a:gd name="connsiteY222" fmla="*/ 35476 h 1124374"/>
              <a:gd name="connsiteX223" fmla="*/ 7231145 w 17565607"/>
              <a:gd name="connsiteY223" fmla="*/ 0 h 1124374"/>
              <a:gd name="connsiteX224" fmla="*/ 5469722 w 17565607"/>
              <a:gd name="connsiteY224" fmla="*/ 0 h 1124374"/>
              <a:gd name="connsiteX225" fmla="*/ 6812756 w 17565607"/>
              <a:gd name="connsiteY225" fmla="*/ 0 h 1124374"/>
              <a:gd name="connsiteX226" fmla="*/ 6848240 w 17565607"/>
              <a:gd name="connsiteY226" fmla="*/ 35476 h 1124374"/>
              <a:gd name="connsiteX227" fmla="*/ 6848240 w 17565607"/>
              <a:gd name="connsiteY227" fmla="*/ 860118 h 1124374"/>
              <a:gd name="connsiteX228" fmla="*/ 6812756 w 17565607"/>
              <a:gd name="connsiteY228" fmla="*/ 895593 h 1124374"/>
              <a:gd name="connsiteX229" fmla="*/ 5469722 w 17565607"/>
              <a:gd name="connsiteY229" fmla="*/ 895593 h 1124374"/>
              <a:gd name="connsiteX230" fmla="*/ 5434572 w 17565607"/>
              <a:gd name="connsiteY230" fmla="*/ 860118 h 1124374"/>
              <a:gd name="connsiteX231" fmla="*/ 5434572 w 17565607"/>
              <a:gd name="connsiteY231" fmla="*/ 35476 h 1124374"/>
              <a:gd name="connsiteX232" fmla="*/ 5469722 w 17565607"/>
              <a:gd name="connsiteY232" fmla="*/ 0 h 1124374"/>
              <a:gd name="connsiteX233" fmla="*/ 3708299 w 17565607"/>
              <a:gd name="connsiteY233" fmla="*/ 0 h 1124374"/>
              <a:gd name="connsiteX234" fmla="*/ 5051333 w 17565607"/>
              <a:gd name="connsiteY234" fmla="*/ 0 h 1124374"/>
              <a:gd name="connsiteX235" fmla="*/ 5086816 w 17565607"/>
              <a:gd name="connsiteY235" fmla="*/ 35476 h 1124374"/>
              <a:gd name="connsiteX236" fmla="*/ 5086816 w 17565607"/>
              <a:gd name="connsiteY236" fmla="*/ 860118 h 1124374"/>
              <a:gd name="connsiteX237" fmla="*/ 5051333 w 17565607"/>
              <a:gd name="connsiteY237" fmla="*/ 895593 h 1124374"/>
              <a:gd name="connsiteX238" fmla="*/ 3708299 w 17565607"/>
              <a:gd name="connsiteY238" fmla="*/ 895593 h 1124374"/>
              <a:gd name="connsiteX239" fmla="*/ 3673148 w 17565607"/>
              <a:gd name="connsiteY239" fmla="*/ 860118 h 1124374"/>
              <a:gd name="connsiteX240" fmla="*/ 3673148 w 17565607"/>
              <a:gd name="connsiteY240" fmla="*/ 35476 h 1124374"/>
              <a:gd name="connsiteX241" fmla="*/ 3708299 w 17565607"/>
              <a:gd name="connsiteY241" fmla="*/ 0 h 1124374"/>
              <a:gd name="connsiteX242" fmla="*/ 1946875 w 17565607"/>
              <a:gd name="connsiteY242" fmla="*/ 0 h 1124374"/>
              <a:gd name="connsiteX243" fmla="*/ 3289908 w 17565607"/>
              <a:gd name="connsiteY243" fmla="*/ 0 h 1124374"/>
              <a:gd name="connsiteX244" fmla="*/ 3325394 w 17565607"/>
              <a:gd name="connsiteY244" fmla="*/ 35476 h 1124374"/>
              <a:gd name="connsiteX245" fmla="*/ 3325394 w 17565607"/>
              <a:gd name="connsiteY245" fmla="*/ 860118 h 1124374"/>
              <a:gd name="connsiteX246" fmla="*/ 3289908 w 17565607"/>
              <a:gd name="connsiteY246" fmla="*/ 895593 h 1124374"/>
              <a:gd name="connsiteX247" fmla="*/ 1946875 w 17565607"/>
              <a:gd name="connsiteY247" fmla="*/ 895593 h 1124374"/>
              <a:gd name="connsiteX248" fmla="*/ 1911725 w 17565607"/>
              <a:gd name="connsiteY248" fmla="*/ 860118 h 1124374"/>
              <a:gd name="connsiteX249" fmla="*/ 1911725 w 17565607"/>
              <a:gd name="connsiteY249" fmla="*/ 35476 h 1124374"/>
              <a:gd name="connsiteX250" fmla="*/ 1946875 w 17565607"/>
              <a:gd name="connsiteY250" fmla="*/ 0 h 1124374"/>
              <a:gd name="connsiteX251" fmla="*/ 185450 w 17565607"/>
              <a:gd name="connsiteY251" fmla="*/ 0 h 1124374"/>
              <a:gd name="connsiteX252" fmla="*/ 1528485 w 17565607"/>
              <a:gd name="connsiteY252" fmla="*/ 0 h 1124374"/>
              <a:gd name="connsiteX253" fmla="*/ 1563970 w 17565607"/>
              <a:gd name="connsiteY253" fmla="*/ 35476 h 1124374"/>
              <a:gd name="connsiteX254" fmla="*/ 1563970 w 17565607"/>
              <a:gd name="connsiteY254" fmla="*/ 860118 h 1124374"/>
              <a:gd name="connsiteX255" fmla="*/ 1528485 w 17565607"/>
              <a:gd name="connsiteY255" fmla="*/ 895593 h 1124374"/>
              <a:gd name="connsiteX256" fmla="*/ 185450 w 17565607"/>
              <a:gd name="connsiteY256" fmla="*/ 895593 h 1124374"/>
              <a:gd name="connsiteX257" fmla="*/ 150301 w 17565607"/>
              <a:gd name="connsiteY257" fmla="*/ 860118 h 1124374"/>
              <a:gd name="connsiteX258" fmla="*/ 150301 w 17565607"/>
              <a:gd name="connsiteY258" fmla="*/ 35476 h 1124374"/>
              <a:gd name="connsiteX259" fmla="*/ 185450 w 17565607"/>
              <a:gd name="connsiteY259" fmla="*/ 0 h 1124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17565607" h="1124374">
                <a:moveTo>
                  <a:pt x="16581526" y="1011197"/>
                </a:moveTo>
                <a:lnTo>
                  <a:pt x="16581526" y="1069621"/>
                </a:lnTo>
                <a:lnTo>
                  <a:pt x="16836896" y="1069621"/>
                </a:lnTo>
                <a:lnTo>
                  <a:pt x="16836896" y="1011197"/>
                </a:lnTo>
                <a:close/>
                <a:moveTo>
                  <a:pt x="14820102" y="1011197"/>
                </a:moveTo>
                <a:lnTo>
                  <a:pt x="14820102" y="1069621"/>
                </a:lnTo>
                <a:lnTo>
                  <a:pt x="15075473" y="1069621"/>
                </a:lnTo>
                <a:lnTo>
                  <a:pt x="15075473" y="1011197"/>
                </a:lnTo>
                <a:close/>
                <a:moveTo>
                  <a:pt x="13058678" y="1011197"/>
                </a:moveTo>
                <a:lnTo>
                  <a:pt x="13058678" y="1069621"/>
                </a:lnTo>
                <a:lnTo>
                  <a:pt x="13314049" y="1069621"/>
                </a:lnTo>
                <a:lnTo>
                  <a:pt x="13314049" y="1011197"/>
                </a:lnTo>
                <a:close/>
                <a:moveTo>
                  <a:pt x="11297254" y="1011197"/>
                </a:moveTo>
                <a:lnTo>
                  <a:pt x="11297254" y="1069621"/>
                </a:lnTo>
                <a:lnTo>
                  <a:pt x="11552625" y="1069621"/>
                </a:lnTo>
                <a:lnTo>
                  <a:pt x="11552625" y="1011197"/>
                </a:lnTo>
                <a:close/>
                <a:moveTo>
                  <a:pt x="9535830" y="1011197"/>
                </a:moveTo>
                <a:lnTo>
                  <a:pt x="9535830" y="1069621"/>
                </a:lnTo>
                <a:lnTo>
                  <a:pt x="9791201" y="1069621"/>
                </a:lnTo>
                <a:lnTo>
                  <a:pt x="9791201" y="1011197"/>
                </a:lnTo>
                <a:close/>
                <a:moveTo>
                  <a:pt x="7774406" y="1011197"/>
                </a:moveTo>
                <a:lnTo>
                  <a:pt x="7774406" y="1069621"/>
                </a:lnTo>
                <a:lnTo>
                  <a:pt x="8029777" y="1069621"/>
                </a:lnTo>
                <a:lnTo>
                  <a:pt x="8029777" y="1011197"/>
                </a:lnTo>
                <a:close/>
                <a:moveTo>
                  <a:pt x="6012983" y="1011197"/>
                </a:moveTo>
                <a:lnTo>
                  <a:pt x="6012983" y="1069621"/>
                </a:lnTo>
                <a:lnTo>
                  <a:pt x="6268353" y="1069621"/>
                </a:lnTo>
                <a:lnTo>
                  <a:pt x="6268353" y="1011197"/>
                </a:lnTo>
                <a:close/>
                <a:moveTo>
                  <a:pt x="4251560" y="1011197"/>
                </a:moveTo>
                <a:lnTo>
                  <a:pt x="4251560" y="1069621"/>
                </a:lnTo>
                <a:lnTo>
                  <a:pt x="4506930" y="1069621"/>
                </a:lnTo>
                <a:lnTo>
                  <a:pt x="4506930" y="1011197"/>
                </a:lnTo>
                <a:close/>
                <a:moveTo>
                  <a:pt x="2490136" y="1011197"/>
                </a:moveTo>
                <a:lnTo>
                  <a:pt x="2490136" y="1069621"/>
                </a:lnTo>
                <a:lnTo>
                  <a:pt x="2745506" y="1069621"/>
                </a:lnTo>
                <a:lnTo>
                  <a:pt x="2745506" y="1011197"/>
                </a:lnTo>
                <a:close/>
                <a:moveTo>
                  <a:pt x="728711" y="1011197"/>
                </a:moveTo>
                <a:lnTo>
                  <a:pt x="728711" y="1069621"/>
                </a:lnTo>
                <a:lnTo>
                  <a:pt x="984082" y="1069621"/>
                </a:lnTo>
                <a:lnTo>
                  <a:pt x="984082" y="1011197"/>
                </a:lnTo>
                <a:close/>
                <a:moveTo>
                  <a:pt x="15861600" y="956444"/>
                </a:moveTo>
                <a:lnTo>
                  <a:pt x="17556822" y="956444"/>
                </a:lnTo>
                <a:cubicBezTo>
                  <a:pt x="17559500" y="956444"/>
                  <a:pt x="17561842" y="957446"/>
                  <a:pt x="17563516" y="959449"/>
                </a:cubicBezTo>
                <a:cubicBezTo>
                  <a:pt x="17565190" y="961452"/>
                  <a:pt x="17565858" y="963790"/>
                  <a:pt x="17565524" y="966126"/>
                </a:cubicBezTo>
                <a:cubicBezTo>
                  <a:pt x="17565190" y="968130"/>
                  <a:pt x="17539754" y="1124374"/>
                  <a:pt x="17341280" y="1124374"/>
                </a:cubicBezTo>
                <a:lnTo>
                  <a:pt x="16077142" y="1124374"/>
                </a:lnTo>
                <a:cubicBezTo>
                  <a:pt x="15879004" y="1124374"/>
                  <a:pt x="15853234" y="968130"/>
                  <a:pt x="15852898" y="966126"/>
                </a:cubicBezTo>
                <a:cubicBezTo>
                  <a:pt x="15852564" y="963790"/>
                  <a:pt x="15853234" y="961452"/>
                  <a:pt x="15854906" y="959449"/>
                </a:cubicBezTo>
                <a:cubicBezTo>
                  <a:pt x="15856580" y="957446"/>
                  <a:pt x="15858924" y="956444"/>
                  <a:pt x="15861600" y="956444"/>
                </a:cubicBezTo>
                <a:close/>
                <a:moveTo>
                  <a:pt x="14100176" y="956444"/>
                </a:moveTo>
                <a:lnTo>
                  <a:pt x="15795398" y="956444"/>
                </a:lnTo>
                <a:cubicBezTo>
                  <a:pt x="15798076" y="956444"/>
                  <a:pt x="15800418" y="957446"/>
                  <a:pt x="15802092" y="959449"/>
                </a:cubicBezTo>
                <a:cubicBezTo>
                  <a:pt x="15803766" y="961452"/>
                  <a:pt x="15804434" y="963790"/>
                  <a:pt x="15804100" y="966126"/>
                </a:cubicBezTo>
                <a:cubicBezTo>
                  <a:pt x="15803766" y="968130"/>
                  <a:pt x="15778330" y="1124374"/>
                  <a:pt x="15579856" y="1124374"/>
                </a:cubicBezTo>
                <a:lnTo>
                  <a:pt x="14315719" y="1124374"/>
                </a:lnTo>
                <a:cubicBezTo>
                  <a:pt x="14117580" y="1124374"/>
                  <a:pt x="14091809" y="968130"/>
                  <a:pt x="14091475" y="966126"/>
                </a:cubicBezTo>
                <a:cubicBezTo>
                  <a:pt x="14091140" y="963790"/>
                  <a:pt x="14091809" y="961452"/>
                  <a:pt x="14093483" y="959449"/>
                </a:cubicBezTo>
                <a:cubicBezTo>
                  <a:pt x="14095157" y="957446"/>
                  <a:pt x="14097500" y="956444"/>
                  <a:pt x="14100176" y="956444"/>
                </a:cubicBezTo>
                <a:close/>
                <a:moveTo>
                  <a:pt x="12338752" y="956444"/>
                </a:moveTo>
                <a:lnTo>
                  <a:pt x="14033975" y="956444"/>
                </a:lnTo>
                <a:cubicBezTo>
                  <a:pt x="14036652" y="956444"/>
                  <a:pt x="14038994" y="957446"/>
                  <a:pt x="14040668" y="959449"/>
                </a:cubicBezTo>
                <a:cubicBezTo>
                  <a:pt x="14042342" y="961452"/>
                  <a:pt x="14043011" y="963790"/>
                  <a:pt x="14042676" y="966126"/>
                </a:cubicBezTo>
                <a:cubicBezTo>
                  <a:pt x="14042342" y="968130"/>
                  <a:pt x="14016905" y="1124374"/>
                  <a:pt x="13818432" y="1124374"/>
                </a:cubicBezTo>
                <a:lnTo>
                  <a:pt x="12554295" y="1124374"/>
                </a:lnTo>
                <a:cubicBezTo>
                  <a:pt x="12356156" y="1124374"/>
                  <a:pt x="12330385" y="968130"/>
                  <a:pt x="12330051" y="966126"/>
                </a:cubicBezTo>
                <a:cubicBezTo>
                  <a:pt x="12329716" y="963790"/>
                  <a:pt x="12330385" y="961452"/>
                  <a:pt x="12332059" y="959449"/>
                </a:cubicBezTo>
                <a:cubicBezTo>
                  <a:pt x="12333733" y="957446"/>
                  <a:pt x="12336076" y="956444"/>
                  <a:pt x="12338752" y="956444"/>
                </a:cubicBezTo>
                <a:close/>
                <a:moveTo>
                  <a:pt x="10577328" y="956444"/>
                </a:moveTo>
                <a:lnTo>
                  <a:pt x="12272551" y="956444"/>
                </a:lnTo>
                <a:cubicBezTo>
                  <a:pt x="12275228" y="956444"/>
                  <a:pt x="12277570" y="957446"/>
                  <a:pt x="12279244" y="959449"/>
                </a:cubicBezTo>
                <a:cubicBezTo>
                  <a:pt x="12280918" y="961452"/>
                  <a:pt x="12281587" y="963790"/>
                  <a:pt x="12281252" y="966126"/>
                </a:cubicBezTo>
                <a:cubicBezTo>
                  <a:pt x="12280918" y="968130"/>
                  <a:pt x="12255481" y="1124374"/>
                  <a:pt x="12057008" y="1124374"/>
                </a:cubicBezTo>
                <a:lnTo>
                  <a:pt x="10792871" y="1124374"/>
                </a:lnTo>
                <a:cubicBezTo>
                  <a:pt x="10594732" y="1124374"/>
                  <a:pt x="10568961" y="968130"/>
                  <a:pt x="10568627" y="966126"/>
                </a:cubicBezTo>
                <a:cubicBezTo>
                  <a:pt x="10568292" y="963790"/>
                  <a:pt x="10568961" y="961452"/>
                  <a:pt x="10570635" y="959449"/>
                </a:cubicBezTo>
                <a:cubicBezTo>
                  <a:pt x="10572309" y="957446"/>
                  <a:pt x="10574652" y="956444"/>
                  <a:pt x="10577328" y="956444"/>
                </a:cubicBezTo>
                <a:close/>
                <a:moveTo>
                  <a:pt x="8815904" y="956444"/>
                </a:moveTo>
                <a:lnTo>
                  <a:pt x="10511127" y="956444"/>
                </a:lnTo>
                <a:cubicBezTo>
                  <a:pt x="10513804" y="956444"/>
                  <a:pt x="10516146" y="957446"/>
                  <a:pt x="10517820" y="959449"/>
                </a:cubicBezTo>
                <a:cubicBezTo>
                  <a:pt x="10519494" y="961452"/>
                  <a:pt x="10520163" y="963790"/>
                  <a:pt x="10519828" y="966126"/>
                </a:cubicBezTo>
                <a:cubicBezTo>
                  <a:pt x="10519494" y="968130"/>
                  <a:pt x="10494057" y="1124374"/>
                  <a:pt x="10295584" y="1124374"/>
                </a:cubicBezTo>
                <a:lnTo>
                  <a:pt x="9031447" y="1124374"/>
                </a:lnTo>
                <a:cubicBezTo>
                  <a:pt x="8833308" y="1124374"/>
                  <a:pt x="8807537" y="968130"/>
                  <a:pt x="8807203" y="966126"/>
                </a:cubicBezTo>
                <a:cubicBezTo>
                  <a:pt x="8806868" y="963790"/>
                  <a:pt x="8807537" y="961452"/>
                  <a:pt x="8809211" y="959449"/>
                </a:cubicBezTo>
                <a:cubicBezTo>
                  <a:pt x="8810885" y="957446"/>
                  <a:pt x="8813228" y="956444"/>
                  <a:pt x="8815904" y="956444"/>
                </a:cubicBezTo>
                <a:close/>
                <a:moveTo>
                  <a:pt x="7054480" y="956444"/>
                </a:moveTo>
                <a:lnTo>
                  <a:pt x="8749703" y="956444"/>
                </a:lnTo>
                <a:cubicBezTo>
                  <a:pt x="8752380" y="956444"/>
                  <a:pt x="8754722" y="957446"/>
                  <a:pt x="8756396" y="959449"/>
                </a:cubicBezTo>
                <a:cubicBezTo>
                  <a:pt x="8758070" y="961452"/>
                  <a:pt x="8758739" y="963790"/>
                  <a:pt x="8758404" y="966126"/>
                </a:cubicBezTo>
                <a:cubicBezTo>
                  <a:pt x="8758070" y="968130"/>
                  <a:pt x="8732633" y="1124374"/>
                  <a:pt x="8534160" y="1124374"/>
                </a:cubicBezTo>
                <a:lnTo>
                  <a:pt x="7270023" y="1124374"/>
                </a:lnTo>
                <a:cubicBezTo>
                  <a:pt x="7071884" y="1124374"/>
                  <a:pt x="7046113" y="968130"/>
                  <a:pt x="7045779" y="966126"/>
                </a:cubicBezTo>
                <a:cubicBezTo>
                  <a:pt x="7045444" y="963790"/>
                  <a:pt x="7046113" y="961452"/>
                  <a:pt x="7047787" y="959449"/>
                </a:cubicBezTo>
                <a:cubicBezTo>
                  <a:pt x="7049461" y="957446"/>
                  <a:pt x="7051804" y="956444"/>
                  <a:pt x="7054480" y="956444"/>
                </a:cubicBezTo>
                <a:close/>
                <a:moveTo>
                  <a:pt x="5293058" y="956444"/>
                </a:moveTo>
                <a:lnTo>
                  <a:pt x="6988279" y="956444"/>
                </a:lnTo>
                <a:cubicBezTo>
                  <a:pt x="6990956" y="956444"/>
                  <a:pt x="6993298" y="957446"/>
                  <a:pt x="6994972" y="959449"/>
                </a:cubicBezTo>
                <a:cubicBezTo>
                  <a:pt x="6996646" y="961452"/>
                  <a:pt x="6997315" y="963790"/>
                  <a:pt x="6996980" y="966126"/>
                </a:cubicBezTo>
                <a:cubicBezTo>
                  <a:pt x="6996646" y="968130"/>
                  <a:pt x="6971209" y="1124374"/>
                  <a:pt x="6772737" y="1124374"/>
                </a:cubicBezTo>
                <a:lnTo>
                  <a:pt x="5508600" y="1124374"/>
                </a:lnTo>
                <a:cubicBezTo>
                  <a:pt x="5310462" y="1124374"/>
                  <a:pt x="5284691" y="968130"/>
                  <a:pt x="5284356" y="966126"/>
                </a:cubicBezTo>
                <a:cubicBezTo>
                  <a:pt x="5284020" y="963790"/>
                  <a:pt x="5284691" y="961452"/>
                  <a:pt x="5286364" y="959449"/>
                </a:cubicBezTo>
                <a:cubicBezTo>
                  <a:pt x="5288038" y="957446"/>
                  <a:pt x="5290380" y="956444"/>
                  <a:pt x="5293058" y="956444"/>
                </a:cubicBezTo>
                <a:close/>
                <a:moveTo>
                  <a:pt x="3531633" y="956444"/>
                </a:moveTo>
                <a:lnTo>
                  <a:pt x="5226856" y="956444"/>
                </a:lnTo>
                <a:cubicBezTo>
                  <a:pt x="5229533" y="956444"/>
                  <a:pt x="5231875" y="957446"/>
                  <a:pt x="5233548" y="959449"/>
                </a:cubicBezTo>
                <a:cubicBezTo>
                  <a:pt x="5235222" y="961452"/>
                  <a:pt x="5235892" y="963790"/>
                  <a:pt x="5235557" y="966126"/>
                </a:cubicBezTo>
                <a:cubicBezTo>
                  <a:pt x="5235222" y="968130"/>
                  <a:pt x="5209786" y="1124374"/>
                  <a:pt x="5011313" y="1124374"/>
                </a:cubicBezTo>
                <a:lnTo>
                  <a:pt x="3747176" y="1124374"/>
                </a:lnTo>
                <a:cubicBezTo>
                  <a:pt x="3549038" y="1124374"/>
                  <a:pt x="3523266" y="968130"/>
                  <a:pt x="3522932" y="966126"/>
                </a:cubicBezTo>
                <a:cubicBezTo>
                  <a:pt x="3522597" y="963790"/>
                  <a:pt x="3523266" y="961452"/>
                  <a:pt x="3524941" y="959449"/>
                </a:cubicBezTo>
                <a:cubicBezTo>
                  <a:pt x="3526614" y="957446"/>
                  <a:pt x="3528957" y="956444"/>
                  <a:pt x="3531633" y="956444"/>
                </a:cubicBezTo>
                <a:close/>
                <a:moveTo>
                  <a:pt x="1770210" y="956444"/>
                </a:moveTo>
                <a:lnTo>
                  <a:pt x="3465432" y="956444"/>
                </a:lnTo>
                <a:cubicBezTo>
                  <a:pt x="3468110" y="956444"/>
                  <a:pt x="3470452" y="957446"/>
                  <a:pt x="3472125" y="959449"/>
                </a:cubicBezTo>
                <a:cubicBezTo>
                  <a:pt x="3473799" y="961452"/>
                  <a:pt x="3474468" y="963790"/>
                  <a:pt x="3474133" y="966126"/>
                </a:cubicBezTo>
                <a:cubicBezTo>
                  <a:pt x="3473799" y="968130"/>
                  <a:pt x="3448362" y="1124374"/>
                  <a:pt x="3249889" y="1124374"/>
                </a:cubicBezTo>
                <a:lnTo>
                  <a:pt x="1985753" y="1124374"/>
                </a:lnTo>
                <a:cubicBezTo>
                  <a:pt x="1787614" y="1124374"/>
                  <a:pt x="1761843" y="968130"/>
                  <a:pt x="1761508" y="966126"/>
                </a:cubicBezTo>
                <a:cubicBezTo>
                  <a:pt x="1761173" y="963790"/>
                  <a:pt x="1761843" y="961452"/>
                  <a:pt x="1763517" y="959449"/>
                </a:cubicBezTo>
                <a:cubicBezTo>
                  <a:pt x="1765190" y="957446"/>
                  <a:pt x="1767533" y="956444"/>
                  <a:pt x="1770210" y="956444"/>
                </a:cubicBezTo>
                <a:close/>
                <a:moveTo>
                  <a:pt x="8786" y="956444"/>
                </a:moveTo>
                <a:lnTo>
                  <a:pt x="1704008" y="956444"/>
                </a:lnTo>
                <a:cubicBezTo>
                  <a:pt x="1706686" y="956444"/>
                  <a:pt x="1709028" y="957446"/>
                  <a:pt x="1710702" y="959449"/>
                </a:cubicBezTo>
                <a:cubicBezTo>
                  <a:pt x="1712375" y="961452"/>
                  <a:pt x="1713045" y="963790"/>
                  <a:pt x="1712710" y="966126"/>
                </a:cubicBezTo>
                <a:cubicBezTo>
                  <a:pt x="1712375" y="968130"/>
                  <a:pt x="1686939" y="1124374"/>
                  <a:pt x="1488466" y="1124374"/>
                </a:cubicBezTo>
                <a:lnTo>
                  <a:pt x="224329" y="1124374"/>
                </a:lnTo>
                <a:cubicBezTo>
                  <a:pt x="26190" y="1124374"/>
                  <a:pt x="419" y="968130"/>
                  <a:pt x="84" y="966126"/>
                </a:cubicBezTo>
                <a:cubicBezTo>
                  <a:pt x="-251" y="963790"/>
                  <a:pt x="419" y="961452"/>
                  <a:pt x="2093" y="959449"/>
                </a:cubicBezTo>
                <a:cubicBezTo>
                  <a:pt x="3766" y="957446"/>
                  <a:pt x="6109" y="956444"/>
                  <a:pt x="8786" y="956444"/>
                </a:cubicBezTo>
                <a:close/>
                <a:moveTo>
                  <a:pt x="16126306" y="123161"/>
                </a:moveTo>
                <a:lnTo>
                  <a:pt x="16126306" y="772433"/>
                </a:lnTo>
                <a:lnTo>
                  <a:pt x="17293594" y="772433"/>
                </a:lnTo>
                <a:lnTo>
                  <a:pt x="17293594" y="123161"/>
                </a:lnTo>
                <a:close/>
                <a:moveTo>
                  <a:pt x="14364881" y="123161"/>
                </a:moveTo>
                <a:lnTo>
                  <a:pt x="14364881" y="772433"/>
                </a:lnTo>
                <a:lnTo>
                  <a:pt x="15532170" y="772433"/>
                </a:lnTo>
                <a:lnTo>
                  <a:pt x="15532170" y="123161"/>
                </a:lnTo>
                <a:close/>
                <a:moveTo>
                  <a:pt x="12603457" y="123161"/>
                </a:moveTo>
                <a:lnTo>
                  <a:pt x="12603457" y="772433"/>
                </a:lnTo>
                <a:lnTo>
                  <a:pt x="13770746" y="772433"/>
                </a:lnTo>
                <a:lnTo>
                  <a:pt x="13770746" y="123161"/>
                </a:lnTo>
                <a:close/>
                <a:moveTo>
                  <a:pt x="10842033" y="123161"/>
                </a:moveTo>
                <a:lnTo>
                  <a:pt x="10842033" y="772433"/>
                </a:lnTo>
                <a:lnTo>
                  <a:pt x="12009322" y="772433"/>
                </a:lnTo>
                <a:lnTo>
                  <a:pt x="12009322" y="123161"/>
                </a:lnTo>
                <a:close/>
                <a:moveTo>
                  <a:pt x="9080609" y="123161"/>
                </a:moveTo>
                <a:lnTo>
                  <a:pt x="9080609" y="772433"/>
                </a:lnTo>
                <a:lnTo>
                  <a:pt x="10247898" y="772433"/>
                </a:lnTo>
                <a:lnTo>
                  <a:pt x="10247898" y="123161"/>
                </a:lnTo>
                <a:close/>
                <a:moveTo>
                  <a:pt x="7319185" y="123161"/>
                </a:moveTo>
                <a:lnTo>
                  <a:pt x="7319185" y="772433"/>
                </a:lnTo>
                <a:lnTo>
                  <a:pt x="8486474" y="772433"/>
                </a:lnTo>
                <a:lnTo>
                  <a:pt x="8486474" y="123161"/>
                </a:lnTo>
                <a:close/>
                <a:moveTo>
                  <a:pt x="5557761" y="123161"/>
                </a:moveTo>
                <a:lnTo>
                  <a:pt x="5557761" y="772433"/>
                </a:lnTo>
                <a:lnTo>
                  <a:pt x="6725052" y="772433"/>
                </a:lnTo>
                <a:lnTo>
                  <a:pt x="6725052" y="123161"/>
                </a:lnTo>
                <a:close/>
                <a:moveTo>
                  <a:pt x="3796338" y="123161"/>
                </a:moveTo>
                <a:lnTo>
                  <a:pt x="3796338" y="772433"/>
                </a:lnTo>
                <a:lnTo>
                  <a:pt x="4963628" y="772433"/>
                </a:lnTo>
                <a:lnTo>
                  <a:pt x="4963628" y="123161"/>
                </a:lnTo>
                <a:close/>
                <a:moveTo>
                  <a:pt x="2034915" y="123161"/>
                </a:moveTo>
                <a:lnTo>
                  <a:pt x="2034915" y="772433"/>
                </a:lnTo>
                <a:lnTo>
                  <a:pt x="3202204" y="772433"/>
                </a:lnTo>
                <a:lnTo>
                  <a:pt x="3202204" y="123161"/>
                </a:lnTo>
                <a:close/>
                <a:moveTo>
                  <a:pt x="273491" y="123161"/>
                </a:moveTo>
                <a:lnTo>
                  <a:pt x="273491" y="772433"/>
                </a:lnTo>
                <a:lnTo>
                  <a:pt x="1440780" y="772433"/>
                </a:lnTo>
                <a:lnTo>
                  <a:pt x="1440780" y="123161"/>
                </a:lnTo>
                <a:close/>
                <a:moveTo>
                  <a:pt x="16038266" y="0"/>
                </a:moveTo>
                <a:lnTo>
                  <a:pt x="17381300" y="0"/>
                </a:lnTo>
                <a:cubicBezTo>
                  <a:pt x="17401050" y="0"/>
                  <a:pt x="17416784" y="16064"/>
                  <a:pt x="17416784" y="35476"/>
                </a:cubicBezTo>
                <a:lnTo>
                  <a:pt x="17416784" y="860118"/>
                </a:lnTo>
                <a:cubicBezTo>
                  <a:pt x="17416784" y="879529"/>
                  <a:pt x="17401050" y="895593"/>
                  <a:pt x="17381300" y="895593"/>
                </a:cubicBezTo>
                <a:lnTo>
                  <a:pt x="16038266" y="895593"/>
                </a:lnTo>
                <a:cubicBezTo>
                  <a:pt x="16018848" y="895593"/>
                  <a:pt x="16003116" y="879529"/>
                  <a:pt x="16003116" y="860118"/>
                </a:cubicBezTo>
                <a:lnTo>
                  <a:pt x="16003116" y="35476"/>
                </a:lnTo>
                <a:cubicBezTo>
                  <a:pt x="16003116" y="16064"/>
                  <a:pt x="16018848" y="0"/>
                  <a:pt x="16038266" y="0"/>
                </a:cubicBezTo>
                <a:close/>
                <a:moveTo>
                  <a:pt x="14276841" y="0"/>
                </a:moveTo>
                <a:lnTo>
                  <a:pt x="15619876" y="0"/>
                </a:lnTo>
                <a:cubicBezTo>
                  <a:pt x="15639626" y="0"/>
                  <a:pt x="15655360" y="16064"/>
                  <a:pt x="15655360" y="35476"/>
                </a:cubicBezTo>
                <a:lnTo>
                  <a:pt x="15655360" y="860118"/>
                </a:lnTo>
                <a:cubicBezTo>
                  <a:pt x="15655360" y="879529"/>
                  <a:pt x="15639626" y="895593"/>
                  <a:pt x="15619876" y="895593"/>
                </a:cubicBezTo>
                <a:lnTo>
                  <a:pt x="14276841" y="895593"/>
                </a:lnTo>
                <a:cubicBezTo>
                  <a:pt x="14257425" y="895593"/>
                  <a:pt x="14241691" y="879529"/>
                  <a:pt x="14241691" y="860118"/>
                </a:cubicBezTo>
                <a:lnTo>
                  <a:pt x="14241691" y="35476"/>
                </a:lnTo>
                <a:cubicBezTo>
                  <a:pt x="14241691" y="16064"/>
                  <a:pt x="14257425" y="0"/>
                  <a:pt x="14276841" y="0"/>
                </a:cubicBezTo>
                <a:close/>
                <a:moveTo>
                  <a:pt x="12515417" y="0"/>
                </a:moveTo>
                <a:lnTo>
                  <a:pt x="13858452" y="0"/>
                </a:lnTo>
                <a:cubicBezTo>
                  <a:pt x="13878203" y="0"/>
                  <a:pt x="13893936" y="16064"/>
                  <a:pt x="13893936" y="35476"/>
                </a:cubicBezTo>
                <a:lnTo>
                  <a:pt x="13893936" y="860118"/>
                </a:lnTo>
                <a:cubicBezTo>
                  <a:pt x="13893936" y="879529"/>
                  <a:pt x="13878203" y="895593"/>
                  <a:pt x="13858452" y="895593"/>
                </a:cubicBezTo>
                <a:lnTo>
                  <a:pt x="12515417" y="895593"/>
                </a:lnTo>
                <a:cubicBezTo>
                  <a:pt x="12496001" y="895593"/>
                  <a:pt x="12480267" y="879529"/>
                  <a:pt x="12480267" y="860118"/>
                </a:cubicBezTo>
                <a:lnTo>
                  <a:pt x="12480267" y="35476"/>
                </a:lnTo>
                <a:cubicBezTo>
                  <a:pt x="12480267" y="16064"/>
                  <a:pt x="12496001" y="0"/>
                  <a:pt x="12515417" y="0"/>
                </a:cubicBezTo>
                <a:close/>
                <a:moveTo>
                  <a:pt x="10753993" y="0"/>
                </a:moveTo>
                <a:lnTo>
                  <a:pt x="12097028" y="0"/>
                </a:lnTo>
                <a:cubicBezTo>
                  <a:pt x="12116779" y="0"/>
                  <a:pt x="12132512" y="16064"/>
                  <a:pt x="12132512" y="35476"/>
                </a:cubicBezTo>
                <a:lnTo>
                  <a:pt x="12132512" y="860118"/>
                </a:lnTo>
                <a:cubicBezTo>
                  <a:pt x="12132512" y="879529"/>
                  <a:pt x="12116779" y="895593"/>
                  <a:pt x="12097028" y="895593"/>
                </a:cubicBezTo>
                <a:lnTo>
                  <a:pt x="10753993" y="895593"/>
                </a:lnTo>
                <a:cubicBezTo>
                  <a:pt x="10734577" y="895593"/>
                  <a:pt x="10718843" y="879529"/>
                  <a:pt x="10718843" y="860118"/>
                </a:cubicBezTo>
                <a:lnTo>
                  <a:pt x="10718843" y="35476"/>
                </a:lnTo>
                <a:cubicBezTo>
                  <a:pt x="10718843" y="16064"/>
                  <a:pt x="10734577" y="0"/>
                  <a:pt x="10753993" y="0"/>
                </a:cubicBezTo>
                <a:close/>
                <a:moveTo>
                  <a:pt x="8992569" y="0"/>
                </a:moveTo>
                <a:lnTo>
                  <a:pt x="10335604" y="0"/>
                </a:lnTo>
                <a:cubicBezTo>
                  <a:pt x="10355355" y="0"/>
                  <a:pt x="10371088" y="16064"/>
                  <a:pt x="10371088" y="35476"/>
                </a:cubicBezTo>
                <a:lnTo>
                  <a:pt x="10371088" y="860118"/>
                </a:lnTo>
                <a:cubicBezTo>
                  <a:pt x="10371088" y="879529"/>
                  <a:pt x="10355355" y="895593"/>
                  <a:pt x="10335604" y="895593"/>
                </a:cubicBezTo>
                <a:lnTo>
                  <a:pt x="8992569" y="895593"/>
                </a:lnTo>
                <a:cubicBezTo>
                  <a:pt x="8973153" y="895593"/>
                  <a:pt x="8957419" y="879529"/>
                  <a:pt x="8957419" y="860118"/>
                </a:cubicBezTo>
                <a:lnTo>
                  <a:pt x="8957419" y="35476"/>
                </a:lnTo>
                <a:cubicBezTo>
                  <a:pt x="8957419" y="16064"/>
                  <a:pt x="8973153" y="0"/>
                  <a:pt x="8992569" y="0"/>
                </a:cubicBezTo>
                <a:close/>
                <a:moveTo>
                  <a:pt x="7231145" y="0"/>
                </a:moveTo>
                <a:lnTo>
                  <a:pt x="8574180" y="0"/>
                </a:lnTo>
                <a:cubicBezTo>
                  <a:pt x="8593931" y="0"/>
                  <a:pt x="8609664" y="16064"/>
                  <a:pt x="8609664" y="35476"/>
                </a:cubicBezTo>
                <a:lnTo>
                  <a:pt x="8609664" y="860118"/>
                </a:lnTo>
                <a:cubicBezTo>
                  <a:pt x="8609664" y="879529"/>
                  <a:pt x="8593931" y="895593"/>
                  <a:pt x="8574180" y="895593"/>
                </a:cubicBezTo>
                <a:lnTo>
                  <a:pt x="7231145" y="895593"/>
                </a:lnTo>
                <a:cubicBezTo>
                  <a:pt x="7211729" y="895593"/>
                  <a:pt x="7195995" y="879529"/>
                  <a:pt x="7195995" y="860118"/>
                </a:cubicBezTo>
                <a:lnTo>
                  <a:pt x="7195995" y="35476"/>
                </a:lnTo>
                <a:cubicBezTo>
                  <a:pt x="7195995" y="16064"/>
                  <a:pt x="7211729" y="0"/>
                  <a:pt x="7231145" y="0"/>
                </a:cubicBezTo>
                <a:close/>
                <a:moveTo>
                  <a:pt x="5469722" y="0"/>
                </a:moveTo>
                <a:lnTo>
                  <a:pt x="6812756" y="0"/>
                </a:lnTo>
                <a:cubicBezTo>
                  <a:pt x="6832507" y="0"/>
                  <a:pt x="6848240" y="16064"/>
                  <a:pt x="6848240" y="35476"/>
                </a:cubicBezTo>
                <a:lnTo>
                  <a:pt x="6848240" y="860118"/>
                </a:lnTo>
                <a:cubicBezTo>
                  <a:pt x="6848240" y="879529"/>
                  <a:pt x="6832507" y="895593"/>
                  <a:pt x="6812756" y="895593"/>
                </a:cubicBezTo>
                <a:lnTo>
                  <a:pt x="5469722" y="895593"/>
                </a:lnTo>
                <a:cubicBezTo>
                  <a:pt x="5450307" y="895593"/>
                  <a:pt x="5434572" y="879529"/>
                  <a:pt x="5434572" y="860118"/>
                </a:cubicBezTo>
                <a:lnTo>
                  <a:pt x="5434572" y="35476"/>
                </a:lnTo>
                <a:cubicBezTo>
                  <a:pt x="5434572" y="16064"/>
                  <a:pt x="5450307" y="0"/>
                  <a:pt x="5469722" y="0"/>
                </a:cubicBezTo>
                <a:close/>
                <a:moveTo>
                  <a:pt x="3708299" y="0"/>
                </a:moveTo>
                <a:lnTo>
                  <a:pt x="5051333" y="0"/>
                </a:lnTo>
                <a:cubicBezTo>
                  <a:pt x="5071084" y="0"/>
                  <a:pt x="5086816" y="16064"/>
                  <a:pt x="5086816" y="35476"/>
                </a:cubicBezTo>
                <a:lnTo>
                  <a:pt x="5086816" y="860118"/>
                </a:lnTo>
                <a:cubicBezTo>
                  <a:pt x="5086816" y="879529"/>
                  <a:pt x="5071084" y="895593"/>
                  <a:pt x="5051333" y="895593"/>
                </a:cubicBezTo>
                <a:lnTo>
                  <a:pt x="3708299" y="895593"/>
                </a:lnTo>
                <a:cubicBezTo>
                  <a:pt x="3688882" y="895593"/>
                  <a:pt x="3673148" y="879529"/>
                  <a:pt x="3673148" y="860118"/>
                </a:cubicBezTo>
                <a:lnTo>
                  <a:pt x="3673148" y="35476"/>
                </a:lnTo>
                <a:cubicBezTo>
                  <a:pt x="3673148" y="16064"/>
                  <a:pt x="3688882" y="0"/>
                  <a:pt x="3708299" y="0"/>
                </a:cubicBezTo>
                <a:close/>
                <a:moveTo>
                  <a:pt x="1946875" y="0"/>
                </a:moveTo>
                <a:lnTo>
                  <a:pt x="3289908" y="0"/>
                </a:lnTo>
                <a:cubicBezTo>
                  <a:pt x="3309660" y="0"/>
                  <a:pt x="3325394" y="16064"/>
                  <a:pt x="3325394" y="35476"/>
                </a:cubicBezTo>
                <a:lnTo>
                  <a:pt x="3325394" y="860118"/>
                </a:lnTo>
                <a:cubicBezTo>
                  <a:pt x="3325394" y="879529"/>
                  <a:pt x="3309660" y="895593"/>
                  <a:pt x="3289908" y="895593"/>
                </a:cubicBezTo>
                <a:lnTo>
                  <a:pt x="1946875" y="895593"/>
                </a:lnTo>
                <a:cubicBezTo>
                  <a:pt x="1927458" y="895593"/>
                  <a:pt x="1911725" y="879529"/>
                  <a:pt x="1911725" y="860118"/>
                </a:cubicBezTo>
                <a:lnTo>
                  <a:pt x="1911725" y="35476"/>
                </a:lnTo>
                <a:cubicBezTo>
                  <a:pt x="1911725" y="16064"/>
                  <a:pt x="1927458" y="0"/>
                  <a:pt x="1946875" y="0"/>
                </a:cubicBezTo>
                <a:close/>
                <a:moveTo>
                  <a:pt x="185450" y="0"/>
                </a:moveTo>
                <a:lnTo>
                  <a:pt x="1528485" y="0"/>
                </a:lnTo>
                <a:cubicBezTo>
                  <a:pt x="1548236" y="0"/>
                  <a:pt x="1563970" y="16064"/>
                  <a:pt x="1563970" y="35476"/>
                </a:cubicBezTo>
                <a:lnTo>
                  <a:pt x="1563970" y="860118"/>
                </a:lnTo>
                <a:cubicBezTo>
                  <a:pt x="1563970" y="879529"/>
                  <a:pt x="1548236" y="895593"/>
                  <a:pt x="1528485" y="895593"/>
                </a:cubicBezTo>
                <a:lnTo>
                  <a:pt x="185450" y="895593"/>
                </a:lnTo>
                <a:cubicBezTo>
                  <a:pt x="166034" y="895593"/>
                  <a:pt x="150301" y="879529"/>
                  <a:pt x="150301" y="860118"/>
                </a:cubicBezTo>
                <a:lnTo>
                  <a:pt x="150301" y="35476"/>
                </a:lnTo>
                <a:cubicBezTo>
                  <a:pt x="150301" y="16064"/>
                  <a:pt x="166034" y="0"/>
                  <a:pt x="185450" y="0"/>
                </a:cubicBezTo>
                <a:close/>
              </a:path>
            </a:pathLst>
          </a:custGeom>
          <a:solidFill>
            <a:schemeClr val="bg2">
              <a:lumMod val="85000"/>
            </a:schemeClr>
          </a:solidFill>
          <a:ln>
            <a:noFill/>
          </a:ln>
          <a:effectLst/>
        </p:spPr>
        <p:txBody>
          <a:bodyPr wrap="square" anchor="ctr">
            <a:noAutofit/>
          </a:bodyPr>
          <a:lstStyle/>
          <a:p>
            <a:endParaRPr lang="en-US" sz="900" dirty="0"/>
          </a:p>
        </p:txBody>
      </p:sp>
      <p:sp>
        <p:nvSpPr>
          <p:cNvPr id="209" name="Rectangle 208">
            <a:extLst>
              <a:ext uri="{FF2B5EF4-FFF2-40B4-BE49-F238E27FC236}">
                <a16:creationId xmlns:a16="http://schemas.microsoft.com/office/drawing/2014/main" id="{D56CED17-90EF-AE4B-9B01-4B481B8FCC15}"/>
              </a:ext>
            </a:extLst>
          </p:cNvPr>
          <p:cNvSpPr/>
          <p:nvPr/>
        </p:nvSpPr>
        <p:spPr>
          <a:xfrm>
            <a:off x="763395" y="4434486"/>
            <a:ext cx="6602031" cy="648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08" name="Freeform 207">
            <a:extLst>
              <a:ext uri="{FF2B5EF4-FFF2-40B4-BE49-F238E27FC236}">
                <a16:creationId xmlns:a16="http://schemas.microsoft.com/office/drawing/2014/main" id="{1813EE03-E21A-A444-9328-242DA5F206C8}"/>
              </a:ext>
            </a:extLst>
          </p:cNvPr>
          <p:cNvSpPr/>
          <p:nvPr/>
        </p:nvSpPr>
        <p:spPr>
          <a:xfrm>
            <a:off x="749139" y="4393188"/>
            <a:ext cx="8940735" cy="814259"/>
          </a:xfrm>
          <a:custGeom>
            <a:avLst/>
            <a:gdLst>
              <a:gd name="connsiteX0" fmla="*/ 16633185 w 17881469"/>
              <a:gd name="connsiteY0" fmla="*/ 1176165 h 1628517"/>
              <a:gd name="connsiteX1" fmla="*/ 16888555 w 17881469"/>
              <a:gd name="connsiteY1" fmla="*/ 1176165 h 1628517"/>
              <a:gd name="connsiteX2" fmla="*/ 16888555 w 17881469"/>
              <a:gd name="connsiteY2" fmla="*/ 1234589 h 1628517"/>
              <a:gd name="connsiteX3" fmla="*/ 16633185 w 17881469"/>
              <a:gd name="connsiteY3" fmla="*/ 1234589 h 1628517"/>
              <a:gd name="connsiteX4" fmla="*/ 14871761 w 17881469"/>
              <a:gd name="connsiteY4" fmla="*/ 1176165 h 1628517"/>
              <a:gd name="connsiteX5" fmla="*/ 15127132 w 17881469"/>
              <a:gd name="connsiteY5" fmla="*/ 1176165 h 1628517"/>
              <a:gd name="connsiteX6" fmla="*/ 15127132 w 17881469"/>
              <a:gd name="connsiteY6" fmla="*/ 1234589 h 1628517"/>
              <a:gd name="connsiteX7" fmla="*/ 14871761 w 17881469"/>
              <a:gd name="connsiteY7" fmla="*/ 1234589 h 1628517"/>
              <a:gd name="connsiteX8" fmla="*/ 13110337 w 17881469"/>
              <a:gd name="connsiteY8" fmla="*/ 1176165 h 1628517"/>
              <a:gd name="connsiteX9" fmla="*/ 13365708 w 17881469"/>
              <a:gd name="connsiteY9" fmla="*/ 1176165 h 1628517"/>
              <a:gd name="connsiteX10" fmla="*/ 13365708 w 17881469"/>
              <a:gd name="connsiteY10" fmla="*/ 1234589 h 1628517"/>
              <a:gd name="connsiteX11" fmla="*/ 13110337 w 17881469"/>
              <a:gd name="connsiteY11" fmla="*/ 1234589 h 1628517"/>
              <a:gd name="connsiteX12" fmla="*/ 11348913 w 17881469"/>
              <a:gd name="connsiteY12" fmla="*/ 1176165 h 1628517"/>
              <a:gd name="connsiteX13" fmla="*/ 11604284 w 17881469"/>
              <a:gd name="connsiteY13" fmla="*/ 1176165 h 1628517"/>
              <a:gd name="connsiteX14" fmla="*/ 11604284 w 17881469"/>
              <a:gd name="connsiteY14" fmla="*/ 1234589 h 1628517"/>
              <a:gd name="connsiteX15" fmla="*/ 11348913 w 17881469"/>
              <a:gd name="connsiteY15" fmla="*/ 1234589 h 1628517"/>
              <a:gd name="connsiteX16" fmla="*/ 9587489 w 17881469"/>
              <a:gd name="connsiteY16" fmla="*/ 1176165 h 1628517"/>
              <a:gd name="connsiteX17" fmla="*/ 9842860 w 17881469"/>
              <a:gd name="connsiteY17" fmla="*/ 1176165 h 1628517"/>
              <a:gd name="connsiteX18" fmla="*/ 9842860 w 17881469"/>
              <a:gd name="connsiteY18" fmla="*/ 1234589 h 1628517"/>
              <a:gd name="connsiteX19" fmla="*/ 9587489 w 17881469"/>
              <a:gd name="connsiteY19" fmla="*/ 1234589 h 1628517"/>
              <a:gd name="connsiteX20" fmla="*/ 7826065 w 17881469"/>
              <a:gd name="connsiteY20" fmla="*/ 1176165 h 1628517"/>
              <a:gd name="connsiteX21" fmla="*/ 8081436 w 17881469"/>
              <a:gd name="connsiteY21" fmla="*/ 1176165 h 1628517"/>
              <a:gd name="connsiteX22" fmla="*/ 8081436 w 17881469"/>
              <a:gd name="connsiteY22" fmla="*/ 1234589 h 1628517"/>
              <a:gd name="connsiteX23" fmla="*/ 7826065 w 17881469"/>
              <a:gd name="connsiteY23" fmla="*/ 1234589 h 1628517"/>
              <a:gd name="connsiteX24" fmla="*/ 6064643 w 17881469"/>
              <a:gd name="connsiteY24" fmla="*/ 1176165 h 1628517"/>
              <a:gd name="connsiteX25" fmla="*/ 6320012 w 17881469"/>
              <a:gd name="connsiteY25" fmla="*/ 1176165 h 1628517"/>
              <a:gd name="connsiteX26" fmla="*/ 6320012 w 17881469"/>
              <a:gd name="connsiteY26" fmla="*/ 1234589 h 1628517"/>
              <a:gd name="connsiteX27" fmla="*/ 6064643 w 17881469"/>
              <a:gd name="connsiteY27" fmla="*/ 1234589 h 1628517"/>
              <a:gd name="connsiteX28" fmla="*/ 4303220 w 17881469"/>
              <a:gd name="connsiteY28" fmla="*/ 1176165 h 1628517"/>
              <a:gd name="connsiteX29" fmla="*/ 4558589 w 17881469"/>
              <a:gd name="connsiteY29" fmla="*/ 1176165 h 1628517"/>
              <a:gd name="connsiteX30" fmla="*/ 4558589 w 17881469"/>
              <a:gd name="connsiteY30" fmla="*/ 1234589 h 1628517"/>
              <a:gd name="connsiteX31" fmla="*/ 4303220 w 17881469"/>
              <a:gd name="connsiteY31" fmla="*/ 1234589 h 1628517"/>
              <a:gd name="connsiteX32" fmla="*/ 2541795 w 17881469"/>
              <a:gd name="connsiteY32" fmla="*/ 1176165 h 1628517"/>
              <a:gd name="connsiteX33" fmla="*/ 2797165 w 17881469"/>
              <a:gd name="connsiteY33" fmla="*/ 1176165 h 1628517"/>
              <a:gd name="connsiteX34" fmla="*/ 2797165 w 17881469"/>
              <a:gd name="connsiteY34" fmla="*/ 1234589 h 1628517"/>
              <a:gd name="connsiteX35" fmla="*/ 2541795 w 17881469"/>
              <a:gd name="connsiteY35" fmla="*/ 1234589 h 1628517"/>
              <a:gd name="connsiteX36" fmla="*/ 780370 w 17881469"/>
              <a:gd name="connsiteY36" fmla="*/ 1176165 h 1628517"/>
              <a:gd name="connsiteX37" fmla="*/ 1035741 w 17881469"/>
              <a:gd name="connsiteY37" fmla="*/ 1176165 h 1628517"/>
              <a:gd name="connsiteX38" fmla="*/ 1035741 w 17881469"/>
              <a:gd name="connsiteY38" fmla="*/ 1234589 h 1628517"/>
              <a:gd name="connsiteX39" fmla="*/ 780370 w 17881469"/>
              <a:gd name="connsiteY39" fmla="*/ 1234589 h 1628517"/>
              <a:gd name="connsiteX40" fmla="*/ 15913259 w 17881469"/>
              <a:gd name="connsiteY40" fmla="*/ 1121412 h 1628517"/>
              <a:gd name="connsiteX41" fmla="*/ 15906565 w 17881469"/>
              <a:gd name="connsiteY41" fmla="*/ 1124417 h 1628517"/>
              <a:gd name="connsiteX42" fmla="*/ 15904557 w 17881469"/>
              <a:gd name="connsiteY42" fmla="*/ 1131094 h 1628517"/>
              <a:gd name="connsiteX43" fmla="*/ 16128801 w 17881469"/>
              <a:gd name="connsiteY43" fmla="*/ 1289342 h 1628517"/>
              <a:gd name="connsiteX44" fmla="*/ 17392939 w 17881469"/>
              <a:gd name="connsiteY44" fmla="*/ 1289342 h 1628517"/>
              <a:gd name="connsiteX45" fmla="*/ 17617183 w 17881469"/>
              <a:gd name="connsiteY45" fmla="*/ 1131094 h 1628517"/>
              <a:gd name="connsiteX46" fmla="*/ 17615175 w 17881469"/>
              <a:gd name="connsiteY46" fmla="*/ 1124417 h 1628517"/>
              <a:gd name="connsiteX47" fmla="*/ 17608481 w 17881469"/>
              <a:gd name="connsiteY47" fmla="*/ 1121412 h 1628517"/>
              <a:gd name="connsiteX48" fmla="*/ 14151835 w 17881469"/>
              <a:gd name="connsiteY48" fmla="*/ 1121412 h 1628517"/>
              <a:gd name="connsiteX49" fmla="*/ 14145142 w 17881469"/>
              <a:gd name="connsiteY49" fmla="*/ 1124417 h 1628517"/>
              <a:gd name="connsiteX50" fmla="*/ 14143134 w 17881469"/>
              <a:gd name="connsiteY50" fmla="*/ 1131094 h 1628517"/>
              <a:gd name="connsiteX51" fmla="*/ 14367378 w 17881469"/>
              <a:gd name="connsiteY51" fmla="*/ 1289342 h 1628517"/>
              <a:gd name="connsiteX52" fmla="*/ 15631515 w 17881469"/>
              <a:gd name="connsiteY52" fmla="*/ 1289342 h 1628517"/>
              <a:gd name="connsiteX53" fmla="*/ 15855759 w 17881469"/>
              <a:gd name="connsiteY53" fmla="*/ 1131094 h 1628517"/>
              <a:gd name="connsiteX54" fmla="*/ 15853751 w 17881469"/>
              <a:gd name="connsiteY54" fmla="*/ 1124417 h 1628517"/>
              <a:gd name="connsiteX55" fmla="*/ 15847057 w 17881469"/>
              <a:gd name="connsiteY55" fmla="*/ 1121412 h 1628517"/>
              <a:gd name="connsiteX56" fmla="*/ 12390411 w 17881469"/>
              <a:gd name="connsiteY56" fmla="*/ 1121412 h 1628517"/>
              <a:gd name="connsiteX57" fmla="*/ 12383718 w 17881469"/>
              <a:gd name="connsiteY57" fmla="*/ 1124417 h 1628517"/>
              <a:gd name="connsiteX58" fmla="*/ 12381710 w 17881469"/>
              <a:gd name="connsiteY58" fmla="*/ 1131094 h 1628517"/>
              <a:gd name="connsiteX59" fmla="*/ 12605954 w 17881469"/>
              <a:gd name="connsiteY59" fmla="*/ 1289342 h 1628517"/>
              <a:gd name="connsiteX60" fmla="*/ 13870091 w 17881469"/>
              <a:gd name="connsiteY60" fmla="*/ 1289342 h 1628517"/>
              <a:gd name="connsiteX61" fmla="*/ 14094335 w 17881469"/>
              <a:gd name="connsiteY61" fmla="*/ 1131094 h 1628517"/>
              <a:gd name="connsiteX62" fmla="*/ 14092327 w 17881469"/>
              <a:gd name="connsiteY62" fmla="*/ 1124417 h 1628517"/>
              <a:gd name="connsiteX63" fmla="*/ 14085634 w 17881469"/>
              <a:gd name="connsiteY63" fmla="*/ 1121412 h 1628517"/>
              <a:gd name="connsiteX64" fmla="*/ 10628987 w 17881469"/>
              <a:gd name="connsiteY64" fmla="*/ 1121412 h 1628517"/>
              <a:gd name="connsiteX65" fmla="*/ 10622294 w 17881469"/>
              <a:gd name="connsiteY65" fmla="*/ 1124417 h 1628517"/>
              <a:gd name="connsiteX66" fmla="*/ 10620286 w 17881469"/>
              <a:gd name="connsiteY66" fmla="*/ 1131094 h 1628517"/>
              <a:gd name="connsiteX67" fmla="*/ 10844530 w 17881469"/>
              <a:gd name="connsiteY67" fmla="*/ 1289342 h 1628517"/>
              <a:gd name="connsiteX68" fmla="*/ 12108667 w 17881469"/>
              <a:gd name="connsiteY68" fmla="*/ 1289342 h 1628517"/>
              <a:gd name="connsiteX69" fmla="*/ 12332911 w 17881469"/>
              <a:gd name="connsiteY69" fmla="*/ 1131094 h 1628517"/>
              <a:gd name="connsiteX70" fmla="*/ 12330903 w 17881469"/>
              <a:gd name="connsiteY70" fmla="*/ 1124417 h 1628517"/>
              <a:gd name="connsiteX71" fmla="*/ 12324210 w 17881469"/>
              <a:gd name="connsiteY71" fmla="*/ 1121412 h 1628517"/>
              <a:gd name="connsiteX72" fmla="*/ 8867563 w 17881469"/>
              <a:gd name="connsiteY72" fmla="*/ 1121412 h 1628517"/>
              <a:gd name="connsiteX73" fmla="*/ 8860870 w 17881469"/>
              <a:gd name="connsiteY73" fmla="*/ 1124417 h 1628517"/>
              <a:gd name="connsiteX74" fmla="*/ 8858862 w 17881469"/>
              <a:gd name="connsiteY74" fmla="*/ 1131094 h 1628517"/>
              <a:gd name="connsiteX75" fmla="*/ 9083106 w 17881469"/>
              <a:gd name="connsiteY75" fmla="*/ 1289342 h 1628517"/>
              <a:gd name="connsiteX76" fmla="*/ 10347243 w 17881469"/>
              <a:gd name="connsiteY76" fmla="*/ 1289342 h 1628517"/>
              <a:gd name="connsiteX77" fmla="*/ 10571487 w 17881469"/>
              <a:gd name="connsiteY77" fmla="*/ 1131094 h 1628517"/>
              <a:gd name="connsiteX78" fmla="*/ 10569479 w 17881469"/>
              <a:gd name="connsiteY78" fmla="*/ 1124417 h 1628517"/>
              <a:gd name="connsiteX79" fmla="*/ 10562786 w 17881469"/>
              <a:gd name="connsiteY79" fmla="*/ 1121412 h 1628517"/>
              <a:gd name="connsiteX80" fmla="*/ 7106139 w 17881469"/>
              <a:gd name="connsiteY80" fmla="*/ 1121412 h 1628517"/>
              <a:gd name="connsiteX81" fmla="*/ 7099446 w 17881469"/>
              <a:gd name="connsiteY81" fmla="*/ 1124417 h 1628517"/>
              <a:gd name="connsiteX82" fmla="*/ 7097438 w 17881469"/>
              <a:gd name="connsiteY82" fmla="*/ 1131094 h 1628517"/>
              <a:gd name="connsiteX83" fmla="*/ 7321682 w 17881469"/>
              <a:gd name="connsiteY83" fmla="*/ 1289342 h 1628517"/>
              <a:gd name="connsiteX84" fmla="*/ 8585819 w 17881469"/>
              <a:gd name="connsiteY84" fmla="*/ 1289342 h 1628517"/>
              <a:gd name="connsiteX85" fmla="*/ 8810063 w 17881469"/>
              <a:gd name="connsiteY85" fmla="*/ 1131094 h 1628517"/>
              <a:gd name="connsiteX86" fmla="*/ 8808055 w 17881469"/>
              <a:gd name="connsiteY86" fmla="*/ 1124417 h 1628517"/>
              <a:gd name="connsiteX87" fmla="*/ 8801362 w 17881469"/>
              <a:gd name="connsiteY87" fmla="*/ 1121412 h 1628517"/>
              <a:gd name="connsiteX88" fmla="*/ 5344718 w 17881469"/>
              <a:gd name="connsiteY88" fmla="*/ 1121412 h 1628517"/>
              <a:gd name="connsiteX89" fmla="*/ 5338023 w 17881469"/>
              <a:gd name="connsiteY89" fmla="*/ 1124417 h 1628517"/>
              <a:gd name="connsiteX90" fmla="*/ 5336015 w 17881469"/>
              <a:gd name="connsiteY90" fmla="*/ 1131094 h 1628517"/>
              <a:gd name="connsiteX91" fmla="*/ 5560259 w 17881469"/>
              <a:gd name="connsiteY91" fmla="*/ 1289342 h 1628517"/>
              <a:gd name="connsiteX92" fmla="*/ 6824396 w 17881469"/>
              <a:gd name="connsiteY92" fmla="*/ 1289342 h 1628517"/>
              <a:gd name="connsiteX93" fmla="*/ 7048639 w 17881469"/>
              <a:gd name="connsiteY93" fmla="*/ 1131094 h 1628517"/>
              <a:gd name="connsiteX94" fmla="*/ 7046631 w 17881469"/>
              <a:gd name="connsiteY94" fmla="*/ 1124417 h 1628517"/>
              <a:gd name="connsiteX95" fmla="*/ 7039938 w 17881469"/>
              <a:gd name="connsiteY95" fmla="*/ 1121412 h 1628517"/>
              <a:gd name="connsiteX96" fmla="*/ 3583292 w 17881469"/>
              <a:gd name="connsiteY96" fmla="*/ 1121412 h 1628517"/>
              <a:gd name="connsiteX97" fmla="*/ 3576600 w 17881469"/>
              <a:gd name="connsiteY97" fmla="*/ 1124417 h 1628517"/>
              <a:gd name="connsiteX98" fmla="*/ 3574592 w 17881469"/>
              <a:gd name="connsiteY98" fmla="*/ 1131094 h 1628517"/>
              <a:gd name="connsiteX99" fmla="*/ 3798836 w 17881469"/>
              <a:gd name="connsiteY99" fmla="*/ 1289342 h 1628517"/>
              <a:gd name="connsiteX100" fmla="*/ 5062972 w 17881469"/>
              <a:gd name="connsiteY100" fmla="*/ 1289342 h 1628517"/>
              <a:gd name="connsiteX101" fmla="*/ 5287217 w 17881469"/>
              <a:gd name="connsiteY101" fmla="*/ 1131094 h 1628517"/>
              <a:gd name="connsiteX102" fmla="*/ 5285208 w 17881469"/>
              <a:gd name="connsiteY102" fmla="*/ 1124417 h 1628517"/>
              <a:gd name="connsiteX103" fmla="*/ 5278516 w 17881469"/>
              <a:gd name="connsiteY103" fmla="*/ 1121412 h 1628517"/>
              <a:gd name="connsiteX104" fmla="*/ 1821869 w 17881469"/>
              <a:gd name="connsiteY104" fmla="*/ 1121412 h 1628517"/>
              <a:gd name="connsiteX105" fmla="*/ 1815177 w 17881469"/>
              <a:gd name="connsiteY105" fmla="*/ 1124417 h 1628517"/>
              <a:gd name="connsiteX106" fmla="*/ 1813167 w 17881469"/>
              <a:gd name="connsiteY106" fmla="*/ 1131094 h 1628517"/>
              <a:gd name="connsiteX107" fmla="*/ 2037412 w 17881469"/>
              <a:gd name="connsiteY107" fmla="*/ 1289342 h 1628517"/>
              <a:gd name="connsiteX108" fmla="*/ 3301549 w 17881469"/>
              <a:gd name="connsiteY108" fmla="*/ 1289342 h 1628517"/>
              <a:gd name="connsiteX109" fmla="*/ 3525793 w 17881469"/>
              <a:gd name="connsiteY109" fmla="*/ 1131094 h 1628517"/>
              <a:gd name="connsiteX110" fmla="*/ 3523785 w 17881469"/>
              <a:gd name="connsiteY110" fmla="*/ 1124417 h 1628517"/>
              <a:gd name="connsiteX111" fmla="*/ 3517092 w 17881469"/>
              <a:gd name="connsiteY111" fmla="*/ 1121412 h 1628517"/>
              <a:gd name="connsiteX112" fmla="*/ 60445 w 17881469"/>
              <a:gd name="connsiteY112" fmla="*/ 1121412 h 1628517"/>
              <a:gd name="connsiteX113" fmla="*/ 53752 w 17881469"/>
              <a:gd name="connsiteY113" fmla="*/ 1124417 h 1628517"/>
              <a:gd name="connsiteX114" fmla="*/ 51743 w 17881469"/>
              <a:gd name="connsiteY114" fmla="*/ 1131094 h 1628517"/>
              <a:gd name="connsiteX115" fmla="*/ 275988 w 17881469"/>
              <a:gd name="connsiteY115" fmla="*/ 1289342 h 1628517"/>
              <a:gd name="connsiteX116" fmla="*/ 1540125 w 17881469"/>
              <a:gd name="connsiteY116" fmla="*/ 1289342 h 1628517"/>
              <a:gd name="connsiteX117" fmla="*/ 1764369 w 17881469"/>
              <a:gd name="connsiteY117" fmla="*/ 1131094 h 1628517"/>
              <a:gd name="connsiteX118" fmla="*/ 1762361 w 17881469"/>
              <a:gd name="connsiteY118" fmla="*/ 1124417 h 1628517"/>
              <a:gd name="connsiteX119" fmla="*/ 1755667 w 17881469"/>
              <a:gd name="connsiteY119" fmla="*/ 1121412 h 1628517"/>
              <a:gd name="connsiteX120" fmla="*/ 16177965 w 17881469"/>
              <a:gd name="connsiteY120" fmla="*/ 288129 h 1628517"/>
              <a:gd name="connsiteX121" fmla="*/ 17345253 w 17881469"/>
              <a:gd name="connsiteY121" fmla="*/ 288129 h 1628517"/>
              <a:gd name="connsiteX122" fmla="*/ 17345253 w 17881469"/>
              <a:gd name="connsiteY122" fmla="*/ 937401 h 1628517"/>
              <a:gd name="connsiteX123" fmla="*/ 16177965 w 17881469"/>
              <a:gd name="connsiteY123" fmla="*/ 937401 h 1628517"/>
              <a:gd name="connsiteX124" fmla="*/ 14416540 w 17881469"/>
              <a:gd name="connsiteY124" fmla="*/ 288129 h 1628517"/>
              <a:gd name="connsiteX125" fmla="*/ 15583829 w 17881469"/>
              <a:gd name="connsiteY125" fmla="*/ 288129 h 1628517"/>
              <a:gd name="connsiteX126" fmla="*/ 15583829 w 17881469"/>
              <a:gd name="connsiteY126" fmla="*/ 937401 h 1628517"/>
              <a:gd name="connsiteX127" fmla="*/ 14416540 w 17881469"/>
              <a:gd name="connsiteY127" fmla="*/ 937401 h 1628517"/>
              <a:gd name="connsiteX128" fmla="*/ 12655116 w 17881469"/>
              <a:gd name="connsiteY128" fmla="*/ 288129 h 1628517"/>
              <a:gd name="connsiteX129" fmla="*/ 13822405 w 17881469"/>
              <a:gd name="connsiteY129" fmla="*/ 288129 h 1628517"/>
              <a:gd name="connsiteX130" fmla="*/ 13822405 w 17881469"/>
              <a:gd name="connsiteY130" fmla="*/ 937401 h 1628517"/>
              <a:gd name="connsiteX131" fmla="*/ 12655116 w 17881469"/>
              <a:gd name="connsiteY131" fmla="*/ 937401 h 1628517"/>
              <a:gd name="connsiteX132" fmla="*/ 10893692 w 17881469"/>
              <a:gd name="connsiteY132" fmla="*/ 288129 h 1628517"/>
              <a:gd name="connsiteX133" fmla="*/ 12060981 w 17881469"/>
              <a:gd name="connsiteY133" fmla="*/ 288129 h 1628517"/>
              <a:gd name="connsiteX134" fmla="*/ 12060981 w 17881469"/>
              <a:gd name="connsiteY134" fmla="*/ 937401 h 1628517"/>
              <a:gd name="connsiteX135" fmla="*/ 10893692 w 17881469"/>
              <a:gd name="connsiteY135" fmla="*/ 937401 h 1628517"/>
              <a:gd name="connsiteX136" fmla="*/ 9132268 w 17881469"/>
              <a:gd name="connsiteY136" fmla="*/ 288129 h 1628517"/>
              <a:gd name="connsiteX137" fmla="*/ 10299557 w 17881469"/>
              <a:gd name="connsiteY137" fmla="*/ 288129 h 1628517"/>
              <a:gd name="connsiteX138" fmla="*/ 10299557 w 17881469"/>
              <a:gd name="connsiteY138" fmla="*/ 937401 h 1628517"/>
              <a:gd name="connsiteX139" fmla="*/ 9132268 w 17881469"/>
              <a:gd name="connsiteY139" fmla="*/ 937401 h 1628517"/>
              <a:gd name="connsiteX140" fmla="*/ 7370844 w 17881469"/>
              <a:gd name="connsiteY140" fmla="*/ 288129 h 1628517"/>
              <a:gd name="connsiteX141" fmla="*/ 8538133 w 17881469"/>
              <a:gd name="connsiteY141" fmla="*/ 288129 h 1628517"/>
              <a:gd name="connsiteX142" fmla="*/ 8538133 w 17881469"/>
              <a:gd name="connsiteY142" fmla="*/ 937401 h 1628517"/>
              <a:gd name="connsiteX143" fmla="*/ 7370844 w 17881469"/>
              <a:gd name="connsiteY143" fmla="*/ 937401 h 1628517"/>
              <a:gd name="connsiteX144" fmla="*/ 5609421 w 17881469"/>
              <a:gd name="connsiteY144" fmla="*/ 288129 h 1628517"/>
              <a:gd name="connsiteX145" fmla="*/ 6776711 w 17881469"/>
              <a:gd name="connsiteY145" fmla="*/ 288129 h 1628517"/>
              <a:gd name="connsiteX146" fmla="*/ 6776711 w 17881469"/>
              <a:gd name="connsiteY146" fmla="*/ 937401 h 1628517"/>
              <a:gd name="connsiteX147" fmla="*/ 5609421 w 17881469"/>
              <a:gd name="connsiteY147" fmla="*/ 937401 h 1628517"/>
              <a:gd name="connsiteX148" fmla="*/ 3847998 w 17881469"/>
              <a:gd name="connsiteY148" fmla="*/ 288129 h 1628517"/>
              <a:gd name="connsiteX149" fmla="*/ 5015287 w 17881469"/>
              <a:gd name="connsiteY149" fmla="*/ 288129 h 1628517"/>
              <a:gd name="connsiteX150" fmla="*/ 5015287 w 17881469"/>
              <a:gd name="connsiteY150" fmla="*/ 937401 h 1628517"/>
              <a:gd name="connsiteX151" fmla="*/ 3847998 w 17881469"/>
              <a:gd name="connsiteY151" fmla="*/ 937401 h 1628517"/>
              <a:gd name="connsiteX152" fmla="*/ 2086574 w 17881469"/>
              <a:gd name="connsiteY152" fmla="*/ 288129 h 1628517"/>
              <a:gd name="connsiteX153" fmla="*/ 3253864 w 17881469"/>
              <a:gd name="connsiteY153" fmla="*/ 288129 h 1628517"/>
              <a:gd name="connsiteX154" fmla="*/ 3253864 w 17881469"/>
              <a:gd name="connsiteY154" fmla="*/ 937401 h 1628517"/>
              <a:gd name="connsiteX155" fmla="*/ 2086574 w 17881469"/>
              <a:gd name="connsiteY155" fmla="*/ 937401 h 1628517"/>
              <a:gd name="connsiteX156" fmla="*/ 325150 w 17881469"/>
              <a:gd name="connsiteY156" fmla="*/ 288129 h 1628517"/>
              <a:gd name="connsiteX157" fmla="*/ 1492439 w 17881469"/>
              <a:gd name="connsiteY157" fmla="*/ 288129 h 1628517"/>
              <a:gd name="connsiteX158" fmla="*/ 1492439 w 17881469"/>
              <a:gd name="connsiteY158" fmla="*/ 937401 h 1628517"/>
              <a:gd name="connsiteX159" fmla="*/ 325150 w 17881469"/>
              <a:gd name="connsiteY159" fmla="*/ 937401 h 1628517"/>
              <a:gd name="connsiteX160" fmla="*/ 16089925 w 17881469"/>
              <a:gd name="connsiteY160" fmla="*/ 164968 h 1628517"/>
              <a:gd name="connsiteX161" fmla="*/ 16054775 w 17881469"/>
              <a:gd name="connsiteY161" fmla="*/ 200444 h 1628517"/>
              <a:gd name="connsiteX162" fmla="*/ 16054775 w 17881469"/>
              <a:gd name="connsiteY162" fmla="*/ 1025086 h 1628517"/>
              <a:gd name="connsiteX163" fmla="*/ 16089925 w 17881469"/>
              <a:gd name="connsiteY163" fmla="*/ 1060561 h 1628517"/>
              <a:gd name="connsiteX164" fmla="*/ 17432959 w 17881469"/>
              <a:gd name="connsiteY164" fmla="*/ 1060561 h 1628517"/>
              <a:gd name="connsiteX165" fmla="*/ 17468443 w 17881469"/>
              <a:gd name="connsiteY165" fmla="*/ 1025086 h 1628517"/>
              <a:gd name="connsiteX166" fmla="*/ 17468443 w 17881469"/>
              <a:gd name="connsiteY166" fmla="*/ 200444 h 1628517"/>
              <a:gd name="connsiteX167" fmla="*/ 17432959 w 17881469"/>
              <a:gd name="connsiteY167" fmla="*/ 164968 h 1628517"/>
              <a:gd name="connsiteX168" fmla="*/ 14328500 w 17881469"/>
              <a:gd name="connsiteY168" fmla="*/ 164968 h 1628517"/>
              <a:gd name="connsiteX169" fmla="*/ 14293350 w 17881469"/>
              <a:gd name="connsiteY169" fmla="*/ 200444 h 1628517"/>
              <a:gd name="connsiteX170" fmla="*/ 14293350 w 17881469"/>
              <a:gd name="connsiteY170" fmla="*/ 1025086 h 1628517"/>
              <a:gd name="connsiteX171" fmla="*/ 14328500 w 17881469"/>
              <a:gd name="connsiteY171" fmla="*/ 1060561 h 1628517"/>
              <a:gd name="connsiteX172" fmla="*/ 15671535 w 17881469"/>
              <a:gd name="connsiteY172" fmla="*/ 1060561 h 1628517"/>
              <a:gd name="connsiteX173" fmla="*/ 15707019 w 17881469"/>
              <a:gd name="connsiteY173" fmla="*/ 1025086 h 1628517"/>
              <a:gd name="connsiteX174" fmla="*/ 15707019 w 17881469"/>
              <a:gd name="connsiteY174" fmla="*/ 200444 h 1628517"/>
              <a:gd name="connsiteX175" fmla="*/ 15671535 w 17881469"/>
              <a:gd name="connsiteY175" fmla="*/ 164968 h 1628517"/>
              <a:gd name="connsiteX176" fmla="*/ 12567076 w 17881469"/>
              <a:gd name="connsiteY176" fmla="*/ 164968 h 1628517"/>
              <a:gd name="connsiteX177" fmla="*/ 12531926 w 17881469"/>
              <a:gd name="connsiteY177" fmla="*/ 200444 h 1628517"/>
              <a:gd name="connsiteX178" fmla="*/ 12531926 w 17881469"/>
              <a:gd name="connsiteY178" fmla="*/ 1025086 h 1628517"/>
              <a:gd name="connsiteX179" fmla="*/ 12567076 w 17881469"/>
              <a:gd name="connsiteY179" fmla="*/ 1060561 h 1628517"/>
              <a:gd name="connsiteX180" fmla="*/ 13910111 w 17881469"/>
              <a:gd name="connsiteY180" fmla="*/ 1060561 h 1628517"/>
              <a:gd name="connsiteX181" fmla="*/ 13945595 w 17881469"/>
              <a:gd name="connsiteY181" fmla="*/ 1025086 h 1628517"/>
              <a:gd name="connsiteX182" fmla="*/ 13945595 w 17881469"/>
              <a:gd name="connsiteY182" fmla="*/ 200444 h 1628517"/>
              <a:gd name="connsiteX183" fmla="*/ 13910111 w 17881469"/>
              <a:gd name="connsiteY183" fmla="*/ 164968 h 1628517"/>
              <a:gd name="connsiteX184" fmla="*/ 10805652 w 17881469"/>
              <a:gd name="connsiteY184" fmla="*/ 164968 h 1628517"/>
              <a:gd name="connsiteX185" fmla="*/ 10770502 w 17881469"/>
              <a:gd name="connsiteY185" fmla="*/ 200444 h 1628517"/>
              <a:gd name="connsiteX186" fmla="*/ 10770502 w 17881469"/>
              <a:gd name="connsiteY186" fmla="*/ 1025086 h 1628517"/>
              <a:gd name="connsiteX187" fmla="*/ 10805652 w 17881469"/>
              <a:gd name="connsiteY187" fmla="*/ 1060561 h 1628517"/>
              <a:gd name="connsiteX188" fmla="*/ 12148687 w 17881469"/>
              <a:gd name="connsiteY188" fmla="*/ 1060561 h 1628517"/>
              <a:gd name="connsiteX189" fmla="*/ 12184171 w 17881469"/>
              <a:gd name="connsiteY189" fmla="*/ 1025086 h 1628517"/>
              <a:gd name="connsiteX190" fmla="*/ 12184171 w 17881469"/>
              <a:gd name="connsiteY190" fmla="*/ 200444 h 1628517"/>
              <a:gd name="connsiteX191" fmla="*/ 12148687 w 17881469"/>
              <a:gd name="connsiteY191" fmla="*/ 164968 h 1628517"/>
              <a:gd name="connsiteX192" fmla="*/ 9044228 w 17881469"/>
              <a:gd name="connsiteY192" fmla="*/ 164968 h 1628517"/>
              <a:gd name="connsiteX193" fmla="*/ 9009078 w 17881469"/>
              <a:gd name="connsiteY193" fmla="*/ 200444 h 1628517"/>
              <a:gd name="connsiteX194" fmla="*/ 9009078 w 17881469"/>
              <a:gd name="connsiteY194" fmla="*/ 1025086 h 1628517"/>
              <a:gd name="connsiteX195" fmla="*/ 9044228 w 17881469"/>
              <a:gd name="connsiteY195" fmla="*/ 1060561 h 1628517"/>
              <a:gd name="connsiteX196" fmla="*/ 10387263 w 17881469"/>
              <a:gd name="connsiteY196" fmla="*/ 1060561 h 1628517"/>
              <a:gd name="connsiteX197" fmla="*/ 10422747 w 17881469"/>
              <a:gd name="connsiteY197" fmla="*/ 1025086 h 1628517"/>
              <a:gd name="connsiteX198" fmla="*/ 10422747 w 17881469"/>
              <a:gd name="connsiteY198" fmla="*/ 200444 h 1628517"/>
              <a:gd name="connsiteX199" fmla="*/ 10387263 w 17881469"/>
              <a:gd name="connsiteY199" fmla="*/ 164968 h 1628517"/>
              <a:gd name="connsiteX200" fmla="*/ 7282804 w 17881469"/>
              <a:gd name="connsiteY200" fmla="*/ 164968 h 1628517"/>
              <a:gd name="connsiteX201" fmla="*/ 7247654 w 17881469"/>
              <a:gd name="connsiteY201" fmla="*/ 200444 h 1628517"/>
              <a:gd name="connsiteX202" fmla="*/ 7247654 w 17881469"/>
              <a:gd name="connsiteY202" fmla="*/ 1025086 h 1628517"/>
              <a:gd name="connsiteX203" fmla="*/ 7282804 w 17881469"/>
              <a:gd name="connsiteY203" fmla="*/ 1060561 h 1628517"/>
              <a:gd name="connsiteX204" fmla="*/ 8625839 w 17881469"/>
              <a:gd name="connsiteY204" fmla="*/ 1060561 h 1628517"/>
              <a:gd name="connsiteX205" fmla="*/ 8661323 w 17881469"/>
              <a:gd name="connsiteY205" fmla="*/ 1025086 h 1628517"/>
              <a:gd name="connsiteX206" fmla="*/ 8661323 w 17881469"/>
              <a:gd name="connsiteY206" fmla="*/ 200444 h 1628517"/>
              <a:gd name="connsiteX207" fmla="*/ 8625839 w 17881469"/>
              <a:gd name="connsiteY207" fmla="*/ 164968 h 1628517"/>
              <a:gd name="connsiteX208" fmla="*/ 5521382 w 17881469"/>
              <a:gd name="connsiteY208" fmla="*/ 164968 h 1628517"/>
              <a:gd name="connsiteX209" fmla="*/ 5486232 w 17881469"/>
              <a:gd name="connsiteY209" fmla="*/ 200444 h 1628517"/>
              <a:gd name="connsiteX210" fmla="*/ 5486232 w 17881469"/>
              <a:gd name="connsiteY210" fmla="*/ 1025086 h 1628517"/>
              <a:gd name="connsiteX211" fmla="*/ 5521382 w 17881469"/>
              <a:gd name="connsiteY211" fmla="*/ 1060561 h 1628517"/>
              <a:gd name="connsiteX212" fmla="*/ 6864416 w 17881469"/>
              <a:gd name="connsiteY212" fmla="*/ 1060561 h 1628517"/>
              <a:gd name="connsiteX213" fmla="*/ 6899899 w 17881469"/>
              <a:gd name="connsiteY213" fmla="*/ 1025086 h 1628517"/>
              <a:gd name="connsiteX214" fmla="*/ 6899899 w 17881469"/>
              <a:gd name="connsiteY214" fmla="*/ 200444 h 1628517"/>
              <a:gd name="connsiteX215" fmla="*/ 6864416 w 17881469"/>
              <a:gd name="connsiteY215" fmla="*/ 164968 h 1628517"/>
              <a:gd name="connsiteX216" fmla="*/ 3759959 w 17881469"/>
              <a:gd name="connsiteY216" fmla="*/ 164968 h 1628517"/>
              <a:gd name="connsiteX217" fmla="*/ 3724808 w 17881469"/>
              <a:gd name="connsiteY217" fmla="*/ 200444 h 1628517"/>
              <a:gd name="connsiteX218" fmla="*/ 3724808 w 17881469"/>
              <a:gd name="connsiteY218" fmla="*/ 1025086 h 1628517"/>
              <a:gd name="connsiteX219" fmla="*/ 3759959 w 17881469"/>
              <a:gd name="connsiteY219" fmla="*/ 1060561 h 1628517"/>
              <a:gd name="connsiteX220" fmla="*/ 5102993 w 17881469"/>
              <a:gd name="connsiteY220" fmla="*/ 1060561 h 1628517"/>
              <a:gd name="connsiteX221" fmla="*/ 5138476 w 17881469"/>
              <a:gd name="connsiteY221" fmla="*/ 1025086 h 1628517"/>
              <a:gd name="connsiteX222" fmla="*/ 5138476 w 17881469"/>
              <a:gd name="connsiteY222" fmla="*/ 200444 h 1628517"/>
              <a:gd name="connsiteX223" fmla="*/ 5102993 w 17881469"/>
              <a:gd name="connsiteY223" fmla="*/ 164968 h 1628517"/>
              <a:gd name="connsiteX224" fmla="*/ 1998534 w 17881469"/>
              <a:gd name="connsiteY224" fmla="*/ 164968 h 1628517"/>
              <a:gd name="connsiteX225" fmla="*/ 1963384 w 17881469"/>
              <a:gd name="connsiteY225" fmla="*/ 200444 h 1628517"/>
              <a:gd name="connsiteX226" fmla="*/ 1963384 w 17881469"/>
              <a:gd name="connsiteY226" fmla="*/ 1025086 h 1628517"/>
              <a:gd name="connsiteX227" fmla="*/ 1998534 w 17881469"/>
              <a:gd name="connsiteY227" fmla="*/ 1060561 h 1628517"/>
              <a:gd name="connsiteX228" fmla="*/ 3341567 w 17881469"/>
              <a:gd name="connsiteY228" fmla="*/ 1060561 h 1628517"/>
              <a:gd name="connsiteX229" fmla="*/ 3377054 w 17881469"/>
              <a:gd name="connsiteY229" fmla="*/ 1025086 h 1628517"/>
              <a:gd name="connsiteX230" fmla="*/ 3377054 w 17881469"/>
              <a:gd name="connsiteY230" fmla="*/ 200444 h 1628517"/>
              <a:gd name="connsiteX231" fmla="*/ 3341567 w 17881469"/>
              <a:gd name="connsiteY231" fmla="*/ 164968 h 1628517"/>
              <a:gd name="connsiteX232" fmla="*/ 237109 w 17881469"/>
              <a:gd name="connsiteY232" fmla="*/ 164968 h 1628517"/>
              <a:gd name="connsiteX233" fmla="*/ 201960 w 17881469"/>
              <a:gd name="connsiteY233" fmla="*/ 200444 h 1628517"/>
              <a:gd name="connsiteX234" fmla="*/ 201960 w 17881469"/>
              <a:gd name="connsiteY234" fmla="*/ 1025086 h 1628517"/>
              <a:gd name="connsiteX235" fmla="*/ 237109 w 17881469"/>
              <a:gd name="connsiteY235" fmla="*/ 1060561 h 1628517"/>
              <a:gd name="connsiteX236" fmla="*/ 1580144 w 17881469"/>
              <a:gd name="connsiteY236" fmla="*/ 1060561 h 1628517"/>
              <a:gd name="connsiteX237" fmla="*/ 1615629 w 17881469"/>
              <a:gd name="connsiteY237" fmla="*/ 1025086 h 1628517"/>
              <a:gd name="connsiteX238" fmla="*/ 1615629 w 17881469"/>
              <a:gd name="connsiteY238" fmla="*/ 200444 h 1628517"/>
              <a:gd name="connsiteX239" fmla="*/ 1580144 w 17881469"/>
              <a:gd name="connsiteY239" fmla="*/ 164968 h 1628517"/>
              <a:gd name="connsiteX240" fmla="*/ 0 w 17881469"/>
              <a:gd name="connsiteY240" fmla="*/ 0 h 1628517"/>
              <a:gd name="connsiteX241" fmla="*/ 17881469 w 17881469"/>
              <a:gd name="connsiteY241" fmla="*/ 0 h 1628517"/>
              <a:gd name="connsiteX242" fmla="*/ 17881469 w 17881469"/>
              <a:gd name="connsiteY242" fmla="*/ 1628517 h 1628517"/>
              <a:gd name="connsiteX243" fmla="*/ 0 w 17881469"/>
              <a:gd name="connsiteY243" fmla="*/ 1628517 h 162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Lst>
            <a:rect l="l" t="t" r="r" b="b"/>
            <a:pathLst>
              <a:path w="17881469" h="1628517">
                <a:moveTo>
                  <a:pt x="16633185" y="1176165"/>
                </a:moveTo>
                <a:lnTo>
                  <a:pt x="16888555" y="1176165"/>
                </a:lnTo>
                <a:lnTo>
                  <a:pt x="16888555" y="1234589"/>
                </a:lnTo>
                <a:lnTo>
                  <a:pt x="16633185" y="1234589"/>
                </a:lnTo>
                <a:close/>
                <a:moveTo>
                  <a:pt x="14871761" y="1176165"/>
                </a:moveTo>
                <a:lnTo>
                  <a:pt x="15127132" y="1176165"/>
                </a:lnTo>
                <a:lnTo>
                  <a:pt x="15127132" y="1234589"/>
                </a:lnTo>
                <a:lnTo>
                  <a:pt x="14871761" y="1234589"/>
                </a:lnTo>
                <a:close/>
                <a:moveTo>
                  <a:pt x="13110337" y="1176165"/>
                </a:moveTo>
                <a:lnTo>
                  <a:pt x="13365708" y="1176165"/>
                </a:lnTo>
                <a:lnTo>
                  <a:pt x="13365708" y="1234589"/>
                </a:lnTo>
                <a:lnTo>
                  <a:pt x="13110337" y="1234589"/>
                </a:lnTo>
                <a:close/>
                <a:moveTo>
                  <a:pt x="11348913" y="1176165"/>
                </a:moveTo>
                <a:lnTo>
                  <a:pt x="11604284" y="1176165"/>
                </a:lnTo>
                <a:lnTo>
                  <a:pt x="11604284" y="1234589"/>
                </a:lnTo>
                <a:lnTo>
                  <a:pt x="11348913" y="1234589"/>
                </a:lnTo>
                <a:close/>
                <a:moveTo>
                  <a:pt x="9587489" y="1176165"/>
                </a:moveTo>
                <a:lnTo>
                  <a:pt x="9842860" y="1176165"/>
                </a:lnTo>
                <a:lnTo>
                  <a:pt x="9842860" y="1234589"/>
                </a:lnTo>
                <a:lnTo>
                  <a:pt x="9587489" y="1234589"/>
                </a:lnTo>
                <a:close/>
                <a:moveTo>
                  <a:pt x="7826065" y="1176165"/>
                </a:moveTo>
                <a:lnTo>
                  <a:pt x="8081436" y="1176165"/>
                </a:lnTo>
                <a:lnTo>
                  <a:pt x="8081436" y="1234589"/>
                </a:lnTo>
                <a:lnTo>
                  <a:pt x="7826065" y="1234589"/>
                </a:lnTo>
                <a:close/>
                <a:moveTo>
                  <a:pt x="6064643" y="1176165"/>
                </a:moveTo>
                <a:lnTo>
                  <a:pt x="6320012" y="1176165"/>
                </a:lnTo>
                <a:lnTo>
                  <a:pt x="6320012" y="1234589"/>
                </a:lnTo>
                <a:lnTo>
                  <a:pt x="6064643" y="1234589"/>
                </a:lnTo>
                <a:close/>
                <a:moveTo>
                  <a:pt x="4303220" y="1176165"/>
                </a:moveTo>
                <a:lnTo>
                  <a:pt x="4558589" y="1176165"/>
                </a:lnTo>
                <a:lnTo>
                  <a:pt x="4558589" y="1234589"/>
                </a:lnTo>
                <a:lnTo>
                  <a:pt x="4303220" y="1234589"/>
                </a:lnTo>
                <a:close/>
                <a:moveTo>
                  <a:pt x="2541795" y="1176165"/>
                </a:moveTo>
                <a:lnTo>
                  <a:pt x="2797165" y="1176165"/>
                </a:lnTo>
                <a:lnTo>
                  <a:pt x="2797165" y="1234589"/>
                </a:lnTo>
                <a:lnTo>
                  <a:pt x="2541795" y="1234589"/>
                </a:lnTo>
                <a:close/>
                <a:moveTo>
                  <a:pt x="780370" y="1176165"/>
                </a:moveTo>
                <a:lnTo>
                  <a:pt x="1035741" y="1176165"/>
                </a:lnTo>
                <a:lnTo>
                  <a:pt x="1035741" y="1234589"/>
                </a:lnTo>
                <a:lnTo>
                  <a:pt x="780370" y="1234589"/>
                </a:lnTo>
                <a:close/>
                <a:moveTo>
                  <a:pt x="15913259" y="1121412"/>
                </a:moveTo>
                <a:cubicBezTo>
                  <a:pt x="15910583" y="1121412"/>
                  <a:pt x="15908239" y="1122414"/>
                  <a:pt x="15906565" y="1124417"/>
                </a:cubicBezTo>
                <a:cubicBezTo>
                  <a:pt x="15904893" y="1126420"/>
                  <a:pt x="15904223" y="1128758"/>
                  <a:pt x="15904557" y="1131094"/>
                </a:cubicBezTo>
                <a:cubicBezTo>
                  <a:pt x="15904893" y="1133098"/>
                  <a:pt x="15930663" y="1289342"/>
                  <a:pt x="16128801" y="1289342"/>
                </a:cubicBezTo>
                <a:lnTo>
                  <a:pt x="17392939" y="1289342"/>
                </a:lnTo>
                <a:cubicBezTo>
                  <a:pt x="17591413" y="1289342"/>
                  <a:pt x="17616849" y="1133098"/>
                  <a:pt x="17617183" y="1131094"/>
                </a:cubicBezTo>
                <a:cubicBezTo>
                  <a:pt x="17617517" y="1128758"/>
                  <a:pt x="17616849" y="1126420"/>
                  <a:pt x="17615175" y="1124417"/>
                </a:cubicBezTo>
                <a:cubicBezTo>
                  <a:pt x="17613501" y="1122414"/>
                  <a:pt x="17611159" y="1121412"/>
                  <a:pt x="17608481" y="1121412"/>
                </a:cubicBezTo>
                <a:close/>
                <a:moveTo>
                  <a:pt x="14151835" y="1121412"/>
                </a:moveTo>
                <a:cubicBezTo>
                  <a:pt x="14149159" y="1121412"/>
                  <a:pt x="14146816" y="1122414"/>
                  <a:pt x="14145142" y="1124417"/>
                </a:cubicBezTo>
                <a:cubicBezTo>
                  <a:pt x="14143468" y="1126420"/>
                  <a:pt x="14142799" y="1128758"/>
                  <a:pt x="14143134" y="1131094"/>
                </a:cubicBezTo>
                <a:cubicBezTo>
                  <a:pt x="14143468" y="1133098"/>
                  <a:pt x="14169239" y="1289342"/>
                  <a:pt x="14367378" y="1289342"/>
                </a:cubicBezTo>
                <a:lnTo>
                  <a:pt x="15631515" y="1289342"/>
                </a:lnTo>
                <a:cubicBezTo>
                  <a:pt x="15829989" y="1289342"/>
                  <a:pt x="15855425" y="1133098"/>
                  <a:pt x="15855759" y="1131094"/>
                </a:cubicBezTo>
                <a:cubicBezTo>
                  <a:pt x="15856093" y="1128758"/>
                  <a:pt x="15855425" y="1126420"/>
                  <a:pt x="15853751" y="1124417"/>
                </a:cubicBezTo>
                <a:cubicBezTo>
                  <a:pt x="15852077" y="1122414"/>
                  <a:pt x="15849735" y="1121412"/>
                  <a:pt x="15847057" y="1121412"/>
                </a:cubicBezTo>
                <a:close/>
                <a:moveTo>
                  <a:pt x="12390411" y="1121412"/>
                </a:moveTo>
                <a:cubicBezTo>
                  <a:pt x="12387735" y="1121412"/>
                  <a:pt x="12385392" y="1122414"/>
                  <a:pt x="12383718" y="1124417"/>
                </a:cubicBezTo>
                <a:cubicBezTo>
                  <a:pt x="12382044" y="1126420"/>
                  <a:pt x="12381375" y="1128758"/>
                  <a:pt x="12381710" y="1131094"/>
                </a:cubicBezTo>
                <a:cubicBezTo>
                  <a:pt x="12382044" y="1133098"/>
                  <a:pt x="12407815" y="1289342"/>
                  <a:pt x="12605954" y="1289342"/>
                </a:cubicBezTo>
                <a:lnTo>
                  <a:pt x="13870091" y="1289342"/>
                </a:lnTo>
                <a:cubicBezTo>
                  <a:pt x="14068564" y="1289342"/>
                  <a:pt x="14094001" y="1133098"/>
                  <a:pt x="14094335" y="1131094"/>
                </a:cubicBezTo>
                <a:cubicBezTo>
                  <a:pt x="14094670" y="1128758"/>
                  <a:pt x="14094001" y="1126420"/>
                  <a:pt x="14092327" y="1124417"/>
                </a:cubicBezTo>
                <a:cubicBezTo>
                  <a:pt x="14090653" y="1122414"/>
                  <a:pt x="14088311" y="1121412"/>
                  <a:pt x="14085634" y="1121412"/>
                </a:cubicBezTo>
                <a:close/>
                <a:moveTo>
                  <a:pt x="10628987" y="1121412"/>
                </a:moveTo>
                <a:cubicBezTo>
                  <a:pt x="10626311" y="1121412"/>
                  <a:pt x="10623968" y="1122414"/>
                  <a:pt x="10622294" y="1124417"/>
                </a:cubicBezTo>
                <a:cubicBezTo>
                  <a:pt x="10620620" y="1126420"/>
                  <a:pt x="10619951" y="1128758"/>
                  <a:pt x="10620286" y="1131094"/>
                </a:cubicBezTo>
                <a:cubicBezTo>
                  <a:pt x="10620620" y="1133098"/>
                  <a:pt x="10646391" y="1289342"/>
                  <a:pt x="10844530" y="1289342"/>
                </a:cubicBezTo>
                <a:lnTo>
                  <a:pt x="12108667" y="1289342"/>
                </a:lnTo>
                <a:cubicBezTo>
                  <a:pt x="12307140" y="1289342"/>
                  <a:pt x="12332577" y="1133098"/>
                  <a:pt x="12332911" y="1131094"/>
                </a:cubicBezTo>
                <a:cubicBezTo>
                  <a:pt x="12333246" y="1128758"/>
                  <a:pt x="12332577" y="1126420"/>
                  <a:pt x="12330903" y="1124417"/>
                </a:cubicBezTo>
                <a:cubicBezTo>
                  <a:pt x="12329229" y="1122414"/>
                  <a:pt x="12326887" y="1121412"/>
                  <a:pt x="12324210" y="1121412"/>
                </a:cubicBezTo>
                <a:close/>
                <a:moveTo>
                  <a:pt x="8867563" y="1121412"/>
                </a:moveTo>
                <a:cubicBezTo>
                  <a:pt x="8864887" y="1121412"/>
                  <a:pt x="8862544" y="1122414"/>
                  <a:pt x="8860870" y="1124417"/>
                </a:cubicBezTo>
                <a:cubicBezTo>
                  <a:pt x="8859196" y="1126420"/>
                  <a:pt x="8858527" y="1128758"/>
                  <a:pt x="8858862" y="1131094"/>
                </a:cubicBezTo>
                <a:cubicBezTo>
                  <a:pt x="8859196" y="1133098"/>
                  <a:pt x="8884967" y="1289342"/>
                  <a:pt x="9083106" y="1289342"/>
                </a:cubicBezTo>
                <a:lnTo>
                  <a:pt x="10347243" y="1289342"/>
                </a:lnTo>
                <a:cubicBezTo>
                  <a:pt x="10545716" y="1289342"/>
                  <a:pt x="10571153" y="1133098"/>
                  <a:pt x="10571487" y="1131094"/>
                </a:cubicBezTo>
                <a:cubicBezTo>
                  <a:pt x="10571822" y="1128758"/>
                  <a:pt x="10571153" y="1126420"/>
                  <a:pt x="10569479" y="1124417"/>
                </a:cubicBezTo>
                <a:cubicBezTo>
                  <a:pt x="10567805" y="1122414"/>
                  <a:pt x="10565463" y="1121412"/>
                  <a:pt x="10562786" y="1121412"/>
                </a:cubicBezTo>
                <a:close/>
                <a:moveTo>
                  <a:pt x="7106139" y="1121412"/>
                </a:moveTo>
                <a:cubicBezTo>
                  <a:pt x="7103463" y="1121412"/>
                  <a:pt x="7101120" y="1122414"/>
                  <a:pt x="7099446" y="1124417"/>
                </a:cubicBezTo>
                <a:cubicBezTo>
                  <a:pt x="7097772" y="1126420"/>
                  <a:pt x="7097103" y="1128758"/>
                  <a:pt x="7097438" y="1131094"/>
                </a:cubicBezTo>
                <a:cubicBezTo>
                  <a:pt x="7097772" y="1133098"/>
                  <a:pt x="7123543" y="1289342"/>
                  <a:pt x="7321682" y="1289342"/>
                </a:cubicBezTo>
                <a:lnTo>
                  <a:pt x="8585819" y="1289342"/>
                </a:lnTo>
                <a:cubicBezTo>
                  <a:pt x="8784292" y="1289342"/>
                  <a:pt x="8809729" y="1133098"/>
                  <a:pt x="8810063" y="1131094"/>
                </a:cubicBezTo>
                <a:cubicBezTo>
                  <a:pt x="8810398" y="1128758"/>
                  <a:pt x="8809729" y="1126420"/>
                  <a:pt x="8808055" y="1124417"/>
                </a:cubicBezTo>
                <a:cubicBezTo>
                  <a:pt x="8806381" y="1122414"/>
                  <a:pt x="8804039" y="1121412"/>
                  <a:pt x="8801362" y="1121412"/>
                </a:cubicBezTo>
                <a:close/>
                <a:moveTo>
                  <a:pt x="5344718" y="1121412"/>
                </a:moveTo>
                <a:cubicBezTo>
                  <a:pt x="5342039" y="1121412"/>
                  <a:pt x="5339698" y="1122414"/>
                  <a:pt x="5338023" y="1124417"/>
                </a:cubicBezTo>
                <a:cubicBezTo>
                  <a:pt x="5336351" y="1126420"/>
                  <a:pt x="5335679" y="1128758"/>
                  <a:pt x="5336015" y="1131094"/>
                </a:cubicBezTo>
                <a:cubicBezTo>
                  <a:pt x="5336351" y="1133098"/>
                  <a:pt x="5362122" y="1289342"/>
                  <a:pt x="5560259" y="1289342"/>
                </a:cubicBezTo>
                <a:lnTo>
                  <a:pt x="6824396" y="1289342"/>
                </a:lnTo>
                <a:cubicBezTo>
                  <a:pt x="7022868" y="1289342"/>
                  <a:pt x="7048305" y="1133098"/>
                  <a:pt x="7048639" y="1131094"/>
                </a:cubicBezTo>
                <a:cubicBezTo>
                  <a:pt x="7048974" y="1128758"/>
                  <a:pt x="7048305" y="1126420"/>
                  <a:pt x="7046631" y="1124417"/>
                </a:cubicBezTo>
                <a:cubicBezTo>
                  <a:pt x="7044957" y="1122414"/>
                  <a:pt x="7042615" y="1121412"/>
                  <a:pt x="7039938" y="1121412"/>
                </a:cubicBezTo>
                <a:close/>
                <a:moveTo>
                  <a:pt x="3583292" y="1121412"/>
                </a:moveTo>
                <a:cubicBezTo>
                  <a:pt x="3580616" y="1121412"/>
                  <a:pt x="3578273" y="1122414"/>
                  <a:pt x="3576600" y="1124417"/>
                </a:cubicBezTo>
                <a:cubicBezTo>
                  <a:pt x="3574925" y="1126420"/>
                  <a:pt x="3574256" y="1128758"/>
                  <a:pt x="3574592" y="1131094"/>
                </a:cubicBezTo>
                <a:cubicBezTo>
                  <a:pt x="3574925" y="1133098"/>
                  <a:pt x="3600698" y="1289342"/>
                  <a:pt x="3798836" y="1289342"/>
                </a:cubicBezTo>
                <a:lnTo>
                  <a:pt x="5062972" y="1289342"/>
                </a:lnTo>
                <a:cubicBezTo>
                  <a:pt x="5261445" y="1289342"/>
                  <a:pt x="5286881" y="1133098"/>
                  <a:pt x="5287217" y="1131094"/>
                </a:cubicBezTo>
                <a:cubicBezTo>
                  <a:pt x="5287552" y="1128758"/>
                  <a:pt x="5286881" y="1126420"/>
                  <a:pt x="5285208" y="1124417"/>
                </a:cubicBezTo>
                <a:cubicBezTo>
                  <a:pt x="5283535" y="1122414"/>
                  <a:pt x="5281193" y="1121412"/>
                  <a:pt x="5278516" y="1121412"/>
                </a:cubicBezTo>
                <a:close/>
                <a:moveTo>
                  <a:pt x="1821869" y="1121412"/>
                </a:moveTo>
                <a:cubicBezTo>
                  <a:pt x="1819193" y="1121412"/>
                  <a:pt x="1816849" y="1122414"/>
                  <a:pt x="1815177" y="1124417"/>
                </a:cubicBezTo>
                <a:cubicBezTo>
                  <a:pt x="1813502" y="1126420"/>
                  <a:pt x="1812833" y="1128758"/>
                  <a:pt x="1813167" y="1131094"/>
                </a:cubicBezTo>
                <a:cubicBezTo>
                  <a:pt x="1813502" y="1133098"/>
                  <a:pt x="1839273" y="1289342"/>
                  <a:pt x="2037412" y="1289342"/>
                </a:cubicBezTo>
                <a:lnTo>
                  <a:pt x="3301549" y="1289342"/>
                </a:lnTo>
                <a:cubicBezTo>
                  <a:pt x="3500022" y="1289342"/>
                  <a:pt x="3525458" y="1133098"/>
                  <a:pt x="3525793" y="1131094"/>
                </a:cubicBezTo>
                <a:cubicBezTo>
                  <a:pt x="3526128" y="1128758"/>
                  <a:pt x="3525458" y="1126420"/>
                  <a:pt x="3523785" y="1124417"/>
                </a:cubicBezTo>
                <a:cubicBezTo>
                  <a:pt x="3522112" y="1122414"/>
                  <a:pt x="3519770" y="1121412"/>
                  <a:pt x="3517092" y="1121412"/>
                </a:cubicBezTo>
                <a:close/>
                <a:moveTo>
                  <a:pt x="60445" y="1121412"/>
                </a:moveTo>
                <a:cubicBezTo>
                  <a:pt x="57768" y="1121412"/>
                  <a:pt x="55425" y="1122414"/>
                  <a:pt x="53752" y="1124417"/>
                </a:cubicBezTo>
                <a:cubicBezTo>
                  <a:pt x="52078" y="1126420"/>
                  <a:pt x="51408" y="1128758"/>
                  <a:pt x="51743" y="1131094"/>
                </a:cubicBezTo>
                <a:cubicBezTo>
                  <a:pt x="52078" y="1133098"/>
                  <a:pt x="77849" y="1289342"/>
                  <a:pt x="275988" y="1289342"/>
                </a:cubicBezTo>
                <a:lnTo>
                  <a:pt x="1540125" y="1289342"/>
                </a:lnTo>
                <a:cubicBezTo>
                  <a:pt x="1738599" y="1289342"/>
                  <a:pt x="1764034" y="1133098"/>
                  <a:pt x="1764369" y="1131094"/>
                </a:cubicBezTo>
                <a:cubicBezTo>
                  <a:pt x="1764704" y="1128758"/>
                  <a:pt x="1764034" y="1126420"/>
                  <a:pt x="1762361" y="1124417"/>
                </a:cubicBezTo>
                <a:cubicBezTo>
                  <a:pt x="1760687" y="1122414"/>
                  <a:pt x="1758345" y="1121412"/>
                  <a:pt x="1755667" y="1121412"/>
                </a:cubicBezTo>
                <a:close/>
                <a:moveTo>
                  <a:pt x="16177965" y="288129"/>
                </a:moveTo>
                <a:lnTo>
                  <a:pt x="17345253" y="288129"/>
                </a:lnTo>
                <a:lnTo>
                  <a:pt x="17345253" y="937401"/>
                </a:lnTo>
                <a:lnTo>
                  <a:pt x="16177965" y="937401"/>
                </a:lnTo>
                <a:close/>
                <a:moveTo>
                  <a:pt x="14416540" y="288129"/>
                </a:moveTo>
                <a:lnTo>
                  <a:pt x="15583829" y="288129"/>
                </a:lnTo>
                <a:lnTo>
                  <a:pt x="15583829" y="937401"/>
                </a:lnTo>
                <a:lnTo>
                  <a:pt x="14416540" y="937401"/>
                </a:lnTo>
                <a:close/>
                <a:moveTo>
                  <a:pt x="12655116" y="288129"/>
                </a:moveTo>
                <a:lnTo>
                  <a:pt x="13822405" y="288129"/>
                </a:lnTo>
                <a:lnTo>
                  <a:pt x="13822405" y="937401"/>
                </a:lnTo>
                <a:lnTo>
                  <a:pt x="12655116" y="937401"/>
                </a:lnTo>
                <a:close/>
                <a:moveTo>
                  <a:pt x="10893692" y="288129"/>
                </a:moveTo>
                <a:lnTo>
                  <a:pt x="12060981" y="288129"/>
                </a:lnTo>
                <a:lnTo>
                  <a:pt x="12060981" y="937401"/>
                </a:lnTo>
                <a:lnTo>
                  <a:pt x="10893692" y="937401"/>
                </a:lnTo>
                <a:close/>
                <a:moveTo>
                  <a:pt x="9132268" y="288129"/>
                </a:moveTo>
                <a:lnTo>
                  <a:pt x="10299557" y="288129"/>
                </a:lnTo>
                <a:lnTo>
                  <a:pt x="10299557" y="937401"/>
                </a:lnTo>
                <a:lnTo>
                  <a:pt x="9132268" y="937401"/>
                </a:lnTo>
                <a:close/>
                <a:moveTo>
                  <a:pt x="7370844" y="288129"/>
                </a:moveTo>
                <a:lnTo>
                  <a:pt x="8538133" y="288129"/>
                </a:lnTo>
                <a:lnTo>
                  <a:pt x="8538133" y="937401"/>
                </a:lnTo>
                <a:lnTo>
                  <a:pt x="7370844" y="937401"/>
                </a:lnTo>
                <a:close/>
                <a:moveTo>
                  <a:pt x="5609421" y="288129"/>
                </a:moveTo>
                <a:lnTo>
                  <a:pt x="6776711" y="288129"/>
                </a:lnTo>
                <a:lnTo>
                  <a:pt x="6776711" y="937401"/>
                </a:lnTo>
                <a:lnTo>
                  <a:pt x="5609421" y="937401"/>
                </a:lnTo>
                <a:close/>
                <a:moveTo>
                  <a:pt x="3847998" y="288129"/>
                </a:moveTo>
                <a:lnTo>
                  <a:pt x="5015287" y="288129"/>
                </a:lnTo>
                <a:lnTo>
                  <a:pt x="5015287" y="937401"/>
                </a:lnTo>
                <a:lnTo>
                  <a:pt x="3847998" y="937401"/>
                </a:lnTo>
                <a:close/>
                <a:moveTo>
                  <a:pt x="2086574" y="288129"/>
                </a:moveTo>
                <a:lnTo>
                  <a:pt x="3253864" y="288129"/>
                </a:lnTo>
                <a:lnTo>
                  <a:pt x="3253864" y="937401"/>
                </a:lnTo>
                <a:lnTo>
                  <a:pt x="2086574" y="937401"/>
                </a:lnTo>
                <a:close/>
                <a:moveTo>
                  <a:pt x="325150" y="288129"/>
                </a:moveTo>
                <a:lnTo>
                  <a:pt x="1492439" y="288129"/>
                </a:lnTo>
                <a:lnTo>
                  <a:pt x="1492439" y="937401"/>
                </a:lnTo>
                <a:lnTo>
                  <a:pt x="325150" y="937401"/>
                </a:lnTo>
                <a:close/>
                <a:moveTo>
                  <a:pt x="16089925" y="164968"/>
                </a:moveTo>
                <a:cubicBezTo>
                  <a:pt x="16070507" y="164968"/>
                  <a:pt x="16054775" y="181032"/>
                  <a:pt x="16054775" y="200444"/>
                </a:cubicBezTo>
                <a:lnTo>
                  <a:pt x="16054775" y="1025086"/>
                </a:lnTo>
                <a:cubicBezTo>
                  <a:pt x="16054775" y="1044497"/>
                  <a:pt x="16070507" y="1060561"/>
                  <a:pt x="16089925" y="1060561"/>
                </a:cubicBezTo>
                <a:lnTo>
                  <a:pt x="17432959" y="1060561"/>
                </a:lnTo>
                <a:cubicBezTo>
                  <a:pt x="17452709" y="1060561"/>
                  <a:pt x="17468443" y="1044497"/>
                  <a:pt x="17468443" y="1025086"/>
                </a:cubicBezTo>
                <a:lnTo>
                  <a:pt x="17468443" y="200444"/>
                </a:lnTo>
                <a:cubicBezTo>
                  <a:pt x="17468443" y="181032"/>
                  <a:pt x="17452709" y="164968"/>
                  <a:pt x="17432959" y="164968"/>
                </a:cubicBezTo>
                <a:close/>
                <a:moveTo>
                  <a:pt x="14328500" y="164968"/>
                </a:moveTo>
                <a:cubicBezTo>
                  <a:pt x="14309084" y="164968"/>
                  <a:pt x="14293350" y="181032"/>
                  <a:pt x="14293350" y="200444"/>
                </a:cubicBezTo>
                <a:lnTo>
                  <a:pt x="14293350" y="1025086"/>
                </a:lnTo>
                <a:cubicBezTo>
                  <a:pt x="14293350" y="1044497"/>
                  <a:pt x="14309084" y="1060561"/>
                  <a:pt x="14328500" y="1060561"/>
                </a:cubicBezTo>
                <a:lnTo>
                  <a:pt x="15671535" y="1060561"/>
                </a:lnTo>
                <a:cubicBezTo>
                  <a:pt x="15691285" y="1060561"/>
                  <a:pt x="15707019" y="1044497"/>
                  <a:pt x="15707019" y="1025086"/>
                </a:cubicBezTo>
                <a:lnTo>
                  <a:pt x="15707019" y="200444"/>
                </a:lnTo>
                <a:cubicBezTo>
                  <a:pt x="15707019" y="181032"/>
                  <a:pt x="15691285" y="164968"/>
                  <a:pt x="15671535" y="164968"/>
                </a:cubicBezTo>
                <a:close/>
                <a:moveTo>
                  <a:pt x="12567076" y="164968"/>
                </a:moveTo>
                <a:cubicBezTo>
                  <a:pt x="12547660" y="164968"/>
                  <a:pt x="12531926" y="181032"/>
                  <a:pt x="12531926" y="200444"/>
                </a:cubicBezTo>
                <a:lnTo>
                  <a:pt x="12531926" y="1025086"/>
                </a:lnTo>
                <a:cubicBezTo>
                  <a:pt x="12531926" y="1044497"/>
                  <a:pt x="12547660" y="1060561"/>
                  <a:pt x="12567076" y="1060561"/>
                </a:cubicBezTo>
                <a:lnTo>
                  <a:pt x="13910111" y="1060561"/>
                </a:lnTo>
                <a:cubicBezTo>
                  <a:pt x="13929862" y="1060561"/>
                  <a:pt x="13945595" y="1044497"/>
                  <a:pt x="13945595" y="1025086"/>
                </a:cubicBezTo>
                <a:lnTo>
                  <a:pt x="13945595" y="200444"/>
                </a:lnTo>
                <a:cubicBezTo>
                  <a:pt x="13945595" y="181032"/>
                  <a:pt x="13929862" y="164968"/>
                  <a:pt x="13910111" y="164968"/>
                </a:cubicBezTo>
                <a:close/>
                <a:moveTo>
                  <a:pt x="10805652" y="164968"/>
                </a:moveTo>
                <a:cubicBezTo>
                  <a:pt x="10786236" y="164968"/>
                  <a:pt x="10770502" y="181032"/>
                  <a:pt x="10770502" y="200444"/>
                </a:cubicBezTo>
                <a:lnTo>
                  <a:pt x="10770502" y="1025086"/>
                </a:lnTo>
                <a:cubicBezTo>
                  <a:pt x="10770502" y="1044497"/>
                  <a:pt x="10786236" y="1060561"/>
                  <a:pt x="10805652" y="1060561"/>
                </a:cubicBezTo>
                <a:lnTo>
                  <a:pt x="12148687" y="1060561"/>
                </a:lnTo>
                <a:cubicBezTo>
                  <a:pt x="12168438" y="1060561"/>
                  <a:pt x="12184171" y="1044497"/>
                  <a:pt x="12184171" y="1025086"/>
                </a:cubicBezTo>
                <a:lnTo>
                  <a:pt x="12184171" y="200444"/>
                </a:lnTo>
                <a:cubicBezTo>
                  <a:pt x="12184171" y="181032"/>
                  <a:pt x="12168438" y="164968"/>
                  <a:pt x="12148687" y="164968"/>
                </a:cubicBezTo>
                <a:close/>
                <a:moveTo>
                  <a:pt x="9044228" y="164968"/>
                </a:moveTo>
                <a:cubicBezTo>
                  <a:pt x="9024812" y="164968"/>
                  <a:pt x="9009078" y="181032"/>
                  <a:pt x="9009078" y="200444"/>
                </a:cubicBezTo>
                <a:lnTo>
                  <a:pt x="9009078" y="1025086"/>
                </a:lnTo>
                <a:cubicBezTo>
                  <a:pt x="9009078" y="1044497"/>
                  <a:pt x="9024812" y="1060561"/>
                  <a:pt x="9044228" y="1060561"/>
                </a:cubicBezTo>
                <a:lnTo>
                  <a:pt x="10387263" y="1060561"/>
                </a:lnTo>
                <a:cubicBezTo>
                  <a:pt x="10407014" y="1060561"/>
                  <a:pt x="10422747" y="1044497"/>
                  <a:pt x="10422747" y="1025086"/>
                </a:cubicBezTo>
                <a:lnTo>
                  <a:pt x="10422747" y="200444"/>
                </a:lnTo>
                <a:cubicBezTo>
                  <a:pt x="10422747" y="181032"/>
                  <a:pt x="10407014" y="164968"/>
                  <a:pt x="10387263" y="164968"/>
                </a:cubicBezTo>
                <a:close/>
                <a:moveTo>
                  <a:pt x="7282804" y="164968"/>
                </a:moveTo>
                <a:cubicBezTo>
                  <a:pt x="7263388" y="164968"/>
                  <a:pt x="7247654" y="181032"/>
                  <a:pt x="7247654" y="200444"/>
                </a:cubicBezTo>
                <a:lnTo>
                  <a:pt x="7247654" y="1025086"/>
                </a:lnTo>
                <a:cubicBezTo>
                  <a:pt x="7247654" y="1044497"/>
                  <a:pt x="7263388" y="1060561"/>
                  <a:pt x="7282804" y="1060561"/>
                </a:cubicBezTo>
                <a:lnTo>
                  <a:pt x="8625839" y="1060561"/>
                </a:lnTo>
                <a:cubicBezTo>
                  <a:pt x="8645590" y="1060561"/>
                  <a:pt x="8661323" y="1044497"/>
                  <a:pt x="8661323" y="1025086"/>
                </a:cubicBezTo>
                <a:lnTo>
                  <a:pt x="8661323" y="200444"/>
                </a:lnTo>
                <a:cubicBezTo>
                  <a:pt x="8661323" y="181032"/>
                  <a:pt x="8645590" y="164968"/>
                  <a:pt x="8625839" y="164968"/>
                </a:cubicBezTo>
                <a:close/>
                <a:moveTo>
                  <a:pt x="5521382" y="164968"/>
                </a:moveTo>
                <a:cubicBezTo>
                  <a:pt x="5501967" y="164968"/>
                  <a:pt x="5486232" y="181032"/>
                  <a:pt x="5486232" y="200444"/>
                </a:cubicBezTo>
                <a:lnTo>
                  <a:pt x="5486232" y="1025086"/>
                </a:lnTo>
                <a:cubicBezTo>
                  <a:pt x="5486232" y="1044497"/>
                  <a:pt x="5501967" y="1060561"/>
                  <a:pt x="5521382" y="1060561"/>
                </a:cubicBezTo>
                <a:lnTo>
                  <a:pt x="6864416" y="1060561"/>
                </a:lnTo>
                <a:cubicBezTo>
                  <a:pt x="6884167" y="1060561"/>
                  <a:pt x="6899899" y="1044497"/>
                  <a:pt x="6899899" y="1025086"/>
                </a:cubicBezTo>
                <a:lnTo>
                  <a:pt x="6899899" y="200444"/>
                </a:lnTo>
                <a:cubicBezTo>
                  <a:pt x="6899899" y="181032"/>
                  <a:pt x="6884167" y="164968"/>
                  <a:pt x="6864416" y="164968"/>
                </a:cubicBezTo>
                <a:close/>
                <a:moveTo>
                  <a:pt x="3759959" y="164968"/>
                </a:moveTo>
                <a:cubicBezTo>
                  <a:pt x="3740541" y="164968"/>
                  <a:pt x="3724808" y="181032"/>
                  <a:pt x="3724808" y="200444"/>
                </a:cubicBezTo>
                <a:lnTo>
                  <a:pt x="3724808" y="1025086"/>
                </a:lnTo>
                <a:cubicBezTo>
                  <a:pt x="3724808" y="1044497"/>
                  <a:pt x="3740541" y="1060561"/>
                  <a:pt x="3759959" y="1060561"/>
                </a:cubicBezTo>
                <a:lnTo>
                  <a:pt x="5102993" y="1060561"/>
                </a:lnTo>
                <a:cubicBezTo>
                  <a:pt x="5122744" y="1060561"/>
                  <a:pt x="5138476" y="1044497"/>
                  <a:pt x="5138476" y="1025086"/>
                </a:cubicBezTo>
                <a:lnTo>
                  <a:pt x="5138476" y="200444"/>
                </a:lnTo>
                <a:cubicBezTo>
                  <a:pt x="5138476" y="181032"/>
                  <a:pt x="5122744" y="164968"/>
                  <a:pt x="5102993" y="164968"/>
                </a:cubicBezTo>
                <a:close/>
                <a:moveTo>
                  <a:pt x="1998534" y="164968"/>
                </a:moveTo>
                <a:cubicBezTo>
                  <a:pt x="1979117" y="164968"/>
                  <a:pt x="1963384" y="181032"/>
                  <a:pt x="1963384" y="200444"/>
                </a:cubicBezTo>
                <a:lnTo>
                  <a:pt x="1963384" y="1025086"/>
                </a:lnTo>
                <a:cubicBezTo>
                  <a:pt x="1963384" y="1044497"/>
                  <a:pt x="1979117" y="1060561"/>
                  <a:pt x="1998534" y="1060561"/>
                </a:cubicBezTo>
                <a:lnTo>
                  <a:pt x="3341567" y="1060561"/>
                </a:lnTo>
                <a:cubicBezTo>
                  <a:pt x="3361319" y="1060561"/>
                  <a:pt x="3377054" y="1044497"/>
                  <a:pt x="3377054" y="1025086"/>
                </a:cubicBezTo>
                <a:lnTo>
                  <a:pt x="3377054" y="200444"/>
                </a:lnTo>
                <a:cubicBezTo>
                  <a:pt x="3377054" y="181032"/>
                  <a:pt x="3361319" y="164968"/>
                  <a:pt x="3341567" y="164968"/>
                </a:cubicBezTo>
                <a:close/>
                <a:moveTo>
                  <a:pt x="237109" y="164968"/>
                </a:moveTo>
                <a:cubicBezTo>
                  <a:pt x="217693" y="164968"/>
                  <a:pt x="201960" y="181032"/>
                  <a:pt x="201960" y="200444"/>
                </a:cubicBezTo>
                <a:lnTo>
                  <a:pt x="201960" y="1025086"/>
                </a:lnTo>
                <a:cubicBezTo>
                  <a:pt x="201960" y="1044497"/>
                  <a:pt x="217693" y="1060561"/>
                  <a:pt x="237109" y="1060561"/>
                </a:cubicBezTo>
                <a:lnTo>
                  <a:pt x="1580144" y="1060561"/>
                </a:lnTo>
                <a:cubicBezTo>
                  <a:pt x="1599895" y="1060561"/>
                  <a:pt x="1615629" y="1044497"/>
                  <a:pt x="1615629" y="1025086"/>
                </a:cubicBezTo>
                <a:lnTo>
                  <a:pt x="1615629" y="200444"/>
                </a:lnTo>
                <a:cubicBezTo>
                  <a:pt x="1615629" y="181032"/>
                  <a:pt x="1599895" y="164968"/>
                  <a:pt x="1580144" y="164968"/>
                </a:cubicBezTo>
                <a:close/>
                <a:moveTo>
                  <a:pt x="0" y="0"/>
                </a:moveTo>
                <a:lnTo>
                  <a:pt x="17881469" y="0"/>
                </a:lnTo>
                <a:lnTo>
                  <a:pt x="17881469" y="1628517"/>
                </a:lnTo>
                <a:lnTo>
                  <a:pt x="0" y="162851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70" name="Freeform 169">
            <a:extLst>
              <a:ext uri="{FF2B5EF4-FFF2-40B4-BE49-F238E27FC236}">
                <a16:creationId xmlns:a16="http://schemas.microsoft.com/office/drawing/2014/main" id="{18C5E796-C3D0-6841-A173-2136AEC26F4B}"/>
              </a:ext>
            </a:extLst>
          </p:cNvPr>
          <p:cNvSpPr>
            <a:spLocks noChangeArrowheads="1"/>
          </p:cNvSpPr>
          <p:nvPr/>
        </p:nvSpPr>
        <p:spPr bwMode="auto">
          <a:xfrm>
            <a:off x="833962" y="5642407"/>
            <a:ext cx="8683739" cy="693094"/>
          </a:xfrm>
          <a:custGeom>
            <a:avLst/>
            <a:gdLst>
              <a:gd name="connsiteX0" fmla="*/ 15795956 w 17367478"/>
              <a:gd name="connsiteY0" fmla="*/ 90046 h 1386187"/>
              <a:gd name="connsiteX1" fmla="*/ 15795956 w 17367478"/>
              <a:gd name="connsiteY1" fmla="*/ 1063443 h 1386187"/>
              <a:gd name="connsiteX2" fmla="*/ 15804024 w 17367478"/>
              <a:gd name="connsiteY2" fmla="*/ 1071834 h 1386187"/>
              <a:gd name="connsiteX3" fmla="*/ 17269036 w 17367478"/>
              <a:gd name="connsiteY3" fmla="*/ 1071834 h 1386187"/>
              <a:gd name="connsiteX4" fmla="*/ 17277426 w 17367478"/>
              <a:gd name="connsiteY4" fmla="*/ 1063443 h 1386187"/>
              <a:gd name="connsiteX5" fmla="*/ 17277426 w 17367478"/>
              <a:gd name="connsiteY5" fmla="*/ 98114 h 1386187"/>
              <a:gd name="connsiteX6" fmla="*/ 17277426 w 17367478"/>
              <a:gd name="connsiteY6" fmla="*/ 90046 h 1386187"/>
              <a:gd name="connsiteX7" fmla="*/ 14048799 w 17367478"/>
              <a:gd name="connsiteY7" fmla="*/ 90046 h 1386187"/>
              <a:gd name="connsiteX8" fmla="*/ 14048799 w 17367478"/>
              <a:gd name="connsiteY8" fmla="*/ 1063443 h 1386187"/>
              <a:gd name="connsiteX9" fmla="*/ 14056868 w 17367478"/>
              <a:gd name="connsiteY9" fmla="*/ 1071834 h 1386187"/>
              <a:gd name="connsiteX10" fmla="*/ 15521878 w 17367478"/>
              <a:gd name="connsiteY10" fmla="*/ 1071834 h 1386187"/>
              <a:gd name="connsiteX11" fmla="*/ 15530270 w 17367478"/>
              <a:gd name="connsiteY11" fmla="*/ 1063443 h 1386187"/>
              <a:gd name="connsiteX12" fmla="*/ 15530270 w 17367478"/>
              <a:gd name="connsiteY12" fmla="*/ 98114 h 1386187"/>
              <a:gd name="connsiteX13" fmla="*/ 15530270 w 17367478"/>
              <a:gd name="connsiteY13" fmla="*/ 90046 h 1386187"/>
              <a:gd name="connsiteX14" fmla="*/ 12301642 w 17367478"/>
              <a:gd name="connsiteY14" fmla="*/ 90046 h 1386187"/>
              <a:gd name="connsiteX15" fmla="*/ 12301642 w 17367478"/>
              <a:gd name="connsiteY15" fmla="*/ 1063443 h 1386187"/>
              <a:gd name="connsiteX16" fmla="*/ 12309711 w 17367478"/>
              <a:gd name="connsiteY16" fmla="*/ 1071834 h 1386187"/>
              <a:gd name="connsiteX17" fmla="*/ 13774721 w 17367478"/>
              <a:gd name="connsiteY17" fmla="*/ 1071834 h 1386187"/>
              <a:gd name="connsiteX18" fmla="*/ 13783113 w 17367478"/>
              <a:gd name="connsiteY18" fmla="*/ 1063443 h 1386187"/>
              <a:gd name="connsiteX19" fmla="*/ 13783113 w 17367478"/>
              <a:gd name="connsiteY19" fmla="*/ 98114 h 1386187"/>
              <a:gd name="connsiteX20" fmla="*/ 13783113 w 17367478"/>
              <a:gd name="connsiteY20" fmla="*/ 90046 h 1386187"/>
              <a:gd name="connsiteX21" fmla="*/ 10554486 w 17367478"/>
              <a:gd name="connsiteY21" fmla="*/ 90046 h 1386187"/>
              <a:gd name="connsiteX22" fmla="*/ 10554486 w 17367478"/>
              <a:gd name="connsiteY22" fmla="*/ 1063443 h 1386187"/>
              <a:gd name="connsiteX23" fmla="*/ 10562555 w 17367478"/>
              <a:gd name="connsiteY23" fmla="*/ 1071834 h 1386187"/>
              <a:gd name="connsiteX24" fmla="*/ 12027565 w 17367478"/>
              <a:gd name="connsiteY24" fmla="*/ 1071834 h 1386187"/>
              <a:gd name="connsiteX25" fmla="*/ 12035957 w 17367478"/>
              <a:gd name="connsiteY25" fmla="*/ 1063443 h 1386187"/>
              <a:gd name="connsiteX26" fmla="*/ 12035957 w 17367478"/>
              <a:gd name="connsiteY26" fmla="*/ 98114 h 1386187"/>
              <a:gd name="connsiteX27" fmla="*/ 12035957 w 17367478"/>
              <a:gd name="connsiteY27" fmla="*/ 90046 h 1386187"/>
              <a:gd name="connsiteX28" fmla="*/ 8825187 w 17367478"/>
              <a:gd name="connsiteY28" fmla="*/ 90046 h 1386187"/>
              <a:gd name="connsiteX29" fmla="*/ 8825187 w 17367478"/>
              <a:gd name="connsiteY29" fmla="*/ 1063443 h 1386187"/>
              <a:gd name="connsiteX30" fmla="*/ 8833256 w 17367478"/>
              <a:gd name="connsiteY30" fmla="*/ 1071834 h 1386187"/>
              <a:gd name="connsiteX31" fmla="*/ 10298266 w 17367478"/>
              <a:gd name="connsiteY31" fmla="*/ 1071834 h 1386187"/>
              <a:gd name="connsiteX32" fmla="*/ 10306658 w 17367478"/>
              <a:gd name="connsiteY32" fmla="*/ 1063443 h 1386187"/>
              <a:gd name="connsiteX33" fmla="*/ 10306658 w 17367478"/>
              <a:gd name="connsiteY33" fmla="*/ 98114 h 1386187"/>
              <a:gd name="connsiteX34" fmla="*/ 10306658 w 17367478"/>
              <a:gd name="connsiteY34" fmla="*/ 90046 h 1386187"/>
              <a:gd name="connsiteX35" fmla="*/ 7078030 w 17367478"/>
              <a:gd name="connsiteY35" fmla="*/ 90046 h 1386187"/>
              <a:gd name="connsiteX36" fmla="*/ 7078030 w 17367478"/>
              <a:gd name="connsiteY36" fmla="*/ 1063443 h 1386187"/>
              <a:gd name="connsiteX37" fmla="*/ 7086099 w 17367478"/>
              <a:gd name="connsiteY37" fmla="*/ 1071834 h 1386187"/>
              <a:gd name="connsiteX38" fmla="*/ 8551109 w 17367478"/>
              <a:gd name="connsiteY38" fmla="*/ 1071834 h 1386187"/>
              <a:gd name="connsiteX39" fmla="*/ 8559501 w 17367478"/>
              <a:gd name="connsiteY39" fmla="*/ 1063443 h 1386187"/>
              <a:gd name="connsiteX40" fmla="*/ 8559501 w 17367478"/>
              <a:gd name="connsiteY40" fmla="*/ 98114 h 1386187"/>
              <a:gd name="connsiteX41" fmla="*/ 8559501 w 17367478"/>
              <a:gd name="connsiteY41" fmla="*/ 90046 h 1386187"/>
              <a:gd name="connsiteX42" fmla="*/ 5330874 w 17367478"/>
              <a:gd name="connsiteY42" fmla="*/ 90046 h 1386187"/>
              <a:gd name="connsiteX43" fmla="*/ 5330874 w 17367478"/>
              <a:gd name="connsiteY43" fmla="*/ 1063443 h 1386187"/>
              <a:gd name="connsiteX44" fmla="*/ 5338943 w 17367478"/>
              <a:gd name="connsiteY44" fmla="*/ 1071834 h 1386187"/>
              <a:gd name="connsiteX45" fmla="*/ 6803953 w 17367478"/>
              <a:gd name="connsiteY45" fmla="*/ 1071834 h 1386187"/>
              <a:gd name="connsiteX46" fmla="*/ 6812345 w 17367478"/>
              <a:gd name="connsiteY46" fmla="*/ 1063443 h 1386187"/>
              <a:gd name="connsiteX47" fmla="*/ 6812345 w 17367478"/>
              <a:gd name="connsiteY47" fmla="*/ 98114 h 1386187"/>
              <a:gd name="connsiteX48" fmla="*/ 6812345 w 17367478"/>
              <a:gd name="connsiteY48" fmla="*/ 90046 h 1386187"/>
              <a:gd name="connsiteX49" fmla="*/ 3583717 w 17367478"/>
              <a:gd name="connsiteY49" fmla="*/ 90046 h 1386187"/>
              <a:gd name="connsiteX50" fmla="*/ 3583717 w 17367478"/>
              <a:gd name="connsiteY50" fmla="*/ 1063443 h 1386187"/>
              <a:gd name="connsiteX51" fmla="*/ 3591786 w 17367478"/>
              <a:gd name="connsiteY51" fmla="*/ 1071834 h 1386187"/>
              <a:gd name="connsiteX52" fmla="*/ 5056796 w 17367478"/>
              <a:gd name="connsiteY52" fmla="*/ 1071834 h 1386187"/>
              <a:gd name="connsiteX53" fmla="*/ 5065189 w 17367478"/>
              <a:gd name="connsiteY53" fmla="*/ 1063443 h 1386187"/>
              <a:gd name="connsiteX54" fmla="*/ 5065189 w 17367478"/>
              <a:gd name="connsiteY54" fmla="*/ 98114 h 1386187"/>
              <a:gd name="connsiteX55" fmla="*/ 5065189 w 17367478"/>
              <a:gd name="connsiteY55" fmla="*/ 90046 h 1386187"/>
              <a:gd name="connsiteX56" fmla="*/ 1836561 w 17367478"/>
              <a:gd name="connsiteY56" fmla="*/ 90046 h 1386187"/>
              <a:gd name="connsiteX57" fmla="*/ 1836561 w 17367478"/>
              <a:gd name="connsiteY57" fmla="*/ 1063443 h 1386187"/>
              <a:gd name="connsiteX58" fmla="*/ 1844630 w 17367478"/>
              <a:gd name="connsiteY58" fmla="*/ 1071834 h 1386187"/>
              <a:gd name="connsiteX59" fmla="*/ 3309640 w 17367478"/>
              <a:gd name="connsiteY59" fmla="*/ 1071834 h 1386187"/>
              <a:gd name="connsiteX60" fmla="*/ 3318031 w 17367478"/>
              <a:gd name="connsiteY60" fmla="*/ 1063443 h 1386187"/>
              <a:gd name="connsiteX61" fmla="*/ 3318031 w 17367478"/>
              <a:gd name="connsiteY61" fmla="*/ 98114 h 1386187"/>
              <a:gd name="connsiteX62" fmla="*/ 3318031 w 17367478"/>
              <a:gd name="connsiteY62" fmla="*/ 90046 h 1386187"/>
              <a:gd name="connsiteX63" fmla="*/ 89405 w 17367478"/>
              <a:gd name="connsiteY63" fmla="*/ 90046 h 1386187"/>
              <a:gd name="connsiteX64" fmla="*/ 89405 w 17367478"/>
              <a:gd name="connsiteY64" fmla="*/ 1063443 h 1386187"/>
              <a:gd name="connsiteX65" fmla="*/ 97474 w 17367478"/>
              <a:gd name="connsiteY65" fmla="*/ 1071834 h 1386187"/>
              <a:gd name="connsiteX66" fmla="*/ 1562485 w 17367478"/>
              <a:gd name="connsiteY66" fmla="*/ 1071834 h 1386187"/>
              <a:gd name="connsiteX67" fmla="*/ 1570877 w 17367478"/>
              <a:gd name="connsiteY67" fmla="*/ 1063443 h 1386187"/>
              <a:gd name="connsiteX68" fmla="*/ 1570877 w 17367478"/>
              <a:gd name="connsiteY68" fmla="*/ 98114 h 1386187"/>
              <a:gd name="connsiteX69" fmla="*/ 1570877 w 17367478"/>
              <a:gd name="connsiteY69" fmla="*/ 90046 h 1386187"/>
              <a:gd name="connsiteX70" fmla="*/ 15795956 w 17367478"/>
              <a:gd name="connsiteY70" fmla="*/ 0 h 1386187"/>
              <a:gd name="connsiteX71" fmla="*/ 17277426 w 17367478"/>
              <a:gd name="connsiteY71" fmla="*/ 0 h 1386187"/>
              <a:gd name="connsiteX72" fmla="*/ 17277426 w 17367478"/>
              <a:gd name="connsiteY72" fmla="*/ 2259 h 1386187"/>
              <a:gd name="connsiteX73" fmla="*/ 17367478 w 17367478"/>
              <a:gd name="connsiteY73" fmla="*/ 90046 h 1386187"/>
              <a:gd name="connsiteX74" fmla="*/ 17367478 w 17367478"/>
              <a:gd name="connsiteY74" fmla="*/ 1063443 h 1386187"/>
              <a:gd name="connsiteX75" fmla="*/ 17353598 w 17367478"/>
              <a:gd name="connsiteY75" fmla="*/ 1112177 h 1386187"/>
              <a:gd name="connsiteX76" fmla="*/ 17269036 w 17367478"/>
              <a:gd name="connsiteY76" fmla="*/ 1161880 h 1386187"/>
              <a:gd name="connsiteX77" fmla="*/ 16734544 w 17367478"/>
              <a:gd name="connsiteY77" fmla="*/ 1161880 h 1386187"/>
              <a:gd name="connsiteX78" fmla="*/ 16734544 w 17367478"/>
              <a:gd name="connsiteY78" fmla="*/ 1296787 h 1386187"/>
              <a:gd name="connsiteX79" fmla="*/ 16836214 w 17367478"/>
              <a:gd name="connsiteY79" fmla="*/ 1296787 h 1386187"/>
              <a:gd name="connsiteX80" fmla="*/ 16881722 w 17367478"/>
              <a:gd name="connsiteY80" fmla="*/ 1341326 h 1386187"/>
              <a:gd name="connsiteX81" fmla="*/ 16836214 w 17367478"/>
              <a:gd name="connsiteY81" fmla="*/ 1386187 h 1386187"/>
              <a:gd name="connsiteX82" fmla="*/ 16237492 w 17367478"/>
              <a:gd name="connsiteY82" fmla="*/ 1386187 h 1386187"/>
              <a:gd name="connsiteX83" fmla="*/ 16192628 w 17367478"/>
              <a:gd name="connsiteY83" fmla="*/ 1341326 h 1386187"/>
              <a:gd name="connsiteX84" fmla="*/ 16237492 w 17367478"/>
              <a:gd name="connsiteY84" fmla="*/ 1296787 h 1386187"/>
              <a:gd name="connsiteX85" fmla="*/ 16338840 w 17367478"/>
              <a:gd name="connsiteY85" fmla="*/ 1296787 h 1386187"/>
              <a:gd name="connsiteX86" fmla="*/ 16338840 w 17367478"/>
              <a:gd name="connsiteY86" fmla="*/ 1161880 h 1386187"/>
              <a:gd name="connsiteX87" fmla="*/ 15804024 w 17367478"/>
              <a:gd name="connsiteY87" fmla="*/ 1161880 h 1386187"/>
              <a:gd name="connsiteX88" fmla="*/ 15719462 w 17367478"/>
              <a:gd name="connsiteY88" fmla="*/ 1112177 h 1386187"/>
              <a:gd name="connsiteX89" fmla="*/ 15706550 w 17367478"/>
              <a:gd name="connsiteY89" fmla="*/ 1063443 h 1386187"/>
              <a:gd name="connsiteX90" fmla="*/ 15706550 w 17367478"/>
              <a:gd name="connsiteY90" fmla="*/ 90046 h 1386187"/>
              <a:gd name="connsiteX91" fmla="*/ 15795956 w 17367478"/>
              <a:gd name="connsiteY91" fmla="*/ 2259 h 1386187"/>
              <a:gd name="connsiteX92" fmla="*/ 14048799 w 17367478"/>
              <a:gd name="connsiteY92" fmla="*/ 0 h 1386187"/>
              <a:gd name="connsiteX93" fmla="*/ 15530270 w 17367478"/>
              <a:gd name="connsiteY93" fmla="*/ 0 h 1386187"/>
              <a:gd name="connsiteX94" fmla="*/ 15530270 w 17367478"/>
              <a:gd name="connsiteY94" fmla="*/ 2259 h 1386187"/>
              <a:gd name="connsiteX95" fmla="*/ 15620320 w 17367478"/>
              <a:gd name="connsiteY95" fmla="*/ 90046 h 1386187"/>
              <a:gd name="connsiteX96" fmla="*/ 15620320 w 17367478"/>
              <a:gd name="connsiteY96" fmla="*/ 1063443 h 1386187"/>
              <a:gd name="connsiteX97" fmla="*/ 15606442 w 17367478"/>
              <a:gd name="connsiteY97" fmla="*/ 1112177 h 1386187"/>
              <a:gd name="connsiteX98" fmla="*/ 15521878 w 17367478"/>
              <a:gd name="connsiteY98" fmla="*/ 1161880 h 1386187"/>
              <a:gd name="connsiteX99" fmla="*/ 14987387 w 17367478"/>
              <a:gd name="connsiteY99" fmla="*/ 1161880 h 1386187"/>
              <a:gd name="connsiteX100" fmla="*/ 14987387 w 17367478"/>
              <a:gd name="connsiteY100" fmla="*/ 1296787 h 1386187"/>
              <a:gd name="connsiteX101" fmla="*/ 15089056 w 17367478"/>
              <a:gd name="connsiteY101" fmla="*/ 1296787 h 1386187"/>
              <a:gd name="connsiteX102" fmla="*/ 15134566 w 17367478"/>
              <a:gd name="connsiteY102" fmla="*/ 1341326 h 1386187"/>
              <a:gd name="connsiteX103" fmla="*/ 15089056 w 17367478"/>
              <a:gd name="connsiteY103" fmla="*/ 1386187 h 1386187"/>
              <a:gd name="connsiteX104" fmla="*/ 14490335 w 17367478"/>
              <a:gd name="connsiteY104" fmla="*/ 1386187 h 1386187"/>
              <a:gd name="connsiteX105" fmla="*/ 14445472 w 17367478"/>
              <a:gd name="connsiteY105" fmla="*/ 1341326 h 1386187"/>
              <a:gd name="connsiteX106" fmla="*/ 14490335 w 17367478"/>
              <a:gd name="connsiteY106" fmla="*/ 1296787 h 1386187"/>
              <a:gd name="connsiteX107" fmla="*/ 14591682 w 17367478"/>
              <a:gd name="connsiteY107" fmla="*/ 1296787 h 1386187"/>
              <a:gd name="connsiteX108" fmla="*/ 14591682 w 17367478"/>
              <a:gd name="connsiteY108" fmla="*/ 1161880 h 1386187"/>
              <a:gd name="connsiteX109" fmla="*/ 14056868 w 17367478"/>
              <a:gd name="connsiteY109" fmla="*/ 1161880 h 1386187"/>
              <a:gd name="connsiteX110" fmla="*/ 13972304 w 17367478"/>
              <a:gd name="connsiteY110" fmla="*/ 1112177 h 1386187"/>
              <a:gd name="connsiteX111" fmla="*/ 13959394 w 17367478"/>
              <a:gd name="connsiteY111" fmla="*/ 1063443 h 1386187"/>
              <a:gd name="connsiteX112" fmla="*/ 13959394 w 17367478"/>
              <a:gd name="connsiteY112" fmla="*/ 90046 h 1386187"/>
              <a:gd name="connsiteX113" fmla="*/ 14048799 w 17367478"/>
              <a:gd name="connsiteY113" fmla="*/ 2259 h 1386187"/>
              <a:gd name="connsiteX114" fmla="*/ 12301642 w 17367478"/>
              <a:gd name="connsiteY114" fmla="*/ 0 h 1386187"/>
              <a:gd name="connsiteX115" fmla="*/ 13783113 w 17367478"/>
              <a:gd name="connsiteY115" fmla="*/ 0 h 1386187"/>
              <a:gd name="connsiteX116" fmla="*/ 13783113 w 17367478"/>
              <a:gd name="connsiteY116" fmla="*/ 2259 h 1386187"/>
              <a:gd name="connsiteX117" fmla="*/ 13873163 w 17367478"/>
              <a:gd name="connsiteY117" fmla="*/ 90046 h 1386187"/>
              <a:gd name="connsiteX118" fmla="*/ 13873163 w 17367478"/>
              <a:gd name="connsiteY118" fmla="*/ 1063443 h 1386187"/>
              <a:gd name="connsiteX119" fmla="*/ 13859284 w 17367478"/>
              <a:gd name="connsiteY119" fmla="*/ 1112177 h 1386187"/>
              <a:gd name="connsiteX120" fmla="*/ 13774721 w 17367478"/>
              <a:gd name="connsiteY120" fmla="*/ 1161880 h 1386187"/>
              <a:gd name="connsiteX121" fmla="*/ 13240230 w 17367478"/>
              <a:gd name="connsiteY121" fmla="*/ 1161880 h 1386187"/>
              <a:gd name="connsiteX122" fmla="*/ 13240230 w 17367478"/>
              <a:gd name="connsiteY122" fmla="*/ 1296787 h 1386187"/>
              <a:gd name="connsiteX123" fmla="*/ 13341899 w 17367478"/>
              <a:gd name="connsiteY123" fmla="*/ 1296787 h 1386187"/>
              <a:gd name="connsiteX124" fmla="*/ 13387408 w 17367478"/>
              <a:gd name="connsiteY124" fmla="*/ 1341326 h 1386187"/>
              <a:gd name="connsiteX125" fmla="*/ 13341899 w 17367478"/>
              <a:gd name="connsiteY125" fmla="*/ 1386187 h 1386187"/>
              <a:gd name="connsiteX126" fmla="*/ 12743178 w 17367478"/>
              <a:gd name="connsiteY126" fmla="*/ 1386187 h 1386187"/>
              <a:gd name="connsiteX127" fmla="*/ 12698315 w 17367478"/>
              <a:gd name="connsiteY127" fmla="*/ 1341326 h 1386187"/>
              <a:gd name="connsiteX128" fmla="*/ 12743178 w 17367478"/>
              <a:gd name="connsiteY128" fmla="*/ 1296787 h 1386187"/>
              <a:gd name="connsiteX129" fmla="*/ 12844525 w 17367478"/>
              <a:gd name="connsiteY129" fmla="*/ 1296787 h 1386187"/>
              <a:gd name="connsiteX130" fmla="*/ 12844525 w 17367478"/>
              <a:gd name="connsiteY130" fmla="*/ 1161880 h 1386187"/>
              <a:gd name="connsiteX131" fmla="*/ 12309711 w 17367478"/>
              <a:gd name="connsiteY131" fmla="*/ 1161880 h 1386187"/>
              <a:gd name="connsiteX132" fmla="*/ 12225147 w 17367478"/>
              <a:gd name="connsiteY132" fmla="*/ 1112177 h 1386187"/>
              <a:gd name="connsiteX133" fmla="*/ 12212237 w 17367478"/>
              <a:gd name="connsiteY133" fmla="*/ 1063443 h 1386187"/>
              <a:gd name="connsiteX134" fmla="*/ 12212237 w 17367478"/>
              <a:gd name="connsiteY134" fmla="*/ 90046 h 1386187"/>
              <a:gd name="connsiteX135" fmla="*/ 12301642 w 17367478"/>
              <a:gd name="connsiteY135" fmla="*/ 2259 h 1386187"/>
              <a:gd name="connsiteX136" fmla="*/ 10554486 w 17367478"/>
              <a:gd name="connsiteY136" fmla="*/ 0 h 1386187"/>
              <a:gd name="connsiteX137" fmla="*/ 12035957 w 17367478"/>
              <a:gd name="connsiteY137" fmla="*/ 0 h 1386187"/>
              <a:gd name="connsiteX138" fmla="*/ 12035957 w 17367478"/>
              <a:gd name="connsiteY138" fmla="*/ 2259 h 1386187"/>
              <a:gd name="connsiteX139" fmla="*/ 12126007 w 17367478"/>
              <a:gd name="connsiteY139" fmla="*/ 90046 h 1386187"/>
              <a:gd name="connsiteX140" fmla="*/ 12126007 w 17367478"/>
              <a:gd name="connsiteY140" fmla="*/ 1063443 h 1386187"/>
              <a:gd name="connsiteX141" fmla="*/ 12112128 w 17367478"/>
              <a:gd name="connsiteY141" fmla="*/ 1112177 h 1386187"/>
              <a:gd name="connsiteX142" fmla="*/ 12027565 w 17367478"/>
              <a:gd name="connsiteY142" fmla="*/ 1161880 h 1386187"/>
              <a:gd name="connsiteX143" fmla="*/ 11493074 w 17367478"/>
              <a:gd name="connsiteY143" fmla="*/ 1161880 h 1386187"/>
              <a:gd name="connsiteX144" fmla="*/ 11493074 w 17367478"/>
              <a:gd name="connsiteY144" fmla="*/ 1296787 h 1386187"/>
              <a:gd name="connsiteX145" fmla="*/ 11594743 w 17367478"/>
              <a:gd name="connsiteY145" fmla="*/ 1296787 h 1386187"/>
              <a:gd name="connsiteX146" fmla="*/ 11640252 w 17367478"/>
              <a:gd name="connsiteY146" fmla="*/ 1341326 h 1386187"/>
              <a:gd name="connsiteX147" fmla="*/ 11594743 w 17367478"/>
              <a:gd name="connsiteY147" fmla="*/ 1386187 h 1386187"/>
              <a:gd name="connsiteX148" fmla="*/ 10996022 w 17367478"/>
              <a:gd name="connsiteY148" fmla="*/ 1386187 h 1386187"/>
              <a:gd name="connsiteX149" fmla="*/ 10951159 w 17367478"/>
              <a:gd name="connsiteY149" fmla="*/ 1341326 h 1386187"/>
              <a:gd name="connsiteX150" fmla="*/ 10996022 w 17367478"/>
              <a:gd name="connsiteY150" fmla="*/ 1296787 h 1386187"/>
              <a:gd name="connsiteX151" fmla="*/ 11097369 w 17367478"/>
              <a:gd name="connsiteY151" fmla="*/ 1296787 h 1386187"/>
              <a:gd name="connsiteX152" fmla="*/ 11097369 w 17367478"/>
              <a:gd name="connsiteY152" fmla="*/ 1161880 h 1386187"/>
              <a:gd name="connsiteX153" fmla="*/ 10562555 w 17367478"/>
              <a:gd name="connsiteY153" fmla="*/ 1161880 h 1386187"/>
              <a:gd name="connsiteX154" fmla="*/ 10477991 w 17367478"/>
              <a:gd name="connsiteY154" fmla="*/ 1112177 h 1386187"/>
              <a:gd name="connsiteX155" fmla="*/ 10465081 w 17367478"/>
              <a:gd name="connsiteY155" fmla="*/ 1063443 h 1386187"/>
              <a:gd name="connsiteX156" fmla="*/ 10465081 w 17367478"/>
              <a:gd name="connsiteY156" fmla="*/ 90046 h 1386187"/>
              <a:gd name="connsiteX157" fmla="*/ 10554486 w 17367478"/>
              <a:gd name="connsiteY157" fmla="*/ 2259 h 1386187"/>
              <a:gd name="connsiteX158" fmla="*/ 8825187 w 17367478"/>
              <a:gd name="connsiteY158" fmla="*/ 0 h 1386187"/>
              <a:gd name="connsiteX159" fmla="*/ 10306658 w 17367478"/>
              <a:gd name="connsiteY159" fmla="*/ 0 h 1386187"/>
              <a:gd name="connsiteX160" fmla="*/ 10306658 w 17367478"/>
              <a:gd name="connsiteY160" fmla="*/ 2259 h 1386187"/>
              <a:gd name="connsiteX161" fmla="*/ 10396708 w 17367478"/>
              <a:gd name="connsiteY161" fmla="*/ 90046 h 1386187"/>
              <a:gd name="connsiteX162" fmla="*/ 10396708 w 17367478"/>
              <a:gd name="connsiteY162" fmla="*/ 1063443 h 1386187"/>
              <a:gd name="connsiteX163" fmla="*/ 10382830 w 17367478"/>
              <a:gd name="connsiteY163" fmla="*/ 1112177 h 1386187"/>
              <a:gd name="connsiteX164" fmla="*/ 10298266 w 17367478"/>
              <a:gd name="connsiteY164" fmla="*/ 1161880 h 1386187"/>
              <a:gd name="connsiteX165" fmla="*/ 9763775 w 17367478"/>
              <a:gd name="connsiteY165" fmla="*/ 1161880 h 1386187"/>
              <a:gd name="connsiteX166" fmla="*/ 9763775 w 17367478"/>
              <a:gd name="connsiteY166" fmla="*/ 1296787 h 1386187"/>
              <a:gd name="connsiteX167" fmla="*/ 9865444 w 17367478"/>
              <a:gd name="connsiteY167" fmla="*/ 1296787 h 1386187"/>
              <a:gd name="connsiteX168" fmla="*/ 9910954 w 17367478"/>
              <a:gd name="connsiteY168" fmla="*/ 1341326 h 1386187"/>
              <a:gd name="connsiteX169" fmla="*/ 9865444 w 17367478"/>
              <a:gd name="connsiteY169" fmla="*/ 1386187 h 1386187"/>
              <a:gd name="connsiteX170" fmla="*/ 9266723 w 17367478"/>
              <a:gd name="connsiteY170" fmla="*/ 1386187 h 1386187"/>
              <a:gd name="connsiteX171" fmla="*/ 9221860 w 17367478"/>
              <a:gd name="connsiteY171" fmla="*/ 1341326 h 1386187"/>
              <a:gd name="connsiteX172" fmla="*/ 9266723 w 17367478"/>
              <a:gd name="connsiteY172" fmla="*/ 1296787 h 1386187"/>
              <a:gd name="connsiteX173" fmla="*/ 9368070 w 17367478"/>
              <a:gd name="connsiteY173" fmla="*/ 1296787 h 1386187"/>
              <a:gd name="connsiteX174" fmla="*/ 9368070 w 17367478"/>
              <a:gd name="connsiteY174" fmla="*/ 1161880 h 1386187"/>
              <a:gd name="connsiteX175" fmla="*/ 8833256 w 17367478"/>
              <a:gd name="connsiteY175" fmla="*/ 1161880 h 1386187"/>
              <a:gd name="connsiteX176" fmla="*/ 8748692 w 17367478"/>
              <a:gd name="connsiteY176" fmla="*/ 1112177 h 1386187"/>
              <a:gd name="connsiteX177" fmla="*/ 8735782 w 17367478"/>
              <a:gd name="connsiteY177" fmla="*/ 1063443 h 1386187"/>
              <a:gd name="connsiteX178" fmla="*/ 8735782 w 17367478"/>
              <a:gd name="connsiteY178" fmla="*/ 90046 h 1386187"/>
              <a:gd name="connsiteX179" fmla="*/ 8825187 w 17367478"/>
              <a:gd name="connsiteY179" fmla="*/ 2259 h 1386187"/>
              <a:gd name="connsiteX180" fmla="*/ 7078030 w 17367478"/>
              <a:gd name="connsiteY180" fmla="*/ 0 h 1386187"/>
              <a:gd name="connsiteX181" fmla="*/ 8559501 w 17367478"/>
              <a:gd name="connsiteY181" fmla="*/ 0 h 1386187"/>
              <a:gd name="connsiteX182" fmla="*/ 8559501 w 17367478"/>
              <a:gd name="connsiteY182" fmla="*/ 2259 h 1386187"/>
              <a:gd name="connsiteX183" fmla="*/ 8649551 w 17367478"/>
              <a:gd name="connsiteY183" fmla="*/ 90046 h 1386187"/>
              <a:gd name="connsiteX184" fmla="*/ 8649551 w 17367478"/>
              <a:gd name="connsiteY184" fmla="*/ 1063443 h 1386187"/>
              <a:gd name="connsiteX185" fmla="*/ 8635672 w 17367478"/>
              <a:gd name="connsiteY185" fmla="*/ 1112177 h 1386187"/>
              <a:gd name="connsiteX186" fmla="*/ 8551109 w 17367478"/>
              <a:gd name="connsiteY186" fmla="*/ 1161880 h 1386187"/>
              <a:gd name="connsiteX187" fmla="*/ 8016618 w 17367478"/>
              <a:gd name="connsiteY187" fmla="*/ 1161880 h 1386187"/>
              <a:gd name="connsiteX188" fmla="*/ 8016618 w 17367478"/>
              <a:gd name="connsiteY188" fmla="*/ 1296787 h 1386187"/>
              <a:gd name="connsiteX189" fmla="*/ 8118287 w 17367478"/>
              <a:gd name="connsiteY189" fmla="*/ 1296787 h 1386187"/>
              <a:gd name="connsiteX190" fmla="*/ 8163796 w 17367478"/>
              <a:gd name="connsiteY190" fmla="*/ 1341326 h 1386187"/>
              <a:gd name="connsiteX191" fmla="*/ 8118287 w 17367478"/>
              <a:gd name="connsiteY191" fmla="*/ 1386187 h 1386187"/>
              <a:gd name="connsiteX192" fmla="*/ 7519566 w 17367478"/>
              <a:gd name="connsiteY192" fmla="*/ 1386187 h 1386187"/>
              <a:gd name="connsiteX193" fmla="*/ 7474703 w 17367478"/>
              <a:gd name="connsiteY193" fmla="*/ 1341326 h 1386187"/>
              <a:gd name="connsiteX194" fmla="*/ 7519566 w 17367478"/>
              <a:gd name="connsiteY194" fmla="*/ 1296787 h 1386187"/>
              <a:gd name="connsiteX195" fmla="*/ 7620913 w 17367478"/>
              <a:gd name="connsiteY195" fmla="*/ 1296787 h 1386187"/>
              <a:gd name="connsiteX196" fmla="*/ 7620913 w 17367478"/>
              <a:gd name="connsiteY196" fmla="*/ 1161880 h 1386187"/>
              <a:gd name="connsiteX197" fmla="*/ 7086099 w 17367478"/>
              <a:gd name="connsiteY197" fmla="*/ 1161880 h 1386187"/>
              <a:gd name="connsiteX198" fmla="*/ 7001535 w 17367478"/>
              <a:gd name="connsiteY198" fmla="*/ 1112177 h 1386187"/>
              <a:gd name="connsiteX199" fmla="*/ 6988625 w 17367478"/>
              <a:gd name="connsiteY199" fmla="*/ 1063443 h 1386187"/>
              <a:gd name="connsiteX200" fmla="*/ 6988625 w 17367478"/>
              <a:gd name="connsiteY200" fmla="*/ 90046 h 1386187"/>
              <a:gd name="connsiteX201" fmla="*/ 7078030 w 17367478"/>
              <a:gd name="connsiteY201" fmla="*/ 2259 h 1386187"/>
              <a:gd name="connsiteX202" fmla="*/ 5330874 w 17367478"/>
              <a:gd name="connsiteY202" fmla="*/ 0 h 1386187"/>
              <a:gd name="connsiteX203" fmla="*/ 6812345 w 17367478"/>
              <a:gd name="connsiteY203" fmla="*/ 0 h 1386187"/>
              <a:gd name="connsiteX204" fmla="*/ 6812345 w 17367478"/>
              <a:gd name="connsiteY204" fmla="*/ 2259 h 1386187"/>
              <a:gd name="connsiteX205" fmla="*/ 6902395 w 17367478"/>
              <a:gd name="connsiteY205" fmla="*/ 90046 h 1386187"/>
              <a:gd name="connsiteX206" fmla="*/ 6902395 w 17367478"/>
              <a:gd name="connsiteY206" fmla="*/ 1063443 h 1386187"/>
              <a:gd name="connsiteX207" fmla="*/ 6888516 w 17367478"/>
              <a:gd name="connsiteY207" fmla="*/ 1112177 h 1386187"/>
              <a:gd name="connsiteX208" fmla="*/ 6803953 w 17367478"/>
              <a:gd name="connsiteY208" fmla="*/ 1161880 h 1386187"/>
              <a:gd name="connsiteX209" fmla="*/ 6269462 w 17367478"/>
              <a:gd name="connsiteY209" fmla="*/ 1161880 h 1386187"/>
              <a:gd name="connsiteX210" fmla="*/ 6269462 w 17367478"/>
              <a:gd name="connsiteY210" fmla="*/ 1296787 h 1386187"/>
              <a:gd name="connsiteX211" fmla="*/ 6371133 w 17367478"/>
              <a:gd name="connsiteY211" fmla="*/ 1296787 h 1386187"/>
              <a:gd name="connsiteX212" fmla="*/ 6416641 w 17367478"/>
              <a:gd name="connsiteY212" fmla="*/ 1341326 h 1386187"/>
              <a:gd name="connsiteX213" fmla="*/ 6371133 w 17367478"/>
              <a:gd name="connsiteY213" fmla="*/ 1386187 h 1386187"/>
              <a:gd name="connsiteX214" fmla="*/ 5772410 w 17367478"/>
              <a:gd name="connsiteY214" fmla="*/ 1386187 h 1386187"/>
              <a:gd name="connsiteX215" fmla="*/ 5727548 w 17367478"/>
              <a:gd name="connsiteY215" fmla="*/ 1341326 h 1386187"/>
              <a:gd name="connsiteX216" fmla="*/ 5772410 w 17367478"/>
              <a:gd name="connsiteY216" fmla="*/ 1296787 h 1386187"/>
              <a:gd name="connsiteX217" fmla="*/ 5873758 w 17367478"/>
              <a:gd name="connsiteY217" fmla="*/ 1296787 h 1386187"/>
              <a:gd name="connsiteX218" fmla="*/ 5873758 w 17367478"/>
              <a:gd name="connsiteY218" fmla="*/ 1161880 h 1386187"/>
              <a:gd name="connsiteX219" fmla="*/ 5338943 w 17367478"/>
              <a:gd name="connsiteY219" fmla="*/ 1161880 h 1386187"/>
              <a:gd name="connsiteX220" fmla="*/ 5254380 w 17367478"/>
              <a:gd name="connsiteY220" fmla="*/ 1112177 h 1386187"/>
              <a:gd name="connsiteX221" fmla="*/ 5241470 w 17367478"/>
              <a:gd name="connsiteY221" fmla="*/ 1063443 h 1386187"/>
              <a:gd name="connsiteX222" fmla="*/ 5241470 w 17367478"/>
              <a:gd name="connsiteY222" fmla="*/ 90046 h 1386187"/>
              <a:gd name="connsiteX223" fmla="*/ 5330874 w 17367478"/>
              <a:gd name="connsiteY223" fmla="*/ 2259 h 1386187"/>
              <a:gd name="connsiteX224" fmla="*/ 3583717 w 17367478"/>
              <a:gd name="connsiteY224" fmla="*/ 0 h 1386187"/>
              <a:gd name="connsiteX225" fmla="*/ 5065189 w 17367478"/>
              <a:gd name="connsiteY225" fmla="*/ 0 h 1386187"/>
              <a:gd name="connsiteX226" fmla="*/ 5065189 w 17367478"/>
              <a:gd name="connsiteY226" fmla="*/ 2259 h 1386187"/>
              <a:gd name="connsiteX227" fmla="*/ 5155238 w 17367478"/>
              <a:gd name="connsiteY227" fmla="*/ 90046 h 1386187"/>
              <a:gd name="connsiteX228" fmla="*/ 5155238 w 17367478"/>
              <a:gd name="connsiteY228" fmla="*/ 1063443 h 1386187"/>
              <a:gd name="connsiteX229" fmla="*/ 5141360 w 17367478"/>
              <a:gd name="connsiteY229" fmla="*/ 1112177 h 1386187"/>
              <a:gd name="connsiteX230" fmla="*/ 5056796 w 17367478"/>
              <a:gd name="connsiteY230" fmla="*/ 1161880 h 1386187"/>
              <a:gd name="connsiteX231" fmla="*/ 4522305 w 17367478"/>
              <a:gd name="connsiteY231" fmla="*/ 1161880 h 1386187"/>
              <a:gd name="connsiteX232" fmla="*/ 4522305 w 17367478"/>
              <a:gd name="connsiteY232" fmla="*/ 1296787 h 1386187"/>
              <a:gd name="connsiteX233" fmla="*/ 4623975 w 17367478"/>
              <a:gd name="connsiteY233" fmla="*/ 1296787 h 1386187"/>
              <a:gd name="connsiteX234" fmla="*/ 4669484 w 17367478"/>
              <a:gd name="connsiteY234" fmla="*/ 1341326 h 1386187"/>
              <a:gd name="connsiteX235" fmla="*/ 4623975 w 17367478"/>
              <a:gd name="connsiteY235" fmla="*/ 1386187 h 1386187"/>
              <a:gd name="connsiteX236" fmla="*/ 4025254 w 17367478"/>
              <a:gd name="connsiteY236" fmla="*/ 1386187 h 1386187"/>
              <a:gd name="connsiteX237" fmla="*/ 3980391 w 17367478"/>
              <a:gd name="connsiteY237" fmla="*/ 1341326 h 1386187"/>
              <a:gd name="connsiteX238" fmla="*/ 4025254 w 17367478"/>
              <a:gd name="connsiteY238" fmla="*/ 1296787 h 1386187"/>
              <a:gd name="connsiteX239" fmla="*/ 4126601 w 17367478"/>
              <a:gd name="connsiteY239" fmla="*/ 1296787 h 1386187"/>
              <a:gd name="connsiteX240" fmla="*/ 4126601 w 17367478"/>
              <a:gd name="connsiteY240" fmla="*/ 1161880 h 1386187"/>
              <a:gd name="connsiteX241" fmla="*/ 3591786 w 17367478"/>
              <a:gd name="connsiteY241" fmla="*/ 1161880 h 1386187"/>
              <a:gd name="connsiteX242" fmla="*/ 3507223 w 17367478"/>
              <a:gd name="connsiteY242" fmla="*/ 1112177 h 1386187"/>
              <a:gd name="connsiteX243" fmla="*/ 3494313 w 17367478"/>
              <a:gd name="connsiteY243" fmla="*/ 1063443 h 1386187"/>
              <a:gd name="connsiteX244" fmla="*/ 3494313 w 17367478"/>
              <a:gd name="connsiteY244" fmla="*/ 90046 h 1386187"/>
              <a:gd name="connsiteX245" fmla="*/ 3583717 w 17367478"/>
              <a:gd name="connsiteY245" fmla="*/ 2259 h 1386187"/>
              <a:gd name="connsiteX246" fmla="*/ 1836561 w 17367478"/>
              <a:gd name="connsiteY246" fmla="*/ 0 h 1386187"/>
              <a:gd name="connsiteX247" fmla="*/ 3318031 w 17367478"/>
              <a:gd name="connsiteY247" fmla="*/ 0 h 1386187"/>
              <a:gd name="connsiteX248" fmla="*/ 3318031 w 17367478"/>
              <a:gd name="connsiteY248" fmla="*/ 2259 h 1386187"/>
              <a:gd name="connsiteX249" fmla="*/ 3408082 w 17367478"/>
              <a:gd name="connsiteY249" fmla="*/ 90046 h 1386187"/>
              <a:gd name="connsiteX250" fmla="*/ 3408082 w 17367478"/>
              <a:gd name="connsiteY250" fmla="*/ 1063443 h 1386187"/>
              <a:gd name="connsiteX251" fmla="*/ 3394203 w 17367478"/>
              <a:gd name="connsiteY251" fmla="*/ 1112177 h 1386187"/>
              <a:gd name="connsiteX252" fmla="*/ 3309640 w 17367478"/>
              <a:gd name="connsiteY252" fmla="*/ 1161880 h 1386187"/>
              <a:gd name="connsiteX253" fmla="*/ 2775148 w 17367478"/>
              <a:gd name="connsiteY253" fmla="*/ 1161880 h 1386187"/>
              <a:gd name="connsiteX254" fmla="*/ 2775148 w 17367478"/>
              <a:gd name="connsiteY254" fmla="*/ 1296787 h 1386187"/>
              <a:gd name="connsiteX255" fmla="*/ 2876818 w 17367478"/>
              <a:gd name="connsiteY255" fmla="*/ 1296787 h 1386187"/>
              <a:gd name="connsiteX256" fmla="*/ 2922327 w 17367478"/>
              <a:gd name="connsiteY256" fmla="*/ 1341326 h 1386187"/>
              <a:gd name="connsiteX257" fmla="*/ 2876818 w 17367478"/>
              <a:gd name="connsiteY257" fmla="*/ 1386187 h 1386187"/>
              <a:gd name="connsiteX258" fmla="*/ 2278097 w 17367478"/>
              <a:gd name="connsiteY258" fmla="*/ 1386187 h 1386187"/>
              <a:gd name="connsiteX259" fmla="*/ 2233234 w 17367478"/>
              <a:gd name="connsiteY259" fmla="*/ 1341326 h 1386187"/>
              <a:gd name="connsiteX260" fmla="*/ 2278097 w 17367478"/>
              <a:gd name="connsiteY260" fmla="*/ 1296787 h 1386187"/>
              <a:gd name="connsiteX261" fmla="*/ 2379444 w 17367478"/>
              <a:gd name="connsiteY261" fmla="*/ 1296787 h 1386187"/>
              <a:gd name="connsiteX262" fmla="*/ 2379444 w 17367478"/>
              <a:gd name="connsiteY262" fmla="*/ 1161880 h 1386187"/>
              <a:gd name="connsiteX263" fmla="*/ 1844630 w 17367478"/>
              <a:gd name="connsiteY263" fmla="*/ 1161880 h 1386187"/>
              <a:gd name="connsiteX264" fmla="*/ 1760067 w 17367478"/>
              <a:gd name="connsiteY264" fmla="*/ 1112177 h 1386187"/>
              <a:gd name="connsiteX265" fmla="*/ 1747156 w 17367478"/>
              <a:gd name="connsiteY265" fmla="*/ 1063443 h 1386187"/>
              <a:gd name="connsiteX266" fmla="*/ 1747156 w 17367478"/>
              <a:gd name="connsiteY266" fmla="*/ 90046 h 1386187"/>
              <a:gd name="connsiteX267" fmla="*/ 1836561 w 17367478"/>
              <a:gd name="connsiteY267" fmla="*/ 2259 h 1386187"/>
              <a:gd name="connsiteX268" fmla="*/ 89405 w 17367478"/>
              <a:gd name="connsiteY268" fmla="*/ 0 h 1386187"/>
              <a:gd name="connsiteX269" fmla="*/ 1570877 w 17367478"/>
              <a:gd name="connsiteY269" fmla="*/ 0 h 1386187"/>
              <a:gd name="connsiteX270" fmla="*/ 1570877 w 17367478"/>
              <a:gd name="connsiteY270" fmla="*/ 2259 h 1386187"/>
              <a:gd name="connsiteX271" fmla="*/ 1660926 w 17367478"/>
              <a:gd name="connsiteY271" fmla="*/ 90046 h 1386187"/>
              <a:gd name="connsiteX272" fmla="*/ 1660926 w 17367478"/>
              <a:gd name="connsiteY272" fmla="*/ 1063443 h 1386187"/>
              <a:gd name="connsiteX273" fmla="*/ 1647048 w 17367478"/>
              <a:gd name="connsiteY273" fmla="*/ 1112177 h 1386187"/>
              <a:gd name="connsiteX274" fmla="*/ 1562485 w 17367478"/>
              <a:gd name="connsiteY274" fmla="*/ 1161880 h 1386187"/>
              <a:gd name="connsiteX275" fmla="*/ 1027993 w 17367478"/>
              <a:gd name="connsiteY275" fmla="*/ 1161880 h 1386187"/>
              <a:gd name="connsiteX276" fmla="*/ 1027993 w 17367478"/>
              <a:gd name="connsiteY276" fmla="*/ 1296787 h 1386187"/>
              <a:gd name="connsiteX277" fmla="*/ 1129663 w 17367478"/>
              <a:gd name="connsiteY277" fmla="*/ 1296787 h 1386187"/>
              <a:gd name="connsiteX278" fmla="*/ 1175172 w 17367478"/>
              <a:gd name="connsiteY278" fmla="*/ 1341326 h 1386187"/>
              <a:gd name="connsiteX279" fmla="*/ 1129663 w 17367478"/>
              <a:gd name="connsiteY279" fmla="*/ 1386187 h 1386187"/>
              <a:gd name="connsiteX280" fmla="*/ 530942 w 17367478"/>
              <a:gd name="connsiteY280" fmla="*/ 1386187 h 1386187"/>
              <a:gd name="connsiteX281" fmla="*/ 486078 w 17367478"/>
              <a:gd name="connsiteY281" fmla="*/ 1341326 h 1386187"/>
              <a:gd name="connsiteX282" fmla="*/ 530942 w 17367478"/>
              <a:gd name="connsiteY282" fmla="*/ 1296787 h 1386187"/>
              <a:gd name="connsiteX283" fmla="*/ 632289 w 17367478"/>
              <a:gd name="connsiteY283" fmla="*/ 1296787 h 1386187"/>
              <a:gd name="connsiteX284" fmla="*/ 632289 w 17367478"/>
              <a:gd name="connsiteY284" fmla="*/ 1161880 h 1386187"/>
              <a:gd name="connsiteX285" fmla="*/ 97474 w 17367478"/>
              <a:gd name="connsiteY285" fmla="*/ 1161880 h 1386187"/>
              <a:gd name="connsiteX286" fmla="*/ 12911 w 17367478"/>
              <a:gd name="connsiteY286" fmla="*/ 1112177 h 1386187"/>
              <a:gd name="connsiteX287" fmla="*/ 0 w 17367478"/>
              <a:gd name="connsiteY287" fmla="*/ 1063443 h 1386187"/>
              <a:gd name="connsiteX288" fmla="*/ 0 w 17367478"/>
              <a:gd name="connsiteY288" fmla="*/ 90046 h 1386187"/>
              <a:gd name="connsiteX289" fmla="*/ 89405 w 17367478"/>
              <a:gd name="connsiteY289" fmla="*/ 2259 h 1386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Lst>
            <a:rect l="l" t="t" r="r" b="b"/>
            <a:pathLst>
              <a:path w="17367478" h="1386187">
                <a:moveTo>
                  <a:pt x="15795956" y="90046"/>
                </a:moveTo>
                <a:lnTo>
                  <a:pt x="15795956" y="1063443"/>
                </a:lnTo>
                <a:cubicBezTo>
                  <a:pt x="15795956" y="1069252"/>
                  <a:pt x="15798538" y="1071834"/>
                  <a:pt x="15804024" y="1071834"/>
                </a:cubicBezTo>
                <a:lnTo>
                  <a:pt x="17269036" y="1071834"/>
                </a:lnTo>
                <a:cubicBezTo>
                  <a:pt x="17274844" y="1071834"/>
                  <a:pt x="17277426" y="1069252"/>
                  <a:pt x="17277426" y="1063443"/>
                </a:cubicBezTo>
                <a:lnTo>
                  <a:pt x="17277426" y="98114"/>
                </a:lnTo>
                <a:lnTo>
                  <a:pt x="17277426" y="90046"/>
                </a:lnTo>
                <a:close/>
                <a:moveTo>
                  <a:pt x="14048799" y="90046"/>
                </a:moveTo>
                <a:lnTo>
                  <a:pt x="14048799" y="1063443"/>
                </a:lnTo>
                <a:cubicBezTo>
                  <a:pt x="14048799" y="1069252"/>
                  <a:pt x="14051381" y="1071834"/>
                  <a:pt x="14056868" y="1071834"/>
                </a:cubicBezTo>
                <a:lnTo>
                  <a:pt x="15521878" y="1071834"/>
                </a:lnTo>
                <a:cubicBezTo>
                  <a:pt x="15527688" y="1071834"/>
                  <a:pt x="15530270" y="1069252"/>
                  <a:pt x="15530270" y="1063443"/>
                </a:cubicBezTo>
                <a:lnTo>
                  <a:pt x="15530270" y="98114"/>
                </a:lnTo>
                <a:lnTo>
                  <a:pt x="15530270" y="90046"/>
                </a:lnTo>
                <a:close/>
                <a:moveTo>
                  <a:pt x="12301642" y="90046"/>
                </a:moveTo>
                <a:lnTo>
                  <a:pt x="12301642" y="1063443"/>
                </a:lnTo>
                <a:cubicBezTo>
                  <a:pt x="12301642" y="1069252"/>
                  <a:pt x="12304224" y="1071834"/>
                  <a:pt x="12309711" y="1071834"/>
                </a:cubicBezTo>
                <a:lnTo>
                  <a:pt x="13774721" y="1071834"/>
                </a:lnTo>
                <a:cubicBezTo>
                  <a:pt x="13780531" y="1071834"/>
                  <a:pt x="13783113" y="1069252"/>
                  <a:pt x="13783113" y="1063443"/>
                </a:cubicBezTo>
                <a:lnTo>
                  <a:pt x="13783113" y="98114"/>
                </a:lnTo>
                <a:lnTo>
                  <a:pt x="13783113" y="90046"/>
                </a:lnTo>
                <a:close/>
                <a:moveTo>
                  <a:pt x="10554486" y="90046"/>
                </a:moveTo>
                <a:lnTo>
                  <a:pt x="10554486" y="1063443"/>
                </a:lnTo>
                <a:cubicBezTo>
                  <a:pt x="10554486" y="1069252"/>
                  <a:pt x="10557068" y="1071834"/>
                  <a:pt x="10562555" y="1071834"/>
                </a:cubicBezTo>
                <a:lnTo>
                  <a:pt x="12027565" y="1071834"/>
                </a:lnTo>
                <a:cubicBezTo>
                  <a:pt x="12033375" y="1071834"/>
                  <a:pt x="12035957" y="1069252"/>
                  <a:pt x="12035957" y="1063443"/>
                </a:cubicBezTo>
                <a:lnTo>
                  <a:pt x="12035957" y="98114"/>
                </a:lnTo>
                <a:lnTo>
                  <a:pt x="12035957" y="90046"/>
                </a:lnTo>
                <a:close/>
                <a:moveTo>
                  <a:pt x="8825187" y="90046"/>
                </a:moveTo>
                <a:lnTo>
                  <a:pt x="8825187" y="1063443"/>
                </a:lnTo>
                <a:cubicBezTo>
                  <a:pt x="8825187" y="1069252"/>
                  <a:pt x="8827769" y="1071834"/>
                  <a:pt x="8833256" y="1071834"/>
                </a:cubicBezTo>
                <a:lnTo>
                  <a:pt x="10298266" y="1071834"/>
                </a:lnTo>
                <a:cubicBezTo>
                  <a:pt x="10304076" y="1071834"/>
                  <a:pt x="10306658" y="1069252"/>
                  <a:pt x="10306658" y="1063443"/>
                </a:cubicBezTo>
                <a:lnTo>
                  <a:pt x="10306658" y="98114"/>
                </a:lnTo>
                <a:lnTo>
                  <a:pt x="10306658" y="90046"/>
                </a:lnTo>
                <a:close/>
                <a:moveTo>
                  <a:pt x="7078030" y="90046"/>
                </a:moveTo>
                <a:lnTo>
                  <a:pt x="7078030" y="1063443"/>
                </a:lnTo>
                <a:cubicBezTo>
                  <a:pt x="7078030" y="1069252"/>
                  <a:pt x="7080612" y="1071834"/>
                  <a:pt x="7086099" y="1071834"/>
                </a:cubicBezTo>
                <a:lnTo>
                  <a:pt x="8551109" y="1071834"/>
                </a:lnTo>
                <a:cubicBezTo>
                  <a:pt x="8556919" y="1071834"/>
                  <a:pt x="8559501" y="1069252"/>
                  <a:pt x="8559501" y="1063443"/>
                </a:cubicBezTo>
                <a:lnTo>
                  <a:pt x="8559501" y="98114"/>
                </a:lnTo>
                <a:lnTo>
                  <a:pt x="8559501" y="90046"/>
                </a:lnTo>
                <a:close/>
                <a:moveTo>
                  <a:pt x="5330874" y="90046"/>
                </a:moveTo>
                <a:lnTo>
                  <a:pt x="5330874" y="1063443"/>
                </a:lnTo>
                <a:cubicBezTo>
                  <a:pt x="5330874" y="1069252"/>
                  <a:pt x="5333457" y="1071834"/>
                  <a:pt x="5338943" y="1071834"/>
                </a:cubicBezTo>
                <a:lnTo>
                  <a:pt x="6803953" y="1071834"/>
                </a:lnTo>
                <a:cubicBezTo>
                  <a:pt x="6809763" y="1071834"/>
                  <a:pt x="6812345" y="1069252"/>
                  <a:pt x="6812345" y="1063443"/>
                </a:cubicBezTo>
                <a:lnTo>
                  <a:pt x="6812345" y="98114"/>
                </a:lnTo>
                <a:lnTo>
                  <a:pt x="6812345" y="90046"/>
                </a:lnTo>
                <a:close/>
                <a:moveTo>
                  <a:pt x="3583717" y="90046"/>
                </a:moveTo>
                <a:lnTo>
                  <a:pt x="3583717" y="1063443"/>
                </a:lnTo>
                <a:cubicBezTo>
                  <a:pt x="3583717" y="1069252"/>
                  <a:pt x="3586300" y="1071834"/>
                  <a:pt x="3591786" y="1071834"/>
                </a:cubicBezTo>
                <a:lnTo>
                  <a:pt x="5056796" y="1071834"/>
                </a:lnTo>
                <a:cubicBezTo>
                  <a:pt x="5062607" y="1071834"/>
                  <a:pt x="5065189" y="1069252"/>
                  <a:pt x="5065189" y="1063443"/>
                </a:cubicBezTo>
                <a:lnTo>
                  <a:pt x="5065189" y="98114"/>
                </a:lnTo>
                <a:lnTo>
                  <a:pt x="5065189" y="90046"/>
                </a:lnTo>
                <a:close/>
                <a:moveTo>
                  <a:pt x="1836561" y="90046"/>
                </a:moveTo>
                <a:lnTo>
                  <a:pt x="1836561" y="1063443"/>
                </a:lnTo>
                <a:cubicBezTo>
                  <a:pt x="1836561" y="1069252"/>
                  <a:pt x="1839144" y="1071834"/>
                  <a:pt x="1844630" y="1071834"/>
                </a:cubicBezTo>
                <a:lnTo>
                  <a:pt x="3309640" y="1071834"/>
                </a:lnTo>
                <a:cubicBezTo>
                  <a:pt x="3315450" y="1071834"/>
                  <a:pt x="3318031" y="1069252"/>
                  <a:pt x="3318031" y="1063443"/>
                </a:cubicBezTo>
                <a:lnTo>
                  <a:pt x="3318031" y="98114"/>
                </a:lnTo>
                <a:lnTo>
                  <a:pt x="3318031" y="90046"/>
                </a:lnTo>
                <a:close/>
                <a:moveTo>
                  <a:pt x="89405" y="90046"/>
                </a:moveTo>
                <a:lnTo>
                  <a:pt x="89405" y="1063443"/>
                </a:lnTo>
                <a:cubicBezTo>
                  <a:pt x="89405" y="1069252"/>
                  <a:pt x="91987" y="1071834"/>
                  <a:pt x="97474" y="1071834"/>
                </a:cubicBezTo>
                <a:lnTo>
                  <a:pt x="1562485" y="1071834"/>
                </a:lnTo>
                <a:cubicBezTo>
                  <a:pt x="1568294" y="1071834"/>
                  <a:pt x="1570877" y="1069252"/>
                  <a:pt x="1570877" y="1063443"/>
                </a:cubicBezTo>
                <a:lnTo>
                  <a:pt x="1570877" y="98114"/>
                </a:lnTo>
                <a:lnTo>
                  <a:pt x="1570877" y="90046"/>
                </a:lnTo>
                <a:close/>
                <a:moveTo>
                  <a:pt x="15795956" y="0"/>
                </a:moveTo>
                <a:lnTo>
                  <a:pt x="17277426" y="0"/>
                </a:lnTo>
                <a:lnTo>
                  <a:pt x="17277426" y="2259"/>
                </a:lnTo>
                <a:cubicBezTo>
                  <a:pt x="17323582" y="5487"/>
                  <a:pt x="17361990" y="43570"/>
                  <a:pt x="17367478" y="90046"/>
                </a:cubicBezTo>
                <a:lnTo>
                  <a:pt x="17367478" y="1063443"/>
                </a:lnTo>
                <a:cubicBezTo>
                  <a:pt x="17367478" y="1081516"/>
                  <a:pt x="17361990" y="1097331"/>
                  <a:pt x="17353598" y="1112177"/>
                </a:cubicBezTo>
                <a:cubicBezTo>
                  <a:pt x="17335202" y="1145420"/>
                  <a:pt x="17307444" y="1161880"/>
                  <a:pt x="17269036" y="1161880"/>
                </a:cubicBezTo>
                <a:lnTo>
                  <a:pt x="16734544" y="1161880"/>
                </a:lnTo>
                <a:lnTo>
                  <a:pt x="16734544" y="1296787"/>
                </a:lnTo>
                <a:lnTo>
                  <a:pt x="16836214" y="1296787"/>
                </a:lnTo>
                <a:cubicBezTo>
                  <a:pt x="16861066" y="1296787"/>
                  <a:pt x="16881722" y="1316152"/>
                  <a:pt x="16881722" y="1341326"/>
                </a:cubicBezTo>
                <a:cubicBezTo>
                  <a:pt x="16881722" y="1366500"/>
                  <a:pt x="16861066" y="1386187"/>
                  <a:pt x="16836214" y="1386187"/>
                </a:cubicBezTo>
                <a:lnTo>
                  <a:pt x="16237492" y="1386187"/>
                </a:lnTo>
                <a:cubicBezTo>
                  <a:pt x="16211994" y="1386187"/>
                  <a:pt x="16192628" y="1366500"/>
                  <a:pt x="16192628" y="1341326"/>
                </a:cubicBezTo>
                <a:cubicBezTo>
                  <a:pt x="16192628" y="1316152"/>
                  <a:pt x="16211994" y="1296787"/>
                  <a:pt x="16237492" y="1296787"/>
                </a:cubicBezTo>
                <a:lnTo>
                  <a:pt x="16338840" y="1296787"/>
                </a:lnTo>
                <a:lnTo>
                  <a:pt x="16338840" y="1161880"/>
                </a:lnTo>
                <a:lnTo>
                  <a:pt x="15804024" y="1161880"/>
                </a:lnTo>
                <a:cubicBezTo>
                  <a:pt x="15765938" y="1161880"/>
                  <a:pt x="15738504" y="1145420"/>
                  <a:pt x="15719462" y="1112177"/>
                </a:cubicBezTo>
                <a:cubicBezTo>
                  <a:pt x="15711392" y="1097976"/>
                  <a:pt x="15706550" y="1082485"/>
                  <a:pt x="15706550" y="1063443"/>
                </a:cubicBezTo>
                <a:lnTo>
                  <a:pt x="15706550" y="90046"/>
                </a:lnTo>
                <a:cubicBezTo>
                  <a:pt x="15712360" y="43570"/>
                  <a:pt x="15748188" y="5487"/>
                  <a:pt x="15795956" y="2259"/>
                </a:cubicBezTo>
                <a:close/>
                <a:moveTo>
                  <a:pt x="14048799" y="0"/>
                </a:moveTo>
                <a:lnTo>
                  <a:pt x="15530270" y="0"/>
                </a:lnTo>
                <a:lnTo>
                  <a:pt x="15530270" y="2259"/>
                </a:lnTo>
                <a:cubicBezTo>
                  <a:pt x="15576424" y="5487"/>
                  <a:pt x="15614834" y="43570"/>
                  <a:pt x="15620320" y="90046"/>
                </a:cubicBezTo>
                <a:lnTo>
                  <a:pt x="15620320" y="1063443"/>
                </a:lnTo>
                <a:cubicBezTo>
                  <a:pt x="15620320" y="1081516"/>
                  <a:pt x="15614834" y="1097331"/>
                  <a:pt x="15606442" y="1112177"/>
                </a:cubicBezTo>
                <a:cubicBezTo>
                  <a:pt x="15588044" y="1145420"/>
                  <a:pt x="15560286" y="1161880"/>
                  <a:pt x="15521878" y="1161880"/>
                </a:cubicBezTo>
                <a:lnTo>
                  <a:pt x="14987387" y="1161880"/>
                </a:lnTo>
                <a:lnTo>
                  <a:pt x="14987387" y="1296787"/>
                </a:lnTo>
                <a:lnTo>
                  <a:pt x="15089056" y="1296787"/>
                </a:lnTo>
                <a:cubicBezTo>
                  <a:pt x="15113908" y="1296787"/>
                  <a:pt x="15134566" y="1316152"/>
                  <a:pt x="15134566" y="1341326"/>
                </a:cubicBezTo>
                <a:cubicBezTo>
                  <a:pt x="15134566" y="1366500"/>
                  <a:pt x="15113908" y="1386187"/>
                  <a:pt x="15089056" y="1386187"/>
                </a:cubicBezTo>
                <a:lnTo>
                  <a:pt x="14490335" y="1386187"/>
                </a:lnTo>
                <a:cubicBezTo>
                  <a:pt x="14464837" y="1386187"/>
                  <a:pt x="14445472" y="1366500"/>
                  <a:pt x="14445472" y="1341326"/>
                </a:cubicBezTo>
                <a:cubicBezTo>
                  <a:pt x="14445472" y="1316152"/>
                  <a:pt x="14464837" y="1296787"/>
                  <a:pt x="14490335" y="1296787"/>
                </a:cubicBezTo>
                <a:lnTo>
                  <a:pt x="14591682" y="1296787"/>
                </a:lnTo>
                <a:lnTo>
                  <a:pt x="14591682" y="1161880"/>
                </a:lnTo>
                <a:lnTo>
                  <a:pt x="14056868" y="1161880"/>
                </a:lnTo>
                <a:cubicBezTo>
                  <a:pt x="14018782" y="1161880"/>
                  <a:pt x="13991347" y="1145420"/>
                  <a:pt x="13972304" y="1112177"/>
                </a:cubicBezTo>
                <a:cubicBezTo>
                  <a:pt x="13964235" y="1097976"/>
                  <a:pt x="13959394" y="1082485"/>
                  <a:pt x="13959394" y="1063443"/>
                </a:cubicBezTo>
                <a:lnTo>
                  <a:pt x="13959394" y="90046"/>
                </a:lnTo>
                <a:cubicBezTo>
                  <a:pt x="13965204" y="43570"/>
                  <a:pt x="14001030" y="5487"/>
                  <a:pt x="14048799" y="2259"/>
                </a:cubicBezTo>
                <a:close/>
                <a:moveTo>
                  <a:pt x="12301642" y="0"/>
                </a:moveTo>
                <a:lnTo>
                  <a:pt x="13783113" y="0"/>
                </a:lnTo>
                <a:lnTo>
                  <a:pt x="13783113" y="2259"/>
                </a:lnTo>
                <a:cubicBezTo>
                  <a:pt x="13829268" y="5487"/>
                  <a:pt x="13867676" y="43570"/>
                  <a:pt x="13873163" y="90046"/>
                </a:cubicBezTo>
                <a:lnTo>
                  <a:pt x="13873163" y="1063443"/>
                </a:lnTo>
                <a:cubicBezTo>
                  <a:pt x="13873163" y="1081516"/>
                  <a:pt x="13867676" y="1097331"/>
                  <a:pt x="13859284" y="1112177"/>
                </a:cubicBezTo>
                <a:cubicBezTo>
                  <a:pt x="13840887" y="1145420"/>
                  <a:pt x="13813130" y="1161880"/>
                  <a:pt x="13774721" y="1161880"/>
                </a:cubicBezTo>
                <a:lnTo>
                  <a:pt x="13240230" y="1161880"/>
                </a:lnTo>
                <a:lnTo>
                  <a:pt x="13240230" y="1296787"/>
                </a:lnTo>
                <a:lnTo>
                  <a:pt x="13341899" y="1296787"/>
                </a:lnTo>
                <a:cubicBezTo>
                  <a:pt x="13366752" y="1296787"/>
                  <a:pt x="13387408" y="1316152"/>
                  <a:pt x="13387408" y="1341326"/>
                </a:cubicBezTo>
                <a:cubicBezTo>
                  <a:pt x="13387408" y="1366500"/>
                  <a:pt x="13366752" y="1386187"/>
                  <a:pt x="13341899" y="1386187"/>
                </a:cubicBezTo>
                <a:lnTo>
                  <a:pt x="12743178" y="1386187"/>
                </a:lnTo>
                <a:cubicBezTo>
                  <a:pt x="12717680" y="1386187"/>
                  <a:pt x="12698315" y="1366500"/>
                  <a:pt x="12698315" y="1341326"/>
                </a:cubicBezTo>
                <a:cubicBezTo>
                  <a:pt x="12698315" y="1316152"/>
                  <a:pt x="12717680" y="1296787"/>
                  <a:pt x="12743178" y="1296787"/>
                </a:cubicBezTo>
                <a:lnTo>
                  <a:pt x="12844525" y="1296787"/>
                </a:lnTo>
                <a:lnTo>
                  <a:pt x="12844525" y="1161880"/>
                </a:lnTo>
                <a:lnTo>
                  <a:pt x="12309711" y="1161880"/>
                </a:lnTo>
                <a:cubicBezTo>
                  <a:pt x="12271625" y="1161880"/>
                  <a:pt x="12244190" y="1145420"/>
                  <a:pt x="12225147" y="1112177"/>
                </a:cubicBezTo>
                <a:cubicBezTo>
                  <a:pt x="12217078" y="1097976"/>
                  <a:pt x="12212237" y="1082485"/>
                  <a:pt x="12212237" y="1063443"/>
                </a:cubicBezTo>
                <a:lnTo>
                  <a:pt x="12212237" y="90046"/>
                </a:lnTo>
                <a:cubicBezTo>
                  <a:pt x="12218047" y="43570"/>
                  <a:pt x="12253873" y="5487"/>
                  <a:pt x="12301642" y="2259"/>
                </a:cubicBezTo>
                <a:close/>
                <a:moveTo>
                  <a:pt x="10554486" y="0"/>
                </a:moveTo>
                <a:lnTo>
                  <a:pt x="12035957" y="0"/>
                </a:lnTo>
                <a:lnTo>
                  <a:pt x="12035957" y="2259"/>
                </a:lnTo>
                <a:cubicBezTo>
                  <a:pt x="12082112" y="5487"/>
                  <a:pt x="12120520" y="43570"/>
                  <a:pt x="12126007" y="90046"/>
                </a:cubicBezTo>
                <a:lnTo>
                  <a:pt x="12126007" y="1063443"/>
                </a:lnTo>
                <a:cubicBezTo>
                  <a:pt x="12126007" y="1081516"/>
                  <a:pt x="12120520" y="1097331"/>
                  <a:pt x="12112128" y="1112177"/>
                </a:cubicBezTo>
                <a:cubicBezTo>
                  <a:pt x="12093731" y="1145420"/>
                  <a:pt x="12065974" y="1161880"/>
                  <a:pt x="12027565" y="1161880"/>
                </a:cubicBezTo>
                <a:lnTo>
                  <a:pt x="11493074" y="1161880"/>
                </a:lnTo>
                <a:lnTo>
                  <a:pt x="11493074" y="1296787"/>
                </a:lnTo>
                <a:lnTo>
                  <a:pt x="11594743" y="1296787"/>
                </a:lnTo>
                <a:cubicBezTo>
                  <a:pt x="11619596" y="1296787"/>
                  <a:pt x="11640252" y="1316152"/>
                  <a:pt x="11640252" y="1341326"/>
                </a:cubicBezTo>
                <a:cubicBezTo>
                  <a:pt x="11640252" y="1366500"/>
                  <a:pt x="11619596" y="1386187"/>
                  <a:pt x="11594743" y="1386187"/>
                </a:cubicBezTo>
                <a:lnTo>
                  <a:pt x="10996022" y="1386187"/>
                </a:lnTo>
                <a:cubicBezTo>
                  <a:pt x="10970524" y="1386187"/>
                  <a:pt x="10951159" y="1366500"/>
                  <a:pt x="10951159" y="1341326"/>
                </a:cubicBezTo>
                <a:cubicBezTo>
                  <a:pt x="10951159" y="1316152"/>
                  <a:pt x="10970524" y="1296787"/>
                  <a:pt x="10996022" y="1296787"/>
                </a:cubicBezTo>
                <a:lnTo>
                  <a:pt x="11097369" y="1296787"/>
                </a:lnTo>
                <a:lnTo>
                  <a:pt x="11097369" y="1161880"/>
                </a:lnTo>
                <a:lnTo>
                  <a:pt x="10562555" y="1161880"/>
                </a:lnTo>
                <a:cubicBezTo>
                  <a:pt x="10524469" y="1161880"/>
                  <a:pt x="10497034" y="1145420"/>
                  <a:pt x="10477991" y="1112177"/>
                </a:cubicBezTo>
                <a:cubicBezTo>
                  <a:pt x="10469922" y="1097976"/>
                  <a:pt x="10465081" y="1082485"/>
                  <a:pt x="10465081" y="1063443"/>
                </a:cubicBezTo>
                <a:lnTo>
                  <a:pt x="10465081" y="90046"/>
                </a:lnTo>
                <a:cubicBezTo>
                  <a:pt x="10470891" y="43570"/>
                  <a:pt x="10506717" y="5487"/>
                  <a:pt x="10554486" y="2259"/>
                </a:cubicBezTo>
                <a:close/>
                <a:moveTo>
                  <a:pt x="8825187" y="0"/>
                </a:moveTo>
                <a:lnTo>
                  <a:pt x="10306658" y="0"/>
                </a:lnTo>
                <a:lnTo>
                  <a:pt x="10306658" y="2259"/>
                </a:lnTo>
                <a:cubicBezTo>
                  <a:pt x="10352813" y="5487"/>
                  <a:pt x="10391221" y="43570"/>
                  <a:pt x="10396708" y="90046"/>
                </a:cubicBezTo>
                <a:lnTo>
                  <a:pt x="10396708" y="1063443"/>
                </a:lnTo>
                <a:cubicBezTo>
                  <a:pt x="10396708" y="1081516"/>
                  <a:pt x="10391221" y="1097331"/>
                  <a:pt x="10382830" y="1112177"/>
                </a:cubicBezTo>
                <a:cubicBezTo>
                  <a:pt x="10364432" y="1145420"/>
                  <a:pt x="10336675" y="1161880"/>
                  <a:pt x="10298266" y="1161880"/>
                </a:cubicBezTo>
                <a:lnTo>
                  <a:pt x="9763775" y="1161880"/>
                </a:lnTo>
                <a:lnTo>
                  <a:pt x="9763775" y="1296787"/>
                </a:lnTo>
                <a:lnTo>
                  <a:pt x="9865444" y="1296787"/>
                </a:lnTo>
                <a:cubicBezTo>
                  <a:pt x="9890297" y="1296787"/>
                  <a:pt x="9910954" y="1316152"/>
                  <a:pt x="9910954" y="1341326"/>
                </a:cubicBezTo>
                <a:cubicBezTo>
                  <a:pt x="9910954" y="1366500"/>
                  <a:pt x="9890297" y="1386187"/>
                  <a:pt x="9865444" y="1386187"/>
                </a:cubicBezTo>
                <a:lnTo>
                  <a:pt x="9266723" y="1386187"/>
                </a:lnTo>
                <a:cubicBezTo>
                  <a:pt x="9241225" y="1386187"/>
                  <a:pt x="9221860" y="1366500"/>
                  <a:pt x="9221860" y="1341326"/>
                </a:cubicBezTo>
                <a:cubicBezTo>
                  <a:pt x="9221860" y="1316152"/>
                  <a:pt x="9241225" y="1296787"/>
                  <a:pt x="9266723" y="1296787"/>
                </a:cubicBezTo>
                <a:lnTo>
                  <a:pt x="9368070" y="1296787"/>
                </a:lnTo>
                <a:lnTo>
                  <a:pt x="9368070" y="1161880"/>
                </a:lnTo>
                <a:lnTo>
                  <a:pt x="8833256" y="1161880"/>
                </a:lnTo>
                <a:cubicBezTo>
                  <a:pt x="8795170" y="1161880"/>
                  <a:pt x="8767735" y="1145420"/>
                  <a:pt x="8748692" y="1112177"/>
                </a:cubicBezTo>
                <a:cubicBezTo>
                  <a:pt x="8740623" y="1097976"/>
                  <a:pt x="8735782" y="1082485"/>
                  <a:pt x="8735782" y="1063443"/>
                </a:cubicBezTo>
                <a:lnTo>
                  <a:pt x="8735782" y="90046"/>
                </a:lnTo>
                <a:cubicBezTo>
                  <a:pt x="8741592" y="43570"/>
                  <a:pt x="8777418" y="5487"/>
                  <a:pt x="8825187" y="2259"/>
                </a:cubicBezTo>
                <a:close/>
                <a:moveTo>
                  <a:pt x="7078030" y="0"/>
                </a:moveTo>
                <a:lnTo>
                  <a:pt x="8559501" y="0"/>
                </a:lnTo>
                <a:lnTo>
                  <a:pt x="8559501" y="2259"/>
                </a:lnTo>
                <a:cubicBezTo>
                  <a:pt x="8605656" y="5487"/>
                  <a:pt x="8644064" y="43570"/>
                  <a:pt x="8649551" y="90046"/>
                </a:cubicBezTo>
                <a:lnTo>
                  <a:pt x="8649551" y="1063443"/>
                </a:lnTo>
                <a:cubicBezTo>
                  <a:pt x="8649551" y="1081516"/>
                  <a:pt x="8644064" y="1097331"/>
                  <a:pt x="8635672" y="1112177"/>
                </a:cubicBezTo>
                <a:cubicBezTo>
                  <a:pt x="8617275" y="1145420"/>
                  <a:pt x="8589518" y="1161880"/>
                  <a:pt x="8551109" y="1161880"/>
                </a:cubicBezTo>
                <a:lnTo>
                  <a:pt x="8016618" y="1161880"/>
                </a:lnTo>
                <a:lnTo>
                  <a:pt x="8016618" y="1296787"/>
                </a:lnTo>
                <a:lnTo>
                  <a:pt x="8118287" y="1296787"/>
                </a:lnTo>
                <a:cubicBezTo>
                  <a:pt x="8143140" y="1296787"/>
                  <a:pt x="8163796" y="1316152"/>
                  <a:pt x="8163796" y="1341326"/>
                </a:cubicBezTo>
                <a:cubicBezTo>
                  <a:pt x="8163796" y="1366500"/>
                  <a:pt x="8143140" y="1386187"/>
                  <a:pt x="8118287" y="1386187"/>
                </a:cubicBezTo>
                <a:lnTo>
                  <a:pt x="7519566" y="1386187"/>
                </a:lnTo>
                <a:cubicBezTo>
                  <a:pt x="7494068" y="1386187"/>
                  <a:pt x="7474703" y="1366500"/>
                  <a:pt x="7474703" y="1341326"/>
                </a:cubicBezTo>
                <a:cubicBezTo>
                  <a:pt x="7474703" y="1316152"/>
                  <a:pt x="7494068" y="1296787"/>
                  <a:pt x="7519566" y="1296787"/>
                </a:cubicBezTo>
                <a:lnTo>
                  <a:pt x="7620913" y="1296787"/>
                </a:lnTo>
                <a:lnTo>
                  <a:pt x="7620913" y="1161880"/>
                </a:lnTo>
                <a:lnTo>
                  <a:pt x="7086099" y="1161880"/>
                </a:lnTo>
                <a:cubicBezTo>
                  <a:pt x="7048013" y="1161880"/>
                  <a:pt x="7020578" y="1145420"/>
                  <a:pt x="7001535" y="1112177"/>
                </a:cubicBezTo>
                <a:cubicBezTo>
                  <a:pt x="6993466" y="1097976"/>
                  <a:pt x="6988625" y="1082485"/>
                  <a:pt x="6988625" y="1063443"/>
                </a:cubicBezTo>
                <a:lnTo>
                  <a:pt x="6988625" y="90046"/>
                </a:lnTo>
                <a:cubicBezTo>
                  <a:pt x="6994435" y="43570"/>
                  <a:pt x="7030261" y="5487"/>
                  <a:pt x="7078030" y="2259"/>
                </a:cubicBezTo>
                <a:close/>
                <a:moveTo>
                  <a:pt x="5330874" y="0"/>
                </a:moveTo>
                <a:lnTo>
                  <a:pt x="6812345" y="0"/>
                </a:lnTo>
                <a:lnTo>
                  <a:pt x="6812345" y="2259"/>
                </a:lnTo>
                <a:cubicBezTo>
                  <a:pt x="6858500" y="5487"/>
                  <a:pt x="6896908" y="43570"/>
                  <a:pt x="6902395" y="90046"/>
                </a:cubicBezTo>
                <a:lnTo>
                  <a:pt x="6902395" y="1063443"/>
                </a:lnTo>
                <a:cubicBezTo>
                  <a:pt x="6902395" y="1081516"/>
                  <a:pt x="6896908" y="1097331"/>
                  <a:pt x="6888516" y="1112177"/>
                </a:cubicBezTo>
                <a:cubicBezTo>
                  <a:pt x="6870119" y="1145420"/>
                  <a:pt x="6842362" y="1161880"/>
                  <a:pt x="6803953" y="1161880"/>
                </a:cubicBezTo>
                <a:lnTo>
                  <a:pt x="6269462" y="1161880"/>
                </a:lnTo>
                <a:lnTo>
                  <a:pt x="6269462" y="1296787"/>
                </a:lnTo>
                <a:lnTo>
                  <a:pt x="6371133" y="1296787"/>
                </a:lnTo>
                <a:cubicBezTo>
                  <a:pt x="6395984" y="1296787"/>
                  <a:pt x="6416641" y="1316152"/>
                  <a:pt x="6416641" y="1341326"/>
                </a:cubicBezTo>
                <a:cubicBezTo>
                  <a:pt x="6416641" y="1366500"/>
                  <a:pt x="6395984" y="1386187"/>
                  <a:pt x="6371133" y="1386187"/>
                </a:cubicBezTo>
                <a:lnTo>
                  <a:pt x="5772410" y="1386187"/>
                </a:lnTo>
                <a:cubicBezTo>
                  <a:pt x="5746913" y="1386187"/>
                  <a:pt x="5727548" y="1366500"/>
                  <a:pt x="5727548" y="1341326"/>
                </a:cubicBezTo>
                <a:cubicBezTo>
                  <a:pt x="5727548" y="1316152"/>
                  <a:pt x="5746913" y="1296787"/>
                  <a:pt x="5772410" y="1296787"/>
                </a:cubicBezTo>
                <a:lnTo>
                  <a:pt x="5873758" y="1296787"/>
                </a:lnTo>
                <a:lnTo>
                  <a:pt x="5873758" y="1161880"/>
                </a:lnTo>
                <a:lnTo>
                  <a:pt x="5338943" y="1161880"/>
                </a:lnTo>
                <a:cubicBezTo>
                  <a:pt x="5300857" y="1161880"/>
                  <a:pt x="5273424" y="1145420"/>
                  <a:pt x="5254380" y="1112177"/>
                </a:cubicBezTo>
                <a:cubicBezTo>
                  <a:pt x="5246311" y="1097976"/>
                  <a:pt x="5241470" y="1082485"/>
                  <a:pt x="5241470" y="1063443"/>
                </a:cubicBezTo>
                <a:lnTo>
                  <a:pt x="5241470" y="90046"/>
                </a:lnTo>
                <a:cubicBezTo>
                  <a:pt x="5247280" y="43570"/>
                  <a:pt x="5283105" y="5487"/>
                  <a:pt x="5330874" y="2259"/>
                </a:cubicBezTo>
                <a:close/>
                <a:moveTo>
                  <a:pt x="3583717" y="0"/>
                </a:moveTo>
                <a:lnTo>
                  <a:pt x="5065189" y="0"/>
                </a:lnTo>
                <a:lnTo>
                  <a:pt x="5065189" y="2259"/>
                </a:lnTo>
                <a:cubicBezTo>
                  <a:pt x="5111344" y="5487"/>
                  <a:pt x="5149752" y="43570"/>
                  <a:pt x="5155238" y="90046"/>
                </a:cubicBezTo>
                <a:lnTo>
                  <a:pt x="5155238" y="1063443"/>
                </a:lnTo>
                <a:cubicBezTo>
                  <a:pt x="5155238" y="1081516"/>
                  <a:pt x="5149752" y="1097331"/>
                  <a:pt x="5141360" y="1112177"/>
                </a:cubicBezTo>
                <a:cubicBezTo>
                  <a:pt x="5122963" y="1145420"/>
                  <a:pt x="5095206" y="1161880"/>
                  <a:pt x="5056796" y="1161880"/>
                </a:cubicBezTo>
                <a:lnTo>
                  <a:pt x="4522305" y="1161880"/>
                </a:lnTo>
                <a:lnTo>
                  <a:pt x="4522305" y="1296787"/>
                </a:lnTo>
                <a:lnTo>
                  <a:pt x="4623975" y="1296787"/>
                </a:lnTo>
                <a:cubicBezTo>
                  <a:pt x="4648828" y="1296787"/>
                  <a:pt x="4669484" y="1316152"/>
                  <a:pt x="4669484" y="1341326"/>
                </a:cubicBezTo>
                <a:cubicBezTo>
                  <a:pt x="4669484" y="1366500"/>
                  <a:pt x="4648828" y="1386187"/>
                  <a:pt x="4623975" y="1386187"/>
                </a:cubicBezTo>
                <a:lnTo>
                  <a:pt x="4025254" y="1386187"/>
                </a:lnTo>
                <a:cubicBezTo>
                  <a:pt x="3999756" y="1386187"/>
                  <a:pt x="3980391" y="1366500"/>
                  <a:pt x="3980391" y="1341326"/>
                </a:cubicBezTo>
                <a:cubicBezTo>
                  <a:pt x="3980391" y="1316152"/>
                  <a:pt x="3999756" y="1296787"/>
                  <a:pt x="4025254" y="1296787"/>
                </a:cubicBezTo>
                <a:lnTo>
                  <a:pt x="4126601" y="1296787"/>
                </a:lnTo>
                <a:lnTo>
                  <a:pt x="4126601" y="1161880"/>
                </a:lnTo>
                <a:lnTo>
                  <a:pt x="3591786" y="1161880"/>
                </a:lnTo>
                <a:cubicBezTo>
                  <a:pt x="3553701" y="1161880"/>
                  <a:pt x="3526266" y="1145420"/>
                  <a:pt x="3507223" y="1112177"/>
                </a:cubicBezTo>
                <a:cubicBezTo>
                  <a:pt x="3499154" y="1097976"/>
                  <a:pt x="3494313" y="1082485"/>
                  <a:pt x="3494313" y="1063443"/>
                </a:cubicBezTo>
                <a:lnTo>
                  <a:pt x="3494313" y="90046"/>
                </a:lnTo>
                <a:cubicBezTo>
                  <a:pt x="3500123" y="43570"/>
                  <a:pt x="3535949" y="5487"/>
                  <a:pt x="3583717" y="2259"/>
                </a:cubicBezTo>
                <a:close/>
                <a:moveTo>
                  <a:pt x="1836561" y="0"/>
                </a:moveTo>
                <a:lnTo>
                  <a:pt x="3318031" y="0"/>
                </a:lnTo>
                <a:lnTo>
                  <a:pt x="3318031" y="2259"/>
                </a:lnTo>
                <a:cubicBezTo>
                  <a:pt x="3364187" y="5487"/>
                  <a:pt x="3402594" y="43570"/>
                  <a:pt x="3408082" y="90046"/>
                </a:cubicBezTo>
                <a:lnTo>
                  <a:pt x="3408082" y="1063443"/>
                </a:lnTo>
                <a:cubicBezTo>
                  <a:pt x="3408082" y="1081516"/>
                  <a:pt x="3402594" y="1097331"/>
                  <a:pt x="3394203" y="1112177"/>
                </a:cubicBezTo>
                <a:cubicBezTo>
                  <a:pt x="3375806" y="1145420"/>
                  <a:pt x="3348049" y="1161880"/>
                  <a:pt x="3309640" y="1161880"/>
                </a:cubicBezTo>
                <a:lnTo>
                  <a:pt x="2775148" y="1161880"/>
                </a:lnTo>
                <a:lnTo>
                  <a:pt x="2775148" y="1296787"/>
                </a:lnTo>
                <a:lnTo>
                  <a:pt x="2876818" y="1296787"/>
                </a:lnTo>
                <a:cubicBezTo>
                  <a:pt x="2901671" y="1296787"/>
                  <a:pt x="2922327" y="1316152"/>
                  <a:pt x="2922327" y="1341326"/>
                </a:cubicBezTo>
                <a:cubicBezTo>
                  <a:pt x="2922327" y="1366500"/>
                  <a:pt x="2901671" y="1386187"/>
                  <a:pt x="2876818" y="1386187"/>
                </a:cubicBezTo>
                <a:lnTo>
                  <a:pt x="2278097" y="1386187"/>
                </a:lnTo>
                <a:cubicBezTo>
                  <a:pt x="2252600" y="1386187"/>
                  <a:pt x="2233234" y="1366500"/>
                  <a:pt x="2233234" y="1341326"/>
                </a:cubicBezTo>
                <a:cubicBezTo>
                  <a:pt x="2233234" y="1316152"/>
                  <a:pt x="2252600" y="1296787"/>
                  <a:pt x="2278097" y="1296787"/>
                </a:cubicBezTo>
                <a:lnTo>
                  <a:pt x="2379444" y="1296787"/>
                </a:lnTo>
                <a:lnTo>
                  <a:pt x="2379444" y="1161880"/>
                </a:lnTo>
                <a:lnTo>
                  <a:pt x="1844630" y="1161880"/>
                </a:lnTo>
                <a:cubicBezTo>
                  <a:pt x="1806544" y="1161880"/>
                  <a:pt x="1779109" y="1145420"/>
                  <a:pt x="1760067" y="1112177"/>
                </a:cubicBezTo>
                <a:cubicBezTo>
                  <a:pt x="1751998" y="1097976"/>
                  <a:pt x="1747156" y="1082485"/>
                  <a:pt x="1747156" y="1063443"/>
                </a:cubicBezTo>
                <a:lnTo>
                  <a:pt x="1747156" y="90046"/>
                </a:lnTo>
                <a:cubicBezTo>
                  <a:pt x="1752966" y="43570"/>
                  <a:pt x="1788793" y="5487"/>
                  <a:pt x="1836561" y="2259"/>
                </a:cubicBezTo>
                <a:close/>
                <a:moveTo>
                  <a:pt x="89405" y="0"/>
                </a:moveTo>
                <a:lnTo>
                  <a:pt x="1570877" y="0"/>
                </a:lnTo>
                <a:lnTo>
                  <a:pt x="1570877" y="2259"/>
                </a:lnTo>
                <a:cubicBezTo>
                  <a:pt x="1617031" y="5487"/>
                  <a:pt x="1655440" y="43570"/>
                  <a:pt x="1660926" y="90046"/>
                </a:cubicBezTo>
                <a:lnTo>
                  <a:pt x="1660926" y="1063443"/>
                </a:lnTo>
                <a:cubicBezTo>
                  <a:pt x="1660926" y="1081516"/>
                  <a:pt x="1655440" y="1097331"/>
                  <a:pt x="1647048" y="1112177"/>
                </a:cubicBezTo>
                <a:cubicBezTo>
                  <a:pt x="1628651" y="1145420"/>
                  <a:pt x="1600893" y="1161880"/>
                  <a:pt x="1562485" y="1161880"/>
                </a:cubicBezTo>
                <a:lnTo>
                  <a:pt x="1027993" y="1161880"/>
                </a:lnTo>
                <a:lnTo>
                  <a:pt x="1027993" y="1296787"/>
                </a:lnTo>
                <a:lnTo>
                  <a:pt x="1129663" y="1296787"/>
                </a:lnTo>
                <a:cubicBezTo>
                  <a:pt x="1154515" y="1296787"/>
                  <a:pt x="1175172" y="1316152"/>
                  <a:pt x="1175172" y="1341326"/>
                </a:cubicBezTo>
                <a:cubicBezTo>
                  <a:pt x="1175172" y="1366500"/>
                  <a:pt x="1154515" y="1386187"/>
                  <a:pt x="1129663" y="1386187"/>
                </a:cubicBezTo>
                <a:lnTo>
                  <a:pt x="530942" y="1386187"/>
                </a:lnTo>
                <a:cubicBezTo>
                  <a:pt x="505443" y="1386187"/>
                  <a:pt x="486078" y="1366500"/>
                  <a:pt x="486078" y="1341326"/>
                </a:cubicBezTo>
                <a:cubicBezTo>
                  <a:pt x="486078" y="1316152"/>
                  <a:pt x="505443" y="1296787"/>
                  <a:pt x="530942" y="1296787"/>
                </a:cubicBezTo>
                <a:lnTo>
                  <a:pt x="632289" y="1296787"/>
                </a:lnTo>
                <a:lnTo>
                  <a:pt x="632289" y="1161880"/>
                </a:lnTo>
                <a:lnTo>
                  <a:pt x="97474" y="1161880"/>
                </a:lnTo>
                <a:cubicBezTo>
                  <a:pt x="59388" y="1161880"/>
                  <a:pt x="31954" y="1145420"/>
                  <a:pt x="12911" y="1112177"/>
                </a:cubicBezTo>
                <a:cubicBezTo>
                  <a:pt x="4842" y="1097976"/>
                  <a:pt x="0" y="1082485"/>
                  <a:pt x="0" y="1063443"/>
                </a:cubicBezTo>
                <a:lnTo>
                  <a:pt x="0" y="90046"/>
                </a:lnTo>
                <a:cubicBezTo>
                  <a:pt x="5810" y="43570"/>
                  <a:pt x="41637" y="5487"/>
                  <a:pt x="89405" y="2259"/>
                </a:cubicBezTo>
                <a:close/>
              </a:path>
            </a:pathLst>
          </a:custGeom>
          <a:solidFill>
            <a:schemeClr val="bg2">
              <a:lumMod val="85000"/>
            </a:schemeClr>
          </a:solidFill>
          <a:ln>
            <a:noFill/>
          </a:ln>
          <a:effectLst/>
        </p:spPr>
        <p:txBody>
          <a:bodyPr wrap="square" anchor="ctr">
            <a:noAutofit/>
          </a:bodyPr>
          <a:lstStyle/>
          <a:p>
            <a:endParaRPr lang="en-US" sz="900" dirty="0"/>
          </a:p>
        </p:txBody>
      </p:sp>
      <p:sp>
        <p:nvSpPr>
          <p:cNvPr id="213" name="Rectangle 212">
            <a:extLst>
              <a:ext uri="{FF2B5EF4-FFF2-40B4-BE49-F238E27FC236}">
                <a16:creationId xmlns:a16="http://schemas.microsoft.com/office/drawing/2014/main" id="{68D8848F-3007-4044-A043-AD4F25DD0E48}"/>
              </a:ext>
            </a:extLst>
          </p:cNvPr>
          <p:cNvSpPr/>
          <p:nvPr/>
        </p:nvSpPr>
        <p:spPr>
          <a:xfrm>
            <a:off x="793891" y="5601109"/>
            <a:ext cx="5254664" cy="77578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12" name="Freeform 211">
            <a:extLst>
              <a:ext uri="{FF2B5EF4-FFF2-40B4-BE49-F238E27FC236}">
                <a16:creationId xmlns:a16="http://schemas.microsoft.com/office/drawing/2014/main" id="{88A3F93E-9458-8444-89D6-0D7E60E30CA0}"/>
              </a:ext>
            </a:extLst>
          </p:cNvPr>
          <p:cNvSpPr/>
          <p:nvPr/>
        </p:nvSpPr>
        <p:spPr>
          <a:xfrm>
            <a:off x="763396" y="5601109"/>
            <a:ext cx="8794377" cy="814259"/>
          </a:xfrm>
          <a:custGeom>
            <a:avLst/>
            <a:gdLst>
              <a:gd name="connsiteX0" fmla="*/ 15937088 w 17588754"/>
              <a:gd name="connsiteY0" fmla="*/ 172641 h 1628517"/>
              <a:gd name="connsiteX1" fmla="*/ 17418560 w 17588754"/>
              <a:gd name="connsiteY1" fmla="*/ 172641 h 1628517"/>
              <a:gd name="connsiteX2" fmla="*/ 17418560 w 17588754"/>
              <a:gd name="connsiteY2" fmla="*/ 180709 h 1628517"/>
              <a:gd name="connsiteX3" fmla="*/ 17418560 w 17588754"/>
              <a:gd name="connsiteY3" fmla="*/ 1146038 h 1628517"/>
              <a:gd name="connsiteX4" fmla="*/ 17410168 w 17588754"/>
              <a:gd name="connsiteY4" fmla="*/ 1154429 h 1628517"/>
              <a:gd name="connsiteX5" fmla="*/ 15945156 w 17588754"/>
              <a:gd name="connsiteY5" fmla="*/ 1154429 h 1628517"/>
              <a:gd name="connsiteX6" fmla="*/ 15937088 w 17588754"/>
              <a:gd name="connsiteY6" fmla="*/ 1146038 h 1628517"/>
              <a:gd name="connsiteX7" fmla="*/ 14189932 w 17588754"/>
              <a:gd name="connsiteY7" fmla="*/ 172641 h 1628517"/>
              <a:gd name="connsiteX8" fmla="*/ 15671404 w 17588754"/>
              <a:gd name="connsiteY8" fmla="*/ 172641 h 1628517"/>
              <a:gd name="connsiteX9" fmla="*/ 15671404 w 17588754"/>
              <a:gd name="connsiteY9" fmla="*/ 180709 h 1628517"/>
              <a:gd name="connsiteX10" fmla="*/ 15671404 w 17588754"/>
              <a:gd name="connsiteY10" fmla="*/ 1146038 h 1628517"/>
              <a:gd name="connsiteX11" fmla="*/ 15663012 w 17588754"/>
              <a:gd name="connsiteY11" fmla="*/ 1154429 h 1628517"/>
              <a:gd name="connsiteX12" fmla="*/ 14198001 w 17588754"/>
              <a:gd name="connsiteY12" fmla="*/ 1154429 h 1628517"/>
              <a:gd name="connsiteX13" fmla="*/ 14189932 w 17588754"/>
              <a:gd name="connsiteY13" fmla="*/ 1146038 h 1628517"/>
              <a:gd name="connsiteX14" fmla="*/ 12442775 w 17588754"/>
              <a:gd name="connsiteY14" fmla="*/ 172641 h 1628517"/>
              <a:gd name="connsiteX15" fmla="*/ 13924246 w 17588754"/>
              <a:gd name="connsiteY15" fmla="*/ 172641 h 1628517"/>
              <a:gd name="connsiteX16" fmla="*/ 13924246 w 17588754"/>
              <a:gd name="connsiteY16" fmla="*/ 180709 h 1628517"/>
              <a:gd name="connsiteX17" fmla="*/ 13924246 w 17588754"/>
              <a:gd name="connsiteY17" fmla="*/ 1146038 h 1628517"/>
              <a:gd name="connsiteX18" fmla="*/ 13915854 w 17588754"/>
              <a:gd name="connsiteY18" fmla="*/ 1154429 h 1628517"/>
              <a:gd name="connsiteX19" fmla="*/ 12450844 w 17588754"/>
              <a:gd name="connsiteY19" fmla="*/ 1154429 h 1628517"/>
              <a:gd name="connsiteX20" fmla="*/ 12442775 w 17588754"/>
              <a:gd name="connsiteY20" fmla="*/ 1146038 h 1628517"/>
              <a:gd name="connsiteX21" fmla="*/ 10695619 w 17588754"/>
              <a:gd name="connsiteY21" fmla="*/ 172641 h 1628517"/>
              <a:gd name="connsiteX22" fmla="*/ 12177090 w 17588754"/>
              <a:gd name="connsiteY22" fmla="*/ 172641 h 1628517"/>
              <a:gd name="connsiteX23" fmla="*/ 12177090 w 17588754"/>
              <a:gd name="connsiteY23" fmla="*/ 180709 h 1628517"/>
              <a:gd name="connsiteX24" fmla="*/ 12177090 w 17588754"/>
              <a:gd name="connsiteY24" fmla="*/ 1146038 h 1628517"/>
              <a:gd name="connsiteX25" fmla="*/ 12168698 w 17588754"/>
              <a:gd name="connsiteY25" fmla="*/ 1154429 h 1628517"/>
              <a:gd name="connsiteX26" fmla="*/ 10703688 w 17588754"/>
              <a:gd name="connsiteY26" fmla="*/ 1154429 h 1628517"/>
              <a:gd name="connsiteX27" fmla="*/ 10695619 w 17588754"/>
              <a:gd name="connsiteY27" fmla="*/ 1146038 h 1628517"/>
              <a:gd name="connsiteX28" fmla="*/ 8966320 w 17588754"/>
              <a:gd name="connsiteY28" fmla="*/ 172641 h 1628517"/>
              <a:gd name="connsiteX29" fmla="*/ 10447791 w 17588754"/>
              <a:gd name="connsiteY29" fmla="*/ 172641 h 1628517"/>
              <a:gd name="connsiteX30" fmla="*/ 10447791 w 17588754"/>
              <a:gd name="connsiteY30" fmla="*/ 180709 h 1628517"/>
              <a:gd name="connsiteX31" fmla="*/ 10447791 w 17588754"/>
              <a:gd name="connsiteY31" fmla="*/ 1146038 h 1628517"/>
              <a:gd name="connsiteX32" fmla="*/ 10439399 w 17588754"/>
              <a:gd name="connsiteY32" fmla="*/ 1154429 h 1628517"/>
              <a:gd name="connsiteX33" fmla="*/ 8974389 w 17588754"/>
              <a:gd name="connsiteY33" fmla="*/ 1154429 h 1628517"/>
              <a:gd name="connsiteX34" fmla="*/ 8966320 w 17588754"/>
              <a:gd name="connsiteY34" fmla="*/ 1146038 h 1628517"/>
              <a:gd name="connsiteX35" fmla="*/ 7219163 w 17588754"/>
              <a:gd name="connsiteY35" fmla="*/ 172641 h 1628517"/>
              <a:gd name="connsiteX36" fmla="*/ 8700634 w 17588754"/>
              <a:gd name="connsiteY36" fmla="*/ 172641 h 1628517"/>
              <a:gd name="connsiteX37" fmla="*/ 8700634 w 17588754"/>
              <a:gd name="connsiteY37" fmla="*/ 180709 h 1628517"/>
              <a:gd name="connsiteX38" fmla="*/ 8700634 w 17588754"/>
              <a:gd name="connsiteY38" fmla="*/ 1146038 h 1628517"/>
              <a:gd name="connsiteX39" fmla="*/ 8692242 w 17588754"/>
              <a:gd name="connsiteY39" fmla="*/ 1154429 h 1628517"/>
              <a:gd name="connsiteX40" fmla="*/ 7227232 w 17588754"/>
              <a:gd name="connsiteY40" fmla="*/ 1154429 h 1628517"/>
              <a:gd name="connsiteX41" fmla="*/ 7219163 w 17588754"/>
              <a:gd name="connsiteY41" fmla="*/ 1146038 h 1628517"/>
              <a:gd name="connsiteX42" fmla="*/ 5472007 w 17588754"/>
              <a:gd name="connsiteY42" fmla="*/ 172641 h 1628517"/>
              <a:gd name="connsiteX43" fmla="*/ 6953478 w 17588754"/>
              <a:gd name="connsiteY43" fmla="*/ 172641 h 1628517"/>
              <a:gd name="connsiteX44" fmla="*/ 6953478 w 17588754"/>
              <a:gd name="connsiteY44" fmla="*/ 180709 h 1628517"/>
              <a:gd name="connsiteX45" fmla="*/ 6953478 w 17588754"/>
              <a:gd name="connsiteY45" fmla="*/ 1146038 h 1628517"/>
              <a:gd name="connsiteX46" fmla="*/ 6945086 w 17588754"/>
              <a:gd name="connsiteY46" fmla="*/ 1154429 h 1628517"/>
              <a:gd name="connsiteX47" fmla="*/ 5480077 w 17588754"/>
              <a:gd name="connsiteY47" fmla="*/ 1154429 h 1628517"/>
              <a:gd name="connsiteX48" fmla="*/ 5472007 w 17588754"/>
              <a:gd name="connsiteY48" fmla="*/ 1146038 h 1628517"/>
              <a:gd name="connsiteX49" fmla="*/ 3724851 w 17588754"/>
              <a:gd name="connsiteY49" fmla="*/ 172641 h 1628517"/>
              <a:gd name="connsiteX50" fmla="*/ 5206323 w 17588754"/>
              <a:gd name="connsiteY50" fmla="*/ 172641 h 1628517"/>
              <a:gd name="connsiteX51" fmla="*/ 5206323 w 17588754"/>
              <a:gd name="connsiteY51" fmla="*/ 180709 h 1628517"/>
              <a:gd name="connsiteX52" fmla="*/ 5206323 w 17588754"/>
              <a:gd name="connsiteY52" fmla="*/ 1146038 h 1628517"/>
              <a:gd name="connsiteX53" fmla="*/ 5197930 w 17588754"/>
              <a:gd name="connsiteY53" fmla="*/ 1154429 h 1628517"/>
              <a:gd name="connsiteX54" fmla="*/ 3732919 w 17588754"/>
              <a:gd name="connsiteY54" fmla="*/ 1154429 h 1628517"/>
              <a:gd name="connsiteX55" fmla="*/ 3724851 w 17588754"/>
              <a:gd name="connsiteY55" fmla="*/ 1146038 h 1628517"/>
              <a:gd name="connsiteX56" fmla="*/ 1977694 w 17588754"/>
              <a:gd name="connsiteY56" fmla="*/ 172641 h 1628517"/>
              <a:gd name="connsiteX57" fmla="*/ 3459164 w 17588754"/>
              <a:gd name="connsiteY57" fmla="*/ 172641 h 1628517"/>
              <a:gd name="connsiteX58" fmla="*/ 3459164 w 17588754"/>
              <a:gd name="connsiteY58" fmla="*/ 180709 h 1628517"/>
              <a:gd name="connsiteX59" fmla="*/ 3459164 w 17588754"/>
              <a:gd name="connsiteY59" fmla="*/ 1146038 h 1628517"/>
              <a:gd name="connsiteX60" fmla="*/ 3450774 w 17588754"/>
              <a:gd name="connsiteY60" fmla="*/ 1154429 h 1628517"/>
              <a:gd name="connsiteX61" fmla="*/ 1985763 w 17588754"/>
              <a:gd name="connsiteY61" fmla="*/ 1154429 h 1628517"/>
              <a:gd name="connsiteX62" fmla="*/ 1977694 w 17588754"/>
              <a:gd name="connsiteY62" fmla="*/ 1146038 h 1628517"/>
              <a:gd name="connsiteX63" fmla="*/ 230538 w 17588754"/>
              <a:gd name="connsiteY63" fmla="*/ 172641 h 1628517"/>
              <a:gd name="connsiteX64" fmla="*/ 1712010 w 17588754"/>
              <a:gd name="connsiteY64" fmla="*/ 172641 h 1628517"/>
              <a:gd name="connsiteX65" fmla="*/ 1712010 w 17588754"/>
              <a:gd name="connsiteY65" fmla="*/ 180709 h 1628517"/>
              <a:gd name="connsiteX66" fmla="*/ 1712010 w 17588754"/>
              <a:gd name="connsiteY66" fmla="*/ 1146038 h 1628517"/>
              <a:gd name="connsiteX67" fmla="*/ 1703618 w 17588754"/>
              <a:gd name="connsiteY67" fmla="*/ 1154429 h 1628517"/>
              <a:gd name="connsiteX68" fmla="*/ 238607 w 17588754"/>
              <a:gd name="connsiteY68" fmla="*/ 1154429 h 1628517"/>
              <a:gd name="connsiteX69" fmla="*/ 230538 w 17588754"/>
              <a:gd name="connsiteY69" fmla="*/ 1146038 h 1628517"/>
              <a:gd name="connsiteX70" fmla="*/ 15937088 w 17588754"/>
              <a:gd name="connsiteY70" fmla="*/ 82595 h 1628517"/>
              <a:gd name="connsiteX71" fmla="*/ 15937088 w 17588754"/>
              <a:gd name="connsiteY71" fmla="*/ 84854 h 1628517"/>
              <a:gd name="connsiteX72" fmla="*/ 15847684 w 17588754"/>
              <a:gd name="connsiteY72" fmla="*/ 172641 h 1628517"/>
              <a:gd name="connsiteX73" fmla="*/ 15847684 w 17588754"/>
              <a:gd name="connsiteY73" fmla="*/ 1146038 h 1628517"/>
              <a:gd name="connsiteX74" fmla="*/ 15860596 w 17588754"/>
              <a:gd name="connsiteY74" fmla="*/ 1194772 h 1628517"/>
              <a:gd name="connsiteX75" fmla="*/ 15945156 w 17588754"/>
              <a:gd name="connsiteY75" fmla="*/ 1244475 h 1628517"/>
              <a:gd name="connsiteX76" fmla="*/ 16479972 w 17588754"/>
              <a:gd name="connsiteY76" fmla="*/ 1244475 h 1628517"/>
              <a:gd name="connsiteX77" fmla="*/ 16479972 w 17588754"/>
              <a:gd name="connsiteY77" fmla="*/ 1379382 h 1628517"/>
              <a:gd name="connsiteX78" fmla="*/ 16378624 w 17588754"/>
              <a:gd name="connsiteY78" fmla="*/ 1379382 h 1628517"/>
              <a:gd name="connsiteX79" fmla="*/ 16333760 w 17588754"/>
              <a:gd name="connsiteY79" fmla="*/ 1423921 h 1628517"/>
              <a:gd name="connsiteX80" fmla="*/ 16378624 w 17588754"/>
              <a:gd name="connsiteY80" fmla="*/ 1468782 h 1628517"/>
              <a:gd name="connsiteX81" fmla="*/ 16977348 w 17588754"/>
              <a:gd name="connsiteY81" fmla="*/ 1468782 h 1628517"/>
              <a:gd name="connsiteX82" fmla="*/ 17022856 w 17588754"/>
              <a:gd name="connsiteY82" fmla="*/ 1423921 h 1628517"/>
              <a:gd name="connsiteX83" fmla="*/ 16977348 w 17588754"/>
              <a:gd name="connsiteY83" fmla="*/ 1379382 h 1628517"/>
              <a:gd name="connsiteX84" fmla="*/ 16875676 w 17588754"/>
              <a:gd name="connsiteY84" fmla="*/ 1379382 h 1628517"/>
              <a:gd name="connsiteX85" fmla="*/ 16875676 w 17588754"/>
              <a:gd name="connsiteY85" fmla="*/ 1244475 h 1628517"/>
              <a:gd name="connsiteX86" fmla="*/ 17410168 w 17588754"/>
              <a:gd name="connsiteY86" fmla="*/ 1244475 h 1628517"/>
              <a:gd name="connsiteX87" fmla="*/ 17494732 w 17588754"/>
              <a:gd name="connsiteY87" fmla="*/ 1194772 h 1628517"/>
              <a:gd name="connsiteX88" fmla="*/ 17508612 w 17588754"/>
              <a:gd name="connsiteY88" fmla="*/ 1146038 h 1628517"/>
              <a:gd name="connsiteX89" fmla="*/ 17508612 w 17588754"/>
              <a:gd name="connsiteY89" fmla="*/ 172641 h 1628517"/>
              <a:gd name="connsiteX90" fmla="*/ 17418560 w 17588754"/>
              <a:gd name="connsiteY90" fmla="*/ 84854 h 1628517"/>
              <a:gd name="connsiteX91" fmla="*/ 17418560 w 17588754"/>
              <a:gd name="connsiteY91" fmla="*/ 82595 h 1628517"/>
              <a:gd name="connsiteX92" fmla="*/ 14189932 w 17588754"/>
              <a:gd name="connsiteY92" fmla="*/ 82595 h 1628517"/>
              <a:gd name="connsiteX93" fmla="*/ 14189932 w 17588754"/>
              <a:gd name="connsiteY93" fmla="*/ 84854 h 1628517"/>
              <a:gd name="connsiteX94" fmla="*/ 14100527 w 17588754"/>
              <a:gd name="connsiteY94" fmla="*/ 172641 h 1628517"/>
              <a:gd name="connsiteX95" fmla="*/ 14100527 w 17588754"/>
              <a:gd name="connsiteY95" fmla="*/ 1146038 h 1628517"/>
              <a:gd name="connsiteX96" fmla="*/ 14113437 w 17588754"/>
              <a:gd name="connsiteY96" fmla="*/ 1194772 h 1628517"/>
              <a:gd name="connsiteX97" fmla="*/ 14198001 w 17588754"/>
              <a:gd name="connsiteY97" fmla="*/ 1244475 h 1628517"/>
              <a:gd name="connsiteX98" fmla="*/ 14732815 w 17588754"/>
              <a:gd name="connsiteY98" fmla="*/ 1244475 h 1628517"/>
              <a:gd name="connsiteX99" fmla="*/ 14732815 w 17588754"/>
              <a:gd name="connsiteY99" fmla="*/ 1379382 h 1628517"/>
              <a:gd name="connsiteX100" fmla="*/ 14631468 w 17588754"/>
              <a:gd name="connsiteY100" fmla="*/ 1379382 h 1628517"/>
              <a:gd name="connsiteX101" fmla="*/ 14586605 w 17588754"/>
              <a:gd name="connsiteY101" fmla="*/ 1423921 h 1628517"/>
              <a:gd name="connsiteX102" fmla="*/ 14631468 w 17588754"/>
              <a:gd name="connsiteY102" fmla="*/ 1468782 h 1628517"/>
              <a:gd name="connsiteX103" fmla="*/ 15230189 w 17588754"/>
              <a:gd name="connsiteY103" fmla="*/ 1468782 h 1628517"/>
              <a:gd name="connsiteX104" fmla="*/ 15275700 w 17588754"/>
              <a:gd name="connsiteY104" fmla="*/ 1423921 h 1628517"/>
              <a:gd name="connsiteX105" fmla="*/ 15230189 w 17588754"/>
              <a:gd name="connsiteY105" fmla="*/ 1379382 h 1628517"/>
              <a:gd name="connsiteX106" fmla="*/ 15128520 w 17588754"/>
              <a:gd name="connsiteY106" fmla="*/ 1379382 h 1628517"/>
              <a:gd name="connsiteX107" fmla="*/ 15128520 w 17588754"/>
              <a:gd name="connsiteY107" fmla="*/ 1244475 h 1628517"/>
              <a:gd name="connsiteX108" fmla="*/ 15663012 w 17588754"/>
              <a:gd name="connsiteY108" fmla="*/ 1244475 h 1628517"/>
              <a:gd name="connsiteX109" fmla="*/ 15747576 w 17588754"/>
              <a:gd name="connsiteY109" fmla="*/ 1194772 h 1628517"/>
              <a:gd name="connsiteX110" fmla="*/ 15761452 w 17588754"/>
              <a:gd name="connsiteY110" fmla="*/ 1146038 h 1628517"/>
              <a:gd name="connsiteX111" fmla="*/ 15761452 w 17588754"/>
              <a:gd name="connsiteY111" fmla="*/ 172641 h 1628517"/>
              <a:gd name="connsiteX112" fmla="*/ 15671404 w 17588754"/>
              <a:gd name="connsiteY112" fmla="*/ 84854 h 1628517"/>
              <a:gd name="connsiteX113" fmla="*/ 15671404 w 17588754"/>
              <a:gd name="connsiteY113" fmla="*/ 82595 h 1628517"/>
              <a:gd name="connsiteX114" fmla="*/ 12442775 w 17588754"/>
              <a:gd name="connsiteY114" fmla="*/ 82595 h 1628517"/>
              <a:gd name="connsiteX115" fmla="*/ 12442775 w 17588754"/>
              <a:gd name="connsiteY115" fmla="*/ 84854 h 1628517"/>
              <a:gd name="connsiteX116" fmla="*/ 12353370 w 17588754"/>
              <a:gd name="connsiteY116" fmla="*/ 172641 h 1628517"/>
              <a:gd name="connsiteX117" fmla="*/ 12353370 w 17588754"/>
              <a:gd name="connsiteY117" fmla="*/ 1146038 h 1628517"/>
              <a:gd name="connsiteX118" fmla="*/ 12366280 w 17588754"/>
              <a:gd name="connsiteY118" fmla="*/ 1194772 h 1628517"/>
              <a:gd name="connsiteX119" fmla="*/ 12450844 w 17588754"/>
              <a:gd name="connsiteY119" fmla="*/ 1244475 h 1628517"/>
              <a:gd name="connsiteX120" fmla="*/ 12985658 w 17588754"/>
              <a:gd name="connsiteY120" fmla="*/ 1244475 h 1628517"/>
              <a:gd name="connsiteX121" fmla="*/ 12985658 w 17588754"/>
              <a:gd name="connsiteY121" fmla="*/ 1379382 h 1628517"/>
              <a:gd name="connsiteX122" fmla="*/ 12884311 w 17588754"/>
              <a:gd name="connsiteY122" fmla="*/ 1379382 h 1628517"/>
              <a:gd name="connsiteX123" fmla="*/ 12839448 w 17588754"/>
              <a:gd name="connsiteY123" fmla="*/ 1423921 h 1628517"/>
              <a:gd name="connsiteX124" fmla="*/ 12884311 w 17588754"/>
              <a:gd name="connsiteY124" fmla="*/ 1468782 h 1628517"/>
              <a:gd name="connsiteX125" fmla="*/ 13483032 w 17588754"/>
              <a:gd name="connsiteY125" fmla="*/ 1468782 h 1628517"/>
              <a:gd name="connsiteX126" fmla="*/ 13528541 w 17588754"/>
              <a:gd name="connsiteY126" fmla="*/ 1423921 h 1628517"/>
              <a:gd name="connsiteX127" fmla="*/ 13483032 w 17588754"/>
              <a:gd name="connsiteY127" fmla="*/ 1379382 h 1628517"/>
              <a:gd name="connsiteX128" fmla="*/ 13381363 w 17588754"/>
              <a:gd name="connsiteY128" fmla="*/ 1379382 h 1628517"/>
              <a:gd name="connsiteX129" fmla="*/ 13381363 w 17588754"/>
              <a:gd name="connsiteY129" fmla="*/ 1244475 h 1628517"/>
              <a:gd name="connsiteX130" fmla="*/ 13915854 w 17588754"/>
              <a:gd name="connsiteY130" fmla="*/ 1244475 h 1628517"/>
              <a:gd name="connsiteX131" fmla="*/ 14000417 w 17588754"/>
              <a:gd name="connsiteY131" fmla="*/ 1194772 h 1628517"/>
              <a:gd name="connsiteX132" fmla="*/ 14014296 w 17588754"/>
              <a:gd name="connsiteY132" fmla="*/ 1146038 h 1628517"/>
              <a:gd name="connsiteX133" fmla="*/ 14014296 w 17588754"/>
              <a:gd name="connsiteY133" fmla="*/ 172641 h 1628517"/>
              <a:gd name="connsiteX134" fmla="*/ 13924246 w 17588754"/>
              <a:gd name="connsiteY134" fmla="*/ 84854 h 1628517"/>
              <a:gd name="connsiteX135" fmla="*/ 13924246 w 17588754"/>
              <a:gd name="connsiteY135" fmla="*/ 82595 h 1628517"/>
              <a:gd name="connsiteX136" fmla="*/ 10695619 w 17588754"/>
              <a:gd name="connsiteY136" fmla="*/ 82595 h 1628517"/>
              <a:gd name="connsiteX137" fmla="*/ 10695619 w 17588754"/>
              <a:gd name="connsiteY137" fmla="*/ 84854 h 1628517"/>
              <a:gd name="connsiteX138" fmla="*/ 10606214 w 17588754"/>
              <a:gd name="connsiteY138" fmla="*/ 172641 h 1628517"/>
              <a:gd name="connsiteX139" fmla="*/ 10606214 w 17588754"/>
              <a:gd name="connsiteY139" fmla="*/ 1146038 h 1628517"/>
              <a:gd name="connsiteX140" fmla="*/ 10619124 w 17588754"/>
              <a:gd name="connsiteY140" fmla="*/ 1194772 h 1628517"/>
              <a:gd name="connsiteX141" fmla="*/ 10703688 w 17588754"/>
              <a:gd name="connsiteY141" fmla="*/ 1244475 h 1628517"/>
              <a:gd name="connsiteX142" fmla="*/ 11238502 w 17588754"/>
              <a:gd name="connsiteY142" fmla="*/ 1244475 h 1628517"/>
              <a:gd name="connsiteX143" fmla="*/ 11238502 w 17588754"/>
              <a:gd name="connsiteY143" fmla="*/ 1379382 h 1628517"/>
              <a:gd name="connsiteX144" fmla="*/ 11137155 w 17588754"/>
              <a:gd name="connsiteY144" fmla="*/ 1379382 h 1628517"/>
              <a:gd name="connsiteX145" fmla="*/ 11092292 w 17588754"/>
              <a:gd name="connsiteY145" fmla="*/ 1423921 h 1628517"/>
              <a:gd name="connsiteX146" fmla="*/ 11137155 w 17588754"/>
              <a:gd name="connsiteY146" fmla="*/ 1468782 h 1628517"/>
              <a:gd name="connsiteX147" fmla="*/ 11735876 w 17588754"/>
              <a:gd name="connsiteY147" fmla="*/ 1468782 h 1628517"/>
              <a:gd name="connsiteX148" fmla="*/ 11781385 w 17588754"/>
              <a:gd name="connsiteY148" fmla="*/ 1423921 h 1628517"/>
              <a:gd name="connsiteX149" fmla="*/ 11735876 w 17588754"/>
              <a:gd name="connsiteY149" fmla="*/ 1379382 h 1628517"/>
              <a:gd name="connsiteX150" fmla="*/ 11634207 w 17588754"/>
              <a:gd name="connsiteY150" fmla="*/ 1379382 h 1628517"/>
              <a:gd name="connsiteX151" fmla="*/ 11634207 w 17588754"/>
              <a:gd name="connsiteY151" fmla="*/ 1244475 h 1628517"/>
              <a:gd name="connsiteX152" fmla="*/ 12168698 w 17588754"/>
              <a:gd name="connsiteY152" fmla="*/ 1244475 h 1628517"/>
              <a:gd name="connsiteX153" fmla="*/ 12253261 w 17588754"/>
              <a:gd name="connsiteY153" fmla="*/ 1194772 h 1628517"/>
              <a:gd name="connsiteX154" fmla="*/ 12267140 w 17588754"/>
              <a:gd name="connsiteY154" fmla="*/ 1146038 h 1628517"/>
              <a:gd name="connsiteX155" fmla="*/ 12267140 w 17588754"/>
              <a:gd name="connsiteY155" fmla="*/ 172641 h 1628517"/>
              <a:gd name="connsiteX156" fmla="*/ 12177090 w 17588754"/>
              <a:gd name="connsiteY156" fmla="*/ 84854 h 1628517"/>
              <a:gd name="connsiteX157" fmla="*/ 12177090 w 17588754"/>
              <a:gd name="connsiteY157" fmla="*/ 82595 h 1628517"/>
              <a:gd name="connsiteX158" fmla="*/ 8966320 w 17588754"/>
              <a:gd name="connsiteY158" fmla="*/ 82595 h 1628517"/>
              <a:gd name="connsiteX159" fmla="*/ 8966320 w 17588754"/>
              <a:gd name="connsiteY159" fmla="*/ 84854 h 1628517"/>
              <a:gd name="connsiteX160" fmla="*/ 8876915 w 17588754"/>
              <a:gd name="connsiteY160" fmla="*/ 172641 h 1628517"/>
              <a:gd name="connsiteX161" fmla="*/ 8876915 w 17588754"/>
              <a:gd name="connsiteY161" fmla="*/ 1146038 h 1628517"/>
              <a:gd name="connsiteX162" fmla="*/ 8889825 w 17588754"/>
              <a:gd name="connsiteY162" fmla="*/ 1194772 h 1628517"/>
              <a:gd name="connsiteX163" fmla="*/ 8974389 w 17588754"/>
              <a:gd name="connsiteY163" fmla="*/ 1244475 h 1628517"/>
              <a:gd name="connsiteX164" fmla="*/ 9509203 w 17588754"/>
              <a:gd name="connsiteY164" fmla="*/ 1244475 h 1628517"/>
              <a:gd name="connsiteX165" fmla="*/ 9509203 w 17588754"/>
              <a:gd name="connsiteY165" fmla="*/ 1379382 h 1628517"/>
              <a:gd name="connsiteX166" fmla="*/ 9407856 w 17588754"/>
              <a:gd name="connsiteY166" fmla="*/ 1379382 h 1628517"/>
              <a:gd name="connsiteX167" fmla="*/ 9362993 w 17588754"/>
              <a:gd name="connsiteY167" fmla="*/ 1423921 h 1628517"/>
              <a:gd name="connsiteX168" fmla="*/ 9407856 w 17588754"/>
              <a:gd name="connsiteY168" fmla="*/ 1468782 h 1628517"/>
              <a:gd name="connsiteX169" fmla="*/ 10006577 w 17588754"/>
              <a:gd name="connsiteY169" fmla="*/ 1468782 h 1628517"/>
              <a:gd name="connsiteX170" fmla="*/ 10052087 w 17588754"/>
              <a:gd name="connsiteY170" fmla="*/ 1423921 h 1628517"/>
              <a:gd name="connsiteX171" fmla="*/ 10006577 w 17588754"/>
              <a:gd name="connsiteY171" fmla="*/ 1379382 h 1628517"/>
              <a:gd name="connsiteX172" fmla="*/ 9904908 w 17588754"/>
              <a:gd name="connsiteY172" fmla="*/ 1379382 h 1628517"/>
              <a:gd name="connsiteX173" fmla="*/ 9904908 w 17588754"/>
              <a:gd name="connsiteY173" fmla="*/ 1244475 h 1628517"/>
              <a:gd name="connsiteX174" fmla="*/ 10439399 w 17588754"/>
              <a:gd name="connsiteY174" fmla="*/ 1244475 h 1628517"/>
              <a:gd name="connsiteX175" fmla="*/ 10523963 w 17588754"/>
              <a:gd name="connsiteY175" fmla="*/ 1194772 h 1628517"/>
              <a:gd name="connsiteX176" fmla="*/ 10537841 w 17588754"/>
              <a:gd name="connsiteY176" fmla="*/ 1146038 h 1628517"/>
              <a:gd name="connsiteX177" fmla="*/ 10537841 w 17588754"/>
              <a:gd name="connsiteY177" fmla="*/ 172641 h 1628517"/>
              <a:gd name="connsiteX178" fmla="*/ 10447791 w 17588754"/>
              <a:gd name="connsiteY178" fmla="*/ 84854 h 1628517"/>
              <a:gd name="connsiteX179" fmla="*/ 10447791 w 17588754"/>
              <a:gd name="connsiteY179" fmla="*/ 82595 h 1628517"/>
              <a:gd name="connsiteX180" fmla="*/ 7219163 w 17588754"/>
              <a:gd name="connsiteY180" fmla="*/ 82595 h 1628517"/>
              <a:gd name="connsiteX181" fmla="*/ 7219163 w 17588754"/>
              <a:gd name="connsiteY181" fmla="*/ 84854 h 1628517"/>
              <a:gd name="connsiteX182" fmla="*/ 7129758 w 17588754"/>
              <a:gd name="connsiteY182" fmla="*/ 172641 h 1628517"/>
              <a:gd name="connsiteX183" fmla="*/ 7129758 w 17588754"/>
              <a:gd name="connsiteY183" fmla="*/ 1146038 h 1628517"/>
              <a:gd name="connsiteX184" fmla="*/ 7142668 w 17588754"/>
              <a:gd name="connsiteY184" fmla="*/ 1194772 h 1628517"/>
              <a:gd name="connsiteX185" fmla="*/ 7227232 w 17588754"/>
              <a:gd name="connsiteY185" fmla="*/ 1244475 h 1628517"/>
              <a:gd name="connsiteX186" fmla="*/ 7762046 w 17588754"/>
              <a:gd name="connsiteY186" fmla="*/ 1244475 h 1628517"/>
              <a:gd name="connsiteX187" fmla="*/ 7762046 w 17588754"/>
              <a:gd name="connsiteY187" fmla="*/ 1379382 h 1628517"/>
              <a:gd name="connsiteX188" fmla="*/ 7660699 w 17588754"/>
              <a:gd name="connsiteY188" fmla="*/ 1379382 h 1628517"/>
              <a:gd name="connsiteX189" fmla="*/ 7615836 w 17588754"/>
              <a:gd name="connsiteY189" fmla="*/ 1423921 h 1628517"/>
              <a:gd name="connsiteX190" fmla="*/ 7660699 w 17588754"/>
              <a:gd name="connsiteY190" fmla="*/ 1468782 h 1628517"/>
              <a:gd name="connsiteX191" fmla="*/ 8259420 w 17588754"/>
              <a:gd name="connsiteY191" fmla="*/ 1468782 h 1628517"/>
              <a:gd name="connsiteX192" fmla="*/ 8304929 w 17588754"/>
              <a:gd name="connsiteY192" fmla="*/ 1423921 h 1628517"/>
              <a:gd name="connsiteX193" fmla="*/ 8259420 w 17588754"/>
              <a:gd name="connsiteY193" fmla="*/ 1379382 h 1628517"/>
              <a:gd name="connsiteX194" fmla="*/ 8157751 w 17588754"/>
              <a:gd name="connsiteY194" fmla="*/ 1379382 h 1628517"/>
              <a:gd name="connsiteX195" fmla="*/ 8157751 w 17588754"/>
              <a:gd name="connsiteY195" fmla="*/ 1244475 h 1628517"/>
              <a:gd name="connsiteX196" fmla="*/ 8692242 w 17588754"/>
              <a:gd name="connsiteY196" fmla="*/ 1244475 h 1628517"/>
              <a:gd name="connsiteX197" fmla="*/ 8776805 w 17588754"/>
              <a:gd name="connsiteY197" fmla="*/ 1194772 h 1628517"/>
              <a:gd name="connsiteX198" fmla="*/ 8790684 w 17588754"/>
              <a:gd name="connsiteY198" fmla="*/ 1146038 h 1628517"/>
              <a:gd name="connsiteX199" fmla="*/ 8790684 w 17588754"/>
              <a:gd name="connsiteY199" fmla="*/ 172641 h 1628517"/>
              <a:gd name="connsiteX200" fmla="*/ 8700634 w 17588754"/>
              <a:gd name="connsiteY200" fmla="*/ 84854 h 1628517"/>
              <a:gd name="connsiteX201" fmla="*/ 8700634 w 17588754"/>
              <a:gd name="connsiteY201" fmla="*/ 82595 h 1628517"/>
              <a:gd name="connsiteX202" fmla="*/ 5472007 w 17588754"/>
              <a:gd name="connsiteY202" fmla="*/ 82595 h 1628517"/>
              <a:gd name="connsiteX203" fmla="*/ 5472007 w 17588754"/>
              <a:gd name="connsiteY203" fmla="*/ 84854 h 1628517"/>
              <a:gd name="connsiteX204" fmla="*/ 5382603 w 17588754"/>
              <a:gd name="connsiteY204" fmla="*/ 172641 h 1628517"/>
              <a:gd name="connsiteX205" fmla="*/ 5382603 w 17588754"/>
              <a:gd name="connsiteY205" fmla="*/ 1146038 h 1628517"/>
              <a:gd name="connsiteX206" fmla="*/ 5395514 w 17588754"/>
              <a:gd name="connsiteY206" fmla="*/ 1194772 h 1628517"/>
              <a:gd name="connsiteX207" fmla="*/ 5480077 w 17588754"/>
              <a:gd name="connsiteY207" fmla="*/ 1244475 h 1628517"/>
              <a:gd name="connsiteX208" fmla="*/ 6014891 w 17588754"/>
              <a:gd name="connsiteY208" fmla="*/ 1244475 h 1628517"/>
              <a:gd name="connsiteX209" fmla="*/ 6014891 w 17588754"/>
              <a:gd name="connsiteY209" fmla="*/ 1379382 h 1628517"/>
              <a:gd name="connsiteX210" fmla="*/ 5913544 w 17588754"/>
              <a:gd name="connsiteY210" fmla="*/ 1379382 h 1628517"/>
              <a:gd name="connsiteX211" fmla="*/ 5868682 w 17588754"/>
              <a:gd name="connsiteY211" fmla="*/ 1423921 h 1628517"/>
              <a:gd name="connsiteX212" fmla="*/ 5913544 w 17588754"/>
              <a:gd name="connsiteY212" fmla="*/ 1468782 h 1628517"/>
              <a:gd name="connsiteX213" fmla="*/ 6512267 w 17588754"/>
              <a:gd name="connsiteY213" fmla="*/ 1468782 h 1628517"/>
              <a:gd name="connsiteX214" fmla="*/ 6557775 w 17588754"/>
              <a:gd name="connsiteY214" fmla="*/ 1423921 h 1628517"/>
              <a:gd name="connsiteX215" fmla="*/ 6512267 w 17588754"/>
              <a:gd name="connsiteY215" fmla="*/ 1379382 h 1628517"/>
              <a:gd name="connsiteX216" fmla="*/ 6410596 w 17588754"/>
              <a:gd name="connsiteY216" fmla="*/ 1379382 h 1628517"/>
              <a:gd name="connsiteX217" fmla="*/ 6410596 w 17588754"/>
              <a:gd name="connsiteY217" fmla="*/ 1244475 h 1628517"/>
              <a:gd name="connsiteX218" fmla="*/ 6945086 w 17588754"/>
              <a:gd name="connsiteY218" fmla="*/ 1244475 h 1628517"/>
              <a:gd name="connsiteX219" fmla="*/ 7029649 w 17588754"/>
              <a:gd name="connsiteY219" fmla="*/ 1194772 h 1628517"/>
              <a:gd name="connsiteX220" fmla="*/ 7043528 w 17588754"/>
              <a:gd name="connsiteY220" fmla="*/ 1146038 h 1628517"/>
              <a:gd name="connsiteX221" fmla="*/ 7043528 w 17588754"/>
              <a:gd name="connsiteY221" fmla="*/ 172641 h 1628517"/>
              <a:gd name="connsiteX222" fmla="*/ 6953478 w 17588754"/>
              <a:gd name="connsiteY222" fmla="*/ 84854 h 1628517"/>
              <a:gd name="connsiteX223" fmla="*/ 6953478 w 17588754"/>
              <a:gd name="connsiteY223" fmla="*/ 82595 h 1628517"/>
              <a:gd name="connsiteX224" fmla="*/ 3724851 w 17588754"/>
              <a:gd name="connsiteY224" fmla="*/ 82595 h 1628517"/>
              <a:gd name="connsiteX225" fmla="*/ 3724851 w 17588754"/>
              <a:gd name="connsiteY225" fmla="*/ 84854 h 1628517"/>
              <a:gd name="connsiteX226" fmla="*/ 3635447 w 17588754"/>
              <a:gd name="connsiteY226" fmla="*/ 172641 h 1628517"/>
              <a:gd name="connsiteX227" fmla="*/ 3635447 w 17588754"/>
              <a:gd name="connsiteY227" fmla="*/ 1146038 h 1628517"/>
              <a:gd name="connsiteX228" fmla="*/ 3648356 w 17588754"/>
              <a:gd name="connsiteY228" fmla="*/ 1194772 h 1628517"/>
              <a:gd name="connsiteX229" fmla="*/ 3732919 w 17588754"/>
              <a:gd name="connsiteY229" fmla="*/ 1244475 h 1628517"/>
              <a:gd name="connsiteX230" fmla="*/ 4267735 w 17588754"/>
              <a:gd name="connsiteY230" fmla="*/ 1244475 h 1628517"/>
              <a:gd name="connsiteX231" fmla="*/ 4267735 w 17588754"/>
              <a:gd name="connsiteY231" fmla="*/ 1379382 h 1628517"/>
              <a:gd name="connsiteX232" fmla="*/ 4166387 w 17588754"/>
              <a:gd name="connsiteY232" fmla="*/ 1379382 h 1628517"/>
              <a:gd name="connsiteX233" fmla="*/ 4121524 w 17588754"/>
              <a:gd name="connsiteY233" fmla="*/ 1423921 h 1628517"/>
              <a:gd name="connsiteX234" fmla="*/ 4166387 w 17588754"/>
              <a:gd name="connsiteY234" fmla="*/ 1468782 h 1628517"/>
              <a:gd name="connsiteX235" fmla="*/ 4765108 w 17588754"/>
              <a:gd name="connsiteY235" fmla="*/ 1468782 h 1628517"/>
              <a:gd name="connsiteX236" fmla="*/ 4810617 w 17588754"/>
              <a:gd name="connsiteY236" fmla="*/ 1423921 h 1628517"/>
              <a:gd name="connsiteX237" fmla="*/ 4765108 w 17588754"/>
              <a:gd name="connsiteY237" fmla="*/ 1379382 h 1628517"/>
              <a:gd name="connsiteX238" fmla="*/ 4663438 w 17588754"/>
              <a:gd name="connsiteY238" fmla="*/ 1379382 h 1628517"/>
              <a:gd name="connsiteX239" fmla="*/ 4663438 w 17588754"/>
              <a:gd name="connsiteY239" fmla="*/ 1244475 h 1628517"/>
              <a:gd name="connsiteX240" fmla="*/ 5197930 w 17588754"/>
              <a:gd name="connsiteY240" fmla="*/ 1244475 h 1628517"/>
              <a:gd name="connsiteX241" fmla="*/ 5282494 w 17588754"/>
              <a:gd name="connsiteY241" fmla="*/ 1194772 h 1628517"/>
              <a:gd name="connsiteX242" fmla="*/ 5296371 w 17588754"/>
              <a:gd name="connsiteY242" fmla="*/ 1146038 h 1628517"/>
              <a:gd name="connsiteX243" fmla="*/ 5296371 w 17588754"/>
              <a:gd name="connsiteY243" fmla="*/ 172641 h 1628517"/>
              <a:gd name="connsiteX244" fmla="*/ 5206323 w 17588754"/>
              <a:gd name="connsiteY244" fmla="*/ 84854 h 1628517"/>
              <a:gd name="connsiteX245" fmla="*/ 5206323 w 17588754"/>
              <a:gd name="connsiteY245" fmla="*/ 82595 h 1628517"/>
              <a:gd name="connsiteX246" fmla="*/ 1977694 w 17588754"/>
              <a:gd name="connsiteY246" fmla="*/ 82595 h 1628517"/>
              <a:gd name="connsiteX247" fmla="*/ 1977694 w 17588754"/>
              <a:gd name="connsiteY247" fmla="*/ 84854 h 1628517"/>
              <a:gd name="connsiteX248" fmla="*/ 1888289 w 17588754"/>
              <a:gd name="connsiteY248" fmla="*/ 172641 h 1628517"/>
              <a:gd name="connsiteX249" fmla="*/ 1888289 w 17588754"/>
              <a:gd name="connsiteY249" fmla="*/ 1146038 h 1628517"/>
              <a:gd name="connsiteX250" fmla="*/ 1901200 w 17588754"/>
              <a:gd name="connsiteY250" fmla="*/ 1194772 h 1628517"/>
              <a:gd name="connsiteX251" fmla="*/ 1985763 w 17588754"/>
              <a:gd name="connsiteY251" fmla="*/ 1244475 h 1628517"/>
              <a:gd name="connsiteX252" fmla="*/ 2520577 w 17588754"/>
              <a:gd name="connsiteY252" fmla="*/ 1244475 h 1628517"/>
              <a:gd name="connsiteX253" fmla="*/ 2520577 w 17588754"/>
              <a:gd name="connsiteY253" fmla="*/ 1379382 h 1628517"/>
              <a:gd name="connsiteX254" fmla="*/ 2419230 w 17588754"/>
              <a:gd name="connsiteY254" fmla="*/ 1379382 h 1628517"/>
              <a:gd name="connsiteX255" fmla="*/ 2374368 w 17588754"/>
              <a:gd name="connsiteY255" fmla="*/ 1423921 h 1628517"/>
              <a:gd name="connsiteX256" fmla="*/ 2419230 w 17588754"/>
              <a:gd name="connsiteY256" fmla="*/ 1468782 h 1628517"/>
              <a:gd name="connsiteX257" fmla="*/ 3017952 w 17588754"/>
              <a:gd name="connsiteY257" fmla="*/ 1468782 h 1628517"/>
              <a:gd name="connsiteX258" fmla="*/ 3063461 w 17588754"/>
              <a:gd name="connsiteY258" fmla="*/ 1423921 h 1628517"/>
              <a:gd name="connsiteX259" fmla="*/ 3017952 w 17588754"/>
              <a:gd name="connsiteY259" fmla="*/ 1379382 h 1628517"/>
              <a:gd name="connsiteX260" fmla="*/ 2916282 w 17588754"/>
              <a:gd name="connsiteY260" fmla="*/ 1379382 h 1628517"/>
              <a:gd name="connsiteX261" fmla="*/ 2916282 w 17588754"/>
              <a:gd name="connsiteY261" fmla="*/ 1244475 h 1628517"/>
              <a:gd name="connsiteX262" fmla="*/ 3450774 w 17588754"/>
              <a:gd name="connsiteY262" fmla="*/ 1244475 h 1628517"/>
              <a:gd name="connsiteX263" fmla="*/ 3535337 w 17588754"/>
              <a:gd name="connsiteY263" fmla="*/ 1194772 h 1628517"/>
              <a:gd name="connsiteX264" fmla="*/ 3549216 w 17588754"/>
              <a:gd name="connsiteY264" fmla="*/ 1146038 h 1628517"/>
              <a:gd name="connsiteX265" fmla="*/ 3549216 w 17588754"/>
              <a:gd name="connsiteY265" fmla="*/ 172641 h 1628517"/>
              <a:gd name="connsiteX266" fmla="*/ 3459164 w 17588754"/>
              <a:gd name="connsiteY266" fmla="*/ 84854 h 1628517"/>
              <a:gd name="connsiteX267" fmla="*/ 3459164 w 17588754"/>
              <a:gd name="connsiteY267" fmla="*/ 82595 h 1628517"/>
              <a:gd name="connsiteX268" fmla="*/ 230538 w 17588754"/>
              <a:gd name="connsiteY268" fmla="*/ 82595 h 1628517"/>
              <a:gd name="connsiteX269" fmla="*/ 230538 w 17588754"/>
              <a:gd name="connsiteY269" fmla="*/ 84854 h 1628517"/>
              <a:gd name="connsiteX270" fmla="*/ 141133 w 17588754"/>
              <a:gd name="connsiteY270" fmla="*/ 172641 h 1628517"/>
              <a:gd name="connsiteX271" fmla="*/ 141133 w 17588754"/>
              <a:gd name="connsiteY271" fmla="*/ 1146038 h 1628517"/>
              <a:gd name="connsiteX272" fmla="*/ 154044 w 17588754"/>
              <a:gd name="connsiteY272" fmla="*/ 1194772 h 1628517"/>
              <a:gd name="connsiteX273" fmla="*/ 238607 w 17588754"/>
              <a:gd name="connsiteY273" fmla="*/ 1244475 h 1628517"/>
              <a:gd name="connsiteX274" fmla="*/ 773422 w 17588754"/>
              <a:gd name="connsiteY274" fmla="*/ 1244475 h 1628517"/>
              <a:gd name="connsiteX275" fmla="*/ 773422 w 17588754"/>
              <a:gd name="connsiteY275" fmla="*/ 1379382 h 1628517"/>
              <a:gd name="connsiteX276" fmla="*/ 672075 w 17588754"/>
              <a:gd name="connsiteY276" fmla="*/ 1379382 h 1628517"/>
              <a:gd name="connsiteX277" fmla="*/ 627211 w 17588754"/>
              <a:gd name="connsiteY277" fmla="*/ 1423921 h 1628517"/>
              <a:gd name="connsiteX278" fmla="*/ 672075 w 17588754"/>
              <a:gd name="connsiteY278" fmla="*/ 1468782 h 1628517"/>
              <a:gd name="connsiteX279" fmla="*/ 1270796 w 17588754"/>
              <a:gd name="connsiteY279" fmla="*/ 1468782 h 1628517"/>
              <a:gd name="connsiteX280" fmla="*/ 1316305 w 17588754"/>
              <a:gd name="connsiteY280" fmla="*/ 1423921 h 1628517"/>
              <a:gd name="connsiteX281" fmla="*/ 1270796 w 17588754"/>
              <a:gd name="connsiteY281" fmla="*/ 1379382 h 1628517"/>
              <a:gd name="connsiteX282" fmla="*/ 1169126 w 17588754"/>
              <a:gd name="connsiteY282" fmla="*/ 1379382 h 1628517"/>
              <a:gd name="connsiteX283" fmla="*/ 1169126 w 17588754"/>
              <a:gd name="connsiteY283" fmla="*/ 1244475 h 1628517"/>
              <a:gd name="connsiteX284" fmla="*/ 1703618 w 17588754"/>
              <a:gd name="connsiteY284" fmla="*/ 1244475 h 1628517"/>
              <a:gd name="connsiteX285" fmla="*/ 1788181 w 17588754"/>
              <a:gd name="connsiteY285" fmla="*/ 1194772 h 1628517"/>
              <a:gd name="connsiteX286" fmla="*/ 1802059 w 17588754"/>
              <a:gd name="connsiteY286" fmla="*/ 1146038 h 1628517"/>
              <a:gd name="connsiteX287" fmla="*/ 1802059 w 17588754"/>
              <a:gd name="connsiteY287" fmla="*/ 172641 h 1628517"/>
              <a:gd name="connsiteX288" fmla="*/ 1712010 w 17588754"/>
              <a:gd name="connsiteY288" fmla="*/ 84854 h 1628517"/>
              <a:gd name="connsiteX289" fmla="*/ 1712010 w 17588754"/>
              <a:gd name="connsiteY289" fmla="*/ 82595 h 1628517"/>
              <a:gd name="connsiteX290" fmla="*/ 0 w 17588754"/>
              <a:gd name="connsiteY290" fmla="*/ 0 h 1628517"/>
              <a:gd name="connsiteX291" fmla="*/ 17588754 w 17588754"/>
              <a:gd name="connsiteY291" fmla="*/ 0 h 1628517"/>
              <a:gd name="connsiteX292" fmla="*/ 17588754 w 17588754"/>
              <a:gd name="connsiteY292" fmla="*/ 1628517 h 1628517"/>
              <a:gd name="connsiteX293" fmla="*/ 0 w 17588754"/>
              <a:gd name="connsiteY293" fmla="*/ 1628517 h 162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Lst>
            <a:rect l="l" t="t" r="r" b="b"/>
            <a:pathLst>
              <a:path w="17588754" h="1628517">
                <a:moveTo>
                  <a:pt x="15937088" y="172641"/>
                </a:moveTo>
                <a:lnTo>
                  <a:pt x="17418560" y="172641"/>
                </a:lnTo>
                <a:lnTo>
                  <a:pt x="17418560" y="180709"/>
                </a:lnTo>
                <a:lnTo>
                  <a:pt x="17418560" y="1146038"/>
                </a:lnTo>
                <a:cubicBezTo>
                  <a:pt x="17418560" y="1151847"/>
                  <a:pt x="17415976" y="1154429"/>
                  <a:pt x="17410168" y="1154429"/>
                </a:cubicBezTo>
                <a:lnTo>
                  <a:pt x="15945156" y="1154429"/>
                </a:lnTo>
                <a:cubicBezTo>
                  <a:pt x="15939672" y="1154429"/>
                  <a:pt x="15937088" y="1151847"/>
                  <a:pt x="15937088" y="1146038"/>
                </a:cubicBezTo>
                <a:close/>
                <a:moveTo>
                  <a:pt x="14189932" y="172641"/>
                </a:moveTo>
                <a:lnTo>
                  <a:pt x="15671404" y="172641"/>
                </a:lnTo>
                <a:lnTo>
                  <a:pt x="15671404" y="180709"/>
                </a:lnTo>
                <a:lnTo>
                  <a:pt x="15671404" y="1146038"/>
                </a:lnTo>
                <a:cubicBezTo>
                  <a:pt x="15671404" y="1151847"/>
                  <a:pt x="15668820" y="1154429"/>
                  <a:pt x="15663012" y="1154429"/>
                </a:cubicBezTo>
                <a:lnTo>
                  <a:pt x="14198001" y="1154429"/>
                </a:lnTo>
                <a:cubicBezTo>
                  <a:pt x="14192514" y="1154429"/>
                  <a:pt x="14189932" y="1151847"/>
                  <a:pt x="14189932" y="1146038"/>
                </a:cubicBezTo>
                <a:close/>
                <a:moveTo>
                  <a:pt x="12442775" y="172641"/>
                </a:moveTo>
                <a:lnTo>
                  <a:pt x="13924246" y="172641"/>
                </a:lnTo>
                <a:lnTo>
                  <a:pt x="13924246" y="180709"/>
                </a:lnTo>
                <a:lnTo>
                  <a:pt x="13924246" y="1146038"/>
                </a:lnTo>
                <a:cubicBezTo>
                  <a:pt x="13924246" y="1151847"/>
                  <a:pt x="13921664" y="1154429"/>
                  <a:pt x="13915854" y="1154429"/>
                </a:cubicBezTo>
                <a:lnTo>
                  <a:pt x="12450844" y="1154429"/>
                </a:lnTo>
                <a:cubicBezTo>
                  <a:pt x="12445357" y="1154429"/>
                  <a:pt x="12442775" y="1151847"/>
                  <a:pt x="12442775" y="1146038"/>
                </a:cubicBezTo>
                <a:close/>
                <a:moveTo>
                  <a:pt x="10695619" y="172641"/>
                </a:moveTo>
                <a:lnTo>
                  <a:pt x="12177090" y="172641"/>
                </a:lnTo>
                <a:lnTo>
                  <a:pt x="12177090" y="180709"/>
                </a:lnTo>
                <a:lnTo>
                  <a:pt x="12177090" y="1146038"/>
                </a:lnTo>
                <a:cubicBezTo>
                  <a:pt x="12177090" y="1151847"/>
                  <a:pt x="12174508" y="1154429"/>
                  <a:pt x="12168698" y="1154429"/>
                </a:cubicBezTo>
                <a:lnTo>
                  <a:pt x="10703688" y="1154429"/>
                </a:lnTo>
                <a:cubicBezTo>
                  <a:pt x="10698201" y="1154429"/>
                  <a:pt x="10695619" y="1151847"/>
                  <a:pt x="10695619" y="1146038"/>
                </a:cubicBezTo>
                <a:close/>
                <a:moveTo>
                  <a:pt x="8966320" y="172641"/>
                </a:moveTo>
                <a:lnTo>
                  <a:pt x="10447791" y="172641"/>
                </a:lnTo>
                <a:lnTo>
                  <a:pt x="10447791" y="180709"/>
                </a:lnTo>
                <a:lnTo>
                  <a:pt x="10447791" y="1146038"/>
                </a:lnTo>
                <a:cubicBezTo>
                  <a:pt x="10447791" y="1151847"/>
                  <a:pt x="10445209" y="1154429"/>
                  <a:pt x="10439399" y="1154429"/>
                </a:cubicBezTo>
                <a:lnTo>
                  <a:pt x="8974389" y="1154429"/>
                </a:lnTo>
                <a:cubicBezTo>
                  <a:pt x="8968902" y="1154429"/>
                  <a:pt x="8966320" y="1151847"/>
                  <a:pt x="8966320" y="1146038"/>
                </a:cubicBezTo>
                <a:close/>
                <a:moveTo>
                  <a:pt x="7219163" y="172641"/>
                </a:moveTo>
                <a:lnTo>
                  <a:pt x="8700634" y="172641"/>
                </a:lnTo>
                <a:lnTo>
                  <a:pt x="8700634" y="180709"/>
                </a:lnTo>
                <a:lnTo>
                  <a:pt x="8700634" y="1146038"/>
                </a:lnTo>
                <a:cubicBezTo>
                  <a:pt x="8700634" y="1151847"/>
                  <a:pt x="8698052" y="1154429"/>
                  <a:pt x="8692242" y="1154429"/>
                </a:cubicBezTo>
                <a:lnTo>
                  <a:pt x="7227232" y="1154429"/>
                </a:lnTo>
                <a:cubicBezTo>
                  <a:pt x="7221745" y="1154429"/>
                  <a:pt x="7219163" y="1151847"/>
                  <a:pt x="7219163" y="1146038"/>
                </a:cubicBezTo>
                <a:close/>
                <a:moveTo>
                  <a:pt x="5472007" y="172641"/>
                </a:moveTo>
                <a:lnTo>
                  <a:pt x="6953478" y="172641"/>
                </a:lnTo>
                <a:lnTo>
                  <a:pt x="6953478" y="180709"/>
                </a:lnTo>
                <a:lnTo>
                  <a:pt x="6953478" y="1146038"/>
                </a:lnTo>
                <a:cubicBezTo>
                  <a:pt x="6953478" y="1151847"/>
                  <a:pt x="6950896" y="1154429"/>
                  <a:pt x="6945086" y="1154429"/>
                </a:cubicBezTo>
                <a:lnTo>
                  <a:pt x="5480077" y="1154429"/>
                </a:lnTo>
                <a:cubicBezTo>
                  <a:pt x="5474590" y="1154429"/>
                  <a:pt x="5472007" y="1151847"/>
                  <a:pt x="5472007" y="1146038"/>
                </a:cubicBezTo>
                <a:close/>
                <a:moveTo>
                  <a:pt x="3724851" y="172641"/>
                </a:moveTo>
                <a:lnTo>
                  <a:pt x="5206323" y="172641"/>
                </a:lnTo>
                <a:lnTo>
                  <a:pt x="5206323" y="180709"/>
                </a:lnTo>
                <a:lnTo>
                  <a:pt x="5206323" y="1146038"/>
                </a:lnTo>
                <a:cubicBezTo>
                  <a:pt x="5206323" y="1151847"/>
                  <a:pt x="5203740" y="1154429"/>
                  <a:pt x="5197930" y="1154429"/>
                </a:cubicBezTo>
                <a:lnTo>
                  <a:pt x="3732919" y="1154429"/>
                </a:lnTo>
                <a:cubicBezTo>
                  <a:pt x="3727434" y="1154429"/>
                  <a:pt x="3724851" y="1151847"/>
                  <a:pt x="3724851" y="1146038"/>
                </a:cubicBezTo>
                <a:close/>
                <a:moveTo>
                  <a:pt x="1977694" y="172641"/>
                </a:moveTo>
                <a:lnTo>
                  <a:pt x="3459164" y="172641"/>
                </a:lnTo>
                <a:lnTo>
                  <a:pt x="3459164" y="180709"/>
                </a:lnTo>
                <a:lnTo>
                  <a:pt x="3459164" y="1146038"/>
                </a:lnTo>
                <a:cubicBezTo>
                  <a:pt x="3459164" y="1151847"/>
                  <a:pt x="3456584" y="1154429"/>
                  <a:pt x="3450774" y="1154429"/>
                </a:cubicBezTo>
                <a:lnTo>
                  <a:pt x="1985763" y="1154429"/>
                </a:lnTo>
                <a:cubicBezTo>
                  <a:pt x="1980277" y="1154429"/>
                  <a:pt x="1977694" y="1151847"/>
                  <a:pt x="1977694" y="1146038"/>
                </a:cubicBezTo>
                <a:close/>
                <a:moveTo>
                  <a:pt x="230538" y="172641"/>
                </a:moveTo>
                <a:lnTo>
                  <a:pt x="1712010" y="172641"/>
                </a:lnTo>
                <a:lnTo>
                  <a:pt x="1712010" y="180709"/>
                </a:lnTo>
                <a:lnTo>
                  <a:pt x="1712010" y="1146038"/>
                </a:lnTo>
                <a:cubicBezTo>
                  <a:pt x="1712010" y="1151847"/>
                  <a:pt x="1709427" y="1154429"/>
                  <a:pt x="1703618" y="1154429"/>
                </a:cubicBezTo>
                <a:lnTo>
                  <a:pt x="238607" y="1154429"/>
                </a:lnTo>
                <a:cubicBezTo>
                  <a:pt x="233120" y="1154429"/>
                  <a:pt x="230538" y="1151847"/>
                  <a:pt x="230538" y="1146038"/>
                </a:cubicBezTo>
                <a:close/>
                <a:moveTo>
                  <a:pt x="15937088" y="82595"/>
                </a:moveTo>
                <a:lnTo>
                  <a:pt x="15937088" y="84854"/>
                </a:lnTo>
                <a:cubicBezTo>
                  <a:pt x="15889320" y="88082"/>
                  <a:pt x="15853492" y="126165"/>
                  <a:pt x="15847684" y="172641"/>
                </a:cubicBezTo>
                <a:lnTo>
                  <a:pt x="15847684" y="1146038"/>
                </a:lnTo>
                <a:cubicBezTo>
                  <a:pt x="15847684" y="1165080"/>
                  <a:pt x="15852524" y="1180571"/>
                  <a:pt x="15860596" y="1194772"/>
                </a:cubicBezTo>
                <a:cubicBezTo>
                  <a:pt x="15879636" y="1228015"/>
                  <a:pt x="15907072" y="1244475"/>
                  <a:pt x="15945156" y="1244475"/>
                </a:cubicBezTo>
                <a:lnTo>
                  <a:pt x="16479972" y="1244475"/>
                </a:lnTo>
                <a:lnTo>
                  <a:pt x="16479972" y="1379382"/>
                </a:lnTo>
                <a:lnTo>
                  <a:pt x="16378624" y="1379382"/>
                </a:lnTo>
                <a:cubicBezTo>
                  <a:pt x="16353128" y="1379382"/>
                  <a:pt x="16333760" y="1398747"/>
                  <a:pt x="16333760" y="1423921"/>
                </a:cubicBezTo>
                <a:cubicBezTo>
                  <a:pt x="16333760" y="1449095"/>
                  <a:pt x="16353128" y="1468782"/>
                  <a:pt x="16378624" y="1468782"/>
                </a:cubicBezTo>
                <a:lnTo>
                  <a:pt x="16977348" y="1468782"/>
                </a:lnTo>
                <a:cubicBezTo>
                  <a:pt x="17002200" y="1468782"/>
                  <a:pt x="17022856" y="1449095"/>
                  <a:pt x="17022856" y="1423921"/>
                </a:cubicBezTo>
                <a:cubicBezTo>
                  <a:pt x="17022856" y="1398747"/>
                  <a:pt x="17002200" y="1379382"/>
                  <a:pt x="16977348" y="1379382"/>
                </a:cubicBezTo>
                <a:lnTo>
                  <a:pt x="16875676" y="1379382"/>
                </a:lnTo>
                <a:lnTo>
                  <a:pt x="16875676" y="1244475"/>
                </a:lnTo>
                <a:lnTo>
                  <a:pt x="17410168" y="1244475"/>
                </a:lnTo>
                <a:cubicBezTo>
                  <a:pt x="17448576" y="1244475"/>
                  <a:pt x="17476336" y="1228015"/>
                  <a:pt x="17494732" y="1194772"/>
                </a:cubicBezTo>
                <a:cubicBezTo>
                  <a:pt x="17503124" y="1179926"/>
                  <a:pt x="17508612" y="1164111"/>
                  <a:pt x="17508612" y="1146038"/>
                </a:cubicBezTo>
                <a:lnTo>
                  <a:pt x="17508612" y="172641"/>
                </a:lnTo>
                <a:cubicBezTo>
                  <a:pt x="17503124" y="126165"/>
                  <a:pt x="17464716" y="88082"/>
                  <a:pt x="17418560" y="84854"/>
                </a:cubicBezTo>
                <a:lnTo>
                  <a:pt x="17418560" y="82595"/>
                </a:lnTo>
                <a:close/>
                <a:moveTo>
                  <a:pt x="14189932" y="82595"/>
                </a:moveTo>
                <a:lnTo>
                  <a:pt x="14189932" y="84854"/>
                </a:lnTo>
                <a:cubicBezTo>
                  <a:pt x="14142163" y="88082"/>
                  <a:pt x="14106337" y="126165"/>
                  <a:pt x="14100527" y="172641"/>
                </a:cubicBezTo>
                <a:lnTo>
                  <a:pt x="14100527" y="1146038"/>
                </a:lnTo>
                <a:cubicBezTo>
                  <a:pt x="14100527" y="1165080"/>
                  <a:pt x="14105368" y="1180571"/>
                  <a:pt x="14113437" y="1194772"/>
                </a:cubicBezTo>
                <a:cubicBezTo>
                  <a:pt x="14132480" y="1228015"/>
                  <a:pt x="14159915" y="1244475"/>
                  <a:pt x="14198001" y="1244475"/>
                </a:cubicBezTo>
                <a:lnTo>
                  <a:pt x="14732815" y="1244475"/>
                </a:lnTo>
                <a:lnTo>
                  <a:pt x="14732815" y="1379382"/>
                </a:lnTo>
                <a:lnTo>
                  <a:pt x="14631468" y="1379382"/>
                </a:lnTo>
                <a:cubicBezTo>
                  <a:pt x="14605970" y="1379382"/>
                  <a:pt x="14586605" y="1398747"/>
                  <a:pt x="14586605" y="1423921"/>
                </a:cubicBezTo>
                <a:cubicBezTo>
                  <a:pt x="14586605" y="1449095"/>
                  <a:pt x="14605970" y="1468782"/>
                  <a:pt x="14631468" y="1468782"/>
                </a:cubicBezTo>
                <a:lnTo>
                  <a:pt x="15230189" y="1468782"/>
                </a:lnTo>
                <a:cubicBezTo>
                  <a:pt x="15255040" y="1468782"/>
                  <a:pt x="15275700" y="1449095"/>
                  <a:pt x="15275700" y="1423921"/>
                </a:cubicBezTo>
                <a:cubicBezTo>
                  <a:pt x="15275700" y="1398747"/>
                  <a:pt x="15255040" y="1379382"/>
                  <a:pt x="15230189" y="1379382"/>
                </a:cubicBezTo>
                <a:lnTo>
                  <a:pt x="15128520" y="1379382"/>
                </a:lnTo>
                <a:lnTo>
                  <a:pt x="15128520" y="1244475"/>
                </a:lnTo>
                <a:lnTo>
                  <a:pt x="15663012" y="1244475"/>
                </a:lnTo>
                <a:cubicBezTo>
                  <a:pt x="15701420" y="1244475"/>
                  <a:pt x="15729176" y="1228015"/>
                  <a:pt x="15747576" y="1194772"/>
                </a:cubicBezTo>
                <a:cubicBezTo>
                  <a:pt x="15755968" y="1179926"/>
                  <a:pt x="15761452" y="1164111"/>
                  <a:pt x="15761452" y="1146038"/>
                </a:cubicBezTo>
                <a:lnTo>
                  <a:pt x="15761452" y="172641"/>
                </a:lnTo>
                <a:cubicBezTo>
                  <a:pt x="15755968" y="126165"/>
                  <a:pt x="15717556" y="88082"/>
                  <a:pt x="15671404" y="84854"/>
                </a:cubicBezTo>
                <a:lnTo>
                  <a:pt x="15671404" y="82595"/>
                </a:lnTo>
                <a:close/>
                <a:moveTo>
                  <a:pt x="12442775" y="82595"/>
                </a:moveTo>
                <a:lnTo>
                  <a:pt x="12442775" y="84854"/>
                </a:lnTo>
                <a:cubicBezTo>
                  <a:pt x="12395006" y="88082"/>
                  <a:pt x="12359180" y="126165"/>
                  <a:pt x="12353370" y="172641"/>
                </a:cubicBezTo>
                <a:lnTo>
                  <a:pt x="12353370" y="1146038"/>
                </a:lnTo>
                <a:cubicBezTo>
                  <a:pt x="12353370" y="1165080"/>
                  <a:pt x="12358211" y="1180571"/>
                  <a:pt x="12366280" y="1194772"/>
                </a:cubicBezTo>
                <a:cubicBezTo>
                  <a:pt x="12385323" y="1228015"/>
                  <a:pt x="12412758" y="1244475"/>
                  <a:pt x="12450844" y="1244475"/>
                </a:cubicBezTo>
                <a:lnTo>
                  <a:pt x="12985658" y="1244475"/>
                </a:lnTo>
                <a:lnTo>
                  <a:pt x="12985658" y="1379382"/>
                </a:lnTo>
                <a:lnTo>
                  <a:pt x="12884311" y="1379382"/>
                </a:lnTo>
                <a:cubicBezTo>
                  <a:pt x="12858813" y="1379382"/>
                  <a:pt x="12839448" y="1398747"/>
                  <a:pt x="12839448" y="1423921"/>
                </a:cubicBezTo>
                <a:cubicBezTo>
                  <a:pt x="12839448" y="1449095"/>
                  <a:pt x="12858813" y="1468782"/>
                  <a:pt x="12884311" y="1468782"/>
                </a:cubicBezTo>
                <a:lnTo>
                  <a:pt x="13483032" y="1468782"/>
                </a:lnTo>
                <a:cubicBezTo>
                  <a:pt x="13507885" y="1468782"/>
                  <a:pt x="13528541" y="1449095"/>
                  <a:pt x="13528541" y="1423921"/>
                </a:cubicBezTo>
                <a:cubicBezTo>
                  <a:pt x="13528541" y="1398747"/>
                  <a:pt x="13507885" y="1379382"/>
                  <a:pt x="13483032" y="1379382"/>
                </a:cubicBezTo>
                <a:lnTo>
                  <a:pt x="13381363" y="1379382"/>
                </a:lnTo>
                <a:lnTo>
                  <a:pt x="13381363" y="1244475"/>
                </a:lnTo>
                <a:lnTo>
                  <a:pt x="13915854" y="1244475"/>
                </a:lnTo>
                <a:cubicBezTo>
                  <a:pt x="13954263" y="1244475"/>
                  <a:pt x="13982020" y="1228015"/>
                  <a:pt x="14000417" y="1194772"/>
                </a:cubicBezTo>
                <a:cubicBezTo>
                  <a:pt x="14008809" y="1179926"/>
                  <a:pt x="14014296" y="1164111"/>
                  <a:pt x="14014296" y="1146038"/>
                </a:cubicBezTo>
                <a:lnTo>
                  <a:pt x="14014296" y="172641"/>
                </a:lnTo>
                <a:cubicBezTo>
                  <a:pt x="14008809" y="126165"/>
                  <a:pt x="13970401" y="88082"/>
                  <a:pt x="13924246" y="84854"/>
                </a:cubicBezTo>
                <a:lnTo>
                  <a:pt x="13924246" y="82595"/>
                </a:lnTo>
                <a:close/>
                <a:moveTo>
                  <a:pt x="10695619" y="82595"/>
                </a:moveTo>
                <a:lnTo>
                  <a:pt x="10695619" y="84854"/>
                </a:lnTo>
                <a:cubicBezTo>
                  <a:pt x="10647850" y="88082"/>
                  <a:pt x="10612024" y="126165"/>
                  <a:pt x="10606214" y="172641"/>
                </a:cubicBezTo>
                <a:lnTo>
                  <a:pt x="10606214" y="1146038"/>
                </a:lnTo>
                <a:cubicBezTo>
                  <a:pt x="10606214" y="1165080"/>
                  <a:pt x="10611055" y="1180571"/>
                  <a:pt x="10619124" y="1194772"/>
                </a:cubicBezTo>
                <a:cubicBezTo>
                  <a:pt x="10638167" y="1228015"/>
                  <a:pt x="10665602" y="1244475"/>
                  <a:pt x="10703688" y="1244475"/>
                </a:cubicBezTo>
                <a:lnTo>
                  <a:pt x="11238502" y="1244475"/>
                </a:lnTo>
                <a:lnTo>
                  <a:pt x="11238502" y="1379382"/>
                </a:lnTo>
                <a:lnTo>
                  <a:pt x="11137155" y="1379382"/>
                </a:lnTo>
                <a:cubicBezTo>
                  <a:pt x="11111657" y="1379382"/>
                  <a:pt x="11092292" y="1398747"/>
                  <a:pt x="11092292" y="1423921"/>
                </a:cubicBezTo>
                <a:cubicBezTo>
                  <a:pt x="11092292" y="1449095"/>
                  <a:pt x="11111657" y="1468782"/>
                  <a:pt x="11137155" y="1468782"/>
                </a:cubicBezTo>
                <a:lnTo>
                  <a:pt x="11735876" y="1468782"/>
                </a:lnTo>
                <a:cubicBezTo>
                  <a:pt x="11760729" y="1468782"/>
                  <a:pt x="11781385" y="1449095"/>
                  <a:pt x="11781385" y="1423921"/>
                </a:cubicBezTo>
                <a:cubicBezTo>
                  <a:pt x="11781385" y="1398747"/>
                  <a:pt x="11760729" y="1379382"/>
                  <a:pt x="11735876" y="1379382"/>
                </a:cubicBezTo>
                <a:lnTo>
                  <a:pt x="11634207" y="1379382"/>
                </a:lnTo>
                <a:lnTo>
                  <a:pt x="11634207" y="1244475"/>
                </a:lnTo>
                <a:lnTo>
                  <a:pt x="12168698" y="1244475"/>
                </a:lnTo>
                <a:cubicBezTo>
                  <a:pt x="12207107" y="1244475"/>
                  <a:pt x="12234864" y="1228015"/>
                  <a:pt x="12253261" y="1194772"/>
                </a:cubicBezTo>
                <a:cubicBezTo>
                  <a:pt x="12261653" y="1179926"/>
                  <a:pt x="12267140" y="1164111"/>
                  <a:pt x="12267140" y="1146038"/>
                </a:cubicBezTo>
                <a:lnTo>
                  <a:pt x="12267140" y="172641"/>
                </a:lnTo>
                <a:cubicBezTo>
                  <a:pt x="12261653" y="126165"/>
                  <a:pt x="12223245" y="88082"/>
                  <a:pt x="12177090" y="84854"/>
                </a:cubicBezTo>
                <a:lnTo>
                  <a:pt x="12177090" y="82595"/>
                </a:lnTo>
                <a:close/>
                <a:moveTo>
                  <a:pt x="8966320" y="82595"/>
                </a:moveTo>
                <a:lnTo>
                  <a:pt x="8966320" y="84854"/>
                </a:lnTo>
                <a:cubicBezTo>
                  <a:pt x="8918551" y="88082"/>
                  <a:pt x="8882725" y="126165"/>
                  <a:pt x="8876915" y="172641"/>
                </a:cubicBezTo>
                <a:lnTo>
                  <a:pt x="8876915" y="1146038"/>
                </a:lnTo>
                <a:cubicBezTo>
                  <a:pt x="8876915" y="1165080"/>
                  <a:pt x="8881756" y="1180571"/>
                  <a:pt x="8889825" y="1194772"/>
                </a:cubicBezTo>
                <a:cubicBezTo>
                  <a:pt x="8908868" y="1228015"/>
                  <a:pt x="8936303" y="1244475"/>
                  <a:pt x="8974389" y="1244475"/>
                </a:cubicBezTo>
                <a:lnTo>
                  <a:pt x="9509203" y="1244475"/>
                </a:lnTo>
                <a:lnTo>
                  <a:pt x="9509203" y="1379382"/>
                </a:lnTo>
                <a:lnTo>
                  <a:pt x="9407856" y="1379382"/>
                </a:lnTo>
                <a:cubicBezTo>
                  <a:pt x="9382358" y="1379382"/>
                  <a:pt x="9362993" y="1398747"/>
                  <a:pt x="9362993" y="1423921"/>
                </a:cubicBezTo>
                <a:cubicBezTo>
                  <a:pt x="9362993" y="1449095"/>
                  <a:pt x="9382358" y="1468782"/>
                  <a:pt x="9407856" y="1468782"/>
                </a:cubicBezTo>
                <a:lnTo>
                  <a:pt x="10006577" y="1468782"/>
                </a:lnTo>
                <a:cubicBezTo>
                  <a:pt x="10031430" y="1468782"/>
                  <a:pt x="10052087" y="1449095"/>
                  <a:pt x="10052087" y="1423921"/>
                </a:cubicBezTo>
                <a:cubicBezTo>
                  <a:pt x="10052087" y="1398747"/>
                  <a:pt x="10031430" y="1379382"/>
                  <a:pt x="10006577" y="1379382"/>
                </a:cubicBezTo>
                <a:lnTo>
                  <a:pt x="9904908" y="1379382"/>
                </a:lnTo>
                <a:lnTo>
                  <a:pt x="9904908" y="1244475"/>
                </a:lnTo>
                <a:lnTo>
                  <a:pt x="10439399" y="1244475"/>
                </a:lnTo>
                <a:cubicBezTo>
                  <a:pt x="10477808" y="1244475"/>
                  <a:pt x="10505565" y="1228015"/>
                  <a:pt x="10523963" y="1194772"/>
                </a:cubicBezTo>
                <a:cubicBezTo>
                  <a:pt x="10532354" y="1179926"/>
                  <a:pt x="10537841" y="1164111"/>
                  <a:pt x="10537841" y="1146038"/>
                </a:cubicBezTo>
                <a:lnTo>
                  <a:pt x="10537841" y="172641"/>
                </a:lnTo>
                <a:cubicBezTo>
                  <a:pt x="10532354" y="126165"/>
                  <a:pt x="10493946" y="88082"/>
                  <a:pt x="10447791" y="84854"/>
                </a:cubicBezTo>
                <a:lnTo>
                  <a:pt x="10447791" y="82595"/>
                </a:lnTo>
                <a:close/>
                <a:moveTo>
                  <a:pt x="7219163" y="82595"/>
                </a:moveTo>
                <a:lnTo>
                  <a:pt x="7219163" y="84854"/>
                </a:lnTo>
                <a:cubicBezTo>
                  <a:pt x="7171394" y="88082"/>
                  <a:pt x="7135568" y="126165"/>
                  <a:pt x="7129758" y="172641"/>
                </a:cubicBezTo>
                <a:lnTo>
                  <a:pt x="7129758" y="1146038"/>
                </a:lnTo>
                <a:cubicBezTo>
                  <a:pt x="7129758" y="1165080"/>
                  <a:pt x="7134599" y="1180571"/>
                  <a:pt x="7142668" y="1194772"/>
                </a:cubicBezTo>
                <a:cubicBezTo>
                  <a:pt x="7161711" y="1228015"/>
                  <a:pt x="7189146" y="1244475"/>
                  <a:pt x="7227232" y="1244475"/>
                </a:cubicBezTo>
                <a:lnTo>
                  <a:pt x="7762046" y="1244475"/>
                </a:lnTo>
                <a:lnTo>
                  <a:pt x="7762046" y="1379382"/>
                </a:lnTo>
                <a:lnTo>
                  <a:pt x="7660699" y="1379382"/>
                </a:lnTo>
                <a:cubicBezTo>
                  <a:pt x="7635201" y="1379382"/>
                  <a:pt x="7615836" y="1398747"/>
                  <a:pt x="7615836" y="1423921"/>
                </a:cubicBezTo>
                <a:cubicBezTo>
                  <a:pt x="7615836" y="1449095"/>
                  <a:pt x="7635201" y="1468782"/>
                  <a:pt x="7660699" y="1468782"/>
                </a:cubicBezTo>
                <a:lnTo>
                  <a:pt x="8259420" y="1468782"/>
                </a:lnTo>
                <a:cubicBezTo>
                  <a:pt x="8284273" y="1468782"/>
                  <a:pt x="8304929" y="1449095"/>
                  <a:pt x="8304929" y="1423921"/>
                </a:cubicBezTo>
                <a:cubicBezTo>
                  <a:pt x="8304929" y="1398747"/>
                  <a:pt x="8284273" y="1379382"/>
                  <a:pt x="8259420" y="1379382"/>
                </a:cubicBezTo>
                <a:lnTo>
                  <a:pt x="8157751" y="1379382"/>
                </a:lnTo>
                <a:lnTo>
                  <a:pt x="8157751" y="1244475"/>
                </a:lnTo>
                <a:lnTo>
                  <a:pt x="8692242" y="1244475"/>
                </a:lnTo>
                <a:cubicBezTo>
                  <a:pt x="8730651" y="1244475"/>
                  <a:pt x="8758408" y="1228015"/>
                  <a:pt x="8776805" y="1194772"/>
                </a:cubicBezTo>
                <a:cubicBezTo>
                  <a:pt x="8785197" y="1179926"/>
                  <a:pt x="8790684" y="1164111"/>
                  <a:pt x="8790684" y="1146038"/>
                </a:cubicBezTo>
                <a:lnTo>
                  <a:pt x="8790684" y="172641"/>
                </a:lnTo>
                <a:cubicBezTo>
                  <a:pt x="8785197" y="126165"/>
                  <a:pt x="8746789" y="88082"/>
                  <a:pt x="8700634" y="84854"/>
                </a:cubicBezTo>
                <a:lnTo>
                  <a:pt x="8700634" y="82595"/>
                </a:lnTo>
                <a:close/>
                <a:moveTo>
                  <a:pt x="5472007" y="82595"/>
                </a:moveTo>
                <a:lnTo>
                  <a:pt x="5472007" y="84854"/>
                </a:lnTo>
                <a:cubicBezTo>
                  <a:pt x="5424238" y="88082"/>
                  <a:pt x="5388413" y="126165"/>
                  <a:pt x="5382603" y="172641"/>
                </a:cubicBezTo>
                <a:lnTo>
                  <a:pt x="5382603" y="1146038"/>
                </a:lnTo>
                <a:cubicBezTo>
                  <a:pt x="5382603" y="1165080"/>
                  <a:pt x="5387445" y="1180571"/>
                  <a:pt x="5395514" y="1194772"/>
                </a:cubicBezTo>
                <a:cubicBezTo>
                  <a:pt x="5414558" y="1228015"/>
                  <a:pt x="5441991" y="1244475"/>
                  <a:pt x="5480077" y="1244475"/>
                </a:cubicBezTo>
                <a:lnTo>
                  <a:pt x="6014891" y="1244475"/>
                </a:lnTo>
                <a:lnTo>
                  <a:pt x="6014891" y="1379382"/>
                </a:lnTo>
                <a:lnTo>
                  <a:pt x="5913544" y="1379382"/>
                </a:lnTo>
                <a:cubicBezTo>
                  <a:pt x="5888047" y="1379382"/>
                  <a:pt x="5868682" y="1398747"/>
                  <a:pt x="5868682" y="1423921"/>
                </a:cubicBezTo>
                <a:cubicBezTo>
                  <a:pt x="5868682" y="1449095"/>
                  <a:pt x="5888047" y="1468782"/>
                  <a:pt x="5913544" y="1468782"/>
                </a:cubicBezTo>
                <a:lnTo>
                  <a:pt x="6512267" y="1468782"/>
                </a:lnTo>
                <a:cubicBezTo>
                  <a:pt x="6537117" y="1468782"/>
                  <a:pt x="6557775" y="1449095"/>
                  <a:pt x="6557775" y="1423921"/>
                </a:cubicBezTo>
                <a:cubicBezTo>
                  <a:pt x="6557775" y="1398747"/>
                  <a:pt x="6537117" y="1379382"/>
                  <a:pt x="6512267" y="1379382"/>
                </a:cubicBezTo>
                <a:lnTo>
                  <a:pt x="6410596" y="1379382"/>
                </a:lnTo>
                <a:lnTo>
                  <a:pt x="6410596" y="1244475"/>
                </a:lnTo>
                <a:lnTo>
                  <a:pt x="6945086" y="1244475"/>
                </a:lnTo>
                <a:cubicBezTo>
                  <a:pt x="6983495" y="1244475"/>
                  <a:pt x="7011252" y="1228015"/>
                  <a:pt x="7029649" y="1194772"/>
                </a:cubicBezTo>
                <a:cubicBezTo>
                  <a:pt x="7038041" y="1179926"/>
                  <a:pt x="7043528" y="1164111"/>
                  <a:pt x="7043528" y="1146038"/>
                </a:cubicBezTo>
                <a:lnTo>
                  <a:pt x="7043528" y="172641"/>
                </a:lnTo>
                <a:cubicBezTo>
                  <a:pt x="7038041" y="126165"/>
                  <a:pt x="6999633" y="88082"/>
                  <a:pt x="6953478" y="84854"/>
                </a:cubicBezTo>
                <a:lnTo>
                  <a:pt x="6953478" y="82595"/>
                </a:lnTo>
                <a:close/>
                <a:moveTo>
                  <a:pt x="3724851" y="82595"/>
                </a:moveTo>
                <a:lnTo>
                  <a:pt x="3724851" y="84854"/>
                </a:lnTo>
                <a:cubicBezTo>
                  <a:pt x="3677083" y="88082"/>
                  <a:pt x="3641257" y="126165"/>
                  <a:pt x="3635447" y="172641"/>
                </a:cubicBezTo>
                <a:lnTo>
                  <a:pt x="3635447" y="1146038"/>
                </a:lnTo>
                <a:cubicBezTo>
                  <a:pt x="3635447" y="1165080"/>
                  <a:pt x="3640287" y="1180571"/>
                  <a:pt x="3648356" y="1194772"/>
                </a:cubicBezTo>
                <a:cubicBezTo>
                  <a:pt x="3667400" y="1228015"/>
                  <a:pt x="3694834" y="1244475"/>
                  <a:pt x="3732919" y="1244475"/>
                </a:cubicBezTo>
                <a:lnTo>
                  <a:pt x="4267735" y="1244475"/>
                </a:lnTo>
                <a:lnTo>
                  <a:pt x="4267735" y="1379382"/>
                </a:lnTo>
                <a:lnTo>
                  <a:pt x="4166387" y="1379382"/>
                </a:lnTo>
                <a:cubicBezTo>
                  <a:pt x="4140889" y="1379382"/>
                  <a:pt x="4121524" y="1398747"/>
                  <a:pt x="4121524" y="1423921"/>
                </a:cubicBezTo>
                <a:cubicBezTo>
                  <a:pt x="4121524" y="1449095"/>
                  <a:pt x="4140889" y="1468782"/>
                  <a:pt x="4166387" y="1468782"/>
                </a:cubicBezTo>
                <a:lnTo>
                  <a:pt x="4765108" y="1468782"/>
                </a:lnTo>
                <a:cubicBezTo>
                  <a:pt x="4789961" y="1468782"/>
                  <a:pt x="4810617" y="1449095"/>
                  <a:pt x="4810617" y="1423921"/>
                </a:cubicBezTo>
                <a:cubicBezTo>
                  <a:pt x="4810617" y="1398747"/>
                  <a:pt x="4789961" y="1379382"/>
                  <a:pt x="4765108" y="1379382"/>
                </a:cubicBezTo>
                <a:lnTo>
                  <a:pt x="4663438" y="1379382"/>
                </a:lnTo>
                <a:lnTo>
                  <a:pt x="4663438" y="1244475"/>
                </a:lnTo>
                <a:lnTo>
                  <a:pt x="5197930" y="1244475"/>
                </a:lnTo>
                <a:cubicBezTo>
                  <a:pt x="5236340" y="1244475"/>
                  <a:pt x="5264097" y="1228015"/>
                  <a:pt x="5282494" y="1194772"/>
                </a:cubicBezTo>
                <a:cubicBezTo>
                  <a:pt x="5290886" y="1179926"/>
                  <a:pt x="5296371" y="1164111"/>
                  <a:pt x="5296371" y="1146038"/>
                </a:cubicBezTo>
                <a:lnTo>
                  <a:pt x="5296371" y="172641"/>
                </a:lnTo>
                <a:cubicBezTo>
                  <a:pt x="5290886" y="126165"/>
                  <a:pt x="5252477" y="88082"/>
                  <a:pt x="5206323" y="84854"/>
                </a:cubicBezTo>
                <a:lnTo>
                  <a:pt x="5206323" y="82595"/>
                </a:lnTo>
                <a:close/>
                <a:moveTo>
                  <a:pt x="1977694" y="82595"/>
                </a:moveTo>
                <a:lnTo>
                  <a:pt x="1977694" y="84854"/>
                </a:lnTo>
                <a:cubicBezTo>
                  <a:pt x="1929926" y="88082"/>
                  <a:pt x="1894099" y="126165"/>
                  <a:pt x="1888289" y="172641"/>
                </a:cubicBezTo>
                <a:lnTo>
                  <a:pt x="1888289" y="1146038"/>
                </a:lnTo>
                <a:cubicBezTo>
                  <a:pt x="1888289" y="1165080"/>
                  <a:pt x="1893131" y="1180571"/>
                  <a:pt x="1901200" y="1194772"/>
                </a:cubicBezTo>
                <a:cubicBezTo>
                  <a:pt x="1920242" y="1228015"/>
                  <a:pt x="1947677" y="1244475"/>
                  <a:pt x="1985763" y="1244475"/>
                </a:cubicBezTo>
                <a:lnTo>
                  <a:pt x="2520577" y="1244475"/>
                </a:lnTo>
                <a:lnTo>
                  <a:pt x="2520577" y="1379382"/>
                </a:lnTo>
                <a:lnTo>
                  <a:pt x="2419230" y="1379382"/>
                </a:lnTo>
                <a:cubicBezTo>
                  <a:pt x="2393733" y="1379382"/>
                  <a:pt x="2374368" y="1398747"/>
                  <a:pt x="2374368" y="1423921"/>
                </a:cubicBezTo>
                <a:cubicBezTo>
                  <a:pt x="2374368" y="1449095"/>
                  <a:pt x="2393733" y="1468782"/>
                  <a:pt x="2419230" y="1468782"/>
                </a:cubicBezTo>
                <a:lnTo>
                  <a:pt x="3017952" y="1468782"/>
                </a:lnTo>
                <a:cubicBezTo>
                  <a:pt x="3042805" y="1468782"/>
                  <a:pt x="3063461" y="1449095"/>
                  <a:pt x="3063461" y="1423921"/>
                </a:cubicBezTo>
                <a:cubicBezTo>
                  <a:pt x="3063461" y="1398747"/>
                  <a:pt x="3042805" y="1379382"/>
                  <a:pt x="3017952" y="1379382"/>
                </a:cubicBezTo>
                <a:lnTo>
                  <a:pt x="2916282" y="1379382"/>
                </a:lnTo>
                <a:lnTo>
                  <a:pt x="2916282" y="1244475"/>
                </a:lnTo>
                <a:lnTo>
                  <a:pt x="3450774" y="1244475"/>
                </a:lnTo>
                <a:cubicBezTo>
                  <a:pt x="3489182" y="1244475"/>
                  <a:pt x="3516939" y="1228015"/>
                  <a:pt x="3535337" y="1194772"/>
                </a:cubicBezTo>
                <a:cubicBezTo>
                  <a:pt x="3543727" y="1179926"/>
                  <a:pt x="3549216" y="1164111"/>
                  <a:pt x="3549216" y="1146038"/>
                </a:cubicBezTo>
                <a:lnTo>
                  <a:pt x="3549216" y="172641"/>
                </a:lnTo>
                <a:cubicBezTo>
                  <a:pt x="3543727" y="126165"/>
                  <a:pt x="3505321" y="88082"/>
                  <a:pt x="3459164" y="84854"/>
                </a:cubicBezTo>
                <a:lnTo>
                  <a:pt x="3459164" y="82595"/>
                </a:lnTo>
                <a:close/>
                <a:moveTo>
                  <a:pt x="230538" y="82595"/>
                </a:moveTo>
                <a:lnTo>
                  <a:pt x="230538" y="84854"/>
                </a:lnTo>
                <a:cubicBezTo>
                  <a:pt x="182770" y="88082"/>
                  <a:pt x="146943" y="126165"/>
                  <a:pt x="141133" y="172641"/>
                </a:cubicBezTo>
                <a:lnTo>
                  <a:pt x="141133" y="1146038"/>
                </a:lnTo>
                <a:cubicBezTo>
                  <a:pt x="141133" y="1165080"/>
                  <a:pt x="145975" y="1180571"/>
                  <a:pt x="154044" y="1194772"/>
                </a:cubicBezTo>
                <a:cubicBezTo>
                  <a:pt x="173087" y="1228015"/>
                  <a:pt x="200521" y="1244475"/>
                  <a:pt x="238607" y="1244475"/>
                </a:cubicBezTo>
                <a:lnTo>
                  <a:pt x="773422" y="1244475"/>
                </a:lnTo>
                <a:lnTo>
                  <a:pt x="773422" y="1379382"/>
                </a:lnTo>
                <a:lnTo>
                  <a:pt x="672075" y="1379382"/>
                </a:lnTo>
                <a:cubicBezTo>
                  <a:pt x="646576" y="1379382"/>
                  <a:pt x="627211" y="1398747"/>
                  <a:pt x="627211" y="1423921"/>
                </a:cubicBezTo>
                <a:cubicBezTo>
                  <a:pt x="627211" y="1449095"/>
                  <a:pt x="646576" y="1468782"/>
                  <a:pt x="672075" y="1468782"/>
                </a:cubicBezTo>
                <a:lnTo>
                  <a:pt x="1270796" y="1468782"/>
                </a:lnTo>
                <a:cubicBezTo>
                  <a:pt x="1295648" y="1468782"/>
                  <a:pt x="1316305" y="1449095"/>
                  <a:pt x="1316305" y="1423921"/>
                </a:cubicBezTo>
                <a:cubicBezTo>
                  <a:pt x="1316305" y="1398747"/>
                  <a:pt x="1295648" y="1379382"/>
                  <a:pt x="1270796" y="1379382"/>
                </a:cubicBezTo>
                <a:lnTo>
                  <a:pt x="1169126" y="1379382"/>
                </a:lnTo>
                <a:lnTo>
                  <a:pt x="1169126" y="1244475"/>
                </a:lnTo>
                <a:lnTo>
                  <a:pt x="1703618" y="1244475"/>
                </a:lnTo>
                <a:cubicBezTo>
                  <a:pt x="1742026" y="1244475"/>
                  <a:pt x="1769784" y="1228015"/>
                  <a:pt x="1788181" y="1194772"/>
                </a:cubicBezTo>
                <a:cubicBezTo>
                  <a:pt x="1796573" y="1179926"/>
                  <a:pt x="1802059" y="1164111"/>
                  <a:pt x="1802059" y="1146038"/>
                </a:cubicBezTo>
                <a:lnTo>
                  <a:pt x="1802059" y="172641"/>
                </a:lnTo>
                <a:cubicBezTo>
                  <a:pt x="1796573" y="126165"/>
                  <a:pt x="1758164" y="88082"/>
                  <a:pt x="1712010" y="84854"/>
                </a:cubicBezTo>
                <a:lnTo>
                  <a:pt x="1712010" y="82595"/>
                </a:lnTo>
                <a:close/>
                <a:moveTo>
                  <a:pt x="0" y="0"/>
                </a:moveTo>
                <a:lnTo>
                  <a:pt x="17588754" y="0"/>
                </a:lnTo>
                <a:lnTo>
                  <a:pt x="17588754" y="1628517"/>
                </a:lnTo>
                <a:lnTo>
                  <a:pt x="0" y="162851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41" name="TextBox 140">
            <a:extLst>
              <a:ext uri="{FF2B5EF4-FFF2-40B4-BE49-F238E27FC236}">
                <a16:creationId xmlns:a16="http://schemas.microsoft.com/office/drawing/2014/main" id="{AD95E73D-FDEB-A640-83EF-F3B2D37E2F42}"/>
              </a:ext>
            </a:extLst>
          </p:cNvPr>
          <p:cNvSpPr txBox="1"/>
          <p:nvPr/>
        </p:nvSpPr>
        <p:spPr>
          <a:xfrm>
            <a:off x="821266" y="5263344"/>
            <a:ext cx="942630" cy="323165"/>
          </a:xfrm>
          <a:prstGeom prst="rect">
            <a:avLst/>
          </a:prstGeom>
          <a:noFill/>
        </p:spPr>
        <p:txBody>
          <a:bodyPr wrap="none" rtlCol="0" anchor="ctr" anchorCtr="0">
            <a:spAutoFit/>
          </a:bodyPr>
          <a:lstStyle/>
          <a:p>
            <a:r>
              <a:rPr lang="en-US" sz="1500" b="1" dirty="0">
                <a:solidFill>
                  <a:schemeClr val="tx2"/>
                </a:solidFill>
                <a:latin typeface="Segoe UI Light" panose="020B0502040204020203" pitchFamily="34" charset="0"/>
                <a:ea typeface="League Spartan" charset="0"/>
                <a:cs typeface="Poppins" pitchFamily="2" charset="77"/>
              </a:rPr>
              <a:t>DESKTOP</a:t>
            </a:r>
          </a:p>
        </p:txBody>
      </p:sp>
      <p:sp>
        <p:nvSpPr>
          <p:cNvPr id="142" name="TextBox 141">
            <a:extLst>
              <a:ext uri="{FF2B5EF4-FFF2-40B4-BE49-F238E27FC236}">
                <a16:creationId xmlns:a16="http://schemas.microsoft.com/office/drawing/2014/main" id="{E05CCC66-554F-B046-B19C-5481621EFF42}"/>
              </a:ext>
            </a:extLst>
          </p:cNvPr>
          <p:cNvSpPr txBox="1"/>
          <p:nvPr/>
        </p:nvSpPr>
        <p:spPr>
          <a:xfrm>
            <a:off x="821266" y="1155361"/>
            <a:ext cx="1380506" cy="323165"/>
          </a:xfrm>
          <a:prstGeom prst="rect">
            <a:avLst/>
          </a:prstGeom>
          <a:noFill/>
        </p:spPr>
        <p:txBody>
          <a:bodyPr wrap="none" rtlCol="0" anchor="ctr" anchorCtr="0">
            <a:spAutoFit/>
          </a:bodyPr>
          <a:lstStyle/>
          <a:p>
            <a:r>
              <a:rPr lang="en-US" sz="1500" b="1" dirty="0">
                <a:solidFill>
                  <a:schemeClr val="tx2"/>
                </a:solidFill>
                <a:latin typeface="Segoe UI Light" panose="020B0502040204020203" pitchFamily="34" charset="0"/>
                <a:ea typeface="League Spartan" charset="0"/>
                <a:cs typeface="Poppins" pitchFamily="2" charset="77"/>
              </a:rPr>
              <a:t>SMARTPHONE</a:t>
            </a:r>
          </a:p>
        </p:txBody>
      </p:sp>
      <p:sp>
        <p:nvSpPr>
          <p:cNvPr id="143" name="TextBox 142">
            <a:extLst>
              <a:ext uri="{FF2B5EF4-FFF2-40B4-BE49-F238E27FC236}">
                <a16:creationId xmlns:a16="http://schemas.microsoft.com/office/drawing/2014/main" id="{403B114F-14CC-2248-9C56-95C0818D7DA4}"/>
              </a:ext>
            </a:extLst>
          </p:cNvPr>
          <p:cNvSpPr txBox="1"/>
          <p:nvPr/>
        </p:nvSpPr>
        <p:spPr>
          <a:xfrm>
            <a:off x="821266" y="2685509"/>
            <a:ext cx="768737" cy="323165"/>
          </a:xfrm>
          <a:prstGeom prst="rect">
            <a:avLst/>
          </a:prstGeom>
          <a:noFill/>
        </p:spPr>
        <p:txBody>
          <a:bodyPr wrap="none" rtlCol="0" anchor="ctr" anchorCtr="0">
            <a:spAutoFit/>
          </a:bodyPr>
          <a:lstStyle/>
          <a:p>
            <a:r>
              <a:rPr lang="en-US" sz="1500" b="1" dirty="0">
                <a:solidFill>
                  <a:schemeClr val="tx2"/>
                </a:solidFill>
                <a:latin typeface="Segoe UI Light" panose="020B0502040204020203" pitchFamily="34" charset="0"/>
                <a:ea typeface="League Spartan" charset="0"/>
                <a:cs typeface="Poppins" pitchFamily="2" charset="77"/>
              </a:rPr>
              <a:t>TABLET</a:t>
            </a:r>
          </a:p>
        </p:txBody>
      </p:sp>
      <p:sp>
        <p:nvSpPr>
          <p:cNvPr id="144" name="TextBox 143">
            <a:extLst>
              <a:ext uri="{FF2B5EF4-FFF2-40B4-BE49-F238E27FC236}">
                <a16:creationId xmlns:a16="http://schemas.microsoft.com/office/drawing/2014/main" id="{257A3F6D-91C6-5940-B3BC-3292B87CC99A}"/>
              </a:ext>
            </a:extLst>
          </p:cNvPr>
          <p:cNvSpPr txBox="1"/>
          <p:nvPr/>
        </p:nvSpPr>
        <p:spPr>
          <a:xfrm>
            <a:off x="821266" y="4077555"/>
            <a:ext cx="842090" cy="323165"/>
          </a:xfrm>
          <a:prstGeom prst="rect">
            <a:avLst/>
          </a:prstGeom>
          <a:noFill/>
        </p:spPr>
        <p:txBody>
          <a:bodyPr wrap="none" rtlCol="0" anchor="ctr" anchorCtr="0">
            <a:spAutoFit/>
          </a:bodyPr>
          <a:lstStyle/>
          <a:p>
            <a:r>
              <a:rPr lang="en-US" sz="1500" b="1" dirty="0">
                <a:solidFill>
                  <a:schemeClr val="tx2"/>
                </a:solidFill>
                <a:latin typeface="Segoe UI Light" panose="020B0502040204020203" pitchFamily="34" charset="0"/>
                <a:ea typeface="League Spartan" charset="0"/>
                <a:cs typeface="Poppins" pitchFamily="2" charset="77"/>
              </a:rPr>
              <a:t>LAPTOP</a:t>
            </a:r>
          </a:p>
        </p:txBody>
      </p:sp>
      <p:sp>
        <p:nvSpPr>
          <p:cNvPr id="154" name="TextBox 153">
            <a:extLst>
              <a:ext uri="{FF2B5EF4-FFF2-40B4-BE49-F238E27FC236}">
                <a16:creationId xmlns:a16="http://schemas.microsoft.com/office/drawing/2014/main" id="{6008EEFD-3E43-F64E-8738-A45F36381E61}"/>
              </a:ext>
            </a:extLst>
          </p:cNvPr>
          <p:cNvSpPr txBox="1"/>
          <p:nvPr/>
        </p:nvSpPr>
        <p:spPr>
          <a:xfrm>
            <a:off x="10020668" y="1719678"/>
            <a:ext cx="952505" cy="600164"/>
          </a:xfrm>
          <a:prstGeom prst="rect">
            <a:avLst/>
          </a:prstGeom>
          <a:noFill/>
        </p:spPr>
        <p:txBody>
          <a:bodyPr wrap="none" rtlCol="0">
            <a:spAutoFit/>
          </a:bodyPr>
          <a:lstStyle/>
          <a:p>
            <a:r>
              <a:rPr lang="en-US" sz="3300" b="1" dirty="0">
                <a:solidFill>
                  <a:schemeClr val="accent1"/>
                </a:solidFill>
                <a:latin typeface="Segoe UI Light" panose="020B0502040204020203" pitchFamily="34" charset="0"/>
                <a:ea typeface="Roboto" panose="02000000000000000000" pitchFamily="2" charset="0"/>
              </a:rPr>
              <a:t>95%</a:t>
            </a:r>
          </a:p>
        </p:txBody>
      </p:sp>
      <p:sp>
        <p:nvSpPr>
          <p:cNvPr id="157" name="TextBox 156">
            <a:extLst>
              <a:ext uri="{FF2B5EF4-FFF2-40B4-BE49-F238E27FC236}">
                <a16:creationId xmlns:a16="http://schemas.microsoft.com/office/drawing/2014/main" id="{377B2536-D209-C041-B78A-96266367F660}"/>
              </a:ext>
            </a:extLst>
          </p:cNvPr>
          <p:cNvSpPr txBox="1"/>
          <p:nvPr/>
        </p:nvSpPr>
        <p:spPr>
          <a:xfrm>
            <a:off x="10020668" y="5712035"/>
            <a:ext cx="952505" cy="600164"/>
          </a:xfrm>
          <a:prstGeom prst="rect">
            <a:avLst/>
          </a:prstGeom>
          <a:noFill/>
        </p:spPr>
        <p:txBody>
          <a:bodyPr wrap="none" rtlCol="0">
            <a:spAutoFit/>
          </a:bodyPr>
          <a:lstStyle/>
          <a:p>
            <a:r>
              <a:rPr lang="en-US" sz="3300" b="1" dirty="0">
                <a:solidFill>
                  <a:schemeClr val="accent4"/>
                </a:solidFill>
                <a:latin typeface="Segoe UI Light" panose="020B0502040204020203" pitchFamily="34" charset="0"/>
                <a:ea typeface="Roboto" panose="02000000000000000000" pitchFamily="2" charset="0"/>
              </a:rPr>
              <a:t>60%</a:t>
            </a:r>
          </a:p>
        </p:txBody>
      </p:sp>
      <p:sp>
        <p:nvSpPr>
          <p:cNvPr id="155" name="TextBox 154">
            <a:extLst>
              <a:ext uri="{FF2B5EF4-FFF2-40B4-BE49-F238E27FC236}">
                <a16:creationId xmlns:a16="http://schemas.microsoft.com/office/drawing/2014/main" id="{D9DEAD37-9D83-2A48-A959-A844F3CC9816}"/>
              </a:ext>
            </a:extLst>
          </p:cNvPr>
          <p:cNvSpPr txBox="1"/>
          <p:nvPr/>
        </p:nvSpPr>
        <p:spPr>
          <a:xfrm>
            <a:off x="10020668" y="3181044"/>
            <a:ext cx="952505" cy="600164"/>
          </a:xfrm>
          <a:prstGeom prst="rect">
            <a:avLst/>
          </a:prstGeom>
          <a:noFill/>
        </p:spPr>
        <p:txBody>
          <a:bodyPr wrap="none" rtlCol="0">
            <a:spAutoFit/>
          </a:bodyPr>
          <a:lstStyle/>
          <a:p>
            <a:r>
              <a:rPr lang="en-US" sz="3300" b="1" dirty="0">
                <a:solidFill>
                  <a:schemeClr val="accent2"/>
                </a:solidFill>
                <a:latin typeface="Segoe UI Light" panose="020B0502040204020203" pitchFamily="34" charset="0"/>
                <a:ea typeface="Roboto" panose="02000000000000000000" pitchFamily="2" charset="0"/>
              </a:rPr>
              <a:t>53%</a:t>
            </a:r>
          </a:p>
        </p:txBody>
      </p:sp>
      <p:sp>
        <p:nvSpPr>
          <p:cNvPr id="156" name="TextBox 155">
            <a:extLst>
              <a:ext uri="{FF2B5EF4-FFF2-40B4-BE49-F238E27FC236}">
                <a16:creationId xmlns:a16="http://schemas.microsoft.com/office/drawing/2014/main" id="{70EEDE05-7AED-7240-BE90-F92B49246B13}"/>
              </a:ext>
            </a:extLst>
          </p:cNvPr>
          <p:cNvSpPr txBox="1"/>
          <p:nvPr/>
        </p:nvSpPr>
        <p:spPr>
          <a:xfrm>
            <a:off x="10020668" y="4483861"/>
            <a:ext cx="946093" cy="600164"/>
          </a:xfrm>
          <a:prstGeom prst="rect">
            <a:avLst/>
          </a:prstGeom>
          <a:noFill/>
        </p:spPr>
        <p:txBody>
          <a:bodyPr wrap="none" rtlCol="0">
            <a:spAutoFit/>
          </a:bodyPr>
          <a:lstStyle/>
          <a:p>
            <a:r>
              <a:rPr lang="en-US" sz="3300" b="1" dirty="0">
                <a:solidFill>
                  <a:schemeClr val="accent3"/>
                </a:solidFill>
                <a:latin typeface="Segoe UI Light" panose="020B0502040204020203" pitchFamily="34" charset="0"/>
                <a:ea typeface="Roboto" panose="02000000000000000000" pitchFamily="2" charset="0"/>
              </a:rPr>
              <a:t>75%</a:t>
            </a:r>
          </a:p>
        </p:txBody>
      </p:sp>
      <p:sp>
        <p:nvSpPr>
          <p:cNvPr id="24" name="Titel 1">
            <a:extLst>
              <a:ext uri="{FF2B5EF4-FFF2-40B4-BE49-F238E27FC236}">
                <a16:creationId xmlns:a16="http://schemas.microsoft.com/office/drawing/2014/main" id="{560B5B90-B447-4202-B93A-6B67954F4F22}"/>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Devices infographic</a:t>
            </a:r>
          </a:p>
        </p:txBody>
      </p:sp>
    </p:spTree>
    <p:custDataLst>
      <p:tags r:id="rId1"/>
    </p:custDataLst>
    <p:extLst>
      <p:ext uri="{BB962C8B-B14F-4D97-AF65-F5344CB8AC3E}">
        <p14:creationId xmlns:p14="http://schemas.microsoft.com/office/powerpoint/2010/main" val="305309027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a:extLst>
              <a:ext uri="{FF2B5EF4-FFF2-40B4-BE49-F238E27FC236}">
                <a16:creationId xmlns:a16="http://schemas.microsoft.com/office/drawing/2014/main" id="{C20733BF-1512-D349-88B2-C830AA4E0B98}"/>
              </a:ext>
            </a:extLst>
          </p:cNvPr>
          <p:cNvSpPr txBox="1"/>
          <p:nvPr/>
        </p:nvSpPr>
        <p:spPr>
          <a:xfrm>
            <a:off x="7147353" y="1618344"/>
            <a:ext cx="413896" cy="861774"/>
          </a:xfrm>
          <a:prstGeom prst="rect">
            <a:avLst/>
          </a:prstGeom>
          <a:noFill/>
        </p:spPr>
        <p:txBody>
          <a:bodyPr wrap="none" rtlCol="0">
            <a:spAutoFit/>
          </a:bodyPr>
          <a:lstStyle/>
          <a:p>
            <a:r>
              <a:rPr lang="en-US" sz="5000" b="1" dirty="0">
                <a:gradFill>
                  <a:gsLst>
                    <a:gs pos="0">
                      <a:schemeClr val="accent1">
                        <a:alpha val="25000"/>
                      </a:schemeClr>
                    </a:gs>
                    <a:gs pos="50000">
                      <a:schemeClr val="accent2">
                        <a:alpha val="25000"/>
                      </a:schemeClr>
                    </a:gs>
                    <a:gs pos="100000">
                      <a:schemeClr val="accent3">
                        <a:alpha val="25000"/>
                      </a:schemeClr>
                    </a:gs>
                  </a:gsLst>
                  <a:lin ang="2700000" scaled="0"/>
                </a:gradFill>
                <a:latin typeface="Segoe UI Light" panose="020B0502040204020203" pitchFamily="34" charset="0"/>
              </a:rPr>
              <a:t>1</a:t>
            </a:r>
          </a:p>
        </p:txBody>
      </p:sp>
      <p:sp>
        <p:nvSpPr>
          <p:cNvPr id="68" name="TextBox 67">
            <a:extLst>
              <a:ext uri="{FF2B5EF4-FFF2-40B4-BE49-F238E27FC236}">
                <a16:creationId xmlns:a16="http://schemas.microsoft.com/office/drawing/2014/main" id="{33D82616-FF94-7D49-8EFF-C1D7183FC550}"/>
              </a:ext>
            </a:extLst>
          </p:cNvPr>
          <p:cNvSpPr txBox="1"/>
          <p:nvPr/>
        </p:nvSpPr>
        <p:spPr>
          <a:xfrm>
            <a:off x="7271850" y="1876122"/>
            <a:ext cx="1278042" cy="338554"/>
          </a:xfrm>
          <a:prstGeom prst="rect">
            <a:avLst/>
          </a:prstGeom>
          <a:noFill/>
          <a:ln>
            <a:noFill/>
          </a:ln>
        </p:spPr>
        <p:txBody>
          <a:bodyPr wrap="none" rtlCol="0" anchor="b">
            <a:spAutoFit/>
          </a:bodyPr>
          <a:lstStyle/>
          <a:p>
            <a:r>
              <a:rPr lang="en-US" sz="1600" b="1" spc="75" dirty="0">
                <a:solidFill>
                  <a:schemeClr val="tx2"/>
                </a:solidFill>
                <a:latin typeface="Segoe UI Light" panose="020B0502040204020203" pitchFamily="34" charset="0"/>
                <a:ea typeface="Source Sans Pro" panose="020B0503030403020204" pitchFamily="34" charset="0"/>
                <a:cs typeface="Lato Heavy" panose="020F0502020204030203" pitchFamily="34" charset="0"/>
              </a:rPr>
              <a:t>FEATURE 01</a:t>
            </a:r>
          </a:p>
        </p:txBody>
      </p:sp>
      <p:sp>
        <p:nvSpPr>
          <p:cNvPr id="69" name="Subtitle 2">
            <a:extLst>
              <a:ext uri="{FF2B5EF4-FFF2-40B4-BE49-F238E27FC236}">
                <a16:creationId xmlns:a16="http://schemas.microsoft.com/office/drawing/2014/main" id="{FCFCC28D-26F3-A142-8A12-09EF5DAA166A}"/>
              </a:ext>
            </a:extLst>
          </p:cNvPr>
          <p:cNvSpPr txBox="1">
            <a:spLocks/>
          </p:cNvSpPr>
          <p:nvPr/>
        </p:nvSpPr>
        <p:spPr>
          <a:xfrm>
            <a:off x="7271850" y="2251592"/>
            <a:ext cx="4158151" cy="535659"/>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200" dirty="0">
                <a:solidFill>
                  <a:schemeClr val="tx1"/>
                </a:solidFill>
                <a:latin typeface="Segoe UI Light" panose="020B0502040204020203" pitchFamily="34" charset="0"/>
                <a:ea typeface="Noto Sans Light" panose="020B0402040504020204" pitchFamily="34" charset="0"/>
                <a:cs typeface="Noto Sans Light" panose="020B0402040504020204" pitchFamily="34" charset="0"/>
              </a:rPr>
              <a:t>A business plan is a written document that describes in detail how a business, usually a new one, is going to achieve.</a:t>
            </a:r>
          </a:p>
        </p:txBody>
      </p:sp>
      <p:sp>
        <p:nvSpPr>
          <p:cNvPr id="70" name="TextBox 69">
            <a:extLst>
              <a:ext uri="{FF2B5EF4-FFF2-40B4-BE49-F238E27FC236}">
                <a16:creationId xmlns:a16="http://schemas.microsoft.com/office/drawing/2014/main" id="{1EC5A496-91FB-C24F-B79F-7FBEAE9128DE}"/>
              </a:ext>
            </a:extLst>
          </p:cNvPr>
          <p:cNvSpPr txBox="1"/>
          <p:nvPr/>
        </p:nvSpPr>
        <p:spPr>
          <a:xfrm>
            <a:off x="7147353" y="3390987"/>
            <a:ext cx="514885" cy="861774"/>
          </a:xfrm>
          <a:prstGeom prst="rect">
            <a:avLst/>
          </a:prstGeom>
          <a:noFill/>
        </p:spPr>
        <p:txBody>
          <a:bodyPr wrap="none" rtlCol="0">
            <a:spAutoFit/>
          </a:bodyPr>
          <a:lstStyle/>
          <a:p>
            <a:r>
              <a:rPr lang="en-US" sz="5000" b="1" dirty="0">
                <a:gradFill>
                  <a:gsLst>
                    <a:gs pos="0">
                      <a:schemeClr val="accent1">
                        <a:alpha val="25000"/>
                      </a:schemeClr>
                    </a:gs>
                    <a:gs pos="50000">
                      <a:schemeClr val="accent2">
                        <a:alpha val="25000"/>
                      </a:schemeClr>
                    </a:gs>
                    <a:gs pos="100000">
                      <a:schemeClr val="accent3">
                        <a:alpha val="25000"/>
                      </a:schemeClr>
                    </a:gs>
                  </a:gsLst>
                  <a:lin ang="2700000" scaled="0"/>
                </a:gradFill>
                <a:latin typeface="Segoe UI Light" panose="020B0502040204020203" pitchFamily="34" charset="0"/>
              </a:rPr>
              <a:t>2</a:t>
            </a:r>
          </a:p>
        </p:txBody>
      </p:sp>
      <p:sp>
        <p:nvSpPr>
          <p:cNvPr id="73" name="TextBox 72">
            <a:extLst>
              <a:ext uri="{FF2B5EF4-FFF2-40B4-BE49-F238E27FC236}">
                <a16:creationId xmlns:a16="http://schemas.microsoft.com/office/drawing/2014/main" id="{5E0EC231-E589-DF46-A14C-04B96C04F875}"/>
              </a:ext>
            </a:extLst>
          </p:cNvPr>
          <p:cNvSpPr txBox="1"/>
          <p:nvPr/>
        </p:nvSpPr>
        <p:spPr>
          <a:xfrm>
            <a:off x="7271850" y="3648765"/>
            <a:ext cx="1310102" cy="338554"/>
          </a:xfrm>
          <a:prstGeom prst="rect">
            <a:avLst/>
          </a:prstGeom>
          <a:noFill/>
          <a:ln>
            <a:noFill/>
          </a:ln>
        </p:spPr>
        <p:txBody>
          <a:bodyPr wrap="none" rtlCol="0" anchor="b">
            <a:spAutoFit/>
          </a:bodyPr>
          <a:lstStyle/>
          <a:p>
            <a:r>
              <a:rPr lang="en-US" sz="1600" b="1" spc="75" dirty="0">
                <a:solidFill>
                  <a:schemeClr val="tx2"/>
                </a:solidFill>
                <a:latin typeface="Segoe UI Light" panose="020B0502040204020203" pitchFamily="34" charset="0"/>
                <a:ea typeface="Source Sans Pro" panose="020B0503030403020204" pitchFamily="34" charset="0"/>
                <a:cs typeface="Lato Heavy" panose="020F0502020204030203" pitchFamily="34" charset="0"/>
              </a:rPr>
              <a:t>FEATURE 02</a:t>
            </a:r>
          </a:p>
        </p:txBody>
      </p:sp>
      <p:sp>
        <p:nvSpPr>
          <p:cNvPr id="74" name="Subtitle 2">
            <a:extLst>
              <a:ext uri="{FF2B5EF4-FFF2-40B4-BE49-F238E27FC236}">
                <a16:creationId xmlns:a16="http://schemas.microsoft.com/office/drawing/2014/main" id="{61296789-7056-0F41-BEFD-C29DE96CA7A9}"/>
              </a:ext>
            </a:extLst>
          </p:cNvPr>
          <p:cNvSpPr txBox="1">
            <a:spLocks/>
          </p:cNvSpPr>
          <p:nvPr/>
        </p:nvSpPr>
        <p:spPr>
          <a:xfrm>
            <a:off x="7271850" y="4024235"/>
            <a:ext cx="4158150" cy="535659"/>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200" dirty="0">
                <a:solidFill>
                  <a:schemeClr val="tx1"/>
                </a:solidFill>
                <a:latin typeface="Segoe UI Light" panose="020B0502040204020203" pitchFamily="34" charset="0"/>
                <a:ea typeface="Noto Sans Light" panose="020B0402040504020204" pitchFamily="34" charset="0"/>
                <a:cs typeface="Noto Sans Light" panose="020B0402040504020204" pitchFamily="34" charset="0"/>
              </a:rPr>
              <a:t>A business plan is a written document that describes in detail how a business, usually a new one, is going to achieve.</a:t>
            </a:r>
          </a:p>
        </p:txBody>
      </p:sp>
      <p:sp>
        <p:nvSpPr>
          <p:cNvPr id="75" name="TextBox 74">
            <a:extLst>
              <a:ext uri="{FF2B5EF4-FFF2-40B4-BE49-F238E27FC236}">
                <a16:creationId xmlns:a16="http://schemas.microsoft.com/office/drawing/2014/main" id="{8F5DE662-4886-2749-8170-A6C7211FC063}"/>
              </a:ext>
            </a:extLst>
          </p:cNvPr>
          <p:cNvSpPr txBox="1"/>
          <p:nvPr/>
        </p:nvSpPr>
        <p:spPr>
          <a:xfrm>
            <a:off x="7147353" y="5163630"/>
            <a:ext cx="514885" cy="861774"/>
          </a:xfrm>
          <a:prstGeom prst="rect">
            <a:avLst/>
          </a:prstGeom>
          <a:noFill/>
        </p:spPr>
        <p:txBody>
          <a:bodyPr wrap="none" rtlCol="0">
            <a:spAutoFit/>
          </a:bodyPr>
          <a:lstStyle/>
          <a:p>
            <a:r>
              <a:rPr lang="en-US" sz="5000" b="1" dirty="0">
                <a:gradFill>
                  <a:gsLst>
                    <a:gs pos="0">
                      <a:schemeClr val="accent1">
                        <a:alpha val="25000"/>
                      </a:schemeClr>
                    </a:gs>
                    <a:gs pos="50000">
                      <a:schemeClr val="accent2">
                        <a:alpha val="25000"/>
                      </a:schemeClr>
                    </a:gs>
                    <a:gs pos="100000">
                      <a:schemeClr val="accent3">
                        <a:alpha val="25000"/>
                      </a:schemeClr>
                    </a:gs>
                  </a:gsLst>
                  <a:lin ang="2700000" scaled="0"/>
                </a:gradFill>
                <a:latin typeface="Segoe UI Light" panose="020B0502040204020203" pitchFamily="34" charset="0"/>
              </a:rPr>
              <a:t>3</a:t>
            </a:r>
          </a:p>
        </p:txBody>
      </p:sp>
      <p:sp>
        <p:nvSpPr>
          <p:cNvPr id="77" name="TextBox 76">
            <a:extLst>
              <a:ext uri="{FF2B5EF4-FFF2-40B4-BE49-F238E27FC236}">
                <a16:creationId xmlns:a16="http://schemas.microsoft.com/office/drawing/2014/main" id="{EEB1AC3A-D81E-FF46-A627-40395FC97AEE}"/>
              </a:ext>
            </a:extLst>
          </p:cNvPr>
          <p:cNvSpPr txBox="1"/>
          <p:nvPr/>
        </p:nvSpPr>
        <p:spPr>
          <a:xfrm>
            <a:off x="7271850" y="5421408"/>
            <a:ext cx="1310102" cy="338554"/>
          </a:xfrm>
          <a:prstGeom prst="rect">
            <a:avLst/>
          </a:prstGeom>
          <a:noFill/>
          <a:ln>
            <a:noFill/>
          </a:ln>
        </p:spPr>
        <p:txBody>
          <a:bodyPr wrap="none" rtlCol="0" anchor="b">
            <a:spAutoFit/>
          </a:bodyPr>
          <a:lstStyle/>
          <a:p>
            <a:r>
              <a:rPr lang="en-US" sz="1600" b="1" spc="75" dirty="0">
                <a:solidFill>
                  <a:schemeClr val="tx2"/>
                </a:solidFill>
                <a:latin typeface="Segoe UI Light" panose="020B0502040204020203" pitchFamily="34" charset="0"/>
                <a:ea typeface="Source Sans Pro" panose="020B0503030403020204" pitchFamily="34" charset="0"/>
                <a:cs typeface="Lato Heavy" panose="020F0502020204030203" pitchFamily="34" charset="0"/>
              </a:rPr>
              <a:t>FEATURE 03</a:t>
            </a:r>
          </a:p>
        </p:txBody>
      </p:sp>
      <p:sp>
        <p:nvSpPr>
          <p:cNvPr id="78" name="Subtitle 2">
            <a:extLst>
              <a:ext uri="{FF2B5EF4-FFF2-40B4-BE49-F238E27FC236}">
                <a16:creationId xmlns:a16="http://schemas.microsoft.com/office/drawing/2014/main" id="{B74031FA-A049-5A43-B598-9369C0F44C43}"/>
              </a:ext>
            </a:extLst>
          </p:cNvPr>
          <p:cNvSpPr txBox="1">
            <a:spLocks/>
          </p:cNvSpPr>
          <p:nvPr/>
        </p:nvSpPr>
        <p:spPr>
          <a:xfrm>
            <a:off x="7271850" y="5796878"/>
            <a:ext cx="4158150" cy="535659"/>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200" dirty="0">
                <a:solidFill>
                  <a:schemeClr val="tx1"/>
                </a:solidFill>
                <a:latin typeface="Segoe UI Light" panose="020B0502040204020203" pitchFamily="34" charset="0"/>
                <a:ea typeface="Noto Sans Light" panose="020B0402040504020204" pitchFamily="34" charset="0"/>
                <a:cs typeface="Noto Sans Light" panose="020B0402040504020204" pitchFamily="34" charset="0"/>
              </a:rPr>
              <a:t>A business plan is a written document that describes in detail how a business, usually a new one, is going to achieve.</a:t>
            </a:r>
          </a:p>
        </p:txBody>
      </p:sp>
      <p:sp>
        <p:nvSpPr>
          <p:cNvPr id="5" name="Picture Placeholder 4">
            <a:extLst>
              <a:ext uri="{FF2B5EF4-FFF2-40B4-BE49-F238E27FC236}">
                <a16:creationId xmlns:a16="http://schemas.microsoft.com/office/drawing/2014/main" id="{75C4EE10-A35D-C946-9B92-DF2B61FF21AE}"/>
              </a:ext>
            </a:extLst>
          </p:cNvPr>
          <p:cNvSpPr>
            <a:spLocks noGrp="1"/>
          </p:cNvSpPr>
          <p:nvPr>
            <p:ph type="pic" sz="quarter" idx="14"/>
          </p:nvPr>
        </p:nvSpPr>
        <p:spPr/>
      </p:sp>
      <p:sp>
        <p:nvSpPr>
          <p:cNvPr id="3" name="Picture Placeholder 2">
            <a:extLst>
              <a:ext uri="{FF2B5EF4-FFF2-40B4-BE49-F238E27FC236}">
                <a16:creationId xmlns:a16="http://schemas.microsoft.com/office/drawing/2014/main" id="{3F032ED5-5EE1-1F43-A341-FABBB737DDE0}"/>
              </a:ext>
            </a:extLst>
          </p:cNvPr>
          <p:cNvSpPr>
            <a:spLocks noGrp="1"/>
          </p:cNvSpPr>
          <p:nvPr>
            <p:ph type="pic" sz="quarter" idx="15"/>
          </p:nvPr>
        </p:nvSpPr>
        <p:spPr/>
      </p:sp>
      <p:sp>
        <p:nvSpPr>
          <p:cNvPr id="7" name="Picture Placeholder 6">
            <a:extLst>
              <a:ext uri="{FF2B5EF4-FFF2-40B4-BE49-F238E27FC236}">
                <a16:creationId xmlns:a16="http://schemas.microsoft.com/office/drawing/2014/main" id="{27252BA4-BDAA-454B-866A-059879F87B40}"/>
              </a:ext>
            </a:extLst>
          </p:cNvPr>
          <p:cNvSpPr>
            <a:spLocks noGrp="1"/>
          </p:cNvSpPr>
          <p:nvPr>
            <p:ph type="pic" sz="quarter" idx="13"/>
          </p:nvPr>
        </p:nvSpPr>
        <p:spPr/>
      </p:sp>
      <p:grpSp>
        <p:nvGrpSpPr>
          <p:cNvPr id="117" name="Group 116">
            <a:extLst>
              <a:ext uri="{FF2B5EF4-FFF2-40B4-BE49-F238E27FC236}">
                <a16:creationId xmlns:a16="http://schemas.microsoft.com/office/drawing/2014/main" id="{B4A6C6FF-FF8A-984F-8F25-437D2693278C}"/>
              </a:ext>
            </a:extLst>
          </p:cNvPr>
          <p:cNvGrpSpPr/>
          <p:nvPr/>
        </p:nvGrpSpPr>
        <p:grpSpPr>
          <a:xfrm>
            <a:off x="4261053" y="2113513"/>
            <a:ext cx="1966740" cy="3915324"/>
            <a:chOff x="1882736" y="5503863"/>
            <a:chExt cx="6362700" cy="12666663"/>
          </a:xfrm>
        </p:grpSpPr>
        <p:sp>
          <p:nvSpPr>
            <p:cNvPr id="118" name="Freeform 117">
              <a:extLst>
                <a:ext uri="{FF2B5EF4-FFF2-40B4-BE49-F238E27FC236}">
                  <a16:creationId xmlns:a16="http://schemas.microsoft.com/office/drawing/2014/main" id="{BBB4DA56-CA09-B14B-AA29-B306B4BE5571}"/>
                </a:ext>
              </a:extLst>
            </p:cNvPr>
            <p:cNvSpPr>
              <a:spLocks noEditPoints="1"/>
            </p:cNvSpPr>
            <p:nvPr/>
          </p:nvSpPr>
          <p:spPr bwMode="auto">
            <a:xfrm>
              <a:off x="1882736" y="5503863"/>
              <a:ext cx="6362700" cy="12666663"/>
            </a:xfrm>
            <a:custGeom>
              <a:avLst/>
              <a:gdLst>
                <a:gd name="T0" fmla="*/ 1435 w 1440"/>
                <a:gd name="T1" fmla="*/ 659 h 2868"/>
                <a:gd name="T2" fmla="*/ 1429 w 1440"/>
                <a:gd name="T3" fmla="*/ 659 h 2868"/>
                <a:gd name="T4" fmla="*/ 1429 w 1440"/>
                <a:gd name="T5" fmla="*/ 221 h 2868"/>
                <a:gd name="T6" fmla="*/ 1209 w 1440"/>
                <a:gd name="T7" fmla="*/ 0 h 2868"/>
                <a:gd name="T8" fmla="*/ 232 w 1440"/>
                <a:gd name="T9" fmla="*/ 0 h 2868"/>
                <a:gd name="T10" fmla="*/ 11 w 1440"/>
                <a:gd name="T11" fmla="*/ 221 h 2868"/>
                <a:gd name="T12" fmla="*/ 11 w 1440"/>
                <a:gd name="T13" fmla="*/ 387 h 2868"/>
                <a:gd name="T14" fmla="*/ 4 w 1440"/>
                <a:gd name="T15" fmla="*/ 387 h 2868"/>
                <a:gd name="T16" fmla="*/ 0 w 1440"/>
                <a:gd name="T17" fmla="*/ 392 h 2868"/>
                <a:gd name="T18" fmla="*/ 0 w 1440"/>
                <a:gd name="T19" fmla="*/ 498 h 2868"/>
                <a:gd name="T20" fmla="*/ 4 w 1440"/>
                <a:gd name="T21" fmla="*/ 502 h 2868"/>
                <a:gd name="T22" fmla="*/ 11 w 1440"/>
                <a:gd name="T23" fmla="*/ 502 h 2868"/>
                <a:gd name="T24" fmla="*/ 11 w 1440"/>
                <a:gd name="T25" fmla="*/ 593 h 2868"/>
                <a:gd name="T26" fmla="*/ 4 w 1440"/>
                <a:gd name="T27" fmla="*/ 593 h 2868"/>
                <a:gd name="T28" fmla="*/ 0 w 1440"/>
                <a:gd name="T29" fmla="*/ 597 h 2868"/>
                <a:gd name="T30" fmla="*/ 0 w 1440"/>
                <a:gd name="T31" fmla="*/ 798 h 2868"/>
                <a:gd name="T32" fmla="*/ 4 w 1440"/>
                <a:gd name="T33" fmla="*/ 802 h 2868"/>
                <a:gd name="T34" fmla="*/ 11 w 1440"/>
                <a:gd name="T35" fmla="*/ 802 h 2868"/>
                <a:gd name="T36" fmla="*/ 11 w 1440"/>
                <a:gd name="T37" fmla="*/ 855 h 2868"/>
                <a:gd name="T38" fmla="*/ 4 w 1440"/>
                <a:gd name="T39" fmla="*/ 855 h 2868"/>
                <a:gd name="T40" fmla="*/ 0 w 1440"/>
                <a:gd name="T41" fmla="*/ 860 h 2868"/>
                <a:gd name="T42" fmla="*/ 0 w 1440"/>
                <a:gd name="T43" fmla="*/ 1061 h 2868"/>
                <a:gd name="T44" fmla="*/ 4 w 1440"/>
                <a:gd name="T45" fmla="*/ 1065 h 2868"/>
                <a:gd name="T46" fmla="*/ 11 w 1440"/>
                <a:gd name="T47" fmla="*/ 1065 h 2868"/>
                <a:gd name="T48" fmla="*/ 11 w 1440"/>
                <a:gd name="T49" fmla="*/ 2647 h 2868"/>
                <a:gd name="T50" fmla="*/ 232 w 1440"/>
                <a:gd name="T51" fmla="*/ 2868 h 2868"/>
                <a:gd name="T52" fmla="*/ 1209 w 1440"/>
                <a:gd name="T53" fmla="*/ 2868 h 2868"/>
                <a:gd name="T54" fmla="*/ 1429 w 1440"/>
                <a:gd name="T55" fmla="*/ 2647 h 2868"/>
                <a:gd name="T56" fmla="*/ 1429 w 1440"/>
                <a:gd name="T57" fmla="*/ 1001 h 2868"/>
                <a:gd name="T58" fmla="*/ 1435 w 1440"/>
                <a:gd name="T59" fmla="*/ 1001 h 2868"/>
                <a:gd name="T60" fmla="*/ 1440 w 1440"/>
                <a:gd name="T61" fmla="*/ 996 h 2868"/>
                <a:gd name="T62" fmla="*/ 1440 w 1440"/>
                <a:gd name="T63" fmla="*/ 664 h 2868"/>
                <a:gd name="T64" fmla="*/ 1435 w 1440"/>
                <a:gd name="T65" fmla="*/ 659 h 2868"/>
                <a:gd name="T66" fmla="*/ 1372 w 1440"/>
                <a:gd name="T67" fmla="*/ 2673 h 2868"/>
                <a:gd name="T68" fmla="*/ 1245 w 1440"/>
                <a:gd name="T69" fmla="*/ 2796 h 2868"/>
                <a:gd name="T70" fmla="*/ 203 w 1440"/>
                <a:gd name="T71" fmla="*/ 2796 h 2868"/>
                <a:gd name="T72" fmla="*/ 76 w 1440"/>
                <a:gd name="T73" fmla="*/ 2673 h 2868"/>
                <a:gd name="T74" fmla="*/ 76 w 1440"/>
                <a:gd name="T75" fmla="*/ 189 h 2868"/>
                <a:gd name="T76" fmla="*/ 203 w 1440"/>
                <a:gd name="T77" fmla="*/ 66 h 2868"/>
                <a:gd name="T78" fmla="*/ 342 w 1440"/>
                <a:gd name="T79" fmla="*/ 66 h 2868"/>
                <a:gd name="T80" fmla="*/ 342 w 1440"/>
                <a:gd name="T81" fmla="*/ 66 h 2868"/>
                <a:gd name="T82" fmla="*/ 343 w 1440"/>
                <a:gd name="T83" fmla="*/ 66 h 2868"/>
                <a:gd name="T84" fmla="*/ 357 w 1440"/>
                <a:gd name="T85" fmla="*/ 79 h 2868"/>
                <a:gd name="T86" fmla="*/ 357 w 1440"/>
                <a:gd name="T87" fmla="*/ 80 h 2868"/>
                <a:gd name="T88" fmla="*/ 375 w 1440"/>
                <a:gd name="T89" fmla="*/ 90 h 2868"/>
                <a:gd name="T90" fmla="*/ 387 w 1440"/>
                <a:gd name="T91" fmla="*/ 131 h 2868"/>
                <a:gd name="T92" fmla="*/ 382 w 1440"/>
                <a:gd name="T93" fmla="*/ 144 h 2868"/>
                <a:gd name="T94" fmla="*/ 440 w 1440"/>
                <a:gd name="T95" fmla="*/ 166 h 2868"/>
                <a:gd name="T96" fmla="*/ 1008 w 1440"/>
                <a:gd name="T97" fmla="*/ 166 h 2868"/>
                <a:gd name="T98" fmla="*/ 1044 w 1440"/>
                <a:gd name="T99" fmla="*/ 158 h 2868"/>
                <a:gd name="T100" fmla="*/ 1044 w 1440"/>
                <a:gd name="T101" fmla="*/ 139 h 2868"/>
                <a:gd name="T102" fmla="*/ 1068 w 1440"/>
                <a:gd name="T103" fmla="*/ 88 h 2868"/>
                <a:gd name="T104" fmla="*/ 1092 w 1440"/>
                <a:gd name="T105" fmla="*/ 74 h 2868"/>
                <a:gd name="T106" fmla="*/ 1105 w 1440"/>
                <a:gd name="T107" fmla="*/ 66 h 2868"/>
                <a:gd name="T108" fmla="*/ 1106 w 1440"/>
                <a:gd name="T109" fmla="*/ 66 h 2868"/>
                <a:gd name="T110" fmla="*/ 1106 w 1440"/>
                <a:gd name="T111" fmla="*/ 66 h 2868"/>
                <a:gd name="T112" fmla="*/ 1245 w 1440"/>
                <a:gd name="T113" fmla="*/ 66 h 2868"/>
                <a:gd name="T114" fmla="*/ 1372 w 1440"/>
                <a:gd name="T115" fmla="*/ 189 h 2868"/>
                <a:gd name="T116" fmla="*/ 1372 w 1440"/>
                <a:gd name="T117" fmla="*/ 2673 h 2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40" h="2868">
                  <a:moveTo>
                    <a:pt x="1435" y="659"/>
                  </a:moveTo>
                  <a:cubicBezTo>
                    <a:pt x="1429" y="659"/>
                    <a:pt x="1429" y="659"/>
                    <a:pt x="1429" y="659"/>
                  </a:cubicBezTo>
                  <a:cubicBezTo>
                    <a:pt x="1429" y="221"/>
                    <a:pt x="1429" y="221"/>
                    <a:pt x="1429" y="221"/>
                  </a:cubicBezTo>
                  <a:cubicBezTo>
                    <a:pt x="1429" y="99"/>
                    <a:pt x="1331" y="0"/>
                    <a:pt x="1209" y="0"/>
                  </a:cubicBezTo>
                  <a:cubicBezTo>
                    <a:pt x="232" y="0"/>
                    <a:pt x="232" y="0"/>
                    <a:pt x="232" y="0"/>
                  </a:cubicBezTo>
                  <a:cubicBezTo>
                    <a:pt x="110" y="0"/>
                    <a:pt x="11" y="99"/>
                    <a:pt x="11" y="221"/>
                  </a:cubicBezTo>
                  <a:cubicBezTo>
                    <a:pt x="11" y="387"/>
                    <a:pt x="11" y="387"/>
                    <a:pt x="11" y="387"/>
                  </a:cubicBezTo>
                  <a:cubicBezTo>
                    <a:pt x="4" y="387"/>
                    <a:pt x="4" y="387"/>
                    <a:pt x="4" y="387"/>
                  </a:cubicBezTo>
                  <a:cubicBezTo>
                    <a:pt x="2" y="387"/>
                    <a:pt x="0" y="389"/>
                    <a:pt x="0" y="392"/>
                  </a:cubicBezTo>
                  <a:cubicBezTo>
                    <a:pt x="0" y="498"/>
                    <a:pt x="0" y="498"/>
                    <a:pt x="0" y="498"/>
                  </a:cubicBezTo>
                  <a:cubicBezTo>
                    <a:pt x="0" y="500"/>
                    <a:pt x="2" y="502"/>
                    <a:pt x="4" y="502"/>
                  </a:cubicBezTo>
                  <a:cubicBezTo>
                    <a:pt x="11" y="502"/>
                    <a:pt x="11" y="502"/>
                    <a:pt x="11" y="502"/>
                  </a:cubicBezTo>
                  <a:cubicBezTo>
                    <a:pt x="11" y="593"/>
                    <a:pt x="11" y="593"/>
                    <a:pt x="11" y="593"/>
                  </a:cubicBezTo>
                  <a:cubicBezTo>
                    <a:pt x="4" y="593"/>
                    <a:pt x="4" y="593"/>
                    <a:pt x="4" y="593"/>
                  </a:cubicBezTo>
                  <a:cubicBezTo>
                    <a:pt x="2" y="593"/>
                    <a:pt x="0" y="595"/>
                    <a:pt x="0" y="597"/>
                  </a:cubicBezTo>
                  <a:cubicBezTo>
                    <a:pt x="0" y="798"/>
                    <a:pt x="0" y="798"/>
                    <a:pt x="0" y="798"/>
                  </a:cubicBezTo>
                  <a:cubicBezTo>
                    <a:pt x="0" y="801"/>
                    <a:pt x="2" y="802"/>
                    <a:pt x="4" y="802"/>
                  </a:cubicBezTo>
                  <a:cubicBezTo>
                    <a:pt x="11" y="802"/>
                    <a:pt x="11" y="802"/>
                    <a:pt x="11" y="802"/>
                  </a:cubicBezTo>
                  <a:cubicBezTo>
                    <a:pt x="11" y="855"/>
                    <a:pt x="11" y="855"/>
                    <a:pt x="11" y="855"/>
                  </a:cubicBezTo>
                  <a:cubicBezTo>
                    <a:pt x="4" y="855"/>
                    <a:pt x="4" y="855"/>
                    <a:pt x="4" y="855"/>
                  </a:cubicBezTo>
                  <a:cubicBezTo>
                    <a:pt x="2" y="855"/>
                    <a:pt x="0" y="857"/>
                    <a:pt x="0" y="860"/>
                  </a:cubicBezTo>
                  <a:cubicBezTo>
                    <a:pt x="0" y="1061"/>
                    <a:pt x="0" y="1061"/>
                    <a:pt x="0" y="1061"/>
                  </a:cubicBezTo>
                  <a:cubicBezTo>
                    <a:pt x="0" y="1063"/>
                    <a:pt x="2" y="1065"/>
                    <a:pt x="4" y="1065"/>
                  </a:cubicBezTo>
                  <a:cubicBezTo>
                    <a:pt x="11" y="1065"/>
                    <a:pt x="11" y="1065"/>
                    <a:pt x="11" y="1065"/>
                  </a:cubicBezTo>
                  <a:cubicBezTo>
                    <a:pt x="11" y="2647"/>
                    <a:pt x="11" y="2647"/>
                    <a:pt x="11" y="2647"/>
                  </a:cubicBezTo>
                  <a:cubicBezTo>
                    <a:pt x="11" y="2769"/>
                    <a:pt x="110" y="2868"/>
                    <a:pt x="232" y="2868"/>
                  </a:cubicBezTo>
                  <a:cubicBezTo>
                    <a:pt x="1209" y="2868"/>
                    <a:pt x="1209" y="2868"/>
                    <a:pt x="1209" y="2868"/>
                  </a:cubicBezTo>
                  <a:cubicBezTo>
                    <a:pt x="1331" y="2868"/>
                    <a:pt x="1429" y="2769"/>
                    <a:pt x="1429" y="2647"/>
                  </a:cubicBezTo>
                  <a:cubicBezTo>
                    <a:pt x="1429" y="1001"/>
                    <a:pt x="1429" y="1001"/>
                    <a:pt x="1429" y="1001"/>
                  </a:cubicBezTo>
                  <a:cubicBezTo>
                    <a:pt x="1435" y="1001"/>
                    <a:pt x="1435" y="1001"/>
                    <a:pt x="1435" y="1001"/>
                  </a:cubicBezTo>
                  <a:cubicBezTo>
                    <a:pt x="1438" y="1001"/>
                    <a:pt x="1440" y="999"/>
                    <a:pt x="1440" y="996"/>
                  </a:cubicBezTo>
                  <a:cubicBezTo>
                    <a:pt x="1440" y="664"/>
                    <a:pt x="1440" y="664"/>
                    <a:pt x="1440" y="664"/>
                  </a:cubicBezTo>
                  <a:cubicBezTo>
                    <a:pt x="1440" y="661"/>
                    <a:pt x="1438" y="659"/>
                    <a:pt x="1435" y="659"/>
                  </a:cubicBezTo>
                  <a:close/>
                  <a:moveTo>
                    <a:pt x="1372" y="2673"/>
                  </a:moveTo>
                  <a:cubicBezTo>
                    <a:pt x="1372" y="2741"/>
                    <a:pt x="1315" y="2796"/>
                    <a:pt x="1245" y="2796"/>
                  </a:cubicBezTo>
                  <a:cubicBezTo>
                    <a:pt x="203" y="2796"/>
                    <a:pt x="203" y="2796"/>
                    <a:pt x="203" y="2796"/>
                  </a:cubicBezTo>
                  <a:cubicBezTo>
                    <a:pt x="133" y="2796"/>
                    <a:pt x="76" y="2741"/>
                    <a:pt x="76" y="2673"/>
                  </a:cubicBezTo>
                  <a:cubicBezTo>
                    <a:pt x="76" y="189"/>
                    <a:pt x="76" y="189"/>
                    <a:pt x="76" y="189"/>
                  </a:cubicBezTo>
                  <a:cubicBezTo>
                    <a:pt x="76" y="121"/>
                    <a:pt x="133" y="66"/>
                    <a:pt x="203" y="66"/>
                  </a:cubicBezTo>
                  <a:cubicBezTo>
                    <a:pt x="342" y="66"/>
                    <a:pt x="342" y="66"/>
                    <a:pt x="342" y="66"/>
                  </a:cubicBezTo>
                  <a:cubicBezTo>
                    <a:pt x="342" y="66"/>
                    <a:pt x="342" y="66"/>
                    <a:pt x="342" y="66"/>
                  </a:cubicBezTo>
                  <a:cubicBezTo>
                    <a:pt x="342" y="66"/>
                    <a:pt x="343" y="66"/>
                    <a:pt x="343" y="66"/>
                  </a:cubicBezTo>
                  <a:cubicBezTo>
                    <a:pt x="351" y="66"/>
                    <a:pt x="357" y="72"/>
                    <a:pt x="357" y="79"/>
                  </a:cubicBezTo>
                  <a:cubicBezTo>
                    <a:pt x="357" y="80"/>
                    <a:pt x="357" y="80"/>
                    <a:pt x="357" y="80"/>
                  </a:cubicBezTo>
                  <a:cubicBezTo>
                    <a:pt x="364" y="80"/>
                    <a:pt x="371" y="84"/>
                    <a:pt x="375" y="90"/>
                  </a:cubicBezTo>
                  <a:cubicBezTo>
                    <a:pt x="383" y="102"/>
                    <a:pt x="387" y="117"/>
                    <a:pt x="387" y="131"/>
                  </a:cubicBezTo>
                  <a:cubicBezTo>
                    <a:pt x="387" y="136"/>
                    <a:pt x="385" y="140"/>
                    <a:pt x="382" y="144"/>
                  </a:cubicBezTo>
                  <a:cubicBezTo>
                    <a:pt x="397" y="158"/>
                    <a:pt x="418" y="166"/>
                    <a:pt x="440" y="166"/>
                  </a:cubicBezTo>
                  <a:cubicBezTo>
                    <a:pt x="1008" y="166"/>
                    <a:pt x="1008" y="166"/>
                    <a:pt x="1008" y="166"/>
                  </a:cubicBezTo>
                  <a:cubicBezTo>
                    <a:pt x="1021" y="166"/>
                    <a:pt x="1033" y="164"/>
                    <a:pt x="1044" y="158"/>
                  </a:cubicBezTo>
                  <a:cubicBezTo>
                    <a:pt x="1041" y="153"/>
                    <a:pt x="1040" y="146"/>
                    <a:pt x="1044" y="139"/>
                  </a:cubicBezTo>
                  <a:cubicBezTo>
                    <a:pt x="1053" y="122"/>
                    <a:pt x="1061" y="105"/>
                    <a:pt x="1068" y="88"/>
                  </a:cubicBezTo>
                  <a:cubicBezTo>
                    <a:pt x="1072" y="78"/>
                    <a:pt x="1081" y="71"/>
                    <a:pt x="1092" y="74"/>
                  </a:cubicBezTo>
                  <a:cubicBezTo>
                    <a:pt x="1094" y="69"/>
                    <a:pt x="1099" y="66"/>
                    <a:pt x="1105" y="66"/>
                  </a:cubicBezTo>
                  <a:cubicBezTo>
                    <a:pt x="1105" y="66"/>
                    <a:pt x="1106" y="66"/>
                    <a:pt x="1106" y="66"/>
                  </a:cubicBezTo>
                  <a:cubicBezTo>
                    <a:pt x="1106" y="66"/>
                    <a:pt x="1106" y="66"/>
                    <a:pt x="1106" y="66"/>
                  </a:cubicBezTo>
                  <a:cubicBezTo>
                    <a:pt x="1245" y="66"/>
                    <a:pt x="1245" y="66"/>
                    <a:pt x="1245" y="66"/>
                  </a:cubicBezTo>
                  <a:cubicBezTo>
                    <a:pt x="1315" y="66"/>
                    <a:pt x="1372" y="121"/>
                    <a:pt x="1372" y="189"/>
                  </a:cubicBezTo>
                  <a:lnTo>
                    <a:pt x="1372" y="2673"/>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sp>
          <p:nvSpPr>
            <p:cNvPr id="119" name="Freeform 118">
              <a:extLst>
                <a:ext uri="{FF2B5EF4-FFF2-40B4-BE49-F238E27FC236}">
                  <a16:creationId xmlns:a16="http://schemas.microsoft.com/office/drawing/2014/main" id="{D7581BCE-60B7-834D-8808-6F32073B8379}"/>
                </a:ext>
              </a:extLst>
            </p:cNvPr>
            <p:cNvSpPr>
              <a:spLocks noEditPoints="1"/>
            </p:cNvSpPr>
            <p:nvPr/>
          </p:nvSpPr>
          <p:spPr bwMode="auto">
            <a:xfrm>
              <a:off x="2038311" y="5610225"/>
              <a:ext cx="6053138" cy="12449175"/>
            </a:xfrm>
            <a:custGeom>
              <a:avLst/>
              <a:gdLst>
                <a:gd name="T0" fmla="*/ 1171 w 1370"/>
                <a:gd name="T1" fmla="*/ 0 h 2819"/>
                <a:gd name="T2" fmla="*/ 199 w 1370"/>
                <a:gd name="T3" fmla="*/ 0 h 2819"/>
                <a:gd name="T4" fmla="*/ 0 w 1370"/>
                <a:gd name="T5" fmla="*/ 199 h 2819"/>
                <a:gd name="T6" fmla="*/ 0 w 1370"/>
                <a:gd name="T7" fmla="*/ 2621 h 2819"/>
                <a:gd name="T8" fmla="*/ 199 w 1370"/>
                <a:gd name="T9" fmla="*/ 2819 h 2819"/>
                <a:gd name="T10" fmla="*/ 1171 w 1370"/>
                <a:gd name="T11" fmla="*/ 2819 h 2819"/>
                <a:gd name="T12" fmla="*/ 1370 w 1370"/>
                <a:gd name="T13" fmla="*/ 2621 h 2819"/>
                <a:gd name="T14" fmla="*/ 1370 w 1370"/>
                <a:gd name="T15" fmla="*/ 199 h 2819"/>
                <a:gd name="T16" fmla="*/ 1171 w 1370"/>
                <a:gd name="T17" fmla="*/ 0 h 2819"/>
                <a:gd name="T18" fmla="*/ 1306 w 1370"/>
                <a:gd name="T19" fmla="*/ 2633 h 2819"/>
                <a:gd name="T20" fmla="*/ 1185 w 1370"/>
                <a:gd name="T21" fmla="*/ 2754 h 2819"/>
                <a:gd name="T22" fmla="*/ 186 w 1370"/>
                <a:gd name="T23" fmla="*/ 2754 h 2819"/>
                <a:gd name="T24" fmla="*/ 64 w 1370"/>
                <a:gd name="T25" fmla="*/ 2633 h 2819"/>
                <a:gd name="T26" fmla="*/ 64 w 1370"/>
                <a:gd name="T27" fmla="*/ 187 h 2819"/>
                <a:gd name="T28" fmla="*/ 186 w 1370"/>
                <a:gd name="T29" fmla="*/ 65 h 2819"/>
                <a:gd name="T30" fmla="*/ 319 w 1370"/>
                <a:gd name="T31" fmla="*/ 65 h 2819"/>
                <a:gd name="T32" fmla="*/ 319 w 1370"/>
                <a:gd name="T33" fmla="*/ 65 h 2819"/>
                <a:gd name="T34" fmla="*/ 320 w 1370"/>
                <a:gd name="T35" fmla="*/ 65 h 2819"/>
                <a:gd name="T36" fmla="*/ 334 w 1370"/>
                <a:gd name="T37" fmla="*/ 79 h 2819"/>
                <a:gd name="T38" fmla="*/ 334 w 1370"/>
                <a:gd name="T39" fmla="*/ 79 h 2819"/>
                <a:gd name="T40" fmla="*/ 334 w 1370"/>
                <a:gd name="T41" fmla="*/ 80 h 2819"/>
                <a:gd name="T42" fmla="*/ 334 w 1370"/>
                <a:gd name="T43" fmla="*/ 85 h 2819"/>
                <a:gd name="T44" fmla="*/ 413 w 1370"/>
                <a:gd name="T45" fmla="*/ 165 h 2819"/>
                <a:gd name="T46" fmla="*/ 957 w 1370"/>
                <a:gd name="T47" fmla="*/ 165 h 2819"/>
                <a:gd name="T48" fmla="*/ 1037 w 1370"/>
                <a:gd name="T49" fmla="*/ 85 h 2819"/>
                <a:gd name="T50" fmla="*/ 1037 w 1370"/>
                <a:gd name="T51" fmla="*/ 80 h 2819"/>
                <a:gd name="T52" fmla="*/ 1037 w 1370"/>
                <a:gd name="T53" fmla="*/ 79 h 2819"/>
                <a:gd name="T54" fmla="*/ 1050 w 1370"/>
                <a:gd name="T55" fmla="*/ 65 h 2819"/>
                <a:gd name="T56" fmla="*/ 1051 w 1370"/>
                <a:gd name="T57" fmla="*/ 65 h 2819"/>
                <a:gd name="T58" fmla="*/ 1051 w 1370"/>
                <a:gd name="T59" fmla="*/ 65 h 2819"/>
                <a:gd name="T60" fmla="*/ 1185 w 1370"/>
                <a:gd name="T61" fmla="*/ 65 h 2819"/>
                <a:gd name="T62" fmla="*/ 1306 w 1370"/>
                <a:gd name="T63" fmla="*/ 187 h 2819"/>
                <a:gd name="T64" fmla="*/ 1306 w 1370"/>
                <a:gd name="T65" fmla="*/ 2633 h 2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0" h="2819">
                  <a:moveTo>
                    <a:pt x="1171" y="0"/>
                  </a:moveTo>
                  <a:cubicBezTo>
                    <a:pt x="199" y="0"/>
                    <a:pt x="199" y="0"/>
                    <a:pt x="199" y="0"/>
                  </a:cubicBezTo>
                  <a:cubicBezTo>
                    <a:pt x="89" y="0"/>
                    <a:pt x="0" y="89"/>
                    <a:pt x="0" y="199"/>
                  </a:cubicBezTo>
                  <a:cubicBezTo>
                    <a:pt x="0" y="2621"/>
                    <a:pt x="0" y="2621"/>
                    <a:pt x="0" y="2621"/>
                  </a:cubicBezTo>
                  <a:cubicBezTo>
                    <a:pt x="0" y="2730"/>
                    <a:pt x="89" y="2819"/>
                    <a:pt x="199" y="2819"/>
                  </a:cubicBezTo>
                  <a:cubicBezTo>
                    <a:pt x="1171" y="2819"/>
                    <a:pt x="1171" y="2819"/>
                    <a:pt x="1171" y="2819"/>
                  </a:cubicBezTo>
                  <a:cubicBezTo>
                    <a:pt x="1281" y="2819"/>
                    <a:pt x="1370" y="2730"/>
                    <a:pt x="1370" y="2621"/>
                  </a:cubicBezTo>
                  <a:cubicBezTo>
                    <a:pt x="1370" y="199"/>
                    <a:pt x="1370" y="199"/>
                    <a:pt x="1370" y="199"/>
                  </a:cubicBezTo>
                  <a:cubicBezTo>
                    <a:pt x="1370" y="89"/>
                    <a:pt x="1281" y="0"/>
                    <a:pt x="1171" y="0"/>
                  </a:cubicBezTo>
                  <a:close/>
                  <a:moveTo>
                    <a:pt x="1306" y="2633"/>
                  </a:moveTo>
                  <a:cubicBezTo>
                    <a:pt x="1306" y="2700"/>
                    <a:pt x="1252" y="2754"/>
                    <a:pt x="1185" y="2754"/>
                  </a:cubicBezTo>
                  <a:cubicBezTo>
                    <a:pt x="186" y="2754"/>
                    <a:pt x="186" y="2754"/>
                    <a:pt x="186" y="2754"/>
                  </a:cubicBezTo>
                  <a:cubicBezTo>
                    <a:pt x="119" y="2754"/>
                    <a:pt x="64" y="2700"/>
                    <a:pt x="64" y="2633"/>
                  </a:cubicBezTo>
                  <a:cubicBezTo>
                    <a:pt x="64" y="187"/>
                    <a:pt x="64" y="187"/>
                    <a:pt x="64" y="187"/>
                  </a:cubicBezTo>
                  <a:cubicBezTo>
                    <a:pt x="64" y="120"/>
                    <a:pt x="119" y="65"/>
                    <a:pt x="186" y="65"/>
                  </a:cubicBezTo>
                  <a:cubicBezTo>
                    <a:pt x="319" y="65"/>
                    <a:pt x="319" y="65"/>
                    <a:pt x="319" y="65"/>
                  </a:cubicBezTo>
                  <a:cubicBezTo>
                    <a:pt x="319" y="65"/>
                    <a:pt x="319" y="65"/>
                    <a:pt x="319" y="65"/>
                  </a:cubicBezTo>
                  <a:cubicBezTo>
                    <a:pt x="320" y="65"/>
                    <a:pt x="320" y="65"/>
                    <a:pt x="320" y="65"/>
                  </a:cubicBezTo>
                  <a:cubicBezTo>
                    <a:pt x="328" y="65"/>
                    <a:pt x="334" y="71"/>
                    <a:pt x="334" y="79"/>
                  </a:cubicBezTo>
                  <a:cubicBezTo>
                    <a:pt x="334" y="79"/>
                    <a:pt x="334" y="79"/>
                    <a:pt x="334" y="79"/>
                  </a:cubicBezTo>
                  <a:cubicBezTo>
                    <a:pt x="334" y="80"/>
                    <a:pt x="334" y="80"/>
                    <a:pt x="334" y="80"/>
                  </a:cubicBezTo>
                  <a:cubicBezTo>
                    <a:pt x="334" y="85"/>
                    <a:pt x="334" y="85"/>
                    <a:pt x="334" y="85"/>
                  </a:cubicBezTo>
                  <a:cubicBezTo>
                    <a:pt x="334" y="129"/>
                    <a:pt x="369" y="165"/>
                    <a:pt x="413" y="165"/>
                  </a:cubicBezTo>
                  <a:cubicBezTo>
                    <a:pt x="957" y="165"/>
                    <a:pt x="957" y="165"/>
                    <a:pt x="957" y="165"/>
                  </a:cubicBezTo>
                  <a:cubicBezTo>
                    <a:pt x="1001" y="165"/>
                    <a:pt x="1037" y="129"/>
                    <a:pt x="1037" y="85"/>
                  </a:cubicBezTo>
                  <a:cubicBezTo>
                    <a:pt x="1037" y="80"/>
                    <a:pt x="1037" y="80"/>
                    <a:pt x="1037" y="80"/>
                  </a:cubicBezTo>
                  <a:cubicBezTo>
                    <a:pt x="1037" y="79"/>
                    <a:pt x="1037" y="79"/>
                    <a:pt x="1037" y="79"/>
                  </a:cubicBezTo>
                  <a:cubicBezTo>
                    <a:pt x="1037" y="71"/>
                    <a:pt x="1043" y="65"/>
                    <a:pt x="1050" y="65"/>
                  </a:cubicBezTo>
                  <a:cubicBezTo>
                    <a:pt x="1050" y="65"/>
                    <a:pt x="1051" y="65"/>
                    <a:pt x="1051" y="65"/>
                  </a:cubicBezTo>
                  <a:cubicBezTo>
                    <a:pt x="1051" y="65"/>
                    <a:pt x="1051" y="65"/>
                    <a:pt x="1051" y="65"/>
                  </a:cubicBezTo>
                  <a:cubicBezTo>
                    <a:pt x="1185" y="65"/>
                    <a:pt x="1185" y="65"/>
                    <a:pt x="1185" y="65"/>
                  </a:cubicBezTo>
                  <a:cubicBezTo>
                    <a:pt x="1252" y="65"/>
                    <a:pt x="1306" y="120"/>
                    <a:pt x="1306" y="187"/>
                  </a:cubicBezTo>
                  <a:lnTo>
                    <a:pt x="1306" y="26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sp>
          <p:nvSpPr>
            <p:cNvPr id="120" name="Freeform 119">
              <a:extLst>
                <a:ext uri="{FF2B5EF4-FFF2-40B4-BE49-F238E27FC236}">
                  <a16:creationId xmlns:a16="http://schemas.microsoft.com/office/drawing/2014/main" id="{BA24E764-A568-964F-AF0B-2109BE609C9A}"/>
                </a:ext>
              </a:extLst>
            </p:cNvPr>
            <p:cNvSpPr>
              <a:spLocks noEditPoints="1"/>
            </p:cNvSpPr>
            <p:nvPr/>
          </p:nvSpPr>
          <p:spPr bwMode="auto">
            <a:xfrm>
              <a:off x="4362411" y="5932488"/>
              <a:ext cx="1511300" cy="193675"/>
            </a:xfrm>
            <a:custGeom>
              <a:avLst/>
              <a:gdLst>
                <a:gd name="T0" fmla="*/ 13 w 342"/>
                <a:gd name="T1" fmla="*/ 9 h 44"/>
                <a:gd name="T2" fmla="*/ 0 w 342"/>
                <a:gd name="T3" fmla="*/ 22 h 44"/>
                <a:gd name="T4" fmla="*/ 13 w 342"/>
                <a:gd name="T5" fmla="*/ 35 h 44"/>
                <a:gd name="T6" fmla="*/ 26 w 342"/>
                <a:gd name="T7" fmla="*/ 22 h 44"/>
                <a:gd name="T8" fmla="*/ 13 w 342"/>
                <a:gd name="T9" fmla="*/ 9 h 44"/>
                <a:gd name="T10" fmla="*/ 234 w 342"/>
                <a:gd name="T11" fmla="*/ 13 h 44"/>
                <a:gd name="T12" fmla="*/ 86 w 342"/>
                <a:gd name="T13" fmla="*/ 13 h 44"/>
                <a:gd name="T14" fmla="*/ 77 w 342"/>
                <a:gd name="T15" fmla="*/ 22 h 44"/>
                <a:gd name="T16" fmla="*/ 86 w 342"/>
                <a:gd name="T17" fmla="*/ 31 h 44"/>
                <a:gd name="T18" fmla="*/ 234 w 342"/>
                <a:gd name="T19" fmla="*/ 31 h 44"/>
                <a:gd name="T20" fmla="*/ 243 w 342"/>
                <a:gd name="T21" fmla="*/ 22 h 44"/>
                <a:gd name="T22" fmla="*/ 234 w 342"/>
                <a:gd name="T23" fmla="*/ 13 h 44"/>
                <a:gd name="T24" fmla="*/ 320 w 342"/>
                <a:gd name="T25" fmla="*/ 0 h 44"/>
                <a:gd name="T26" fmla="*/ 298 w 342"/>
                <a:gd name="T27" fmla="*/ 22 h 44"/>
                <a:gd name="T28" fmla="*/ 320 w 342"/>
                <a:gd name="T29" fmla="*/ 44 h 44"/>
                <a:gd name="T30" fmla="*/ 342 w 342"/>
                <a:gd name="T31" fmla="*/ 22 h 44"/>
                <a:gd name="T32" fmla="*/ 320 w 342"/>
                <a:gd name="T3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2" h="44">
                  <a:moveTo>
                    <a:pt x="13" y="9"/>
                  </a:moveTo>
                  <a:cubicBezTo>
                    <a:pt x="6" y="9"/>
                    <a:pt x="0" y="15"/>
                    <a:pt x="0" y="22"/>
                  </a:cubicBezTo>
                  <a:cubicBezTo>
                    <a:pt x="0" y="30"/>
                    <a:pt x="6" y="35"/>
                    <a:pt x="13" y="35"/>
                  </a:cubicBezTo>
                  <a:cubicBezTo>
                    <a:pt x="20" y="35"/>
                    <a:pt x="26" y="30"/>
                    <a:pt x="26" y="22"/>
                  </a:cubicBezTo>
                  <a:cubicBezTo>
                    <a:pt x="26" y="15"/>
                    <a:pt x="20" y="9"/>
                    <a:pt x="13" y="9"/>
                  </a:cubicBezTo>
                  <a:close/>
                  <a:moveTo>
                    <a:pt x="234" y="13"/>
                  </a:moveTo>
                  <a:cubicBezTo>
                    <a:pt x="86" y="13"/>
                    <a:pt x="86" y="13"/>
                    <a:pt x="86" y="13"/>
                  </a:cubicBezTo>
                  <a:cubicBezTo>
                    <a:pt x="81" y="13"/>
                    <a:pt x="77" y="17"/>
                    <a:pt x="77" y="22"/>
                  </a:cubicBezTo>
                  <a:cubicBezTo>
                    <a:pt x="77" y="27"/>
                    <a:pt x="81" y="31"/>
                    <a:pt x="86" y="31"/>
                  </a:cubicBezTo>
                  <a:cubicBezTo>
                    <a:pt x="234" y="31"/>
                    <a:pt x="234" y="31"/>
                    <a:pt x="234" y="31"/>
                  </a:cubicBezTo>
                  <a:cubicBezTo>
                    <a:pt x="239" y="31"/>
                    <a:pt x="243" y="27"/>
                    <a:pt x="243" y="22"/>
                  </a:cubicBezTo>
                  <a:cubicBezTo>
                    <a:pt x="243" y="17"/>
                    <a:pt x="239" y="13"/>
                    <a:pt x="234" y="13"/>
                  </a:cubicBezTo>
                  <a:close/>
                  <a:moveTo>
                    <a:pt x="320" y="0"/>
                  </a:moveTo>
                  <a:cubicBezTo>
                    <a:pt x="308" y="0"/>
                    <a:pt x="298" y="10"/>
                    <a:pt x="298" y="22"/>
                  </a:cubicBezTo>
                  <a:cubicBezTo>
                    <a:pt x="298" y="34"/>
                    <a:pt x="308" y="44"/>
                    <a:pt x="320" y="44"/>
                  </a:cubicBezTo>
                  <a:cubicBezTo>
                    <a:pt x="332" y="44"/>
                    <a:pt x="342" y="34"/>
                    <a:pt x="342" y="22"/>
                  </a:cubicBezTo>
                  <a:cubicBezTo>
                    <a:pt x="342" y="10"/>
                    <a:pt x="332" y="0"/>
                    <a:pt x="320" y="0"/>
                  </a:cubicBezTo>
                  <a:close/>
                </a:path>
              </a:pathLst>
            </a:custGeom>
            <a:solidFill>
              <a:schemeClr val="tx2">
                <a:lumMod val="50000"/>
                <a:lumOff val="50000"/>
              </a:schemeClr>
            </a:solidFill>
            <a:ln>
              <a:noFill/>
            </a:ln>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sp>
          <p:nvSpPr>
            <p:cNvPr id="121" name="Rectangle 120">
              <a:extLst>
                <a:ext uri="{FF2B5EF4-FFF2-40B4-BE49-F238E27FC236}">
                  <a16:creationId xmlns:a16="http://schemas.microsoft.com/office/drawing/2014/main" id="{F59928FA-F330-F04D-A064-164C5910C83B}"/>
                </a:ext>
              </a:extLst>
            </p:cNvPr>
            <p:cNvSpPr>
              <a:spLocks noChangeArrowheads="1"/>
            </p:cNvSpPr>
            <p:nvPr/>
          </p:nvSpPr>
          <p:spPr bwMode="auto">
            <a:xfrm>
              <a:off x="1931948" y="6723063"/>
              <a:ext cx="106363" cy="96838"/>
            </a:xfrm>
            <a:prstGeom prst="rect">
              <a:avLst/>
            </a:prstGeom>
            <a:solidFill>
              <a:schemeClr val="tx2">
                <a:lumMod val="50000"/>
                <a:lumOff val="50000"/>
              </a:schemeClr>
            </a:solidFill>
            <a:ln>
              <a:noFill/>
            </a:ln>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sp>
          <p:nvSpPr>
            <p:cNvPr id="122" name="Rectangle 121">
              <a:extLst>
                <a:ext uri="{FF2B5EF4-FFF2-40B4-BE49-F238E27FC236}">
                  <a16:creationId xmlns:a16="http://schemas.microsoft.com/office/drawing/2014/main" id="{4CDEC7A7-86D2-E14E-8F0D-82A4484025EC}"/>
                </a:ext>
              </a:extLst>
            </p:cNvPr>
            <p:cNvSpPr>
              <a:spLocks noChangeArrowheads="1"/>
            </p:cNvSpPr>
            <p:nvPr/>
          </p:nvSpPr>
          <p:spPr bwMode="auto">
            <a:xfrm>
              <a:off x="8091448" y="6723063"/>
              <a:ext cx="106363" cy="96838"/>
            </a:xfrm>
            <a:prstGeom prst="rect">
              <a:avLst/>
            </a:prstGeom>
            <a:solidFill>
              <a:schemeClr val="tx2">
                <a:lumMod val="50000"/>
                <a:lumOff val="50000"/>
              </a:schemeClr>
            </a:solidFill>
            <a:ln>
              <a:noFill/>
            </a:ln>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sp>
          <p:nvSpPr>
            <p:cNvPr id="123" name="Rectangle 122">
              <a:extLst>
                <a:ext uri="{FF2B5EF4-FFF2-40B4-BE49-F238E27FC236}">
                  <a16:creationId xmlns:a16="http://schemas.microsoft.com/office/drawing/2014/main" id="{CBDCA454-86C7-5F4D-8AFA-762CA0D9228C}"/>
                </a:ext>
              </a:extLst>
            </p:cNvPr>
            <p:cNvSpPr>
              <a:spLocks noChangeArrowheads="1"/>
            </p:cNvSpPr>
            <p:nvPr/>
          </p:nvSpPr>
          <p:spPr bwMode="auto">
            <a:xfrm>
              <a:off x="1931948" y="16862425"/>
              <a:ext cx="106363" cy="98425"/>
            </a:xfrm>
            <a:prstGeom prst="rect">
              <a:avLst/>
            </a:prstGeom>
            <a:solidFill>
              <a:schemeClr val="tx2">
                <a:lumMod val="50000"/>
                <a:lumOff val="50000"/>
              </a:schemeClr>
            </a:solidFill>
            <a:ln>
              <a:noFill/>
            </a:ln>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sp>
          <p:nvSpPr>
            <p:cNvPr id="124" name="Rectangle 123">
              <a:extLst>
                <a:ext uri="{FF2B5EF4-FFF2-40B4-BE49-F238E27FC236}">
                  <a16:creationId xmlns:a16="http://schemas.microsoft.com/office/drawing/2014/main" id="{3A71C970-11A0-2B4E-85B7-D62FF875CA5C}"/>
                </a:ext>
              </a:extLst>
            </p:cNvPr>
            <p:cNvSpPr>
              <a:spLocks noChangeArrowheads="1"/>
            </p:cNvSpPr>
            <p:nvPr/>
          </p:nvSpPr>
          <p:spPr bwMode="auto">
            <a:xfrm>
              <a:off x="8091448" y="16862425"/>
              <a:ext cx="106363" cy="98425"/>
            </a:xfrm>
            <a:prstGeom prst="rect">
              <a:avLst/>
            </a:prstGeom>
            <a:solidFill>
              <a:schemeClr val="tx2">
                <a:lumMod val="50000"/>
                <a:lumOff val="50000"/>
              </a:schemeClr>
            </a:solidFill>
            <a:ln>
              <a:noFill/>
            </a:ln>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grpSp>
      <p:grpSp>
        <p:nvGrpSpPr>
          <p:cNvPr id="125" name="Group 124">
            <a:extLst>
              <a:ext uri="{FF2B5EF4-FFF2-40B4-BE49-F238E27FC236}">
                <a16:creationId xmlns:a16="http://schemas.microsoft.com/office/drawing/2014/main" id="{6BD70E76-7D31-9F41-A95F-522DA0E6DFB5}"/>
              </a:ext>
            </a:extLst>
          </p:cNvPr>
          <p:cNvGrpSpPr/>
          <p:nvPr/>
        </p:nvGrpSpPr>
        <p:grpSpPr>
          <a:xfrm>
            <a:off x="871278" y="2113513"/>
            <a:ext cx="1966740" cy="3915324"/>
            <a:chOff x="1882736" y="5503863"/>
            <a:chExt cx="6362700" cy="12666663"/>
          </a:xfrm>
        </p:grpSpPr>
        <p:sp>
          <p:nvSpPr>
            <p:cNvPr id="126" name="Freeform 125">
              <a:extLst>
                <a:ext uri="{FF2B5EF4-FFF2-40B4-BE49-F238E27FC236}">
                  <a16:creationId xmlns:a16="http://schemas.microsoft.com/office/drawing/2014/main" id="{5D21A297-EFEA-3A4F-8909-BC08E49F69EA}"/>
                </a:ext>
              </a:extLst>
            </p:cNvPr>
            <p:cNvSpPr>
              <a:spLocks noEditPoints="1"/>
            </p:cNvSpPr>
            <p:nvPr/>
          </p:nvSpPr>
          <p:spPr bwMode="auto">
            <a:xfrm>
              <a:off x="1882736" y="5503863"/>
              <a:ext cx="6362700" cy="12666663"/>
            </a:xfrm>
            <a:custGeom>
              <a:avLst/>
              <a:gdLst>
                <a:gd name="T0" fmla="*/ 1435 w 1440"/>
                <a:gd name="T1" fmla="*/ 659 h 2868"/>
                <a:gd name="T2" fmla="*/ 1429 w 1440"/>
                <a:gd name="T3" fmla="*/ 659 h 2868"/>
                <a:gd name="T4" fmla="*/ 1429 w 1440"/>
                <a:gd name="T5" fmla="*/ 221 h 2868"/>
                <a:gd name="T6" fmla="*/ 1209 w 1440"/>
                <a:gd name="T7" fmla="*/ 0 h 2868"/>
                <a:gd name="T8" fmla="*/ 232 w 1440"/>
                <a:gd name="T9" fmla="*/ 0 h 2868"/>
                <a:gd name="T10" fmla="*/ 11 w 1440"/>
                <a:gd name="T11" fmla="*/ 221 h 2868"/>
                <a:gd name="T12" fmla="*/ 11 w 1440"/>
                <a:gd name="T13" fmla="*/ 387 h 2868"/>
                <a:gd name="T14" fmla="*/ 4 w 1440"/>
                <a:gd name="T15" fmla="*/ 387 h 2868"/>
                <a:gd name="T16" fmla="*/ 0 w 1440"/>
                <a:gd name="T17" fmla="*/ 392 h 2868"/>
                <a:gd name="T18" fmla="*/ 0 w 1440"/>
                <a:gd name="T19" fmla="*/ 498 h 2868"/>
                <a:gd name="T20" fmla="*/ 4 w 1440"/>
                <a:gd name="T21" fmla="*/ 502 h 2868"/>
                <a:gd name="T22" fmla="*/ 11 w 1440"/>
                <a:gd name="T23" fmla="*/ 502 h 2868"/>
                <a:gd name="T24" fmla="*/ 11 w 1440"/>
                <a:gd name="T25" fmla="*/ 593 h 2868"/>
                <a:gd name="T26" fmla="*/ 4 w 1440"/>
                <a:gd name="T27" fmla="*/ 593 h 2868"/>
                <a:gd name="T28" fmla="*/ 0 w 1440"/>
                <a:gd name="T29" fmla="*/ 597 h 2868"/>
                <a:gd name="T30" fmla="*/ 0 w 1440"/>
                <a:gd name="T31" fmla="*/ 798 h 2868"/>
                <a:gd name="T32" fmla="*/ 4 w 1440"/>
                <a:gd name="T33" fmla="*/ 802 h 2868"/>
                <a:gd name="T34" fmla="*/ 11 w 1440"/>
                <a:gd name="T35" fmla="*/ 802 h 2868"/>
                <a:gd name="T36" fmla="*/ 11 w 1440"/>
                <a:gd name="T37" fmla="*/ 855 h 2868"/>
                <a:gd name="T38" fmla="*/ 4 w 1440"/>
                <a:gd name="T39" fmla="*/ 855 h 2868"/>
                <a:gd name="T40" fmla="*/ 0 w 1440"/>
                <a:gd name="T41" fmla="*/ 860 h 2868"/>
                <a:gd name="T42" fmla="*/ 0 w 1440"/>
                <a:gd name="T43" fmla="*/ 1061 h 2868"/>
                <a:gd name="T44" fmla="*/ 4 w 1440"/>
                <a:gd name="T45" fmla="*/ 1065 h 2868"/>
                <a:gd name="T46" fmla="*/ 11 w 1440"/>
                <a:gd name="T47" fmla="*/ 1065 h 2868"/>
                <a:gd name="T48" fmla="*/ 11 w 1440"/>
                <a:gd name="T49" fmla="*/ 2647 h 2868"/>
                <a:gd name="T50" fmla="*/ 232 w 1440"/>
                <a:gd name="T51" fmla="*/ 2868 h 2868"/>
                <a:gd name="T52" fmla="*/ 1209 w 1440"/>
                <a:gd name="T53" fmla="*/ 2868 h 2868"/>
                <a:gd name="T54" fmla="*/ 1429 w 1440"/>
                <a:gd name="T55" fmla="*/ 2647 h 2868"/>
                <a:gd name="T56" fmla="*/ 1429 w 1440"/>
                <a:gd name="T57" fmla="*/ 1001 h 2868"/>
                <a:gd name="T58" fmla="*/ 1435 w 1440"/>
                <a:gd name="T59" fmla="*/ 1001 h 2868"/>
                <a:gd name="T60" fmla="*/ 1440 w 1440"/>
                <a:gd name="T61" fmla="*/ 996 h 2868"/>
                <a:gd name="T62" fmla="*/ 1440 w 1440"/>
                <a:gd name="T63" fmla="*/ 664 h 2868"/>
                <a:gd name="T64" fmla="*/ 1435 w 1440"/>
                <a:gd name="T65" fmla="*/ 659 h 2868"/>
                <a:gd name="T66" fmla="*/ 1372 w 1440"/>
                <a:gd name="T67" fmla="*/ 2673 h 2868"/>
                <a:gd name="T68" fmla="*/ 1245 w 1440"/>
                <a:gd name="T69" fmla="*/ 2796 h 2868"/>
                <a:gd name="T70" fmla="*/ 203 w 1440"/>
                <a:gd name="T71" fmla="*/ 2796 h 2868"/>
                <a:gd name="T72" fmla="*/ 76 w 1440"/>
                <a:gd name="T73" fmla="*/ 2673 h 2868"/>
                <a:gd name="T74" fmla="*/ 76 w 1440"/>
                <a:gd name="T75" fmla="*/ 189 h 2868"/>
                <a:gd name="T76" fmla="*/ 203 w 1440"/>
                <a:gd name="T77" fmla="*/ 66 h 2868"/>
                <a:gd name="T78" fmla="*/ 342 w 1440"/>
                <a:gd name="T79" fmla="*/ 66 h 2868"/>
                <a:gd name="T80" fmla="*/ 342 w 1440"/>
                <a:gd name="T81" fmla="*/ 66 h 2868"/>
                <a:gd name="T82" fmla="*/ 343 w 1440"/>
                <a:gd name="T83" fmla="*/ 66 h 2868"/>
                <a:gd name="T84" fmla="*/ 357 w 1440"/>
                <a:gd name="T85" fmla="*/ 79 h 2868"/>
                <a:gd name="T86" fmla="*/ 357 w 1440"/>
                <a:gd name="T87" fmla="*/ 80 h 2868"/>
                <a:gd name="T88" fmla="*/ 375 w 1440"/>
                <a:gd name="T89" fmla="*/ 90 h 2868"/>
                <a:gd name="T90" fmla="*/ 387 w 1440"/>
                <a:gd name="T91" fmla="*/ 131 h 2868"/>
                <a:gd name="T92" fmla="*/ 382 w 1440"/>
                <a:gd name="T93" fmla="*/ 144 h 2868"/>
                <a:gd name="T94" fmla="*/ 440 w 1440"/>
                <a:gd name="T95" fmla="*/ 166 h 2868"/>
                <a:gd name="T96" fmla="*/ 1008 w 1440"/>
                <a:gd name="T97" fmla="*/ 166 h 2868"/>
                <a:gd name="T98" fmla="*/ 1044 w 1440"/>
                <a:gd name="T99" fmla="*/ 158 h 2868"/>
                <a:gd name="T100" fmla="*/ 1044 w 1440"/>
                <a:gd name="T101" fmla="*/ 139 h 2868"/>
                <a:gd name="T102" fmla="*/ 1068 w 1440"/>
                <a:gd name="T103" fmla="*/ 88 h 2868"/>
                <a:gd name="T104" fmla="*/ 1092 w 1440"/>
                <a:gd name="T105" fmla="*/ 74 h 2868"/>
                <a:gd name="T106" fmla="*/ 1105 w 1440"/>
                <a:gd name="T107" fmla="*/ 66 h 2868"/>
                <a:gd name="T108" fmla="*/ 1106 w 1440"/>
                <a:gd name="T109" fmla="*/ 66 h 2868"/>
                <a:gd name="T110" fmla="*/ 1106 w 1440"/>
                <a:gd name="T111" fmla="*/ 66 h 2868"/>
                <a:gd name="T112" fmla="*/ 1245 w 1440"/>
                <a:gd name="T113" fmla="*/ 66 h 2868"/>
                <a:gd name="T114" fmla="*/ 1372 w 1440"/>
                <a:gd name="T115" fmla="*/ 189 h 2868"/>
                <a:gd name="T116" fmla="*/ 1372 w 1440"/>
                <a:gd name="T117" fmla="*/ 2673 h 2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40" h="2868">
                  <a:moveTo>
                    <a:pt x="1435" y="659"/>
                  </a:moveTo>
                  <a:cubicBezTo>
                    <a:pt x="1429" y="659"/>
                    <a:pt x="1429" y="659"/>
                    <a:pt x="1429" y="659"/>
                  </a:cubicBezTo>
                  <a:cubicBezTo>
                    <a:pt x="1429" y="221"/>
                    <a:pt x="1429" y="221"/>
                    <a:pt x="1429" y="221"/>
                  </a:cubicBezTo>
                  <a:cubicBezTo>
                    <a:pt x="1429" y="99"/>
                    <a:pt x="1331" y="0"/>
                    <a:pt x="1209" y="0"/>
                  </a:cubicBezTo>
                  <a:cubicBezTo>
                    <a:pt x="232" y="0"/>
                    <a:pt x="232" y="0"/>
                    <a:pt x="232" y="0"/>
                  </a:cubicBezTo>
                  <a:cubicBezTo>
                    <a:pt x="110" y="0"/>
                    <a:pt x="11" y="99"/>
                    <a:pt x="11" y="221"/>
                  </a:cubicBezTo>
                  <a:cubicBezTo>
                    <a:pt x="11" y="387"/>
                    <a:pt x="11" y="387"/>
                    <a:pt x="11" y="387"/>
                  </a:cubicBezTo>
                  <a:cubicBezTo>
                    <a:pt x="4" y="387"/>
                    <a:pt x="4" y="387"/>
                    <a:pt x="4" y="387"/>
                  </a:cubicBezTo>
                  <a:cubicBezTo>
                    <a:pt x="2" y="387"/>
                    <a:pt x="0" y="389"/>
                    <a:pt x="0" y="392"/>
                  </a:cubicBezTo>
                  <a:cubicBezTo>
                    <a:pt x="0" y="498"/>
                    <a:pt x="0" y="498"/>
                    <a:pt x="0" y="498"/>
                  </a:cubicBezTo>
                  <a:cubicBezTo>
                    <a:pt x="0" y="500"/>
                    <a:pt x="2" y="502"/>
                    <a:pt x="4" y="502"/>
                  </a:cubicBezTo>
                  <a:cubicBezTo>
                    <a:pt x="11" y="502"/>
                    <a:pt x="11" y="502"/>
                    <a:pt x="11" y="502"/>
                  </a:cubicBezTo>
                  <a:cubicBezTo>
                    <a:pt x="11" y="593"/>
                    <a:pt x="11" y="593"/>
                    <a:pt x="11" y="593"/>
                  </a:cubicBezTo>
                  <a:cubicBezTo>
                    <a:pt x="4" y="593"/>
                    <a:pt x="4" y="593"/>
                    <a:pt x="4" y="593"/>
                  </a:cubicBezTo>
                  <a:cubicBezTo>
                    <a:pt x="2" y="593"/>
                    <a:pt x="0" y="595"/>
                    <a:pt x="0" y="597"/>
                  </a:cubicBezTo>
                  <a:cubicBezTo>
                    <a:pt x="0" y="798"/>
                    <a:pt x="0" y="798"/>
                    <a:pt x="0" y="798"/>
                  </a:cubicBezTo>
                  <a:cubicBezTo>
                    <a:pt x="0" y="801"/>
                    <a:pt x="2" y="802"/>
                    <a:pt x="4" y="802"/>
                  </a:cubicBezTo>
                  <a:cubicBezTo>
                    <a:pt x="11" y="802"/>
                    <a:pt x="11" y="802"/>
                    <a:pt x="11" y="802"/>
                  </a:cubicBezTo>
                  <a:cubicBezTo>
                    <a:pt x="11" y="855"/>
                    <a:pt x="11" y="855"/>
                    <a:pt x="11" y="855"/>
                  </a:cubicBezTo>
                  <a:cubicBezTo>
                    <a:pt x="4" y="855"/>
                    <a:pt x="4" y="855"/>
                    <a:pt x="4" y="855"/>
                  </a:cubicBezTo>
                  <a:cubicBezTo>
                    <a:pt x="2" y="855"/>
                    <a:pt x="0" y="857"/>
                    <a:pt x="0" y="860"/>
                  </a:cubicBezTo>
                  <a:cubicBezTo>
                    <a:pt x="0" y="1061"/>
                    <a:pt x="0" y="1061"/>
                    <a:pt x="0" y="1061"/>
                  </a:cubicBezTo>
                  <a:cubicBezTo>
                    <a:pt x="0" y="1063"/>
                    <a:pt x="2" y="1065"/>
                    <a:pt x="4" y="1065"/>
                  </a:cubicBezTo>
                  <a:cubicBezTo>
                    <a:pt x="11" y="1065"/>
                    <a:pt x="11" y="1065"/>
                    <a:pt x="11" y="1065"/>
                  </a:cubicBezTo>
                  <a:cubicBezTo>
                    <a:pt x="11" y="2647"/>
                    <a:pt x="11" y="2647"/>
                    <a:pt x="11" y="2647"/>
                  </a:cubicBezTo>
                  <a:cubicBezTo>
                    <a:pt x="11" y="2769"/>
                    <a:pt x="110" y="2868"/>
                    <a:pt x="232" y="2868"/>
                  </a:cubicBezTo>
                  <a:cubicBezTo>
                    <a:pt x="1209" y="2868"/>
                    <a:pt x="1209" y="2868"/>
                    <a:pt x="1209" y="2868"/>
                  </a:cubicBezTo>
                  <a:cubicBezTo>
                    <a:pt x="1331" y="2868"/>
                    <a:pt x="1429" y="2769"/>
                    <a:pt x="1429" y="2647"/>
                  </a:cubicBezTo>
                  <a:cubicBezTo>
                    <a:pt x="1429" y="1001"/>
                    <a:pt x="1429" y="1001"/>
                    <a:pt x="1429" y="1001"/>
                  </a:cubicBezTo>
                  <a:cubicBezTo>
                    <a:pt x="1435" y="1001"/>
                    <a:pt x="1435" y="1001"/>
                    <a:pt x="1435" y="1001"/>
                  </a:cubicBezTo>
                  <a:cubicBezTo>
                    <a:pt x="1438" y="1001"/>
                    <a:pt x="1440" y="999"/>
                    <a:pt x="1440" y="996"/>
                  </a:cubicBezTo>
                  <a:cubicBezTo>
                    <a:pt x="1440" y="664"/>
                    <a:pt x="1440" y="664"/>
                    <a:pt x="1440" y="664"/>
                  </a:cubicBezTo>
                  <a:cubicBezTo>
                    <a:pt x="1440" y="661"/>
                    <a:pt x="1438" y="659"/>
                    <a:pt x="1435" y="659"/>
                  </a:cubicBezTo>
                  <a:close/>
                  <a:moveTo>
                    <a:pt x="1372" y="2673"/>
                  </a:moveTo>
                  <a:cubicBezTo>
                    <a:pt x="1372" y="2741"/>
                    <a:pt x="1315" y="2796"/>
                    <a:pt x="1245" y="2796"/>
                  </a:cubicBezTo>
                  <a:cubicBezTo>
                    <a:pt x="203" y="2796"/>
                    <a:pt x="203" y="2796"/>
                    <a:pt x="203" y="2796"/>
                  </a:cubicBezTo>
                  <a:cubicBezTo>
                    <a:pt x="133" y="2796"/>
                    <a:pt x="76" y="2741"/>
                    <a:pt x="76" y="2673"/>
                  </a:cubicBezTo>
                  <a:cubicBezTo>
                    <a:pt x="76" y="189"/>
                    <a:pt x="76" y="189"/>
                    <a:pt x="76" y="189"/>
                  </a:cubicBezTo>
                  <a:cubicBezTo>
                    <a:pt x="76" y="121"/>
                    <a:pt x="133" y="66"/>
                    <a:pt x="203" y="66"/>
                  </a:cubicBezTo>
                  <a:cubicBezTo>
                    <a:pt x="342" y="66"/>
                    <a:pt x="342" y="66"/>
                    <a:pt x="342" y="66"/>
                  </a:cubicBezTo>
                  <a:cubicBezTo>
                    <a:pt x="342" y="66"/>
                    <a:pt x="342" y="66"/>
                    <a:pt x="342" y="66"/>
                  </a:cubicBezTo>
                  <a:cubicBezTo>
                    <a:pt x="342" y="66"/>
                    <a:pt x="343" y="66"/>
                    <a:pt x="343" y="66"/>
                  </a:cubicBezTo>
                  <a:cubicBezTo>
                    <a:pt x="351" y="66"/>
                    <a:pt x="357" y="72"/>
                    <a:pt x="357" y="79"/>
                  </a:cubicBezTo>
                  <a:cubicBezTo>
                    <a:pt x="357" y="80"/>
                    <a:pt x="357" y="80"/>
                    <a:pt x="357" y="80"/>
                  </a:cubicBezTo>
                  <a:cubicBezTo>
                    <a:pt x="364" y="80"/>
                    <a:pt x="371" y="84"/>
                    <a:pt x="375" y="90"/>
                  </a:cubicBezTo>
                  <a:cubicBezTo>
                    <a:pt x="383" y="102"/>
                    <a:pt x="387" y="117"/>
                    <a:pt x="387" y="131"/>
                  </a:cubicBezTo>
                  <a:cubicBezTo>
                    <a:pt x="387" y="136"/>
                    <a:pt x="385" y="140"/>
                    <a:pt x="382" y="144"/>
                  </a:cubicBezTo>
                  <a:cubicBezTo>
                    <a:pt x="397" y="158"/>
                    <a:pt x="418" y="166"/>
                    <a:pt x="440" y="166"/>
                  </a:cubicBezTo>
                  <a:cubicBezTo>
                    <a:pt x="1008" y="166"/>
                    <a:pt x="1008" y="166"/>
                    <a:pt x="1008" y="166"/>
                  </a:cubicBezTo>
                  <a:cubicBezTo>
                    <a:pt x="1021" y="166"/>
                    <a:pt x="1033" y="164"/>
                    <a:pt x="1044" y="158"/>
                  </a:cubicBezTo>
                  <a:cubicBezTo>
                    <a:pt x="1041" y="153"/>
                    <a:pt x="1040" y="146"/>
                    <a:pt x="1044" y="139"/>
                  </a:cubicBezTo>
                  <a:cubicBezTo>
                    <a:pt x="1053" y="122"/>
                    <a:pt x="1061" y="105"/>
                    <a:pt x="1068" y="88"/>
                  </a:cubicBezTo>
                  <a:cubicBezTo>
                    <a:pt x="1072" y="78"/>
                    <a:pt x="1081" y="71"/>
                    <a:pt x="1092" y="74"/>
                  </a:cubicBezTo>
                  <a:cubicBezTo>
                    <a:pt x="1094" y="69"/>
                    <a:pt x="1099" y="66"/>
                    <a:pt x="1105" y="66"/>
                  </a:cubicBezTo>
                  <a:cubicBezTo>
                    <a:pt x="1105" y="66"/>
                    <a:pt x="1106" y="66"/>
                    <a:pt x="1106" y="66"/>
                  </a:cubicBezTo>
                  <a:cubicBezTo>
                    <a:pt x="1106" y="66"/>
                    <a:pt x="1106" y="66"/>
                    <a:pt x="1106" y="66"/>
                  </a:cubicBezTo>
                  <a:cubicBezTo>
                    <a:pt x="1245" y="66"/>
                    <a:pt x="1245" y="66"/>
                    <a:pt x="1245" y="66"/>
                  </a:cubicBezTo>
                  <a:cubicBezTo>
                    <a:pt x="1315" y="66"/>
                    <a:pt x="1372" y="121"/>
                    <a:pt x="1372" y="189"/>
                  </a:cubicBezTo>
                  <a:lnTo>
                    <a:pt x="1372" y="2673"/>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sp>
          <p:nvSpPr>
            <p:cNvPr id="127" name="Freeform 126">
              <a:extLst>
                <a:ext uri="{FF2B5EF4-FFF2-40B4-BE49-F238E27FC236}">
                  <a16:creationId xmlns:a16="http://schemas.microsoft.com/office/drawing/2014/main" id="{1634D77F-F7F8-1140-B11B-12D95ECAC944}"/>
                </a:ext>
              </a:extLst>
            </p:cNvPr>
            <p:cNvSpPr>
              <a:spLocks noEditPoints="1"/>
            </p:cNvSpPr>
            <p:nvPr/>
          </p:nvSpPr>
          <p:spPr bwMode="auto">
            <a:xfrm>
              <a:off x="2038311" y="5610225"/>
              <a:ext cx="6053138" cy="12449175"/>
            </a:xfrm>
            <a:custGeom>
              <a:avLst/>
              <a:gdLst>
                <a:gd name="T0" fmla="*/ 1171 w 1370"/>
                <a:gd name="T1" fmla="*/ 0 h 2819"/>
                <a:gd name="T2" fmla="*/ 199 w 1370"/>
                <a:gd name="T3" fmla="*/ 0 h 2819"/>
                <a:gd name="T4" fmla="*/ 0 w 1370"/>
                <a:gd name="T5" fmla="*/ 199 h 2819"/>
                <a:gd name="T6" fmla="*/ 0 w 1370"/>
                <a:gd name="T7" fmla="*/ 2621 h 2819"/>
                <a:gd name="T8" fmla="*/ 199 w 1370"/>
                <a:gd name="T9" fmla="*/ 2819 h 2819"/>
                <a:gd name="T10" fmla="*/ 1171 w 1370"/>
                <a:gd name="T11" fmla="*/ 2819 h 2819"/>
                <a:gd name="T12" fmla="*/ 1370 w 1370"/>
                <a:gd name="T13" fmla="*/ 2621 h 2819"/>
                <a:gd name="T14" fmla="*/ 1370 w 1370"/>
                <a:gd name="T15" fmla="*/ 199 h 2819"/>
                <a:gd name="T16" fmla="*/ 1171 w 1370"/>
                <a:gd name="T17" fmla="*/ 0 h 2819"/>
                <a:gd name="T18" fmla="*/ 1306 w 1370"/>
                <a:gd name="T19" fmla="*/ 2633 h 2819"/>
                <a:gd name="T20" fmla="*/ 1185 w 1370"/>
                <a:gd name="T21" fmla="*/ 2754 h 2819"/>
                <a:gd name="T22" fmla="*/ 186 w 1370"/>
                <a:gd name="T23" fmla="*/ 2754 h 2819"/>
                <a:gd name="T24" fmla="*/ 64 w 1370"/>
                <a:gd name="T25" fmla="*/ 2633 h 2819"/>
                <a:gd name="T26" fmla="*/ 64 w 1370"/>
                <a:gd name="T27" fmla="*/ 187 h 2819"/>
                <a:gd name="T28" fmla="*/ 186 w 1370"/>
                <a:gd name="T29" fmla="*/ 65 h 2819"/>
                <a:gd name="T30" fmla="*/ 319 w 1370"/>
                <a:gd name="T31" fmla="*/ 65 h 2819"/>
                <a:gd name="T32" fmla="*/ 319 w 1370"/>
                <a:gd name="T33" fmla="*/ 65 h 2819"/>
                <a:gd name="T34" fmla="*/ 320 w 1370"/>
                <a:gd name="T35" fmla="*/ 65 h 2819"/>
                <a:gd name="T36" fmla="*/ 334 w 1370"/>
                <a:gd name="T37" fmla="*/ 79 h 2819"/>
                <a:gd name="T38" fmla="*/ 334 w 1370"/>
                <a:gd name="T39" fmla="*/ 79 h 2819"/>
                <a:gd name="T40" fmla="*/ 334 w 1370"/>
                <a:gd name="T41" fmla="*/ 80 h 2819"/>
                <a:gd name="T42" fmla="*/ 334 w 1370"/>
                <a:gd name="T43" fmla="*/ 85 h 2819"/>
                <a:gd name="T44" fmla="*/ 413 w 1370"/>
                <a:gd name="T45" fmla="*/ 165 h 2819"/>
                <a:gd name="T46" fmla="*/ 957 w 1370"/>
                <a:gd name="T47" fmla="*/ 165 h 2819"/>
                <a:gd name="T48" fmla="*/ 1037 w 1370"/>
                <a:gd name="T49" fmla="*/ 85 h 2819"/>
                <a:gd name="T50" fmla="*/ 1037 w 1370"/>
                <a:gd name="T51" fmla="*/ 80 h 2819"/>
                <a:gd name="T52" fmla="*/ 1037 w 1370"/>
                <a:gd name="T53" fmla="*/ 79 h 2819"/>
                <a:gd name="T54" fmla="*/ 1050 w 1370"/>
                <a:gd name="T55" fmla="*/ 65 h 2819"/>
                <a:gd name="T56" fmla="*/ 1051 w 1370"/>
                <a:gd name="T57" fmla="*/ 65 h 2819"/>
                <a:gd name="T58" fmla="*/ 1051 w 1370"/>
                <a:gd name="T59" fmla="*/ 65 h 2819"/>
                <a:gd name="T60" fmla="*/ 1185 w 1370"/>
                <a:gd name="T61" fmla="*/ 65 h 2819"/>
                <a:gd name="T62" fmla="*/ 1306 w 1370"/>
                <a:gd name="T63" fmla="*/ 187 h 2819"/>
                <a:gd name="T64" fmla="*/ 1306 w 1370"/>
                <a:gd name="T65" fmla="*/ 2633 h 2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0" h="2819">
                  <a:moveTo>
                    <a:pt x="1171" y="0"/>
                  </a:moveTo>
                  <a:cubicBezTo>
                    <a:pt x="199" y="0"/>
                    <a:pt x="199" y="0"/>
                    <a:pt x="199" y="0"/>
                  </a:cubicBezTo>
                  <a:cubicBezTo>
                    <a:pt x="89" y="0"/>
                    <a:pt x="0" y="89"/>
                    <a:pt x="0" y="199"/>
                  </a:cubicBezTo>
                  <a:cubicBezTo>
                    <a:pt x="0" y="2621"/>
                    <a:pt x="0" y="2621"/>
                    <a:pt x="0" y="2621"/>
                  </a:cubicBezTo>
                  <a:cubicBezTo>
                    <a:pt x="0" y="2730"/>
                    <a:pt x="89" y="2819"/>
                    <a:pt x="199" y="2819"/>
                  </a:cubicBezTo>
                  <a:cubicBezTo>
                    <a:pt x="1171" y="2819"/>
                    <a:pt x="1171" y="2819"/>
                    <a:pt x="1171" y="2819"/>
                  </a:cubicBezTo>
                  <a:cubicBezTo>
                    <a:pt x="1281" y="2819"/>
                    <a:pt x="1370" y="2730"/>
                    <a:pt x="1370" y="2621"/>
                  </a:cubicBezTo>
                  <a:cubicBezTo>
                    <a:pt x="1370" y="199"/>
                    <a:pt x="1370" y="199"/>
                    <a:pt x="1370" y="199"/>
                  </a:cubicBezTo>
                  <a:cubicBezTo>
                    <a:pt x="1370" y="89"/>
                    <a:pt x="1281" y="0"/>
                    <a:pt x="1171" y="0"/>
                  </a:cubicBezTo>
                  <a:close/>
                  <a:moveTo>
                    <a:pt x="1306" y="2633"/>
                  </a:moveTo>
                  <a:cubicBezTo>
                    <a:pt x="1306" y="2700"/>
                    <a:pt x="1252" y="2754"/>
                    <a:pt x="1185" y="2754"/>
                  </a:cubicBezTo>
                  <a:cubicBezTo>
                    <a:pt x="186" y="2754"/>
                    <a:pt x="186" y="2754"/>
                    <a:pt x="186" y="2754"/>
                  </a:cubicBezTo>
                  <a:cubicBezTo>
                    <a:pt x="119" y="2754"/>
                    <a:pt x="64" y="2700"/>
                    <a:pt x="64" y="2633"/>
                  </a:cubicBezTo>
                  <a:cubicBezTo>
                    <a:pt x="64" y="187"/>
                    <a:pt x="64" y="187"/>
                    <a:pt x="64" y="187"/>
                  </a:cubicBezTo>
                  <a:cubicBezTo>
                    <a:pt x="64" y="120"/>
                    <a:pt x="119" y="65"/>
                    <a:pt x="186" y="65"/>
                  </a:cubicBezTo>
                  <a:cubicBezTo>
                    <a:pt x="319" y="65"/>
                    <a:pt x="319" y="65"/>
                    <a:pt x="319" y="65"/>
                  </a:cubicBezTo>
                  <a:cubicBezTo>
                    <a:pt x="319" y="65"/>
                    <a:pt x="319" y="65"/>
                    <a:pt x="319" y="65"/>
                  </a:cubicBezTo>
                  <a:cubicBezTo>
                    <a:pt x="320" y="65"/>
                    <a:pt x="320" y="65"/>
                    <a:pt x="320" y="65"/>
                  </a:cubicBezTo>
                  <a:cubicBezTo>
                    <a:pt x="328" y="65"/>
                    <a:pt x="334" y="71"/>
                    <a:pt x="334" y="79"/>
                  </a:cubicBezTo>
                  <a:cubicBezTo>
                    <a:pt x="334" y="79"/>
                    <a:pt x="334" y="79"/>
                    <a:pt x="334" y="79"/>
                  </a:cubicBezTo>
                  <a:cubicBezTo>
                    <a:pt x="334" y="80"/>
                    <a:pt x="334" y="80"/>
                    <a:pt x="334" y="80"/>
                  </a:cubicBezTo>
                  <a:cubicBezTo>
                    <a:pt x="334" y="85"/>
                    <a:pt x="334" y="85"/>
                    <a:pt x="334" y="85"/>
                  </a:cubicBezTo>
                  <a:cubicBezTo>
                    <a:pt x="334" y="129"/>
                    <a:pt x="369" y="165"/>
                    <a:pt x="413" y="165"/>
                  </a:cubicBezTo>
                  <a:cubicBezTo>
                    <a:pt x="957" y="165"/>
                    <a:pt x="957" y="165"/>
                    <a:pt x="957" y="165"/>
                  </a:cubicBezTo>
                  <a:cubicBezTo>
                    <a:pt x="1001" y="165"/>
                    <a:pt x="1037" y="129"/>
                    <a:pt x="1037" y="85"/>
                  </a:cubicBezTo>
                  <a:cubicBezTo>
                    <a:pt x="1037" y="80"/>
                    <a:pt x="1037" y="80"/>
                    <a:pt x="1037" y="80"/>
                  </a:cubicBezTo>
                  <a:cubicBezTo>
                    <a:pt x="1037" y="79"/>
                    <a:pt x="1037" y="79"/>
                    <a:pt x="1037" y="79"/>
                  </a:cubicBezTo>
                  <a:cubicBezTo>
                    <a:pt x="1037" y="71"/>
                    <a:pt x="1043" y="65"/>
                    <a:pt x="1050" y="65"/>
                  </a:cubicBezTo>
                  <a:cubicBezTo>
                    <a:pt x="1050" y="65"/>
                    <a:pt x="1051" y="65"/>
                    <a:pt x="1051" y="65"/>
                  </a:cubicBezTo>
                  <a:cubicBezTo>
                    <a:pt x="1051" y="65"/>
                    <a:pt x="1051" y="65"/>
                    <a:pt x="1051" y="65"/>
                  </a:cubicBezTo>
                  <a:cubicBezTo>
                    <a:pt x="1185" y="65"/>
                    <a:pt x="1185" y="65"/>
                    <a:pt x="1185" y="65"/>
                  </a:cubicBezTo>
                  <a:cubicBezTo>
                    <a:pt x="1252" y="65"/>
                    <a:pt x="1306" y="120"/>
                    <a:pt x="1306" y="187"/>
                  </a:cubicBezTo>
                  <a:lnTo>
                    <a:pt x="1306" y="26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sp>
          <p:nvSpPr>
            <p:cNvPr id="128" name="Freeform 127">
              <a:extLst>
                <a:ext uri="{FF2B5EF4-FFF2-40B4-BE49-F238E27FC236}">
                  <a16:creationId xmlns:a16="http://schemas.microsoft.com/office/drawing/2014/main" id="{4D8BB0A6-8F25-A94C-B14C-7F0EB0892E3E}"/>
                </a:ext>
              </a:extLst>
            </p:cNvPr>
            <p:cNvSpPr>
              <a:spLocks noEditPoints="1"/>
            </p:cNvSpPr>
            <p:nvPr/>
          </p:nvSpPr>
          <p:spPr bwMode="auto">
            <a:xfrm>
              <a:off x="4362411" y="5932488"/>
              <a:ext cx="1511300" cy="193675"/>
            </a:xfrm>
            <a:custGeom>
              <a:avLst/>
              <a:gdLst>
                <a:gd name="T0" fmla="*/ 13 w 342"/>
                <a:gd name="T1" fmla="*/ 9 h 44"/>
                <a:gd name="T2" fmla="*/ 0 w 342"/>
                <a:gd name="T3" fmla="*/ 22 h 44"/>
                <a:gd name="T4" fmla="*/ 13 w 342"/>
                <a:gd name="T5" fmla="*/ 35 h 44"/>
                <a:gd name="T6" fmla="*/ 26 w 342"/>
                <a:gd name="T7" fmla="*/ 22 h 44"/>
                <a:gd name="T8" fmla="*/ 13 w 342"/>
                <a:gd name="T9" fmla="*/ 9 h 44"/>
                <a:gd name="T10" fmla="*/ 234 w 342"/>
                <a:gd name="T11" fmla="*/ 13 h 44"/>
                <a:gd name="T12" fmla="*/ 86 w 342"/>
                <a:gd name="T13" fmla="*/ 13 h 44"/>
                <a:gd name="T14" fmla="*/ 77 w 342"/>
                <a:gd name="T15" fmla="*/ 22 h 44"/>
                <a:gd name="T16" fmla="*/ 86 w 342"/>
                <a:gd name="T17" fmla="*/ 31 h 44"/>
                <a:gd name="T18" fmla="*/ 234 w 342"/>
                <a:gd name="T19" fmla="*/ 31 h 44"/>
                <a:gd name="T20" fmla="*/ 243 w 342"/>
                <a:gd name="T21" fmla="*/ 22 h 44"/>
                <a:gd name="T22" fmla="*/ 234 w 342"/>
                <a:gd name="T23" fmla="*/ 13 h 44"/>
                <a:gd name="T24" fmla="*/ 320 w 342"/>
                <a:gd name="T25" fmla="*/ 0 h 44"/>
                <a:gd name="T26" fmla="*/ 298 w 342"/>
                <a:gd name="T27" fmla="*/ 22 h 44"/>
                <a:gd name="T28" fmla="*/ 320 w 342"/>
                <a:gd name="T29" fmla="*/ 44 h 44"/>
                <a:gd name="T30" fmla="*/ 342 w 342"/>
                <a:gd name="T31" fmla="*/ 22 h 44"/>
                <a:gd name="T32" fmla="*/ 320 w 342"/>
                <a:gd name="T3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2" h="44">
                  <a:moveTo>
                    <a:pt x="13" y="9"/>
                  </a:moveTo>
                  <a:cubicBezTo>
                    <a:pt x="6" y="9"/>
                    <a:pt x="0" y="15"/>
                    <a:pt x="0" y="22"/>
                  </a:cubicBezTo>
                  <a:cubicBezTo>
                    <a:pt x="0" y="30"/>
                    <a:pt x="6" y="35"/>
                    <a:pt x="13" y="35"/>
                  </a:cubicBezTo>
                  <a:cubicBezTo>
                    <a:pt x="20" y="35"/>
                    <a:pt x="26" y="30"/>
                    <a:pt x="26" y="22"/>
                  </a:cubicBezTo>
                  <a:cubicBezTo>
                    <a:pt x="26" y="15"/>
                    <a:pt x="20" y="9"/>
                    <a:pt x="13" y="9"/>
                  </a:cubicBezTo>
                  <a:close/>
                  <a:moveTo>
                    <a:pt x="234" y="13"/>
                  </a:moveTo>
                  <a:cubicBezTo>
                    <a:pt x="86" y="13"/>
                    <a:pt x="86" y="13"/>
                    <a:pt x="86" y="13"/>
                  </a:cubicBezTo>
                  <a:cubicBezTo>
                    <a:pt x="81" y="13"/>
                    <a:pt x="77" y="17"/>
                    <a:pt x="77" y="22"/>
                  </a:cubicBezTo>
                  <a:cubicBezTo>
                    <a:pt x="77" y="27"/>
                    <a:pt x="81" y="31"/>
                    <a:pt x="86" y="31"/>
                  </a:cubicBezTo>
                  <a:cubicBezTo>
                    <a:pt x="234" y="31"/>
                    <a:pt x="234" y="31"/>
                    <a:pt x="234" y="31"/>
                  </a:cubicBezTo>
                  <a:cubicBezTo>
                    <a:pt x="239" y="31"/>
                    <a:pt x="243" y="27"/>
                    <a:pt x="243" y="22"/>
                  </a:cubicBezTo>
                  <a:cubicBezTo>
                    <a:pt x="243" y="17"/>
                    <a:pt x="239" y="13"/>
                    <a:pt x="234" y="13"/>
                  </a:cubicBezTo>
                  <a:close/>
                  <a:moveTo>
                    <a:pt x="320" y="0"/>
                  </a:moveTo>
                  <a:cubicBezTo>
                    <a:pt x="308" y="0"/>
                    <a:pt x="298" y="10"/>
                    <a:pt x="298" y="22"/>
                  </a:cubicBezTo>
                  <a:cubicBezTo>
                    <a:pt x="298" y="34"/>
                    <a:pt x="308" y="44"/>
                    <a:pt x="320" y="44"/>
                  </a:cubicBezTo>
                  <a:cubicBezTo>
                    <a:pt x="332" y="44"/>
                    <a:pt x="342" y="34"/>
                    <a:pt x="342" y="22"/>
                  </a:cubicBezTo>
                  <a:cubicBezTo>
                    <a:pt x="342" y="10"/>
                    <a:pt x="332" y="0"/>
                    <a:pt x="320" y="0"/>
                  </a:cubicBezTo>
                  <a:close/>
                </a:path>
              </a:pathLst>
            </a:custGeom>
            <a:solidFill>
              <a:schemeClr val="tx2">
                <a:lumMod val="50000"/>
                <a:lumOff val="50000"/>
              </a:schemeClr>
            </a:solidFill>
            <a:ln>
              <a:noFill/>
            </a:ln>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sp>
          <p:nvSpPr>
            <p:cNvPr id="129" name="Rectangle 128">
              <a:extLst>
                <a:ext uri="{FF2B5EF4-FFF2-40B4-BE49-F238E27FC236}">
                  <a16:creationId xmlns:a16="http://schemas.microsoft.com/office/drawing/2014/main" id="{53FF89A2-941D-4543-969C-6FCD5BCA9DCF}"/>
                </a:ext>
              </a:extLst>
            </p:cNvPr>
            <p:cNvSpPr>
              <a:spLocks noChangeArrowheads="1"/>
            </p:cNvSpPr>
            <p:nvPr/>
          </p:nvSpPr>
          <p:spPr bwMode="auto">
            <a:xfrm>
              <a:off x="1931948" y="6723063"/>
              <a:ext cx="106363" cy="96838"/>
            </a:xfrm>
            <a:prstGeom prst="rect">
              <a:avLst/>
            </a:prstGeom>
            <a:solidFill>
              <a:schemeClr val="tx2">
                <a:lumMod val="50000"/>
                <a:lumOff val="50000"/>
              </a:schemeClr>
            </a:solidFill>
            <a:ln>
              <a:noFill/>
            </a:ln>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sp>
          <p:nvSpPr>
            <p:cNvPr id="130" name="Rectangle 129">
              <a:extLst>
                <a:ext uri="{FF2B5EF4-FFF2-40B4-BE49-F238E27FC236}">
                  <a16:creationId xmlns:a16="http://schemas.microsoft.com/office/drawing/2014/main" id="{AC239436-2296-9440-BB67-18C8D75EE104}"/>
                </a:ext>
              </a:extLst>
            </p:cNvPr>
            <p:cNvSpPr>
              <a:spLocks noChangeArrowheads="1"/>
            </p:cNvSpPr>
            <p:nvPr/>
          </p:nvSpPr>
          <p:spPr bwMode="auto">
            <a:xfrm>
              <a:off x="8091448" y="6723063"/>
              <a:ext cx="106363" cy="96838"/>
            </a:xfrm>
            <a:prstGeom prst="rect">
              <a:avLst/>
            </a:prstGeom>
            <a:solidFill>
              <a:schemeClr val="tx2">
                <a:lumMod val="50000"/>
                <a:lumOff val="50000"/>
              </a:schemeClr>
            </a:solidFill>
            <a:ln>
              <a:noFill/>
            </a:ln>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sp>
          <p:nvSpPr>
            <p:cNvPr id="131" name="Rectangle 130">
              <a:extLst>
                <a:ext uri="{FF2B5EF4-FFF2-40B4-BE49-F238E27FC236}">
                  <a16:creationId xmlns:a16="http://schemas.microsoft.com/office/drawing/2014/main" id="{B1E485EC-D24D-4D43-AD29-E5CFD360EA47}"/>
                </a:ext>
              </a:extLst>
            </p:cNvPr>
            <p:cNvSpPr>
              <a:spLocks noChangeArrowheads="1"/>
            </p:cNvSpPr>
            <p:nvPr/>
          </p:nvSpPr>
          <p:spPr bwMode="auto">
            <a:xfrm>
              <a:off x="1931948" y="16862425"/>
              <a:ext cx="106363" cy="98425"/>
            </a:xfrm>
            <a:prstGeom prst="rect">
              <a:avLst/>
            </a:prstGeom>
            <a:solidFill>
              <a:schemeClr val="tx2">
                <a:lumMod val="50000"/>
                <a:lumOff val="50000"/>
              </a:schemeClr>
            </a:solidFill>
            <a:ln>
              <a:noFill/>
            </a:ln>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sp>
          <p:nvSpPr>
            <p:cNvPr id="132" name="Rectangle 131">
              <a:extLst>
                <a:ext uri="{FF2B5EF4-FFF2-40B4-BE49-F238E27FC236}">
                  <a16:creationId xmlns:a16="http://schemas.microsoft.com/office/drawing/2014/main" id="{B1AA6E25-2CAB-7740-A313-2D1AD175822F}"/>
                </a:ext>
              </a:extLst>
            </p:cNvPr>
            <p:cNvSpPr>
              <a:spLocks noChangeArrowheads="1"/>
            </p:cNvSpPr>
            <p:nvPr/>
          </p:nvSpPr>
          <p:spPr bwMode="auto">
            <a:xfrm>
              <a:off x="8091448" y="16862425"/>
              <a:ext cx="106363" cy="98425"/>
            </a:xfrm>
            <a:prstGeom prst="rect">
              <a:avLst/>
            </a:prstGeom>
            <a:solidFill>
              <a:schemeClr val="tx2">
                <a:lumMod val="50000"/>
                <a:lumOff val="50000"/>
              </a:schemeClr>
            </a:solidFill>
            <a:ln>
              <a:noFill/>
            </a:ln>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grpSp>
      <p:grpSp>
        <p:nvGrpSpPr>
          <p:cNvPr id="133" name="Group 132">
            <a:extLst>
              <a:ext uri="{FF2B5EF4-FFF2-40B4-BE49-F238E27FC236}">
                <a16:creationId xmlns:a16="http://schemas.microsoft.com/office/drawing/2014/main" id="{CDD05B96-9740-8044-8879-A3BA86B96719}"/>
              </a:ext>
            </a:extLst>
          </p:cNvPr>
          <p:cNvGrpSpPr/>
          <p:nvPr/>
        </p:nvGrpSpPr>
        <p:grpSpPr>
          <a:xfrm>
            <a:off x="2341911" y="1668798"/>
            <a:ext cx="2415249" cy="4808202"/>
            <a:chOff x="1882736" y="5503863"/>
            <a:chExt cx="6362700" cy="12666663"/>
          </a:xfrm>
        </p:grpSpPr>
        <p:sp>
          <p:nvSpPr>
            <p:cNvPr id="134" name="Freeform 133">
              <a:extLst>
                <a:ext uri="{FF2B5EF4-FFF2-40B4-BE49-F238E27FC236}">
                  <a16:creationId xmlns:a16="http://schemas.microsoft.com/office/drawing/2014/main" id="{B22B1169-CC48-3441-BDE5-027B2E554D2A}"/>
                </a:ext>
              </a:extLst>
            </p:cNvPr>
            <p:cNvSpPr>
              <a:spLocks noEditPoints="1"/>
            </p:cNvSpPr>
            <p:nvPr/>
          </p:nvSpPr>
          <p:spPr bwMode="auto">
            <a:xfrm>
              <a:off x="1882736" y="5503863"/>
              <a:ext cx="6362700" cy="12666663"/>
            </a:xfrm>
            <a:custGeom>
              <a:avLst/>
              <a:gdLst>
                <a:gd name="T0" fmla="*/ 1435 w 1440"/>
                <a:gd name="T1" fmla="*/ 659 h 2868"/>
                <a:gd name="T2" fmla="*/ 1429 w 1440"/>
                <a:gd name="T3" fmla="*/ 659 h 2868"/>
                <a:gd name="T4" fmla="*/ 1429 w 1440"/>
                <a:gd name="T5" fmla="*/ 221 h 2868"/>
                <a:gd name="T6" fmla="*/ 1209 w 1440"/>
                <a:gd name="T7" fmla="*/ 0 h 2868"/>
                <a:gd name="T8" fmla="*/ 232 w 1440"/>
                <a:gd name="T9" fmla="*/ 0 h 2868"/>
                <a:gd name="T10" fmla="*/ 11 w 1440"/>
                <a:gd name="T11" fmla="*/ 221 h 2868"/>
                <a:gd name="T12" fmla="*/ 11 w 1440"/>
                <a:gd name="T13" fmla="*/ 387 h 2868"/>
                <a:gd name="T14" fmla="*/ 4 w 1440"/>
                <a:gd name="T15" fmla="*/ 387 h 2868"/>
                <a:gd name="T16" fmla="*/ 0 w 1440"/>
                <a:gd name="T17" fmla="*/ 392 h 2868"/>
                <a:gd name="T18" fmla="*/ 0 w 1440"/>
                <a:gd name="T19" fmla="*/ 498 h 2868"/>
                <a:gd name="T20" fmla="*/ 4 w 1440"/>
                <a:gd name="T21" fmla="*/ 502 h 2868"/>
                <a:gd name="T22" fmla="*/ 11 w 1440"/>
                <a:gd name="T23" fmla="*/ 502 h 2868"/>
                <a:gd name="T24" fmla="*/ 11 w 1440"/>
                <a:gd name="T25" fmla="*/ 593 h 2868"/>
                <a:gd name="T26" fmla="*/ 4 w 1440"/>
                <a:gd name="T27" fmla="*/ 593 h 2868"/>
                <a:gd name="T28" fmla="*/ 0 w 1440"/>
                <a:gd name="T29" fmla="*/ 597 h 2868"/>
                <a:gd name="T30" fmla="*/ 0 w 1440"/>
                <a:gd name="T31" fmla="*/ 798 h 2868"/>
                <a:gd name="T32" fmla="*/ 4 w 1440"/>
                <a:gd name="T33" fmla="*/ 802 h 2868"/>
                <a:gd name="T34" fmla="*/ 11 w 1440"/>
                <a:gd name="T35" fmla="*/ 802 h 2868"/>
                <a:gd name="T36" fmla="*/ 11 w 1440"/>
                <a:gd name="T37" fmla="*/ 855 h 2868"/>
                <a:gd name="T38" fmla="*/ 4 w 1440"/>
                <a:gd name="T39" fmla="*/ 855 h 2868"/>
                <a:gd name="T40" fmla="*/ 0 w 1440"/>
                <a:gd name="T41" fmla="*/ 860 h 2868"/>
                <a:gd name="T42" fmla="*/ 0 w 1440"/>
                <a:gd name="T43" fmla="*/ 1061 h 2868"/>
                <a:gd name="T44" fmla="*/ 4 w 1440"/>
                <a:gd name="T45" fmla="*/ 1065 h 2868"/>
                <a:gd name="T46" fmla="*/ 11 w 1440"/>
                <a:gd name="T47" fmla="*/ 1065 h 2868"/>
                <a:gd name="T48" fmla="*/ 11 w 1440"/>
                <a:gd name="T49" fmla="*/ 2647 h 2868"/>
                <a:gd name="T50" fmla="*/ 232 w 1440"/>
                <a:gd name="T51" fmla="*/ 2868 h 2868"/>
                <a:gd name="T52" fmla="*/ 1209 w 1440"/>
                <a:gd name="T53" fmla="*/ 2868 h 2868"/>
                <a:gd name="T54" fmla="*/ 1429 w 1440"/>
                <a:gd name="T55" fmla="*/ 2647 h 2868"/>
                <a:gd name="T56" fmla="*/ 1429 w 1440"/>
                <a:gd name="T57" fmla="*/ 1001 h 2868"/>
                <a:gd name="T58" fmla="*/ 1435 w 1440"/>
                <a:gd name="T59" fmla="*/ 1001 h 2868"/>
                <a:gd name="T60" fmla="*/ 1440 w 1440"/>
                <a:gd name="T61" fmla="*/ 996 h 2868"/>
                <a:gd name="T62" fmla="*/ 1440 w 1440"/>
                <a:gd name="T63" fmla="*/ 664 h 2868"/>
                <a:gd name="T64" fmla="*/ 1435 w 1440"/>
                <a:gd name="T65" fmla="*/ 659 h 2868"/>
                <a:gd name="T66" fmla="*/ 1372 w 1440"/>
                <a:gd name="T67" fmla="*/ 2673 h 2868"/>
                <a:gd name="T68" fmla="*/ 1245 w 1440"/>
                <a:gd name="T69" fmla="*/ 2796 h 2868"/>
                <a:gd name="T70" fmla="*/ 203 w 1440"/>
                <a:gd name="T71" fmla="*/ 2796 h 2868"/>
                <a:gd name="T72" fmla="*/ 76 w 1440"/>
                <a:gd name="T73" fmla="*/ 2673 h 2868"/>
                <a:gd name="T74" fmla="*/ 76 w 1440"/>
                <a:gd name="T75" fmla="*/ 189 h 2868"/>
                <a:gd name="T76" fmla="*/ 203 w 1440"/>
                <a:gd name="T77" fmla="*/ 66 h 2868"/>
                <a:gd name="T78" fmla="*/ 342 w 1440"/>
                <a:gd name="T79" fmla="*/ 66 h 2868"/>
                <a:gd name="T80" fmla="*/ 342 w 1440"/>
                <a:gd name="T81" fmla="*/ 66 h 2868"/>
                <a:gd name="T82" fmla="*/ 343 w 1440"/>
                <a:gd name="T83" fmla="*/ 66 h 2868"/>
                <a:gd name="T84" fmla="*/ 357 w 1440"/>
                <a:gd name="T85" fmla="*/ 79 h 2868"/>
                <a:gd name="T86" fmla="*/ 357 w 1440"/>
                <a:gd name="T87" fmla="*/ 80 h 2868"/>
                <a:gd name="T88" fmla="*/ 375 w 1440"/>
                <a:gd name="T89" fmla="*/ 90 h 2868"/>
                <a:gd name="T90" fmla="*/ 387 w 1440"/>
                <a:gd name="T91" fmla="*/ 131 h 2868"/>
                <a:gd name="T92" fmla="*/ 382 w 1440"/>
                <a:gd name="T93" fmla="*/ 144 h 2868"/>
                <a:gd name="T94" fmla="*/ 440 w 1440"/>
                <a:gd name="T95" fmla="*/ 166 h 2868"/>
                <a:gd name="T96" fmla="*/ 1008 w 1440"/>
                <a:gd name="T97" fmla="*/ 166 h 2868"/>
                <a:gd name="T98" fmla="*/ 1044 w 1440"/>
                <a:gd name="T99" fmla="*/ 158 h 2868"/>
                <a:gd name="T100" fmla="*/ 1044 w 1440"/>
                <a:gd name="T101" fmla="*/ 139 h 2868"/>
                <a:gd name="T102" fmla="*/ 1068 w 1440"/>
                <a:gd name="T103" fmla="*/ 88 h 2868"/>
                <a:gd name="T104" fmla="*/ 1092 w 1440"/>
                <a:gd name="T105" fmla="*/ 74 h 2868"/>
                <a:gd name="T106" fmla="*/ 1105 w 1440"/>
                <a:gd name="T107" fmla="*/ 66 h 2868"/>
                <a:gd name="T108" fmla="*/ 1106 w 1440"/>
                <a:gd name="T109" fmla="*/ 66 h 2868"/>
                <a:gd name="T110" fmla="*/ 1106 w 1440"/>
                <a:gd name="T111" fmla="*/ 66 h 2868"/>
                <a:gd name="T112" fmla="*/ 1245 w 1440"/>
                <a:gd name="T113" fmla="*/ 66 h 2868"/>
                <a:gd name="T114" fmla="*/ 1372 w 1440"/>
                <a:gd name="T115" fmla="*/ 189 h 2868"/>
                <a:gd name="T116" fmla="*/ 1372 w 1440"/>
                <a:gd name="T117" fmla="*/ 2673 h 2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40" h="2868">
                  <a:moveTo>
                    <a:pt x="1435" y="659"/>
                  </a:moveTo>
                  <a:cubicBezTo>
                    <a:pt x="1429" y="659"/>
                    <a:pt x="1429" y="659"/>
                    <a:pt x="1429" y="659"/>
                  </a:cubicBezTo>
                  <a:cubicBezTo>
                    <a:pt x="1429" y="221"/>
                    <a:pt x="1429" y="221"/>
                    <a:pt x="1429" y="221"/>
                  </a:cubicBezTo>
                  <a:cubicBezTo>
                    <a:pt x="1429" y="99"/>
                    <a:pt x="1331" y="0"/>
                    <a:pt x="1209" y="0"/>
                  </a:cubicBezTo>
                  <a:cubicBezTo>
                    <a:pt x="232" y="0"/>
                    <a:pt x="232" y="0"/>
                    <a:pt x="232" y="0"/>
                  </a:cubicBezTo>
                  <a:cubicBezTo>
                    <a:pt x="110" y="0"/>
                    <a:pt x="11" y="99"/>
                    <a:pt x="11" y="221"/>
                  </a:cubicBezTo>
                  <a:cubicBezTo>
                    <a:pt x="11" y="387"/>
                    <a:pt x="11" y="387"/>
                    <a:pt x="11" y="387"/>
                  </a:cubicBezTo>
                  <a:cubicBezTo>
                    <a:pt x="4" y="387"/>
                    <a:pt x="4" y="387"/>
                    <a:pt x="4" y="387"/>
                  </a:cubicBezTo>
                  <a:cubicBezTo>
                    <a:pt x="2" y="387"/>
                    <a:pt x="0" y="389"/>
                    <a:pt x="0" y="392"/>
                  </a:cubicBezTo>
                  <a:cubicBezTo>
                    <a:pt x="0" y="498"/>
                    <a:pt x="0" y="498"/>
                    <a:pt x="0" y="498"/>
                  </a:cubicBezTo>
                  <a:cubicBezTo>
                    <a:pt x="0" y="500"/>
                    <a:pt x="2" y="502"/>
                    <a:pt x="4" y="502"/>
                  </a:cubicBezTo>
                  <a:cubicBezTo>
                    <a:pt x="11" y="502"/>
                    <a:pt x="11" y="502"/>
                    <a:pt x="11" y="502"/>
                  </a:cubicBezTo>
                  <a:cubicBezTo>
                    <a:pt x="11" y="593"/>
                    <a:pt x="11" y="593"/>
                    <a:pt x="11" y="593"/>
                  </a:cubicBezTo>
                  <a:cubicBezTo>
                    <a:pt x="4" y="593"/>
                    <a:pt x="4" y="593"/>
                    <a:pt x="4" y="593"/>
                  </a:cubicBezTo>
                  <a:cubicBezTo>
                    <a:pt x="2" y="593"/>
                    <a:pt x="0" y="595"/>
                    <a:pt x="0" y="597"/>
                  </a:cubicBezTo>
                  <a:cubicBezTo>
                    <a:pt x="0" y="798"/>
                    <a:pt x="0" y="798"/>
                    <a:pt x="0" y="798"/>
                  </a:cubicBezTo>
                  <a:cubicBezTo>
                    <a:pt x="0" y="801"/>
                    <a:pt x="2" y="802"/>
                    <a:pt x="4" y="802"/>
                  </a:cubicBezTo>
                  <a:cubicBezTo>
                    <a:pt x="11" y="802"/>
                    <a:pt x="11" y="802"/>
                    <a:pt x="11" y="802"/>
                  </a:cubicBezTo>
                  <a:cubicBezTo>
                    <a:pt x="11" y="855"/>
                    <a:pt x="11" y="855"/>
                    <a:pt x="11" y="855"/>
                  </a:cubicBezTo>
                  <a:cubicBezTo>
                    <a:pt x="4" y="855"/>
                    <a:pt x="4" y="855"/>
                    <a:pt x="4" y="855"/>
                  </a:cubicBezTo>
                  <a:cubicBezTo>
                    <a:pt x="2" y="855"/>
                    <a:pt x="0" y="857"/>
                    <a:pt x="0" y="860"/>
                  </a:cubicBezTo>
                  <a:cubicBezTo>
                    <a:pt x="0" y="1061"/>
                    <a:pt x="0" y="1061"/>
                    <a:pt x="0" y="1061"/>
                  </a:cubicBezTo>
                  <a:cubicBezTo>
                    <a:pt x="0" y="1063"/>
                    <a:pt x="2" y="1065"/>
                    <a:pt x="4" y="1065"/>
                  </a:cubicBezTo>
                  <a:cubicBezTo>
                    <a:pt x="11" y="1065"/>
                    <a:pt x="11" y="1065"/>
                    <a:pt x="11" y="1065"/>
                  </a:cubicBezTo>
                  <a:cubicBezTo>
                    <a:pt x="11" y="2647"/>
                    <a:pt x="11" y="2647"/>
                    <a:pt x="11" y="2647"/>
                  </a:cubicBezTo>
                  <a:cubicBezTo>
                    <a:pt x="11" y="2769"/>
                    <a:pt x="110" y="2868"/>
                    <a:pt x="232" y="2868"/>
                  </a:cubicBezTo>
                  <a:cubicBezTo>
                    <a:pt x="1209" y="2868"/>
                    <a:pt x="1209" y="2868"/>
                    <a:pt x="1209" y="2868"/>
                  </a:cubicBezTo>
                  <a:cubicBezTo>
                    <a:pt x="1331" y="2868"/>
                    <a:pt x="1429" y="2769"/>
                    <a:pt x="1429" y="2647"/>
                  </a:cubicBezTo>
                  <a:cubicBezTo>
                    <a:pt x="1429" y="1001"/>
                    <a:pt x="1429" y="1001"/>
                    <a:pt x="1429" y="1001"/>
                  </a:cubicBezTo>
                  <a:cubicBezTo>
                    <a:pt x="1435" y="1001"/>
                    <a:pt x="1435" y="1001"/>
                    <a:pt x="1435" y="1001"/>
                  </a:cubicBezTo>
                  <a:cubicBezTo>
                    <a:pt x="1438" y="1001"/>
                    <a:pt x="1440" y="999"/>
                    <a:pt x="1440" y="996"/>
                  </a:cubicBezTo>
                  <a:cubicBezTo>
                    <a:pt x="1440" y="664"/>
                    <a:pt x="1440" y="664"/>
                    <a:pt x="1440" y="664"/>
                  </a:cubicBezTo>
                  <a:cubicBezTo>
                    <a:pt x="1440" y="661"/>
                    <a:pt x="1438" y="659"/>
                    <a:pt x="1435" y="659"/>
                  </a:cubicBezTo>
                  <a:close/>
                  <a:moveTo>
                    <a:pt x="1372" y="2673"/>
                  </a:moveTo>
                  <a:cubicBezTo>
                    <a:pt x="1372" y="2741"/>
                    <a:pt x="1315" y="2796"/>
                    <a:pt x="1245" y="2796"/>
                  </a:cubicBezTo>
                  <a:cubicBezTo>
                    <a:pt x="203" y="2796"/>
                    <a:pt x="203" y="2796"/>
                    <a:pt x="203" y="2796"/>
                  </a:cubicBezTo>
                  <a:cubicBezTo>
                    <a:pt x="133" y="2796"/>
                    <a:pt x="76" y="2741"/>
                    <a:pt x="76" y="2673"/>
                  </a:cubicBezTo>
                  <a:cubicBezTo>
                    <a:pt x="76" y="189"/>
                    <a:pt x="76" y="189"/>
                    <a:pt x="76" y="189"/>
                  </a:cubicBezTo>
                  <a:cubicBezTo>
                    <a:pt x="76" y="121"/>
                    <a:pt x="133" y="66"/>
                    <a:pt x="203" y="66"/>
                  </a:cubicBezTo>
                  <a:cubicBezTo>
                    <a:pt x="342" y="66"/>
                    <a:pt x="342" y="66"/>
                    <a:pt x="342" y="66"/>
                  </a:cubicBezTo>
                  <a:cubicBezTo>
                    <a:pt x="342" y="66"/>
                    <a:pt x="342" y="66"/>
                    <a:pt x="342" y="66"/>
                  </a:cubicBezTo>
                  <a:cubicBezTo>
                    <a:pt x="342" y="66"/>
                    <a:pt x="343" y="66"/>
                    <a:pt x="343" y="66"/>
                  </a:cubicBezTo>
                  <a:cubicBezTo>
                    <a:pt x="351" y="66"/>
                    <a:pt x="357" y="72"/>
                    <a:pt x="357" y="79"/>
                  </a:cubicBezTo>
                  <a:cubicBezTo>
                    <a:pt x="357" y="80"/>
                    <a:pt x="357" y="80"/>
                    <a:pt x="357" y="80"/>
                  </a:cubicBezTo>
                  <a:cubicBezTo>
                    <a:pt x="364" y="80"/>
                    <a:pt x="371" y="84"/>
                    <a:pt x="375" y="90"/>
                  </a:cubicBezTo>
                  <a:cubicBezTo>
                    <a:pt x="383" y="102"/>
                    <a:pt x="387" y="117"/>
                    <a:pt x="387" y="131"/>
                  </a:cubicBezTo>
                  <a:cubicBezTo>
                    <a:pt x="387" y="136"/>
                    <a:pt x="385" y="140"/>
                    <a:pt x="382" y="144"/>
                  </a:cubicBezTo>
                  <a:cubicBezTo>
                    <a:pt x="397" y="158"/>
                    <a:pt x="418" y="166"/>
                    <a:pt x="440" y="166"/>
                  </a:cubicBezTo>
                  <a:cubicBezTo>
                    <a:pt x="1008" y="166"/>
                    <a:pt x="1008" y="166"/>
                    <a:pt x="1008" y="166"/>
                  </a:cubicBezTo>
                  <a:cubicBezTo>
                    <a:pt x="1021" y="166"/>
                    <a:pt x="1033" y="164"/>
                    <a:pt x="1044" y="158"/>
                  </a:cubicBezTo>
                  <a:cubicBezTo>
                    <a:pt x="1041" y="153"/>
                    <a:pt x="1040" y="146"/>
                    <a:pt x="1044" y="139"/>
                  </a:cubicBezTo>
                  <a:cubicBezTo>
                    <a:pt x="1053" y="122"/>
                    <a:pt x="1061" y="105"/>
                    <a:pt x="1068" y="88"/>
                  </a:cubicBezTo>
                  <a:cubicBezTo>
                    <a:pt x="1072" y="78"/>
                    <a:pt x="1081" y="71"/>
                    <a:pt x="1092" y="74"/>
                  </a:cubicBezTo>
                  <a:cubicBezTo>
                    <a:pt x="1094" y="69"/>
                    <a:pt x="1099" y="66"/>
                    <a:pt x="1105" y="66"/>
                  </a:cubicBezTo>
                  <a:cubicBezTo>
                    <a:pt x="1105" y="66"/>
                    <a:pt x="1106" y="66"/>
                    <a:pt x="1106" y="66"/>
                  </a:cubicBezTo>
                  <a:cubicBezTo>
                    <a:pt x="1106" y="66"/>
                    <a:pt x="1106" y="66"/>
                    <a:pt x="1106" y="66"/>
                  </a:cubicBezTo>
                  <a:cubicBezTo>
                    <a:pt x="1245" y="66"/>
                    <a:pt x="1245" y="66"/>
                    <a:pt x="1245" y="66"/>
                  </a:cubicBezTo>
                  <a:cubicBezTo>
                    <a:pt x="1315" y="66"/>
                    <a:pt x="1372" y="121"/>
                    <a:pt x="1372" y="189"/>
                  </a:cubicBezTo>
                  <a:lnTo>
                    <a:pt x="1372" y="2673"/>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sp>
          <p:nvSpPr>
            <p:cNvPr id="135" name="Freeform 134">
              <a:extLst>
                <a:ext uri="{FF2B5EF4-FFF2-40B4-BE49-F238E27FC236}">
                  <a16:creationId xmlns:a16="http://schemas.microsoft.com/office/drawing/2014/main" id="{7B9C6532-A29C-1341-98B8-88FE57D59D8E}"/>
                </a:ext>
              </a:extLst>
            </p:cNvPr>
            <p:cNvSpPr>
              <a:spLocks noEditPoints="1"/>
            </p:cNvSpPr>
            <p:nvPr/>
          </p:nvSpPr>
          <p:spPr bwMode="auto">
            <a:xfrm>
              <a:off x="2038311" y="5610225"/>
              <a:ext cx="6053138" cy="12449175"/>
            </a:xfrm>
            <a:custGeom>
              <a:avLst/>
              <a:gdLst>
                <a:gd name="T0" fmla="*/ 1171 w 1370"/>
                <a:gd name="T1" fmla="*/ 0 h 2819"/>
                <a:gd name="T2" fmla="*/ 199 w 1370"/>
                <a:gd name="T3" fmla="*/ 0 h 2819"/>
                <a:gd name="T4" fmla="*/ 0 w 1370"/>
                <a:gd name="T5" fmla="*/ 199 h 2819"/>
                <a:gd name="T6" fmla="*/ 0 w 1370"/>
                <a:gd name="T7" fmla="*/ 2621 h 2819"/>
                <a:gd name="T8" fmla="*/ 199 w 1370"/>
                <a:gd name="T9" fmla="*/ 2819 h 2819"/>
                <a:gd name="T10" fmla="*/ 1171 w 1370"/>
                <a:gd name="T11" fmla="*/ 2819 h 2819"/>
                <a:gd name="T12" fmla="*/ 1370 w 1370"/>
                <a:gd name="T13" fmla="*/ 2621 h 2819"/>
                <a:gd name="T14" fmla="*/ 1370 w 1370"/>
                <a:gd name="T15" fmla="*/ 199 h 2819"/>
                <a:gd name="T16" fmla="*/ 1171 w 1370"/>
                <a:gd name="T17" fmla="*/ 0 h 2819"/>
                <a:gd name="T18" fmla="*/ 1306 w 1370"/>
                <a:gd name="T19" fmla="*/ 2633 h 2819"/>
                <a:gd name="T20" fmla="*/ 1185 w 1370"/>
                <a:gd name="T21" fmla="*/ 2754 h 2819"/>
                <a:gd name="T22" fmla="*/ 186 w 1370"/>
                <a:gd name="T23" fmla="*/ 2754 h 2819"/>
                <a:gd name="T24" fmla="*/ 64 w 1370"/>
                <a:gd name="T25" fmla="*/ 2633 h 2819"/>
                <a:gd name="T26" fmla="*/ 64 w 1370"/>
                <a:gd name="T27" fmla="*/ 187 h 2819"/>
                <a:gd name="T28" fmla="*/ 186 w 1370"/>
                <a:gd name="T29" fmla="*/ 65 h 2819"/>
                <a:gd name="T30" fmla="*/ 319 w 1370"/>
                <a:gd name="T31" fmla="*/ 65 h 2819"/>
                <a:gd name="T32" fmla="*/ 319 w 1370"/>
                <a:gd name="T33" fmla="*/ 65 h 2819"/>
                <a:gd name="T34" fmla="*/ 320 w 1370"/>
                <a:gd name="T35" fmla="*/ 65 h 2819"/>
                <a:gd name="T36" fmla="*/ 334 w 1370"/>
                <a:gd name="T37" fmla="*/ 79 h 2819"/>
                <a:gd name="T38" fmla="*/ 334 w 1370"/>
                <a:gd name="T39" fmla="*/ 79 h 2819"/>
                <a:gd name="T40" fmla="*/ 334 w 1370"/>
                <a:gd name="T41" fmla="*/ 80 h 2819"/>
                <a:gd name="T42" fmla="*/ 334 w 1370"/>
                <a:gd name="T43" fmla="*/ 85 h 2819"/>
                <a:gd name="T44" fmla="*/ 413 w 1370"/>
                <a:gd name="T45" fmla="*/ 165 h 2819"/>
                <a:gd name="T46" fmla="*/ 957 w 1370"/>
                <a:gd name="T47" fmla="*/ 165 h 2819"/>
                <a:gd name="T48" fmla="*/ 1037 w 1370"/>
                <a:gd name="T49" fmla="*/ 85 h 2819"/>
                <a:gd name="T50" fmla="*/ 1037 w 1370"/>
                <a:gd name="T51" fmla="*/ 80 h 2819"/>
                <a:gd name="T52" fmla="*/ 1037 w 1370"/>
                <a:gd name="T53" fmla="*/ 79 h 2819"/>
                <a:gd name="T54" fmla="*/ 1050 w 1370"/>
                <a:gd name="T55" fmla="*/ 65 h 2819"/>
                <a:gd name="T56" fmla="*/ 1051 w 1370"/>
                <a:gd name="T57" fmla="*/ 65 h 2819"/>
                <a:gd name="T58" fmla="*/ 1051 w 1370"/>
                <a:gd name="T59" fmla="*/ 65 h 2819"/>
                <a:gd name="T60" fmla="*/ 1185 w 1370"/>
                <a:gd name="T61" fmla="*/ 65 h 2819"/>
                <a:gd name="T62" fmla="*/ 1306 w 1370"/>
                <a:gd name="T63" fmla="*/ 187 h 2819"/>
                <a:gd name="T64" fmla="*/ 1306 w 1370"/>
                <a:gd name="T65" fmla="*/ 2633 h 2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0" h="2819">
                  <a:moveTo>
                    <a:pt x="1171" y="0"/>
                  </a:moveTo>
                  <a:cubicBezTo>
                    <a:pt x="199" y="0"/>
                    <a:pt x="199" y="0"/>
                    <a:pt x="199" y="0"/>
                  </a:cubicBezTo>
                  <a:cubicBezTo>
                    <a:pt x="89" y="0"/>
                    <a:pt x="0" y="89"/>
                    <a:pt x="0" y="199"/>
                  </a:cubicBezTo>
                  <a:cubicBezTo>
                    <a:pt x="0" y="2621"/>
                    <a:pt x="0" y="2621"/>
                    <a:pt x="0" y="2621"/>
                  </a:cubicBezTo>
                  <a:cubicBezTo>
                    <a:pt x="0" y="2730"/>
                    <a:pt x="89" y="2819"/>
                    <a:pt x="199" y="2819"/>
                  </a:cubicBezTo>
                  <a:cubicBezTo>
                    <a:pt x="1171" y="2819"/>
                    <a:pt x="1171" y="2819"/>
                    <a:pt x="1171" y="2819"/>
                  </a:cubicBezTo>
                  <a:cubicBezTo>
                    <a:pt x="1281" y="2819"/>
                    <a:pt x="1370" y="2730"/>
                    <a:pt x="1370" y="2621"/>
                  </a:cubicBezTo>
                  <a:cubicBezTo>
                    <a:pt x="1370" y="199"/>
                    <a:pt x="1370" y="199"/>
                    <a:pt x="1370" y="199"/>
                  </a:cubicBezTo>
                  <a:cubicBezTo>
                    <a:pt x="1370" y="89"/>
                    <a:pt x="1281" y="0"/>
                    <a:pt x="1171" y="0"/>
                  </a:cubicBezTo>
                  <a:close/>
                  <a:moveTo>
                    <a:pt x="1306" y="2633"/>
                  </a:moveTo>
                  <a:cubicBezTo>
                    <a:pt x="1306" y="2700"/>
                    <a:pt x="1252" y="2754"/>
                    <a:pt x="1185" y="2754"/>
                  </a:cubicBezTo>
                  <a:cubicBezTo>
                    <a:pt x="186" y="2754"/>
                    <a:pt x="186" y="2754"/>
                    <a:pt x="186" y="2754"/>
                  </a:cubicBezTo>
                  <a:cubicBezTo>
                    <a:pt x="119" y="2754"/>
                    <a:pt x="64" y="2700"/>
                    <a:pt x="64" y="2633"/>
                  </a:cubicBezTo>
                  <a:cubicBezTo>
                    <a:pt x="64" y="187"/>
                    <a:pt x="64" y="187"/>
                    <a:pt x="64" y="187"/>
                  </a:cubicBezTo>
                  <a:cubicBezTo>
                    <a:pt x="64" y="120"/>
                    <a:pt x="119" y="65"/>
                    <a:pt x="186" y="65"/>
                  </a:cubicBezTo>
                  <a:cubicBezTo>
                    <a:pt x="319" y="65"/>
                    <a:pt x="319" y="65"/>
                    <a:pt x="319" y="65"/>
                  </a:cubicBezTo>
                  <a:cubicBezTo>
                    <a:pt x="319" y="65"/>
                    <a:pt x="319" y="65"/>
                    <a:pt x="319" y="65"/>
                  </a:cubicBezTo>
                  <a:cubicBezTo>
                    <a:pt x="320" y="65"/>
                    <a:pt x="320" y="65"/>
                    <a:pt x="320" y="65"/>
                  </a:cubicBezTo>
                  <a:cubicBezTo>
                    <a:pt x="328" y="65"/>
                    <a:pt x="334" y="71"/>
                    <a:pt x="334" y="79"/>
                  </a:cubicBezTo>
                  <a:cubicBezTo>
                    <a:pt x="334" y="79"/>
                    <a:pt x="334" y="79"/>
                    <a:pt x="334" y="79"/>
                  </a:cubicBezTo>
                  <a:cubicBezTo>
                    <a:pt x="334" y="80"/>
                    <a:pt x="334" y="80"/>
                    <a:pt x="334" y="80"/>
                  </a:cubicBezTo>
                  <a:cubicBezTo>
                    <a:pt x="334" y="85"/>
                    <a:pt x="334" y="85"/>
                    <a:pt x="334" y="85"/>
                  </a:cubicBezTo>
                  <a:cubicBezTo>
                    <a:pt x="334" y="129"/>
                    <a:pt x="369" y="165"/>
                    <a:pt x="413" y="165"/>
                  </a:cubicBezTo>
                  <a:cubicBezTo>
                    <a:pt x="957" y="165"/>
                    <a:pt x="957" y="165"/>
                    <a:pt x="957" y="165"/>
                  </a:cubicBezTo>
                  <a:cubicBezTo>
                    <a:pt x="1001" y="165"/>
                    <a:pt x="1037" y="129"/>
                    <a:pt x="1037" y="85"/>
                  </a:cubicBezTo>
                  <a:cubicBezTo>
                    <a:pt x="1037" y="80"/>
                    <a:pt x="1037" y="80"/>
                    <a:pt x="1037" y="80"/>
                  </a:cubicBezTo>
                  <a:cubicBezTo>
                    <a:pt x="1037" y="79"/>
                    <a:pt x="1037" y="79"/>
                    <a:pt x="1037" y="79"/>
                  </a:cubicBezTo>
                  <a:cubicBezTo>
                    <a:pt x="1037" y="71"/>
                    <a:pt x="1043" y="65"/>
                    <a:pt x="1050" y="65"/>
                  </a:cubicBezTo>
                  <a:cubicBezTo>
                    <a:pt x="1050" y="65"/>
                    <a:pt x="1051" y="65"/>
                    <a:pt x="1051" y="65"/>
                  </a:cubicBezTo>
                  <a:cubicBezTo>
                    <a:pt x="1051" y="65"/>
                    <a:pt x="1051" y="65"/>
                    <a:pt x="1051" y="65"/>
                  </a:cubicBezTo>
                  <a:cubicBezTo>
                    <a:pt x="1185" y="65"/>
                    <a:pt x="1185" y="65"/>
                    <a:pt x="1185" y="65"/>
                  </a:cubicBezTo>
                  <a:cubicBezTo>
                    <a:pt x="1252" y="65"/>
                    <a:pt x="1306" y="120"/>
                    <a:pt x="1306" y="187"/>
                  </a:cubicBezTo>
                  <a:lnTo>
                    <a:pt x="1306" y="26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sp>
          <p:nvSpPr>
            <p:cNvPr id="136" name="Freeform 135">
              <a:extLst>
                <a:ext uri="{FF2B5EF4-FFF2-40B4-BE49-F238E27FC236}">
                  <a16:creationId xmlns:a16="http://schemas.microsoft.com/office/drawing/2014/main" id="{D07C7613-7A7A-C84C-AA7D-646039087330}"/>
                </a:ext>
              </a:extLst>
            </p:cNvPr>
            <p:cNvSpPr>
              <a:spLocks noEditPoints="1"/>
            </p:cNvSpPr>
            <p:nvPr/>
          </p:nvSpPr>
          <p:spPr bwMode="auto">
            <a:xfrm>
              <a:off x="4362411" y="5932488"/>
              <a:ext cx="1511300" cy="193675"/>
            </a:xfrm>
            <a:custGeom>
              <a:avLst/>
              <a:gdLst>
                <a:gd name="T0" fmla="*/ 13 w 342"/>
                <a:gd name="T1" fmla="*/ 9 h 44"/>
                <a:gd name="T2" fmla="*/ 0 w 342"/>
                <a:gd name="T3" fmla="*/ 22 h 44"/>
                <a:gd name="T4" fmla="*/ 13 w 342"/>
                <a:gd name="T5" fmla="*/ 35 h 44"/>
                <a:gd name="T6" fmla="*/ 26 w 342"/>
                <a:gd name="T7" fmla="*/ 22 h 44"/>
                <a:gd name="T8" fmla="*/ 13 w 342"/>
                <a:gd name="T9" fmla="*/ 9 h 44"/>
                <a:gd name="T10" fmla="*/ 234 w 342"/>
                <a:gd name="T11" fmla="*/ 13 h 44"/>
                <a:gd name="T12" fmla="*/ 86 w 342"/>
                <a:gd name="T13" fmla="*/ 13 h 44"/>
                <a:gd name="T14" fmla="*/ 77 w 342"/>
                <a:gd name="T15" fmla="*/ 22 h 44"/>
                <a:gd name="T16" fmla="*/ 86 w 342"/>
                <a:gd name="T17" fmla="*/ 31 h 44"/>
                <a:gd name="T18" fmla="*/ 234 w 342"/>
                <a:gd name="T19" fmla="*/ 31 h 44"/>
                <a:gd name="T20" fmla="*/ 243 w 342"/>
                <a:gd name="T21" fmla="*/ 22 h 44"/>
                <a:gd name="T22" fmla="*/ 234 w 342"/>
                <a:gd name="T23" fmla="*/ 13 h 44"/>
                <a:gd name="T24" fmla="*/ 320 w 342"/>
                <a:gd name="T25" fmla="*/ 0 h 44"/>
                <a:gd name="T26" fmla="*/ 298 w 342"/>
                <a:gd name="T27" fmla="*/ 22 h 44"/>
                <a:gd name="T28" fmla="*/ 320 w 342"/>
                <a:gd name="T29" fmla="*/ 44 h 44"/>
                <a:gd name="T30" fmla="*/ 342 w 342"/>
                <a:gd name="T31" fmla="*/ 22 h 44"/>
                <a:gd name="T32" fmla="*/ 320 w 342"/>
                <a:gd name="T3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2" h="44">
                  <a:moveTo>
                    <a:pt x="13" y="9"/>
                  </a:moveTo>
                  <a:cubicBezTo>
                    <a:pt x="6" y="9"/>
                    <a:pt x="0" y="15"/>
                    <a:pt x="0" y="22"/>
                  </a:cubicBezTo>
                  <a:cubicBezTo>
                    <a:pt x="0" y="30"/>
                    <a:pt x="6" y="35"/>
                    <a:pt x="13" y="35"/>
                  </a:cubicBezTo>
                  <a:cubicBezTo>
                    <a:pt x="20" y="35"/>
                    <a:pt x="26" y="30"/>
                    <a:pt x="26" y="22"/>
                  </a:cubicBezTo>
                  <a:cubicBezTo>
                    <a:pt x="26" y="15"/>
                    <a:pt x="20" y="9"/>
                    <a:pt x="13" y="9"/>
                  </a:cubicBezTo>
                  <a:close/>
                  <a:moveTo>
                    <a:pt x="234" y="13"/>
                  </a:moveTo>
                  <a:cubicBezTo>
                    <a:pt x="86" y="13"/>
                    <a:pt x="86" y="13"/>
                    <a:pt x="86" y="13"/>
                  </a:cubicBezTo>
                  <a:cubicBezTo>
                    <a:pt x="81" y="13"/>
                    <a:pt x="77" y="17"/>
                    <a:pt x="77" y="22"/>
                  </a:cubicBezTo>
                  <a:cubicBezTo>
                    <a:pt x="77" y="27"/>
                    <a:pt x="81" y="31"/>
                    <a:pt x="86" y="31"/>
                  </a:cubicBezTo>
                  <a:cubicBezTo>
                    <a:pt x="234" y="31"/>
                    <a:pt x="234" y="31"/>
                    <a:pt x="234" y="31"/>
                  </a:cubicBezTo>
                  <a:cubicBezTo>
                    <a:pt x="239" y="31"/>
                    <a:pt x="243" y="27"/>
                    <a:pt x="243" y="22"/>
                  </a:cubicBezTo>
                  <a:cubicBezTo>
                    <a:pt x="243" y="17"/>
                    <a:pt x="239" y="13"/>
                    <a:pt x="234" y="13"/>
                  </a:cubicBezTo>
                  <a:close/>
                  <a:moveTo>
                    <a:pt x="320" y="0"/>
                  </a:moveTo>
                  <a:cubicBezTo>
                    <a:pt x="308" y="0"/>
                    <a:pt x="298" y="10"/>
                    <a:pt x="298" y="22"/>
                  </a:cubicBezTo>
                  <a:cubicBezTo>
                    <a:pt x="298" y="34"/>
                    <a:pt x="308" y="44"/>
                    <a:pt x="320" y="44"/>
                  </a:cubicBezTo>
                  <a:cubicBezTo>
                    <a:pt x="332" y="44"/>
                    <a:pt x="342" y="34"/>
                    <a:pt x="342" y="22"/>
                  </a:cubicBezTo>
                  <a:cubicBezTo>
                    <a:pt x="342" y="10"/>
                    <a:pt x="332" y="0"/>
                    <a:pt x="320" y="0"/>
                  </a:cubicBezTo>
                  <a:close/>
                </a:path>
              </a:pathLst>
            </a:custGeom>
            <a:solidFill>
              <a:schemeClr val="tx2">
                <a:lumMod val="50000"/>
                <a:lumOff val="50000"/>
              </a:schemeClr>
            </a:solidFill>
            <a:ln>
              <a:noFill/>
            </a:ln>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sp>
          <p:nvSpPr>
            <p:cNvPr id="137" name="Rectangle 136">
              <a:extLst>
                <a:ext uri="{FF2B5EF4-FFF2-40B4-BE49-F238E27FC236}">
                  <a16:creationId xmlns:a16="http://schemas.microsoft.com/office/drawing/2014/main" id="{54974E36-0B42-E444-B0F4-3D95A58E72DF}"/>
                </a:ext>
              </a:extLst>
            </p:cNvPr>
            <p:cNvSpPr>
              <a:spLocks noChangeArrowheads="1"/>
            </p:cNvSpPr>
            <p:nvPr/>
          </p:nvSpPr>
          <p:spPr bwMode="auto">
            <a:xfrm>
              <a:off x="1931948" y="6723063"/>
              <a:ext cx="106363" cy="96838"/>
            </a:xfrm>
            <a:prstGeom prst="rect">
              <a:avLst/>
            </a:prstGeom>
            <a:solidFill>
              <a:schemeClr val="tx2">
                <a:lumMod val="50000"/>
                <a:lumOff val="50000"/>
              </a:schemeClr>
            </a:solidFill>
            <a:ln>
              <a:noFill/>
            </a:ln>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sp>
          <p:nvSpPr>
            <p:cNvPr id="138" name="Rectangle 137">
              <a:extLst>
                <a:ext uri="{FF2B5EF4-FFF2-40B4-BE49-F238E27FC236}">
                  <a16:creationId xmlns:a16="http://schemas.microsoft.com/office/drawing/2014/main" id="{415EE190-6496-A846-B006-BC871A4D46A4}"/>
                </a:ext>
              </a:extLst>
            </p:cNvPr>
            <p:cNvSpPr>
              <a:spLocks noChangeArrowheads="1"/>
            </p:cNvSpPr>
            <p:nvPr/>
          </p:nvSpPr>
          <p:spPr bwMode="auto">
            <a:xfrm>
              <a:off x="8091448" y="6723063"/>
              <a:ext cx="106363" cy="96838"/>
            </a:xfrm>
            <a:prstGeom prst="rect">
              <a:avLst/>
            </a:prstGeom>
            <a:solidFill>
              <a:schemeClr val="tx2">
                <a:lumMod val="50000"/>
                <a:lumOff val="50000"/>
              </a:schemeClr>
            </a:solidFill>
            <a:ln>
              <a:noFill/>
            </a:ln>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sp>
          <p:nvSpPr>
            <p:cNvPr id="139" name="Rectangle 138">
              <a:extLst>
                <a:ext uri="{FF2B5EF4-FFF2-40B4-BE49-F238E27FC236}">
                  <a16:creationId xmlns:a16="http://schemas.microsoft.com/office/drawing/2014/main" id="{20F22808-BE43-7E42-8DD3-CCF5A62E74B5}"/>
                </a:ext>
              </a:extLst>
            </p:cNvPr>
            <p:cNvSpPr>
              <a:spLocks noChangeArrowheads="1"/>
            </p:cNvSpPr>
            <p:nvPr/>
          </p:nvSpPr>
          <p:spPr bwMode="auto">
            <a:xfrm>
              <a:off x="1931948" y="16862425"/>
              <a:ext cx="106363" cy="98425"/>
            </a:xfrm>
            <a:prstGeom prst="rect">
              <a:avLst/>
            </a:prstGeom>
            <a:solidFill>
              <a:schemeClr val="tx2">
                <a:lumMod val="50000"/>
                <a:lumOff val="50000"/>
              </a:schemeClr>
            </a:solidFill>
            <a:ln>
              <a:noFill/>
            </a:ln>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sp>
          <p:nvSpPr>
            <p:cNvPr id="140" name="Rectangle 139">
              <a:extLst>
                <a:ext uri="{FF2B5EF4-FFF2-40B4-BE49-F238E27FC236}">
                  <a16:creationId xmlns:a16="http://schemas.microsoft.com/office/drawing/2014/main" id="{C978BA97-A1FB-934C-B2A1-EF1C0816A015}"/>
                </a:ext>
              </a:extLst>
            </p:cNvPr>
            <p:cNvSpPr>
              <a:spLocks noChangeArrowheads="1"/>
            </p:cNvSpPr>
            <p:nvPr/>
          </p:nvSpPr>
          <p:spPr bwMode="auto">
            <a:xfrm>
              <a:off x="8091448" y="16862425"/>
              <a:ext cx="106363" cy="98425"/>
            </a:xfrm>
            <a:prstGeom prst="rect">
              <a:avLst/>
            </a:prstGeom>
            <a:solidFill>
              <a:schemeClr val="tx2">
                <a:lumMod val="50000"/>
                <a:lumOff val="50000"/>
              </a:schemeClr>
            </a:solidFill>
            <a:ln>
              <a:noFill/>
            </a:ln>
          </p:spPr>
          <p:txBody>
            <a:bodyPr vert="horz" wrap="square" lIns="45702" tIns="22851" rIns="45702" bIns="22851" numCol="1" anchor="t" anchorCtr="0" compatLnSpc="1">
              <a:prstTxWarp prst="textNoShape">
                <a:avLst/>
              </a:prstTxWarp>
            </a:bodyPr>
            <a:lstStyle/>
            <a:p>
              <a:endParaRPr lang="en-US" dirty="0">
                <a:latin typeface="Nunito Sans ExtraLight" pitchFamily="2" charset="77"/>
              </a:endParaRPr>
            </a:p>
          </p:txBody>
        </p:sp>
      </p:grpSp>
      <p:sp>
        <p:nvSpPr>
          <p:cNvPr id="40" name="Titel 1">
            <a:extLst>
              <a:ext uri="{FF2B5EF4-FFF2-40B4-BE49-F238E27FC236}">
                <a16:creationId xmlns:a16="http://schemas.microsoft.com/office/drawing/2014/main" id="{CAACDA8E-D440-4337-AA35-DA3F6C0643C3}"/>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Mobile devices</a:t>
            </a:r>
          </a:p>
        </p:txBody>
      </p:sp>
    </p:spTree>
    <p:custDataLst>
      <p:tags r:id="rId1"/>
    </p:custDataLst>
    <p:extLst>
      <p:ext uri="{BB962C8B-B14F-4D97-AF65-F5344CB8AC3E}">
        <p14:creationId xmlns:p14="http://schemas.microsoft.com/office/powerpoint/2010/main" val="4084226288"/>
      </p:ext>
    </p:extLst>
  </p:cSld>
  <p:clrMapOvr>
    <a:masterClrMapping/>
  </p:clrMapOvr>
  <mc:AlternateContent xmlns:mc="http://schemas.openxmlformats.org/markup-compatibility/2006" xmlns:p14="http://schemas.microsoft.com/office/powerpoint/2010/main">
    <mc:Choice Requires="p14">
      <p:transition spd="med">
        <p14:pan/>
      </p:transition>
    </mc:Choice>
    <mc:Fallback xmlns:a14="http://schemas.microsoft.com/office/drawing/2010/main"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58693BE-593F-C447-A31F-F28F63764E2E}"/>
              </a:ext>
            </a:extLst>
          </p:cNvPr>
          <p:cNvGrpSpPr/>
          <p:nvPr/>
        </p:nvGrpSpPr>
        <p:grpSpPr>
          <a:xfrm>
            <a:off x="4212273" y="2092297"/>
            <a:ext cx="3767455" cy="3938327"/>
            <a:chOff x="7669632" y="1854915"/>
            <a:chExt cx="8905242" cy="9309138"/>
          </a:xfrm>
        </p:grpSpPr>
        <p:sp>
          <p:nvSpPr>
            <p:cNvPr id="5" name="Freeform 2">
              <a:extLst>
                <a:ext uri="{FF2B5EF4-FFF2-40B4-BE49-F238E27FC236}">
                  <a16:creationId xmlns:a16="http://schemas.microsoft.com/office/drawing/2014/main" id="{578B766F-D8E4-5A47-979F-981B470477D4}"/>
                </a:ext>
              </a:extLst>
            </p:cNvPr>
            <p:cNvSpPr>
              <a:spLocks noChangeArrowheads="1"/>
            </p:cNvSpPr>
            <p:nvPr/>
          </p:nvSpPr>
          <p:spPr bwMode="auto">
            <a:xfrm>
              <a:off x="7686914" y="6235857"/>
              <a:ext cx="8591943" cy="4928196"/>
            </a:xfrm>
            <a:custGeom>
              <a:avLst/>
              <a:gdLst>
                <a:gd name="T0" fmla="*/ 13069 w 13153"/>
                <a:gd name="T1" fmla="*/ 4175 h 7545"/>
                <a:gd name="T2" fmla="*/ 13069 w 13153"/>
                <a:gd name="T3" fmla="*/ 4175 h 7545"/>
                <a:gd name="T4" fmla="*/ 12863 w 13153"/>
                <a:gd name="T5" fmla="*/ 4295 h 7545"/>
                <a:gd name="T6" fmla="*/ 5575 w 13153"/>
                <a:gd name="T7" fmla="*/ 88 h 7545"/>
                <a:gd name="T8" fmla="*/ 5575 w 13153"/>
                <a:gd name="T9" fmla="*/ 88 h 7545"/>
                <a:gd name="T10" fmla="*/ 4985 w 13153"/>
                <a:gd name="T11" fmla="*/ 112 h 7545"/>
                <a:gd name="T12" fmla="*/ 358 w 13153"/>
                <a:gd name="T13" fmla="*/ 2782 h 7545"/>
                <a:gd name="T14" fmla="*/ 358 w 13153"/>
                <a:gd name="T15" fmla="*/ 2782 h 7545"/>
                <a:gd name="T16" fmla="*/ 216 w 13153"/>
                <a:gd name="T17" fmla="*/ 2608 h 7545"/>
                <a:gd name="T18" fmla="*/ 216 w 13153"/>
                <a:gd name="T19" fmla="*/ 2608 h 7545"/>
                <a:gd name="T20" fmla="*/ 134 w 13153"/>
                <a:gd name="T21" fmla="*/ 3071 h 7545"/>
                <a:gd name="T22" fmla="*/ 134 w 13153"/>
                <a:gd name="T23" fmla="*/ 3071 h 7545"/>
                <a:gd name="T24" fmla="*/ 140 w 13153"/>
                <a:gd name="T25" fmla="*/ 3084 h 7545"/>
                <a:gd name="T26" fmla="*/ 140 w 13153"/>
                <a:gd name="T27" fmla="*/ 3084 h 7545"/>
                <a:gd name="T28" fmla="*/ 228 w 13153"/>
                <a:gd name="T29" fmla="*/ 3174 h 7545"/>
                <a:gd name="T30" fmla="*/ 358 w 13153"/>
                <a:gd name="T31" fmla="*/ 3248 h 7545"/>
                <a:gd name="T32" fmla="*/ 358 w 13153"/>
                <a:gd name="T33" fmla="*/ 3248 h 7545"/>
                <a:gd name="T34" fmla="*/ 7646 w 13153"/>
                <a:gd name="T35" fmla="*/ 7456 h 7545"/>
                <a:gd name="T36" fmla="*/ 7646 w 13153"/>
                <a:gd name="T37" fmla="*/ 7456 h 7545"/>
                <a:gd name="T38" fmla="*/ 8236 w 13153"/>
                <a:gd name="T39" fmla="*/ 7432 h 7545"/>
                <a:gd name="T40" fmla="*/ 12891 w 13153"/>
                <a:gd name="T41" fmla="*/ 4745 h 7545"/>
                <a:gd name="T42" fmla="*/ 12891 w 13153"/>
                <a:gd name="T43" fmla="*/ 4745 h 7545"/>
                <a:gd name="T44" fmla="*/ 12959 w 13153"/>
                <a:gd name="T45" fmla="*/ 4705 h 7545"/>
                <a:gd name="T46" fmla="*/ 12959 w 13153"/>
                <a:gd name="T47" fmla="*/ 4705 h 7545"/>
                <a:gd name="T48" fmla="*/ 13092 w 13153"/>
                <a:gd name="T49" fmla="*/ 4541 h 7545"/>
                <a:gd name="T50" fmla="*/ 13092 w 13153"/>
                <a:gd name="T51" fmla="*/ 4541 h 7545"/>
                <a:gd name="T52" fmla="*/ 13094 w 13153"/>
                <a:gd name="T53" fmla="*/ 4535 h 7545"/>
                <a:gd name="T54" fmla="*/ 13094 w 13153"/>
                <a:gd name="T55" fmla="*/ 4535 h 7545"/>
                <a:gd name="T56" fmla="*/ 13069 w 13153"/>
                <a:gd name="T57" fmla="*/ 4175 h 7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153" h="7545">
                  <a:moveTo>
                    <a:pt x="13069" y="4175"/>
                  </a:moveTo>
                  <a:lnTo>
                    <a:pt x="13069" y="4175"/>
                  </a:lnTo>
                  <a:cubicBezTo>
                    <a:pt x="12993" y="4135"/>
                    <a:pt x="12923" y="4197"/>
                    <a:pt x="12863" y="4295"/>
                  </a:cubicBezTo>
                  <a:lnTo>
                    <a:pt x="5575" y="88"/>
                  </a:lnTo>
                  <a:lnTo>
                    <a:pt x="5575" y="88"/>
                  </a:lnTo>
                  <a:cubicBezTo>
                    <a:pt x="5424" y="0"/>
                    <a:pt x="5159" y="11"/>
                    <a:pt x="4985" y="112"/>
                  </a:cubicBezTo>
                  <a:lnTo>
                    <a:pt x="358" y="2782"/>
                  </a:lnTo>
                  <a:lnTo>
                    <a:pt x="358" y="2782"/>
                  </a:lnTo>
                  <a:cubicBezTo>
                    <a:pt x="313" y="2680"/>
                    <a:pt x="261" y="2603"/>
                    <a:pt x="216" y="2608"/>
                  </a:cubicBezTo>
                  <a:lnTo>
                    <a:pt x="216" y="2608"/>
                  </a:lnTo>
                  <a:cubicBezTo>
                    <a:pt x="216" y="2608"/>
                    <a:pt x="0" y="2774"/>
                    <a:pt x="134" y="3071"/>
                  </a:cubicBezTo>
                  <a:lnTo>
                    <a:pt x="134" y="3071"/>
                  </a:lnTo>
                  <a:cubicBezTo>
                    <a:pt x="134" y="3071"/>
                    <a:pt x="134" y="3076"/>
                    <a:pt x="140" y="3084"/>
                  </a:cubicBezTo>
                  <a:lnTo>
                    <a:pt x="140" y="3084"/>
                  </a:lnTo>
                  <a:cubicBezTo>
                    <a:pt x="156" y="3118"/>
                    <a:pt x="185" y="3148"/>
                    <a:pt x="228" y="3174"/>
                  </a:cubicBezTo>
                  <a:lnTo>
                    <a:pt x="358" y="3248"/>
                  </a:lnTo>
                  <a:lnTo>
                    <a:pt x="358" y="3248"/>
                  </a:lnTo>
                  <a:lnTo>
                    <a:pt x="7646" y="7456"/>
                  </a:lnTo>
                  <a:lnTo>
                    <a:pt x="7646" y="7456"/>
                  </a:lnTo>
                  <a:cubicBezTo>
                    <a:pt x="7797" y="7544"/>
                    <a:pt x="8062" y="7533"/>
                    <a:pt x="8236" y="7432"/>
                  </a:cubicBezTo>
                  <a:lnTo>
                    <a:pt x="12891" y="4745"/>
                  </a:lnTo>
                  <a:lnTo>
                    <a:pt x="12891" y="4745"/>
                  </a:lnTo>
                  <a:cubicBezTo>
                    <a:pt x="12914" y="4733"/>
                    <a:pt x="12937" y="4719"/>
                    <a:pt x="12959" y="4705"/>
                  </a:cubicBezTo>
                  <a:lnTo>
                    <a:pt x="12959" y="4705"/>
                  </a:lnTo>
                  <a:cubicBezTo>
                    <a:pt x="13037" y="4657"/>
                    <a:pt x="13082" y="4599"/>
                    <a:pt x="13092" y="4541"/>
                  </a:cubicBezTo>
                  <a:lnTo>
                    <a:pt x="13092" y="4541"/>
                  </a:lnTo>
                  <a:cubicBezTo>
                    <a:pt x="13093" y="4539"/>
                    <a:pt x="13094" y="4537"/>
                    <a:pt x="13094" y="4535"/>
                  </a:cubicBezTo>
                  <a:lnTo>
                    <a:pt x="13094" y="4535"/>
                  </a:lnTo>
                  <a:cubicBezTo>
                    <a:pt x="13152" y="4318"/>
                    <a:pt x="13077" y="4180"/>
                    <a:pt x="13069" y="4175"/>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6" name="Freeform 3">
              <a:extLst>
                <a:ext uri="{FF2B5EF4-FFF2-40B4-BE49-F238E27FC236}">
                  <a16:creationId xmlns:a16="http://schemas.microsoft.com/office/drawing/2014/main" id="{834B078F-69C6-5145-8C4E-EDC33E4402C6}"/>
                </a:ext>
              </a:extLst>
            </p:cNvPr>
            <p:cNvSpPr>
              <a:spLocks noChangeArrowheads="1"/>
            </p:cNvSpPr>
            <p:nvPr/>
          </p:nvSpPr>
          <p:spPr bwMode="auto">
            <a:xfrm>
              <a:off x="7669632" y="6256019"/>
              <a:ext cx="8591943" cy="4890753"/>
            </a:xfrm>
            <a:custGeom>
              <a:avLst/>
              <a:gdLst>
                <a:gd name="T0" fmla="*/ 5319 w 13153"/>
                <a:gd name="T1" fmla="*/ 0 h 7487"/>
                <a:gd name="T2" fmla="*/ 5575 w 13153"/>
                <a:gd name="T3" fmla="*/ 59 h 7487"/>
                <a:gd name="T4" fmla="*/ 12863 w 13153"/>
                <a:gd name="T5" fmla="*/ 4266 h 7487"/>
                <a:gd name="T6" fmla="*/ 13069 w 13153"/>
                <a:gd name="T7" fmla="*/ 4146 h 7487"/>
                <a:gd name="T8" fmla="*/ 13094 w 13153"/>
                <a:gd name="T9" fmla="*/ 4506 h 7487"/>
                <a:gd name="T10" fmla="*/ 13092 w 13153"/>
                <a:gd name="T11" fmla="*/ 4512 h 7487"/>
                <a:gd name="T12" fmla="*/ 12959 w 13153"/>
                <a:gd name="T13" fmla="*/ 4676 h 7487"/>
                <a:gd name="T14" fmla="*/ 12891 w 13153"/>
                <a:gd name="T15" fmla="*/ 4716 h 7487"/>
                <a:gd name="T16" fmla="*/ 8236 w 13153"/>
                <a:gd name="T17" fmla="*/ 7403 h 7487"/>
                <a:gd name="T18" fmla="*/ 7929 w 13153"/>
                <a:gd name="T19" fmla="*/ 7486 h 7487"/>
                <a:gd name="T20" fmla="*/ 7877 w 13153"/>
                <a:gd name="T21" fmla="*/ 7486 h 7487"/>
                <a:gd name="T22" fmla="*/ 7646 w 13153"/>
                <a:gd name="T23" fmla="*/ 7427 h 7487"/>
                <a:gd name="T24" fmla="*/ 358 w 13153"/>
                <a:gd name="T25" fmla="*/ 3219 h 7487"/>
                <a:gd name="T26" fmla="*/ 228 w 13153"/>
                <a:gd name="T27" fmla="*/ 3145 h 7487"/>
                <a:gd name="T28" fmla="*/ 140 w 13153"/>
                <a:gd name="T29" fmla="*/ 3055 h 7487"/>
                <a:gd name="T30" fmla="*/ 134 w 13153"/>
                <a:gd name="T31" fmla="*/ 3042 h 7487"/>
                <a:gd name="T32" fmla="*/ 216 w 13153"/>
                <a:gd name="T33" fmla="*/ 2579 h 7487"/>
                <a:gd name="T34" fmla="*/ 358 w 13153"/>
                <a:gd name="T35" fmla="*/ 2753 h 7487"/>
                <a:gd name="T36" fmla="*/ 4984 w 13153"/>
                <a:gd name="T37" fmla="*/ 83 h 7487"/>
                <a:gd name="T38" fmla="*/ 5308 w 13153"/>
                <a:gd name="T39" fmla="*/ 0 h 7487"/>
                <a:gd name="T40" fmla="*/ 5319 w 13153"/>
                <a:gd name="T41" fmla="*/ 0 h 7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53" h="7487">
                  <a:moveTo>
                    <a:pt x="5319" y="0"/>
                  </a:moveTo>
                  <a:cubicBezTo>
                    <a:pt x="5415" y="0"/>
                    <a:pt x="5507" y="19"/>
                    <a:pt x="5575" y="59"/>
                  </a:cubicBezTo>
                  <a:lnTo>
                    <a:pt x="12863" y="4266"/>
                  </a:lnTo>
                  <a:cubicBezTo>
                    <a:pt x="12923" y="4168"/>
                    <a:pt x="12993" y="4106"/>
                    <a:pt x="13069" y="4146"/>
                  </a:cubicBezTo>
                  <a:cubicBezTo>
                    <a:pt x="13077" y="4151"/>
                    <a:pt x="13152" y="4289"/>
                    <a:pt x="13094" y="4506"/>
                  </a:cubicBezTo>
                  <a:cubicBezTo>
                    <a:pt x="13094" y="4508"/>
                    <a:pt x="13092" y="4510"/>
                    <a:pt x="13092" y="4512"/>
                  </a:cubicBezTo>
                  <a:cubicBezTo>
                    <a:pt x="13082" y="4570"/>
                    <a:pt x="13037" y="4628"/>
                    <a:pt x="12959" y="4676"/>
                  </a:cubicBezTo>
                  <a:cubicBezTo>
                    <a:pt x="12937" y="4690"/>
                    <a:pt x="12914" y="4704"/>
                    <a:pt x="12891" y="4716"/>
                  </a:cubicBezTo>
                  <a:lnTo>
                    <a:pt x="8236" y="7403"/>
                  </a:lnTo>
                  <a:cubicBezTo>
                    <a:pt x="8148" y="7454"/>
                    <a:pt x="8037" y="7482"/>
                    <a:pt x="7929" y="7486"/>
                  </a:cubicBezTo>
                  <a:lnTo>
                    <a:pt x="7877" y="7486"/>
                  </a:lnTo>
                  <a:cubicBezTo>
                    <a:pt x="7790" y="7483"/>
                    <a:pt x="7709" y="7464"/>
                    <a:pt x="7646" y="7427"/>
                  </a:cubicBezTo>
                  <a:lnTo>
                    <a:pt x="358" y="3219"/>
                  </a:lnTo>
                  <a:lnTo>
                    <a:pt x="228" y="3145"/>
                  </a:lnTo>
                  <a:cubicBezTo>
                    <a:pt x="185" y="3119"/>
                    <a:pt x="155" y="3089"/>
                    <a:pt x="140" y="3055"/>
                  </a:cubicBezTo>
                  <a:cubicBezTo>
                    <a:pt x="134" y="3047"/>
                    <a:pt x="134" y="3042"/>
                    <a:pt x="134" y="3042"/>
                  </a:cubicBezTo>
                  <a:cubicBezTo>
                    <a:pt x="0" y="2745"/>
                    <a:pt x="216" y="2579"/>
                    <a:pt x="216" y="2579"/>
                  </a:cubicBezTo>
                  <a:cubicBezTo>
                    <a:pt x="260" y="2574"/>
                    <a:pt x="314" y="2651"/>
                    <a:pt x="358" y="2753"/>
                  </a:cubicBezTo>
                  <a:lnTo>
                    <a:pt x="4984" y="83"/>
                  </a:lnTo>
                  <a:cubicBezTo>
                    <a:pt x="5077" y="29"/>
                    <a:pt x="5194" y="0"/>
                    <a:pt x="5308" y="0"/>
                  </a:cubicBezTo>
                  <a:lnTo>
                    <a:pt x="5319" y="0"/>
                  </a:lnTo>
                </a:path>
              </a:pathLst>
            </a:custGeom>
            <a:solidFill>
              <a:schemeClr val="bg1">
                <a:lumMod val="95000"/>
              </a:schemeClr>
            </a:solidFill>
            <a:ln>
              <a:noFill/>
            </a:ln>
            <a:effectLst/>
          </p:spPr>
          <p:txBody>
            <a:bodyPr wrap="none" anchor="ctr"/>
            <a:lstStyle/>
            <a:p>
              <a:endParaRPr lang="en-US" sz="3266" dirty="0">
                <a:latin typeface="Lato Light" panose="020F0502020204030203" pitchFamily="34" charset="0"/>
              </a:endParaRPr>
            </a:p>
          </p:txBody>
        </p:sp>
        <p:sp>
          <p:nvSpPr>
            <p:cNvPr id="7" name="Freeform 4">
              <a:extLst>
                <a:ext uri="{FF2B5EF4-FFF2-40B4-BE49-F238E27FC236}">
                  <a16:creationId xmlns:a16="http://schemas.microsoft.com/office/drawing/2014/main" id="{2E5610AD-5DEE-2A49-9A6F-903205E6CDD9}"/>
                </a:ext>
              </a:extLst>
            </p:cNvPr>
            <p:cNvSpPr>
              <a:spLocks noChangeArrowheads="1"/>
            </p:cNvSpPr>
            <p:nvPr/>
          </p:nvSpPr>
          <p:spPr bwMode="auto">
            <a:xfrm>
              <a:off x="11702056" y="6256017"/>
              <a:ext cx="4536477" cy="2615315"/>
            </a:xfrm>
            <a:custGeom>
              <a:avLst/>
              <a:gdLst>
                <a:gd name="T0" fmla="*/ 513 w 6945"/>
                <a:gd name="T1" fmla="*/ 0 h 4004"/>
                <a:gd name="T2" fmla="*/ 6944 w 6945"/>
                <a:gd name="T3" fmla="*/ 3712 h 4004"/>
                <a:gd name="T4" fmla="*/ 6944 w 6945"/>
                <a:gd name="T5" fmla="*/ 4003 h 4004"/>
                <a:gd name="T6" fmla="*/ 0 w 6945"/>
                <a:gd name="T7" fmla="*/ 0 h 4004"/>
                <a:gd name="T8" fmla="*/ 513 w 6945"/>
                <a:gd name="T9" fmla="*/ 0 h 4004"/>
              </a:gdLst>
              <a:ahLst/>
              <a:cxnLst>
                <a:cxn ang="0">
                  <a:pos x="T0" y="T1"/>
                </a:cxn>
                <a:cxn ang="0">
                  <a:pos x="T2" y="T3"/>
                </a:cxn>
                <a:cxn ang="0">
                  <a:pos x="T4" y="T5"/>
                </a:cxn>
                <a:cxn ang="0">
                  <a:pos x="T6" y="T7"/>
                </a:cxn>
                <a:cxn ang="0">
                  <a:pos x="T8" y="T9"/>
                </a:cxn>
              </a:cxnLst>
              <a:rect l="0" t="0" r="r" b="b"/>
              <a:pathLst>
                <a:path w="6945" h="4004">
                  <a:moveTo>
                    <a:pt x="513" y="0"/>
                  </a:moveTo>
                  <a:lnTo>
                    <a:pt x="6944" y="3712"/>
                  </a:lnTo>
                  <a:lnTo>
                    <a:pt x="6944" y="4003"/>
                  </a:lnTo>
                  <a:lnTo>
                    <a:pt x="0" y="0"/>
                  </a:lnTo>
                  <a:lnTo>
                    <a:pt x="513"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8" name="Freeform 6">
              <a:extLst>
                <a:ext uri="{FF2B5EF4-FFF2-40B4-BE49-F238E27FC236}">
                  <a16:creationId xmlns:a16="http://schemas.microsoft.com/office/drawing/2014/main" id="{F9879F6D-54FD-A545-9327-707660A6DA22}"/>
                </a:ext>
              </a:extLst>
            </p:cNvPr>
            <p:cNvSpPr>
              <a:spLocks noChangeArrowheads="1"/>
            </p:cNvSpPr>
            <p:nvPr/>
          </p:nvSpPr>
          <p:spPr bwMode="auto">
            <a:xfrm>
              <a:off x="11232566" y="1993171"/>
              <a:ext cx="5204706" cy="6909846"/>
            </a:xfrm>
            <a:custGeom>
              <a:avLst/>
              <a:gdLst>
                <a:gd name="T0" fmla="*/ 0 w 7967"/>
                <a:gd name="T1" fmla="*/ 240 h 10577"/>
                <a:gd name="T2" fmla="*/ 166 w 7967"/>
                <a:gd name="T3" fmla="*/ 0 h 10577"/>
                <a:gd name="T4" fmla="*/ 166 w 7967"/>
                <a:gd name="T5" fmla="*/ 0 h 10577"/>
                <a:gd name="T6" fmla="*/ 166 w 7967"/>
                <a:gd name="T7" fmla="*/ 0 h 10577"/>
                <a:gd name="T8" fmla="*/ 275 w 7967"/>
                <a:gd name="T9" fmla="*/ 33 h 10577"/>
                <a:gd name="T10" fmla="*/ 275 w 7967"/>
                <a:gd name="T11" fmla="*/ 33 h 10577"/>
                <a:gd name="T12" fmla="*/ 7692 w 7967"/>
                <a:gd name="T13" fmla="*/ 4316 h 10577"/>
                <a:gd name="T14" fmla="*/ 7692 w 7967"/>
                <a:gd name="T15" fmla="*/ 4316 h 10577"/>
                <a:gd name="T16" fmla="*/ 7966 w 7967"/>
                <a:gd name="T17" fmla="*/ 4840 h 10577"/>
                <a:gd name="T18" fmla="*/ 7966 w 7967"/>
                <a:gd name="T19" fmla="*/ 4840 h 10577"/>
                <a:gd name="T20" fmla="*/ 7966 w 7967"/>
                <a:gd name="T21" fmla="*/ 10282 h 10577"/>
                <a:gd name="T22" fmla="*/ 7966 w 7967"/>
                <a:gd name="T23" fmla="*/ 10282 h 10577"/>
                <a:gd name="T24" fmla="*/ 7692 w 7967"/>
                <a:gd name="T25" fmla="*/ 10489 h 10577"/>
                <a:gd name="T26" fmla="*/ 7692 w 7967"/>
                <a:gd name="T27" fmla="*/ 10489 h 10577"/>
                <a:gd name="T28" fmla="*/ 275 w 7967"/>
                <a:gd name="T29" fmla="*/ 6207 h 10577"/>
                <a:gd name="T30" fmla="*/ 275 w 7967"/>
                <a:gd name="T31" fmla="*/ 6207 h 10577"/>
                <a:gd name="T32" fmla="*/ 0 w 7967"/>
                <a:gd name="T33" fmla="*/ 5684 h 10577"/>
                <a:gd name="T34" fmla="*/ 0 w 7967"/>
                <a:gd name="T35" fmla="*/ 5684 h 10577"/>
                <a:gd name="T36" fmla="*/ 0 w 7967"/>
                <a:gd name="T37" fmla="*/ 240 h 10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67" h="10577">
                  <a:moveTo>
                    <a:pt x="0" y="240"/>
                  </a:moveTo>
                  <a:cubicBezTo>
                    <a:pt x="0" y="90"/>
                    <a:pt x="69" y="0"/>
                    <a:pt x="166" y="0"/>
                  </a:cubicBezTo>
                  <a:lnTo>
                    <a:pt x="166" y="0"/>
                  </a:lnTo>
                  <a:lnTo>
                    <a:pt x="166" y="0"/>
                  </a:lnTo>
                  <a:cubicBezTo>
                    <a:pt x="199" y="0"/>
                    <a:pt x="236" y="11"/>
                    <a:pt x="275" y="33"/>
                  </a:cubicBezTo>
                  <a:lnTo>
                    <a:pt x="275" y="33"/>
                  </a:lnTo>
                  <a:lnTo>
                    <a:pt x="7692" y="4316"/>
                  </a:lnTo>
                  <a:lnTo>
                    <a:pt x="7692" y="4316"/>
                  </a:lnTo>
                  <a:cubicBezTo>
                    <a:pt x="7843" y="4404"/>
                    <a:pt x="7966" y="4638"/>
                    <a:pt x="7966" y="4840"/>
                  </a:cubicBezTo>
                  <a:lnTo>
                    <a:pt x="7966" y="4840"/>
                  </a:lnTo>
                  <a:lnTo>
                    <a:pt x="7966" y="10282"/>
                  </a:lnTo>
                  <a:lnTo>
                    <a:pt x="7966" y="10282"/>
                  </a:lnTo>
                  <a:cubicBezTo>
                    <a:pt x="7966" y="10484"/>
                    <a:pt x="7843" y="10576"/>
                    <a:pt x="7692" y="10489"/>
                  </a:cubicBezTo>
                  <a:lnTo>
                    <a:pt x="7692" y="10489"/>
                  </a:lnTo>
                  <a:lnTo>
                    <a:pt x="275" y="6207"/>
                  </a:lnTo>
                  <a:lnTo>
                    <a:pt x="275" y="6207"/>
                  </a:lnTo>
                  <a:cubicBezTo>
                    <a:pt x="123" y="6120"/>
                    <a:pt x="0" y="5885"/>
                    <a:pt x="0" y="5684"/>
                  </a:cubicBezTo>
                  <a:lnTo>
                    <a:pt x="0" y="5684"/>
                  </a:lnTo>
                  <a:lnTo>
                    <a:pt x="0" y="240"/>
                  </a:lnTo>
                </a:path>
              </a:pathLst>
            </a:custGeom>
            <a:solidFill>
              <a:schemeClr val="bg1">
                <a:lumMod val="95000"/>
              </a:schemeClr>
            </a:solidFill>
            <a:ln>
              <a:noFill/>
            </a:ln>
            <a:effectLst/>
          </p:spPr>
          <p:txBody>
            <a:bodyPr wrap="none" anchor="ctr"/>
            <a:lstStyle/>
            <a:p>
              <a:endParaRPr lang="en-US" sz="3266" dirty="0">
                <a:latin typeface="Lato Light" panose="020F0502020204030203" pitchFamily="34" charset="0"/>
              </a:endParaRPr>
            </a:p>
          </p:txBody>
        </p:sp>
        <p:sp>
          <p:nvSpPr>
            <p:cNvPr id="9" name="Freeform 8">
              <a:extLst>
                <a:ext uri="{FF2B5EF4-FFF2-40B4-BE49-F238E27FC236}">
                  <a16:creationId xmlns:a16="http://schemas.microsoft.com/office/drawing/2014/main" id="{5AC917C4-AF70-2448-87DB-4AE05DD20870}"/>
                </a:ext>
              </a:extLst>
            </p:cNvPr>
            <p:cNvSpPr>
              <a:spLocks noChangeArrowheads="1"/>
            </p:cNvSpPr>
            <p:nvPr/>
          </p:nvSpPr>
          <p:spPr bwMode="auto">
            <a:xfrm>
              <a:off x="11149037" y="1854915"/>
              <a:ext cx="5425837" cy="7116576"/>
            </a:xfrm>
            <a:custGeom>
              <a:avLst/>
              <a:gdLst>
                <a:gd name="connsiteX0" fmla="*/ 242359 w 5425837"/>
                <a:gd name="connsiteY0" fmla="*/ 253221 h 7116576"/>
                <a:gd name="connsiteX1" fmla="*/ 231738 w 5425837"/>
                <a:gd name="connsiteY1" fmla="*/ 265248 h 7116576"/>
                <a:gd name="connsiteX2" fmla="*/ 223042 w 5425837"/>
                <a:gd name="connsiteY2" fmla="*/ 309591 h 7116576"/>
                <a:gd name="connsiteX3" fmla="*/ 223042 w 5425837"/>
                <a:gd name="connsiteY3" fmla="*/ 462426 h 7116576"/>
                <a:gd name="connsiteX4" fmla="*/ 223042 w 5425837"/>
                <a:gd name="connsiteY4" fmla="*/ 3898618 h 7116576"/>
                <a:gd name="connsiteX5" fmla="*/ 332781 w 5425837"/>
                <a:gd name="connsiteY5" fmla="*/ 4089336 h 7116576"/>
                <a:gd name="connsiteX6" fmla="*/ 5150183 w 5425837"/>
                <a:gd name="connsiteY6" fmla="*/ 6869771 h 7116576"/>
                <a:gd name="connsiteX7" fmla="*/ 5187162 w 5425837"/>
                <a:gd name="connsiteY7" fmla="*/ 6881603 h 7116576"/>
                <a:gd name="connsiteX8" fmla="*/ 5198443 w 5425837"/>
                <a:gd name="connsiteY8" fmla="*/ 6859707 h 7116576"/>
                <a:gd name="connsiteX9" fmla="*/ 5202984 w 5425837"/>
                <a:gd name="connsiteY9" fmla="*/ 6826512 h 7116576"/>
                <a:gd name="connsiteX10" fmla="*/ 5202984 w 5425837"/>
                <a:gd name="connsiteY10" fmla="*/ 3237296 h 7116576"/>
                <a:gd name="connsiteX11" fmla="*/ 5091949 w 5425837"/>
                <a:gd name="connsiteY11" fmla="*/ 3046534 h 7116576"/>
                <a:gd name="connsiteX12" fmla="*/ 275629 w 5425837"/>
                <a:gd name="connsiteY12" fmla="*/ 264794 h 7116576"/>
                <a:gd name="connsiteX13" fmla="*/ 170132 w 5425837"/>
                <a:gd name="connsiteY13" fmla="*/ 0 h 7116576"/>
                <a:gd name="connsiteX14" fmla="*/ 292935 w 5425837"/>
                <a:gd name="connsiteY14" fmla="*/ 37883 h 7116576"/>
                <a:gd name="connsiteX15" fmla="*/ 5150183 w 5425837"/>
                <a:gd name="connsiteY15" fmla="*/ 2837912 h 7116576"/>
                <a:gd name="connsiteX16" fmla="*/ 5425837 w 5425837"/>
                <a:gd name="connsiteY16" fmla="*/ 3313401 h 7116576"/>
                <a:gd name="connsiteX17" fmla="*/ 5425837 w 5425837"/>
                <a:gd name="connsiteY17" fmla="*/ 6902428 h 7116576"/>
                <a:gd name="connsiteX18" fmla="*/ 5291276 w 5425837"/>
                <a:gd name="connsiteY18" fmla="*/ 7096412 h 7116576"/>
                <a:gd name="connsiteX19" fmla="*/ 5290669 w 5425837"/>
                <a:gd name="connsiteY19" fmla="*/ 7096412 h 7116576"/>
                <a:gd name="connsiteX20" fmla="*/ 5287496 w 5425837"/>
                <a:gd name="connsiteY20" fmla="*/ 7099294 h 7116576"/>
                <a:gd name="connsiteX21" fmla="*/ 5231723 w 5425837"/>
                <a:gd name="connsiteY21" fmla="*/ 7116576 h 7116576"/>
                <a:gd name="connsiteX22" fmla="*/ 5199719 w 5425837"/>
                <a:gd name="connsiteY22" fmla="*/ 7116576 h 7116576"/>
                <a:gd name="connsiteX23" fmla="*/ 5091949 w 5425837"/>
                <a:gd name="connsiteY23" fmla="*/ 7079338 h 7116576"/>
                <a:gd name="connsiteX24" fmla="*/ 275629 w 5425837"/>
                <a:gd name="connsiteY24" fmla="*/ 4298251 h 7116576"/>
                <a:gd name="connsiteX25" fmla="*/ 0 w 5425837"/>
                <a:gd name="connsiteY25" fmla="*/ 3822651 h 7116576"/>
                <a:gd name="connsiteX26" fmla="*/ 0 w 5425837"/>
                <a:gd name="connsiteY26" fmla="*/ 232129 h 7116576"/>
                <a:gd name="connsiteX27" fmla="*/ 11104 w 5425837"/>
                <a:gd name="connsiteY27" fmla="*/ 149619 h 7116576"/>
                <a:gd name="connsiteX28" fmla="*/ 27860 w 5425837"/>
                <a:gd name="connsiteY28" fmla="*/ 116773 h 7116576"/>
                <a:gd name="connsiteX29" fmla="*/ 28489 w 5425837"/>
                <a:gd name="connsiteY29" fmla="*/ 112147 h 7116576"/>
                <a:gd name="connsiteX30" fmla="*/ 170132 w 5425837"/>
                <a:gd name="connsiteY30" fmla="*/ 0 h 7116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25837" h="7116576">
                  <a:moveTo>
                    <a:pt x="242359" y="253221"/>
                  </a:moveTo>
                  <a:lnTo>
                    <a:pt x="231738" y="265248"/>
                  </a:lnTo>
                  <a:cubicBezTo>
                    <a:pt x="226145" y="277219"/>
                    <a:pt x="223042" y="292119"/>
                    <a:pt x="223042" y="309591"/>
                  </a:cubicBezTo>
                  <a:lnTo>
                    <a:pt x="223042" y="462426"/>
                  </a:lnTo>
                  <a:lnTo>
                    <a:pt x="223042" y="3898618"/>
                  </a:lnTo>
                  <a:cubicBezTo>
                    <a:pt x="223042" y="3968504"/>
                    <a:pt x="272686" y="4054066"/>
                    <a:pt x="332781" y="4089336"/>
                  </a:cubicBezTo>
                  <a:lnTo>
                    <a:pt x="5150183" y="6869771"/>
                  </a:lnTo>
                  <a:lnTo>
                    <a:pt x="5187162" y="6881603"/>
                  </a:lnTo>
                  <a:lnTo>
                    <a:pt x="5198443" y="6859707"/>
                  </a:lnTo>
                  <a:cubicBezTo>
                    <a:pt x="5201392" y="6850030"/>
                    <a:pt x="5202984" y="6838924"/>
                    <a:pt x="5202984" y="6826512"/>
                  </a:cubicBezTo>
                  <a:lnTo>
                    <a:pt x="5202984" y="3237296"/>
                  </a:lnTo>
                  <a:cubicBezTo>
                    <a:pt x="5202984" y="3166740"/>
                    <a:pt x="5153345" y="3081812"/>
                    <a:pt x="5091949" y="3046534"/>
                  </a:cubicBezTo>
                  <a:lnTo>
                    <a:pt x="275629" y="264794"/>
                  </a:lnTo>
                  <a:close/>
                  <a:moveTo>
                    <a:pt x="170132" y="0"/>
                  </a:moveTo>
                  <a:cubicBezTo>
                    <a:pt x="206712" y="0"/>
                    <a:pt x="248517" y="12410"/>
                    <a:pt x="292935" y="37883"/>
                  </a:cubicBezTo>
                  <a:lnTo>
                    <a:pt x="5150183" y="2837912"/>
                  </a:lnTo>
                  <a:cubicBezTo>
                    <a:pt x="5301727" y="2925433"/>
                    <a:pt x="5425837" y="3139011"/>
                    <a:pt x="5425837" y="3313401"/>
                  </a:cubicBezTo>
                  <a:lnTo>
                    <a:pt x="5425837" y="6902428"/>
                  </a:lnTo>
                  <a:cubicBezTo>
                    <a:pt x="5425837" y="7018034"/>
                    <a:pt x="5371621" y="7087921"/>
                    <a:pt x="5291276" y="7096412"/>
                  </a:cubicBezTo>
                  <a:lnTo>
                    <a:pt x="5290669" y="7096412"/>
                  </a:lnTo>
                  <a:lnTo>
                    <a:pt x="5287496" y="7099294"/>
                  </a:lnTo>
                  <a:cubicBezTo>
                    <a:pt x="5270871" y="7108777"/>
                    <a:pt x="5252134" y="7114616"/>
                    <a:pt x="5231723" y="7116576"/>
                  </a:cubicBezTo>
                  <a:lnTo>
                    <a:pt x="5199719" y="7116576"/>
                  </a:lnTo>
                  <a:cubicBezTo>
                    <a:pt x="5166408" y="7113962"/>
                    <a:pt x="5130485" y="7101550"/>
                    <a:pt x="5091949" y="7079338"/>
                  </a:cubicBezTo>
                  <a:lnTo>
                    <a:pt x="275629" y="4298251"/>
                  </a:lnTo>
                  <a:cubicBezTo>
                    <a:pt x="123445" y="4210709"/>
                    <a:pt x="0" y="3997081"/>
                    <a:pt x="0" y="3822651"/>
                  </a:cubicBezTo>
                  <a:lnTo>
                    <a:pt x="0" y="232129"/>
                  </a:lnTo>
                  <a:cubicBezTo>
                    <a:pt x="0" y="201261"/>
                    <a:pt x="3878" y="173659"/>
                    <a:pt x="11104" y="149619"/>
                  </a:cubicBezTo>
                  <a:lnTo>
                    <a:pt x="27860" y="116773"/>
                  </a:lnTo>
                  <a:lnTo>
                    <a:pt x="28489" y="112147"/>
                  </a:lnTo>
                  <a:cubicBezTo>
                    <a:pt x="50351" y="40046"/>
                    <a:pt x="102526" y="0"/>
                    <a:pt x="170132" y="0"/>
                  </a:cubicBezTo>
                  <a:close/>
                </a:path>
              </a:pathLst>
            </a:custGeom>
            <a:solidFill>
              <a:schemeClr val="bg1">
                <a:lumMod val="50000"/>
              </a:schemeClr>
            </a:solidFill>
            <a:ln>
              <a:noFill/>
            </a:ln>
            <a:effectLst/>
          </p:spPr>
          <p:txBody>
            <a:bodyPr wrap="square" anchor="ctr">
              <a:noAutofit/>
            </a:bodyPr>
            <a:lstStyle/>
            <a:p>
              <a:endParaRPr lang="en-US" sz="3266" dirty="0">
                <a:latin typeface="Lato Light" panose="020F0502020204030203" pitchFamily="34" charset="0"/>
              </a:endParaRPr>
            </a:p>
          </p:txBody>
        </p:sp>
        <p:sp>
          <p:nvSpPr>
            <p:cNvPr id="10" name="Freeform 8">
              <a:extLst>
                <a:ext uri="{FF2B5EF4-FFF2-40B4-BE49-F238E27FC236}">
                  <a16:creationId xmlns:a16="http://schemas.microsoft.com/office/drawing/2014/main" id="{C2700B59-B868-9F4A-8962-25A4257CE145}"/>
                </a:ext>
              </a:extLst>
            </p:cNvPr>
            <p:cNvSpPr>
              <a:spLocks noChangeArrowheads="1"/>
            </p:cNvSpPr>
            <p:nvPr/>
          </p:nvSpPr>
          <p:spPr bwMode="auto">
            <a:xfrm>
              <a:off x="7770444" y="6083201"/>
              <a:ext cx="8470968" cy="4890753"/>
            </a:xfrm>
            <a:custGeom>
              <a:avLst/>
              <a:gdLst>
                <a:gd name="T0" fmla="*/ 12966 w 12967"/>
                <a:gd name="T1" fmla="*/ 4512 h 7487"/>
                <a:gd name="T2" fmla="*/ 12823 w 12967"/>
                <a:gd name="T3" fmla="*/ 4682 h 7487"/>
                <a:gd name="T4" fmla="*/ 8109 w 12967"/>
                <a:gd name="T5" fmla="*/ 7403 h 7487"/>
                <a:gd name="T6" fmla="*/ 7805 w 12967"/>
                <a:gd name="T7" fmla="*/ 7486 h 7487"/>
                <a:gd name="T8" fmla="*/ 7746 w 12967"/>
                <a:gd name="T9" fmla="*/ 7486 h 7487"/>
                <a:gd name="T10" fmla="*/ 7519 w 12967"/>
                <a:gd name="T11" fmla="*/ 7428 h 7487"/>
                <a:gd name="T12" fmla="*/ 101 w 12967"/>
                <a:gd name="T13" fmla="*/ 3145 h 7487"/>
                <a:gd name="T14" fmla="*/ 0 w 12967"/>
                <a:gd name="T15" fmla="*/ 3012 h 7487"/>
                <a:gd name="T16" fmla="*/ 0 w 12967"/>
                <a:gd name="T17" fmla="*/ 2982 h 7487"/>
                <a:gd name="T18" fmla="*/ 144 w 12967"/>
                <a:gd name="T19" fmla="*/ 2804 h 7487"/>
                <a:gd name="T20" fmla="*/ 4858 w 12967"/>
                <a:gd name="T21" fmla="*/ 83 h 7487"/>
                <a:gd name="T22" fmla="*/ 5192 w 12967"/>
                <a:gd name="T23" fmla="*/ 0 h 7487"/>
                <a:gd name="T24" fmla="*/ 5448 w 12967"/>
                <a:gd name="T25" fmla="*/ 59 h 7487"/>
                <a:gd name="T26" fmla="*/ 12866 w 12967"/>
                <a:gd name="T27" fmla="*/ 4341 h 7487"/>
                <a:gd name="T28" fmla="*/ 12966 w 12967"/>
                <a:gd name="T29" fmla="*/ 4467 h 7487"/>
                <a:gd name="T30" fmla="*/ 12966 w 12967"/>
                <a:gd name="T31" fmla="*/ 4512 h 7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967" h="7487">
                  <a:moveTo>
                    <a:pt x="12966" y="4512"/>
                  </a:moveTo>
                  <a:cubicBezTo>
                    <a:pt x="12956" y="4572"/>
                    <a:pt x="12908" y="4633"/>
                    <a:pt x="12823" y="4682"/>
                  </a:cubicBezTo>
                  <a:lnTo>
                    <a:pt x="8109" y="7403"/>
                  </a:lnTo>
                  <a:cubicBezTo>
                    <a:pt x="8022" y="7454"/>
                    <a:pt x="7912" y="7482"/>
                    <a:pt x="7805" y="7486"/>
                  </a:cubicBezTo>
                  <a:lnTo>
                    <a:pt x="7746" y="7486"/>
                  </a:lnTo>
                  <a:cubicBezTo>
                    <a:pt x="7661" y="7483"/>
                    <a:pt x="7581" y="7463"/>
                    <a:pt x="7519" y="7428"/>
                  </a:cubicBezTo>
                  <a:lnTo>
                    <a:pt x="101" y="3145"/>
                  </a:lnTo>
                  <a:cubicBezTo>
                    <a:pt x="39" y="3109"/>
                    <a:pt x="5" y="3062"/>
                    <a:pt x="0" y="3012"/>
                  </a:cubicBezTo>
                  <a:lnTo>
                    <a:pt x="0" y="2982"/>
                  </a:lnTo>
                  <a:cubicBezTo>
                    <a:pt x="7" y="2920"/>
                    <a:pt x="55" y="2856"/>
                    <a:pt x="144" y="2804"/>
                  </a:cubicBezTo>
                  <a:lnTo>
                    <a:pt x="4858" y="83"/>
                  </a:lnTo>
                  <a:cubicBezTo>
                    <a:pt x="4953" y="28"/>
                    <a:pt x="5076" y="0"/>
                    <a:pt x="5192" y="0"/>
                  </a:cubicBezTo>
                  <a:cubicBezTo>
                    <a:pt x="5288" y="0"/>
                    <a:pt x="5379" y="19"/>
                    <a:pt x="5448" y="59"/>
                  </a:cubicBezTo>
                  <a:lnTo>
                    <a:pt x="12866" y="4341"/>
                  </a:lnTo>
                  <a:cubicBezTo>
                    <a:pt x="12925" y="4375"/>
                    <a:pt x="12958" y="4420"/>
                    <a:pt x="12966" y="4467"/>
                  </a:cubicBezTo>
                  <a:lnTo>
                    <a:pt x="12966" y="4512"/>
                  </a:lnTo>
                </a:path>
              </a:pathLst>
            </a:custGeom>
            <a:solidFill>
              <a:schemeClr val="bg1">
                <a:lumMod val="85000"/>
              </a:schemeClr>
            </a:solidFill>
            <a:ln>
              <a:noFill/>
            </a:ln>
            <a:effectLst/>
          </p:spPr>
          <p:txBody>
            <a:bodyPr wrap="none" anchor="ctr"/>
            <a:lstStyle/>
            <a:p>
              <a:endParaRPr lang="en-US" sz="3266" dirty="0">
                <a:latin typeface="Lato Light" panose="020F0502020204030203" pitchFamily="34" charset="0"/>
              </a:endParaRPr>
            </a:p>
          </p:txBody>
        </p:sp>
        <p:sp>
          <p:nvSpPr>
            <p:cNvPr id="11" name="Freeform 9">
              <a:extLst>
                <a:ext uri="{FF2B5EF4-FFF2-40B4-BE49-F238E27FC236}">
                  <a16:creationId xmlns:a16="http://schemas.microsoft.com/office/drawing/2014/main" id="{7DAA0CD8-1DF4-3A44-A4C0-DF26740B4D06}"/>
                </a:ext>
              </a:extLst>
            </p:cNvPr>
            <p:cNvSpPr>
              <a:spLocks noChangeArrowheads="1"/>
            </p:cNvSpPr>
            <p:nvPr/>
          </p:nvSpPr>
          <p:spPr bwMode="auto">
            <a:xfrm>
              <a:off x="7770444" y="6083201"/>
              <a:ext cx="8470968" cy="4890753"/>
            </a:xfrm>
            <a:custGeom>
              <a:avLst/>
              <a:gdLst>
                <a:gd name="T0" fmla="*/ 5217 w 12967"/>
                <a:gd name="T1" fmla="*/ 0 h 7487"/>
                <a:gd name="T2" fmla="*/ 5448 w 12967"/>
                <a:gd name="T3" fmla="*/ 59 h 7487"/>
                <a:gd name="T4" fmla="*/ 12866 w 12967"/>
                <a:gd name="T5" fmla="*/ 4341 h 7487"/>
                <a:gd name="T6" fmla="*/ 12966 w 12967"/>
                <a:gd name="T7" fmla="*/ 4467 h 7487"/>
                <a:gd name="T8" fmla="*/ 12966 w 12967"/>
                <a:gd name="T9" fmla="*/ 4512 h 7487"/>
                <a:gd name="T10" fmla="*/ 12823 w 12967"/>
                <a:gd name="T11" fmla="*/ 4682 h 7487"/>
                <a:gd name="T12" fmla="*/ 8109 w 12967"/>
                <a:gd name="T13" fmla="*/ 7403 h 7487"/>
                <a:gd name="T14" fmla="*/ 7805 w 12967"/>
                <a:gd name="T15" fmla="*/ 7486 h 7487"/>
                <a:gd name="T16" fmla="*/ 7746 w 12967"/>
                <a:gd name="T17" fmla="*/ 7486 h 7487"/>
                <a:gd name="T18" fmla="*/ 7519 w 12967"/>
                <a:gd name="T19" fmla="*/ 7428 h 7487"/>
                <a:gd name="T20" fmla="*/ 101 w 12967"/>
                <a:gd name="T21" fmla="*/ 3145 h 7487"/>
                <a:gd name="T22" fmla="*/ 0 w 12967"/>
                <a:gd name="T23" fmla="*/ 3012 h 7487"/>
                <a:gd name="T24" fmla="*/ 0 w 12967"/>
                <a:gd name="T25" fmla="*/ 2982 h 7487"/>
                <a:gd name="T26" fmla="*/ 144 w 12967"/>
                <a:gd name="T27" fmla="*/ 2804 h 7487"/>
                <a:gd name="T28" fmla="*/ 4858 w 12967"/>
                <a:gd name="T29" fmla="*/ 83 h 7487"/>
                <a:gd name="T30" fmla="*/ 5165 w 12967"/>
                <a:gd name="T31" fmla="*/ 0 h 7487"/>
                <a:gd name="T32" fmla="*/ 5217 w 12967"/>
                <a:gd name="T33" fmla="*/ 0 h 7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967" h="7487">
                  <a:moveTo>
                    <a:pt x="5217" y="0"/>
                  </a:moveTo>
                  <a:cubicBezTo>
                    <a:pt x="5303" y="3"/>
                    <a:pt x="5385" y="22"/>
                    <a:pt x="5448" y="59"/>
                  </a:cubicBezTo>
                  <a:lnTo>
                    <a:pt x="12866" y="4341"/>
                  </a:lnTo>
                  <a:cubicBezTo>
                    <a:pt x="12925" y="4375"/>
                    <a:pt x="12958" y="4420"/>
                    <a:pt x="12966" y="4467"/>
                  </a:cubicBezTo>
                  <a:lnTo>
                    <a:pt x="12966" y="4512"/>
                  </a:lnTo>
                  <a:cubicBezTo>
                    <a:pt x="12956" y="4572"/>
                    <a:pt x="12908" y="4633"/>
                    <a:pt x="12823" y="4682"/>
                  </a:cubicBezTo>
                  <a:lnTo>
                    <a:pt x="8109" y="7403"/>
                  </a:lnTo>
                  <a:cubicBezTo>
                    <a:pt x="8022" y="7454"/>
                    <a:pt x="7912" y="7482"/>
                    <a:pt x="7805" y="7486"/>
                  </a:cubicBezTo>
                  <a:lnTo>
                    <a:pt x="7746" y="7486"/>
                  </a:lnTo>
                  <a:cubicBezTo>
                    <a:pt x="7661" y="7483"/>
                    <a:pt x="7581" y="7463"/>
                    <a:pt x="7519" y="7428"/>
                  </a:cubicBezTo>
                  <a:lnTo>
                    <a:pt x="101" y="3145"/>
                  </a:lnTo>
                  <a:cubicBezTo>
                    <a:pt x="39" y="3109"/>
                    <a:pt x="5" y="3062"/>
                    <a:pt x="0" y="3012"/>
                  </a:cubicBezTo>
                  <a:lnTo>
                    <a:pt x="0" y="2982"/>
                  </a:lnTo>
                  <a:cubicBezTo>
                    <a:pt x="7" y="2920"/>
                    <a:pt x="55" y="2856"/>
                    <a:pt x="144" y="2804"/>
                  </a:cubicBezTo>
                  <a:lnTo>
                    <a:pt x="4858" y="83"/>
                  </a:lnTo>
                  <a:cubicBezTo>
                    <a:pt x="4946" y="31"/>
                    <a:pt x="5057" y="3"/>
                    <a:pt x="5165" y="0"/>
                  </a:cubicBezTo>
                  <a:lnTo>
                    <a:pt x="5217" y="0"/>
                  </a:lnTo>
                </a:path>
              </a:pathLst>
            </a:custGeom>
            <a:noFill/>
            <a:ln w="1800" cap="flat">
              <a:no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12" name="Freeform 10">
              <a:extLst>
                <a:ext uri="{FF2B5EF4-FFF2-40B4-BE49-F238E27FC236}">
                  <a16:creationId xmlns:a16="http://schemas.microsoft.com/office/drawing/2014/main" id="{AA93C844-19EB-3C4F-BE77-7E81AF327055}"/>
                </a:ext>
              </a:extLst>
            </p:cNvPr>
            <p:cNvSpPr>
              <a:spLocks noChangeArrowheads="1"/>
            </p:cNvSpPr>
            <p:nvPr/>
          </p:nvSpPr>
          <p:spPr bwMode="auto">
            <a:xfrm>
              <a:off x="9766491" y="6604535"/>
              <a:ext cx="5579147" cy="3223057"/>
            </a:xfrm>
            <a:custGeom>
              <a:avLst/>
              <a:gdLst>
                <a:gd name="T0" fmla="*/ 8542 w 8543"/>
                <a:gd name="T1" fmla="*/ 3557 h 4933"/>
                <a:gd name="T2" fmla="*/ 8497 w 8543"/>
                <a:gd name="T3" fmla="*/ 3611 h 4933"/>
                <a:gd name="T4" fmla="*/ 6253 w 8543"/>
                <a:gd name="T5" fmla="*/ 4906 h 4933"/>
                <a:gd name="T6" fmla="*/ 6166 w 8543"/>
                <a:gd name="T7" fmla="*/ 4932 h 4933"/>
                <a:gd name="T8" fmla="*/ 6130 w 8543"/>
                <a:gd name="T9" fmla="*/ 4932 h 4933"/>
                <a:gd name="T10" fmla="*/ 6066 w 8543"/>
                <a:gd name="T11" fmla="*/ 4914 h 4933"/>
                <a:gd name="T12" fmla="*/ 32 w 8543"/>
                <a:gd name="T13" fmla="*/ 1429 h 4933"/>
                <a:gd name="T14" fmla="*/ 0 w 8543"/>
                <a:gd name="T15" fmla="*/ 1389 h 4933"/>
                <a:gd name="T16" fmla="*/ 0 w 8543"/>
                <a:gd name="T17" fmla="*/ 1376 h 4933"/>
                <a:gd name="T18" fmla="*/ 45 w 8543"/>
                <a:gd name="T19" fmla="*/ 1321 h 4933"/>
                <a:gd name="T20" fmla="*/ 2289 w 8543"/>
                <a:gd name="T21" fmla="*/ 27 h 4933"/>
                <a:gd name="T22" fmla="*/ 2395 w 8543"/>
                <a:gd name="T23" fmla="*/ 0 h 4933"/>
                <a:gd name="T24" fmla="*/ 2476 w 8543"/>
                <a:gd name="T25" fmla="*/ 19 h 4933"/>
                <a:gd name="T26" fmla="*/ 8511 w 8543"/>
                <a:gd name="T27" fmla="*/ 3503 h 4933"/>
                <a:gd name="T28" fmla="*/ 8542 w 8543"/>
                <a:gd name="T29" fmla="*/ 3542 h 4933"/>
                <a:gd name="T30" fmla="*/ 8542 w 8543"/>
                <a:gd name="T31" fmla="*/ 3557 h 4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43" h="4933">
                  <a:moveTo>
                    <a:pt x="8542" y="3557"/>
                  </a:moveTo>
                  <a:cubicBezTo>
                    <a:pt x="8539" y="3576"/>
                    <a:pt x="8524" y="3596"/>
                    <a:pt x="8497" y="3611"/>
                  </a:cubicBezTo>
                  <a:lnTo>
                    <a:pt x="6253" y="4906"/>
                  </a:lnTo>
                  <a:cubicBezTo>
                    <a:pt x="6228" y="4921"/>
                    <a:pt x="6197" y="4930"/>
                    <a:pt x="6166" y="4932"/>
                  </a:cubicBezTo>
                  <a:lnTo>
                    <a:pt x="6130" y="4932"/>
                  </a:lnTo>
                  <a:cubicBezTo>
                    <a:pt x="6106" y="4930"/>
                    <a:pt x="6084" y="4924"/>
                    <a:pt x="6066" y="4914"/>
                  </a:cubicBezTo>
                  <a:lnTo>
                    <a:pt x="32" y="1429"/>
                  </a:lnTo>
                  <a:cubicBezTo>
                    <a:pt x="12" y="1419"/>
                    <a:pt x="2" y="1404"/>
                    <a:pt x="0" y="1389"/>
                  </a:cubicBezTo>
                  <a:lnTo>
                    <a:pt x="0" y="1376"/>
                  </a:lnTo>
                  <a:cubicBezTo>
                    <a:pt x="2" y="1357"/>
                    <a:pt x="18" y="1337"/>
                    <a:pt x="45" y="1321"/>
                  </a:cubicBezTo>
                  <a:lnTo>
                    <a:pt x="2289" y="27"/>
                  </a:lnTo>
                  <a:cubicBezTo>
                    <a:pt x="2319" y="9"/>
                    <a:pt x="2358" y="0"/>
                    <a:pt x="2395" y="0"/>
                  </a:cubicBezTo>
                  <a:cubicBezTo>
                    <a:pt x="2425" y="0"/>
                    <a:pt x="2454" y="7"/>
                    <a:pt x="2476" y="19"/>
                  </a:cubicBezTo>
                  <a:lnTo>
                    <a:pt x="8511" y="3503"/>
                  </a:lnTo>
                  <a:cubicBezTo>
                    <a:pt x="8529" y="3514"/>
                    <a:pt x="8540" y="3528"/>
                    <a:pt x="8542" y="3542"/>
                  </a:cubicBezTo>
                  <a:lnTo>
                    <a:pt x="8542" y="3557"/>
                  </a:lnTo>
                </a:path>
              </a:pathLst>
            </a:custGeom>
            <a:solidFill>
              <a:schemeClr val="bg1">
                <a:lumMod val="95000"/>
              </a:schemeClr>
            </a:solidFill>
            <a:ln>
              <a:noFill/>
            </a:ln>
            <a:effectLst/>
          </p:spPr>
          <p:txBody>
            <a:bodyPr wrap="none" anchor="ctr"/>
            <a:lstStyle/>
            <a:p>
              <a:endParaRPr lang="en-US" sz="3266" dirty="0">
                <a:latin typeface="Lato Light" panose="020F0502020204030203" pitchFamily="34" charset="0"/>
              </a:endParaRPr>
            </a:p>
          </p:txBody>
        </p:sp>
        <p:sp>
          <p:nvSpPr>
            <p:cNvPr id="13" name="Freeform 11">
              <a:extLst>
                <a:ext uri="{FF2B5EF4-FFF2-40B4-BE49-F238E27FC236}">
                  <a16:creationId xmlns:a16="http://schemas.microsoft.com/office/drawing/2014/main" id="{64DB7BEE-BBD2-0A42-920D-F6CA1C20D359}"/>
                </a:ext>
              </a:extLst>
            </p:cNvPr>
            <p:cNvSpPr>
              <a:spLocks noChangeArrowheads="1"/>
            </p:cNvSpPr>
            <p:nvPr/>
          </p:nvSpPr>
          <p:spPr bwMode="auto">
            <a:xfrm>
              <a:off x="9766492" y="8367281"/>
              <a:ext cx="2523145" cy="1457433"/>
            </a:xfrm>
            <a:custGeom>
              <a:avLst/>
              <a:gdLst>
                <a:gd name="T0" fmla="*/ 2096 w 3862"/>
                <a:gd name="T1" fmla="*/ 2232 h 2233"/>
                <a:gd name="T2" fmla="*/ 0 w 3862"/>
                <a:gd name="T3" fmla="*/ 1022 h 2233"/>
                <a:gd name="T4" fmla="*/ 0 w 3862"/>
                <a:gd name="T5" fmla="*/ 903 h 2233"/>
                <a:gd name="T6" fmla="*/ 1563 w 3862"/>
                <a:gd name="T7" fmla="*/ 0 h 2233"/>
                <a:gd name="T8" fmla="*/ 3861 w 3862"/>
                <a:gd name="T9" fmla="*/ 1328 h 2233"/>
                <a:gd name="T10" fmla="*/ 2297 w 3862"/>
                <a:gd name="T11" fmla="*/ 2232 h 2233"/>
                <a:gd name="T12" fmla="*/ 2096 w 3862"/>
                <a:gd name="T13" fmla="*/ 2232 h 2233"/>
              </a:gdLst>
              <a:ahLst/>
              <a:cxnLst>
                <a:cxn ang="0">
                  <a:pos x="T0" y="T1"/>
                </a:cxn>
                <a:cxn ang="0">
                  <a:pos x="T2" y="T3"/>
                </a:cxn>
                <a:cxn ang="0">
                  <a:pos x="T4" y="T5"/>
                </a:cxn>
                <a:cxn ang="0">
                  <a:pos x="T6" y="T7"/>
                </a:cxn>
                <a:cxn ang="0">
                  <a:pos x="T8" y="T9"/>
                </a:cxn>
                <a:cxn ang="0">
                  <a:pos x="T10" y="T11"/>
                </a:cxn>
                <a:cxn ang="0">
                  <a:pos x="T12" y="T13"/>
                </a:cxn>
              </a:cxnLst>
              <a:rect l="0" t="0" r="r" b="b"/>
              <a:pathLst>
                <a:path w="3862" h="2233">
                  <a:moveTo>
                    <a:pt x="2096" y="2232"/>
                  </a:moveTo>
                  <a:lnTo>
                    <a:pt x="0" y="1022"/>
                  </a:lnTo>
                  <a:lnTo>
                    <a:pt x="0" y="903"/>
                  </a:lnTo>
                  <a:lnTo>
                    <a:pt x="1563" y="0"/>
                  </a:lnTo>
                  <a:lnTo>
                    <a:pt x="3861" y="1328"/>
                  </a:lnTo>
                  <a:lnTo>
                    <a:pt x="2297" y="2232"/>
                  </a:lnTo>
                  <a:lnTo>
                    <a:pt x="2096" y="2232"/>
                  </a:lnTo>
                </a:path>
              </a:pathLst>
            </a:custGeom>
            <a:solidFill>
              <a:schemeClr val="bg1">
                <a:lumMod val="95000"/>
              </a:schemeClr>
            </a:solidFill>
            <a:ln>
              <a:noFill/>
            </a:ln>
            <a:effectLst/>
          </p:spPr>
          <p:txBody>
            <a:bodyPr wrap="none" anchor="ctr"/>
            <a:lstStyle/>
            <a:p>
              <a:endParaRPr lang="en-US" sz="3266" dirty="0">
                <a:latin typeface="Lato Light" panose="020F0502020204030203" pitchFamily="34" charset="0"/>
              </a:endParaRPr>
            </a:p>
          </p:txBody>
        </p:sp>
        <p:sp>
          <p:nvSpPr>
            <p:cNvPr id="14" name="Freeform 12">
              <a:extLst>
                <a:ext uri="{FF2B5EF4-FFF2-40B4-BE49-F238E27FC236}">
                  <a16:creationId xmlns:a16="http://schemas.microsoft.com/office/drawing/2014/main" id="{92579075-3838-7049-960A-F4DE06A2CC2D}"/>
                </a:ext>
              </a:extLst>
            </p:cNvPr>
            <p:cNvSpPr>
              <a:spLocks noChangeArrowheads="1"/>
            </p:cNvSpPr>
            <p:nvPr/>
          </p:nvSpPr>
          <p:spPr bwMode="auto">
            <a:xfrm>
              <a:off x="11909436" y="6604536"/>
              <a:ext cx="3436202" cy="1984527"/>
            </a:xfrm>
            <a:custGeom>
              <a:avLst/>
              <a:gdLst>
                <a:gd name="T0" fmla="*/ 492 w 5263"/>
                <a:gd name="T1" fmla="*/ 0 h 3038"/>
                <a:gd name="T2" fmla="*/ 5262 w 5263"/>
                <a:gd name="T3" fmla="*/ 2754 h 3038"/>
                <a:gd name="T4" fmla="*/ 5262 w 5263"/>
                <a:gd name="T5" fmla="*/ 3037 h 3038"/>
                <a:gd name="T6" fmla="*/ 0 w 5263"/>
                <a:gd name="T7" fmla="*/ 0 h 3038"/>
                <a:gd name="T8" fmla="*/ 492 w 5263"/>
                <a:gd name="T9" fmla="*/ 0 h 3038"/>
              </a:gdLst>
              <a:ahLst/>
              <a:cxnLst>
                <a:cxn ang="0">
                  <a:pos x="T0" y="T1"/>
                </a:cxn>
                <a:cxn ang="0">
                  <a:pos x="T2" y="T3"/>
                </a:cxn>
                <a:cxn ang="0">
                  <a:pos x="T4" y="T5"/>
                </a:cxn>
                <a:cxn ang="0">
                  <a:pos x="T6" y="T7"/>
                </a:cxn>
                <a:cxn ang="0">
                  <a:pos x="T8" y="T9"/>
                </a:cxn>
              </a:cxnLst>
              <a:rect l="0" t="0" r="r" b="b"/>
              <a:pathLst>
                <a:path w="5263" h="3038">
                  <a:moveTo>
                    <a:pt x="492" y="0"/>
                  </a:moveTo>
                  <a:lnTo>
                    <a:pt x="5262" y="2754"/>
                  </a:lnTo>
                  <a:lnTo>
                    <a:pt x="5262" y="3037"/>
                  </a:lnTo>
                  <a:lnTo>
                    <a:pt x="0" y="0"/>
                  </a:lnTo>
                  <a:lnTo>
                    <a:pt x="492" y="0"/>
                  </a:lnTo>
                </a:path>
              </a:pathLst>
            </a:custGeom>
            <a:solidFill>
              <a:schemeClr val="bg1">
                <a:lumMod val="50000"/>
              </a:schemeClr>
            </a:solidFill>
            <a:ln>
              <a:noFill/>
            </a:ln>
            <a:effectLst/>
          </p:spPr>
          <p:txBody>
            <a:bodyPr wrap="none" anchor="ctr"/>
            <a:lstStyle/>
            <a:p>
              <a:endParaRPr lang="en-US" sz="3266" dirty="0">
                <a:latin typeface="Lato Light" panose="020F0502020204030203" pitchFamily="34" charset="0"/>
              </a:endParaRPr>
            </a:p>
          </p:txBody>
        </p:sp>
        <p:sp>
          <p:nvSpPr>
            <p:cNvPr id="15" name="Freeform 14">
              <a:extLst>
                <a:ext uri="{FF2B5EF4-FFF2-40B4-BE49-F238E27FC236}">
                  <a16:creationId xmlns:a16="http://schemas.microsoft.com/office/drawing/2014/main" id="{D2385BE5-CDAA-AC49-BFBE-01A7B5515167}"/>
                </a:ext>
              </a:extLst>
            </p:cNvPr>
            <p:cNvSpPr>
              <a:spLocks noChangeArrowheads="1"/>
            </p:cNvSpPr>
            <p:nvPr/>
          </p:nvSpPr>
          <p:spPr bwMode="auto">
            <a:xfrm>
              <a:off x="9907628" y="6650619"/>
              <a:ext cx="5352225" cy="3098548"/>
            </a:xfrm>
            <a:custGeom>
              <a:avLst/>
              <a:gdLst>
                <a:gd name="connsiteX0" fmla="*/ 3747381 w 5352225"/>
                <a:gd name="connsiteY0" fmla="*/ 2935027 h 3098548"/>
                <a:gd name="connsiteX1" fmla="*/ 3764336 w 5352225"/>
                <a:gd name="connsiteY1" fmla="*/ 2938967 h 3098548"/>
                <a:gd name="connsiteX2" fmla="*/ 3948241 w 5352225"/>
                <a:gd name="connsiteY2" fmla="*/ 3045355 h 3098548"/>
                <a:gd name="connsiteX3" fmla="*/ 3948241 w 5352225"/>
                <a:gd name="connsiteY3" fmla="*/ 3066369 h 3098548"/>
                <a:gd name="connsiteX4" fmla="*/ 3945632 w 5352225"/>
                <a:gd name="connsiteY4" fmla="*/ 3067683 h 3098548"/>
                <a:gd name="connsiteX5" fmla="*/ 3894113 w 5352225"/>
                <a:gd name="connsiteY5" fmla="*/ 3097235 h 3098548"/>
                <a:gd name="connsiteX6" fmla="*/ 3892156 w 5352225"/>
                <a:gd name="connsiteY6" fmla="*/ 3098548 h 3098548"/>
                <a:gd name="connsiteX7" fmla="*/ 3856289 w 5352225"/>
                <a:gd name="connsiteY7" fmla="*/ 3098548 h 3098548"/>
                <a:gd name="connsiteX8" fmla="*/ 3672384 w 5352225"/>
                <a:gd name="connsiteY8" fmla="*/ 2992161 h 3098548"/>
                <a:gd name="connsiteX9" fmla="*/ 3672384 w 5352225"/>
                <a:gd name="connsiteY9" fmla="*/ 2971803 h 3098548"/>
                <a:gd name="connsiteX10" fmla="*/ 3674993 w 5352225"/>
                <a:gd name="connsiteY10" fmla="*/ 2969833 h 3098548"/>
                <a:gd name="connsiteX11" fmla="*/ 3726512 w 5352225"/>
                <a:gd name="connsiteY11" fmla="*/ 2940281 h 3098548"/>
                <a:gd name="connsiteX12" fmla="*/ 3747381 w 5352225"/>
                <a:gd name="connsiteY12" fmla="*/ 2935027 h 3098548"/>
                <a:gd name="connsiteX13" fmla="*/ 3471049 w 5352225"/>
                <a:gd name="connsiteY13" fmla="*/ 2773730 h 3098548"/>
                <a:gd name="connsiteX14" fmla="*/ 3487391 w 5352225"/>
                <a:gd name="connsiteY14" fmla="*/ 2777670 h 3098548"/>
                <a:gd name="connsiteX15" fmla="*/ 3671730 w 5352225"/>
                <a:gd name="connsiteY15" fmla="*/ 2884058 h 3098548"/>
                <a:gd name="connsiteX16" fmla="*/ 3671730 w 5352225"/>
                <a:gd name="connsiteY16" fmla="*/ 2905072 h 3098548"/>
                <a:gd name="connsiteX17" fmla="*/ 3669116 w 5352225"/>
                <a:gd name="connsiteY17" fmla="*/ 2906386 h 3098548"/>
                <a:gd name="connsiteX18" fmla="*/ 3618128 w 5352225"/>
                <a:gd name="connsiteY18" fmla="*/ 2935938 h 3098548"/>
                <a:gd name="connsiteX19" fmla="*/ 3615513 w 5352225"/>
                <a:gd name="connsiteY19" fmla="*/ 2937251 h 3098548"/>
                <a:gd name="connsiteX20" fmla="*/ 3579561 w 5352225"/>
                <a:gd name="connsiteY20" fmla="*/ 2937251 h 3098548"/>
                <a:gd name="connsiteX21" fmla="*/ 3395875 w 5352225"/>
                <a:gd name="connsiteY21" fmla="*/ 2830864 h 3098548"/>
                <a:gd name="connsiteX22" fmla="*/ 3395875 w 5352225"/>
                <a:gd name="connsiteY22" fmla="*/ 2810506 h 3098548"/>
                <a:gd name="connsiteX23" fmla="*/ 3398490 w 5352225"/>
                <a:gd name="connsiteY23" fmla="*/ 2808536 h 3098548"/>
                <a:gd name="connsiteX24" fmla="*/ 3449477 w 5352225"/>
                <a:gd name="connsiteY24" fmla="*/ 2778984 h 3098548"/>
                <a:gd name="connsiteX25" fmla="*/ 3471049 w 5352225"/>
                <a:gd name="connsiteY25" fmla="*/ 2773730 h 3098548"/>
                <a:gd name="connsiteX26" fmla="*/ 3604018 w 5352225"/>
                <a:gd name="connsiteY26" fmla="*/ 2695964 h 3098548"/>
                <a:gd name="connsiteX27" fmla="*/ 3620321 w 5352225"/>
                <a:gd name="connsiteY27" fmla="*/ 2699889 h 3098548"/>
                <a:gd name="connsiteX28" fmla="*/ 3804226 w 5352225"/>
                <a:gd name="connsiteY28" fmla="*/ 2806505 h 3098548"/>
                <a:gd name="connsiteX29" fmla="*/ 3804226 w 5352225"/>
                <a:gd name="connsiteY29" fmla="*/ 2826127 h 3098548"/>
                <a:gd name="connsiteX30" fmla="*/ 3800965 w 5352225"/>
                <a:gd name="connsiteY30" fmla="*/ 2828090 h 3098548"/>
                <a:gd name="connsiteX31" fmla="*/ 3750750 w 5352225"/>
                <a:gd name="connsiteY31" fmla="*/ 2858178 h 3098548"/>
                <a:gd name="connsiteX32" fmla="*/ 3748141 w 5352225"/>
                <a:gd name="connsiteY32" fmla="*/ 2859486 h 3098548"/>
                <a:gd name="connsiteX33" fmla="*/ 3712274 w 5352225"/>
                <a:gd name="connsiteY33" fmla="*/ 2859486 h 3098548"/>
                <a:gd name="connsiteX34" fmla="*/ 3528369 w 5352225"/>
                <a:gd name="connsiteY34" fmla="*/ 2753524 h 3098548"/>
                <a:gd name="connsiteX35" fmla="*/ 3528369 w 5352225"/>
                <a:gd name="connsiteY35" fmla="*/ 2733247 h 3098548"/>
                <a:gd name="connsiteX36" fmla="*/ 3531630 w 5352225"/>
                <a:gd name="connsiteY36" fmla="*/ 2730631 h 3098548"/>
                <a:gd name="connsiteX37" fmla="*/ 3581845 w 5352225"/>
                <a:gd name="connsiteY37" fmla="*/ 2701851 h 3098548"/>
                <a:gd name="connsiteX38" fmla="*/ 3604018 w 5352225"/>
                <a:gd name="connsiteY38" fmla="*/ 2695964 h 3098548"/>
                <a:gd name="connsiteX39" fmla="*/ 3200124 w 5352225"/>
                <a:gd name="connsiteY39" fmla="*/ 2618194 h 3098548"/>
                <a:gd name="connsiteX40" fmla="*/ 3217079 w 5352225"/>
                <a:gd name="connsiteY40" fmla="*/ 2622119 h 3098548"/>
                <a:gd name="connsiteX41" fmla="*/ 3400984 w 5352225"/>
                <a:gd name="connsiteY41" fmla="*/ 2728082 h 3098548"/>
                <a:gd name="connsiteX42" fmla="*/ 3400984 w 5352225"/>
                <a:gd name="connsiteY42" fmla="*/ 2748359 h 3098548"/>
                <a:gd name="connsiteX43" fmla="*/ 3397723 w 5352225"/>
                <a:gd name="connsiteY43" fmla="*/ 2750321 h 3098548"/>
                <a:gd name="connsiteX44" fmla="*/ 3346856 w 5352225"/>
                <a:gd name="connsiteY44" fmla="*/ 2779756 h 3098548"/>
                <a:gd name="connsiteX45" fmla="*/ 3343595 w 5352225"/>
                <a:gd name="connsiteY45" fmla="*/ 2781718 h 3098548"/>
                <a:gd name="connsiteX46" fmla="*/ 3309032 w 5352225"/>
                <a:gd name="connsiteY46" fmla="*/ 2781718 h 3098548"/>
                <a:gd name="connsiteX47" fmla="*/ 3125127 w 5352225"/>
                <a:gd name="connsiteY47" fmla="*/ 2675100 h 3098548"/>
                <a:gd name="connsiteX48" fmla="*/ 3125127 w 5352225"/>
                <a:gd name="connsiteY48" fmla="*/ 2654823 h 3098548"/>
                <a:gd name="connsiteX49" fmla="*/ 3127736 w 5352225"/>
                <a:gd name="connsiteY49" fmla="*/ 2652861 h 3098548"/>
                <a:gd name="connsiteX50" fmla="*/ 3178603 w 5352225"/>
                <a:gd name="connsiteY50" fmla="*/ 2624081 h 3098548"/>
                <a:gd name="connsiteX51" fmla="*/ 3200124 w 5352225"/>
                <a:gd name="connsiteY51" fmla="*/ 2618194 h 3098548"/>
                <a:gd name="connsiteX52" fmla="*/ 3886932 w 5352225"/>
                <a:gd name="connsiteY52" fmla="*/ 2540427 h 3098548"/>
                <a:gd name="connsiteX53" fmla="*/ 3926856 w 5352225"/>
                <a:gd name="connsiteY53" fmla="*/ 2549552 h 3098548"/>
                <a:gd name="connsiteX54" fmla="*/ 4373219 w 5352225"/>
                <a:gd name="connsiteY54" fmla="*/ 2805702 h 3098548"/>
                <a:gd name="connsiteX55" fmla="*/ 4388926 w 5352225"/>
                <a:gd name="connsiteY55" fmla="*/ 2826559 h 3098548"/>
                <a:gd name="connsiteX56" fmla="*/ 4388926 w 5352225"/>
                <a:gd name="connsiteY56" fmla="*/ 2830470 h 3098548"/>
                <a:gd name="connsiteX57" fmla="*/ 4366674 w 5352225"/>
                <a:gd name="connsiteY57" fmla="*/ 2858497 h 3098548"/>
                <a:gd name="connsiteX58" fmla="*/ 4246247 w 5352225"/>
                <a:gd name="connsiteY58" fmla="*/ 2927586 h 3098548"/>
                <a:gd name="connsiteX59" fmla="*/ 4239048 w 5352225"/>
                <a:gd name="connsiteY59" fmla="*/ 2931496 h 3098548"/>
                <a:gd name="connsiteX60" fmla="*/ 4153964 w 5352225"/>
                <a:gd name="connsiteY60" fmla="*/ 2931496 h 3098548"/>
                <a:gd name="connsiteX61" fmla="*/ 3708256 w 5352225"/>
                <a:gd name="connsiteY61" fmla="*/ 2674694 h 3098548"/>
                <a:gd name="connsiteX62" fmla="*/ 3692548 w 5352225"/>
                <a:gd name="connsiteY62" fmla="*/ 2654489 h 3098548"/>
                <a:gd name="connsiteX63" fmla="*/ 3692548 w 5352225"/>
                <a:gd name="connsiteY63" fmla="*/ 2650578 h 3098548"/>
                <a:gd name="connsiteX64" fmla="*/ 3714801 w 5352225"/>
                <a:gd name="connsiteY64" fmla="*/ 2621900 h 3098548"/>
                <a:gd name="connsiteX65" fmla="*/ 3834573 w 5352225"/>
                <a:gd name="connsiteY65" fmla="*/ 2553463 h 3098548"/>
                <a:gd name="connsiteX66" fmla="*/ 3886932 w 5352225"/>
                <a:gd name="connsiteY66" fmla="*/ 2540427 h 3098548"/>
                <a:gd name="connsiteX67" fmla="*/ 4192605 w 5352225"/>
                <a:gd name="connsiteY67" fmla="*/ 2410813 h 3098548"/>
                <a:gd name="connsiteX68" fmla="*/ 4218709 w 5352225"/>
                <a:gd name="connsiteY68" fmla="*/ 2416698 h 3098548"/>
                <a:gd name="connsiteX69" fmla="*/ 4383166 w 5352225"/>
                <a:gd name="connsiteY69" fmla="*/ 2511508 h 3098548"/>
                <a:gd name="connsiteX70" fmla="*/ 4383166 w 5352225"/>
                <a:gd name="connsiteY70" fmla="*/ 2543548 h 3098548"/>
                <a:gd name="connsiteX71" fmla="*/ 4378598 w 5352225"/>
                <a:gd name="connsiteY71" fmla="*/ 2546163 h 3098548"/>
                <a:gd name="connsiteX72" fmla="*/ 4224583 w 5352225"/>
                <a:gd name="connsiteY72" fmla="*/ 2635743 h 3098548"/>
                <a:gd name="connsiteX73" fmla="*/ 4220667 w 5352225"/>
                <a:gd name="connsiteY73" fmla="*/ 2637704 h 3098548"/>
                <a:gd name="connsiteX74" fmla="*/ 4165195 w 5352225"/>
                <a:gd name="connsiteY74" fmla="*/ 2637704 h 3098548"/>
                <a:gd name="connsiteX75" fmla="*/ 4000738 w 5352225"/>
                <a:gd name="connsiteY75" fmla="*/ 2542894 h 3098548"/>
                <a:gd name="connsiteX76" fmla="*/ 4000738 w 5352225"/>
                <a:gd name="connsiteY76" fmla="*/ 2511508 h 3098548"/>
                <a:gd name="connsiteX77" fmla="*/ 4004654 w 5352225"/>
                <a:gd name="connsiteY77" fmla="*/ 2508893 h 3098548"/>
                <a:gd name="connsiteX78" fmla="*/ 4159322 w 5352225"/>
                <a:gd name="connsiteY78" fmla="*/ 2419313 h 3098548"/>
                <a:gd name="connsiteX79" fmla="*/ 4192605 w 5352225"/>
                <a:gd name="connsiteY79" fmla="*/ 2410813 h 3098548"/>
                <a:gd name="connsiteX80" fmla="*/ 3058418 w 5352225"/>
                <a:gd name="connsiteY80" fmla="*/ 2382010 h 3098548"/>
                <a:gd name="connsiteX81" fmla="*/ 3083870 w 5352225"/>
                <a:gd name="connsiteY81" fmla="*/ 2387895 h 3098548"/>
                <a:gd name="connsiteX82" fmla="*/ 3248327 w 5352225"/>
                <a:gd name="connsiteY82" fmla="*/ 2483359 h 3098548"/>
                <a:gd name="connsiteX83" fmla="*/ 3248327 w 5352225"/>
                <a:gd name="connsiteY83" fmla="*/ 2514745 h 3098548"/>
                <a:gd name="connsiteX84" fmla="*/ 3244412 w 5352225"/>
                <a:gd name="connsiteY84" fmla="*/ 2517360 h 3098548"/>
                <a:gd name="connsiteX85" fmla="*/ 3089744 w 5352225"/>
                <a:gd name="connsiteY85" fmla="*/ 2606940 h 3098548"/>
                <a:gd name="connsiteX86" fmla="*/ 3085828 w 5352225"/>
                <a:gd name="connsiteY86" fmla="*/ 2608901 h 3098548"/>
                <a:gd name="connsiteX87" fmla="*/ 3031009 w 5352225"/>
                <a:gd name="connsiteY87" fmla="*/ 2608901 h 3098548"/>
                <a:gd name="connsiteX88" fmla="*/ 2865899 w 5352225"/>
                <a:gd name="connsiteY88" fmla="*/ 2514091 h 3098548"/>
                <a:gd name="connsiteX89" fmla="*/ 2865899 w 5352225"/>
                <a:gd name="connsiteY89" fmla="*/ 2482705 h 3098548"/>
                <a:gd name="connsiteX90" fmla="*/ 2870467 w 5352225"/>
                <a:gd name="connsiteY90" fmla="*/ 2479436 h 3098548"/>
                <a:gd name="connsiteX91" fmla="*/ 3025135 w 5352225"/>
                <a:gd name="connsiteY91" fmla="*/ 2390510 h 3098548"/>
                <a:gd name="connsiteX92" fmla="*/ 3058418 w 5352225"/>
                <a:gd name="connsiteY92" fmla="*/ 2382010 h 3098548"/>
                <a:gd name="connsiteX93" fmla="*/ 3611109 w 5352225"/>
                <a:gd name="connsiteY93" fmla="*/ 2376249 h 3098548"/>
                <a:gd name="connsiteX94" fmla="*/ 3636517 w 5352225"/>
                <a:gd name="connsiteY94" fmla="*/ 2382134 h 3098548"/>
                <a:gd name="connsiteX95" fmla="*/ 3801346 w 5352225"/>
                <a:gd name="connsiteY95" fmla="*/ 2477598 h 3098548"/>
                <a:gd name="connsiteX96" fmla="*/ 3801346 w 5352225"/>
                <a:gd name="connsiteY96" fmla="*/ 2508330 h 3098548"/>
                <a:gd name="connsiteX97" fmla="*/ 3796786 w 5352225"/>
                <a:gd name="connsiteY97" fmla="*/ 2510945 h 3098548"/>
                <a:gd name="connsiteX98" fmla="*/ 3642381 w 5352225"/>
                <a:gd name="connsiteY98" fmla="*/ 2601179 h 3098548"/>
                <a:gd name="connsiteX99" fmla="*/ 3638472 w 5352225"/>
                <a:gd name="connsiteY99" fmla="*/ 2603140 h 3098548"/>
                <a:gd name="connsiteX100" fmla="*/ 3583095 w 5352225"/>
                <a:gd name="connsiteY100" fmla="*/ 2603140 h 3098548"/>
                <a:gd name="connsiteX101" fmla="*/ 3418917 w 5352225"/>
                <a:gd name="connsiteY101" fmla="*/ 2508330 h 3098548"/>
                <a:gd name="connsiteX102" fmla="*/ 3418917 w 5352225"/>
                <a:gd name="connsiteY102" fmla="*/ 2476944 h 3098548"/>
                <a:gd name="connsiteX103" fmla="*/ 3423477 w 5352225"/>
                <a:gd name="connsiteY103" fmla="*/ 2473675 h 3098548"/>
                <a:gd name="connsiteX104" fmla="*/ 3577883 w 5352225"/>
                <a:gd name="connsiteY104" fmla="*/ 2384095 h 3098548"/>
                <a:gd name="connsiteX105" fmla="*/ 3611109 w 5352225"/>
                <a:gd name="connsiteY105" fmla="*/ 2376249 h 3098548"/>
                <a:gd name="connsiteX106" fmla="*/ 4442372 w 5352225"/>
                <a:gd name="connsiteY106" fmla="*/ 2255276 h 3098548"/>
                <a:gd name="connsiteX107" fmla="*/ 4478988 w 5352225"/>
                <a:gd name="connsiteY107" fmla="*/ 2263776 h 3098548"/>
                <a:gd name="connsiteX108" fmla="*/ 4894834 w 5352225"/>
                <a:gd name="connsiteY108" fmla="*/ 2503725 h 3098548"/>
                <a:gd name="connsiteX109" fmla="*/ 4913141 w 5352225"/>
                <a:gd name="connsiteY109" fmla="*/ 2527916 h 3098548"/>
                <a:gd name="connsiteX110" fmla="*/ 4913141 w 5352225"/>
                <a:gd name="connsiteY110" fmla="*/ 2531839 h 3098548"/>
                <a:gd name="connsiteX111" fmla="*/ 4894834 w 5352225"/>
                <a:gd name="connsiteY111" fmla="*/ 2554722 h 3098548"/>
                <a:gd name="connsiteX112" fmla="*/ 4492719 w 5352225"/>
                <a:gd name="connsiteY112" fmla="*/ 2787479 h 3098548"/>
                <a:gd name="connsiteX113" fmla="*/ 4404449 w 5352225"/>
                <a:gd name="connsiteY113" fmla="*/ 2787479 h 3098548"/>
                <a:gd name="connsiteX114" fmla="*/ 4273027 w 5352225"/>
                <a:gd name="connsiteY114" fmla="*/ 2711637 h 3098548"/>
                <a:gd name="connsiteX115" fmla="*/ 4272373 w 5352225"/>
                <a:gd name="connsiteY115" fmla="*/ 2660640 h 3098548"/>
                <a:gd name="connsiteX116" fmla="*/ 4456103 w 5352225"/>
                <a:gd name="connsiteY116" fmla="*/ 2554722 h 3098548"/>
                <a:gd name="connsiteX117" fmla="*/ 4456103 w 5352225"/>
                <a:gd name="connsiteY117" fmla="*/ 2503071 h 3098548"/>
                <a:gd name="connsiteX118" fmla="*/ 4260603 w 5352225"/>
                <a:gd name="connsiteY118" fmla="*/ 2389961 h 3098548"/>
                <a:gd name="connsiteX119" fmla="*/ 4245565 w 5352225"/>
                <a:gd name="connsiteY119" fmla="*/ 2371655 h 3098548"/>
                <a:gd name="connsiteX120" fmla="*/ 4245565 w 5352225"/>
                <a:gd name="connsiteY120" fmla="*/ 2365770 h 3098548"/>
                <a:gd name="connsiteX121" fmla="*/ 4259950 w 5352225"/>
                <a:gd name="connsiteY121" fmla="*/ 2348117 h 3098548"/>
                <a:gd name="connsiteX122" fmla="*/ 4406411 w 5352225"/>
                <a:gd name="connsiteY122" fmla="*/ 2263776 h 3098548"/>
                <a:gd name="connsiteX123" fmla="*/ 4442372 w 5352225"/>
                <a:gd name="connsiteY123" fmla="*/ 2255276 h 3098548"/>
                <a:gd name="connsiteX124" fmla="*/ 3905227 w 5352225"/>
                <a:gd name="connsiteY124" fmla="*/ 2243756 h 3098548"/>
                <a:gd name="connsiteX125" fmla="*/ 3930679 w 5352225"/>
                <a:gd name="connsiteY125" fmla="*/ 2250276 h 3098548"/>
                <a:gd name="connsiteX126" fmla="*/ 4095136 w 5352225"/>
                <a:gd name="connsiteY126" fmla="*/ 2344815 h 3098548"/>
                <a:gd name="connsiteX127" fmla="*/ 4095136 w 5352225"/>
                <a:gd name="connsiteY127" fmla="*/ 2376110 h 3098548"/>
                <a:gd name="connsiteX128" fmla="*/ 4091221 w 5352225"/>
                <a:gd name="connsiteY128" fmla="*/ 2378718 h 3098548"/>
                <a:gd name="connsiteX129" fmla="*/ 3936553 w 5352225"/>
                <a:gd name="connsiteY129" fmla="*/ 2468041 h 3098548"/>
                <a:gd name="connsiteX130" fmla="*/ 3931984 w 5352225"/>
                <a:gd name="connsiteY130" fmla="*/ 2470649 h 3098548"/>
                <a:gd name="connsiteX131" fmla="*/ 3877165 w 5352225"/>
                <a:gd name="connsiteY131" fmla="*/ 2470649 h 3098548"/>
                <a:gd name="connsiteX132" fmla="*/ 3712708 w 5352225"/>
                <a:gd name="connsiteY132" fmla="*/ 2375458 h 3098548"/>
                <a:gd name="connsiteX133" fmla="*/ 3712708 w 5352225"/>
                <a:gd name="connsiteY133" fmla="*/ 2344815 h 3098548"/>
                <a:gd name="connsiteX134" fmla="*/ 3717276 w 5352225"/>
                <a:gd name="connsiteY134" fmla="*/ 2341555 h 3098548"/>
                <a:gd name="connsiteX135" fmla="*/ 3871944 w 5352225"/>
                <a:gd name="connsiteY135" fmla="*/ 2252232 h 3098548"/>
                <a:gd name="connsiteX136" fmla="*/ 3905227 w 5352225"/>
                <a:gd name="connsiteY136" fmla="*/ 2243756 h 3098548"/>
                <a:gd name="connsiteX137" fmla="*/ 3337809 w 5352225"/>
                <a:gd name="connsiteY137" fmla="*/ 2220713 h 3098548"/>
                <a:gd name="connsiteX138" fmla="*/ 3363261 w 5352225"/>
                <a:gd name="connsiteY138" fmla="*/ 2226581 h 3098548"/>
                <a:gd name="connsiteX139" fmla="*/ 3527717 w 5352225"/>
                <a:gd name="connsiteY139" fmla="*/ 2321772 h 3098548"/>
                <a:gd name="connsiteX140" fmla="*/ 3527717 w 5352225"/>
                <a:gd name="connsiteY140" fmla="*/ 2353067 h 3098548"/>
                <a:gd name="connsiteX141" fmla="*/ 3523149 w 5352225"/>
                <a:gd name="connsiteY141" fmla="*/ 2355675 h 3098548"/>
                <a:gd name="connsiteX142" fmla="*/ 3369134 w 5352225"/>
                <a:gd name="connsiteY142" fmla="*/ 2444998 h 3098548"/>
                <a:gd name="connsiteX143" fmla="*/ 3364566 w 5352225"/>
                <a:gd name="connsiteY143" fmla="*/ 2447606 h 3098548"/>
                <a:gd name="connsiteX144" fmla="*/ 3309747 w 5352225"/>
                <a:gd name="connsiteY144" fmla="*/ 2447606 h 3098548"/>
                <a:gd name="connsiteX145" fmla="*/ 3145291 w 5352225"/>
                <a:gd name="connsiteY145" fmla="*/ 2352415 h 3098548"/>
                <a:gd name="connsiteX146" fmla="*/ 3145291 w 5352225"/>
                <a:gd name="connsiteY146" fmla="*/ 2321120 h 3098548"/>
                <a:gd name="connsiteX147" fmla="*/ 3149207 w 5352225"/>
                <a:gd name="connsiteY147" fmla="*/ 2318512 h 3098548"/>
                <a:gd name="connsiteX148" fmla="*/ 3304527 w 5352225"/>
                <a:gd name="connsiteY148" fmla="*/ 2229189 h 3098548"/>
                <a:gd name="connsiteX149" fmla="*/ 3337809 w 5352225"/>
                <a:gd name="connsiteY149" fmla="*/ 2220713 h 3098548"/>
                <a:gd name="connsiteX150" fmla="*/ 2752454 w 5352225"/>
                <a:gd name="connsiteY150" fmla="*/ 2206312 h 3098548"/>
                <a:gd name="connsiteX151" fmla="*/ 2777906 w 5352225"/>
                <a:gd name="connsiteY151" fmla="*/ 2212832 h 3098548"/>
                <a:gd name="connsiteX152" fmla="*/ 2943015 w 5352225"/>
                <a:gd name="connsiteY152" fmla="*/ 2307370 h 3098548"/>
                <a:gd name="connsiteX153" fmla="*/ 2943015 w 5352225"/>
                <a:gd name="connsiteY153" fmla="*/ 2339317 h 3098548"/>
                <a:gd name="connsiteX154" fmla="*/ 2939100 w 5352225"/>
                <a:gd name="connsiteY154" fmla="*/ 2341925 h 3098548"/>
                <a:gd name="connsiteX155" fmla="*/ 2783779 w 5352225"/>
                <a:gd name="connsiteY155" fmla="*/ 2430595 h 3098548"/>
                <a:gd name="connsiteX156" fmla="*/ 2779211 w 5352225"/>
                <a:gd name="connsiteY156" fmla="*/ 2433203 h 3098548"/>
                <a:gd name="connsiteX157" fmla="*/ 2725044 w 5352225"/>
                <a:gd name="connsiteY157" fmla="*/ 2433203 h 3098548"/>
                <a:gd name="connsiteX158" fmla="*/ 2560587 w 5352225"/>
                <a:gd name="connsiteY158" fmla="*/ 2338013 h 3098548"/>
                <a:gd name="connsiteX159" fmla="*/ 2560587 w 5352225"/>
                <a:gd name="connsiteY159" fmla="*/ 2306718 h 3098548"/>
                <a:gd name="connsiteX160" fmla="*/ 2564503 w 5352225"/>
                <a:gd name="connsiteY160" fmla="*/ 2304110 h 3098548"/>
                <a:gd name="connsiteX161" fmla="*/ 2719171 w 5352225"/>
                <a:gd name="connsiteY161" fmla="*/ 2214788 h 3098548"/>
                <a:gd name="connsiteX162" fmla="*/ 2752454 w 5352225"/>
                <a:gd name="connsiteY162" fmla="*/ 2206312 h 3098548"/>
                <a:gd name="connsiteX163" fmla="*/ 5120912 w 5352225"/>
                <a:gd name="connsiteY163" fmla="*/ 2137184 h 3098548"/>
                <a:gd name="connsiteX164" fmla="*/ 5159493 w 5352225"/>
                <a:gd name="connsiteY164" fmla="*/ 2146264 h 3098548"/>
                <a:gd name="connsiteX165" fmla="*/ 5336701 w 5352225"/>
                <a:gd name="connsiteY165" fmla="*/ 2248085 h 3098548"/>
                <a:gd name="connsiteX166" fmla="*/ 5330162 w 5352225"/>
                <a:gd name="connsiteY166" fmla="*/ 2298672 h 3098548"/>
                <a:gd name="connsiteX167" fmla="*/ 5278504 w 5352225"/>
                <a:gd name="connsiteY167" fmla="*/ 2328505 h 3098548"/>
                <a:gd name="connsiteX168" fmla="*/ 5270657 w 5352225"/>
                <a:gd name="connsiteY168" fmla="*/ 2332396 h 3098548"/>
                <a:gd name="connsiteX169" fmla="*/ 5190226 w 5352225"/>
                <a:gd name="connsiteY169" fmla="*/ 2332396 h 3098548"/>
                <a:gd name="connsiteX170" fmla="*/ 5012364 w 5352225"/>
                <a:gd name="connsiteY170" fmla="*/ 2230575 h 3098548"/>
                <a:gd name="connsiteX171" fmla="*/ 4997324 w 5352225"/>
                <a:gd name="connsiteY171" fmla="*/ 2211767 h 3098548"/>
                <a:gd name="connsiteX172" fmla="*/ 4997324 w 5352225"/>
                <a:gd name="connsiteY172" fmla="*/ 2205281 h 3098548"/>
                <a:gd name="connsiteX173" fmla="*/ 5018903 w 5352225"/>
                <a:gd name="connsiteY173" fmla="*/ 2179340 h 3098548"/>
                <a:gd name="connsiteX174" fmla="*/ 5070562 w 5352225"/>
                <a:gd name="connsiteY174" fmla="*/ 2150155 h 3098548"/>
                <a:gd name="connsiteX175" fmla="*/ 5120912 w 5352225"/>
                <a:gd name="connsiteY175" fmla="*/ 2137184 h 3098548"/>
                <a:gd name="connsiteX176" fmla="*/ 4167336 w 5352225"/>
                <a:gd name="connsiteY176" fmla="*/ 2093980 h 3098548"/>
                <a:gd name="connsiteX177" fmla="*/ 4192788 w 5352225"/>
                <a:gd name="connsiteY177" fmla="*/ 2099865 h 3098548"/>
                <a:gd name="connsiteX178" fmla="*/ 4357244 w 5352225"/>
                <a:gd name="connsiteY178" fmla="*/ 2194675 h 3098548"/>
                <a:gd name="connsiteX179" fmla="*/ 4357244 w 5352225"/>
                <a:gd name="connsiteY179" fmla="*/ 2226715 h 3098548"/>
                <a:gd name="connsiteX180" fmla="*/ 4353329 w 5352225"/>
                <a:gd name="connsiteY180" fmla="*/ 2229330 h 3098548"/>
                <a:gd name="connsiteX181" fmla="*/ 4198661 w 5352225"/>
                <a:gd name="connsiteY181" fmla="*/ 2318256 h 3098548"/>
                <a:gd name="connsiteX182" fmla="*/ 4194093 w 5352225"/>
                <a:gd name="connsiteY182" fmla="*/ 2320871 h 3098548"/>
                <a:gd name="connsiteX183" fmla="*/ 4139927 w 5352225"/>
                <a:gd name="connsiteY183" fmla="*/ 2320871 h 3098548"/>
                <a:gd name="connsiteX184" fmla="*/ 3974818 w 5352225"/>
                <a:gd name="connsiteY184" fmla="*/ 2226061 h 3098548"/>
                <a:gd name="connsiteX185" fmla="*/ 3974818 w 5352225"/>
                <a:gd name="connsiteY185" fmla="*/ 2195329 h 3098548"/>
                <a:gd name="connsiteX186" fmla="*/ 3979386 w 5352225"/>
                <a:gd name="connsiteY186" fmla="*/ 2192060 h 3098548"/>
                <a:gd name="connsiteX187" fmla="*/ 4134054 w 5352225"/>
                <a:gd name="connsiteY187" fmla="*/ 2102480 h 3098548"/>
                <a:gd name="connsiteX188" fmla="*/ 4167336 w 5352225"/>
                <a:gd name="connsiteY188" fmla="*/ 2093980 h 3098548"/>
                <a:gd name="connsiteX189" fmla="*/ 3628718 w 5352225"/>
                <a:gd name="connsiteY189" fmla="*/ 2085339 h 3098548"/>
                <a:gd name="connsiteX190" fmla="*/ 3654170 w 5352225"/>
                <a:gd name="connsiteY190" fmla="*/ 2091207 h 3098548"/>
                <a:gd name="connsiteX191" fmla="*/ 3818627 w 5352225"/>
                <a:gd name="connsiteY191" fmla="*/ 2185745 h 3098548"/>
                <a:gd name="connsiteX192" fmla="*/ 3818627 w 5352225"/>
                <a:gd name="connsiteY192" fmla="*/ 2217040 h 3098548"/>
                <a:gd name="connsiteX193" fmla="*/ 3814059 w 5352225"/>
                <a:gd name="connsiteY193" fmla="*/ 2219648 h 3098548"/>
                <a:gd name="connsiteX194" fmla="*/ 3659391 w 5352225"/>
                <a:gd name="connsiteY194" fmla="*/ 2309622 h 3098548"/>
                <a:gd name="connsiteX195" fmla="*/ 3654170 w 5352225"/>
                <a:gd name="connsiteY195" fmla="*/ 2312230 h 3098548"/>
                <a:gd name="connsiteX196" fmla="*/ 3600656 w 5352225"/>
                <a:gd name="connsiteY196" fmla="*/ 2312230 h 3098548"/>
                <a:gd name="connsiteX197" fmla="*/ 3436199 w 5352225"/>
                <a:gd name="connsiteY197" fmla="*/ 2217040 h 3098548"/>
                <a:gd name="connsiteX198" fmla="*/ 3436199 w 5352225"/>
                <a:gd name="connsiteY198" fmla="*/ 2185745 h 3098548"/>
                <a:gd name="connsiteX199" fmla="*/ 3440115 w 5352225"/>
                <a:gd name="connsiteY199" fmla="*/ 2183137 h 3098548"/>
                <a:gd name="connsiteX200" fmla="*/ 3594783 w 5352225"/>
                <a:gd name="connsiteY200" fmla="*/ 2093815 h 3098548"/>
                <a:gd name="connsiteX201" fmla="*/ 3628718 w 5352225"/>
                <a:gd name="connsiteY201" fmla="*/ 2085339 h 3098548"/>
                <a:gd name="connsiteX202" fmla="*/ 4652227 w 5352225"/>
                <a:gd name="connsiteY202" fmla="*/ 2079578 h 3098548"/>
                <a:gd name="connsiteX203" fmla="*/ 4692761 w 5352225"/>
                <a:gd name="connsiteY203" fmla="*/ 2089375 h 3098548"/>
                <a:gd name="connsiteX204" fmla="*/ 5151059 w 5352225"/>
                <a:gd name="connsiteY204" fmla="*/ 2353887 h 3098548"/>
                <a:gd name="connsiteX205" fmla="*/ 5144522 w 5352225"/>
                <a:gd name="connsiteY205" fmla="*/ 2407443 h 3098548"/>
                <a:gd name="connsiteX206" fmla="*/ 5025534 w 5352225"/>
                <a:gd name="connsiteY206" fmla="*/ 2475367 h 3098548"/>
                <a:gd name="connsiteX207" fmla="*/ 5018343 w 5352225"/>
                <a:gd name="connsiteY207" fmla="*/ 2479286 h 3098548"/>
                <a:gd name="connsiteX208" fmla="*/ 4932698 w 5352225"/>
                <a:gd name="connsiteY208" fmla="*/ 2479286 h 3098548"/>
                <a:gd name="connsiteX209" fmla="*/ 4474400 w 5352225"/>
                <a:gd name="connsiteY209" fmla="*/ 2215426 h 3098548"/>
                <a:gd name="connsiteX210" fmla="*/ 4458709 w 5352225"/>
                <a:gd name="connsiteY210" fmla="*/ 2195833 h 3098548"/>
                <a:gd name="connsiteX211" fmla="*/ 4458709 w 5352225"/>
                <a:gd name="connsiteY211" fmla="*/ 2187996 h 3098548"/>
                <a:gd name="connsiteX212" fmla="*/ 4480937 w 5352225"/>
                <a:gd name="connsiteY212" fmla="*/ 2161218 h 3098548"/>
                <a:gd name="connsiteX213" fmla="*/ 4599925 w 5352225"/>
                <a:gd name="connsiteY213" fmla="*/ 2093293 h 3098548"/>
                <a:gd name="connsiteX214" fmla="*/ 4652227 w 5352225"/>
                <a:gd name="connsiteY214" fmla="*/ 2079578 h 3098548"/>
                <a:gd name="connsiteX215" fmla="*/ 3064179 w 5352225"/>
                <a:gd name="connsiteY215" fmla="*/ 2062297 h 3098548"/>
                <a:gd name="connsiteX216" fmla="*/ 3089631 w 5352225"/>
                <a:gd name="connsiteY216" fmla="*/ 2068165 h 3098548"/>
                <a:gd name="connsiteX217" fmla="*/ 3254088 w 5352225"/>
                <a:gd name="connsiteY217" fmla="*/ 2162703 h 3098548"/>
                <a:gd name="connsiteX218" fmla="*/ 3254088 w 5352225"/>
                <a:gd name="connsiteY218" fmla="*/ 2194650 h 3098548"/>
                <a:gd name="connsiteX219" fmla="*/ 3249520 w 5352225"/>
                <a:gd name="connsiteY219" fmla="*/ 2197258 h 3098548"/>
                <a:gd name="connsiteX220" fmla="*/ 3095505 w 5352225"/>
                <a:gd name="connsiteY220" fmla="*/ 2285928 h 3098548"/>
                <a:gd name="connsiteX221" fmla="*/ 3088979 w 5352225"/>
                <a:gd name="connsiteY221" fmla="*/ 2289188 h 3098548"/>
                <a:gd name="connsiteX222" fmla="*/ 3036117 w 5352225"/>
                <a:gd name="connsiteY222" fmla="*/ 2289188 h 3098548"/>
                <a:gd name="connsiteX223" fmla="*/ 2871660 w 5352225"/>
                <a:gd name="connsiteY223" fmla="*/ 2193998 h 3098548"/>
                <a:gd name="connsiteX224" fmla="*/ 2871660 w 5352225"/>
                <a:gd name="connsiteY224" fmla="*/ 2162051 h 3098548"/>
                <a:gd name="connsiteX225" fmla="*/ 2875576 w 5352225"/>
                <a:gd name="connsiteY225" fmla="*/ 2159443 h 3098548"/>
                <a:gd name="connsiteX226" fmla="*/ 3030244 w 5352225"/>
                <a:gd name="connsiteY226" fmla="*/ 2070773 h 3098548"/>
                <a:gd name="connsiteX227" fmla="*/ 3064179 w 5352225"/>
                <a:gd name="connsiteY227" fmla="*/ 2062297 h 3098548"/>
                <a:gd name="connsiteX228" fmla="*/ 4837195 w 5352225"/>
                <a:gd name="connsiteY228" fmla="*/ 1973006 h 3098548"/>
                <a:gd name="connsiteX229" fmla="*/ 4875776 w 5352225"/>
                <a:gd name="connsiteY229" fmla="*/ 1981465 h 3098548"/>
                <a:gd name="connsiteX230" fmla="*/ 5053638 w 5352225"/>
                <a:gd name="connsiteY230" fmla="*/ 2084276 h 3098548"/>
                <a:gd name="connsiteX231" fmla="*/ 5068678 w 5352225"/>
                <a:gd name="connsiteY231" fmla="*/ 2103146 h 3098548"/>
                <a:gd name="connsiteX232" fmla="*/ 5068678 w 5352225"/>
                <a:gd name="connsiteY232" fmla="*/ 2109653 h 3098548"/>
                <a:gd name="connsiteX233" fmla="*/ 5047099 w 5352225"/>
                <a:gd name="connsiteY233" fmla="*/ 2135031 h 3098548"/>
                <a:gd name="connsiteX234" fmla="*/ 4995441 w 5352225"/>
                <a:gd name="connsiteY234" fmla="*/ 2164963 h 3098548"/>
                <a:gd name="connsiteX235" fmla="*/ 4988902 w 5352225"/>
                <a:gd name="connsiteY235" fmla="*/ 2168216 h 3098548"/>
                <a:gd name="connsiteX236" fmla="*/ 4906509 w 5352225"/>
                <a:gd name="connsiteY236" fmla="*/ 2168216 h 3098548"/>
                <a:gd name="connsiteX237" fmla="*/ 4728647 w 5352225"/>
                <a:gd name="connsiteY237" fmla="*/ 2066056 h 3098548"/>
                <a:gd name="connsiteX238" fmla="*/ 4735186 w 5352225"/>
                <a:gd name="connsiteY238" fmla="*/ 2015302 h 3098548"/>
                <a:gd name="connsiteX239" fmla="*/ 4786844 w 5352225"/>
                <a:gd name="connsiteY239" fmla="*/ 1985369 h 3098548"/>
                <a:gd name="connsiteX240" fmla="*/ 4837195 w 5352225"/>
                <a:gd name="connsiteY240" fmla="*/ 1973006 h 3098548"/>
                <a:gd name="connsiteX241" fmla="*/ 3890827 w 5352225"/>
                <a:gd name="connsiteY241" fmla="*/ 1932683 h 3098548"/>
                <a:gd name="connsiteX242" fmla="*/ 3916279 w 5352225"/>
                <a:gd name="connsiteY242" fmla="*/ 1938568 h 3098548"/>
                <a:gd name="connsiteX243" fmla="*/ 4080735 w 5352225"/>
                <a:gd name="connsiteY243" fmla="*/ 2034032 h 3098548"/>
                <a:gd name="connsiteX244" fmla="*/ 4080735 w 5352225"/>
                <a:gd name="connsiteY244" fmla="*/ 2065418 h 3098548"/>
                <a:gd name="connsiteX245" fmla="*/ 4076820 w 5352225"/>
                <a:gd name="connsiteY245" fmla="*/ 2068033 h 3098548"/>
                <a:gd name="connsiteX246" fmla="*/ 3921500 w 5352225"/>
                <a:gd name="connsiteY246" fmla="*/ 2157613 h 3098548"/>
                <a:gd name="connsiteX247" fmla="*/ 3918237 w 5352225"/>
                <a:gd name="connsiteY247" fmla="*/ 2159574 h 3098548"/>
                <a:gd name="connsiteX248" fmla="*/ 3862765 w 5352225"/>
                <a:gd name="connsiteY248" fmla="*/ 2159574 h 3098548"/>
                <a:gd name="connsiteX249" fmla="*/ 3698309 w 5352225"/>
                <a:gd name="connsiteY249" fmla="*/ 2064764 h 3098548"/>
                <a:gd name="connsiteX250" fmla="*/ 3698309 w 5352225"/>
                <a:gd name="connsiteY250" fmla="*/ 2033378 h 3098548"/>
                <a:gd name="connsiteX251" fmla="*/ 3702225 w 5352225"/>
                <a:gd name="connsiteY251" fmla="*/ 2030763 h 3098548"/>
                <a:gd name="connsiteX252" fmla="*/ 3857545 w 5352225"/>
                <a:gd name="connsiteY252" fmla="*/ 1941183 h 3098548"/>
                <a:gd name="connsiteX253" fmla="*/ 3890827 w 5352225"/>
                <a:gd name="connsiteY253" fmla="*/ 1932683 h 3098548"/>
                <a:gd name="connsiteX254" fmla="*/ 3351882 w 5352225"/>
                <a:gd name="connsiteY254" fmla="*/ 1924042 h 3098548"/>
                <a:gd name="connsiteX255" fmla="*/ 3377290 w 5352225"/>
                <a:gd name="connsiteY255" fmla="*/ 1929273 h 3098548"/>
                <a:gd name="connsiteX256" fmla="*/ 3542120 w 5352225"/>
                <a:gd name="connsiteY256" fmla="*/ 2024736 h 3098548"/>
                <a:gd name="connsiteX257" fmla="*/ 3542120 w 5352225"/>
                <a:gd name="connsiteY257" fmla="*/ 2056122 h 3098548"/>
                <a:gd name="connsiteX258" fmla="*/ 3537559 w 5352225"/>
                <a:gd name="connsiteY258" fmla="*/ 2058737 h 3098548"/>
                <a:gd name="connsiteX259" fmla="*/ 3383154 w 5352225"/>
                <a:gd name="connsiteY259" fmla="*/ 2148316 h 3098548"/>
                <a:gd name="connsiteX260" fmla="*/ 3377942 w 5352225"/>
                <a:gd name="connsiteY260" fmla="*/ 2150931 h 3098548"/>
                <a:gd name="connsiteX261" fmla="*/ 3323868 w 5352225"/>
                <a:gd name="connsiteY261" fmla="*/ 2150931 h 3098548"/>
                <a:gd name="connsiteX262" fmla="*/ 3159690 w 5352225"/>
                <a:gd name="connsiteY262" fmla="*/ 2056122 h 3098548"/>
                <a:gd name="connsiteX263" fmla="*/ 3159690 w 5352225"/>
                <a:gd name="connsiteY263" fmla="*/ 2024736 h 3098548"/>
                <a:gd name="connsiteX264" fmla="*/ 3164250 w 5352225"/>
                <a:gd name="connsiteY264" fmla="*/ 2021467 h 3098548"/>
                <a:gd name="connsiteX265" fmla="*/ 3318656 w 5352225"/>
                <a:gd name="connsiteY265" fmla="*/ 1931888 h 3098548"/>
                <a:gd name="connsiteX266" fmla="*/ 3351882 w 5352225"/>
                <a:gd name="connsiteY266" fmla="*/ 1924042 h 3098548"/>
                <a:gd name="connsiteX267" fmla="*/ 4366076 w 5352225"/>
                <a:gd name="connsiteY267" fmla="*/ 1909640 h 3098548"/>
                <a:gd name="connsiteX268" fmla="*/ 4391528 w 5352225"/>
                <a:gd name="connsiteY268" fmla="*/ 1915525 h 3098548"/>
                <a:gd name="connsiteX269" fmla="*/ 4555985 w 5352225"/>
                <a:gd name="connsiteY269" fmla="*/ 2010989 h 3098548"/>
                <a:gd name="connsiteX270" fmla="*/ 4555985 w 5352225"/>
                <a:gd name="connsiteY270" fmla="*/ 2042375 h 3098548"/>
                <a:gd name="connsiteX271" fmla="*/ 4552070 w 5352225"/>
                <a:gd name="connsiteY271" fmla="*/ 2044990 h 3098548"/>
                <a:gd name="connsiteX272" fmla="*/ 4396749 w 5352225"/>
                <a:gd name="connsiteY272" fmla="*/ 2134570 h 3098548"/>
                <a:gd name="connsiteX273" fmla="*/ 4393486 w 5352225"/>
                <a:gd name="connsiteY273" fmla="*/ 2136531 h 3098548"/>
                <a:gd name="connsiteX274" fmla="*/ 4338014 w 5352225"/>
                <a:gd name="connsiteY274" fmla="*/ 2136531 h 3098548"/>
                <a:gd name="connsiteX275" fmla="*/ 4173557 w 5352225"/>
                <a:gd name="connsiteY275" fmla="*/ 2041721 h 3098548"/>
                <a:gd name="connsiteX276" fmla="*/ 4173557 w 5352225"/>
                <a:gd name="connsiteY276" fmla="*/ 2010335 h 3098548"/>
                <a:gd name="connsiteX277" fmla="*/ 4177473 w 5352225"/>
                <a:gd name="connsiteY277" fmla="*/ 2007720 h 3098548"/>
                <a:gd name="connsiteX278" fmla="*/ 4332793 w 5352225"/>
                <a:gd name="connsiteY278" fmla="*/ 1918140 h 3098548"/>
                <a:gd name="connsiteX279" fmla="*/ 4366076 w 5352225"/>
                <a:gd name="connsiteY279" fmla="*/ 1909640 h 3098548"/>
                <a:gd name="connsiteX280" fmla="*/ 2790224 w 5352225"/>
                <a:gd name="connsiteY280" fmla="*/ 1903880 h 3098548"/>
                <a:gd name="connsiteX281" fmla="*/ 2816284 w 5352225"/>
                <a:gd name="connsiteY281" fmla="*/ 1909748 h 3098548"/>
                <a:gd name="connsiteX282" fmla="*/ 2980460 w 5352225"/>
                <a:gd name="connsiteY282" fmla="*/ 2004939 h 3098548"/>
                <a:gd name="connsiteX283" fmla="*/ 2980460 w 5352225"/>
                <a:gd name="connsiteY283" fmla="*/ 2036234 h 3098548"/>
                <a:gd name="connsiteX284" fmla="*/ 2975900 w 5352225"/>
                <a:gd name="connsiteY284" fmla="*/ 2038842 h 3098548"/>
                <a:gd name="connsiteX285" fmla="*/ 2821496 w 5352225"/>
                <a:gd name="connsiteY285" fmla="*/ 2128165 h 3098548"/>
                <a:gd name="connsiteX286" fmla="*/ 2816935 w 5352225"/>
                <a:gd name="connsiteY286" fmla="*/ 2130773 h 3098548"/>
                <a:gd name="connsiteX287" fmla="*/ 2762861 w 5352225"/>
                <a:gd name="connsiteY287" fmla="*/ 2130773 h 3098548"/>
                <a:gd name="connsiteX288" fmla="*/ 2598033 w 5352225"/>
                <a:gd name="connsiteY288" fmla="*/ 2035582 h 3098548"/>
                <a:gd name="connsiteX289" fmla="*/ 2598033 w 5352225"/>
                <a:gd name="connsiteY289" fmla="*/ 2004939 h 3098548"/>
                <a:gd name="connsiteX290" fmla="*/ 2602593 w 5352225"/>
                <a:gd name="connsiteY290" fmla="*/ 2001679 h 3098548"/>
                <a:gd name="connsiteX291" fmla="*/ 2756998 w 5352225"/>
                <a:gd name="connsiteY291" fmla="*/ 1912356 h 3098548"/>
                <a:gd name="connsiteX292" fmla="*/ 2790224 w 5352225"/>
                <a:gd name="connsiteY292" fmla="*/ 1903880 h 3098548"/>
                <a:gd name="connsiteX293" fmla="*/ 4552325 w 5352225"/>
                <a:gd name="connsiteY293" fmla="*/ 1805949 h 3098548"/>
                <a:gd name="connsiteX294" fmla="*/ 4591643 w 5352225"/>
                <a:gd name="connsiteY294" fmla="*/ 1815029 h 3098548"/>
                <a:gd name="connsiteX295" fmla="*/ 4769232 w 5352225"/>
                <a:gd name="connsiteY295" fmla="*/ 1916850 h 3098548"/>
                <a:gd name="connsiteX296" fmla="*/ 4762679 w 5352225"/>
                <a:gd name="connsiteY296" fmla="*/ 1967437 h 3098548"/>
                <a:gd name="connsiteX297" fmla="*/ 4710909 w 5352225"/>
                <a:gd name="connsiteY297" fmla="*/ 1997270 h 3098548"/>
                <a:gd name="connsiteX298" fmla="*/ 4703046 w 5352225"/>
                <a:gd name="connsiteY298" fmla="*/ 2001161 h 3098548"/>
                <a:gd name="connsiteX299" fmla="*/ 4622443 w 5352225"/>
                <a:gd name="connsiteY299" fmla="*/ 2001161 h 3098548"/>
                <a:gd name="connsiteX300" fmla="*/ 4444199 w 5352225"/>
                <a:gd name="connsiteY300" fmla="*/ 1899340 h 3098548"/>
                <a:gd name="connsiteX301" fmla="*/ 4450752 w 5352225"/>
                <a:gd name="connsiteY301" fmla="*/ 1848753 h 3098548"/>
                <a:gd name="connsiteX302" fmla="*/ 4502521 w 5352225"/>
                <a:gd name="connsiteY302" fmla="*/ 1818920 h 3098548"/>
                <a:gd name="connsiteX303" fmla="*/ 4552325 w 5352225"/>
                <a:gd name="connsiteY303" fmla="*/ 1805949 h 3098548"/>
                <a:gd name="connsiteX304" fmla="*/ 3613666 w 5352225"/>
                <a:gd name="connsiteY304" fmla="*/ 1774266 h 3098548"/>
                <a:gd name="connsiteX305" fmla="*/ 3639770 w 5352225"/>
                <a:gd name="connsiteY305" fmla="*/ 1780151 h 3098548"/>
                <a:gd name="connsiteX306" fmla="*/ 3804226 w 5352225"/>
                <a:gd name="connsiteY306" fmla="*/ 1875614 h 3098548"/>
                <a:gd name="connsiteX307" fmla="*/ 3804226 w 5352225"/>
                <a:gd name="connsiteY307" fmla="*/ 1906346 h 3098548"/>
                <a:gd name="connsiteX308" fmla="*/ 3799658 w 5352225"/>
                <a:gd name="connsiteY308" fmla="*/ 1908961 h 3098548"/>
                <a:gd name="connsiteX309" fmla="*/ 3644991 w 5352225"/>
                <a:gd name="connsiteY309" fmla="*/ 1999194 h 3098548"/>
                <a:gd name="connsiteX310" fmla="*/ 3641728 w 5352225"/>
                <a:gd name="connsiteY310" fmla="*/ 2001155 h 3098548"/>
                <a:gd name="connsiteX311" fmla="*/ 3585604 w 5352225"/>
                <a:gd name="connsiteY311" fmla="*/ 2001155 h 3098548"/>
                <a:gd name="connsiteX312" fmla="*/ 3421800 w 5352225"/>
                <a:gd name="connsiteY312" fmla="*/ 1906346 h 3098548"/>
                <a:gd name="connsiteX313" fmla="*/ 3421800 w 5352225"/>
                <a:gd name="connsiteY313" fmla="*/ 1874960 h 3098548"/>
                <a:gd name="connsiteX314" fmla="*/ 3425716 w 5352225"/>
                <a:gd name="connsiteY314" fmla="*/ 1871691 h 3098548"/>
                <a:gd name="connsiteX315" fmla="*/ 3580383 w 5352225"/>
                <a:gd name="connsiteY315" fmla="*/ 1782112 h 3098548"/>
                <a:gd name="connsiteX316" fmla="*/ 3613666 w 5352225"/>
                <a:gd name="connsiteY316" fmla="*/ 1774266 h 3098548"/>
                <a:gd name="connsiteX317" fmla="*/ 3075048 w 5352225"/>
                <a:gd name="connsiteY317" fmla="*/ 1765625 h 3098548"/>
                <a:gd name="connsiteX318" fmla="*/ 3100500 w 5352225"/>
                <a:gd name="connsiteY318" fmla="*/ 1771510 h 3098548"/>
                <a:gd name="connsiteX319" fmla="*/ 3265609 w 5352225"/>
                <a:gd name="connsiteY319" fmla="*/ 1866974 h 3098548"/>
                <a:gd name="connsiteX320" fmla="*/ 3265609 w 5352225"/>
                <a:gd name="connsiteY320" fmla="*/ 1898360 h 3098548"/>
                <a:gd name="connsiteX321" fmla="*/ 3261694 w 5352225"/>
                <a:gd name="connsiteY321" fmla="*/ 1900975 h 3098548"/>
                <a:gd name="connsiteX322" fmla="*/ 3106373 w 5352225"/>
                <a:gd name="connsiteY322" fmla="*/ 1990555 h 3098548"/>
                <a:gd name="connsiteX323" fmla="*/ 3102457 w 5352225"/>
                <a:gd name="connsiteY323" fmla="*/ 1992516 h 3098548"/>
                <a:gd name="connsiteX324" fmla="*/ 3047638 w 5352225"/>
                <a:gd name="connsiteY324" fmla="*/ 1992516 h 3098548"/>
                <a:gd name="connsiteX325" fmla="*/ 2883181 w 5352225"/>
                <a:gd name="connsiteY325" fmla="*/ 1897706 h 3098548"/>
                <a:gd name="connsiteX326" fmla="*/ 2883181 w 5352225"/>
                <a:gd name="connsiteY326" fmla="*/ 1865666 h 3098548"/>
                <a:gd name="connsiteX327" fmla="*/ 2887097 w 5352225"/>
                <a:gd name="connsiteY327" fmla="*/ 1863051 h 3098548"/>
                <a:gd name="connsiteX328" fmla="*/ 3041765 w 5352225"/>
                <a:gd name="connsiteY328" fmla="*/ 1774125 h 3098548"/>
                <a:gd name="connsiteX329" fmla="*/ 3075048 w 5352225"/>
                <a:gd name="connsiteY329" fmla="*/ 1765625 h 3098548"/>
                <a:gd name="connsiteX330" fmla="*/ 4083806 w 5352225"/>
                <a:gd name="connsiteY330" fmla="*/ 1745463 h 3098548"/>
                <a:gd name="connsiteX331" fmla="*/ 4109258 w 5352225"/>
                <a:gd name="connsiteY331" fmla="*/ 1751348 h 3098548"/>
                <a:gd name="connsiteX332" fmla="*/ 4273715 w 5352225"/>
                <a:gd name="connsiteY332" fmla="*/ 1846157 h 3098548"/>
                <a:gd name="connsiteX333" fmla="*/ 4273715 w 5352225"/>
                <a:gd name="connsiteY333" fmla="*/ 1877543 h 3098548"/>
                <a:gd name="connsiteX334" fmla="*/ 4269800 w 5352225"/>
                <a:gd name="connsiteY334" fmla="*/ 1880158 h 3098548"/>
                <a:gd name="connsiteX335" fmla="*/ 4114479 w 5352225"/>
                <a:gd name="connsiteY335" fmla="*/ 1969737 h 3098548"/>
                <a:gd name="connsiteX336" fmla="*/ 4109911 w 5352225"/>
                <a:gd name="connsiteY336" fmla="*/ 1972352 h 3098548"/>
                <a:gd name="connsiteX337" fmla="*/ 4055744 w 5352225"/>
                <a:gd name="connsiteY337" fmla="*/ 1972352 h 3098548"/>
                <a:gd name="connsiteX338" fmla="*/ 3891287 w 5352225"/>
                <a:gd name="connsiteY338" fmla="*/ 1877543 h 3098548"/>
                <a:gd name="connsiteX339" fmla="*/ 3891287 w 5352225"/>
                <a:gd name="connsiteY339" fmla="*/ 1845503 h 3098548"/>
                <a:gd name="connsiteX340" fmla="*/ 3895203 w 5352225"/>
                <a:gd name="connsiteY340" fmla="*/ 1842888 h 3098548"/>
                <a:gd name="connsiteX341" fmla="*/ 4050523 w 5352225"/>
                <a:gd name="connsiteY341" fmla="*/ 1753309 h 3098548"/>
                <a:gd name="connsiteX342" fmla="*/ 4083806 w 5352225"/>
                <a:gd name="connsiteY342" fmla="*/ 1745463 h 3098548"/>
                <a:gd name="connsiteX343" fmla="*/ 2519803 w 5352225"/>
                <a:gd name="connsiteY343" fmla="*/ 1745463 h 3098548"/>
                <a:gd name="connsiteX344" fmla="*/ 2545255 w 5352225"/>
                <a:gd name="connsiteY344" fmla="*/ 1751331 h 3098548"/>
                <a:gd name="connsiteX345" fmla="*/ 2709711 w 5352225"/>
                <a:gd name="connsiteY345" fmla="*/ 1845869 h 3098548"/>
                <a:gd name="connsiteX346" fmla="*/ 2709711 w 5352225"/>
                <a:gd name="connsiteY346" fmla="*/ 1878468 h 3098548"/>
                <a:gd name="connsiteX347" fmla="*/ 2705796 w 5352225"/>
                <a:gd name="connsiteY347" fmla="*/ 1880424 h 3098548"/>
                <a:gd name="connsiteX348" fmla="*/ 2551128 w 5352225"/>
                <a:gd name="connsiteY348" fmla="*/ 1969746 h 3098548"/>
                <a:gd name="connsiteX349" fmla="*/ 2545908 w 5352225"/>
                <a:gd name="connsiteY349" fmla="*/ 1972354 h 3098548"/>
                <a:gd name="connsiteX350" fmla="*/ 2492394 w 5352225"/>
                <a:gd name="connsiteY350" fmla="*/ 1972354 h 3098548"/>
                <a:gd name="connsiteX351" fmla="*/ 2327285 w 5352225"/>
                <a:gd name="connsiteY351" fmla="*/ 1877164 h 3098548"/>
                <a:gd name="connsiteX352" fmla="*/ 2327285 w 5352225"/>
                <a:gd name="connsiteY352" fmla="*/ 1846521 h 3098548"/>
                <a:gd name="connsiteX353" fmla="*/ 2331853 w 5352225"/>
                <a:gd name="connsiteY353" fmla="*/ 1843261 h 3098548"/>
                <a:gd name="connsiteX354" fmla="*/ 2486521 w 5352225"/>
                <a:gd name="connsiteY354" fmla="*/ 1753939 h 3098548"/>
                <a:gd name="connsiteX355" fmla="*/ 2519803 w 5352225"/>
                <a:gd name="connsiteY355" fmla="*/ 1745463 h 3098548"/>
                <a:gd name="connsiteX356" fmla="*/ 4267841 w 5352225"/>
                <a:gd name="connsiteY356" fmla="*/ 1644652 h 3098548"/>
                <a:gd name="connsiteX357" fmla="*/ 4306264 w 5352225"/>
                <a:gd name="connsiteY357" fmla="*/ 1653762 h 3098548"/>
                <a:gd name="connsiteX358" fmla="*/ 4483403 w 5352225"/>
                <a:gd name="connsiteY358" fmla="*/ 1755271 h 3098548"/>
                <a:gd name="connsiteX359" fmla="*/ 4498382 w 5352225"/>
                <a:gd name="connsiteY359" fmla="*/ 1774792 h 3098548"/>
                <a:gd name="connsiteX360" fmla="*/ 4498382 w 5352225"/>
                <a:gd name="connsiteY360" fmla="*/ 1781299 h 3098548"/>
                <a:gd name="connsiteX361" fmla="*/ 4476891 w 5352225"/>
                <a:gd name="connsiteY361" fmla="*/ 1806677 h 3098548"/>
                <a:gd name="connsiteX362" fmla="*/ 4425442 w 5352225"/>
                <a:gd name="connsiteY362" fmla="*/ 1836609 h 3098548"/>
                <a:gd name="connsiteX363" fmla="*/ 4419581 w 5352225"/>
                <a:gd name="connsiteY363" fmla="*/ 1839862 h 3098548"/>
                <a:gd name="connsiteX364" fmla="*/ 4336873 w 5352225"/>
                <a:gd name="connsiteY364" fmla="*/ 1839862 h 3098548"/>
                <a:gd name="connsiteX365" fmla="*/ 4159734 w 5352225"/>
                <a:gd name="connsiteY365" fmla="*/ 1737702 h 3098548"/>
                <a:gd name="connsiteX366" fmla="*/ 4144755 w 5352225"/>
                <a:gd name="connsiteY366" fmla="*/ 1719482 h 3098548"/>
                <a:gd name="connsiteX367" fmla="*/ 4144755 w 5352225"/>
                <a:gd name="connsiteY367" fmla="*/ 1712975 h 3098548"/>
                <a:gd name="connsiteX368" fmla="*/ 4166246 w 5352225"/>
                <a:gd name="connsiteY368" fmla="*/ 1686947 h 3098548"/>
                <a:gd name="connsiteX369" fmla="*/ 4217695 w 5352225"/>
                <a:gd name="connsiteY369" fmla="*/ 1657015 h 3098548"/>
                <a:gd name="connsiteX370" fmla="*/ 4267841 w 5352225"/>
                <a:gd name="connsiteY370" fmla="*/ 1644652 h 3098548"/>
                <a:gd name="connsiteX371" fmla="*/ 3337809 w 5352225"/>
                <a:gd name="connsiteY371" fmla="*/ 1612969 h 3098548"/>
                <a:gd name="connsiteX372" fmla="*/ 3363261 w 5352225"/>
                <a:gd name="connsiteY372" fmla="*/ 1618837 h 3098548"/>
                <a:gd name="connsiteX373" fmla="*/ 3527717 w 5352225"/>
                <a:gd name="connsiteY373" fmla="*/ 1714027 h 3098548"/>
                <a:gd name="connsiteX374" fmla="*/ 3527717 w 5352225"/>
                <a:gd name="connsiteY374" fmla="*/ 1745974 h 3098548"/>
                <a:gd name="connsiteX375" fmla="*/ 3523802 w 5352225"/>
                <a:gd name="connsiteY375" fmla="*/ 1747930 h 3098548"/>
                <a:gd name="connsiteX376" fmla="*/ 3368482 w 5352225"/>
                <a:gd name="connsiteY376" fmla="*/ 1837252 h 3098548"/>
                <a:gd name="connsiteX377" fmla="*/ 3363914 w 5352225"/>
                <a:gd name="connsiteY377" fmla="*/ 1839860 h 3098548"/>
                <a:gd name="connsiteX378" fmla="*/ 3309747 w 5352225"/>
                <a:gd name="connsiteY378" fmla="*/ 1839860 h 3098548"/>
                <a:gd name="connsiteX379" fmla="*/ 3145291 w 5352225"/>
                <a:gd name="connsiteY379" fmla="*/ 1744670 h 3098548"/>
                <a:gd name="connsiteX380" fmla="*/ 3145291 w 5352225"/>
                <a:gd name="connsiteY380" fmla="*/ 1713375 h 3098548"/>
                <a:gd name="connsiteX381" fmla="*/ 3149207 w 5352225"/>
                <a:gd name="connsiteY381" fmla="*/ 1710767 h 3098548"/>
                <a:gd name="connsiteX382" fmla="*/ 3304527 w 5352225"/>
                <a:gd name="connsiteY382" fmla="*/ 1621445 h 3098548"/>
                <a:gd name="connsiteX383" fmla="*/ 3337809 w 5352225"/>
                <a:gd name="connsiteY383" fmla="*/ 1612969 h 3098548"/>
                <a:gd name="connsiteX384" fmla="*/ 2798864 w 5352225"/>
                <a:gd name="connsiteY384" fmla="*/ 1604328 h 3098548"/>
                <a:gd name="connsiteX385" fmla="*/ 2824272 w 5352225"/>
                <a:gd name="connsiteY385" fmla="*/ 1610848 h 3098548"/>
                <a:gd name="connsiteX386" fmla="*/ 2989102 w 5352225"/>
                <a:gd name="connsiteY386" fmla="*/ 1705386 h 3098548"/>
                <a:gd name="connsiteX387" fmla="*/ 2989102 w 5352225"/>
                <a:gd name="connsiteY387" fmla="*/ 1736682 h 3098548"/>
                <a:gd name="connsiteX388" fmla="*/ 2984541 w 5352225"/>
                <a:gd name="connsiteY388" fmla="*/ 1739290 h 3098548"/>
                <a:gd name="connsiteX389" fmla="*/ 2830136 w 5352225"/>
                <a:gd name="connsiteY389" fmla="*/ 1828613 h 3098548"/>
                <a:gd name="connsiteX390" fmla="*/ 2825575 w 5352225"/>
                <a:gd name="connsiteY390" fmla="*/ 1831221 h 3098548"/>
                <a:gd name="connsiteX391" fmla="*/ 2770850 w 5352225"/>
                <a:gd name="connsiteY391" fmla="*/ 1831221 h 3098548"/>
                <a:gd name="connsiteX392" fmla="*/ 2606672 w 5352225"/>
                <a:gd name="connsiteY392" fmla="*/ 1736030 h 3098548"/>
                <a:gd name="connsiteX393" fmla="*/ 2606672 w 5352225"/>
                <a:gd name="connsiteY393" fmla="*/ 1705386 h 3098548"/>
                <a:gd name="connsiteX394" fmla="*/ 2611232 w 5352225"/>
                <a:gd name="connsiteY394" fmla="*/ 1702126 h 3098548"/>
                <a:gd name="connsiteX395" fmla="*/ 2764986 w 5352225"/>
                <a:gd name="connsiteY395" fmla="*/ 1612804 h 3098548"/>
                <a:gd name="connsiteX396" fmla="*/ 2798864 w 5352225"/>
                <a:gd name="connsiteY396" fmla="*/ 1604328 h 3098548"/>
                <a:gd name="connsiteX397" fmla="*/ 2246173 w 5352225"/>
                <a:gd name="connsiteY397" fmla="*/ 1589927 h 3098548"/>
                <a:gd name="connsiteX398" fmla="*/ 2271625 w 5352225"/>
                <a:gd name="connsiteY398" fmla="*/ 1595811 h 3098548"/>
                <a:gd name="connsiteX399" fmla="*/ 2436082 w 5352225"/>
                <a:gd name="connsiteY399" fmla="*/ 1690621 h 3098548"/>
                <a:gd name="connsiteX400" fmla="*/ 2436082 w 5352225"/>
                <a:gd name="connsiteY400" fmla="*/ 1722660 h 3098548"/>
                <a:gd name="connsiteX401" fmla="*/ 2432167 w 5352225"/>
                <a:gd name="connsiteY401" fmla="*/ 1724622 h 3098548"/>
                <a:gd name="connsiteX402" fmla="*/ 2277499 w 5352225"/>
                <a:gd name="connsiteY402" fmla="*/ 1814201 h 3098548"/>
                <a:gd name="connsiteX403" fmla="*/ 2272278 w 5352225"/>
                <a:gd name="connsiteY403" fmla="*/ 1816816 h 3098548"/>
                <a:gd name="connsiteX404" fmla="*/ 2218764 w 5352225"/>
                <a:gd name="connsiteY404" fmla="*/ 1816816 h 3098548"/>
                <a:gd name="connsiteX405" fmla="*/ 2053654 w 5352225"/>
                <a:gd name="connsiteY405" fmla="*/ 1722006 h 3098548"/>
                <a:gd name="connsiteX406" fmla="*/ 2053654 w 5352225"/>
                <a:gd name="connsiteY406" fmla="*/ 1690621 h 3098548"/>
                <a:gd name="connsiteX407" fmla="*/ 2057570 w 5352225"/>
                <a:gd name="connsiteY407" fmla="*/ 1688006 h 3098548"/>
                <a:gd name="connsiteX408" fmla="*/ 2212890 w 5352225"/>
                <a:gd name="connsiteY408" fmla="*/ 1597773 h 3098548"/>
                <a:gd name="connsiteX409" fmla="*/ 2246173 w 5352225"/>
                <a:gd name="connsiteY409" fmla="*/ 1589927 h 3098548"/>
                <a:gd name="connsiteX410" fmla="*/ 3801536 w 5352225"/>
                <a:gd name="connsiteY410" fmla="*/ 1581286 h 3098548"/>
                <a:gd name="connsiteX411" fmla="*/ 3826988 w 5352225"/>
                <a:gd name="connsiteY411" fmla="*/ 1587171 h 3098548"/>
                <a:gd name="connsiteX412" fmla="*/ 3991445 w 5352225"/>
                <a:gd name="connsiteY412" fmla="*/ 1682635 h 3098548"/>
                <a:gd name="connsiteX413" fmla="*/ 3991445 w 5352225"/>
                <a:gd name="connsiteY413" fmla="*/ 1714020 h 3098548"/>
                <a:gd name="connsiteX414" fmla="*/ 3987530 w 5352225"/>
                <a:gd name="connsiteY414" fmla="*/ 1716636 h 3098548"/>
                <a:gd name="connsiteX415" fmla="*/ 3832209 w 5352225"/>
                <a:gd name="connsiteY415" fmla="*/ 1806216 h 3098548"/>
                <a:gd name="connsiteX416" fmla="*/ 3828946 w 5352225"/>
                <a:gd name="connsiteY416" fmla="*/ 1808177 h 3098548"/>
                <a:gd name="connsiteX417" fmla="*/ 3773474 w 5352225"/>
                <a:gd name="connsiteY417" fmla="*/ 1808177 h 3098548"/>
                <a:gd name="connsiteX418" fmla="*/ 3609017 w 5352225"/>
                <a:gd name="connsiteY418" fmla="*/ 1713366 h 3098548"/>
                <a:gd name="connsiteX419" fmla="*/ 3609017 w 5352225"/>
                <a:gd name="connsiteY419" fmla="*/ 1681981 h 3098548"/>
                <a:gd name="connsiteX420" fmla="*/ 3612933 w 5352225"/>
                <a:gd name="connsiteY420" fmla="*/ 1679365 h 3098548"/>
                <a:gd name="connsiteX421" fmla="*/ 3768253 w 5352225"/>
                <a:gd name="connsiteY421" fmla="*/ 1589132 h 3098548"/>
                <a:gd name="connsiteX422" fmla="*/ 3801536 w 5352225"/>
                <a:gd name="connsiteY422" fmla="*/ 1581286 h 3098548"/>
                <a:gd name="connsiteX423" fmla="*/ 3981745 w 5352225"/>
                <a:gd name="connsiteY423" fmla="*/ 1480475 h 3098548"/>
                <a:gd name="connsiteX424" fmla="*/ 4020980 w 5352225"/>
                <a:gd name="connsiteY424" fmla="*/ 1488934 h 3098548"/>
                <a:gd name="connsiteX425" fmla="*/ 4198188 w 5352225"/>
                <a:gd name="connsiteY425" fmla="*/ 1591094 h 3098548"/>
                <a:gd name="connsiteX426" fmla="*/ 4213228 w 5352225"/>
                <a:gd name="connsiteY426" fmla="*/ 1609964 h 3098548"/>
                <a:gd name="connsiteX427" fmla="*/ 4213228 w 5352225"/>
                <a:gd name="connsiteY427" fmla="*/ 1616471 h 3098548"/>
                <a:gd name="connsiteX428" fmla="*/ 4191649 w 5352225"/>
                <a:gd name="connsiteY428" fmla="*/ 1641849 h 3098548"/>
                <a:gd name="connsiteX429" fmla="*/ 4139991 w 5352225"/>
                <a:gd name="connsiteY429" fmla="*/ 1671781 h 3098548"/>
                <a:gd name="connsiteX430" fmla="*/ 4132798 w 5352225"/>
                <a:gd name="connsiteY430" fmla="*/ 1675685 h 3098548"/>
                <a:gd name="connsiteX431" fmla="*/ 4051713 w 5352225"/>
                <a:gd name="connsiteY431" fmla="*/ 1675685 h 3098548"/>
                <a:gd name="connsiteX432" fmla="*/ 3873851 w 5352225"/>
                <a:gd name="connsiteY432" fmla="*/ 1573525 h 3098548"/>
                <a:gd name="connsiteX433" fmla="*/ 3880390 w 5352225"/>
                <a:gd name="connsiteY433" fmla="*/ 1522120 h 3098548"/>
                <a:gd name="connsiteX434" fmla="*/ 3932048 w 5352225"/>
                <a:gd name="connsiteY434" fmla="*/ 1492187 h 3098548"/>
                <a:gd name="connsiteX435" fmla="*/ 3981745 w 5352225"/>
                <a:gd name="connsiteY435" fmla="*/ 1480475 h 3098548"/>
                <a:gd name="connsiteX436" fmla="*/ 3060648 w 5352225"/>
                <a:gd name="connsiteY436" fmla="*/ 1454553 h 3098548"/>
                <a:gd name="connsiteX437" fmla="*/ 3086752 w 5352225"/>
                <a:gd name="connsiteY437" fmla="*/ 1460438 h 3098548"/>
                <a:gd name="connsiteX438" fmla="*/ 3251208 w 5352225"/>
                <a:gd name="connsiteY438" fmla="*/ 1555248 h 3098548"/>
                <a:gd name="connsiteX439" fmla="*/ 3251208 w 5352225"/>
                <a:gd name="connsiteY439" fmla="*/ 1587287 h 3098548"/>
                <a:gd name="connsiteX440" fmla="*/ 3246640 w 5352225"/>
                <a:gd name="connsiteY440" fmla="*/ 1589903 h 3098548"/>
                <a:gd name="connsiteX441" fmla="*/ 3091973 w 5352225"/>
                <a:gd name="connsiteY441" fmla="*/ 1678828 h 3098548"/>
                <a:gd name="connsiteX442" fmla="*/ 3087405 w 5352225"/>
                <a:gd name="connsiteY442" fmla="*/ 1681444 h 3098548"/>
                <a:gd name="connsiteX443" fmla="*/ 3033238 w 5352225"/>
                <a:gd name="connsiteY443" fmla="*/ 1681444 h 3098548"/>
                <a:gd name="connsiteX444" fmla="*/ 2868782 w 5352225"/>
                <a:gd name="connsiteY444" fmla="*/ 1585980 h 3098548"/>
                <a:gd name="connsiteX445" fmla="*/ 2868782 w 5352225"/>
                <a:gd name="connsiteY445" fmla="*/ 1555248 h 3098548"/>
                <a:gd name="connsiteX446" fmla="*/ 2872698 w 5352225"/>
                <a:gd name="connsiteY446" fmla="*/ 1552632 h 3098548"/>
                <a:gd name="connsiteX447" fmla="*/ 3027365 w 5352225"/>
                <a:gd name="connsiteY447" fmla="*/ 1462399 h 3098548"/>
                <a:gd name="connsiteX448" fmla="*/ 3060648 w 5352225"/>
                <a:gd name="connsiteY448" fmla="*/ 1454553 h 3098548"/>
                <a:gd name="connsiteX449" fmla="*/ 2522355 w 5352225"/>
                <a:gd name="connsiteY449" fmla="*/ 1445912 h 3098548"/>
                <a:gd name="connsiteX450" fmla="*/ 2548415 w 5352225"/>
                <a:gd name="connsiteY450" fmla="*/ 1451780 h 3098548"/>
                <a:gd name="connsiteX451" fmla="*/ 2712592 w 5352225"/>
                <a:gd name="connsiteY451" fmla="*/ 1546318 h 3098548"/>
                <a:gd name="connsiteX452" fmla="*/ 2712592 w 5352225"/>
                <a:gd name="connsiteY452" fmla="*/ 1578265 h 3098548"/>
                <a:gd name="connsiteX453" fmla="*/ 2708032 w 5352225"/>
                <a:gd name="connsiteY453" fmla="*/ 1580873 h 3098548"/>
                <a:gd name="connsiteX454" fmla="*/ 2553627 w 5352225"/>
                <a:gd name="connsiteY454" fmla="*/ 1669543 h 3098548"/>
                <a:gd name="connsiteX455" fmla="*/ 2547763 w 5352225"/>
                <a:gd name="connsiteY455" fmla="*/ 1672803 h 3098548"/>
                <a:gd name="connsiteX456" fmla="*/ 2494992 w 5352225"/>
                <a:gd name="connsiteY456" fmla="*/ 1672803 h 3098548"/>
                <a:gd name="connsiteX457" fmla="*/ 2330163 w 5352225"/>
                <a:gd name="connsiteY457" fmla="*/ 1577613 h 3098548"/>
                <a:gd name="connsiteX458" fmla="*/ 2330163 w 5352225"/>
                <a:gd name="connsiteY458" fmla="*/ 1546970 h 3098548"/>
                <a:gd name="connsiteX459" fmla="*/ 2334723 w 5352225"/>
                <a:gd name="connsiteY459" fmla="*/ 1543710 h 3098548"/>
                <a:gd name="connsiteX460" fmla="*/ 2489129 w 5352225"/>
                <a:gd name="connsiteY460" fmla="*/ 1454388 h 3098548"/>
                <a:gd name="connsiteX461" fmla="*/ 2522355 w 5352225"/>
                <a:gd name="connsiteY461" fmla="*/ 1445912 h 3098548"/>
                <a:gd name="connsiteX462" fmla="*/ 1972220 w 5352225"/>
                <a:gd name="connsiteY462" fmla="*/ 1431510 h 3098548"/>
                <a:gd name="connsiteX463" fmla="*/ 1997715 w 5352225"/>
                <a:gd name="connsiteY463" fmla="*/ 1437395 h 3098548"/>
                <a:gd name="connsiteX464" fmla="*/ 2162452 w 5352225"/>
                <a:gd name="connsiteY464" fmla="*/ 1532859 h 3098548"/>
                <a:gd name="connsiteX465" fmla="*/ 2162452 w 5352225"/>
                <a:gd name="connsiteY465" fmla="*/ 1564898 h 3098548"/>
                <a:gd name="connsiteX466" fmla="*/ 2158530 w 5352225"/>
                <a:gd name="connsiteY466" fmla="*/ 1566860 h 3098548"/>
                <a:gd name="connsiteX467" fmla="*/ 2002945 w 5352225"/>
                <a:gd name="connsiteY467" fmla="*/ 1656439 h 3098548"/>
                <a:gd name="connsiteX468" fmla="*/ 1999676 w 5352225"/>
                <a:gd name="connsiteY468" fmla="*/ 1658401 h 3098548"/>
                <a:gd name="connsiteX469" fmla="*/ 1944110 w 5352225"/>
                <a:gd name="connsiteY469" fmla="*/ 1658401 h 3098548"/>
                <a:gd name="connsiteX470" fmla="*/ 1780027 w 5352225"/>
                <a:gd name="connsiteY470" fmla="*/ 1563590 h 3098548"/>
                <a:gd name="connsiteX471" fmla="*/ 1780027 w 5352225"/>
                <a:gd name="connsiteY471" fmla="*/ 1532205 h 3098548"/>
                <a:gd name="connsiteX472" fmla="*/ 1783949 w 5352225"/>
                <a:gd name="connsiteY472" fmla="*/ 1529589 h 3098548"/>
                <a:gd name="connsiteX473" fmla="*/ 1938881 w 5352225"/>
                <a:gd name="connsiteY473" fmla="*/ 1439356 h 3098548"/>
                <a:gd name="connsiteX474" fmla="*/ 1972220 w 5352225"/>
                <a:gd name="connsiteY474" fmla="*/ 1431510 h 3098548"/>
                <a:gd name="connsiteX475" fmla="*/ 3516387 w 5352225"/>
                <a:gd name="connsiteY475" fmla="*/ 1419989 h 3098548"/>
                <a:gd name="connsiteX476" fmla="*/ 3541839 w 5352225"/>
                <a:gd name="connsiteY476" fmla="*/ 1425857 h 3098548"/>
                <a:gd name="connsiteX477" fmla="*/ 3706295 w 5352225"/>
                <a:gd name="connsiteY477" fmla="*/ 1521047 h 3098548"/>
                <a:gd name="connsiteX478" fmla="*/ 3706295 w 5352225"/>
                <a:gd name="connsiteY478" fmla="*/ 1552343 h 3098548"/>
                <a:gd name="connsiteX479" fmla="*/ 3702380 w 5352225"/>
                <a:gd name="connsiteY479" fmla="*/ 1554951 h 3098548"/>
                <a:gd name="connsiteX480" fmla="*/ 3547060 w 5352225"/>
                <a:gd name="connsiteY480" fmla="*/ 1644274 h 3098548"/>
                <a:gd name="connsiteX481" fmla="*/ 3541839 w 5352225"/>
                <a:gd name="connsiteY481" fmla="*/ 1646882 h 3098548"/>
                <a:gd name="connsiteX482" fmla="*/ 3488325 w 5352225"/>
                <a:gd name="connsiteY482" fmla="*/ 1646882 h 3098548"/>
                <a:gd name="connsiteX483" fmla="*/ 3323869 w 5352225"/>
                <a:gd name="connsiteY483" fmla="*/ 1551691 h 3098548"/>
                <a:gd name="connsiteX484" fmla="*/ 3323869 w 5352225"/>
                <a:gd name="connsiteY484" fmla="*/ 1520395 h 3098548"/>
                <a:gd name="connsiteX485" fmla="*/ 3327785 w 5352225"/>
                <a:gd name="connsiteY485" fmla="*/ 1517787 h 3098548"/>
                <a:gd name="connsiteX486" fmla="*/ 3483105 w 5352225"/>
                <a:gd name="connsiteY486" fmla="*/ 1428465 h 3098548"/>
                <a:gd name="connsiteX487" fmla="*/ 3516387 w 5352225"/>
                <a:gd name="connsiteY487" fmla="*/ 1419989 h 3098548"/>
                <a:gd name="connsiteX488" fmla="*/ 1366911 w 5352225"/>
                <a:gd name="connsiteY488" fmla="*/ 1419989 h 3098548"/>
                <a:gd name="connsiteX489" fmla="*/ 1428945 w 5352225"/>
                <a:gd name="connsiteY489" fmla="*/ 1434346 h 3098548"/>
                <a:gd name="connsiteX490" fmla="*/ 2572334 w 5352225"/>
                <a:gd name="connsiteY490" fmla="*/ 2094148 h 3098548"/>
                <a:gd name="connsiteX491" fmla="*/ 2562539 w 5352225"/>
                <a:gd name="connsiteY491" fmla="*/ 2177032 h 3098548"/>
                <a:gd name="connsiteX492" fmla="*/ 2497239 w 5352225"/>
                <a:gd name="connsiteY492" fmla="*/ 2214231 h 3098548"/>
                <a:gd name="connsiteX493" fmla="*/ 2427369 w 5352225"/>
                <a:gd name="connsiteY493" fmla="*/ 2234462 h 3098548"/>
                <a:gd name="connsiteX494" fmla="*/ 2405821 w 5352225"/>
                <a:gd name="connsiteY494" fmla="*/ 2234462 h 3098548"/>
                <a:gd name="connsiteX495" fmla="*/ 2354887 w 5352225"/>
                <a:gd name="connsiteY495" fmla="*/ 2220757 h 3098548"/>
                <a:gd name="connsiteX496" fmla="*/ 1210846 w 5352225"/>
                <a:gd name="connsiteY496" fmla="*/ 1560303 h 3098548"/>
                <a:gd name="connsiteX497" fmla="*/ 1186685 w 5352225"/>
                <a:gd name="connsiteY497" fmla="*/ 1525714 h 3098548"/>
                <a:gd name="connsiteX498" fmla="*/ 1186685 w 5352225"/>
                <a:gd name="connsiteY498" fmla="*/ 1523756 h 3098548"/>
                <a:gd name="connsiteX499" fmla="*/ 1221294 w 5352225"/>
                <a:gd name="connsiteY499" fmla="*/ 1478072 h 3098548"/>
                <a:gd name="connsiteX500" fmla="*/ 1286593 w 5352225"/>
                <a:gd name="connsiteY500" fmla="*/ 1440220 h 3098548"/>
                <a:gd name="connsiteX501" fmla="*/ 1366911 w 5352225"/>
                <a:gd name="connsiteY501" fmla="*/ 1419989 h 3098548"/>
                <a:gd name="connsiteX502" fmla="*/ 3697541 w 5352225"/>
                <a:gd name="connsiteY502" fmla="*/ 1313418 h 3098548"/>
                <a:gd name="connsiteX503" fmla="*/ 3735964 w 5352225"/>
                <a:gd name="connsiteY503" fmla="*/ 1322528 h 3098548"/>
                <a:gd name="connsiteX504" fmla="*/ 3913103 w 5352225"/>
                <a:gd name="connsiteY504" fmla="*/ 1424037 h 3098548"/>
                <a:gd name="connsiteX505" fmla="*/ 3928082 w 5352225"/>
                <a:gd name="connsiteY505" fmla="*/ 1442907 h 3098548"/>
                <a:gd name="connsiteX506" fmla="*/ 3928082 w 5352225"/>
                <a:gd name="connsiteY506" fmla="*/ 1450065 h 3098548"/>
                <a:gd name="connsiteX507" fmla="*/ 3906591 w 5352225"/>
                <a:gd name="connsiteY507" fmla="*/ 1475442 h 3098548"/>
                <a:gd name="connsiteX508" fmla="*/ 3854491 w 5352225"/>
                <a:gd name="connsiteY508" fmla="*/ 1505375 h 3098548"/>
                <a:gd name="connsiteX509" fmla="*/ 3848630 w 5352225"/>
                <a:gd name="connsiteY509" fmla="*/ 1508628 h 3098548"/>
                <a:gd name="connsiteX510" fmla="*/ 3766573 w 5352225"/>
                <a:gd name="connsiteY510" fmla="*/ 1508628 h 3098548"/>
                <a:gd name="connsiteX511" fmla="*/ 3589434 w 5352225"/>
                <a:gd name="connsiteY511" fmla="*/ 1406468 h 3098548"/>
                <a:gd name="connsiteX512" fmla="*/ 3574455 w 5352225"/>
                <a:gd name="connsiteY512" fmla="*/ 1388248 h 3098548"/>
                <a:gd name="connsiteX513" fmla="*/ 3574455 w 5352225"/>
                <a:gd name="connsiteY513" fmla="*/ 1381741 h 3098548"/>
                <a:gd name="connsiteX514" fmla="*/ 3595946 w 5352225"/>
                <a:gd name="connsiteY514" fmla="*/ 1355713 h 3098548"/>
                <a:gd name="connsiteX515" fmla="*/ 3647395 w 5352225"/>
                <a:gd name="connsiteY515" fmla="*/ 1325781 h 3098548"/>
                <a:gd name="connsiteX516" fmla="*/ 3697541 w 5352225"/>
                <a:gd name="connsiteY516" fmla="*/ 1313418 h 3098548"/>
                <a:gd name="connsiteX517" fmla="*/ 2784791 w 5352225"/>
                <a:gd name="connsiteY517" fmla="*/ 1293256 h 3098548"/>
                <a:gd name="connsiteX518" fmla="*/ 2810243 w 5352225"/>
                <a:gd name="connsiteY518" fmla="*/ 1299124 h 3098548"/>
                <a:gd name="connsiteX519" fmla="*/ 2974699 w 5352225"/>
                <a:gd name="connsiteY519" fmla="*/ 1394314 h 3098548"/>
                <a:gd name="connsiteX520" fmla="*/ 2974699 w 5352225"/>
                <a:gd name="connsiteY520" fmla="*/ 1425610 h 3098548"/>
                <a:gd name="connsiteX521" fmla="*/ 2970784 w 5352225"/>
                <a:gd name="connsiteY521" fmla="*/ 1428218 h 3098548"/>
                <a:gd name="connsiteX522" fmla="*/ 2816116 w 5352225"/>
                <a:gd name="connsiteY522" fmla="*/ 1517541 h 3098548"/>
                <a:gd name="connsiteX523" fmla="*/ 2810896 w 5352225"/>
                <a:gd name="connsiteY523" fmla="*/ 1520149 h 3098548"/>
                <a:gd name="connsiteX524" fmla="*/ 2756729 w 5352225"/>
                <a:gd name="connsiteY524" fmla="*/ 1520149 h 3098548"/>
                <a:gd name="connsiteX525" fmla="*/ 2592273 w 5352225"/>
                <a:gd name="connsiteY525" fmla="*/ 1424958 h 3098548"/>
                <a:gd name="connsiteX526" fmla="*/ 2592273 w 5352225"/>
                <a:gd name="connsiteY526" fmla="*/ 1394314 h 3098548"/>
                <a:gd name="connsiteX527" fmla="*/ 2596841 w 5352225"/>
                <a:gd name="connsiteY527" fmla="*/ 1391054 h 3098548"/>
                <a:gd name="connsiteX528" fmla="*/ 2751509 w 5352225"/>
                <a:gd name="connsiteY528" fmla="*/ 1301732 h 3098548"/>
                <a:gd name="connsiteX529" fmla="*/ 2784791 w 5352225"/>
                <a:gd name="connsiteY529" fmla="*/ 1293256 h 3098548"/>
                <a:gd name="connsiteX530" fmla="*/ 2246173 w 5352225"/>
                <a:gd name="connsiteY530" fmla="*/ 1287495 h 3098548"/>
                <a:gd name="connsiteX531" fmla="*/ 2271625 w 5352225"/>
                <a:gd name="connsiteY531" fmla="*/ 1292726 h 3098548"/>
                <a:gd name="connsiteX532" fmla="*/ 2436082 w 5352225"/>
                <a:gd name="connsiteY532" fmla="*/ 1388190 h 3098548"/>
                <a:gd name="connsiteX533" fmla="*/ 2436082 w 5352225"/>
                <a:gd name="connsiteY533" fmla="*/ 1420229 h 3098548"/>
                <a:gd name="connsiteX534" fmla="*/ 2432167 w 5352225"/>
                <a:gd name="connsiteY534" fmla="*/ 1422191 h 3098548"/>
                <a:gd name="connsiteX535" fmla="*/ 2277499 w 5352225"/>
                <a:gd name="connsiteY535" fmla="*/ 1511770 h 3098548"/>
                <a:gd name="connsiteX536" fmla="*/ 2272930 w 5352225"/>
                <a:gd name="connsiteY536" fmla="*/ 1514386 h 3098548"/>
                <a:gd name="connsiteX537" fmla="*/ 2218764 w 5352225"/>
                <a:gd name="connsiteY537" fmla="*/ 1514386 h 3098548"/>
                <a:gd name="connsiteX538" fmla="*/ 2053654 w 5352225"/>
                <a:gd name="connsiteY538" fmla="*/ 1418922 h 3098548"/>
                <a:gd name="connsiteX539" fmla="*/ 2053654 w 5352225"/>
                <a:gd name="connsiteY539" fmla="*/ 1388190 h 3098548"/>
                <a:gd name="connsiteX540" fmla="*/ 2057570 w 5352225"/>
                <a:gd name="connsiteY540" fmla="*/ 1384921 h 3098548"/>
                <a:gd name="connsiteX541" fmla="*/ 2212890 w 5352225"/>
                <a:gd name="connsiteY541" fmla="*/ 1295341 h 3098548"/>
                <a:gd name="connsiteX542" fmla="*/ 2246173 w 5352225"/>
                <a:gd name="connsiteY542" fmla="*/ 1287495 h 3098548"/>
                <a:gd name="connsiteX543" fmla="*/ 1701797 w 5352225"/>
                <a:gd name="connsiteY543" fmla="*/ 1273094 h 3098548"/>
                <a:gd name="connsiteX544" fmla="*/ 1727249 w 5352225"/>
                <a:gd name="connsiteY544" fmla="*/ 1278978 h 3098548"/>
                <a:gd name="connsiteX545" fmla="*/ 1891705 w 5352225"/>
                <a:gd name="connsiteY545" fmla="*/ 1373788 h 3098548"/>
                <a:gd name="connsiteX546" fmla="*/ 1891705 w 5352225"/>
                <a:gd name="connsiteY546" fmla="*/ 1405827 h 3098548"/>
                <a:gd name="connsiteX547" fmla="*/ 1887137 w 5352225"/>
                <a:gd name="connsiteY547" fmla="*/ 1408443 h 3098548"/>
                <a:gd name="connsiteX548" fmla="*/ 1732470 w 5352225"/>
                <a:gd name="connsiteY548" fmla="*/ 1497367 h 3098548"/>
                <a:gd name="connsiteX549" fmla="*/ 1727249 w 5352225"/>
                <a:gd name="connsiteY549" fmla="*/ 1499983 h 3098548"/>
                <a:gd name="connsiteX550" fmla="*/ 1673735 w 5352225"/>
                <a:gd name="connsiteY550" fmla="*/ 1499983 h 3098548"/>
                <a:gd name="connsiteX551" fmla="*/ 1509279 w 5352225"/>
                <a:gd name="connsiteY551" fmla="*/ 1404519 h 3098548"/>
                <a:gd name="connsiteX552" fmla="*/ 1509279 w 5352225"/>
                <a:gd name="connsiteY552" fmla="*/ 1373788 h 3098548"/>
                <a:gd name="connsiteX553" fmla="*/ 1513195 w 5352225"/>
                <a:gd name="connsiteY553" fmla="*/ 1370519 h 3098548"/>
                <a:gd name="connsiteX554" fmla="*/ 1667862 w 5352225"/>
                <a:gd name="connsiteY554" fmla="*/ 1280940 h 3098548"/>
                <a:gd name="connsiteX555" fmla="*/ 1701797 w 5352225"/>
                <a:gd name="connsiteY555" fmla="*/ 1273094 h 3098548"/>
                <a:gd name="connsiteX556" fmla="*/ 3234118 w 5352225"/>
                <a:gd name="connsiteY556" fmla="*/ 1255812 h 3098548"/>
                <a:gd name="connsiteX557" fmla="*/ 3259570 w 5352225"/>
                <a:gd name="connsiteY557" fmla="*/ 1261696 h 3098548"/>
                <a:gd name="connsiteX558" fmla="*/ 3424026 w 5352225"/>
                <a:gd name="connsiteY558" fmla="*/ 1356506 h 3098548"/>
                <a:gd name="connsiteX559" fmla="*/ 3424026 w 5352225"/>
                <a:gd name="connsiteY559" fmla="*/ 1387891 h 3098548"/>
                <a:gd name="connsiteX560" fmla="*/ 3419458 w 5352225"/>
                <a:gd name="connsiteY560" fmla="*/ 1390507 h 3098548"/>
                <a:gd name="connsiteX561" fmla="*/ 3264791 w 5352225"/>
                <a:gd name="connsiteY561" fmla="*/ 1480085 h 3098548"/>
                <a:gd name="connsiteX562" fmla="*/ 3260223 w 5352225"/>
                <a:gd name="connsiteY562" fmla="*/ 1482701 h 3098548"/>
                <a:gd name="connsiteX563" fmla="*/ 3206056 w 5352225"/>
                <a:gd name="connsiteY563" fmla="*/ 1482701 h 3098548"/>
                <a:gd name="connsiteX564" fmla="*/ 3041600 w 5352225"/>
                <a:gd name="connsiteY564" fmla="*/ 1387891 h 3098548"/>
                <a:gd name="connsiteX565" fmla="*/ 3041600 w 5352225"/>
                <a:gd name="connsiteY565" fmla="*/ 1355852 h 3098548"/>
                <a:gd name="connsiteX566" fmla="*/ 3045516 w 5352225"/>
                <a:gd name="connsiteY566" fmla="*/ 1353237 h 3098548"/>
                <a:gd name="connsiteX567" fmla="*/ 3200836 w 5352225"/>
                <a:gd name="connsiteY567" fmla="*/ 1264312 h 3098548"/>
                <a:gd name="connsiteX568" fmla="*/ 3234118 w 5352225"/>
                <a:gd name="connsiteY568" fmla="*/ 1255812 h 3098548"/>
                <a:gd name="connsiteX569" fmla="*/ 1032264 w 5352225"/>
                <a:gd name="connsiteY569" fmla="*/ 1212606 h 3098548"/>
                <a:gd name="connsiteX570" fmla="*/ 1061638 w 5352225"/>
                <a:gd name="connsiteY570" fmla="*/ 1219112 h 3098548"/>
                <a:gd name="connsiteX571" fmla="*/ 1275743 w 5352225"/>
                <a:gd name="connsiteY571" fmla="*/ 1342081 h 3098548"/>
                <a:gd name="connsiteX572" fmla="*/ 1286840 w 5352225"/>
                <a:gd name="connsiteY572" fmla="*/ 1355744 h 3098548"/>
                <a:gd name="connsiteX573" fmla="*/ 1286840 w 5352225"/>
                <a:gd name="connsiteY573" fmla="*/ 1362901 h 3098548"/>
                <a:gd name="connsiteX574" fmla="*/ 1271174 w 5352225"/>
                <a:gd name="connsiteY574" fmla="*/ 1380468 h 3098548"/>
                <a:gd name="connsiteX575" fmla="*/ 1123650 w 5352225"/>
                <a:gd name="connsiteY575" fmla="*/ 1465050 h 3098548"/>
                <a:gd name="connsiteX576" fmla="*/ 1116470 w 5352225"/>
                <a:gd name="connsiteY576" fmla="*/ 1468303 h 3098548"/>
                <a:gd name="connsiteX577" fmla="*/ 1057722 w 5352225"/>
                <a:gd name="connsiteY577" fmla="*/ 1468303 h 3098548"/>
                <a:gd name="connsiteX578" fmla="*/ 842964 w 5352225"/>
                <a:gd name="connsiteY578" fmla="*/ 1344684 h 3098548"/>
                <a:gd name="connsiteX579" fmla="*/ 848186 w 5352225"/>
                <a:gd name="connsiteY579" fmla="*/ 1306296 h 3098548"/>
                <a:gd name="connsiteX580" fmla="*/ 995710 w 5352225"/>
                <a:gd name="connsiteY580" fmla="*/ 1221715 h 3098548"/>
                <a:gd name="connsiteX581" fmla="*/ 1032264 w 5352225"/>
                <a:gd name="connsiteY581" fmla="*/ 1212606 h 3098548"/>
                <a:gd name="connsiteX582" fmla="*/ 3414326 w 5352225"/>
                <a:gd name="connsiteY582" fmla="*/ 1149240 h 3098548"/>
                <a:gd name="connsiteX583" fmla="*/ 3452907 w 5352225"/>
                <a:gd name="connsiteY583" fmla="*/ 1158319 h 3098548"/>
                <a:gd name="connsiteX584" fmla="*/ 3630769 w 5352225"/>
                <a:gd name="connsiteY584" fmla="*/ 1260141 h 3098548"/>
                <a:gd name="connsiteX585" fmla="*/ 3645809 w 5352225"/>
                <a:gd name="connsiteY585" fmla="*/ 1278949 h 3098548"/>
                <a:gd name="connsiteX586" fmla="*/ 3645809 w 5352225"/>
                <a:gd name="connsiteY586" fmla="*/ 1285434 h 3098548"/>
                <a:gd name="connsiteX587" fmla="*/ 3624230 w 5352225"/>
                <a:gd name="connsiteY587" fmla="*/ 1310728 h 3098548"/>
                <a:gd name="connsiteX588" fmla="*/ 3572572 w 5352225"/>
                <a:gd name="connsiteY588" fmla="*/ 1340561 h 3098548"/>
                <a:gd name="connsiteX589" fmla="*/ 3565379 w 5352225"/>
                <a:gd name="connsiteY589" fmla="*/ 1344452 h 3098548"/>
                <a:gd name="connsiteX590" fmla="*/ 3484294 w 5352225"/>
                <a:gd name="connsiteY590" fmla="*/ 1344452 h 3098548"/>
                <a:gd name="connsiteX591" fmla="*/ 3306432 w 5352225"/>
                <a:gd name="connsiteY591" fmla="*/ 1242630 h 3098548"/>
                <a:gd name="connsiteX592" fmla="*/ 3312317 w 5352225"/>
                <a:gd name="connsiteY592" fmla="*/ 1191395 h 3098548"/>
                <a:gd name="connsiteX593" fmla="*/ 3364629 w 5352225"/>
                <a:gd name="connsiteY593" fmla="*/ 1162211 h 3098548"/>
                <a:gd name="connsiteX594" fmla="*/ 3414326 w 5352225"/>
                <a:gd name="connsiteY594" fmla="*/ 1149240 h 3098548"/>
                <a:gd name="connsiteX595" fmla="*/ 2507630 w 5352225"/>
                <a:gd name="connsiteY595" fmla="*/ 1134839 h 3098548"/>
                <a:gd name="connsiteX596" fmla="*/ 2533081 w 5352225"/>
                <a:gd name="connsiteY596" fmla="*/ 1140723 h 3098548"/>
                <a:gd name="connsiteX597" fmla="*/ 2698190 w 5352225"/>
                <a:gd name="connsiteY597" fmla="*/ 1235533 h 3098548"/>
                <a:gd name="connsiteX598" fmla="*/ 2698190 w 5352225"/>
                <a:gd name="connsiteY598" fmla="*/ 1266918 h 3098548"/>
                <a:gd name="connsiteX599" fmla="*/ 2693622 w 5352225"/>
                <a:gd name="connsiteY599" fmla="*/ 1269534 h 3098548"/>
                <a:gd name="connsiteX600" fmla="*/ 2538955 w 5352225"/>
                <a:gd name="connsiteY600" fmla="*/ 1359112 h 3098548"/>
                <a:gd name="connsiteX601" fmla="*/ 2534387 w 5352225"/>
                <a:gd name="connsiteY601" fmla="*/ 1361728 h 3098548"/>
                <a:gd name="connsiteX602" fmla="*/ 2480220 w 5352225"/>
                <a:gd name="connsiteY602" fmla="*/ 1361728 h 3098548"/>
                <a:gd name="connsiteX603" fmla="*/ 2315764 w 5352225"/>
                <a:gd name="connsiteY603" fmla="*/ 1266918 h 3098548"/>
                <a:gd name="connsiteX604" fmla="*/ 2315764 w 5352225"/>
                <a:gd name="connsiteY604" fmla="*/ 1234879 h 3098548"/>
                <a:gd name="connsiteX605" fmla="*/ 2319680 w 5352225"/>
                <a:gd name="connsiteY605" fmla="*/ 1232264 h 3098548"/>
                <a:gd name="connsiteX606" fmla="*/ 2474347 w 5352225"/>
                <a:gd name="connsiteY606" fmla="*/ 1143339 h 3098548"/>
                <a:gd name="connsiteX607" fmla="*/ 2507630 w 5352225"/>
                <a:gd name="connsiteY607" fmla="*/ 1134839 h 3098548"/>
                <a:gd name="connsiteX608" fmla="*/ 1968686 w 5352225"/>
                <a:gd name="connsiteY608" fmla="*/ 1126198 h 3098548"/>
                <a:gd name="connsiteX609" fmla="*/ 1994834 w 5352225"/>
                <a:gd name="connsiteY609" fmla="*/ 1132083 h 3098548"/>
                <a:gd name="connsiteX610" fmla="*/ 2159572 w 5352225"/>
                <a:gd name="connsiteY610" fmla="*/ 1227547 h 3098548"/>
                <a:gd name="connsiteX611" fmla="*/ 2159572 w 5352225"/>
                <a:gd name="connsiteY611" fmla="*/ 1258932 h 3098548"/>
                <a:gd name="connsiteX612" fmla="*/ 2154996 w 5352225"/>
                <a:gd name="connsiteY612" fmla="*/ 1261548 h 3098548"/>
                <a:gd name="connsiteX613" fmla="*/ 2000718 w 5352225"/>
                <a:gd name="connsiteY613" fmla="*/ 1351127 h 3098548"/>
                <a:gd name="connsiteX614" fmla="*/ 1997449 w 5352225"/>
                <a:gd name="connsiteY614" fmla="*/ 1353089 h 3098548"/>
                <a:gd name="connsiteX615" fmla="*/ 1941229 w 5352225"/>
                <a:gd name="connsiteY615" fmla="*/ 1353089 h 3098548"/>
                <a:gd name="connsiteX616" fmla="*/ 1777145 w 5352225"/>
                <a:gd name="connsiteY616" fmla="*/ 1258278 h 3098548"/>
                <a:gd name="connsiteX617" fmla="*/ 1777145 w 5352225"/>
                <a:gd name="connsiteY617" fmla="*/ 1226893 h 3098548"/>
                <a:gd name="connsiteX618" fmla="*/ 1781067 w 5352225"/>
                <a:gd name="connsiteY618" fmla="*/ 1224277 h 3098548"/>
                <a:gd name="connsiteX619" fmla="*/ 1935346 w 5352225"/>
                <a:gd name="connsiteY619" fmla="*/ 1134698 h 3098548"/>
                <a:gd name="connsiteX620" fmla="*/ 1968686 w 5352225"/>
                <a:gd name="connsiteY620" fmla="*/ 1126198 h 3098548"/>
                <a:gd name="connsiteX621" fmla="*/ 1428167 w 5352225"/>
                <a:gd name="connsiteY621" fmla="*/ 1114677 h 3098548"/>
                <a:gd name="connsiteX622" fmla="*/ 1453619 w 5352225"/>
                <a:gd name="connsiteY622" fmla="*/ 1120545 h 3098548"/>
                <a:gd name="connsiteX623" fmla="*/ 1618076 w 5352225"/>
                <a:gd name="connsiteY623" fmla="*/ 1215735 h 3098548"/>
                <a:gd name="connsiteX624" fmla="*/ 1618076 w 5352225"/>
                <a:gd name="connsiteY624" fmla="*/ 1247031 h 3098548"/>
                <a:gd name="connsiteX625" fmla="*/ 1613508 w 5352225"/>
                <a:gd name="connsiteY625" fmla="*/ 1249639 h 3098548"/>
                <a:gd name="connsiteX626" fmla="*/ 1458840 w 5352225"/>
                <a:gd name="connsiteY626" fmla="*/ 1338962 h 3098548"/>
                <a:gd name="connsiteX627" fmla="*/ 1453619 w 5352225"/>
                <a:gd name="connsiteY627" fmla="*/ 1341570 h 3098548"/>
                <a:gd name="connsiteX628" fmla="*/ 1400105 w 5352225"/>
                <a:gd name="connsiteY628" fmla="*/ 1341570 h 3098548"/>
                <a:gd name="connsiteX629" fmla="*/ 1235648 w 5352225"/>
                <a:gd name="connsiteY629" fmla="*/ 1246379 h 3098548"/>
                <a:gd name="connsiteX630" fmla="*/ 1235648 w 5352225"/>
                <a:gd name="connsiteY630" fmla="*/ 1215083 h 3098548"/>
                <a:gd name="connsiteX631" fmla="*/ 1239564 w 5352225"/>
                <a:gd name="connsiteY631" fmla="*/ 1212475 h 3098548"/>
                <a:gd name="connsiteX632" fmla="*/ 1394232 w 5352225"/>
                <a:gd name="connsiteY632" fmla="*/ 1123153 h 3098548"/>
                <a:gd name="connsiteX633" fmla="*/ 1428167 w 5352225"/>
                <a:gd name="connsiteY633" fmla="*/ 1114677 h 3098548"/>
                <a:gd name="connsiteX634" fmla="*/ 2948967 w 5352225"/>
                <a:gd name="connsiteY634" fmla="*/ 1091635 h 3098548"/>
                <a:gd name="connsiteX635" fmla="*/ 2974419 w 5352225"/>
                <a:gd name="connsiteY635" fmla="*/ 1097503 h 3098548"/>
                <a:gd name="connsiteX636" fmla="*/ 3138876 w 5352225"/>
                <a:gd name="connsiteY636" fmla="*/ 1192693 h 3098548"/>
                <a:gd name="connsiteX637" fmla="*/ 3138876 w 5352225"/>
                <a:gd name="connsiteY637" fmla="*/ 1223989 h 3098548"/>
                <a:gd name="connsiteX638" fmla="*/ 3134308 w 5352225"/>
                <a:gd name="connsiteY638" fmla="*/ 1226597 h 3098548"/>
                <a:gd name="connsiteX639" fmla="*/ 2979640 w 5352225"/>
                <a:gd name="connsiteY639" fmla="*/ 1315920 h 3098548"/>
                <a:gd name="connsiteX640" fmla="*/ 2974419 w 5352225"/>
                <a:gd name="connsiteY640" fmla="*/ 1318528 h 3098548"/>
                <a:gd name="connsiteX641" fmla="*/ 2920905 w 5352225"/>
                <a:gd name="connsiteY641" fmla="*/ 1318528 h 3098548"/>
                <a:gd name="connsiteX642" fmla="*/ 2756448 w 5352225"/>
                <a:gd name="connsiteY642" fmla="*/ 1223337 h 3098548"/>
                <a:gd name="connsiteX643" fmla="*/ 2756448 w 5352225"/>
                <a:gd name="connsiteY643" fmla="*/ 1192041 h 3098548"/>
                <a:gd name="connsiteX644" fmla="*/ 2760364 w 5352225"/>
                <a:gd name="connsiteY644" fmla="*/ 1189433 h 3098548"/>
                <a:gd name="connsiteX645" fmla="*/ 2915032 w 5352225"/>
                <a:gd name="connsiteY645" fmla="*/ 1100111 h 3098548"/>
                <a:gd name="connsiteX646" fmla="*/ 2948967 w 5352225"/>
                <a:gd name="connsiteY646" fmla="*/ 1091635 h 3098548"/>
                <a:gd name="connsiteX647" fmla="*/ 751297 w 5352225"/>
                <a:gd name="connsiteY647" fmla="*/ 1051310 h 3098548"/>
                <a:gd name="connsiteX648" fmla="*/ 776749 w 5352225"/>
                <a:gd name="connsiteY648" fmla="*/ 1057195 h 3098548"/>
                <a:gd name="connsiteX649" fmla="*/ 941205 w 5352225"/>
                <a:gd name="connsiteY649" fmla="*/ 1152659 h 3098548"/>
                <a:gd name="connsiteX650" fmla="*/ 941205 w 5352225"/>
                <a:gd name="connsiteY650" fmla="*/ 1184698 h 3098548"/>
                <a:gd name="connsiteX651" fmla="*/ 937290 w 5352225"/>
                <a:gd name="connsiteY651" fmla="*/ 1186660 h 3098548"/>
                <a:gd name="connsiteX652" fmla="*/ 782622 w 5352225"/>
                <a:gd name="connsiteY652" fmla="*/ 1276239 h 3098548"/>
                <a:gd name="connsiteX653" fmla="*/ 778707 w 5352225"/>
                <a:gd name="connsiteY653" fmla="*/ 1278201 h 3098548"/>
                <a:gd name="connsiteX654" fmla="*/ 723235 w 5352225"/>
                <a:gd name="connsiteY654" fmla="*/ 1278201 h 3098548"/>
                <a:gd name="connsiteX655" fmla="*/ 558779 w 5352225"/>
                <a:gd name="connsiteY655" fmla="*/ 1183390 h 3098548"/>
                <a:gd name="connsiteX656" fmla="*/ 558779 w 5352225"/>
                <a:gd name="connsiteY656" fmla="*/ 1152659 h 3098548"/>
                <a:gd name="connsiteX657" fmla="*/ 563347 w 5352225"/>
                <a:gd name="connsiteY657" fmla="*/ 1149389 h 3098548"/>
                <a:gd name="connsiteX658" fmla="*/ 717362 w 5352225"/>
                <a:gd name="connsiteY658" fmla="*/ 1059810 h 3098548"/>
                <a:gd name="connsiteX659" fmla="*/ 751297 w 5352225"/>
                <a:gd name="connsiteY659" fmla="*/ 1051310 h 3098548"/>
                <a:gd name="connsiteX660" fmla="*/ 3130624 w 5352225"/>
                <a:gd name="connsiteY660" fmla="*/ 985063 h 3098548"/>
                <a:gd name="connsiteX661" fmla="*/ 3169205 w 5352225"/>
                <a:gd name="connsiteY661" fmla="*/ 993494 h 3098548"/>
                <a:gd name="connsiteX662" fmla="*/ 3347067 w 5352225"/>
                <a:gd name="connsiteY662" fmla="*/ 1095964 h 3098548"/>
                <a:gd name="connsiteX663" fmla="*/ 3340528 w 5352225"/>
                <a:gd name="connsiteY663" fmla="*/ 1146551 h 3098548"/>
                <a:gd name="connsiteX664" fmla="*/ 3288216 w 5352225"/>
                <a:gd name="connsiteY664" fmla="*/ 1176384 h 3098548"/>
                <a:gd name="connsiteX665" fmla="*/ 3281023 w 5352225"/>
                <a:gd name="connsiteY665" fmla="*/ 1180275 h 3098548"/>
                <a:gd name="connsiteX666" fmla="*/ 3199938 w 5352225"/>
                <a:gd name="connsiteY666" fmla="*/ 1180275 h 3098548"/>
                <a:gd name="connsiteX667" fmla="*/ 3022076 w 5352225"/>
                <a:gd name="connsiteY667" fmla="*/ 1077805 h 3098548"/>
                <a:gd name="connsiteX668" fmla="*/ 3007036 w 5352225"/>
                <a:gd name="connsiteY668" fmla="*/ 1059646 h 3098548"/>
                <a:gd name="connsiteX669" fmla="*/ 3007036 w 5352225"/>
                <a:gd name="connsiteY669" fmla="*/ 1053160 h 3098548"/>
                <a:gd name="connsiteX670" fmla="*/ 3028615 w 5352225"/>
                <a:gd name="connsiteY670" fmla="*/ 1027218 h 3098548"/>
                <a:gd name="connsiteX671" fmla="*/ 3080274 w 5352225"/>
                <a:gd name="connsiteY671" fmla="*/ 997385 h 3098548"/>
                <a:gd name="connsiteX672" fmla="*/ 3130624 w 5352225"/>
                <a:gd name="connsiteY672" fmla="*/ 985063 h 3098548"/>
                <a:gd name="connsiteX673" fmla="*/ 2231772 w 5352225"/>
                <a:gd name="connsiteY673" fmla="*/ 973542 h 3098548"/>
                <a:gd name="connsiteX674" fmla="*/ 2257224 w 5352225"/>
                <a:gd name="connsiteY674" fmla="*/ 979426 h 3098548"/>
                <a:gd name="connsiteX675" fmla="*/ 2421680 w 5352225"/>
                <a:gd name="connsiteY675" fmla="*/ 1074890 h 3098548"/>
                <a:gd name="connsiteX676" fmla="*/ 2421680 w 5352225"/>
                <a:gd name="connsiteY676" fmla="*/ 1106929 h 3098548"/>
                <a:gd name="connsiteX677" fmla="*/ 2417765 w 5352225"/>
                <a:gd name="connsiteY677" fmla="*/ 1108891 h 3098548"/>
                <a:gd name="connsiteX678" fmla="*/ 2263097 w 5352225"/>
                <a:gd name="connsiteY678" fmla="*/ 1198469 h 3098548"/>
                <a:gd name="connsiteX679" fmla="*/ 2259834 w 5352225"/>
                <a:gd name="connsiteY679" fmla="*/ 1200431 h 3098548"/>
                <a:gd name="connsiteX680" fmla="*/ 2203710 w 5352225"/>
                <a:gd name="connsiteY680" fmla="*/ 1200431 h 3098548"/>
                <a:gd name="connsiteX681" fmla="*/ 2039254 w 5352225"/>
                <a:gd name="connsiteY681" fmla="*/ 1105621 h 3098548"/>
                <a:gd name="connsiteX682" fmla="*/ 2039254 w 5352225"/>
                <a:gd name="connsiteY682" fmla="*/ 1074890 h 3098548"/>
                <a:gd name="connsiteX683" fmla="*/ 2043822 w 5352225"/>
                <a:gd name="connsiteY683" fmla="*/ 1071621 h 3098548"/>
                <a:gd name="connsiteX684" fmla="*/ 2198490 w 5352225"/>
                <a:gd name="connsiteY684" fmla="*/ 982042 h 3098548"/>
                <a:gd name="connsiteX685" fmla="*/ 2231772 w 5352225"/>
                <a:gd name="connsiteY685" fmla="*/ 973542 h 3098548"/>
                <a:gd name="connsiteX686" fmla="*/ 1693155 w 5352225"/>
                <a:gd name="connsiteY686" fmla="*/ 964901 h 3098548"/>
                <a:gd name="connsiteX687" fmla="*/ 1718607 w 5352225"/>
                <a:gd name="connsiteY687" fmla="*/ 970769 h 3098548"/>
                <a:gd name="connsiteX688" fmla="*/ 1883064 w 5352225"/>
                <a:gd name="connsiteY688" fmla="*/ 1065959 h 3098548"/>
                <a:gd name="connsiteX689" fmla="*/ 1883064 w 5352225"/>
                <a:gd name="connsiteY689" fmla="*/ 1097907 h 3098548"/>
                <a:gd name="connsiteX690" fmla="*/ 1879149 w 5352225"/>
                <a:gd name="connsiteY690" fmla="*/ 1099863 h 3098548"/>
                <a:gd name="connsiteX691" fmla="*/ 1724481 w 5352225"/>
                <a:gd name="connsiteY691" fmla="*/ 1189186 h 3098548"/>
                <a:gd name="connsiteX692" fmla="*/ 1719260 w 5352225"/>
                <a:gd name="connsiteY692" fmla="*/ 1191794 h 3098548"/>
                <a:gd name="connsiteX693" fmla="*/ 1665746 w 5352225"/>
                <a:gd name="connsiteY693" fmla="*/ 1191794 h 3098548"/>
                <a:gd name="connsiteX694" fmla="*/ 1500636 w 5352225"/>
                <a:gd name="connsiteY694" fmla="*/ 1097255 h 3098548"/>
                <a:gd name="connsiteX695" fmla="*/ 1500636 w 5352225"/>
                <a:gd name="connsiteY695" fmla="*/ 1065959 h 3098548"/>
                <a:gd name="connsiteX696" fmla="*/ 1505204 w 5352225"/>
                <a:gd name="connsiteY696" fmla="*/ 1062699 h 3098548"/>
                <a:gd name="connsiteX697" fmla="*/ 1659872 w 5352225"/>
                <a:gd name="connsiteY697" fmla="*/ 973377 h 3098548"/>
                <a:gd name="connsiteX698" fmla="*/ 1693155 w 5352225"/>
                <a:gd name="connsiteY698" fmla="*/ 964901 h 3098548"/>
                <a:gd name="connsiteX699" fmla="*/ 1154212 w 5352225"/>
                <a:gd name="connsiteY699" fmla="*/ 956260 h 3098548"/>
                <a:gd name="connsiteX700" fmla="*/ 1180272 w 5352225"/>
                <a:gd name="connsiteY700" fmla="*/ 962780 h 3098548"/>
                <a:gd name="connsiteX701" fmla="*/ 1344448 w 5352225"/>
                <a:gd name="connsiteY701" fmla="*/ 1057970 h 3098548"/>
                <a:gd name="connsiteX702" fmla="*/ 1344448 w 5352225"/>
                <a:gd name="connsiteY702" fmla="*/ 1088613 h 3098548"/>
                <a:gd name="connsiteX703" fmla="*/ 1339888 w 5352225"/>
                <a:gd name="connsiteY703" fmla="*/ 1091221 h 3098548"/>
                <a:gd name="connsiteX704" fmla="*/ 1185484 w 5352225"/>
                <a:gd name="connsiteY704" fmla="*/ 1181195 h 3098548"/>
                <a:gd name="connsiteX705" fmla="*/ 1181575 w 5352225"/>
                <a:gd name="connsiteY705" fmla="*/ 1183151 h 3098548"/>
                <a:gd name="connsiteX706" fmla="*/ 1126198 w 5352225"/>
                <a:gd name="connsiteY706" fmla="*/ 1183151 h 3098548"/>
                <a:gd name="connsiteX707" fmla="*/ 962021 w 5352225"/>
                <a:gd name="connsiteY707" fmla="*/ 1087961 h 3098548"/>
                <a:gd name="connsiteX708" fmla="*/ 962021 w 5352225"/>
                <a:gd name="connsiteY708" fmla="*/ 1057318 h 3098548"/>
                <a:gd name="connsiteX709" fmla="*/ 966581 w 5352225"/>
                <a:gd name="connsiteY709" fmla="*/ 1054058 h 3098548"/>
                <a:gd name="connsiteX710" fmla="*/ 1120986 w 5352225"/>
                <a:gd name="connsiteY710" fmla="*/ 964736 h 3098548"/>
                <a:gd name="connsiteX711" fmla="*/ 1154212 w 5352225"/>
                <a:gd name="connsiteY711" fmla="*/ 956260 h 3098548"/>
                <a:gd name="connsiteX712" fmla="*/ 2666697 w 5352225"/>
                <a:gd name="connsiteY712" fmla="*/ 927457 h 3098548"/>
                <a:gd name="connsiteX713" fmla="*/ 2692149 w 5352225"/>
                <a:gd name="connsiteY713" fmla="*/ 932688 h 3098548"/>
                <a:gd name="connsiteX714" fmla="*/ 2856606 w 5352225"/>
                <a:gd name="connsiteY714" fmla="*/ 1028151 h 3098548"/>
                <a:gd name="connsiteX715" fmla="*/ 2856606 w 5352225"/>
                <a:gd name="connsiteY715" fmla="*/ 1060190 h 3098548"/>
                <a:gd name="connsiteX716" fmla="*/ 2852691 w 5352225"/>
                <a:gd name="connsiteY716" fmla="*/ 1062152 h 3098548"/>
                <a:gd name="connsiteX717" fmla="*/ 2697370 w 5352225"/>
                <a:gd name="connsiteY717" fmla="*/ 1151730 h 3098548"/>
                <a:gd name="connsiteX718" fmla="*/ 2692149 w 5352225"/>
                <a:gd name="connsiteY718" fmla="*/ 1154346 h 3098548"/>
                <a:gd name="connsiteX719" fmla="*/ 2638635 w 5352225"/>
                <a:gd name="connsiteY719" fmla="*/ 1154346 h 3098548"/>
                <a:gd name="connsiteX720" fmla="*/ 2474178 w 5352225"/>
                <a:gd name="connsiteY720" fmla="*/ 1058882 h 3098548"/>
                <a:gd name="connsiteX721" fmla="*/ 2474178 w 5352225"/>
                <a:gd name="connsiteY721" fmla="*/ 1027497 h 3098548"/>
                <a:gd name="connsiteX722" fmla="*/ 2478094 w 5352225"/>
                <a:gd name="connsiteY722" fmla="*/ 1024882 h 3098548"/>
                <a:gd name="connsiteX723" fmla="*/ 2632762 w 5352225"/>
                <a:gd name="connsiteY723" fmla="*/ 935303 h 3098548"/>
                <a:gd name="connsiteX724" fmla="*/ 2666697 w 5352225"/>
                <a:gd name="connsiteY724" fmla="*/ 927457 h 3098548"/>
                <a:gd name="connsiteX725" fmla="*/ 474136 w 5352225"/>
                <a:gd name="connsiteY725" fmla="*/ 890013 h 3098548"/>
                <a:gd name="connsiteX726" fmla="*/ 499587 w 5352225"/>
                <a:gd name="connsiteY726" fmla="*/ 895881 h 3098548"/>
                <a:gd name="connsiteX727" fmla="*/ 664696 w 5352225"/>
                <a:gd name="connsiteY727" fmla="*/ 991071 h 3098548"/>
                <a:gd name="connsiteX728" fmla="*/ 664696 w 5352225"/>
                <a:gd name="connsiteY728" fmla="*/ 1022367 h 3098548"/>
                <a:gd name="connsiteX729" fmla="*/ 660128 w 5352225"/>
                <a:gd name="connsiteY729" fmla="*/ 1024975 h 3098548"/>
                <a:gd name="connsiteX730" fmla="*/ 505461 w 5352225"/>
                <a:gd name="connsiteY730" fmla="*/ 1114298 h 3098548"/>
                <a:gd name="connsiteX731" fmla="*/ 499587 w 5352225"/>
                <a:gd name="connsiteY731" fmla="*/ 1116906 h 3098548"/>
                <a:gd name="connsiteX732" fmla="*/ 446074 w 5352225"/>
                <a:gd name="connsiteY732" fmla="*/ 1116906 h 3098548"/>
                <a:gd name="connsiteX733" fmla="*/ 282270 w 5352225"/>
                <a:gd name="connsiteY733" fmla="*/ 1021715 h 3098548"/>
                <a:gd name="connsiteX734" fmla="*/ 282270 w 5352225"/>
                <a:gd name="connsiteY734" fmla="*/ 990419 h 3098548"/>
                <a:gd name="connsiteX735" fmla="*/ 286186 w 5352225"/>
                <a:gd name="connsiteY735" fmla="*/ 987811 h 3098548"/>
                <a:gd name="connsiteX736" fmla="*/ 440853 w 5352225"/>
                <a:gd name="connsiteY736" fmla="*/ 898489 h 3098548"/>
                <a:gd name="connsiteX737" fmla="*/ 474136 w 5352225"/>
                <a:gd name="connsiteY737" fmla="*/ 890013 h 3098548"/>
                <a:gd name="connsiteX738" fmla="*/ 2844026 w 5352225"/>
                <a:gd name="connsiteY738" fmla="*/ 820885 h 3098548"/>
                <a:gd name="connsiteX739" fmla="*/ 2882607 w 5352225"/>
                <a:gd name="connsiteY739" fmla="*/ 829344 h 3098548"/>
                <a:gd name="connsiteX740" fmla="*/ 3060469 w 5352225"/>
                <a:gd name="connsiteY740" fmla="*/ 931504 h 3098548"/>
                <a:gd name="connsiteX741" fmla="*/ 3075509 w 5352225"/>
                <a:gd name="connsiteY741" fmla="*/ 950374 h 3098548"/>
                <a:gd name="connsiteX742" fmla="*/ 3075509 w 5352225"/>
                <a:gd name="connsiteY742" fmla="*/ 957532 h 3098548"/>
                <a:gd name="connsiteX743" fmla="*/ 3054584 w 5352225"/>
                <a:gd name="connsiteY743" fmla="*/ 982909 h 3098548"/>
                <a:gd name="connsiteX744" fmla="*/ 3002272 w 5352225"/>
                <a:gd name="connsiteY744" fmla="*/ 1012191 h 3098548"/>
                <a:gd name="connsiteX745" fmla="*/ 2995079 w 5352225"/>
                <a:gd name="connsiteY745" fmla="*/ 1016095 h 3098548"/>
                <a:gd name="connsiteX746" fmla="*/ 2913994 w 5352225"/>
                <a:gd name="connsiteY746" fmla="*/ 1016095 h 3098548"/>
                <a:gd name="connsiteX747" fmla="*/ 2736132 w 5352225"/>
                <a:gd name="connsiteY747" fmla="*/ 913935 h 3098548"/>
                <a:gd name="connsiteX748" fmla="*/ 2742017 w 5352225"/>
                <a:gd name="connsiteY748" fmla="*/ 863180 h 3098548"/>
                <a:gd name="connsiteX749" fmla="*/ 2793675 w 5352225"/>
                <a:gd name="connsiteY749" fmla="*/ 833248 h 3098548"/>
                <a:gd name="connsiteX750" fmla="*/ 2844026 w 5352225"/>
                <a:gd name="connsiteY750" fmla="*/ 820885 h 3098548"/>
                <a:gd name="connsiteX751" fmla="*/ 1954938 w 5352225"/>
                <a:gd name="connsiteY751" fmla="*/ 815126 h 3098548"/>
                <a:gd name="connsiteX752" fmla="*/ 1979780 w 5352225"/>
                <a:gd name="connsiteY752" fmla="*/ 821011 h 3098548"/>
                <a:gd name="connsiteX753" fmla="*/ 2145170 w 5352225"/>
                <a:gd name="connsiteY753" fmla="*/ 915821 h 3098548"/>
                <a:gd name="connsiteX754" fmla="*/ 2145170 w 5352225"/>
                <a:gd name="connsiteY754" fmla="*/ 947860 h 3098548"/>
                <a:gd name="connsiteX755" fmla="*/ 2141248 w 5352225"/>
                <a:gd name="connsiteY755" fmla="*/ 950476 h 3098548"/>
                <a:gd name="connsiteX756" fmla="*/ 1985663 w 5352225"/>
                <a:gd name="connsiteY756" fmla="*/ 1040055 h 3098548"/>
                <a:gd name="connsiteX757" fmla="*/ 1982394 w 5352225"/>
                <a:gd name="connsiteY757" fmla="*/ 1042017 h 3098548"/>
                <a:gd name="connsiteX758" fmla="*/ 1926828 w 5352225"/>
                <a:gd name="connsiteY758" fmla="*/ 1042017 h 3098548"/>
                <a:gd name="connsiteX759" fmla="*/ 1762745 w 5352225"/>
                <a:gd name="connsiteY759" fmla="*/ 946553 h 3098548"/>
                <a:gd name="connsiteX760" fmla="*/ 1762745 w 5352225"/>
                <a:gd name="connsiteY760" fmla="*/ 915167 h 3098548"/>
                <a:gd name="connsiteX761" fmla="*/ 1766667 w 5352225"/>
                <a:gd name="connsiteY761" fmla="*/ 912552 h 3098548"/>
                <a:gd name="connsiteX762" fmla="*/ 1921599 w 5352225"/>
                <a:gd name="connsiteY762" fmla="*/ 822972 h 3098548"/>
                <a:gd name="connsiteX763" fmla="*/ 1954938 w 5352225"/>
                <a:gd name="connsiteY763" fmla="*/ 815126 h 3098548"/>
                <a:gd name="connsiteX764" fmla="*/ 1415994 w 5352225"/>
                <a:gd name="connsiteY764" fmla="*/ 806485 h 3098548"/>
                <a:gd name="connsiteX765" fmla="*/ 1442098 w 5352225"/>
                <a:gd name="connsiteY765" fmla="*/ 812369 h 3098548"/>
                <a:gd name="connsiteX766" fmla="*/ 1606555 w 5352225"/>
                <a:gd name="connsiteY766" fmla="*/ 907833 h 3098548"/>
                <a:gd name="connsiteX767" fmla="*/ 1606555 w 5352225"/>
                <a:gd name="connsiteY767" fmla="*/ 939218 h 3098548"/>
                <a:gd name="connsiteX768" fmla="*/ 1601987 w 5352225"/>
                <a:gd name="connsiteY768" fmla="*/ 941834 h 3098548"/>
                <a:gd name="connsiteX769" fmla="*/ 1447972 w 5352225"/>
                <a:gd name="connsiteY769" fmla="*/ 1031412 h 3098548"/>
                <a:gd name="connsiteX770" fmla="*/ 1443403 w 5352225"/>
                <a:gd name="connsiteY770" fmla="*/ 1033374 h 3098548"/>
                <a:gd name="connsiteX771" fmla="*/ 1388584 w 5352225"/>
                <a:gd name="connsiteY771" fmla="*/ 1033374 h 3098548"/>
                <a:gd name="connsiteX772" fmla="*/ 1224127 w 5352225"/>
                <a:gd name="connsiteY772" fmla="*/ 938564 h 3098548"/>
                <a:gd name="connsiteX773" fmla="*/ 1224127 w 5352225"/>
                <a:gd name="connsiteY773" fmla="*/ 907179 h 3098548"/>
                <a:gd name="connsiteX774" fmla="*/ 1228043 w 5352225"/>
                <a:gd name="connsiteY774" fmla="*/ 904564 h 3098548"/>
                <a:gd name="connsiteX775" fmla="*/ 1382711 w 5352225"/>
                <a:gd name="connsiteY775" fmla="*/ 814985 h 3098548"/>
                <a:gd name="connsiteX776" fmla="*/ 1415994 w 5352225"/>
                <a:gd name="connsiteY776" fmla="*/ 806485 h 3098548"/>
                <a:gd name="connsiteX777" fmla="*/ 2384428 w 5352225"/>
                <a:gd name="connsiteY777" fmla="*/ 763280 h 3098548"/>
                <a:gd name="connsiteX778" fmla="*/ 2409228 w 5352225"/>
                <a:gd name="connsiteY778" fmla="*/ 769148 h 3098548"/>
                <a:gd name="connsiteX779" fmla="*/ 2574337 w 5352225"/>
                <a:gd name="connsiteY779" fmla="*/ 863686 h 3098548"/>
                <a:gd name="connsiteX780" fmla="*/ 2574337 w 5352225"/>
                <a:gd name="connsiteY780" fmla="*/ 895634 h 3098548"/>
                <a:gd name="connsiteX781" fmla="*/ 2570422 w 5352225"/>
                <a:gd name="connsiteY781" fmla="*/ 898242 h 3098548"/>
                <a:gd name="connsiteX782" fmla="*/ 2415101 w 5352225"/>
                <a:gd name="connsiteY782" fmla="*/ 986913 h 3098548"/>
                <a:gd name="connsiteX783" fmla="*/ 2409228 w 5352225"/>
                <a:gd name="connsiteY783" fmla="*/ 990173 h 3098548"/>
                <a:gd name="connsiteX784" fmla="*/ 2356366 w 5352225"/>
                <a:gd name="connsiteY784" fmla="*/ 990173 h 3098548"/>
                <a:gd name="connsiteX785" fmla="*/ 2191909 w 5352225"/>
                <a:gd name="connsiteY785" fmla="*/ 894982 h 3098548"/>
                <a:gd name="connsiteX786" fmla="*/ 2191909 w 5352225"/>
                <a:gd name="connsiteY786" fmla="*/ 863686 h 3098548"/>
                <a:gd name="connsiteX787" fmla="*/ 2195825 w 5352225"/>
                <a:gd name="connsiteY787" fmla="*/ 861078 h 3098548"/>
                <a:gd name="connsiteX788" fmla="*/ 2351145 w 5352225"/>
                <a:gd name="connsiteY788" fmla="*/ 771756 h 3098548"/>
                <a:gd name="connsiteX789" fmla="*/ 2384428 w 5352225"/>
                <a:gd name="connsiteY789" fmla="*/ 763280 h 3098548"/>
                <a:gd name="connsiteX790" fmla="*/ 192191 w 5352225"/>
                <a:gd name="connsiteY790" fmla="*/ 728716 h 3098548"/>
                <a:gd name="connsiteX791" fmla="*/ 217599 w 5352225"/>
                <a:gd name="connsiteY791" fmla="*/ 735236 h 3098548"/>
                <a:gd name="connsiteX792" fmla="*/ 382428 w 5352225"/>
                <a:gd name="connsiteY792" fmla="*/ 829774 h 3098548"/>
                <a:gd name="connsiteX793" fmla="*/ 382428 w 5352225"/>
                <a:gd name="connsiteY793" fmla="*/ 861070 h 3098548"/>
                <a:gd name="connsiteX794" fmla="*/ 377867 w 5352225"/>
                <a:gd name="connsiteY794" fmla="*/ 863678 h 3098548"/>
                <a:gd name="connsiteX795" fmla="*/ 223463 w 5352225"/>
                <a:gd name="connsiteY795" fmla="*/ 953001 h 3098548"/>
                <a:gd name="connsiteX796" fmla="*/ 218251 w 5352225"/>
                <a:gd name="connsiteY796" fmla="*/ 955609 h 3098548"/>
                <a:gd name="connsiteX797" fmla="*/ 164828 w 5352225"/>
                <a:gd name="connsiteY797" fmla="*/ 955609 h 3098548"/>
                <a:gd name="connsiteX798" fmla="*/ 0 w 5352225"/>
                <a:gd name="connsiteY798" fmla="*/ 860418 h 3098548"/>
                <a:gd name="connsiteX799" fmla="*/ 0 w 5352225"/>
                <a:gd name="connsiteY799" fmla="*/ 830426 h 3098548"/>
                <a:gd name="connsiteX800" fmla="*/ 5212 w 5352225"/>
                <a:gd name="connsiteY800" fmla="*/ 826514 h 3098548"/>
                <a:gd name="connsiteX801" fmla="*/ 158965 w 5352225"/>
                <a:gd name="connsiteY801" fmla="*/ 737192 h 3098548"/>
                <a:gd name="connsiteX802" fmla="*/ 192191 w 5352225"/>
                <a:gd name="connsiteY802" fmla="*/ 728716 h 3098548"/>
                <a:gd name="connsiteX803" fmla="*/ 2559670 w 5352225"/>
                <a:gd name="connsiteY803" fmla="*/ 656709 h 3098548"/>
                <a:gd name="connsiteX804" fmla="*/ 2598905 w 5352225"/>
                <a:gd name="connsiteY804" fmla="*/ 665819 h 3098548"/>
                <a:gd name="connsiteX805" fmla="*/ 2776767 w 5352225"/>
                <a:gd name="connsiteY805" fmla="*/ 767328 h 3098548"/>
                <a:gd name="connsiteX806" fmla="*/ 2770228 w 5352225"/>
                <a:gd name="connsiteY806" fmla="*/ 818733 h 3098548"/>
                <a:gd name="connsiteX807" fmla="*/ 2717916 w 5352225"/>
                <a:gd name="connsiteY807" fmla="*/ 848666 h 3098548"/>
                <a:gd name="connsiteX808" fmla="*/ 2712031 w 5352225"/>
                <a:gd name="connsiteY808" fmla="*/ 851919 h 3098548"/>
                <a:gd name="connsiteX809" fmla="*/ 2629638 w 5352225"/>
                <a:gd name="connsiteY809" fmla="*/ 851919 h 3098548"/>
                <a:gd name="connsiteX810" fmla="*/ 2451776 w 5352225"/>
                <a:gd name="connsiteY810" fmla="*/ 749759 h 3098548"/>
                <a:gd name="connsiteX811" fmla="*/ 2436736 w 5352225"/>
                <a:gd name="connsiteY811" fmla="*/ 732190 h 3098548"/>
                <a:gd name="connsiteX812" fmla="*/ 2436736 w 5352225"/>
                <a:gd name="connsiteY812" fmla="*/ 723731 h 3098548"/>
                <a:gd name="connsiteX813" fmla="*/ 2458315 w 5352225"/>
                <a:gd name="connsiteY813" fmla="*/ 699004 h 3098548"/>
                <a:gd name="connsiteX814" fmla="*/ 2509974 w 5352225"/>
                <a:gd name="connsiteY814" fmla="*/ 669072 h 3098548"/>
                <a:gd name="connsiteX815" fmla="*/ 2559670 w 5352225"/>
                <a:gd name="connsiteY815" fmla="*/ 656709 h 3098548"/>
                <a:gd name="connsiteX816" fmla="*/ 1678427 w 5352225"/>
                <a:gd name="connsiteY816" fmla="*/ 653829 h 3098548"/>
                <a:gd name="connsiteX817" fmla="*/ 1703835 w 5352225"/>
                <a:gd name="connsiteY817" fmla="*/ 660349 h 3098548"/>
                <a:gd name="connsiteX818" fmla="*/ 1868664 w 5352225"/>
                <a:gd name="connsiteY818" fmla="*/ 754887 h 3098548"/>
                <a:gd name="connsiteX819" fmla="*/ 1868664 w 5352225"/>
                <a:gd name="connsiteY819" fmla="*/ 786183 h 3098548"/>
                <a:gd name="connsiteX820" fmla="*/ 1864103 w 5352225"/>
                <a:gd name="connsiteY820" fmla="*/ 788791 h 3098548"/>
                <a:gd name="connsiteX821" fmla="*/ 1709699 w 5352225"/>
                <a:gd name="connsiteY821" fmla="*/ 878114 h 3098548"/>
                <a:gd name="connsiteX822" fmla="*/ 1703835 w 5352225"/>
                <a:gd name="connsiteY822" fmla="*/ 880722 h 3098548"/>
                <a:gd name="connsiteX823" fmla="*/ 1650413 w 5352225"/>
                <a:gd name="connsiteY823" fmla="*/ 880722 h 3098548"/>
                <a:gd name="connsiteX824" fmla="*/ 1486236 w 5352225"/>
                <a:gd name="connsiteY824" fmla="*/ 785531 h 3098548"/>
                <a:gd name="connsiteX825" fmla="*/ 1486236 w 5352225"/>
                <a:gd name="connsiteY825" fmla="*/ 754887 h 3098548"/>
                <a:gd name="connsiteX826" fmla="*/ 1490796 w 5352225"/>
                <a:gd name="connsiteY826" fmla="*/ 751627 h 3098548"/>
                <a:gd name="connsiteX827" fmla="*/ 1645201 w 5352225"/>
                <a:gd name="connsiteY827" fmla="*/ 662305 h 3098548"/>
                <a:gd name="connsiteX828" fmla="*/ 1678427 w 5352225"/>
                <a:gd name="connsiteY828" fmla="*/ 653829 h 3098548"/>
                <a:gd name="connsiteX829" fmla="*/ 1140137 w 5352225"/>
                <a:gd name="connsiteY829" fmla="*/ 645188 h 3098548"/>
                <a:gd name="connsiteX830" fmla="*/ 1165589 w 5352225"/>
                <a:gd name="connsiteY830" fmla="*/ 651056 h 3098548"/>
                <a:gd name="connsiteX831" fmla="*/ 1330046 w 5352225"/>
                <a:gd name="connsiteY831" fmla="*/ 746246 h 3098548"/>
                <a:gd name="connsiteX832" fmla="*/ 1330046 w 5352225"/>
                <a:gd name="connsiteY832" fmla="*/ 778193 h 3098548"/>
                <a:gd name="connsiteX833" fmla="*/ 1326131 w 5352225"/>
                <a:gd name="connsiteY833" fmla="*/ 780149 h 3098548"/>
                <a:gd name="connsiteX834" fmla="*/ 1171463 w 5352225"/>
                <a:gd name="connsiteY834" fmla="*/ 869471 h 3098548"/>
                <a:gd name="connsiteX835" fmla="*/ 1166242 w 5352225"/>
                <a:gd name="connsiteY835" fmla="*/ 872079 h 3098548"/>
                <a:gd name="connsiteX836" fmla="*/ 1112728 w 5352225"/>
                <a:gd name="connsiteY836" fmla="*/ 872079 h 3098548"/>
                <a:gd name="connsiteX837" fmla="*/ 947618 w 5352225"/>
                <a:gd name="connsiteY837" fmla="*/ 776889 h 3098548"/>
                <a:gd name="connsiteX838" fmla="*/ 947618 w 5352225"/>
                <a:gd name="connsiteY838" fmla="*/ 746246 h 3098548"/>
                <a:gd name="connsiteX839" fmla="*/ 952186 w 5352225"/>
                <a:gd name="connsiteY839" fmla="*/ 742986 h 3098548"/>
                <a:gd name="connsiteX840" fmla="*/ 1106854 w 5352225"/>
                <a:gd name="connsiteY840" fmla="*/ 653664 h 3098548"/>
                <a:gd name="connsiteX841" fmla="*/ 1140137 w 5352225"/>
                <a:gd name="connsiteY841" fmla="*/ 645188 h 3098548"/>
                <a:gd name="connsiteX842" fmla="*/ 2098954 w 5352225"/>
                <a:gd name="connsiteY842" fmla="*/ 599103 h 3098548"/>
                <a:gd name="connsiteX843" fmla="*/ 2123796 w 5352225"/>
                <a:gd name="connsiteY843" fmla="*/ 604971 h 3098548"/>
                <a:gd name="connsiteX844" fmla="*/ 2289186 w 5352225"/>
                <a:gd name="connsiteY844" fmla="*/ 700161 h 3098548"/>
                <a:gd name="connsiteX845" fmla="*/ 2289186 w 5352225"/>
                <a:gd name="connsiteY845" fmla="*/ 731456 h 3098548"/>
                <a:gd name="connsiteX846" fmla="*/ 2285264 w 5352225"/>
                <a:gd name="connsiteY846" fmla="*/ 734064 h 3098548"/>
                <a:gd name="connsiteX847" fmla="*/ 2129679 w 5352225"/>
                <a:gd name="connsiteY847" fmla="*/ 823386 h 3098548"/>
                <a:gd name="connsiteX848" fmla="*/ 2125103 w 5352225"/>
                <a:gd name="connsiteY848" fmla="*/ 825994 h 3098548"/>
                <a:gd name="connsiteX849" fmla="*/ 2070844 w 5352225"/>
                <a:gd name="connsiteY849" fmla="*/ 825994 h 3098548"/>
                <a:gd name="connsiteX850" fmla="*/ 1906761 w 5352225"/>
                <a:gd name="connsiteY850" fmla="*/ 730804 h 3098548"/>
                <a:gd name="connsiteX851" fmla="*/ 1906761 w 5352225"/>
                <a:gd name="connsiteY851" fmla="*/ 699509 h 3098548"/>
                <a:gd name="connsiteX852" fmla="*/ 1910683 w 5352225"/>
                <a:gd name="connsiteY852" fmla="*/ 696901 h 3098548"/>
                <a:gd name="connsiteX853" fmla="*/ 2065615 w 5352225"/>
                <a:gd name="connsiteY853" fmla="*/ 607579 h 3098548"/>
                <a:gd name="connsiteX854" fmla="*/ 2098954 w 5352225"/>
                <a:gd name="connsiteY854" fmla="*/ 599103 h 3098548"/>
                <a:gd name="connsiteX855" fmla="*/ 474744 w 5352225"/>
                <a:gd name="connsiteY855" fmla="*/ 570301 h 3098548"/>
                <a:gd name="connsiteX856" fmla="*/ 515848 w 5352225"/>
                <a:gd name="connsiteY856" fmla="*/ 580071 h 3098548"/>
                <a:gd name="connsiteX857" fmla="*/ 1049558 w 5352225"/>
                <a:gd name="connsiteY857" fmla="*/ 887507 h 3098548"/>
                <a:gd name="connsiteX858" fmla="*/ 1043033 w 5352225"/>
                <a:gd name="connsiteY858" fmla="*/ 942220 h 3098548"/>
                <a:gd name="connsiteX859" fmla="*/ 925591 w 5352225"/>
                <a:gd name="connsiteY859" fmla="*/ 1009308 h 3098548"/>
                <a:gd name="connsiteX860" fmla="*/ 917762 w 5352225"/>
                <a:gd name="connsiteY860" fmla="*/ 1013216 h 3098548"/>
                <a:gd name="connsiteX861" fmla="*/ 831637 w 5352225"/>
                <a:gd name="connsiteY861" fmla="*/ 1013216 h 3098548"/>
                <a:gd name="connsiteX862" fmla="*/ 297928 w 5352225"/>
                <a:gd name="connsiteY862" fmla="*/ 705781 h 3098548"/>
                <a:gd name="connsiteX863" fmla="*/ 282269 w 5352225"/>
                <a:gd name="connsiteY863" fmla="*/ 687543 h 3098548"/>
                <a:gd name="connsiteX864" fmla="*/ 282269 w 5352225"/>
                <a:gd name="connsiteY864" fmla="*/ 677773 h 3098548"/>
                <a:gd name="connsiteX865" fmla="*/ 305105 w 5352225"/>
                <a:gd name="connsiteY865" fmla="*/ 651068 h 3098548"/>
                <a:gd name="connsiteX866" fmla="*/ 421895 w 5352225"/>
                <a:gd name="connsiteY866" fmla="*/ 583979 h 3098548"/>
                <a:gd name="connsiteX867" fmla="*/ 474744 w 5352225"/>
                <a:gd name="connsiteY867" fmla="*/ 570301 h 3098548"/>
                <a:gd name="connsiteX868" fmla="*/ 1401593 w 5352225"/>
                <a:gd name="connsiteY868" fmla="*/ 495412 h 3098548"/>
                <a:gd name="connsiteX869" fmla="*/ 1427697 w 5352225"/>
                <a:gd name="connsiteY869" fmla="*/ 501296 h 3098548"/>
                <a:gd name="connsiteX870" fmla="*/ 1592153 w 5352225"/>
                <a:gd name="connsiteY870" fmla="*/ 596106 h 3098548"/>
                <a:gd name="connsiteX871" fmla="*/ 1592153 w 5352225"/>
                <a:gd name="connsiteY871" fmla="*/ 627491 h 3098548"/>
                <a:gd name="connsiteX872" fmla="*/ 1587585 w 5352225"/>
                <a:gd name="connsiteY872" fmla="*/ 630107 h 3098548"/>
                <a:gd name="connsiteX873" fmla="*/ 1432918 w 5352225"/>
                <a:gd name="connsiteY873" fmla="*/ 719685 h 3098548"/>
                <a:gd name="connsiteX874" fmla="*/ 1427697 w 5352225"/>
                <a:gd name="connsiteY874" fmla="*/ 722301 h 3098548"/>
                <a:gd name="connsiteX875" fmla="*/ 1374183 w 5352225"/>
                <a:gd name="connsiteY875" fmla="*/ 722301 h 3098548"/>
                <a:gd name="connsiteX876" fmla="*/ 1209727 w 5352225"/>
                <a:gd name="connsiteY876" fmla="*/ 627491 h 3098548"/>
                <a:gd name="connsiteX877" fmla="*/ 1209727 w 5352225"/>
                <a:gd name="connsiteY877" fmla="*/ 595452 h 3098548"/>
                <a:gd name="connsiteX878" fmla="*/ 1213643 w 5352225"/>
                <a:gd name="connsiteY878" fmla="*/ 592837 h 3098548"/>
                <a:gd name="connsiteX879" fmla="*/ 1368310 w 5352225"/>
                <a:gd name="connsiteY879" fmla="*/ 503912 h 3098548"/>
                <a:gd name="connsiteX880" fmla="*/ 1401593 w 5352225"/>
                <a:gd name="connsiteY880" fmla="*/ 495412 h 3098548"/>
                <a:gd name="connsiteX881" fmla="*/ 2276606 w 5352225"/>
                <a:gd name="connsiteY881" fmla="*/ 492531 h 3098548"/>
                <a:gd name="connsiteX882" fmla="*/ 2315187 w 5352225"/>
                <a:gd name="connsiteY882" fmla="*/ 500990 h 3098548"/>
                <a:gd name="connsiteX883" fmla="*/ 2493049 w 5352225"/>
                <a:gd name="connsiteY883" fmla="*/ 603150 h 3098548"/>
                <a:gd name="connsiteX884" fmla="*/ 2508089 w 5352225"/>
                <a:gd name="connsiteY884" fmla="*/ 621370 h 3098548"/>
                <a:gd name="connsiteX885" fmla="*/ 2508089 w 5352225"/>
                <a:gd name="connsiteY885" fmla="*/ 630479 h 3098548"/>
                <a:gd name="connsiteX886" fmla="*/ 2487164 w 5352225"/>
                <a:gd name="connsiteY886" fmla="*/ 654555 h 3098548"/>
                <a:gd name="connsiteX887" fmla="*/ 2434852 w 5352225"/>
                <a:gd name="connsiteY887" fmla="*/ 684488 h 3098548"/>
                <a:gd name="connsiteX888" fmla="*/ 2428966 w 5352225"/>
                <a:gd name="connsiteY888" fmla="*/ 687741 h 3098548"/>
                <a:gd name="connsiteX889" fmla="*/ 2346574 w 5352225"/>
                <a:gd name="connsiteY889" fmla="*/ 687741 h 3098548"/>
                <a:gd name="connsiteX890" fmla="*/ 2168712 w 5352225"/>
                <a:gd name="connsiteY890" fmla="*/ 585581 h 3098548"/>
                <a:gd name="connsiteX891" fmla="*/ 2174597 w 5352225"/>
                <a:gd name="connsiteY891" fmla="*/ 534176 h 3098548"/>
                <a:gd name="connsiteX892" fmla="*/ 2226909 w 5352225"/>
                <a:gd name="connsiteY892" fmla="*/ 504243 h 3098548"/>
                <a:gd name="connsiteX893" fmla="*/ 2276606 w 5352225"/>
                <a:gd name="connsiteY893" fmla="*/ 492531 h 3098548"/>
                <a:gd name="connsiteX894" fmla="*/ 1817338 w 5352225"/>
                <a:gd name="connsiteY894" fmla="*/ 437806 h 3098548"/>
                <a:gd name="connsiteX895" fmla="*/ 1842179 w 5352225"/>
                <a:gd name="connsiteY895" fmla="*/ 443707 h 3098548"/>
                <a:gd name="connsiteX896" fmla="*/ 2006916 w 5352225"/>
                <a:gd name="connsiteY896" fmla="*/ 538135 h 3098548"/>
                <a:gd name="connsiteX897" fmla="*/ 2006916 w 5352225"/>
                <a:gd name="connsiteY897" fmla="*/ 569610 h 3098548"/>
                <a:gd name="connsiteX898" fmla="*/ 2002340 w 5352225"/>
                <a:gd name="connsiteY898" fmla="*/ 572233 h 3098548"/>
                <a:gd name="connsiteX899" fmla="*/ 1848063 w 5352225"/>
                <a:gd name="connsiteY899" fmla="*/ 662726 h 3098548"/>
                <a:gd name="connsiteX900" fmla="*/ 1844140 w 5352225"/>
                <a:gd name="connsiteY900" fmla="*/ 664693 h 3098548"/>
                <a:gd name="connsiteX901" fmla="*/ 1789228 w 5352225"/>
                <a:gd name="connsiteY901" fmla="*/ 664693 h 3098548"/>
                <a:gd name="connsiteX902" fmla="*/ 1624491 w 5352225"/>
                <a:gd name="connsiteY902" fmla="*/ 569610 h 3098548"/>
                <a:gd name="connsiteX903" fmla="*/ 1624491 w 5352225"/>
                <a:gd name="connsiteY903" fmla="*/ 538135 h 3098548"/>
                <a:gd name="connsiteX904" fmla="*/ 1628413 w 5352225"/>
                <a:gd name="connsiteY904" fmla="*/ 535512 h 3098548"/>
                <a:gd name="connsiteX905" fmla="*/ 1783998 w 5352225"/>
                <a:gd name="connsiteY905" fmla="*/ 446330 h 3098548"/>
                <a:gd name="connsiteX906" fmla="*/ 1817338 w 5352225"/>
                <a:gd name="connsiteY906" fmla="*/ 437806 h 3098548"/>
                <a:gd name="connsiteX907" fmla="*/ 736852 w 5352225"/>
                <a:gd name="connsiteY907" fmla="*/ 417643 h 3098548"/>
                <a:gd name="connsiteX908" fmla="*/ 769439 w 5352225"/>
                <a:gd name="connsiteY908" fmla="*/ 425508 h 3098548"/>
                <a:gd name="connsiteX909" fmla="*/ 1054904 w 5352225"/>
                <a:gd name="connsiteY909" fmla="*/ 590688 h 3098548"/>
                <a:gd name="connsiteX910" fmla="*/ 1067939 w 5352225"/>
                <a:gd name="connsiteY910" fmla="*/ 607074 h 3098548"/>
                <a:gd name="connsiteX911" fmla="*/ 1067939 w 5352225"/>
                <a:gd name="connsiteY911" fmla="*/ 611663 h 3098548"/>
                <a:gd name="connsiteX912" fmla="*/ 1049690 w 5352225"/>
                <a:gd name="connsiteY912" fmla="*/ 633949 h 3098548"/>
                <a:gd name="connsiteX913" fmla="*/ 912172 w 5352225"/>
                <a:gd name="connsiteY913" fmla="*/ 713916 h 3098548"/>
                <a:gd name="connsiteX914" fmla="*/ 906958 w 5352225"/>
                <a:gd name="connsiteY914" fmla="*/ 716538 h 3098548"/>
                <a:gd name="connsiteX915" fmla="*/ 837221 w 5352225"/>
                <a:gd name="connsiteY915" fmla="*/ 716538 h 3098548"/>
                <a:gd name="connsiteX916" fmla="*/ 551756 w 5352225"/>
                <a:gd name="connsiteY916" fmla="*/ 550704 h 3098548"/>
                <a:gd name="connsiteX917" fmla="*/ 557621 w 5352225"/>
                <a:gd name="connsiteY917" fmla="*/ 507443 h 3098548"/>
                <a:gd name="connsiteX918" fmla="*/ 694488 w 5352225"/>
                <a:gd name="connsiteY918" fmla="*/ 428130 h 3098548"/>
                <a:gd name="connsiteX919" fmla="*/ 736852 w 5352225"/>
                <a:gd name="connsiteY919" fmla="*/ 417643 h 3098548"/>
                <a:gd name="connsiteX920" fmla="*/ 1991817 w 5352225"/>
                <a:gd name="connsiteY920" fmla="*/ 331234 h 3098548"/>
                <a:gd name="connsiteX921" fmla="*/ 2030467 w 5352225"/>
                <a:gd name="connsiteY921" fmla="*/ 340374 h 3098548"/>
                <a:gd name="connsiteX922" fmla="*/ 2209306 w 5352225"/>
                <a:gd name="connsiteY922" fmla="*/ 442875 h 3098548"/>
                <a:gd name="connsiteX923" fmla="*/ 2202755 w 5352225"/>
                <a:gd name="connsiteY923" fmla="*/ 493146 h 3098548"/>
                <a:gd name="connsiteX924" fmla="*/ 2150348 w 5352225"/>
                <a:gd name="connsiteY924" fmla="*/ 523178 h 3098548"/>
                <a:gd name="connsiteX925" fmla="*/ 2144452 w 5352225"/>
                <a:gd name="connsiteY925" fmla="*/ 526442 h 3098548"/>
                <a:gd name="connsiteX926" fmla="*/ 2061911 w 5352225"/>
                <a:gd name="connsiteY926" fmla="*/ 526442 h 3098548"/>
                <a:gd name="connsiteX927" fmla="*/ 1884383 w 5352225"/>
                <a:gd name="connsiteY927" fmla="*/ 425247 h 3098548"/>
                <a:gd name="connsiteX928" fmla="*/ 1869316 w 5352225"/>
                <a:gd name="connsiteY928" fmla="*/ 406314 h 3098548"/>
                <a:gd name="connsiteX929" fmla="*/ 1869316 w 5352225"/>
                <a:gd name="connsiteY929" fmla="*/ 397826 h 3098548"/>
                <a:gd name="connsiteX930" fmla="*/ 1890934 w 5352225"/>
                <a:gd name="connsiteY930" fmla="*/ 373670 h 3098548"/>
                <a:gd name="connsiteX931" fmla="*/ 1942031 w 5352225"/>
                <a:gd name="connsiteY931" fmla="*/ 343638 h 3098548"/>
                <a:gd name="connsiteX932" fmla="*/ 1991817 w 5352225"/>
                <a:gd name="connsiteY932" fmla="*/ 331234 h 3098548"/>
                <a:gd name="connsiteX933" fmla="*/ 1531858 w 5352225"/>
                <a:gd name="connsiteY933" fmla="*/ 273629 h 3098548"/>
                <a:gd name="connsiteX934" fmla="*/ 1556658 w 5352225"/>
                <a:gd name="connsiteY934" fmla="*/ 279514 h 3098548"/>
                <a:gd name="connsiteX935" fmla="*/ 1721767 w 5352225"/>
                <a:gd name="connsiteY935" fmla="*/ 374324 h 3098548"/>
                <a:gd name="connsiteX936" fmla="*/ 1721767 w 5352225"/>
                <a:gd name="connsiteY936" fmla="*/ 405709 h 3098548"/>
                <a:gd name="connsiteX937" fmla="*/ 1717199 w 5352225"/>
                <a:gd name="connsiteY937" fmla="*/ 408979 h 3098548"/>
                <a:gd name="connsiteX938" fmla="*/ 1562531 w 5352225"/>
                <a:gd name="connsiteY938" fmla="*/ 497904 h 3098548"/>
                <a:gd name="connsiteX939" fmla="*/ 1557310 w 5352225"/>
                <a:gd name="connsiteY939" fmla="*/ 500520 h 3098548"/>
                <a:gd name="connsiteX940" fmla="*/ 1503796 w 5352225"/>
                <a:gd name="connsiteY940" fmla="*/ 500520 h 3098548"/>
                <a:gd name="connsiteX941" fmla="*/ 1339339 w 5352225"/>
                <a:gd name="connsiteY941" fmla="*/ 405709 h 3098548"/>
                <a:gd name="connsiteX942" fmla="*/ 1339339 w 5352225"/>
                <a:gd name="connsiteY942" fmla="*/ 373670 h 3098548"/>
                <a:gd name="connsiteX943" fmla="*/ 1343255 w 5352225"/>
                <a:gd name="connsiteY943" fmla="*/ 371708 h 3098548"/>
                <a:gd name="connsiteX944" fmla="*/ 1498575 w 5352225"/>
                <a:gd name="connsiteY944" fmla="*/ 282129 h 3098548"/>
                <a:gd name="connsiteX945" fmla="*/ 1531858 w 5352225"/>
                <a:gd name="connsiteY945" fmla="*/ 273629 h 3098548"/>
                <a:gd name="connsiteX946" fmla="*/ 990555 w 5352225"/>
                <a:gd name="connsiteY946" fmla="*/ 262106 h 3098548"/>
                <a:gd name="connsiteX947" fmla="*/ 1023199 w 5352225"/>
                <a:gd name="connsiteY947" fmla="*/ 269927 h 3098548"/>
                <a:gd name="connsiteX948" fmla="*/ 1316990 w 5352225"/>
                <a:gd name="connsiteY948" fmla="*/ 438742 h 3098548"/>
                <a:gd name="connsiteX949" fmla="*/ 1330047 w 5352225"/>
                <a:gd name="connsiteY949" fmla="*/ 456341 h 3098548"/>
                <a:gd name="connsiteX950" fmla="*/ 1330047 w 5352225"/>
                <a:gd name="connsiteY950" fmla="*/ 459600 h 3098548"/>
                <a:gd name="connsiteX951" fmla="*/ 1311114 w 5352225"/>
                <a:gd name="connsiteY951" fmla="*/ 482413 h 3098548"/>
                <a:gd name="connsiteX952" fmla="*/ 1174664 w 5352225"/>
                <a:gd name="connsiteY952" fmla="*/ 560628 h 3098548"/>
                <a:gd name="connsiteX953" fmla="*/ 1168136 w 5352225"/>
                <a:gd name="connsiteY953" fmla="*/ 563887 h 3098548"/>
                <a:gd name="connsiteX954" fmla="*/ 1098931 w 5352225"/>
                <a:gd name="connsiteY954" fmla="*/ 563887 h 3098548"/>
                <a:gd name="connsiteX955" fmla="*/ 805140 w 5352225"/>
                <a:gd name="connsiteY955" fmla="*/ 395724 h 3098548"/>
                <a:gd name="connsiteX956" fmla="*/ 792083 w 5352225"/>
                <a:gd name="connsiteY956" fmla="*/ 377474 h 3098548"/>
                <a:gd name="connsiteX957" fmla="*/ 792083 w 5352225"/>
                <a:gd name="connsiteY957" fmla="*/ 374215 h 3098548"/>
                <a:gd name="connsiteX958" fmla="*/ 811016 w 5352225"/>
                <a:gd name="connsiteY958" fmla="*/ 351402 h 3098548"/>
                <a:gd name="connsiteX959" fmla="*/ 947466 w 5352225"/>
                <a:gd name="connsiteY959" fmla="*/ 273186 h 3098548"/>
                <a:gd name="connsiteX960" fmla="*/ 990555 w 5352225"/>
                <a:gd name="connsiteY960" fmla="*/ 262106 h 3098548"/>
                <a:gd name="connsiteX961" fmla="*/ 1709423 w 5352225"/>
                <a:gd name="connsiteY961" fmla="*/ 167057 h 3098548"/>
                <a:gd name="connsiteX962" fmla="*/ 1748073 w 5352225"/>
                <a:gd name="connsiteY962" fmla="*/ 175516 h 3098548"/>
                <a:gd name="connsiteX963" fmla="*/ 1925602 w 5352225"/>
                <a:gd name="connsiteY963" fmla="*/ 277676 h 3098548"/>
                <a:gd name="connsiteX964" fmla="*/ 1940669 w 5352225"/>
                <a:gd name="connsiteY964" fmla="*/ 295245 h 3098548"/>
                <a:gd name="connsiteX965" fmla="*/ 1940669 w 5352225"/>
                <a:gd name="connsiteY965" fmla="*/ 304355 h 3098548"/>
                <a:gd name="connsiteX966" fmla="*/ 1919706 w 5352225"/>
                <a:gd name="connsiteY966" fmla="*/ 328431 h 3098548"/>
                <a:gd name="connsiteX967" fmla="*/ 1867954 w 5352225"/>
                <a:gd name="connsiteY967" fmla="*/ 358363 h 3098548"/>
                <a:gd name="connsiteX968" fmla="*/ 1860093 w 5352225"/>
                <a:gd name="connsiteY968" fmla="*/ 362267 h 3098548"/>
                <a:gd name="connsiteX969" fmla="*/ 1779518 w 5352225"/>
                <a:gd name="connsiteY969" fmla="*/ 362267 h 3098548"/>
                <a:gd name="connsiteX970" fmla="*/ 1600679 w 5352225"/>
                <a:gd name="connsiteY970" fmla="*/ 260107 h 3098548"/>
                <a:gd name="connsiteX971" fmla="*/ 1607230 w 5352225"/>
                <a:gd name="connsiteY971" fmla="*/ 209352 h 3098548"/>
                <a:gd name="connsiteX972" fmla="*/ 1659637 w 5352225"/>
                <a:gd name="connsiteY972" fmla="*/ 179420 h 3098548"/>
                <a:gd name="connsiteX973" fmla="*/ 1709423 w 5352225"/>
                <a:gd name="connsiteY973" fmla="*/ 167057 h 3098548"/>
                <a:gd name="connsiteX974" fmla="*/ 1249588 w 5352225"/>
                <a:gd name="connsiteY974" fmla="*/ 109452 h 3098548"/>
                <a:gd name="connsiteX975" fmla="*/ 1274388 w 5352225"/>
                <a:gd name="connsiteY975" fmla="*/ 115972 h 3098548"/>
                <a:gd name="connsiteX976" fmla="*/ 1439497 w 5352225"/>
                <a:gd name="connsiteY976" fmla="*/ 210510 h 3098548"/>
                <a:gd name="connsiteX977" fmla="*/ 1439497 w 5352225"/>
                <a:gd name="connsiteY977" fmla="*/ 241805 h 3098548"/>
                <a:gd name="connsiteX978" fmla="*/ 1434929 w 5352225"/>
                <a:gd name="connsiteY978" fmla="*/ 245065 h 3098548"/>
                <a:gd name="connsiteX979" fmla="*/ 1280261 w 5352225"/>
                <a:gd name="connsiteY979" fmla="*/ 333735 h 3098548"/>
                <a:gd name="connsiteX980" fmla="*/ 1275040 w 5352225"/>
                <a:gd name="connsiteY980" fmla="*/ 336343 h 3098548"/>
                <a:gd name="connsiteX981" fmla="*/ 1221526 w 5352225"/>
                <a:gd name="connsiteY981" fmla="*/ 336343 h 3098548"/>
                <a:gd name="connsiteX982" fmla="*/ 1057069 w 5352225"/>
                <a:gd name="connsiteY982" fmla="*/ 241153 h 3098548"/>
                <a:gd name="connsiteX983" fmla="*/ 1057069 w 5352225"/>
                <a:gd name="connsiteY983" fmla="*/ 209206 h 3098548"/>
                <a:gd name="connsiteX984" fmla="*/ 1060985 w 5352225"/>
                <a:gd name="connsiteY984" fmla="*/ 207250 h 3098548"/>
                <a:gd name="connsiteX985" fmla="*/ 1215653 w 5352225"/>
                <a:gd name="connsiteY985" fmla="*/ 117928 h 3098548"/>
                <a:gd name="connsiteX986" fmla="*/ 1249588 w 5352225"/>
                <a:gd name="connsiteY986" fmla="*/ 109452 h 3098548"/>
                <a:gd name="connsiteX987" fmla="*/ 1421950 w 5352225"/>
                <a:gd name="connsiteY987" fmla="*/ 0 h 3098548"/>
                <a:gd name="connsiteX988" fmla="*/ 1460531 w 5352225"/>
                <a:gd name="connsiteY988" fmla="*/ 8431 h 3098548"/>
                <a:gd name="connsiteX989" fmla="*/ 1638393 w 5352225"/>
                <a:gd name="connsiteY989" fmla="*/ 110901 h 3098548"/>
                <a:gd name="connsiteX990" fmla="*/ 1632508 w 5352225"/>
                <a:gd name="connsiteY990" fmla="*/ 161488 h 3098548"/>
                <a:gd name="connsiteX991" fmla="*/ 1580196 w 5352225"/>
                <a:gd name="connsiteY991" fmla="*/ 191321 h 3098548"/>
                <a:gd name="connsiteX992" fmla="*/ 1572349 w 5352225"/>
                <a:gd name="connsiteY992" fmla="*/ 195212 h 3098548"/>
                <a:gd name="connsiteX993" fmla="*/ 1491918 w 5352225"/>
                <a:gd name="connsiteY993" fmla="*/ 195212 h 3098548"/>
                <a:gd name="connsiteX994" fmla="*/ 1314056 w 5352225"/>
                <a:gd name="connsiteY994" fmla="*/ 92742 h 3098548"/>
                <a:gd name="connsiteX995" fmla="*/ 1299016 w 5352225"/>
                <a:gd name="connsiteY995" fmla="*/ 74583 h 3098548"/>
                <a:gd name="connsiteX996" fmla="*/ 1299016 w 5352225"/>
                <a:gd name="connsiteY996" fmla="*/ 65503 h 3098548"/>
                <a:gd name="connsiteX997" fmla="*/ 1319941 w 5352225"/>
                <a:gd name="connsiteY997" fmla="*/ 42155 h 3098548"/>
                <a:gd name="connsiteX998" fmla="*/ 1372254 w 5352225"/>
                <a:gd name="connsiteY998" fmla="*/ 12971 h 3098548"/>
                <a:gd name="connsiteX999" fmla="*/ 1421950 w 5352225"/>
                <a:gd name="connsiteY999" fmla="*/ 0 h 3098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Lst>
              <a:rect l="l" t="t" r="r" b="b"/>
              <a:pathLst>
                <a:path w="5352225" h="3098548">
                  <a:moveTo>
                    <a:pt x="3747381" y="2935027"/>
                  </a:moveTo>
                  <a:cubicBezTo>
                    <a:pt x="3753902" y="2935027"/>
                    <a:pt x="3759771" y="2936340"/>
                    <a:pt x="3764336" y="2938967"/>
                  </a:cubicBezTo>
                  <a:lnTo>
                    <a:pt x="3948241" y="3045355"/>
                  </a:lnTo>
                  <a:lnTo>
                    <a:pt x="3948241" y="3066369"/>
                  </a:lnTo>
                  <a:cubicBezTo>
                    <a:pt x="3947589" y="3067026"/>
                    <a:pt x="3946937" y="3067026"/>
                    <a:pt x="3945632" y="3067683"/>
                  </a:cubicBezTo>
                  <a:lnTo>
                    <a:pt x="3894113" y="3097235"/>
                  </a:lnTo>
                  <a:cubicBezTo>
                    <a:pt x="3893461" y="3097892"/>
                    <a:pt x="3892809" y="3098548"/>
                    <a:pt x="3892156" y="3098548"/>
                  </a:cubicBezTo>
                  <a:lnTo>
                    <a:pt x="3856289" y="3098548"/>
                  </a:lnTo>
                  <a:lnTo>
                    <a:pt x="3672384" y="2992161"/>
                  </a:lnTo>
                  <a:lnTo>
                    <a:pt x="3672384" y="2971803"/>
                  </a:lnTo>
                  <a:cubicBezTo>
                    <a:pt x="3673688" y="2971146"/>
                    <a:pt x="3674340" y="2970489"/>
                    <a:pt x="3674993" y="2969833"/>
                  </a:cubicBezTo>
                  <a:lnTo>
                    <a:pt x="3726512" y="2940281"/>
                  </a:lnTo>
                  <a:cubicBezTo>
                    <a:pt x="3732381" y="2936997"/>
                    <a:pt x="3740207" y="2935027"/>
                    <a:pt x="3747381" y="2935027"/>
                  </a:cubicBezTo>
                  <a:close/>
                  <a:moveTo>
                    <a:pt x="3471049" y="2773730"/>
                  </a:moveTo>
                  <a:cubicBezTo>
                    <a:pt x="3477586" y="2773730"/>
                    <a:pt x="3483469" y="2774387"/>
                    <a:pt x="3487391" y="2777670"/>
                  </a:cubicBezTo>
                  <a:lnTo>
                    <a:pt x="3671730" y="2884058"/>
                  </a:lnTo>
                  <a:lnTo>
                    <a:pt x="3671730" y="2905072"/>
                  </a:lnTo>
                  <a:cubicBezTo>
                    <a:pt x="3671077" y="2905729"/>
                    <a:pt x="3670423" y="2905729"/>
                    <a:pt x="3669116" y="2906386"/>
                  </a:cubicBezTo>
                  <a:lnTo>
                    <a:pt x="3618128" y="2935938"/>
                  </a:lnTo>
                  <a:cubicBezTo>
                    <a:pt x="3617474" y="2936595"/>
                    <a:pt x="3616821" y="2937251"/>
                    <a:pt x="3615513" y="2937251"/>
                  </a:cubicBezTo>
                  <a:lnTo>
                    <a:pt x="3579561" y="2937251"/>
                  </a:lnTo>
                  <a:lnTo>
                    <a:pt x="3395875" y="2830864"/>
                  </a:lnTo>
                  <a:lnTo>
                    <a:pt x="3395875" y="2810506"/>
                  </a:lnTo>
                  <a:cubicBezTo>
                    <a:pt x="3397182" y="2809849"/>
                    <a:pt x="3397836" y="2809192"/>
                    <a:pt x="3398490" y="2808536"/>
                  </a:cubicBezTo>
                  <a:lnTo>
                    <a:pt x="3449477" y="2778984"/>
                  </a:lnTo>
                  <a:cubicBezTo>
                    <a:pt x="3456014" y="2775700"/>
                    <a:pt x="3463205" y="2773730"/>
                    <a:pt x="3471049" y="2773730"/>
                  </a:cubicBezTo>
                  <a:close/>
                  <a:moveTo>
                    <a:pt x="3604018" y="2695964"/>
                  </a:moveTo>
                  <a:cubicBezTo>
                    <a:pt x="3609887" y="2695964"/>
                    <a:pt x="3616408" y="2697272"/>
                    <a:pt x="3620321" y="2699889"/>
                  </a:cubicBezTo>
                  <a:lnTo>
                    <a:pt x="3804226" y="2806505"/>
                  </a:lnTo>
                  <a:lnTo>
                    <a:pt x="3804226" y="2826127"/>
                  </a:lnTo>
                  <a:cubicBezTo>
                    <a:pt x="3803574" y="2826782"/>
                    <a:pt x="3802269" y="2827436"/>
                    <a:pt x="3800965" y="2828090"/>
                  </a:cubicBezTo>
                  <a:lnTo>
                    <a:pt x="3750750" y="2858178"/>
                  </a:lnTo>
                  <a:cubicBezTo>
                    <a:pt x="3750098" y="2858832"/>
                    <a:pt x="3749446" y="2859486"/>
                    <a:pt x="3748141" y="2859486"/>
                  </a:cubicBezTo>
                  <a:lnTo>
                    <a:pt x="3712274" y="2859486"/>
                  </a:lnTo>
                  <a:lnTo>
                    <a:pt x="3528369" y="2753524"/>
                  </a:lnTo>
                  <a:lnTo>
                    <a:pt x="3528369" y="2733247"/>
                  </a:lnTo>
                  <a:cubicBezTo>
                    <a:pt x="3529673" y="2731939"/>
                    <a:pt x="3530978" y="2731285"/>
                    <a:pt x="3531630" y="2730631"/>
                  </a:cubicBezTo>
                  <a:lnTo>
                    <a:pt x="3581845" y="2701851"/>
                  </a:lnTo>
                  <a:cubicBezTo>
                    <a:pt x="3588366" y="2697926"/>
                    <a:pt x="3596192" y="2695964"/>
                    <a:pt x="3604018" y="2695964"/>
                  </a:cubicBezTo>
                  <a:close/>
                  <a:moveTo>
                    <a:pt x="3200124" y="2618194"/>
                  </a:moveTo>
                  <a:cubicBezTo>
                    <a:pt x="3206645" y="2618194"/>
                    <a:pt x="3212514" y="2619502"/>
                    <a:pt x="3217079" y="2622119"/>
                  </a:cubicBezTo>
                  <a:lnTo>
                    <a:pt x="3400984" y="2728082"/>
                  </a:lnTo>
                  <a:lnTo>
                    <a:pt x="3400984" y="2748359"/>
                  </a:lnTo>
                  <a:cubicBezTo>
                    <a:pt x="3400332" y="2749013"/>
                    <a:pt x="3399027" y="2749667"/>
                    <a:pt x="3397723" y="2750321"/>
                  </a:cubicBezTo>
                  <a:lnTo>
                    <a:pt x="3346856" y="2779756"/>
                  </a:lnTo>
                  <a:cubicBezTo>
                    <a:pt x="3346204" y="2780410"/>
                    <a:pt x="3344899" y="2781064"/>
                    <a:pt x="3343595" y="2781718"/>
                  </a:cubicBezTo>
                  <a:lnTo>
                    <a:pt x="3309032" y="2781718"/>
                  </a:lnTo>
                  <a:lnTo>
                    <a:pt x="3125127" y="2675100"/>
                  </a:lnTo>
                  <a:lnTo>
                    <a:pt x="3125127" y="2654823"/>
                  </a:lnTo>
                  <a:cubicBezTo>
                    <a:pt x="3126431" y="2654169"/>
                    <a:pt x="3127083" y="2653515"/>
                    <a:pt x="3127736" y="2652861"/>
                  </a:cubicBezTo>
                  <a:lnTo>
                    <a:pt x="3178603" y="2624081"/>
                  </a:lnTo>
                  <a:cubicBezTo>
                    <a:pt x="3185124" y="2620156"/>
                    <a:pt x="3192950" y="2618194"/>
                    <a:pt x="3200124" y="2618194"/>
                  </a:cubicBezTo>
                  <a:close/>
                  <a:moveTo>
                    <a:pt x="3886932" y="2540427"/>
                  </a:moveTo>
                  <a:cubicBezTo>
                    <a:pt x="3901985" y="2540427"/>
                    <a:pt x="3915729" y="2543034"/>
                    <a:pt x="3926856" y="2549552"/>
                  </a:cubicBezTo>
                  <a:lnTo>
                    <a:pt x="4373219" y="2805702"/>
                  </a:lnTo>
                  <a:cubicBezTo>
                    <a:pt x="4383036" y="2811568"/>
                    <a:pt x="4388272" y="2818738"/>
                    <a:pt x="4388926" y="2826559"/>
                  </a:cubicBezTo>
                  <a:lnTo>
                    <a:pt x="4388926" y="2830470"/>
                  </a:lnTo>
                  <a:cubicBezTo>
                    <a:pt x="4388272" y="2840247"/>
                    <a:pt x="4380418" y="2850675"/>
                    <a:pt x="4366674" y="2858497"/>
                  </a:cubicBezTo>
                  <a:lnTo>
                    <a:pt x="4246247" y="2927586"/>
                  </a:lnTo>
                  <a:cubicBezTo>
                    <a:pt x="4244284" y="2928889"/>
                    <a:pt x="4241666" y="2930193"/>
                    <a:pt x="4239048" y="2931496"/>
                  </a:cubicBezTo>
                  <a:lnTo>
                    <a:pt x="4153964" y="2931496"/>
                  </a:lnTo>
                  <a:lnTo>
                    <a:pt x="3708256" y="2674694"/>
                  </a:lnTo>
                  <a:cubicBezTo>
                    <a:pt x="3698438" y="2669480"/>
                    <a:pt x="3693202" y="2662310"/>
                    <a:pt x="3692548" y="2654489"/>
                  </a:cubicBezTo>
                  <a:lnTo>
                    <a:pt x="3692548" y="2650578"/>
                  </a:lnTo>
                  <a:cubicBezTo>
                    <a:pt x="3693857" y="2640801"/>
                    <a:pt x="3701056" y="2630373"/>
                    <a:pt x="3714801" y="2621900"/>
                  </a:cubicBezTo>
                  <a:lnTo>
                    <a:pt x="3834573" y="2553463"/>
                  </a:lnTo>
                  <a:cubicBezTo>
                    <a:pt x="3849626" y="2544338"/>
                    <a:pt x="3868606" y="2540427"/>
                    <a:pt x="3886932" y="2540427"/>
                  </a:cubicBezTo>
                  <a:close/>
                  <a:moveTo>
                    <a:pt x="4192605" y="2410813"/>
                  </a:moveTo>
                  <a:cubicBezTo>
                    <a:pt x="4202394" y="2410813"/>
                    <a:pt x="4211530" y="2412775"/>
                    <a:pt x="4218709" y="2416698"/>
                  </a:cubicBezTo>
                  <a:lnTo>
                    <a:pt x="4383166" y="2511508"/>
                  </a:lnTo>
                  <a:lnTo>
                    <a:pt x="4383166" y="2543548"/>
                  </a:lnTo>
                  <a:cubicBezTo>
                    <a:pt x="4381861" y="2544201"/>
                    <a:pt x="4380556" y="2545509"/>
                    <a:pt x="4378598" y="2546163"/>
                  </a:cubicBezTo>
                  <a:lnTo>
                    <a:pt x="4224583" y="2635743"/>
                  </a:lnTo>
                  <a:cubicBezTo>
                    <a:pt x="4223277" y="2636396"/>
                    <a:pt x="4221972" y="2637050"/>
                    <a:pt x="4220667" y="2637704"/>
                  </a:cubicBezTo>
                  <a:lnTo>
                    <a:pt x="4165195" y="2637704"/>
                  </a:lnTo>
                  <a:lnTo>
                    <a:pt x="4000738" y="2542894"/>
                  </a:lnTo>
                  <a:lnTo>
                    <a:pt x="4000738" y="2511508"/>
                  </a:lnTo>
                  <a:cubicBezTo>
                    <a:pt x="4002043" y="2510854"/>
                    <a:pt x="4003348" y="2510200"/>
                    <a:pt x="4004654" y="2508893"/>
                  </a:cubicBezTo>
                  <a:lnTo>
                    <a:pt x="4159322" y="2419313"/>
                  </a:lnTo>
                  <a:cubicBezTo>
                    <a:pt x="4169111" y="2413428"/>
                    <a:pt x="4181510" y="2410813"/>
                    <a:pt x="4192605" y="2410813"/>
                  </a:cubicBezTo>
                  <a:close/>
                  <a:moveTo>
                    <a:pt x="3058418" y="2382010"/>
                  </a:moveTo>
                  <a:cubicBezTo>
                    <a:pt x="3068208" y="2382010"/>
                    <a:pt x="3077344" y="2383972"/>
                    <a:pt x="3083870" y="2387895"/>
                  </a:cubicBezTo>
                  <a:lnTo>
                    <a:pt x="3248327" y="2483359"/>
                  </a:lnTo>
                  <a:lnTo>
                    <a:pt x="3248327" y="2514745"/>
                  </a:lnTo>
                  <a:cubicBezTo>
                    <a:pt x="3247675" y="2516052"/>
                    <a:pt x="3246370" y="2516706"/>
                    <a:pt x="3244412" y="2517360"/>
                  </a:cubicBezTo>
                  <a:lnTo>
                    <a:pt x="3089744" y="2606940"/>
                  </a:lnTo>
                  <a:cubicBezTo>
                    <a:pt x="3088438" y="2607593"/>
                    <a:pt x="3087786" y="2608247"/>
                    <a:pt x="3085828" y="2608901"/>
                  </a:cubicBezTo>
                  <a:lnTo>
                    <a:pt x="3031009" y="2608901"/>
                  </a:lnTo>
                  <a:lnTo>
                    <a:pt x="2865899" y="2514091"/>
                  </a:lnTo>
                  <a:lnTo>
                    <a:pt x="2865899" y="2482705"/>
                  </a:lnTo>
                  <a:cubicBezTo>
                    <a:pt x="2867857" y="2481397"/>
                    <a:pt x="2869162" y="2480744"/>
                    <a:pt x="2870467" y="2479436"/>
                  </a:cubicBezTo>
                  <a:lnTo>
                    <a:pt x="3025135" y="2390510"/>
                  </a:lnTo>
                  <a:cubicBezTo>
                    <a:pt x="3034925" y="2384625"/>
                    <a:pt x="3047324" y="2382010"/>
                    <a:pt x="3058418" y="2382010"/>
                  </a:cubicBezTo>
                  <a:close/>
                  <a:moveTo>
                    <a:pt x="3611109" y="2376249"/>
                  </a:moveTo>
                  <a:cubicBezTo>
                    <a:pt x="3620881" y="2376249"/>
                    <a:pt x="3629351" y="2377557"/>
                    <a:pt x="3636517" y="2382134"/>
                  </a:cubicBezTo>
                  <a:lnTo>
                    <a:pt x="3801346" y="2477598"/>
                  </a:lnTo>
                  <a:lnTo>
                    <a:pt x="3801346" y="2508330"/>
                  </a:lnTo>
                  <a:cubicBezTo>
                    <a:pt x="3800044" y="2508984"/>
                    <a:pt x="3798740" y="2510291"/>
                    <a:pt x="3796786" y="2510945"/>
                  </a:cubicBezTo>
                  <a:lnTo>
                    <a:pt x="3642381" y="2601179"/>
                  </a:lnTo>
                  <a:cubicBezTo>
                    <a:pt x="3641078" y="2601832"/>
                    <a:pt x="3639775" y="2602486"/>
                    <a:pt x="3638472" y="2603140"/>
                  </a:cubicBezTo>
                  <a:lnTo>
                    <a:pt x="3583095" y="2603140"/>
                  </a:lnTo>
                  <a:lnTo>
                    <a:pt x="3418917" y="2508330"/>
                  </a:lnTo>
                  <a:lnTo>
                    <a:pt x="3418917" y="2476944"/>
                  </a:lnTo>
                  <a:cubicBezTo>
                    <a:pt x="3420220" y="2475636"/>
                    <a:pt x="3422174" y="2474983"/>
                    <a:pt x="3423477" y="2473675"/>
                  </a:cubicBezTo>
                  <a:lnTo>
                    <a:pt x="3577883" y="2384095"/>
                  </a:lnTo>
                  <a:cubicBezTo>
                    <a:pt x="3587655" y="2378864"/>
                    <a:pt x="3599382" y="2376249"/>
                    <a:pt x="3611109" y="2376249"/>
                  </a:cubicBezTo>
                  <a:close/>
                  <a:moveTo>
                    <a:pt x="4442372" y="2255276"/>
                  </a:moveTo>
                  <a:cubicBezTo>
                    <a:pt x="4455449" y="2255276"/>
                    <a:pt x="4469180" y="2257891"/>
                    <a:pt x="4478988" y="2263776"/>
                  </a:cubicBezTo>
                  <a:lnTo>
                    <a:pt x="4894834" y="2503725"/>
                  </a:lnTo>
                  <a:cubicBezTo>
                    <a:pt x="4906603" y="2510917"/>
                    <a:pt x="4912487" y="2519416"/>
                    <a:pt x="4913141" y="2527916"/>
                  </a:cubicBezTo>
                  <a:lnTo>
                    <a:pt x="4913141" y="2531839"/>
                  </a:lnTo>
                  <a:cubicBezTo>
                    <a:pt x="4912487" y="2540338"/>
                    <a:pt x="4906603" y="2548838"/>
                    <a:pt x="4894834" y="2554722"/>
                  </a:cubicBezTo>
                  <a:lnTo>
                    <a:pt x="4492719" y="2787479"/>
                  </a:lnTo>
                  <a:lnTo>
                    <a:pt x="4404449" y="2787479"/>
                  </a:lnTo>
                  <a:lnTo>
                    <a:pt x="4273027" y="2711637"/>
                  </a:lnTo>
                  <a:cubicBezTo>
                    <a:pt x="4248834" y="2697253"/>
                    <a:pt x="4248834" y="2675023"/>
                    <a:pt x="4272373" y="2660640"/>
                  </a:cubicBezTo>
                  <a:lnTo>
                    <a:pt x="4456103" y="2554722"/>
                  </a:lnTo>
                  <a:cubicBezTo>
                    <a:pt x="4480949" y="2540338"/>
                    <a:pt x="4480949" y="2517455"/>
                    <a:pt x="4456103" y="2503071"/>
                  </a:cubicBezTo>
                  <a:lnTo>
                    <a:pt x="4260603" y="2389961"/>
                  </a:lnTo>
                  <a:cubicBezTo>
                    <a:pt x="4252103" y="2384731"/>
                    <a:pt x="4246873" y="2378193"/>
                    <a:pt x="4245565" y="2371655"/>
                  </a:cubicBezTo>
                  <a:lnTo>
                    <a:pt x="4245565" y="2365770"/>
                  </a:lnTo>
                  <a:cubicBezTo>
                    <a:pt x="4246873" y="2359232"/>
                    <a:pt x="4251450" y="2353348"/>
                    <a:pt x="4259950" y="2348117"/>
                  </a:cubicBezTo>
                  <a:lnTo>
                    <a:pt x="4406411" y="2263776"/>
                  </a:lnTo>
                  <a:cubicBezTo>
                    <a:pt x="4416219" y="2257891"/>
                    <a:pt x="4429296" y="2255276"/>
                    <a:pt x="4442372" y="2255276"/>
                  </a:cubicBezTo>
                  <a:close/>
                  <a:moveTo>
                    <a:pt x="3905227" y="2243756"/>
                  </a:moveTo>
                  <a:cubicBezTo>
                    <a:pt x="3915017" y="2243756"/>
                    <a:pt x="3924153" y="2246364"/>
                    <a:pt x="3930679" y="2250276"/>
                  </a:cubicBezTo>
                  <a:lnTo>
                    <a:pt x="4095136" y="2344815"/>
                  </a:lnTo>
                  <a:lnTo>
                    <a:pt x="4095136" y="2376110"/>
                  </a:lnTo>
                  <a:cubicBezTo>
                    <a:pt x="4093831" y="2377414"/>
                    <a:pt x="4092526" y="2378066"/>
                    <a:pt x="4091221" y="2378718"/>
                  </a:cubicBezTo>
                  <a:lnTo>
                    <a:pt x="3936553" y="2468041"/>
                  </a:lnTo>
                  <a:cubicBezTo>
                    <a:pt x="3935247" y="2469345"/>
                    <a:pt x="3933290" y="2469997"/>
                    <a:pt x="3931984" y="2470649"/>
                  </a:cubicBezTo>
                  <a:lnTo>
                    <a:pt x="3877165" y="2470649"/>
                  </a:lnTo>
                  <a:lnTo>
                    <a:pt x="3712708" y="2375458"/>
                  </a:lnTo>
                  <a:lnTo>
                    <a:pt x="3712708" y="2344815"/>
                  </a:lnTo>
                  <a:cubicBezTo>
                    <a:pt x="3714013" y="2343511"/>
                    <a:pt x="3715971" y="2342859"/>
                    <a:pt x="3717276" y="2341555"/>
                  </a:cubicBezTo>
                  <a:lnTo>
                    <a:pt x="3871944" y="2252232"/>
                  </a:lnTo>
                  <a:cubicBezTo>
                    <a:pt x="3881081" y="2247016"/>
                    <a:pt x="3893480" y="2243756"/>
                    <a:pt x="3905227" y="2243756"/>
                  </a:cubicBezTo>
                  <a:close/>
                  <a:moveTo>
                    <a:pt x="3337809" y="2220713"/>
                  </a:moveTo>
                  <a:cubicBezTo>
                    <a:pt x="3346946" y="2220713"/>
                    <a:pt x="3356082" y="2222669"/>
                    <a:pt x="3363261" y="2226581"/>
                  </a:cubicBezTo>
                  <a:lnTo>
                    <a:pt x="3527717" y="2321772"/>
                  </a:lnTo>
                  <a:lnTo>
                    <a:pt x="3527717" y="2353067"/>
                  </a:lnTo>
                  <a:cubicBezTo>
                    <a:pt x="3526412" y="2354371"/>
                    <a:pt x="3525107" y="2355023"/>
                    <a:pt x="3523149" y="2355675"/>
                  </a:cubicBezTo>
                  <a:lnTo>
                    <a:pt x="3369134" y="2444998"/>
                  </a:lnTo>
                  <a:cubicBezTo>
                    <a:pt x="3367829" y="2446302"/>
                    <a:pt x="3365871" y="2446954"/>
                    <a:pt x="3364566" y="2447606"/>
                  </a:cubicBezTo>
                  <a:lnTo>
                    <a:pt x="3309747" y="2447606"/>
                  </a:lnTo>
                  <a:lnTo>
                    <a:pt x="3145291" y="2352415"/>
                  </a:lnTo>
                  <a:lnTo>
                    <a:pt x="3145291" y="2321120"/>
                  </a:lnTo>
                  <a:cubicBezTo>
                    <a:pt x="3146596" y="2320468"/>
                    <a:pt x="3147901" y="2319816"/>
                    <a:pt x="3149207" y="2318512"/>
                  </a:cubicBezTo>
                  <a:lnTo>
                    <a:pt x="3304527" y="2229189"/>
                  </a:lnTo>
                  <a:cubicBezTo>
                    <a:pt x="3313663" y="2223973"/>
                    <a:pt x="3326063" y="2220713"/>
                    <a:pt x="3337809" y="2220713"/>
                  </a:cubicBezTo>
                  <a:close/>
                  <a:moveTo>
                    <a:pt x="2752454" y="2206312"/>
                  </a:moveTo>
                  <a:cubicBezTo>
                    <a:pt x="2762243" y="2206312"/>
                    <a:pt x="2771379" y="2208920"/>
                    <a:pt x="2777906" y="2212832"/>
                  </a:cubicBezTo>
                  <a:lnTo>
                    <a:pt x="2943015" y="2307370"/>
                  </a:lnTo>
                  <a:lnTo>
                    <a:pt x="2943015" y="2339317"/>
                  </a:lnTo>
                  <a:cubicBezTo>
                    <a:pt x="2942363" y="2340621"/>
                    <a:pt x="2941058" y="2341273"/>
                    <a:pt x="2939100" y="2341925"/>
                  </a:cubicBezTo>
                  <a:lnTo>
                    <a:pt x="2783779" y="2430595"/>
                  </a:lnTo>
                  <a:cubicBezTo>
                    <a:pt x="2782474" y="2431899"/>
                    <a:pt x="2780516" y="2432551"/>
                    <a:pt x="2779211" y="2433203"/>
                  </a:cubicBezTo>
                  <a:lnTo>
                    <a:pt x="2725044" y="2433203"/>
                  </a:lnTo>
                  <a:lnTo>
                    <a:pt x="2560587" y="2338013"/>
                  </a:lnTo>
                  <a:lnTo>
                    <a:pt x="2560587" y="2306718"/>
                  </a:lnTo>
                  <a:cubicBezTo>
                    <a:pt x="2561892" y="2306066"/>
                    <a:pt x="2563197" y="2305414"/>
                    <a:pt x="2564503" y="2304110"/>
                  </a:cubicBezTo>
                  <a:lnTo>
                    <a:pt x="2719171" y="2214788"/>
                  </a:lnTo>
                  <a:cubicBezTo>
                    <a:pt x="2728960" y="2209572"/>
                    <a:pt x="2740707" y="2206312"/>
                    <a:pt x="2752454" y="2206312"/>
                  </a:cubicBezTo>
                  <a:close/>
                  <a:moveTo>
                    <a:pt x="5120912" y="2137184"/>
                  </a:moveTo>
                  <a:cubicBezTo>
                    <a:pt x="5135298" y="2137184"/>
                    <a:pt x="5149030" y="2140427"/>
                    <a:pt x="5159493" y="2146264"/>
                  </a:cubicBezTo>
                  <a:lnTo>
                    <a:pt x="5336701" y="2248085"/>
                  </a:lnTo>
                  <a:cubicBezTo>
                    <a:pt x="5359588" y="2261056"/>
                    <a:pt x="5356972" y="2283755"/>
                    <a:pt x="5330162" y="2298672"/>
                  </a:cubicBezTo>
                  <a:lnTo>
                    <a:pt x="5278504" y="2328505"/>
                  </a:lnTo>
                  <a:cubicBezTo>
                    <a:pt x="5275888" y="2330451"/>
                    <a:pt x="5273272" y="2331748"/>
                    <a:pt x="5270657" y="2332396"/>
                  </a:cubicBezTo>
                  <a:lnTo>
                    <a:pt x="5190226" y="2332396"/>
                  </a:lnTo>
                  <a:lnTo>
                    <a:pt x="5012364" y="2230575"/>
                  </a:lnTo>
                  <a:cubicBezTo>
                    <a:pt x="5003863" y="2226035"/>
                    <a:pt x="4998632" y="2218901"/>
                    <a:pt x="4997324" y="2211767"/>
                  </a:cubicBezTo>
                  <a:lnTo>
                    <a:pt x="4997324" y="2205281"/>
                  </a:lnTo>
                  <a:cubicBezTo>
                    <a:pt x="4998632" y="2196202"/>
                    <a:pt x="5006479" y="2187122"/>
                    <a:pt x="5018903" y="2179340"/>
                  </a:cubicBezTo>
                  <a:lnTo>
                    <a:pt x="5070562" y="2150155"/>
                  </a:lnTo>
                  <a:cubicBezTo>
                    <a:pt x="5084947" y="2141075"/>
                    <a:pt x="5103257" y="2137184"/>
                    <a:pt x="5120912" y="2137184"/>
                  </a:cubicBezTo>
                  <a:close/>
                  <a:moveTo>
                    <a:pt x="4167336" y="2093980"/>
                  </a:moveTo>
                  <a:cubicBezTo>
                    <a:pt x="4177125" y="2093980"/>
                    <a:pt x="4186262" y="2095942"/>
                    <a:pt x="4192788" y="2099865"/>
                  </a:cubicBezTo>
                  <a:lnTo>
                    <a:pt x="4357244" y="2194675"/>
                  </a:lnTo>
                  <a:lnTo>
                    <a:pt x="4357244" y="2226715"/>
                  </a:lnTo>
                  <a:cubicBezTo>
                    <a:pt x="4355939" y="2228022"/>
                    <a:pt x="4354634" y="2228676"/>
                    <a:pt x="4353329" y="2229330"/>
                  </a:cubicBezTo>
                  <a:lnTo>
                    <a:pt x="4198661" y="2318256"/>
                  </a:lnTo>
                  <a:cubicBezTo>
                    <a:pt x="4197356" y="2319563"/>
                    <a:pt x="4195398" y="2320217"/>
                    <a:pt x="4194093" y="2320871"/>
                  </a:cubicBezTo>
                  <a:lnTo>
                    <a:pt x="4139927" y="2320871"/>
                  </a:lnTo>
                  <a:lnTo>
                    <a:pt x="3974818" y="2226061"/>
                  </a:lnTo>
                  <a:lnTo>
                    <a:pt x="3974818" y="2195329"/>
                  </a:lnTo>
                  <a:cubicBezTo>
                    <a:pt x="3976123" y="2194021"/>
                    <a:pt x="3978081" y="2193367"/>
                    <a:pt x="3979386" y="2192060"/>
                  </a:cubicBezTo>
                  <a:lnTo>
                    <a:pt x="4134054" y="2102480"/>
                  </a:lnTo>
                  <a:cubicBezTo>
                    <a:pt x="4143843" y="2096595"/>
                    <a:pt x="4156242" y="2093980"/>
                    <a:pt x="4167336" y="2093980"/>
                  </a:cubicBezTo>
                  <a:close/>
                  <a:moveTo>
                    <a:pt x="3628718" y="2085339"/>
                  </a:moveTo>
                  <a:cubicBezTo>
                    <a:pt x="3637855" y="2085339"/>
                    <a:pt x="3646991" y="2087295"/>
                    <a:pt x="3654170" y="2091207"/>
                  </a:cubicBezTo>
                  <a:lnTo>
                    <a:pt x="3818627" y="2185745"/>
                  </a:lnTo>
                  <a:lnTo>
                    <a:pt x="3818627" y="2217040"/>
                  </a:lnTo>
                  <a:cubicBezTo>
                    <a:pt x="3817322" y="2217692"/>
                    <a:pt x="3816017" y="2218996"/>
                    <a:pt x="3814059" y="2219648"/>
                  </a:cubicBezTo>
                  <a:lnTo>
                    <a:pt x="3659391" y="2309622"/>
                  </a:lnTo>
                  <a:cubicBezTo>
                    <a:pt x="3658086" y="2310926"/>
                    <a:pt x="3656128" y="2311578"/>
                    <a:pt x="3654170" y="2312230"/>
                  </a:cubicBezTo>
                  <a:lnTo>
                    <a:pt x="3600656" y="2312230"/>
                  </a:lnTo>
                  <a:lnTo>
                    <a:pt x="3436199" y="2217040"/>
                  </a:lnTo>
                  <a:lnTo>
                    <a:pt x="3436199" y="2185745"/>
                  </a:lnTo>
                  <a:cubicBezTo>
                    <a:pt x="3437504" y="2185093"/>
                    <a:pt x="3438809" y="2184441"/>
                    <a:pt x="3440115" y="2183137"/>
                  </a:cubicBezTo>
                  <a:lnTo>
                    <a:pt x="3594783" y="2093815"/>
                  </a:lnTo>
                  <a:cubicBezTo>
                    <a:pt x="3604572" y="2087947"/>
                    <a:pt x="3616319" y="2085339"/>
                    <a:pt x="3628718" y="2085339"/>
                  </a:cubicBezTo>
                  <a:close/>
                  <a:moveTo>
                    <a:pt x="4652227" y="2079578"/>
                  </a:moveTo>
                  <a:cubicBezTo>
                    <a:pt x="4667918" y="2079578"/>
                    <a:pt x="4681647" y="2082844"/>
                    <a:pt x="4692761" y="2089375"/>
                  </a:cubicBezTo>
                  <a:lnTo>
                    <a:pt x="5151059" y="2353887"/>
                  </a:lnTo>
                  <a:cubicBezTo>
                    <a:pt x="5175249" y="2367603"/>
                    <a:pt x="5171980" y="2391115"/>
                    <a:pt x="5144522" y="2407443"/>
                  </a:cubicBezTo>
                  <a:lnTo>
                    <a:pt x="5025534" y="2475367"/>
                  </a:lnTo>
                  <a:cubicBezTo>
                    <a:pt x="5023573" y="2477327"/>
                    <a:pt x="5020958" y="2478633"/>
                    <a:pt x="5018343" y="2479286"/>
                  </a:cubicBezTo>
                  <a:lnTo>
                    <a:pt x="4932698" y="2479286"/>
                  </a:lnTo>
                  <a:lnTo>
                    <a:pt x="4474400" y="2215426"/>
                  </a:lnTo>
                  <a:cubicBezTo>
                    <a:pt x="4465247" y="2210201"/>
                    <a:pt x="4460017" y="2203017"/>
                    <a:pt x="4458709" y="2195833"/>
                  </a:cubicBezTo>
                  <a:lnTo>
                    <a:pt x="4458709" y="2187996"/>
                  </a:lnTo>
                  <a:cubicBezTo>
                    <a:pt x="4460670" y="2178852"/>
                    <a:pt x="4467862" y="2169055"/>
                    <a:pt x="4480937" y="2161218"/>
                  </a:cubicBezTo>
                  <a:lnTo>
                    <a:pt x="4599925" y="2093293"/>
                  </a:lnTo>
                  <a:cubicBezTo>
                    <a:pt x="4614962" y="2084150"/>
                    <a:pt x="4633921" y="2079578"/>
                    <a:pt x="4652227" y="2079578"/>
                  </a:cubicBezTo>
                  <a:close/>
                  <a:moveTo>
                    <a:pt x="3064179" y="2062297"/>
                  </a:moveTo>
                  <a:cubicBezTo>
                    <a:pt x="3073316" y="2062297"/>
                    <a:pt x="3082452" y="2064253"/>
                    <a:pt x="3089631" y="2068165"/>
                  </a:cubicBezTo>
                  <a:lnTo>
                    <a:pt x="3254088" y="2162703"/>
                  </a:lnTo>
                  <a:lnTo>
                    <a:pt x="3254088" y="2194650"/>
                  </a:lnTo>
                  <a:cubicBezTo>
                    <a:pt x="3252783" y="2195302"/>
                    <a:pt x="3251478" y="2196606"/>
                    <a:pt x="3249520" y="2197258"/>
                  </a:cubicBezTo>
                  <a:lnTo>
                    <a:pt x="3095505" y="2285928"/>
                  </a:lnTo>
                  <a:cubicBezTo>
                    <a:pt x="3093547" y="2287232"/>
                    <a:pt x="3091589" y="2288536"/>
                    <a:pt x="3088979" y="2289188"/>
                  </a:cubicBezTo>
                  <a:lnTo>
                    <a:pt x="3036117" y="2289188"/>
                  </a:lnTo>
                  <a:lnTo>
                    <a:pt x="2871660" y="2193998"/>
                  </a:lnTo>
                  <a:lnTo>
                    <a:pt x="2871660" y="2162051"/>
                  </a:lnTo>
                  <a:cubicBezTo>
                    <a:pt x="2872965" y="2161399"/>
                    <a:pt x="2874270" y="2160747"/>
                    <a:pt x="2875576" y="2159443"/>
                  </a:cubicBezTo>
                  <a:lnTo>
                    <a:pt x="3030244" y="2070773"/>
                  </a:lnTo>
                  <a:cubicBezTo>
                    <a:pt x="3040033" y="2065557"/>
                    <a:pt x="3052432" y="2062297"/>
                    <a:pt x="3064179" y="2062297"/>
                  </a:cubicBezTo>
                  <a:close/>
                  <a:moveTo>
                    <a:pt x="4837195" y="1973006"/>
                  </a:moveTo>
                  <a:cubicBezTo>
                    <a:pt x="4852235" y="1973006"/>
                    <a:pt x="4865313" y="1975609"/>
                    <a:pt x="4875776" y="1981465"/>
                  </a:cubicBezTo>
                  <a:lnTo>
                    <a:pt x="5053638" y="2084276"/>
                  </a:lnTo>
                  <a:cubicBezTo>
                    <a:pt x="5062793" y="2089481"/>
                    <a:pt x="5067370" y="2095988"/>
                    <a:pt x="5068678" y="2103146"/>
                  </a:cubicBezTo>
                  <a:lnTo>
                    <a:pt x="5068678" y="2109653"/>
                  </a:lnTo>
                  <a:cubicBezTo>
                    <a:pt x="5067370" y="2118112"/>
                    <a:pt x="5060177" y="2127873"/>
                    <a:pt x="5047099" y="2135031"/>
                  </a:cubicBezTo>
                  <a:lnTo>
                    <a:pt x="4995441" y="2164963"/>
                  </a:lnTo>
                  <a:cubicBezTo>
                    <a:pt x="4993479" y="2166264"/>
                    <a:pt x="4991517" y="2167566"/>
                    <a:pt x="4988902" y="2168216"/>
                  </a:cubicBezTo>
                  <a:lnTo>
                    <a:pt x="4906509" y="2168216"/>
                  </a:lnTo>
                  <a:lnTo>
                    <a:pt x="4728647" y="2066056"/>
                  </a:lnTo>
                  <a:cubicBezTo>
                    <a:pt x="4706414" y="2053042"/>
                    <a:pt x="4709030" y="2030268"/>
                    <a:pt x="4735186" y="2015302"/>
                  </a:cubicBezTo>
                  <a:lnTo>
                    <a:pt x="4786844" y="1985369"/>
                  </a:lnTo>
                  <a:cubicBezTo>
                    <a:pt x="4801230" y="1976910"/>
                    <a:pt x="4820194" y="1973006"/>
                    <a:pt x="4837195" y="1973006"/>
                  </a:cubicBezTo>
                  <a:close/>
                  <a:moveTo>
                    <a:pt x="3890827" y="1932683"/>
                  </a:moveTo>
                  <a:cubicBezTo>
                    <a:pt x="3899964" y="1932683"/>
                    <a:pt x="3909100" y="1934645"/>
                    <a:pt x="3916279" y="1938568"/>
                  </a:cubicBezTo>
                  <a:lnTo>
                    <a:pt x="4080735" y="2034032"/>
                  </a:lnTo>
                  <a:lnTo>
                    <a:pt x="4080735" y="2065418"/>
                  </a:lnTo>
                  <a:cubicBezTo>
                    <a:pt x="4079430" y="2066725"/>
                    <a:pt x="4078125" y="2067379"/>
                    <a:pt x="4076820" y="2068033"/>
                  </a:cubicBezTo>
                  <a:lnTo>
                    <a:pt x="3921500" y="2157613"/>
                  </a:lnTo>
                  <a:cubicBezTo>
                    <a:pt x="3920195" y="2158266"/>
                    <a:pt x="3919542" y="2158920"/>
                    <a:pt x="3918237" y="2159574"/>
                  </a:cubicBezTo>
                  <a:lnTo>
                    <a:pt x="3862765" y="2159574"/>
                  </a:lnTo>
                  <a:lnTo>
                    <a:pt x="3698309" y="2064764"/>
                  </a:lnTo>
                  <a:lnTo>
                    <a:pt x="3698309" y="2033378"/>
                  </a:lnTo>
                  <a:cubicBezTo>
                    <a:pt x="3699614" y="2032724"/>
                    <a:pt x="3700919" y="2032070"/>
                    <a:pt x="3702225" y="2030763"/>
                  </a:cubicBezTo>
                  <a:lnTo>
                    <a:pt x="3857545" y="1941183"/>
                  </a:lnTo>
                  <a:cubicBezTo>
                    <a:pt x="3866681" y="1935298"/>
                    <a:pt x="3879081" y="1932683"/>
                    <a:pt x="3890827" y="1932683"/>
                  </a:cubicBezTo>
                  <a:close/>
                  <a:moveTo>
                    <a:pt x="3351882" y="1924042"/>
                  </a:moveTo>
                  <a:cubicBezTo>
                    <a:pt x="3361003" y="1924042"/>
                    <a:pt x="3370124" y="1925350"/>
                    <a:pt x="3377290" y="1929273"/>
                  </a:cubicBezTo>
                  <a:lnTo>
                    <a:pt x="3542120" y="2024736"/>
                  </a:lnTo>
                  <a:lnTo>
                    <a:pt x="3542120" y="2056122"/>
                  </a:lnTo>
                  <a:cubicBezTo>
                    <a:pt x="3540816" y="2056775"/>
                    <a:pt x="3539514" y="2058083"/>
                    <a:pt x="3537559" y="2058737"/>
                  </a:cubicBezTo>
                  <a:lnTo>
                    <a:pt x="3383154" y="2148316"/>
                  </a:lnTo>
                  <a:cubicBezTo>
                    <a:pt x="3381851" y="2149623"/>
                    <a:pt x="3379896" y="2150277"/>
                    <a:pt x="3377942" y="2150931"/>
                  </a:cubicBezTo>
                  <a:lnTo>
                    <a:pt x="3323868" y="2150931"/>
                  </a:lnTo>
                  <a:lnTo>
                    <a:pt x="3159690" y="2056122"/>
                  </a:lnTo>
                  <a:lnTo>
                    <a:pt x="3159690" y="2024736"/>
                  </a:lnTo>
                  <a:cubicBezTo>
                    <a:pt x="3161644" y="2023429"/>
                    <a:pt x="3162947" y="2022775"/>
                    <a:pt x="3164250" y="2021467"/>
                  </a:cubicBezTo>
                  <a:lnTo>
                    <a:pt x="3318656" y="1931888"/>
                  </a:lnTo>
                  <a:cubicBezTo>
                    <a:pt x="3327777" y="1926657"/>
                    <a:pt x="3340155" y="1924042"/>
                    <a:pt x="3351882" y="1924042"/>
                  </a:cubicBezTo>
                  <a:close/>
                  <a:moveTo>
                    <a:pt x="4366076" y="1909640"/>
                  </a:moveTo>
                  <a:cubicBezTo>
                    <a:pt x="4375213" y="1909640"/>
                    <a:pt x="4385002" y="1911602"/>
                    <a:pt x="4391528" y="1915525"/>
                  </a:cubicBezTo>
                  <a:lnTo>
                    <a:pt x="4555985" y="2010989"/>
                  </a:lnTo>
                  <a:lnTo>
                    <a:pt x="4555985" y="2042375"/>
                  </a:lnTo>
                  <a:cubicBezTo>
                    <a:pt x="4554680" y="2043682"/>
                    <a:pt x="4553375" y="2044336"/>
                    <a:pt x="4552070" y="2044990"/>
                  </a:cubicBezTo>
                  <a:lnTo>
                    <a:pt x="4396749" y="2134570"/>
                  </a:lnTo>
                  <a:cubicBezTo>
                    <a:pt x="4395444" y="2135223"/>
                    <a:pt x="4394791" y="2135877"/>
                    <a:pt x="4393486" y="2136531"/>
                  </a:cubicBezTo>
                  <a:lnTo>
                    <a:pt x="4338014" y="2136531"/>
                  </a:lnTo>
                  <a:lnTo>
                    <a:pt x="4173557" y="2041721"/>
                  </a:lnTo>
                  <a:lnTo>
                    <a:pt x="4173557" y="2010335"/>
                  </a:lnTo>
                  <a:cubicBezTo>
                    <a:pt x="4174862" y="2009681"/>
                    <a:pt x="4176167" y="2009027"/>
                    <a:pt x="4177473" y="2007720"/>
                  </a:cubicBezTo>
                  <a:lnTo>
                    <a:pt x="4332793" y="1918140"/>
                  </a:lnTo>
                  <a:cubicBezTo>
                    <a:pt x="4341930" y="1912255"/>
                    <a:pt x="4354329" y="1909640"/>
                    <a:pt x="4366076" y="1909640"/>
                  </a:cubicBezTo>
                  <a:close/>
                  <a:moveTo>
                    <a:pt x="2790224" y="1903880"/>
                  </a:moveTo>
                  <a:cubicBezTo>
                    <a:pt x="2799996" y="1903880"/>
                    <a:pt x="2809117" y="1905836"/>
                    <a:pt x="2816284" y="1909748"/>
                  </a:cubicBezTo>
                  <a:lnTo>
                    <a:pt x="2980460" y="2004939"/>
                  </a:lnTo>
                  <a:lnTo>
                    <a:pt x="2980460" y="2036234"/>
                  </a:lnTo>
                  <a:cubicBezTo>
                    <a:pt x="2979158" y="2036886"/>
                    <a:pt x="2977855" y="2038190"/>
                    <a:pt x="2975900" y="2038842"/>
                  </a:cubicBezTo>
                  <a:lnTo>
                    <a:pt x="2821496" y="2128165"/>
                  </a:lnTo>
                  <a:cubicBezTo>
                    <a:pt x="2820193" y="2129469"/>
                    <a:pt x="2818238" y="2130121"/>
                    <a:pt x="2816935" y="2130773"/>
                  </a:cubicBezTo>
                  <a:lnTo>
                    <a:pt x="2762861" y="2130773"/>
                  </a:lnTo>
                  <a:lnTo>
                    <a:pt x="2598033" y="2035582"/>
                  </a:lnTo>
                  <a:lnTo>
                    <a:pt x="2598033" y="2004939"/>
                  </a:lnTo>
                  <a:cubicBezTo>
                    <a:pt x="2599987" y="2003635"/>
                    <a:pt x="2601290" y="2002983"/>
                    <a:pt x="2602593" y="2001679"/>
                  </a:cubicBezTo>
                  <a:lnTo>
                    <a:pt x="2756998" y="1912356"/>
                  </a:lnTo>
                  <a:cubicBezTo>
                    <a:pt x="2766770" y="1907140"/>
                    <a:pt x="2779149" y="1903880"/>
                    <a:pt x="2790224" y="1903880"/>
                  </a:cubicBezTo>
                  <a:close/>
                  <a:moveTo>
                    <a:pt x="4552325" y="1805949"/>
                  </a:moveTo>
                  <a:cubicBezTo>
                    <a:pt x="4567397" y="1805949"/>
                    <a:pt x="4581158" y="1809192"/>
                    <a:pt x="4591643" y="1815029"/>
                  </a:cubicBezTo>
                  <a:lnTo>
                    <a:pt x="4769232" y="1916850"/>
                  </a:lnTo>
                  <a:cubicBezTo>
                    <a:pt x="4792168" y="1929821"/>
                    <a:pt x="4789546" y="1952520"/>
                    <a:pt x="4762679" y="1967437"/>
                  </a:cubicBezTo>
                  <a:lnTo>
                    <a:pt x="4710909" y="1997270"/>
                  </a:lnTo>
                  <a:cubicBezTo>
                    <a:pt x="4708288" y="1999216"/>
                    <a:pt x="4706322" y="2000513"/>
                    <a:pt x="4703046" y="2001161"/>
                  </a:cubicBezTo>
                  <a:lnTo>
                    <a:pt x="4622443" y="2001161"/>
                  </a:lnTo>
                  <a:lnTo>
                    <a:pt x="4444199" y="1899340"/>
                  </a:lnTo>
                  <a:cubicBezTo>
                    <a:pt x="4421263" y="1886369"/>
                    <a:pt x="4423884" y="1863670"/>
                    <a:pt x="4450752" y="1848753"/>
                  </a:cubicBezTo>
                  <a:lnTo>
                    <a:pt x="4502521" y="1818920"/>
                  </a:lnTo>
                  <a:cubicBezTo>
                    <a:pt x="4516938" y="1810489"/>
                    <a:pt x="4535287" y="1805949"/>
                    <a:pt x="4552325" y="1805949"/>
                  </a:cubicBezTo>
                  <a:close/>
                  <a:moveTo>
                    <a:pt x="3613666" y="1774266"/>
                  </a:moveTo>
                  <a:cubicBezTo>
                    <a:pt x="3623455" y="1774266"/>
                    <a:pt x="3632591" y="1775574"/>
                    <a:pt x="3639770" y="1780151"/>
                  </a:cubicBezTo>
                  <a:lnTo>
                    <a:pt x="3804226" y="1875614"/>
                  </a:lnTo>
                  <a:lnTo>
                    <a:pt x="3804226" y="1906346"/>
                  </a:lnTo>
                  <a:cubicBezTo>
                    <a:pt x="3802921" y="1906999"/>
                    <a:pt x="3801616" y="1908307"/>
                    <a:pt x="3799658" y="1908961"/>
                  </a:cubicBezTo>
                  <a:lnTo>
                    <a:pt x="3644991" y="1999194"/>
                  </a:lnTo>
                  <a:cubicBezTo>
                    <a:pt x="3644338" y="1999847"/>
                    <a:pt x="3643033" y="2000501"/>
                    <a:pt x="3641728" y="2001155"/>
                  </a:cubicBezTo>
                  <a:lnTo>
                    <a:pt x="3585604" y="2001155"/>
                  </a:lnTo>
                  <a:lnTo>
                    <a:pt x="3421800" y="1906346"/>
                  </a:lnTo>
                  <a:lnTo>
                    <a:pt x="3421800" y="1874960"/>
                  </a:lnTo>
                  <a:cubicBezTo>
                    <a:pt x="3423105" y="1873653"/>
                    <a:pt x="3424410" y="1872999"/>
                    <a:pt x="3425716" y="1871691"/>
                  </a:cubicBezTo>
                  <a:lnTo>
                    <a:pt x="3580383" y="1782112"/>
                  </a:lnTo>
                  <a:cubicBezTo>
                    <a:pt x="3590172" y="1776881"/>
                    <a:pt x="3602572" y="1774266"/>
                    <a:pt x="3613666" y="1774266"/>
                  </a:cubicBezTo>
                  <a:close/>
                  <a:moveTo>
                    <a:pt x="3075048" y="1765625"/>
                  </a:moveTo>
                  <a:cubicBezTo>
                    <a:pt x="3084837" y="1765625"/>
                    <a:pt x="3093973" y="1767587"/>
                    <a:pt x="3100500" y="1771510"/>
                  </a:cubicBezTo>
                  <a:lnTo>
                    <a:pt x="3265609" y="1866974"/>
                  </a:lnTo>
                  <a:lnTo>
                    <a:pt x="3265609" y="1898360"/>
                  </a:lnTo>
                  <a:cubicBezTo>
                    <a:pt x="3264957" y="1899667"/>
                    <a:pt x="3263652" y="1900321"/>
                    <a:pt x="3261694" y="1900975"/>
                  </a:cubicBezTo>
                  <a:lnTo>
                    <a:pt x="3106373" y="1990555"/>
                  </a:lnTo>
                  <a:cubicBezTo>
                    <a:pt x="3105068" y="1991208"/>
                    <a:pt x="3103763" y="1991862"/>
                    <a:pt x="3102457" y="1992516"/>
                  </a:cubicBezTo>
                  <a:lnTo>
                    <a:pt x="3047638" y="1992516"/>
                  </a:lnTo>
                  <a:lnTo>
                    <a:pt x="2883181" y="1897706"/>
                  </a:lnTo>
                  <a:lnTo>
                    <a:pt x="2883181" y="1865666"/>
                  </a:lnTo>
                  <a:cubicBezTo>
                    <a:pt x="2884486" y="1865012"/>
                    <a:pt x="2885791" y="1864359"/>
                    <a:pt x="2887097" y="1863051"/>
                  </a:cubicBezTo>
                  <a:lnTo>
                    <a:pt x="3041765" y="1774125"/>
                  </a:lnTo>
                  <a:cubicBezTo>
                    <a:pt x="3051554" y="1768240"/>
                    <a:pt x="3063301" y="1765625"/>
                    <a:pt x="3075048" y="1765625"/>
                  </a:cubicBezTo>
                  <a:close/>
                  <a:moveTo>
                    <a:pt x="4083806" y="1745463"/>
                  </a:moveTo>
                  <a:cubicBezTo>
                    <a:pt x="4092943" y="1745463"/>
                    <a:pt x="4102732" y="1746771"/>
                    <a:pt x="4109258" y="1751348"/>
                  </a:cubicBezTo>
                  <a:lnTo>
                    <a:pt x="4273715" y="1846157"/>
                  </a:lnTo>
                  <a:lnTo>
                    <a:pt x="4273715" y="1877543"/>
                  </a:lnTo>
                  <a:cubicBezTo>
                    <a:pt x="4272410" y="1878850"/>
                    <a:pt x="4271105" y="1879504"/>
                    <a:pt x="4269800" y="1880158"/>
                  </a:cubicBezTo>
                  <a:lnTo>
                    <a:pt x="4114479" y="1969737"/>
                  </a:lnTo>
                  <a:cubicBezTo>
                    <a:pt x="4113174" y="1971044"/>
                    <a:pt x="4111216" y="1971698"/>
                    <a:pt x="4109911" y="1972352"/>
                  </a:cubicBezTo>
                  <a:lnTo>
                    <a:pt x="4055744" y="1972352"/>
                  </a:lnTo>
                  <a:lnTo>
                    <a:pt x="3891287" y="1877543"/>
                  </a:lnTo>
                  <a:lnTo>
                    <a:pt x="3891287" y="1845503"/>
                  </a:lnTo>
                  <a:cubicBezTo>
                    <a:pt x="3892592" y="1844850"/>
                    <a:pt x="3893897" y="1844196"/>
                    <a:pt x="3895203" y="1842888"/>
                  </a:cubicBezTo>
                  <a:lnTo>
                    <a:pt x="4050523" y="1753309"/>
                  </a:lnTo>
                  <a:cubicBezTo>
                    <a:pt x="4059660" y="1748078"/>
                    <a:pt x="4072059" y="1745463"/>
                    <a:pt x="4083806" y="1745463"/>
                  </a:cubicBezTo>
                  <a:close/>
                  <a:moveTo>
                    <a:pt x="2519803" y="1745463"/>
                  </a:moveTo>
                  <a:cubicBezTo>
                    <a:pt x="2529592" y="1745463"/>
                    <a:pt x="2538729" y="1747419"/>
                    <a:pt x="2545255" y="1751331"/>
                  </a:cubicBezTo>
                  <a:lnTo>
                    <a:pt x="2709711" y="1845869"/>
                  </a:lnTo>
                  <a:lnTo>
                    <a:pt x="2709711" y="1878468"/>
                  </a:lnTo>
                  <a:cubicBezTo>
                    <a:pt x="2709059" y="1879120"/>
                    <a:pt x="2707754" y="1879772"/>
                    <a:pt x="2705796" y="1880424"/>
                  </a:cubicBezTo>
                  <a:lnTo>
                    <a:pt x="2551128" y="1969746"/>
                  </a:lnTo>
                  <a:cubicBezTo>
                    <a:pt x="2549823" y="1971050"/>
                    <a:pt x="2547865" y="1971702"/>
                    <a:pt x="2545908" y="1972354"/>
                  </a:cubicBezTo>
                  <a:lnTo>
                    <a:pt x="2492394" y="1972354"/>
                  </a:lnTo>
                  <a:lnTo>
                    <a:pt x="2327285" y="1877164"/>
                  </a:lnTo>
                  <a:lnTo>
                    <a:pt x="2327285" y="1846521"/>
                  </a:lnTo>
                  <a:cubicBezTo>
                    <a:pt x="2329243" y="1845217"/>
                    <a:pt x="2330548" y="1844565"/>
                    <a:pt x="2331853" y="1843261"/>
                  </a:cubicBezTo>
                  <a:lnTo>
                    <a:pt x="2486521" y="1753939"/>
                  </a:lnTo>
                  <a:cubicBezTo>
                    <a:pt x="2496310" y="1748071"/>
                    <a:pt x="2508057" y="1745463"/>
                    <a:pt x="2519803" y="1745463"/>
                  </a:cubicBezTo>
                  <a:close/>
                  <a:moveTo>
                    <a:pt x="4267841" y="1644652"/>
                  </a:moveTo>
                  <a:cubicBezTo>
                    <a:pt x="4282168" y="1644652"/>
                    <a:pt x="4295844" y="1647255"/>
                    <a:pt x="4306264" y="1653762"/>
                  </a:cubicBezTo>
                  <a:lnTo>
                    <a:pt x="4483403" y="1755271"/>
                  </a:lnTo>
                  <a:cubicBezTo>
                    <a:pt x="4492521" y="1761127"/>
                    <a:pt x="4497730" y="1767634"/>
                    <a:pt x="4498382" y="1774792"/>
                  </a:cubicBezTo>
                  <a:lnTo>
                    <a:pt x="4498382" y="1781299"/>
                  </a:lnTo>
                  <a:cubicBezTo>
                    <a:pt x="4497079" y="1790409"/>
                    <a:pt x="4489916" y="1799519"/>
                    <a:pt x="4476891" y="1806677"/>
                  </a:cubicBezTo>
                  <a:lnTo>
                    <a:pt x="4425442" y="1836609"/>
                  </a:lnTo>
                  <a:cubicBezTo>
                    <a:pt x="4423488" y="1837910"/>
                    <a:pt x="4421535" y="1839212"/>
                    <a:pt x="4419581" y="1839862"/>
                  </a:cubicBezTo>
                  <a:lnTo>
                    <a:pt x="4336873" y="1839862"/>
                  </a:lnTo>
                  <a:lnTo>
                    <a:pt x="4159734" y="1737702"/>
                  </a:lnTo>
                  <a:cubicBezTo>
                    <a:pt x="4151267" y="1733147"/>
                    <a:pt x="4146057" y="1725989"/>
                    <a:pt x="4144755" y="1719482"/>
                  </a:cubicBezTo>
                  <a:lnTo>
                    <a:pt x="4144755" y="1712975"/>
                  </a:lnTo>
                  <a:cubicBezTo>
                    <a:pt x="4146709" y="1703866"/>
                    <a:pt x="4153872" y="1694756"/>
                    <a:pt x="4166246" y="1686947"/>
                  </a:cubicBezTo>
                  <a:lnTo>
                    <a:pt x="4217695" y="1657015"/>
                  </a:lnTo>
                  <a:cubicBezTo>
                    <a:pt x="4232022" y="1649207"/>
                    <a:pt x="4250257" y="1644652"/>
                    <a:pt x="4267841" y="1644652"/>
                  </a:cubicBezTo>
                  <a:close/>
                  <a:moveTo>
                    <a:pt x="3337809" y="1612969"/>
                  </a:moveTo>
                  <a:cubicBezTo>
                    <a:pt x="3346946" y="1612969"/>
                    <a:pt x="3356735" y="1614925"/>
                    <a:pt x="3363261" y="1618837"/>
                  </a:cubicBezTo>
                  <a:lnTo>
                    <a:pt x="3527717" y="1714027"/>
                  </a:lnTo>
                  <a:lnTo>
                    <a:pt x="3527717" y="1745974"/>
                  </a:lnTo>
                  <a:cubicBezTo>
                    <a:pt x="3527065" y="1746626"/>
                    <a:pt x="3525760" y="1747278"/>
                    <a:pt x="3523802" y="1747930"/>
                  </a:cubicBezTo>
                  <a:lnTo>
                    <a:pt x="3368482" y="1837252"/>
                  </a:lnTo>
                  <a:cubicBezTo>
                    <a:pt x="3367177" y="1838556"/>
                    <a:pt x="3365871" y="1839208"/>
                    <a:pt x="3363914" y="1839860"/>
                  </a:cubicBezTo>
                  <a:lnTo>
                    <a:pt x="3309747" y="1839860"/>
                  </a:lnTo>
                  <a:lnTo>
                    <a:pt x="3145291" y="1744670"/>
                  </a:lnTo>
                  <a:lnTo>
                    <a:pt x="3145291" y="1713375"/>
                  </a:lnTo>
                  <a:cubicBezTo>
                    <a:pt x="3146596" y="1712723"/>
                    <a:pt x="3147901" y="1712071"/>
                    <a:pt x="3149207" y="1710767"/>
                  </a:cubicBezTo>
                  <a:lnTo>
                    <a:pt x="3304527" y="1621445"/>
                  </a:lnTo>
                  <a:cubicBezTo>
                    <a:pt x="3313663" y="1615577"/>
                    <a:pt x="3326063" y="1612969"/>
                    <a:pt x="3337809" y="1612969"/>
                  </a:cubicBezTo>
                  <a:close/>
                  <a:moveTo>
                    <a:pt x="2798864" y="1604328"/>
                  </a:moveTo>
                  <a:cubicBezTo>
                    <a:pt x="2807985" y="1604328"/>
                    <a:pt x="2817106" y="1606284"/>
                    <a:pt x="2824272" y="1610848"/>
                  </a:cubicBezTo>
                  <a:lnTo>
                    <a:pt x="2989102" y="1705386"/>
                  </a:lnTo>
                  <a:lnTo>
                    <a:pt x="2989102" y="1736682"/>
                  </a:lnTo>
                  <a:cubicBezTo>
                    <a:pt x="2987798" y="1737334"/>
                    <a:pt x="2986496" y="1738638"/>
                    <a:pt x="2984541" y="1739290"/>
                  </a:cubicBezTo>
                  <a:lnTo>
                    <a:pt x="2830136" y="1828613"/>
                  </a:lnTo>
                  <a:cubicBezTo>
                    <a:pt x="2828833" y="1829917"/>
                    <a:pt x="2826878" y="1830569"/>
                    <a:pt x="2825575" y="1831221"/>
                  </a:cubicBezTo>
                  <a:lnTo>
                    <a:pt x="2770850" y="1831221"/>
                  </a:lnTo>
                  <a:lnTo>
                    <a:pt x="2606672" y="1736030"/>
                  </a:lnTo>
                  <a:lnTo>
                    <a:pt x="2606672" y="1705386"/>
                  </a:lnTo>
                  <a:cubicBezTo>
                    <a:pt x="2608626" y="1704082"/>
                    <a:pt x="2609929" y="1703430"/>
                    <a:pt x="2611232" y="1702126"/>
                  </a:cubicBezTo>
                  <a:lnTo>
                    <a:pt x="2764986" y="1612804"/>
                  </a:lnTo>
                  <a:cubicBezTo>
                    <a:pt x="2774759" y="1607588"/>
                    <a:pt x="2787137" y="1604328"/>
                    <a:pt x="2798864" y="1604328"/>
                  </a:cubicBezTo>
                  <a:close/>
                  <a:moveTo>
                    <a:pt x="2246173" y="1589927"/>
                  </a:moveTo>
                  <a:cubicBezTo>
                    <a:pt x="2255963" y="1589927"/>
                    <a:pt x="2265099" y="1591234"/>
                    <a:pt x="2271625" y="1595811"/>
                  </a:cubicBezTo>
                  <a:lnTo>
                    <a:pt x="2436082" y="1690621"/>
                  </a:lnTo>
                  <a:lnTo>
                    <a:pt x="2436082" y="1722660"/>
                  </a:lnTo>
                  <a:cubicBezTo>
                    <a:pt x="2435430" y="1723314"/>
                    <a:pt x="2434125" y="1723968"/>
                    <a:pt x="2432167" y="1724622"/>
                  </a:cubicBezTo>
                  <a:lnTo>
                    <a:pt x="2277499" y="1814201"/>
                  </a:lnTo>
                  <a:cubicBezTo>
                    <a:pt x="2276193" y="1815508"/>
                    <a:pt x="2274236" y="1816162"/>
                    <a:pt x="2272278" y="1816816"/>
                  </a:cubicBezTo>
                  <a:lnTo>
                    <a:pt x="2218764" y="1816816"/>
                  </a:lnTo>
                  <a:lnTo>
                    <a:pt x="2053654" y="1722006"/>
                  </a:lnTo>
                  <a:lnTo>
                    <a:pt x="2053654" y="1690621"/>
                  </a:lnTo>
                  <a:cubicBezTo>
                    <a:pt x="2054959" y="1689967"/>
                    <a:pt x="2056264" y="1689313"/>
                    <a:pt x="2057570" y="1688006"/>
                  </a:cubicBezTo>
                  <a:lnTo>
                    <a:pt x="2212890" y="1597773"/>
                  </a:lnTo>
                  <a:cubicBezTo>
                    <a:pt x="2222027" y="1592542"/>
                    <a:pt x="2234426" y="1589927"/>
                    <a:pt x="2246173" y="1589927"/>
                  </a:cubicBezTo>
                  <a:close/>
                  <a:moveTo>
                    <a:pt x="3801536" y="1581286"/>
                  </a:moveTo>
                  <a:cubicBezTo>
                    <a:pt x="3810673" y="1581286"/>
                    <a:pt x="3820462" y="1583247"/>
                    <a:pt x="3826988" y="1587171"/>
                  </a:cubicBezTo>
                  <a:lnTo>
                    <a:pt x="3991445" y="1682635"/>
                  </a:lnTo>
                  <a:lnTo>
                    <a:pt x="3991445" y="1714020"/>
                  </a:lnTo>
                  <a:cubicBezTo>
                    <a:pt x="3990793" y="1715328"/>
                    <a:pt x="3988835" y="1715982"/>
                    <a:pt x="3987530" y="1716636"/>
                  </a:cubicBezTo>
                  <a:lnTo>
                    <a:pt x="3832209" y="1806216"/>
                  </a:lnTo>
                  <a:cubicBezTo>
                    <a:pt x="3831556" y="1806869"/>
                    <a:pt x="3830251" y="1807523"/>
                    <a:pt x="3828946" y="1808177"/>
                  </a:cubicBezTo>
                  <a:lnTo>
                    <a:pt x="3773474" y="1808177"/>
                  </a:lnTo>
                  <a:lnTo>
                    <a:pt x="3609017" y="1713366"/>
                  </a:lnTo>
                  <a:lnTo>
                    <a:pt x="3609017" y="1681981"/>
                  </a:lnTo>
                  <a:cubicBezTo>
                    <a:pt x="3610322" y="1681327"/>
                    <a:pt x="3611627" y="1680673"/>
                    <a:pt x="3612933" y="1679365"/>
                  </a:cubicBezTo>
                  <a:lnTo>
                    <a:pt x="3768253" y="1589132"/>
                  </a:lnTo>
                  <a:cubicBezTo>
                    <a:pt x="3777390" y="1583901"/>
                    <a:pt x="3789789" y="1581286"/>
                    <a:pt x="3801536" y="1581286"/>
                  </a:cubicBezTo>
                  <a:close/>
                  <a:moveTo>
                    <a:pt x="3981745" y="1480475"/>
                  </a:moveTo>
                  <a:cubicBezTo>
                    <a:pt x="3996785" y="1480475"/>
                    <a:pt x="4010517" y="1483078"/>
                    <a:pt x="4020980" y="1488934"/>
                  </a:cubicBezTo>
                  <a:lnTo>
                    <a:pt x="4198188" y="1591094"/>
                  </a:lnTo>
                  <a:cubicBezTo>
                    <a:pt x="4207343" y="1596300"/>
                    <a:pt x="4212574" y="1602807"/>
                    <a:pt x="4213228" y="1609964"/>
                  </a:cubicBezTo>
                  <a:lnTo>
                    <a:pt x="4213228" y="1616471"/>
                  </a:lnTo>
                  <a:cubicBezTo>
                    <a:pt x="4211920" y="1625581"/>
                    <a:pt x="4204727" y="1634691"/>
                    <a:pt x="4191649" y="1641849"/>
                  </a:cubicBezTo>
                  <a:lnTo>
                    <a:pt x="4139991" y="1671781"/>
                  </a:lnTo>
                  <a:cubicBezTo>
                    <a:pt x="4138029" y="1673733"/>
                    <a:pt x="4135413" y="1675034"/>
                    <a:pt x="4132798" y="1675685"/>
                  </a:cubicBezTo>
                  <a:lnTo>
                    <a:pt x="4051713" y="1675685"/>
                  </a:lnTo>
                  <a:lnTo>
                    <a:pt x="3873851" y="1573525"/>
                  </a:lnTo>
                  <a:cubicBezTo>
                    <a:pt x="3850964" y="1559860"/>
                    <a:pt x="3853580" y="1537736"/>
                    <a:pt x="3880390" y="1522120"/>
                  </a:cubicBezTo>
                  <a:lnTo>
                    <a:pt x="3932048" y="1492187"/>
                  </a:lnTo>
                  <a:cubicBezTo>
                    <a:pt x="3946434" y="1484379"/>
                    <a:pt x="3964744" y="1480475"/>
                    <a:pt x="3981745" y="1480475"/>
                  </a:cubicBezTo>
                  <a:close/>
                  <a:moveTo>
                    <a:pt x="3060648" y="1454553"/>
                  </a:moveTo>
                  <a:cubicBezTo>
                    <a:pt x="3070437" y="1454553"/>
                    <a:pt x="3079573" y="1456514"/>
                    <a:pt x="3086752" y="1460438"/>
                  </a:cubicBezTo>
                  <a:lnTo>
                    <a:pt x="3251208" y="1555248"/>
                  </a:lnTo>
                  <a:lnTo>
                    <a:pt x="3251208" y="1587287"/>
                  </a:lnTo>
                  <a:cubicBezTo>
                    <a:pt x="3249903" y="1587941"/>
                    <a:pt x="3248598" y="1589249"/>
                    <a:pt x="3246640" y="1589903"/>
                  </a:cubicBezTo>
                  <a:lnTo>
                    <a:pt x="3091973" y="1678828"/>
                  </a:lnTo>
                  <a:cubicBezTo>
                    <a:pt x="3090668" y="1680136"/>
                    <a:pt x="3089362" y="1680790"/>
                    <a:pt x="3087405" y="1681444"/>
                  </a:cubicBezTo>
                  <a:lnTo>
                    <a:pt x="3033238" y="1681444"/>
                  </a:lnTo>
                  <a:lnTo>
                    <a:pt x="2868782" y="1585980"/>
                  </a:lnTo>
                  <a:lnTo>
                    <a:pt x="2868782" y="1555248"/>
                  </a:lnTo>
                  <a:cubicBezTo>
                    <a:pt x="2870087" y="1554594"/>
                    <a:pt x="2871392" y="1553940"/>
                    <a:pt x="2872698" y="1552632"/>
                  </a:cubicBezTo>
                  <a:lnTo>
                    <a:pt x="3027365" y="1462399"/>
                  </a:lnTo>
                  <a:cubicBezTo>
                    <a:pt x="3037154" y="1457168"/>
                    <a:pt x="3049554" y="1454553"/>
                    <a:pt x="3060648" y="1454553"/>
                  </a:cubicBezTo>
                  <a:close/>
                  <a:moveTo>
                    <a:pt x="2522355" y="1445912"/>
                  </a:moveTo>
                  <a:cubicBezTo>
                    <a:pt x="2532127" y="1445912"/>
                    <a:pt x="2541248" y="1447868"/>
                    <a:pt x="2548415" y="1451780"/>
                  </a:cubicBezTo>
                  <a:lnTo>
                    <a:pt x="2712592" y="1546318"/>
                  </a:lnTo>
                  <a:lnTo>
                    <a:pt x="2712592" y="1578265"/>
                  </a:lnTo>
                  <a:cubicBezTo>
                    <a:pt x="2711290" y="1578917"/>
                    <a:pt x="2709986" y="1580221"/>
                    <a:pt x="2708032" y="1580873"/>
                  </a:cubicBezTo>
                  <a:lnTo>
                    <a:pt x="2553627" y="1669543"/>
                  </a:lnTo>
                  <a:cubicBezTo>
                    <a:pt x="2551672" y="1670847"/>
                    <a:pt x="2549718" y="1672151"/>
                    <a:pt x="2547763" y="1672803"/>
                  </a:cubicBezTo>
                  <a:lnTo>
                    <a:pt x="2494992" y="1672803"/>
                  </a:lnTo>
                  <a:lnTo>
                    <a:pt x="2330163" y="1577613"/>
                  </a:lnTo>
                  <a:lnTo>
                    <a:pt x="2330163" y="1546970"/>
                  </a:lnTo>
                  <a:cubicBezTo>
                    <a:pt x="2332117" y="1545666"/>
                    <a:pt x="2333420" y="1545014"/>
                    <a:pt x="2334723" y="1543710"/>
                  </a:cubicBezTo>
                  <a:lnTo>
                    <a:pt x="2489129" y="1454388"/>
                  </a:lnTo>
                  <a:cubicBezTo>
                    <a:pt x="2498901" y="1448520"/>
                    <a:pt x="2511280" y="1445912"/>
                    <a:pt x="2522355" y="1445912"/>
                  </a:cubicBezTo>
                  <a:close/>
                  <a:moveTo>
                    <a:pt x="1972220" y="1431510"/>
                  </a:moveTo>
                  <a:cubicBezTo>
                    <a:pt x="1982026" y="1431510"/>
                    <a:pt x="1990524" y="1433471"/>
                    <a:pt x="1997715" y="1437395"/>
                  </a:cubicBezTo>
                  <a:lnTo>
                    <a:pt x="2162452" y="1532859"/>
                  </a:lnTo>
                  <a:lnTo>
                    <a:pt x="2162452" y="1564898"/>
                  </a:lnTo>
                  <a:cubicBezTo>
                    <a:pt x="2161799" y="1565552"/>
                    <a:pt x="2160491" y="1566206"/>
                    <a:pt x="2158530" y="1566860"/>
                  </a:cubicBezTo>
                  <a:lnTo>
                    <a:pt x="2002945" y="1656439"/>
                  </a:lnTo>
                  <a:cubicBezTo>
                    <a:pt x="2002291" y="1657093"/>
                    <a:pt x="2000984" y="1657747"/>
                    <a:pt x="1999676" y="1658401"/>
                  </a:cubicBezTo>
                  <a:lnTo>
                    <a:pt x="1944110" y="1658401"/>
                  </a:lnTo>
                  <a:lnTo>
                    <a:pt x="1780027" y="1563590"/>
                  </a:lnTo>
                  <a:lnTo>
                    <a:pt x="1780027" y="1532205"/>
                  </a:lnTo>
                  <a:cubicBezTo>
                    <a:pt x="1780681" y="1531551"/>
                    <a:pt x="1781988" y="1530897"/>
                    <a:pt x="1783949" y="1529589"/>
                  </a:cubicBezTo>
                  <a:lnTo>
                    <a:pt x="1938881" y="1439356"/>
                  </a:lnTo>
                  <a:cubicBezTo>
                    <a:pt x="1948033" y="1434125"/>
                    <a:pt x="1960453" y="1431510"/>
                    <a:pt x="1972220" y="1431510"/>
                  </a:cubicBezTo>
                  <a:close/>
                  <a:moveTo>
                    <a:pt x="3516387" y="1419989"/>
                  </a:moveTo>
                  <a:cubicBezTo>
                    <a:pt x="3525524" y="1419989"/>
                    <a:pt x="3535313" y="1421945"/>
                    <a:pt x="3541839" y="1425857"/>
                  </a:cubicBezTo>
                  <a:lnTo>
                    <a:pt x="3706295" y="1521047"/>
                  </a:lnTo>
                  <a:lnTo>
                    <a:pt x="3706295" y="1552343"/>
                  </a:lnTo>
                  <a:cubicBezTo>
                    <a:pt x="3705643" y="1553647"/>
                    <a:pt x="3704338" y="1554299"/>
                    <a:pt x="3702380" y="1554951"/>
                  </a:cubicBezTo>
                  <a:lnTo>
                    <a:pt x="3547060" y="1644274"/>
                  </a:lnTo>
                  <a:cubicBezTo>
                    <a:pt x="3545755" y="1645578"/>
                    <a:pt x="3543797" y="1646230"/>
                    <a:pt x="3541839" y="1646882"/>
                  </a:cubicBezTo>
                  <a:lnTo>
                    <a:pt x="3488325" y="1646882"/>
                  </a:lnTo>
                  <a:lnTo>
                    <a:pt x="3323869" y="1551691"/>
                  </a:lnTo>
                  <a:lnTo>
                    <a:pt x="3323869" y="1520395"/>
                  </a:lnTo>
                  <a:cubicBezTo>
                    <a:pt x="3325174" y="1519743"/>
                    <a:pt x="3326479" y="1519091"/>
                    <a:pt x="3327785" y="1517787"/>
                  </a:cubicBezTo>
                  <a:lnTo>
                    <a:pt x="3483105" y="1428465"/>
                  </a:lnTo>
                  <a:cubicBezTo>
                    <a:pt x="3492241" y="1423249"/>
                    <a:pt x="3503988" y="1419989"/>
                    <a:pt x="3516387" y="1419989"/>
                  </a:cubicBezTo>
                  <a:close/>
                  <a:moveTo>
                    <a:pt x="1366911" y="1419989"/>
                  </a:moveTo>
                  <a:cubicBezTo>
                    <a:pt x="1390418" y="1419989"/>
                    <a:pt x="1412620" y="1424557"/>
                    <a:pt x="1428945" y="1434346"/>
                  </a:cubicBezTo>
                  <a:lnTo>
                    <a:pt x="2572334" y="2094148"/>
                  </a:lnTo>
                  <a:cubicBezTo>
                    <a:pt x="2608901" y="2115685"/>
                    <a:pt x="2604330" y="2152232"/>
                    <a:pt x="2562539" y="2177032"/>
                  </a:cubicBezTo>
                  <a:lnTo>
                    <a:pt x="2497239" y="2214231"/>
                  </a:lnTo>
                  <a:cubicBezTo>
                    <a:pt x="2476997" y="2226631"/>
                    <a:pt x="2452183" y="2233157"/>
                    <a:pt x="2427369" y="2234462"/>
                  </a:cubicBezTo>
                  <a:lnTo>
                    <a:pt x="2405821" y="2234462"/>
                  </a:lnTo>
                  <a:cubicBezTo>
                    <a:pt x="2386884" y="2233810"/>
                    <a:pt x="2369253" y="2229241"/>
                    <a:pt x="2354887" y="2220757"/>
                  </a:cubicBezTo>
                  <a:lnTo>
                    <a:pt x="1210846" y="1560303"/>
                  </a:lnTo>
                  <a:cubicBezTo>
                    <a:pt x="1194521" y="1551166"/>
                    <a:pt x="1186685" y="1538766"/>
                    <a:pt x="1186685" y="1525714"/>
                  </a:cubicBezTo>
                  <a:lnTo>
                    <a:pt x="1186685" y="1523756"/>
                  </a:lnTo>
                  <a:cubicBezTo>
                    <a:pt x="1186685" y="1508093"/>
                    <a:pt x="1198439" y="1491125"/>
                    <a:pt x="1221294" y="1478072"/>
                  </a:cubicBezTo>
                  <a:lnTo>
                    <a:pt x="1286593" y="1440220"/>
                  </a:lnTo>
                  <a:cubicBezTo>
                    <a:pt x="1309447" y="1426515"/>
                    <a:pt x="1339485" y="1419989"/>
                    <a:pt x="1366911" y="1419989"/>
                  </a:cubicBezTo>
                  <a:close/>
                  <a:moveTo>
                    <a:pt x="3697541" y="1313418"/>
                  </a:moveTo>
                  <a:cubicBezTo>
                    <a:pt x="3711868" y="1313418"/>
                    <a:pt x="3725544" y="1316021"/>
                    <a:pt x="3735964" y="1322528"/>
                  </a:cubicBezTo>
                  <a:lnTo>
                    <a:pt x="3913103" y="1424037"/>
                  </a:lnTo>
                  <a:cubicBezTo>
                    <a:pt x="3922221" y="1429243"/>
                    <a:pt x="3927430" y="1435750"/>
                    <a:pt x="3928082" y="1442907"/>
                  </a:cubicBezTo>
                  <a:lnTo>
                    <a:pt x="3928082" y="1450065"/>
                  </a:lnTo>
                  <a:cubicBezTo>
                    <a:pt x="3926779" y="1459175"/>
                    <a:pt x="3919616" y="1468285"/>
                    <a:pt x="3906591" y="1475442"/>
                  </a:cubicBezTo>
                  <a:lnTo>
                    <a:pt x="3854491" y="1505375"/>
                  </a:lnTo>
                  <a:cubicBezTo>
                    <a:pt x="3852537" y="1506676"/>
                    <a:pt x="3850583" y="1507977"/>
                    <a:pt x="3848630" y="1508628"/>
                  </a:cubicBezTo>
                  <a:lnTo>
                    <a:pt x="3766573" y="1508628"/>
                  </a:lnTo>
                  <a:lnTo>
                    <a:pt x="3589434" y="1406468"/>
                  </a:lnTo>
                  <a:cubicBezTo>
                    <a:pt x="3580967" y="1401913"/>
                    <a:pt x="3575757" y="1395406"/>
                    <a:pt x="3574455" y="1388248"/>
                  </a:cubicBezTo>
                  <a:lnTo>
                    <a:pt x="3574455" y="1381741"/>
                  </a:lnTo>
                  <a:cubicBezTo>
                    <a:pt x="3576409" y="1372632"/>
                    <a:pt x="3583572" y="1363522"/>
                    <a:pt x="3595946" y="1355713"/>
                  </a:cubicBezTo>
                  <a:lnTo>
                    <a:pt x="3647395" y="1325781"/>
                  </a:lnTo>
                  <a:cubicBezTo>
                    <a:pt x="3661722" y="1317973"/>
                    <a:pt x="3679957" y="1313418"/>
                    <a:pt x="3697541" y="1313418"/>
                  </a:cubicBezTo>
                  <a:close/>
                  <a:moveTo>
                    <a:pt x="2784791" y="1293256"/>
                  </a:moveTo>
                  <a:cubicBezTo>
                    <a:pt x="2794580" y="1293256"/>
                    <a:pt x="2803717" y="1295212"/>
                    <a:pt x="2810243" y="1299124"/>
                  </a:cubicBezTo>
                  <a:lnTo>
                    <a:pt x="2974699" y="1394314"/>
                  </a:lnTo>
                  <a:lnTo>
                    <a:pt x="2974699" y="1425610"/>
                  </a:lnTo>
                  <a:cubicBezTo>
                    <a:pt x="2974047" y="1426914"/>
                    <a:pt x="2972742" y="1427566"/>
                    <a:pt x="2970784" y="1428218"/>
                  </a:cubicBezTo>
                  <a:lnTo>
                    <a:pt x="2816116" y="1517541"/>
                  </a:lnTo>
                  <a:cubicBezTo>
                    <a:pt x="2814811" y="1518845"/>
                    <a:pt x="2812853" y="1519497"/>
                    <a:pt x="2810896" y="1520149"/>
                  </a:cubicBezTo>
                  <a:lnTo>
                    <a:pt x="2756729" y="1520149"/>
                  </a:lnTo>
                  <a:lnTo>
                    <a:pt x="2592273" y="1424958"/>
                  </a:lnTo>
                  <a:lnTo>
                    <a:pt x="2592273" y="1394314"/>
                  </a:lnTo>
                  <a:cubicBezTo>
                    <a:pt x="2594231" y="1393662"/>
                    <a:pt x="2595536" y="1392358"/>
                    <a:pt x="2596841" y="1391054"/>
                  </a:cubicBezTo>
                  <a:lnTo>
                    <a:pt x="2751509" y="1301732"/>
                  </a:lnTo>
                  <a:cubicBezTo>
                    <a:pt x="2761298" y="1296516"/>
                    <a:pt x="2773045" y="1293256"/>
                    <a:pt x="2784791" y="1293256"/>
                  </a:cubicBezTo>
                  <a:close/>
                  <a:moveTo>
                    <a:pt x="2246173" y="1287495"/>
                  </a:moveTo>
                  <a:cubicBezTo>
                    <a:pt x="2255310" y="1287495"/>
                    <a:pt x="2265099" y="1289456"/>
                    <a:pt x="2271625" y="1292726"/>
                  </a:cubicBezTo>
                  <a:lnTo>
                    <a:pt x="2436082" y="1388190"/>
                  </a:lnTo>
                  <a:lnTo>
                    <a:pt x="2436082" y="1420229"/>
                  </a:lnTo>
                  <a:cubicBezTo>
                    <a:pt x="2435430" y="1420883"/>
                    <a:pt x="2434125" y="1421537"/>
                    <a:pt x="2432167" y="1422191"/>
                  </a:cubicBezTo>
                  <a:lnTo>
                    <a:pt x="2277499" y="1511770"/>
                  </a:lnTo>
                  <a:cubicBezTo>
                    <a:pt x="2276193" y="1513078"/>
                    <a:pt x="2274236" y="1513732"/>
                    <a:pt x="2272930" y="1514386"/>
                  </a:cubicBezTo>
                  <a:lnTo>
                    <a:pt x="2218764" y="1514386"/>
                  </a:lnTo>
                  <a:lnTo>
                    <a:pt x="2053654" y="1418922"/>
                  </a:lnTo>
                  <a:lnTo>
                    <a:pt x="2053654" y="1388190"/>
                  </a:lnTo>
                  <a:cubicBezTo>
                    <a:pt x="2054959" y="1386882"/>
                    <a:pt x="2056264" y="1386228"/>
                    <a:pt x="2057570" y="1384921"/>
                  </a:cubicBezTo>
                  <a:lnTo>
                    <a:pt x="2212890" y="1295341"/>
                  </a:lnTo>
                  <a:cubicBezTo>
                    <a:pt x="2222027" y="1290110"/>
                    <a:pt x="2234426" y="1287495"/>
                    <a:pt x="2246173" y="1287495"/>
                  </a:cubicBezTo>
                  <a:close/>
                  <a:moveTo>
                    <a:pt x="1701797" y="1273094"/>
                  </a:moveTo>
                  <a:cubicBezTo>
                    <a:pt x="1710934" y="1273094"/>
                    <a:pt x="1720070" y="1275055"/>
                    <a:pt x="1727249" y="1278978"/>
                  </a:cubicBezTo>
                  <a:lnTo>
                    <a:pt x="1891705" y="1373788"/>
                  </a:lnTo>
                  <a:lnTo>
                    <a:pt x="1891705" y="1405827"/>
                  </a:lnTo>
                  <a:cubicBezTo>
                    <a:pt x="1889748" y="1406481"/>
                    <a:pt x="1888442" y="1407789"/>
                    <a:pt x="1887137" y="1408443"/>
                  </a:cubicBezTo>
                  <a:lnTo>
                    <a:pt x="1732470" y="1497367"/>
                  </a:lnTo>
                  <a:cubicBezTo>
                    <a:pt x="1730512" y="1498675"/>
                    <a:pt x="1729207" y="1499329"/>
                    <a:pt x="1727249" y="1499983"/>
                  </a:cubicBezTo>
                  <a:lnTo>
                    <a:pt x="1673735" y="1499983"/>
                  </a:lnTo>
                  <a:lnTo>
                    <a:pt x="1509279" y="1404519"/>
                  </a:lnTo>
                  <a:lnTo>
                    <a:pt x="1509279" y="1373788"/>
                  </a:lnTo>
                  <a:cubicBezTo>
                    <a:pt x="1509932" y="1372480"/>
                    <a:pt x="1511237" y="1371826"/>
                    <a:pt x="1513195" y="1370519"/>
                  </a:cubicBezTo>
                  <a:lnTo>
                    <a:pt x="1667862" y="1280940"/>
                  </a:lnTo>
                  <a:cubicBezTo>
                    <a:pt x="1677651" y="1275709"/>
                    <a:pt x="1690051" y="1273094"/>
                    <a:pt x="1701797" y="1273094"/>
                  </a:cubicBezTo>
                  <a:close/>
                  <a:moveTo>
                    <a:pt x="3234118" y="1255812"/>
                  </a:moveTo>
                  <a:cubicBezTo>
                    <a:pt x="3243255" y="1255812"/>
                    <a:pt x="3252391" y="1257773"/>
                    <a:pt x="3259570" y="1261696"/>
                  </a:cubicBezTo>
                  <a:lnTo>
                    <a:pt x="3424026" y="1356506"/>
                  </a:lnTo>
                  <a:lnTo>
                    <a:pt x="3424026" y="1387891"/>
                  </a:lnTo>
                  <a:cubicBezTo>
                    <a:pt x="3422721" y="1389199"/>
                    <a:pt x="3421416" y="1389853"/>
                    <a:pt x="3419458" y="1390507"/>
                  </a:cubicBezTo>
                  <a:lnTo>
                    <a:pt x="3264791" y="1480085"/>
                  </a:lnTo>
                  <a:cubicBezTo>
                    <a:pt x="3263486" y="1481393"/>
                    <a:pt x="3262180" y="1482047"/>
                    <a:pt x="3260223" y="1482701"/>
                  </a:cubicBezTo>
                  <a:lnTo>
                    <a:pt x="3206056" y="1482701"/>
                  </a:lnTo>
                  <a:lnTo>
                    <a:pt x="3041600" y="1387891"/>
                  </a:lnTo>
                  <a:lnTo>
                    <a:pt x="3041600" y="1355852"/>
                  </a:lnTo>
                  <a:cubicBezTo>
                    <a:pt x="3042905" y="1355198"/>
                    <a:pt x="3044210" y="1354544"/>
                    <a:pt x="3045516" y="1353237"/>
                  </a:cubicBezTo>
                  <a:lnTo>
                    <a:pt x="3200836" y="1264312"/>
                  </a:lnTo>
                  <a:cubicBezTo>
                    <a:pt x="3209972" y="1258427"/>
                    <a:pt x="3221719" y="1255812"/>
                    <a:pt x="3234118" y="1255812"/>
                  </a:cubicBezTo>
                  <a:close/>
                  <a:moveTo>
                    <a:pt x="1032264" y="1212606"/>
                  </a:moveTo>
                  <a:cubicBezTo>
                    <a:pt x="1043361" y="1212606"/>
                    <a:pt x="1053805" y="1214558"/>
                    <a:pt x="1061638" y="1219112"/>
                  </a:cubicBezTo>
                  <a:lnTo>
                    <a:pt x="1275743" y="1342081"/>
                  </a:lnTo>
                  <a:cubicBezTo>
                    <a:pt x="1281618" y="1345985"/>
                    <a:pt x="1285535" y="1350539"/>
                    <a:pt x="1286840" y="1355744"/>
                  </a:cubicBezTo>
                  <a:lnTo>
                    <a:pt x="1286840" y="1362901"/>
                  </a:lnTo>
                  <a:cubicBezTo>
                    <a:pt x="1284882" y="1369407"/>
                    <a:pt x="1279660" y="1375263"/>
                    <a:pt x="1271174" y="1380468"/>
                  </a:cubicBezTo>
                  <a:lnTo>
                    <a:pt x="1123650" y="1465050"/>
                  </a:lnTo>
                  <a:cubicBezTo>
                    <a:pt x="1121039" y="1466351"/>
                    <a:pt x="1119081" y="1467652"/>
                    <a:pt x="1116470" y="1468303"/>
                  </a:cubicBezTo>
                  <a:lnTo>
                    <a:pt x="1057722" y="1468303"/>
                  </a:lnTo>
                  <a:lnTo>
                    <a:pt x="842964" y="1344684"/>
                  </a:lnTo>
                  <a:cubicBezTo>
                    <a:pt x="826645" y="1334924"/>
                    <a:pt x="828603" y="1318008"/>
                    <a:pt x="848186" y="1306296"/>
                  </a:cubicBezTo>
                  <a:lnTo>
                    <a:pt x="995710" y="1221715"/>
                  </a:lnTo>
                  <a:cubicBezTo>
                    <a:pt x="1006154" y="1215859"/>
                    <a:pt x="1019209" y="1212606"/>
                    <a:pt x="1032264" y="1212606"/>
                  </a:cubicBezTo>
                  <a:close/>
                  <a:moveTo>
                    <a:pt x="3414326" y="1149240"/>
                  </a:moveTo>
                  <a:cubicBezTo>
                    <a:pt x="3429366" y="1149240"/>
                    <a:pt x="3443098" y="1152482"/>
                    <a:pt x="3452907" y="1158319"/>
                  </a:cubicBezTo>
                  <a:lnTo>
                    <a:pt x="3630769" y="1260141"/>
                  </a:lnTo>
                  <a:cubicBezTo>
                    <a:pt x="3639924" y="1265330"/>
                    <a:pt x="3645155" y="1271815"/>
                    <a:pt x="3645809" y="1278949"/>
                  </a:cubicBezTo>
                  <a:lnTo>
                    <a:pt x="3645809" y="1285434"/>
                  </a:lnTo>
                  <a:cubicBezTo>
                    <a:pt x="3644501" y="1294514"/>
                    <a:pt x="3637308" y="1303594"/>
                    <a:pt x="3624230" y="1310728"/>
                  </a:cubicBezTo>
                  <a:lnTo>
                    <a:pt x="3572572" y="1340561"/>
                  </a:lnTo>
                  <a:cubicBezTo>
                    <a:pt x="3570610" y="1342507"/>
                    <a:pt x="3567994" y="1343804"/>
                    <a:pt x="3565379" y="1344452"/>
                  </a:cubicBezTo>
                  <a:lnTo>
                    <a:pt x="3484294" y="1344452"/>
                  </a:lnTo>
                  <a:lnTo>
                    <a:pt x="3306432" y="1242630"/>
                  </a:lnTo>
                  <a:cubicBezTo>
                    <a:pt x="3283545" y="1229660"/>
                    <a:pt x="3286161" y="1206312"/>
                    <a:pt x="3312317" y="1191395"/>
                  </a:cubicBezTo>
                  <a:lnTo>
                    <a:pt x="3364629" y="1162211"/>
                  </a:lnTo>
                  <a:cubicBezTo>
                    <a:pt x="3379015" y="1153780"/>
                    <a:pt x="3397325" y="1149240"/>
                    <a:pt x="3414326" y="1149240"/>
                  </a:cubicBezTo>
                  <a:close/>
                  <a:moveTo>
                    <a:pt x="2507630" y="1134839"/>
                  </a:moveTo>
                  <a:cubicBezTo>
                    <a:pt x="2517419" y="1134839"/>
                    <a:pt x="2526555" y="1136800"/>
                    <a:pt x="2533081" y="1140723"/>
                  </a:cubicBezTo>
                  <a:lnTo>
                    <a:pt x="2698190" y="1235533"/>
                  </a:lnTo>
                  <a:lnTo>
                    <a:pt x="2698190" y="1266918"/>
                  </a:lnTo>
                  <a:cubicBezTo>
                    <a:pt x="2696885" y="1268226"/>
                    <a:pt x="2695580" y="1268880"/>
                    <a:pt x="2693622" y="1269534"/>
                  </a:cubicBezTo>
                  <a:lnTo>
                    <a:pt x="2538955" y="1359112"/>
                  </a:lnTo>
                  <a:cubicBezTo>
                    <a:pt x="2537650" y="1360420"/>
                    <a:pt x="2536344" y="1361074"/>
                    <a:pt x="2534387" y="1361728"/>
                  </a:cubicBezTo>
                  <a:lnTo>
                    <a:pt x="2480220" y="1361728"/>
                  </a:lnTo>
                  <a:lnTo>
                    <a:pt x="2315764" y="1266918"/>
                  </a:lnTo>
                  <a:lnTo>
                    <a:pt x="2315764" y="1234879"/>
                  </a:lnTo>
                  <a:cubicBezTo>
                    <a:pt x="2317069" y="1234225"/>
                    <a:pt x="2318374" y="1233571"/>
                    <a:pt x="2319680" y="1232264"/>
                  </a:cubicBezTo>
                  <a:lnTo>
                    <a:pt x="2474347" y="1143339"/>
                  </a:lnTo>
                  <a:cubicBezTo>
                    <a:pt x="2484136" y="1137454"/>
                    <a:pt x="2495883" y="1134839"/>
                    <a:pt x="2507630" y="1134839"/>
                  </a:cubicBezTo>
                  <a:close/>
                  <a:moveTo>
                    <a:pt x="1968686" y="1126198"/>
                  </a:moveTo>
                  <a:cubicBezTo>
                    <a:pt x="1978491" y="1126198"/>
                    <a:pt x="1987643" y="1128159"/>
                    <a:pt x="1994834" y="1132083"/>
                  </a:cubicBezTo>
                  <a:lnTo>
                    <a:pt x="2159572" y="1227547"/>
                  </a:lnTo>
                  <a:lnTo>
                    <a:pt x="2159572" y="1258932"/>
                  </a:lnTo>
                  <a:cubicBezTo>
                    <a:pt x="2158265" y="1259586"/>
                    <a:pt x="2156957" y="1260894"/>
                    <a:pt x="2154996" y="1261548"/>
                  </a:cubicBezTo>
                  <a:lnTo>
                    <a:pt x="2000718" y="1351127"/>
                  </a:lnTo>
                  <a:cubicBezTo>
                    <a:pt x="2000064" y="1351781"/>
                    <a:pt x="1998757" y="1353089"/>
                    <a:pt x="1997449" y="1353089"/>
                  </a:cubicBezTo>
                  <a:lnTo>
                    <a:pt x="1941229" y="1353089"/>
                  </a:lnTo>
                  <a:lnTo>
                    <a:pt x="1777145" y="1258278"/>
                  </a:lnTo>
                  <a:lnTo>
                    <a:pt x="1777145" y="1226893"/>
                  </a:lnTo>
                  <a:cubicBezTo>
                    <a:pt x="1777799" y="1226239"/>
                    <a:pt x="1779106" y="1225585"/>
                    <a:pt x="1781067" y="1224277"/>
                  </a:cubicBezTo>
                  <a:lnTo>
                    <a:pt x="1935346" y="1134698"/>
                  </a:lnTo>
                  <a:cubicBezTo>
                    <a:pt x="1945152" y="1128813"/>
                    <a:pt x="1957572" y="1126198"/>
                    <a:pt x="1968686" y="1126198"/>
                  </a:cubicBezTo>
                  <a:close/>
                  <a:moveTo>
                    <a:pt x="1428167" y="1114677"/>
                  </a:moveTo>
                  <a:cubicBezTo>
                    <a:pt x="1437304" y="1114677"/>
                    <a:pt x="1446440" y="1117285"/>
                    <a:pt x="1453619" y="1120545"/>
                  </a:cubicBezTo>
                  <a:lnTo>
                    <a:pt x="1618076" y="1215735"/>
                  </a:lnTo>
                  <a:lnTo>
                    <a:pt x="1618076" y="1247031"/>
                  </a:lnTo>
                  <a:cubicBezTo>
                    <a:pt x="1616119" y="1247683"/>
                    <a:pt x="1614813" y="1248987"/>
                    <a:pt x="1613508" y="1249639"/>
                  </a:cubicBezTo>
                  <a:lnTo>
                    <a:pt x="1458840" y="1338962"/>
                  </a:lnTo>
                  <a:cubicBezTo>
                    <a:pt x="1456882" y="1340266"/>
                    <a:pt x="1454924" y="1340918"/>
                    <a:pt x="1453619" y="1341570"/>
                  </a:cubicBezTo>
                  <a:lnTo>
                    <a:pt x="1400105" y="1341570"/>
                  </a:lnTo>
                  <a:lnTo>
                    <a:pt x="1235648" y="1246379"/>
                  </a:lnTo>
                  <a:lnTo>
                    <a:pt x="1235648" y="1215083"/>
                  </a:lnTo>
                  <a:cubicBezTo>
                    <a:pt x="1236301" y="1214431"/>
                    <a:pt x="1237606" y="1213779"/>
                    <a:pt x="1239564" y="1212475"/>
                  </a:cubicBezTo>
                  <a:lnTo>
                    <a:pt x="1394232" y="1123153"/>
                  </a:lnTo>
                  <a:cubicBezTo>
                    <a:pt x="1404021" y="1117937"/>
                    <a:pt x="1416420" y="1114677"/>
                    <a:pt x="1428167" y="1114677"/>
                  </a:cubicBezTo>
                  <a:close/>
                  <a:moveTo>
                    <a:pt x="2948967" y="1091635"/>
                  </a:moveTo>
                  <a:cubicBezTo>
                    <a:pt x="2958757" y="1091635"/>
                    <a:pt x="2967240" y="1093591"/>
                    <a:pt x="2974419" y="1097503"/>
                  </a:cubicBezTo>
                  <a:lnTo>
                    <a:pt x="3138876" y="1192693"/>
                  </a:lnTo>
                  <a:lnTo>
                    <a:pt x="3138876" y="1223989"/>
                  </a:lnTo>
                  <a:cubicBezTo>
                    <a:pt x="3137571" y="1224641"/>
                    <a:pt x="3136266" y="1225945"/>
                    <a:pt x="3134308" y="1226597"/>
                  </a:cubicBezTo>
                  <a:lnTo>
                    <a:pt x="2979640" y="1315920"/>
                  </a:lnTo>
                  <a:cubicBezTo>
                    <a:pt x="2978335" y="1317224"/>
                    <a:pt x="2976377" y="1317876"/>
                    <a:pt x="2974419" y="1318528"/>
                  </a:cubicBezTo>
                  <a:lnTo>
                    <a:pt x="2920905" y="1318528"/>
                  </a:lnTo>
                  <a:lnTo>
                    <a:pt x="2756448" y="1223337"/>
                  </a:lnTo>
                  <a:lnTo>
                    <a:pt x="2756448" y="1192041"/>
                  </a:lnTo>
                  <a:cubicBezTo>
                    <a:pt x="2757753" y="1191389"/>
                    <a:pt x="2759058" y="1190737"/>
                    <a:pt x="2760364" y="1189433"/>
                  </a:cubicBezTo>
                  <a:lnTo>
                    <a:pt x="2915032" y="1100111"/>
                  </a:lnTo>
                  <a:cubicBezTo>
                    <a:pt x="2924821" y="1094243"/>
                    <a:pt x="2936568" y="1091635"/>
                    <a:pt x="2948967" y="1091635"/>
                  </a:cubicBezTo>
                  <a:close/>
                  <a:moveTo>
                    <a:pt x="751297" y="1051310"/>
                  </a:moveTo>
                  <a:cubicBezTo>
                    <a:pt x="761086" y="1051310"/>
                    <a:pt x="769570" y="1053271"/>
                    <a:pt x="776749" y="1057195"/>
                  </a:cubicBezTo>
                  <a:lnTo>
                    <a:pt x="941205" y="1152659"/>
                  </a:lnTo>
                  <a:lnTo>
                    <a:pt x="941205" y="1184698"/>
                  </a:lnTo>
                  <a:cubicBezTo>
                    <a:pt x="939900" y="1185352"/>
                    <a:pt x="938595" y="1186006"/>
                    <a:pt x="937290" y="1186660"/>
                  </a:cubicBezTo>
                  <a:lnTo>
                    <a:pt x="782622" y="1276239"/>
                  </a:lnTo>
                  <a:cubicBezTo>
                    <a:pt x="781317" y="1277547"/>
                    <a:pt x="780012" y="1278201"/>
                    <a:pt x="778707" y="1278201"/>
                  </a:cubicBezTo>
                  <a:lnTo>
                    <a:pt x="723235" y="1278201"/>
                  </a:lnTo>
                  <a:lnTo>
                    <a:pt x="558779" y="1183390"/>
                  </a:lnTo>
                  <a:lnTo>
                    <a:pt x="558779" y="1152659"/>
                  </a:lnTo>
                  <a:cubicBezTo>
                    <a:pt x="560084" y="1151351"/>
                    <a:pt x="561389" y="1150697"/>
                    <a:pt x="563347" y="1149389"/>
                  </a:cubicBezTo>
                  <a:lnTo>
                    <a:pt x="717362" y="1059810"/>
                  </a:lnTo>
                  <a:cubicBezTo>
                    <a:pt x="727151" y="1053925"/>
                    <a:pt x="739551" y="1051310"/>
                    <a:pt x="751297" y="1051310"/>
                  </a:cubicBezTo>
                  <a:close/>
                  <a:moveTo>
                    <a:pt x="3130624" y="985063"/>
                  </a:moveTo>
                  <a:cubicBezTo>
                    <a:pt x="3145010" y="985063"/>
                    <a:pt x="3158742" y="987657"/>
                    <a:pt x="3169205" y="993494"/>
                  </a:cubicBezTo>
                  <a:lnTo>
                    <a:pt x="3347067" y="1095964"/>
                  </a:lnTo>
                  <a:cubicBezTo>
                    <a:pt x="3369300" y="1108935"/>
                    <a:pt x="3366684" y="1131634"/>
                    <a:pt x="3340528" y="1146551"/>
                  </a:cubicBezTo>
                  <a:lnTo>
                    <a:pt x="3288216" y="1176384"/>
                  </a:lnTo>
                  <a:cubicBezTo>
                    <a:pt x="3286254" y="1178330"/>
                    <a:pt x="3283638" y="1179627"/>
                    <a:pt x="3281023" y="1180275"/>
                  </a:cubicBezTo>
                  <a:lnTo>
                    <a:pt x="3199938" y="1180275"/>
                  </a:lnTo>
                  <a:lnTo>
                    <a:pt x="3022076" y="1077805"/>
                  </a:lnTo>
                  <a:cubicBezTo>
                    <a:pt x="3013575" y="1073265"/>
                    <a:pt x="3008344" y="1066780"/>
                    <a:pt x="3007036" y="1059646"/>
                  </a:cubicBezTo>
                  <a:lnTo>
                    <a:pt x="3007036" y="1053160"/>
                  </a:lnTo>
                  <a:cubicBezTo>
                    <a:pt x="3008998" y="1044080"/>
                    <a:pt x="3016191" y="1035001"/>
                    <a:pt x="3028615" y="1027218"/>
                  </a:cubicBezTo>
                  <a:lnTo>
                    <a:pt x="3080274" y="997385"/>
                  </a:lnTo>
                  <a:cubicBezTo>
                    <a:pt x="3094659" y="988954"/>
                    <a:pt x="3112969" y="985063"/>
                    <a:pt x="3130624" y="985063"/>
                  </a:cubicBezTo>
                  <a:close/>
                  <a:moveTo>
                    <a:pt x="2231772" y="973542"/>
                  </a:moveTo>
                  <a:cubicBezTo>
                    <a:pt x="2241561" y="973542"/>
                    <a:pt x="2250698" y="975503"/>
                    <a:pt x="2257224" y="979426"/>
                  </a:cubicBezTo>
                  <a:lnTo>
                    <a:pt x="2421680" y="1074890"/>
                  </a:lnTo>
                  <a:lnTo>
                    <a:pt x="2421680" y="1106929"/>
                  </a:lnTo>
                  <a:cubicBezTo>
                    <a:pt x="2421028" y="1107583"/>
                    <a:pt x="2419723" y="1108237"/>
                    <a:pt x="2417765" y="1108891"/>
                  </a:cubicBezTo>
                  <a:lnTo>
                    <a:pt x="2263097" y="1198469"/>
                  </a:lnTo>
                  <a:cubicBezTo>
                    <a:pt x="2262445" y="1199777"/>
                    <a:pt x="2261140" y="1200431"/>
                    <a:pt x="2259834" y="1200431"/>
                  </a:cubicBezTo>
                  <a:lnTo>
                    <a:pt x="2203710" y="1200431"/>
                  </a:lnTo>
                  <a:lnTo>
                    <a:pt x="2039254" y="1105621"/>
                  </a:lnTo>
                  <a:lnTo>
                    <a:pt x="2039254" y="1074890"/>
                  </a:lnTo>
                  <a:cubicBezTo>
                    <a:pt x="2041212" y="1073582"/>
                    <a:pt x="2042517" y="1072928"/>
                    <a:pt x="2043822" y="1071621"/>
                  </a:cubicBezTo>
                  <a:lnTo>
                    <a:pt x="2198490" y="982042"/>
                  </a:lnTo>
                  <a:cubicBezTo>
                    <a:pt x="2207626" y="976157"/>
                    <a:pt x="2220026" y="973542"/>
                    <a:pt x="2231772" y="973542"/>
                  </a:cubicBezTo>
                  <a:close/>
                  <a:moveTo>
                    <a:pt x="1693155" y="964901"/>
                  </a:moveTo>
                  <a:cubicBezTo>
                    <a:pt x="1702945" y="964901"/>
                    <a:pt x="1712081" y="966857"/>
                    <a:pt x="1718607" y="970769"/>
                  </a:cubicBezTo>
                  <a:lnTo>
                    <a:pt x="1883064" y="1065959"/>
                  </a:lnTo>
                  <a:lnTo>
                    <a:pt x="1883064" y="1097907"/>
                  </a:lnTo>
                  <a:cubicBezTo>
                    <a:pt x="1881759" y="1098559"/>
                    <a:pt x="1880454" y="1099211"/>
                    <a:pt x="1879149" y="1099863"/>
                  </a:cubicBezTo>
                  <a:lnTo>
                    <a:pt x="1724481" y="1189186"/>
                  </a:lnTo>
                  <a:cubicBezTo>
                    <a:pt x="1722523" y="1190490"/>
                    <a:pt x="1720565" y="1191142"/>
                    <a:pt x="1719260" y="1191794"/>
                  </a:cubicBezTo>
                  <a:lnTo>
                    <a:pt x="1665746" y="1191794"/>
                  </a:lnTo>
                  <a:lnTo>
                    <a:pt x="1500636" y="1097255"/>
                  </a:lnTo>
                  <a:lnTo>
                    <a:pt x="1500636" y="1065959"/>
                  </a:lnTo>
                  <a:cubicBezTo>
                    <a:pt x="1501941" y="1064655"/>
                    <a:pt x="1503246" y="1064003"/>
                    <a:pt x="1505204" y="1062699"/>
                  </a:cubicBezTo>
                  <a:lnTo>
                    <a:pt x="1659872" y="973377"/>
                  </a:lnTo>
                  <a:cubicBezTo>
                    <a:pt x="1669009" y="967509"/>
                    <a:pt x="1681408" y="964901"/>
                    <a:pt x="1693155" y="964901"/>
                  </a:cubicBezTo>
                  <a:close/>
                  <a:moveTo>
                    <a:pt x="1154212" y="956260"/>
                  </a:moveTo>
                  <a:cubicBezTo>
                    <a:pt x="1163984" y="956260"/>
                    <a:pt x="1173105" y="958216"/>
                    <a:pt x="1180272" y="962780"/>
                  </a:cubicBezTo>
                  <a:lnTo>
                    <a:pt x="1344448" y="1057970"/>
                  </a:lnTo>
                  <a:lnTo>
                    <a:pt x="1344448" y="1088613"/>
                  </a:lnTo>
                  <a:cubicBezTo>
                    <a:pt x="1342494" y="1089265"/>
                    <a:pt x="1341191" y="1090569"/>
                    <a:pt x="1339888" y="1091221"/>
                  </a:cubicBezTo>
                  <a:lnTo>
                    <a:pt x="1185484" y="1181195"/>
                  </a:lnTo>
                  <a:cubicBezTo>
                    <a:pt x="1184181" y="1182499"/>
                    <a:pt x="1182878" y="1183151"/>
                    <a:pt x="1181575" y="1183151"/>
                  </a:cubicBezTo>
                  <a:lnTo>
                    <a:pt x="1126198" y="1183151"/>
                  </a:lnTo>
                  <a:lnTo>
                    <a:pt x="962021" y="1087961"/>
                  </a:lnTo>
                  <a:lnTo>
                    <a:pt x="962021" y="1057318"/>
                  </a:lnTo>
                  <a:cubicBezTo>
                    <a:pt x="963324" y="1056666"/>
                    <a:pt x="964627" y="1055362"/>
                    <a:pt x="966581" y="1054058"/>
                  </a:cubicBezTo>
                  <a:lnTo>
                    <a:pt x="1120986" y="964736"/>
                  </a:lnTo>
                  <a:cubicBezTo>
                    <a:pt x="1130758" y="959520"/>
                    <a:pt x="1142485" y="956260"/>
                    <a:pt x="1154212" y="956260"/>
                  </a:cubicBezTo>
                  <a:close/>
                  <a:moveTo>
                    <a:pt x="2666697" y="927457"/>
                  </a:moveTo>
                  <a:cubicBezTo>
                    <a:pt x="2675834" y="927457"/>
                    <a:pt x="2684970" y="928764"/>
                    <a:pt x="2692149" y="932688"/>
                  </a:cubicBezTo>
                  <a:lnTo>
                    <a:pt x="2856606" y="1028151"/>
                  </a:lnTo>
                  <a:lnTo>
                    <a:pt x="2856606" y="1060190"/>
                  </a:lnTo>
                  <a:cubicBezTo>
                    <a:pt x="2855954" y="1060844"/>
                    <a:pt x="2854649" y="1061498"/>
                    <a:pt x="2852691" y="1062152"/>
                  </a:cubicBezTo>
                  <a:lnTo>
                    <a:pt x="2697370" y="1151730"/>
                  </a:lnTo>
                  <a:cubicBezTo>
                    <a:pt x="2696065" y="1153038"/>
                    <a:pt x="2694107" y="1153692"/>
                    <a:pt x="2692149" y="1154346"/>
                  </a:cubicBezTo>
                  <a:lnTo>
                    <a:pt x="2638635" y="1154346"/>
                  </a:lnTo>
                  <a:lnTo>
                    <a:pt x="2474178" y="1058882"/>
                  </a:lnTo>
                  <a:lnTo>
                    <a:pt x="2474178" y="1027497"/>
                  </a:lnTo>
                  <a:cubicBezTo>
                    <a:pt x="2475483" y="1026843"/>
                    <a:pt x="2476788" y="1026189"/>
                    <a:pt x="2478094" y="1024882"/>
                  </a:cubicBezTo>
                  <a:lnTo>
                    <a:pt x="2632762" y="935303"/>
                  </a:lnTo>
                  <a:cubicBezTo>
                    <a:pt x="2642551" y="930072"/>
                    <a:pt x="2654950" y="927457"/>
                    <a:pt x="2666697" y="927457"/>
                  </a:cubicBezTo>
                  <a:close/>
                  <a:moveTo>
                    <a:pt x="474136" y="890013"/>
                  </a:moveTo>
                  <a:cubicBezTo>
                    <a:pt x="483272" y="890013"/>
                    <a:pt x="493061" y="891969"/>
                    <a:pt x="499587" y="895881"/>
                  </a:cubicBezTo>
                  <a:lnTo>
                    <a:pt x="664696" y="991071"/>
                  </a:lnTo>
                  <a:lnTo>
                    <a:pt x="664696" y="1022367"/>
                  </a:lnTo>
                  <a:cubicBezTo>
                    <a:pt x="662739" y="1023019"/>
                    <a:pt x="661433" y="1024323"/>
                    <a:pt x="660128" y="1024975"/>
                  </a:cubicBezTo>
                  <a:lnTo>
                    <a:pt x="505461" y="1114298"/>
                  </a:lnTo>
                  <a:cubicBezTo>
                    <a:pt x="503503" y="1115602"/>
                    <a:pt x="501545" y="1116254"/>
                    <a:pt x="499587" y="1116906"/>
                  </a:cubicBezTo>
                  <a:lnTo>
                    <a:pt x="446074" y="1116906"/>
                  </a:lnTo>
                  <a:lnTo>
                    <a:pt x="282270" y="1021715"/>
                  </a:lnTo>
                  <a:lnTo>
                    <a:pt x="282270" y="990419"/>
                  </a:lnTo>
                  <a:cubicBezTo>
                    <a:pt x="282923" y="989767"/>
                    <a:pt x="284228" y="989115"/>
                    <a:pt x="286186" y="987811"/>
                  </a:cubicBezTo>
                  <a:lnTo>
                    <a:pt x="440853" y="898489"/>
                  </a:lnTo>
                  <a:cubicBezTo>
                    <a:pt x="449989" y="893273"/>
                    <a:pt x="462389" y="890013"/>
                    <a:pt x="474136" y="890013"/>
                  </a:cubicBezTo>
                  <a:close/>
                  <a:moveTo>
                    <a:pt x="2844026" y="820885"/>
                  </a:moveTo>
                  <a:cubicBezTo>
                    <a:pt x="2859066" y="820885"/>
                    <a:pt x="2872144" y="823488"/>
                    <a:pt x="2882607" y="829344"/>
                  </a:cubicBezTo>
                  <a:lnTo>
                    <a:pt x="3060469" y="931504"/>
                  </a:lnTo>
                  <a:cubicBezTo>
                    <a:pt x="3069624" y="936710"/>
                    <a:pt x="3074855" y="943217"/>
                    <a:pt x="3075509" y="950374"/>
                  </a:cubicBezTo>
                  <a:lnTo>
                    <a:pt x="3075509" y="957532"/>
                  </a:lnTo>
                  <a:cubicBezTo>
                    <a:pt x="3074201" y="966642"/>
                    <a:pt x="3067008" y="975752"/>
                    <a:pt x="3054584" y="982909"/>
                  </a:cubicBezTo>
                  <a:lnTo>
                    <a:pt x="3002272" y="1012191"/>
                  </a:lnTo>
                  <a:cubicBezTo>
                    <a:pt x="3000310" y="1014143"/>
                    <a:pt x="2997694" y="1015444"/>
                    <a:pt x="2995079" y="1016095"/>
                  </a:cubicBezTo>
                  <a:lnTo>
                    <a:pt x="2913994" y="1016095"/>
                  </a:lnTo>
                  <a:lnTo>
                    <a:pt x="2736132" y="913935"/>
                  </a:lnTo>
                  <a:cubicBezTo>
                    <a:pt x="2713245" y="900921"/>
                    <a:pt x="2715861" y="878146"/>
                    <a:pt x="2742017" y="863180"/>
                  </a:cubicBezTo>
                  <a:lnTo>
                    <a:pt x="2793675" y="833248"/>
                  </a:lnTo>
                  <a:cubicBezTo>
                    <a:pt x="2808715" y="824789"/>
                    <a:pt x="2827025" y="820885"/>
                    <a:pt x="2844026" y="820885"/>
                  </a:cubicBezTo>
                  <a:close/>
                  <a:moveTo>
                    <a:pt x="1954938" y="815126"/>
                  </a:moveTo>
                  <a:cubicBezTo>
                    <a:pt x="1964090" y="815126"/>
                    <a:pt x="1973242" y="817087"/>
                    <a:pt x="1979780" y="821011"/>
                  </a:cubicBezTo>
                  <a:lnTo>
                    <a:pt x="2145170" y="915821"/>
                  </a:lnTo>
                  <a:lnTo>
                    <a:pt x="2145170" y="947860"/>
                  </a:lnTo>
                  <a:cubicBezTo>
                    <a:pt x="2144517" y="949168"/>
                    <a:pt x="2143209" y="949822"/>
                    <a:pt x="2141248" y="950476"/>
                  </a:cubicBezTo>
                  <a:lnTo>
                    <a:pt x="1985663" y="1040055"/>
                  </a:lnTo>
                  <a:cubicBezTo>
                    <a:pt x="1985009" y="1041363"/>
                    <a:pt x="1983702" y="1042017"/>
                    <a:pt x="1982394" y="1042017"/>
                  </a:cubicBezTo>
                  <a:lnTo>
                    <a:pt x="1926828" y="1042017"/>
                  </a:lnTo>
                  <a:lnTo>
                    <a:pt x="1762745" y="946553"/>
                  </a:lnTo>
                  <a:lnTo>
                    <a:pt x="1762745" y="915167"/>
                  </a:lnTo>
                  <a:cubicBezTo>
                    <a:pt x="1763399" y="914513"/>
                    <a:pt x="1764706" y="913859"/>
                    <a:pt x="1766667" y="912552"/>
                  </a:cubicBezTo>
                  <a:lnTo>
                    <a:pt x="1921599" y="822972"/>
                  </a:lnTo>
                  <a:cubicBezTo>
                    <a:pt x="1930751" y="817741"/>
                    <a:pt x="1942518" y="815126"/>
                    <a:pt x="1954938" y="815126"/>
                  </a:cubicBezTo>
                  <a:close/>
                  <a:moveTo>
                    <a:pt x="1415994" y="806485"/>
                  </a:moveTo>
                  <a:cubicBezTo>
                    <a:pt x="1425783" y="806485"/>
                    <a:pt x="1434919" y="808446"/>
                    <a:pt x="1442098" y="812369"/>
                  </a:cubicBezTo>
                  <a:lnTo>
                    <a:pt x="1606555" y="907833"/>
                  </a:lnTo>
                  <a:lnTo>
                    <a:pt x="1606555" y="939218"/>
                  </a:lnTo>
                  <a:cubicBezTo>
                    <a:pt x="1604598" y="940526"/>
                    <a:pt x="1603292" y="941180"/>
                    <a:pt x="1601987" y="941834"/>
                  </a:cubicBezTo>
                  <a:lnTo>
                    <a:pt x="1447972" y="1031412"/>
                  </a:lnTo>
                  <a:cubicBezTo>
                    <a:pt x="1446666" y="1032720"/>
                    <a:pt x="1444709" y="1033374"/>
                    <a:pt x="1443403" y="1033374"/>
                  </a:cubicBezTo>
                  <a:lnTo>
                    <a:pt x="1388584" y="1033374"/>
                  </a:lnTo>
                  <a:lnTo>
                    <a:pt x="1224127" y="938564"/>
                  </a:lnTo>
                  <a:lnTo>
                    <a:pt x="1224127" y="907179"/>
                  </a:lnTo>
                  <a:cubicBezTo>
                    <a:pt x="1224780" y="906525"/>
                    <a:pt x="1226085" y="905871"/>
                    <a:pt x="1228043" y="904564"/>
                  </a:cubicBezTo>
                  <a:lnTo>
                    <a:pt x="1382711" y="814985"/>
                  </a:lnTo>
                  <a:cubicBezTo>
                    <a:pt x="1392500" y="809100"/>
                    <a:pt x="1404899" y="806485"/>
                    <a:pt x="1415994" y="806485"/>
                  </a:cubicBezTo>
                  <a:close/>
                  <a:moveTo>
                    <a:pt x="2384428" y="763280"/>
                  </a:moveTo>
                  <a:cubicBezTo>
                    <a:pt x="2393565" y="763280"/>
                    <a:pt x="2402701" y="765236"/>
                    <a:pt x="2409228" y="769148"/>
                  </a:cubicBezTo>
                  <a:lnTo>
                    <a:pt x="2574337" y="863686"/>
                  </a:lnTo>
                  <a:lnTo>
                    <a:pt x="2574337" y="895634"/>
                  </a:lnTo>
                  <a:cubicBezTo>
                    <a:pt x="2573685" y="896938"/>
                    <a:pt x="2572380" y="897590"/>
                    <a:pt x="2570422" y="898242"/>
                  </a:cubicBezTo>
                  <a:lnTo>
                    <a:pt x="2415101" y="986913"/>
                  </a:lnTo>
                  <a:cubicBezTo>
                    <a:pt x="2413143" y="988217"/>
                    <a:pt x="2411185" y="989521"/>
                    <a:pt x="2409228" y="990173"/>
                  </a:cubicBezTo>
                  <a:lnTo>
                    <a:pt x="2356366" y="990173"/>
                  </a:lnTo>
                  <a:lnTo>
                    <a:pt x="2191909" y="894982"/>
                  </a:lnTo>
                  <a:lnTo>
                    <a:pt x="2191909" y="863686"/>
                  </a:lnTo>
                  <a:cubicBezTo>
                    <a:pt x="2193214" y="863034"/>
                    <a:pt x="2194519" y="862382"/>
                    <a:pt x="2195825" y="861078"/>
                  </a:cubicBezTo>
                  <a:lnTo>
                    <a:pt x="2351145" y="771756"/>
                  </a:lnTo>
                  <a:cubicBezTo>
                    <a:pt x="2360282" y="766540"/>
                    <a:pt x="2372681" y="763280"/>
                    <a:pt x="2384428" y="763280"/>
                  </a:cubicBezTo>
                  <a:close/>
                  <a:moveTo>
                    <a:pt x="192191" y="728716"/>
                  </a:moveTo>
                  <a:cubicBezTo>
                    <a:pt x="201963" y="728716"/>
                    <a:pt x="211084" y="730672"/>
                    <a:pt x="217599" y="735236"/>
                  </a:cubicBezTo>
                  <a:lnTo>
                    <a:pt x="382428" y="829774"/>
                  </a:lnTo>
                  <a:lnTo>
                    <a:pt x="382428" y="861070"/>
                  </a:lnTo>
                  <a:cubicBezTo>
                    <a:pt x="381124" y="862374"/>
                    <a:pt x="379170" y="863026"/>
                    <a:pt x="377867" y="863678"/>
                  </a:cubicBezTo>
                  <a:lnTo>
                    <a:pt x="223463" y="953001"/>
                  </a:lnTo>
                  <a:cubicBezTo>
                    <a:pt x="221508" y="954305"/>
                    <a:pt x="220205" y="954957"/>
                    <a:pt x="218251" y="955609"/>
                  </a:cubicBezTo>
                  <a:lnTo>
                    <a:pt x="164828" y="955609"/>
                  </a:lnTo>
                  <a:lnTo>
                    <a:pt x="0" y="860418"/>
                  </a:lnTo>
                  <a:lnTo>
                    <a:pt x="0" y="830426"/>
                  </a:lnTo>
                  <a:cubicBezTo>
                    <a:pt x="1303" y="829122"/>
                    <a:pt x="3257" y="827818"/>
                    <a:pt x="5212" y="826514"/>
                  </a:cubicBezTo>
                  <a:lnTo>
                    <a:pt x="158965" y="737192"/>
                  </a:lnTo>
                  <a:cubicBezTo>
                    <a:pt x="168737" y="731976"/>
                    <a:pt x="181116" y="728716"/>
                    <a:pt x="192191" y="728716"/>
                  </a:cubicBezTo>
                  <a:close/>
                  <a:moveTo>
                    <a:pt x="2559670" y="656709"/>
                  </a:moveTo>
                  <a:cubicBezTo>
                    <a:pt x="2574710" y="656709"/>
                    <a:pt x="2588442" y="659962"/>
                    <a:pt x="2598905" y="665819"/>
                  </a:cubicBezTo>
                  <a:lnTo>
                    <a:pt x="2776767" y="767328"/>
                  </a:lnTo>
                  <a:cubicBezTo>
                    <a:pt x="2799000" y="780993"/>
                    <a:pt x="2796384" y="803767"/>
                    <a:pt x="2770228" y="818733"/>
                  </a:cubicBezTo>
                  <a:lnTo>
                    <a:pt x="2717916" y="848666"/>
                  </a:lnTo>
                  <a:cubicBezTo>
                    <a:pt x="2715954" y="849967"/>
                    <a:pt x="2713992" y="851268"/>
                    <a:pt x="2712031" y="851919"/>
                  </a:cubicBezTo>
                  <a:lnTo>
                    <a:pt x="2629638" y="851919"/>
                  </a:lnTo>
                  <a:lnTo>
                    <a:pt x="2451776" y="749759"/>
                  </a:lnTo>
                  <a:cubicBezTo>
                    <a:pt x="2443275" y="745204"/>
                    <a:pt x="2438698" y="738697"/>
                    <a:pt x="2436736" y="732190"/>
                  </a:cubicBezTo>
                  <a:lnTo>
                    <a:pt x="2436736" y="723731"/>
                  </a:lnTo>
                  <a:cubicBezTo>
                    <a:pt x="2438698" y="715272"/>
                    <a:pt x="2445891" y="706162"/>
                    <a:pt x="2458315" y="699004"/>
                  </a:cubicBezTo>
                  <a:lnTo>
                    <a:pt x="2509974" y="669072"/>
                  </a:lnTo>
                  <a:cubicBezTo>
                    <a:pt x="2524359" y="661264"/>
                    <a:pt x="2542669" y="656709"/>
                    <a:pt x="2559670" y="656709"/>
                  </a:cubicBezTo>
                  <a:close/>
                  <a:moveTo>
                    <a:pt x="1678427" y="653829"/>
                  </a:moveTo>
                  <a:cubicBezTo>
                    <a:pt x="1688199" y="653829"/>
                    <a:pt x="1696669" y="655785"/>
                    <a:pt x="1703835" y="660349"/>
                  </a:cubicBezTo>
                  <a:lnTo>
                    <a:pt x="1868664" y="754887"/>
                  </a:lnTo>
                  <a:lnTo>
                    <a:pt x="1868664" y="786183"/>
                  </a:lnTo>
                  <a:cubicBezTo>
                    <a:pt x="1866709" y="787487"/>
                    <a:pt x="1865406" y="788139"/>
                    <a:pt x="1864103" y="788791"/>
                  </a:cubicBezTo>
                  <a:lnTo>
                    <a:pt x="1709699" y="878114"/>
                  </a:lnTo>
                  <a:cubicBezTo>
                    <a:pt x="1707744" y="879418"/>
                    <a:pt x="1705790" y="880070"/>
                    <a:pt x="1703835" y="880722"/>
                  </a:cubicBezTo>
                  <a:lnTo>
                    <a:pt x="1650413" y="880722"/>
                  </a:lnTo>
                  <a:lnTo>
                    <a:pt x="1486236" y="785531"/>
                  </a:lnTo>
                  <a:lnTo>
                    <a:pt x="1486236" y="754887"/>
                  </a:lnTo>
                  <a:cubicBezTo>
                    <a:pt x="1487539" y="753583"/>
                    <a:pt x="1488842" y="752931"/>
                    <a:pt x="1490796" y="751627"/>
                  </a:cubicBezTo>
                  <a:lnTo>
                    <a:pt x="1645201" y="662305"/>
                  </a:lnTo>
                  <a:cubicBezTo>
                    <a:pt x="1654322" y="657089"/>
                    <a:pt x="1666700" y="653829"/>
                    <a:pt x="1678427" y="653829"/>
                  </a:cubicBezTo>
                  <a:close/>
                  <a:moveTo>
                    <a:pt x="1140137" y="645188"/>
                  </a:moveTo>
                  <a:cubicBezTo>
                    <a:pt x="1149927" y="645188"/>
                    <a:pt x="1159063" y="647796"/>
                    <a:pt x="1165589" y="651056"/>
                  </a:cubicBezTo>
                  <a:lnTo>
                    <a:pt x="1330046" y="746246"/>
                  </a:lnTo>
                  <a:lnTo>
                    <a:pt x="1330046" y="778193"/>
                  </a:lnTo>
                  <a:cubicBezTo>
                    <a:pt x="1328741" y="778845"/>
                    <a:pt x="1327436" y="779497"/>
                    <a:pt x="1326131" y="780149"/>
                  </a:cubicBezTo>
                  <a:lnTo>
                    <a:pt x="1171463" y="869471"/>
                  </a:lnTo>
                  <a:cubicBezTo>
                    <a:pt x="1169505" y="870775"/>
                    <a:pt x="1168200" y="871427"/>
                    <a:pt x="1166242" y="872079"/>
                  </a:cubicBezTo>
                  <a:lnTo>
                    <a:pt x="1112728" y="872079"/>
                  </a:lnTo>
                  <a:lnTo>
                    <a:pt x="947618" y="776889"/>
                  </a:lnTo>
                  <a:lnTo>
                    <a:pt x="947618" y="746246"/>
                  </a:lnTo>
                  <a:cubicBezTo>
                    <a:pt x="948923" y="745594"/>
                    <a:pt x="950228" y="744290"/>
                    <a:pt x="952186" y="742986"/>
                  </a:cubicBezTo>
                  <a:lnTo>
                    <a:pt x="1106854" y="653664"/>
                  </a:lnTo>
                  <a:cubicBezTo>
                    <a:pt x="1116644" y="648448"/>
                    <a:pt x="1128390" y="645188"/>
                    <a:pt x="1140137" y="645188"/>
                  </a:cubicBezTo>
                  <a:close/>
                  <a:moveTo>
                    <a:pt x="2098954" y="599103"/>
                  </a:moveTo>
                  <a:cubicBezTo>
                    <a:pt x="2108106" y="599103"/>
                    <a:pt x="2117258" y="601711"/>
                    <a:pt x="2123796" y="604971"/>
                  </a:cubicBezTo>
                  <a:lnTo>
                    <a:pt x="2289186" y="700161"/>
                  </a:lnTo>
                  <a:lnTo>
                    <a:pt x="2289186" y="731456"/>
                  </a:lnTo>
                  <a:cubicBezTo>
                    <a:pt x="2288533" y="732760"/>
                    <a:pt x="2287225" y="733412"/>
                    <a:pt x="2285264" y="734064"/>
                  </a:cubicBezTo>
                  <a:lnTo>
                    <a:pt x="2129679" y="823386"/>
                  </a:lnTo>
                  <a:cubicBezTo>
                    <a:pt x="2128372" y="824690"/>
                    <a:pt x="2127064" y="825342"/>
                    <a:pt x="2125103" y="825994"/>
                  </a:cubicBezTo>
                  <a:lnTo>
                    <a:pt x="2070844" y="825994"/>
                  </a:lnTo>
                  <a:lnTo>
                    <a:pt x="1906761" y="730804"/>
                  </a:lnTo>
                  <a:lnTo>
                    <a:pt x="1906761" y="699509"/>
                  </a:lnTo>
                  <a:cubicBezTo>
                    <a:pt x="1907415" y="698857"/>
                    <a:pt x="1908722" y="698205"/>
                    <a:pt x="1910683" y="696901"/>
                  </a:cubicBezTo>
                  <a:lnTo>
                    <a:pt x="2065615" y="607579"/>
                  </a:lnTo>
                  <a:cubicBezTo>
                    <a:pt x="2074767" y="602363"/>
                    <a:pt x="2086534" y="599103"/>
                    <a:pt x="2098954" y="599103"/>
                  </a:cubicBezTo>
                  <a:close/>
                  <a:moveTo>
                    <a:pt x="474744" y="570301"/>
                  </a:moveTo>
                  <a:cubicBezTo>
                    <a:pt x="490403" y="570301"/>
                    <a:pt x="504757" y="573557"/>
                    <a:pt x="515848" y="580071"/>
                  </a:cubicBezTo>
                  <a:lnTo>
                    <a:pt x="1049558" y="887507"/>
                  </a:lnTo>
                  <a:cubicBezTo>
                    <a:pt x="1073699" y="901836"/>
                    <a:pt x="1070436" y="925936"/>
                    <a:pt x="1043033" y="942220"/>
                  </a:cubicBezTo>
                  <a:lnTo>
                    <a:pt x="925591" y="1009308"/>
                  </a:lnTo>
                  <a:cubicBezTo>
                    <a:pt x="922981" y="1011262"/>
                    <a:pt x="920371" y="1012565"/>
                    <a:pt x="917762" y="1013216"/>
                  </a:cubicBezTo>
                  <a:lnTo>
                    <a:pt x="831637" y="1013216"/>
                  </a:lnTo>
                  <a:lnTo>
                    <a:pt x="297928" y="705781"/>
                  </a:lnTo>
                  <a:cubicBezTo>
                    <a:pt x="288794" y="701221"/>
                    <a:pt x="283574" y="694708"/>
                    <a:pt x="282269" y="687543"/>
                  </a:cubicBezTo>
                  <a:lnTo>
                    <a:pt x="282269" y="677773"/>
                  </a:lnTo>
                  <a:cubicBezTo>
                    <a:pt x="284226" y="668654"/>
                    <a:pt x="291403" y="658884"/>
                    <a:pt x="305105" y="651068"/>
                  </a:cubicBezTo>
                  <a:lnTo>
                    <a:pt x="421895" y="583979"/>
                  </a:lnTo>
                  <a:cubicBezTo>
                    <a:pt x="436901" y="575512"/>
                    <a:pt x="456475" y="570301"/>
                    <a:pt x="474744" y="570301"/>
                  </a:cubicBezTo>
                  <a:close/>
                  <a:moveTo>
                    <a:pt x="1401593" y="495412"/>
                  </a:moveTo>
                  <a:cubicBezTo>
                    <a:pt x="1411382" y="495412"/>
                    <a:pt x="1420518" y="497373"/>
                    <a:pt x="1427697" y="501296"/>
                  </a:cubicBezTo>
                  <a:lnTo>
                    <a:pt x="1592153" y="596106"/>
                  </a:lnTo>
                  <a:lnTo>
                    <a:pt x="1592153" y="627491"/>
                  </a:lnTo>
                  <a:cubicBezTo>
                    <a:pt x="1590196" y="628799"/>
                    <a:pt x="1588890" y="629453"/>
                    <a:pt x="1587585" y="630107"/>
                  </a:cubicBezTo>
                  <a:lnTo>
                    <a:pt x="1432918" y="719685"/>
                  </a:lnTo>
                  <a:cubicBezTo>
                    <a:pt x="1430960" y="720993"/>
                    <a:pt x="1429655" y="721647"/>
                    <a:pt x="1427697" y="722301"/>
                  </a:cubicBezTo>
                  <a:lnTo>
                    <a:pt x="1374183" y="722301"/>
                  </a:lnTo>
                  <a:lnTo>
                    <a:pt x="1209727" y="627491"/>
                  </a:lnTo>
                  <a:lnTo>
                    <a:pt x="1209727" y="595452"/>
                  </a:lnTo>
                  <a:cubicBezTo>
                    <a:pt x="1210380" y="594798"/>
                    <a:pt x="1211685" y="594144"/>
                    <a:pt x="1213643" y="592837"/>
                  </a:cubicBezTo>
                  <a:lnTo>
                    <a:pt x="1368310" y="503912"/>
                  </a:lnTo>
                  <a:cubicBezTo>
                    <a:pt x="1378099" y="498027"/>
                    <a:pt x="1389846" y="495412"/>
                    <a:pt x="1401593" y="495412"/>
                  </a:cubicBezTo>
                  <a:close/>
                  <a:moveTo>
                    <a:pt x="2276606" y="492531"/>
                  </a:moveTo>
                  <a:cubicBezTo>
                    <a:pt x="2290992" y="492531"/>
                    <a:pt x="2304724" y="495134"/>
                    <a:pt x="2315187" y="500990"/>
                  </a:cubicBezTo>
                  <a:lnTo>
                    <a:pt x="2493049" y="603150"/>
                  </a:lnTo>
                  <a:cubicBezTo>
                    <a:pt x="2501550" y="608356"/>
                    <a:pt x="2506781" y="614212"/>
                    <a:pt x="2508089" y="621370"/>
                  </a:cubicBezTo>
                  <a:lnTo>
                    <a:pt x="2508089" y="630479"/>
                  </a:lnTo>
                  <a:cubicBezTo>
                    <a:pt x="2506781" y="638938"/>
                    <a:pt x="2499588" y="648048"/>
                    <a:pt x="2487164" y="654555"/>
                  </a:cubicBezTo>
                  <a:lnTo>
                    <a:pt x="2434852" y="684488"/>
                  </a:lnTo>
                  <a:cubicBezTo>
                    <a:pt x="2432890" y="685789"/>
                    <a:pt x="2430928" y="687090"/>
                    <a:pt x="2428966" y="687741"/>
                  </a:cubicBezTo>
                  <a:lnTo>
                    <a:pt x="2346574" y="687741"/>
                  </a:lnTo>
                  <a:lnTo>
                    <a:pt x="2168712" y="585581"/>
                  </a:lnTo>
                  <a:cubicBezTo>
                    <a:pt x="2145825" y="572567"/>
                    <a:pt x="2148441" y="549792"/>
                    <a:pt x="2174597" y="534176"/>
                  </a:cubicBezTo>
                  <a:lnTo>
                    <a:pt x="2226909" y="504243"/>
                  </a:lnTo>
                  <a:cubicBezTo>
                    <a:pt x="2241295" y="496435"/>
                    <a:pt x="2258951" y="492531"/>
                    <a:pt x="2276606" y="492531"/>
                  </a:cubicBezTo>
                  <a:close/>
                  <a:moveTo>
                    <a:pt x="1817338" y="437806"/>
                  </a:moveTo>
                  <a:cubicBezTo>
                    <a:pt x="1826490" y="437806"/>
                    <a:pt x="1835642" y="439773"/>
                    <a:pt x="1842179" y="443707"/>
                  </a:cubicBezTo>
                  <a:lnTo>
                    <a:pt x="2006916" y="538135"/>
                  </a:lnTo>
                  <a:lnTo>
                    <a:pt x="2006916" y="569610"/>
                  </a:lnTo>
                  <a:cubicBezTo>
                    <a:pt x="2005609" y="570922"/>
                    <a:pt x="2004301" y="571577"/>
                    <a:pt x="2002340" y="572233"/>
                  </a:cubicBezTo>
                  <a:lnTo>
                    <a:pt x="1848063" y="662726"/>
                  </a:lnTo>
                  <a:cubicBezTo>
                    <a:pt x="1846755" y="664037"/>
                    <a:pt x="1845448" y="664693"/>
                    <a:pt x="1844140" y="664693"/>
                  </a:cubicBezTo>
                  <a:lnTo>
                    <a:pt x="1789228" y="664693"/>
                  </a:lnTo>
                  <a:lnTo>
                    <a:pt x="1624491" y="569610"/>
                  </a:lnTo>
                  <a:lnTo>
                    <a:pt x="1624491" y="538135"/>
                  </a:lnTo>
                  <a:cubicBezTo>
                    <a:pt x="1625145" y="537479"/>
                    <a:pt x="1626452" y="536823"/>
                    <a:pt x="1628413" y="535512"/>
                  </a:cubicBezTo>
                  <a:lnTo>
                    <a:pt x="1783998" y="446330"/>
                  </a:lnTo>
                  <a:cubicBezTo>
                    <a:pt x="1793150" y="440429"/>
                    <a:pt x="1804917" y="437806"/>
                    <a:pt x="1817338" y="437806"/>
                  </a:cubicBezTo>
                  <a:close/>
                  <a:moveTo>
                    <a:pt x="736852" y="417643"/>
                  </a:moveTo>
                  <a:cubicBezTo>
                    <a:pt x="749235" y="417643"/>
                    <a:pt x="760315" y="420265"/>
                    <a:pt x="769439" y="425508"/>
                  </a:cubicBezTo>
                  <a:lnTo>
                    <a:pt x="1054904" y="590688"/>
                  </a:lnTo>
                  <a:cubicBezTo>
                    <a:pt x="1062725" y="595276"/>
                    <a:pt x="1066636" y="601175"/>
                    <a:pt x="1067939" y="607074"/>
                  </a:cubicBezTo>
                  <a:lnTo>
                    <a:pt x="1067939" y="611663"/>
                  </a:lnTo>
                  <a:cubicBezTo>
                    <a:pt x="1066636" y="619528"/>
                    <a:pt x="1060770" y="627394"/>
                    <a:pt x="1049690" y="633949"/>
                  </a:cubicBezTo>
                  <a:lnTo>
                    <a:pt x="912172" y="713916"/>
                  </a:lnTo>
                  <a:cubicBezTo>
                    <a:pt x="910216" y="715227"/>
                    <a:pt x="908261" y="715883"/>
                    <a:pt x="906958" y="716538"/>
                  </a:cubicBezTo>
                  <a:lnTo>
                    <a:pt x="837221" y="716538"/>
                  </a:lnTo>
                  <a:lnTo>
                    <a:pt x="551756" y="550704"/>
                  </a:lnTo>
                  <a:cubicBezTo>
                    <a:pt x="532855" y="539561"/>
                    <a:pt x="535462" y="520552"/>
                    <a:pt x="557621" y="507443"/>
                  </a:cubicBezTo>
                  <a:lnTo>
                    <a:pt x="694488" y="428130"/>
                  </a:lnTo>
                  <a:cubicBezTo>
                    <a:pt x="706871" y="421576"/>
                    <a:pt x="722513" y="417643"/>
                    <a:pt x="736852" y="417643"/>
                  </a:cubicBezTo>
                  <a:close/>
                  <a:moveTo>
                    <a:pt x="1991817" y="331234"/>
                  </a:moveTo>
                  <a:cubicBezTo>
                    <a:pt x="2006884" y="331234"/>
                    <a:pt x="2020641" y="334498"/>
                    <a:pt x="2030467" y="340374"/>
                  </a:cubicBezTo>
                  <a:lnTo>
                    <a:pt x="2209306" y="442875"/>
                  </a:lnTo>
                  <a:cubicBezTo>
                    <a:pt x="2231579" y="455932"/>
                    <a:pt x="2228959" y="478782"/>
                    <a:pt x="2202755" y="493146"/>
                  </a:cubicBezTo>
                  <a:lnTo>
                    <a:pt x="2150348" y="523178"/>
                  </a:lnTo>
                  <a:cubicBezTo>
                    <a:pt x="2148383" y="524483"/>
                    <a:pt x="2146418" y="525789"/>
                    <a:pt x="2144452" y="526442"/>
                  </a:cubicBezTo>
                  <a:lnTo>
                    <a:pt x="2061911" y="526442"/>
                  </a:lnTo>
                  <a:lnTo>
                    <a:pt x="1884383" y="425247"/>
                  </a:lnTo>
                  <a:cubicBezTo>
                    <a:pt x="1875212" y="420024"/>
                    <a:pt x="1870626" y="413495"/>
                    <a:pt x="1869316" y="406314"/>
                  </a:cubicBezTo>
                  <a:lnTo>
                    <a:pt x="1869316" y="397826"/>
                  </a:lnTo>
                  <a:cubicBezTo>
                    <a:pt x="1870626" y="389339"/>
                    <a:pt x="1877832" y="380199"/>
                    <a:pt x="1890934" y="373670"/>
                  </a:cubicBezTo>
                  <a:lnTo>
                    <a:pt x="1942031" y="343638"/>
                  </a:lnTo>
                  <a:cubicBezTo>
                    <a:pt x="1956443" y="335804"/>
                    <a:pt x="1974785" y="331234"/>
                    <a:pt x="1991817" y="331234"/>
                  </a:cubicBezTo>
                  <a:close/>
                  <a:moveTo>
                    <a:pt x="1531858" y="273629"/>
                  </a:moveTo>
                  <a:cubicBezTo>
                    <a:pt x="1540995" y="273629"/>
                    <a:pt x="1550131" y="275590"/>
                    <a:pt x="1556658" y="279514"/>
                  </a:cubicBezTo>
                  <a:lnTo>
                    <a:pt x="1721767" y="374324"/>
                  </a:lnTo>
                  <a:lnTo>
                    <a:pt x="1721767" y="405709"/>
                  </a:lnTo>
                  <a:cubicBezTo>
                    <a:pt x="1719810" y="407017"/>
                    <a:pt x="1718504" y="407671"/>
                    <a:pt x="1717199" y="408979"/>
                  </a:cubicBezTo>
                  <a:lnTo>
                    <a:pt x="1562531" y="497904"/>
                  </a:lnTo>
                  <a:cubicBezTo>
                    <a:pt x="1560573" y="499212"/>
                    <a:pt x="1559268" y="499866"/>
                    <a:pt x="1557310" y="500520"/>
                  </a:cubicBezTo>
                  <a:lnTo>
                    <a:pt x="1503796" y="500520"/>
                  </a:lnTo>
                  <a:lnTo>
                    <a:pt x="1339339" y="405709"/>
                  </a:lnTo>
                  <a:lnTo>
                    <a:pt x="1339339" y="373670"/>
                  </a:lnTo>
                  <a:cubicBezTo>
                    <a:pt x="1339992" y="373016"/>
                    <a:pt x="1341297" y="372362"/>
                    <a:pt x="1343255" y="371708"/>
                  </a:cubicBezTo>
                  <a:lnTo>
                    <a:pt x="1498575" y="282129"/>
                  </a:lnTo>
                  <a:cubicBezTo>
                    <a:pt x="1507059" y="276898"/>
                    <a:pt x="1519459" y="273629"/>
                    <a:pt x="1531858" y="273629"/>
                  </a:cubicBezTo>
                  <a:close/>
                  <a:moveTo>
                    <a:pt x="990555" y="262106"/>
                  </a:moveTo>
                  <a:cubicBezTo>
                    <a:pt x="1002960" y="262106"/>
                    <a:pt x="1014711" y="264713"/>
                    <a:pt x="1023199" y="269927"/>
                  </a:cubicBezTo>
                  <a:lnTo>
                    <a:pt x="1316990" y="438742"/>
                  </a:lnTo>
                  <a:cubicBezTo>
                    <a:pt x="1324824" y="443305"/>
                    <a:pt x="1329394" y="449823"/>
                    <a:pt x="1330047" y="456341"/>
                  </a:cubicBezTo>
                  <a:lnTo>
                    <a:pt x="1330047" y="459600"/>
                  </a:lnTo>
                  <a:cubicBezTo>
                    <a:pt x="1328741" y="467421"/>
                    <a:pt x="1322866" y="475895"/>
                    <a:pt x="1311114" y="482413"/>
                  </a:cubicBezTo>
                  <a:lnTo>
                    <a:pt x="1174664" y="560628"/>
                  </a:lnTo>
                  <a:cubicBezTo>
                    <a:pt x="1172053" y="561932"/>
                    <a:pt x="1170094" y="563235"/>
                    <a:pt x="1168136" y="563887"/>
                  </a:cubicBezTo>
                  <a:lnTo>
                    <a:pt x="1098931" y="563887"/>
                  </a:lnTo>
                  <a:lnTo>
                    <a:pt x="805140" y="395724"/>
                  </a:lnTo>
                  <a:cubicBezTo>
                    <a:pt x="796653" y="390509"/>
                    <a:pt x="792083" y="383991"/>
                    <a:pt x="792083" y="377474"/>
                  </a:cubicBezTo>
                  <a:lnTo>
                    <a:pt x="792083" y="374215"/>
                  </a:lnTo>
                  <a:cubicBezTo>
                    <a:pt x="792736" y="366393"/>
                    <a:pt x="799265" y="357920"/>
                    <a:pt x="811016" y="351402"/>
                  </a:cubicBezTo>
                  <a:lnTo>
                    <a:pt x="947466" y="273186"/>
                  </a:lnTo>
                  <a:cubicBezTo>
                    <a:pt x="959870" y="266017"/>
                    <a:pt x="975539" y="262106"/>
                    <a:pt x="990555" y="262106"/>
                  </a:cubicBezTo>
                  <a:close/>
                  <a:moveTo>
                    <a:pt x="1709423" y="167057"/>
                  </a:moveTo>
                  <a:cubicBezTo>
                    <a:pt x="1723835" y="167057"/>
                    <a:pt x="1737592" y="169660"/>
                    <a:pt x="1748073" y="175516"/>
                  </a:cubicBezTo>
                  <a:lnTo>
                    <a:pt x="1925602" y="277676"/>
                  </a:lnTo>
                  <a:cubicBezTo>
                    <a:pt x="1934773" y="282231"/>
                    <a:pt x="1939359" y="288738"/>
                    <a:pt x="1940669" y="295245"/>
                  </a:cubicBezTo>
                  <a:lnTo>
                    <a:pt x="1940669" y="304355"/>
                  </a:lnTo>
                  <a:cubicBezTo>
                    <a:pt x="1939359" y="312814"/>
                    <a:pt x="1932153" y="321273"/>
                    <a:pt x="1919706" y="328431"/>
                  </a:cubicBezTo>
                  <a:lnTo>
                    <a:pt x="1867954" y="358363"/>
                  </a:lnTo>
                  <a:cubicBezTo>
                    <a:pt x="1865334" y="359664"/>
                    <a:pt x="1862714" y="360966"/>
                    <a:pt x="1860093" y="362267"/>
                  </a:cubicBezTo>
                  <a:lnTo>
                    <a:pt x="1779518" y="362267"/>
                  </a:lnTo>
                  <a:lnTo>
                    <a:pt x="1600679" y="260107"/>
                  </a:lnTo>
                  <a:cubicBezTo>
                    <a:pt x="1578406" y="247093"/>
                    <a:pt x="1581026" y="224318"/>
                    <a:pt x="1607230" y="209352"/>
                  </a:cubicBezTo>
                  <a:lnTo>
                    <a:pt x="1659637" y="179420"/>
                  </a:lnTo>
                  <a:cubicBezTo>
                    <a:pt x="1673394" y="170961"/>
                    <a:pt x="1691736" y="167057"/>
                    <a:pt x="1709423" y="167057"/>
                  </a:cubicBezTo>
                  <a:close/>
                  <a:moveTo>
                    <a:pt x="1249588" y="109452"/>
                  </a:moveTo>
                  <a:cubicBezTo>
                    <a:pt x="1258725" y="109452"/>
                    <a:pt x="1267861" y="112060"/>
                    <a:pt x="1274388" y="115972"/>
                  </a:cubicBezTo>
                  <a:lnTo>
                    <a:pt x="1439497" y="210510"/>
                  </a:lnTo>
                  <a:lnTo>
                    <a:pt x="1439497" y="241805"/>
                  </a:lnTo>
                  <a:cubicBezTo>
                    <a:pt x="1437540" y="242457"/>
                    <a:pt x="1436234" y="243761"/>
                    <a:pt x="1434929" y="245065"/>
                  </a:cubicBezTo>
                  <a:lnTo>
                    <a:pt x="1280261" y="333735"/>
                  </a:lnTo>
                  <a:cubicBezTo>
                    <a:pt x="1278303" y="334387"/>
                    <a:pt x="1276998" y="335039"/>
                    <a:pt x="1275040" y="336343"/>
                  </a:cubicBezTo>
                  <a:lnTo>
                    <a:pt x="1221526" y="336343"/>
                  </a:lnTo>
                  <a:lnTo>
                    <a:pt x="1057069" y="241153"/>
                  </a:lnTo>
                  <a:lnTo>
                    <a:pt x="1057069" y="209206"/>
                  </a:lnTo>
                  <a:cubicBezTo>
                    <a:pt x="1057722" y="208554"/>
                    <a:pt x="1059027" y="207902"/>
                    <a:pt x="1060985" y="207250"/>
                  </a:cubicBezTo>
                  <a:lnTo>
                    <a:pt x="1215653" y="117928"/>
                  </a:lnTo>
                  <a:cubicBezTo>
                    <a:pt x="1224789" y="112712"/>
                    <a:pt x="1237189" y="109452"/>
                    <a:pt x="1249588" y="109452"/>
                  </a:cubicBezTo>
                  <a:close/>
                  <a:moveTo>
                    <a:pt x="1421950" y="0"/>
                  </a:moveTo>
                  <a:cubicBezTo>
                    <a:pt x="1436990" y="0"/>
                    <a:pt x="1450068" y="3242"/>
                    <a:pt x="1460531" y="8431"/>
                  </a:cubicBezTo>
                  <a:lnTo>
                    <a:pt x="1638393" y="110901"/>
                  </a:lnTo>
                  <a:cubicBezTo>
                    <a:pt x="1661280" y="123872"/>
                    <a:pt x="1658664" y="146571"/>
                    <a:pt x="1632508" y="161488"/>
                  </a:cubicBezTo>
                  <a:lnTo>
                    <a:pt x="1580196" y="191321"/>
                  </a:lnTo>
                  <a:cubicBezTo>
                    <a:pt x="1577580" y="192618"/>
                    <a:pt x="1574964" y="193915"/>
                    <a:pt x="1572349" y="195212"/>
                  </a:cubicBezTo>
                  <a:lnTo>
                    <a:pt x="1491918" y="195212"/>
                  </a:lnTo>
                  <a:lnTo>
                    <a:pt x="1314056" y="92742"/>
                  </a:lnTo>
                  <a:cubicBezTo>
                    <a:pt x="1305555" y="87554"/>
                    <a:pt x="1300324" y="81717"/>
                    <a:pt x="1299016" y="74583"/>
                  </a:cubicBezTo>
                  <a:lnTo>
                    <a:pt x="1299016" y="65503"/>
                  </a:lnTo>
                  <a:cubicBezTo>
                    <a:pt x="1300324" y="57072"/>
                    <a:pt x="1307517" y="48641"/>
                    <a:pt x="1319941" y="42155"/>
                  </a:cubicBezTo>
                  <a:lnTo>
                    <a:pt x="1372254" y="12971"/>
                  </a:lnTo>
                  <a:cubicBezTo>
                    <a:pt x="1386639" y="4540"/>
                    <a:pt x="1404949" y="0"/>
                    <a:pt x="1421950" y="0"/>
                  </a:cubicBezTo>
                  <a:close/>
                </a:path>
              </a:pathLst>
            </a:custGeom>
            <a:solidFill>
              <a:schemeClr val="bg1">
                <a:lumMod val="50000"/>
              </a:schemeClr>
            </a:solidFill>
            <a:ln>
              <a:noFill/>
            </a:ln>
            <a:effectLst/>
          </p:spPr>
          <p:txBody>
            <a:bodyPr wrap="square" anchor="ctr">
              <a:noAutofit/>
            </a:bodyPr>
            <a:lstStyle/>
            <a:p>
              <a:endParaRPr lang="en-US" sz="3266" dirty="0">
                <a:latin typeface="Lato Light" panose="020F0502020204030203" pitchFamily="34" charset="0"/>
              </a:endParaRPr>
            </a:p>
          </p:txBody>
        </p:sp>
        <p:grpSp>
          <p:nvGrpSpPr>
            <p:cNvPr id="16" name="Group 15">
              <a:extLst>
                <a:ext uri="{FF2B5EF4-FFF2-40B4-BE49-F238E27FC236}">
                  <a16:creationId xmlns:a16="http://schemas.microsoft.com/office/drawing/2014/main" id="{4259ACBA-B4E3-4C45-A3A2-D89C39DBE7FB}"/>
                </a:ext>
              </a:extLst>
            </p:cNvPr>
            <p:cNvGrpSpPr/>
            <p:nvPr/>
          </p:nvGrpSpPr>
          <p:grpSpPr>
            <a:xfrm>
              <a:off x="11318976" y="2214954"/>
              <a:ext cx="4982923" cy="6267538"/>
              <a:chOff x="11318976" y="2214954"/>
              <a:chExt cx="4982923" cy="6267538"/>
            </a:xfrm>
          </p:grpSpPr>
          <p:sp>
            <p:nvSpPr>
              <p:cNvPr id="26" name="Freeform 89">
                <a:extLst>
                  <a:ext uri="{FF2B5EF4-FFF2-40B4-BE49-F238E27FC236}">
                    <a16:creationId xmlns:a16="http://schemas.microsoft.com/office/drawing/2014/main" id="{D361FC59-A37B-0D4C-BC87-B57C7924959F}"/>
                  </a:ext>
                </a:extLst>
              </p:cNvPr>
              <p:cNvSpPr>
                <a:spLocks noChangeArrowheads="1"/>
              </p:cNvSpPr>
              <p:nvPr/>
            </p:nvSpPr>
            <p:spPr bwMode="auto">
              <a:xfrm>
                <a:off x="11318976" y="2214954"/>
                <a:ext cx="4982923" cy="6267538"/>
              </a:xfrm>
              <a:custGeom>
                <a:avLst/>
                <a:gdLst>
                  <a:gd name="T0" fmla="*/ 188 w 7631"/>
                  <a:gd name="T1" fmla="*/ 0 h 9597"/>
                  <a:gd name="T2" fmla="*/ 319 w 7631"/>
                  <a:gd name="T3" fmla="*/ 43 h 9597"/>
                  <a:gd name="T4" fmla="*/ 7310 w 7631"/>
                  <a:gd name="T5" fmla="*/ 4081 h 9597"/>
                  <a:gd name="T6" fmla="*/ 7630 w 7631"/>
                  <a:gd name="T7" fmla="*/ 4631 h 9597"/>
                  <a:gd name="T8" fmla="*/ 7630 w 7631"/>
                  <a:gd name="T9" fmla="*/ 9371 h 9597"/>
                  <a:gd name="T10" fmla="*/ 7466 w 7631"/>
                  <a:gd name="T11" fmla="*/ 9596 h 9597"/>
                  <a:gd name="T12" fmla="*/ 7441 w 7631"/>
                  <a:gd name="T13" fmla="*/ 9596 h 9597"/>
                  <a:gd name="T14" fmla="*/ 7310 w 7631"/>
                  <a:gd name="T15" fmla="*/ 9553 h 9597"/>
                  <a:gd name="T16" fmla="*/ 319 w 7631"/>
                  <a:gd name="T17" fmla="*/ 5517 h 9597"/>
                  <a:gd name="T18" fmla="*/ 0 w 7631"/>
                  <a:gd name="T19" fmla="*/ 4966 h 9597"/>
                  <a:gd name="T20" fmla="*/ 0 w 7631"/>
                  <a:gd name="T21" fmla="*/ 225 h 9597"/>
                  <a:gd name="T22" fmla="*/ 163 w 7631"/>
                  <a:gd name="T23" fmla="*/ 0 h 9597"/>
                  <a:gd name="T24" fmla="*/ 188 w 7631"/>
                  <a:gd name="T25" fmla="*/ 0 h 9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31" h="9597">
                    <a:moveTo>
                      <a:pt x="188" y="0"/>
                    </a:moveTo>
                    <a:cubicBezTo>
                      <a:pt x="228" y="2"/>
                      <a:pt x="272" y="16"/>
                      <a:pt x="319" y="43"/>
                    </a:cubicBezTo>
                    <a:lnTo>
                      <a:pt x="7310" y="4081"/>
                    </a:lnTo>
                    <a:cubicBezTo>
                      <a:pt x="7487" y="4182"/>
                      <a:pt x="7630" y="4429"/>
                      <a:pt x="7630" y="4631"/>
                    </a:cubicBezTo>
                    <a:lnTo>
                      <a:pt x="7630" y="9371"/>
                    </a:lnTo>
                    <a:cubicBezTo>
                      <a:pt x="7630" y="9509"/>
                      <a:pt x="7564" y="9590"/>
                      <a:pt x="7466" y="9596"/>
                    </a:cubicBezTo>
                    <a:lnTo>
                      <a:pt x="7441" y="9596"/>
                    </a:lnTo>
                    <a:cubicBezTo>
                      <a:pt x="7401" y="9594"/>
                      <a:pt x="7357" y="9580"/>
                      <a:pt x="7310" y="9553"/>
                    </a:cubicBezTo>
                    <a:lnTo>
                      <a:pt x="319" y="5517"/>
                    </a:lnTo>
                    <a:cubicBezTo>
                      <a:pt x="143" y="5415"/>
                      <a:pt x="0" y="5169"/>
                      <a:pt x="0" y="4966"/>
                    </a:cubicBezTo>
                    <a:lnTo>
                      <a:pt x="0" y="225"/>
                    </a:lnTo>
                    <a:cubicBezTo>
                      <a:pt x="0" y="88"/>
                      <a:pt x="66" y="6"/>
                      <a:pt x="163" y="0"/>
                    </a:cubicBezTo>
                    <a:lnTo>
                      <a:pt x="188" y="0"/>
                    </a:lnTo>
                  </a:path>
                </a:pathLst>
              </a:custGeom>
              <a:solidFill>
                <a:schemeClr val="accent3"/>
              </a:solidFill>
              <a:ln>
                <a:noFill/>
              </a:ln>
              <a:effectLst/>
            </p:spPr>
            <p:txBody>
              <a:bodyPr wrap="none" anchor="ctr"/>
              <a:lstStyle/>
              <a:p>
                <a:endParaRPr lang="en-US" sz="3266" dirty="0">
                  <a:latin typeface="Lato Light" panose="020F0502020204030203" pitchFamily="34" charset="0"/>
                </a:endParaRPr>
              </a:p>
            </p:txBody>
          </p:sp>
          <p:sp>
            <p:nvSpPr>
              <p:cNvPr id="27" name="Freeform 90">
                <a:extLst>
                  <a:ext uri="{FF2B5EF4-FFF2-40B4-BE49-F238E27FC236}">
                    <a16:creationId xmlns:a16="http://schemas.microsoft.com/office/drawing/2014/main" id="{440F438F-68E0-6544-A958-667CA21FF0B2}"/>
                  </a:ext>
                </a:extLst>
              </p:cNvPr>
              <p:cNvSpPr>
                <a:spLocks noChangeArrowheads="1"/>
              </p:cNvSpPr>
              <p:nvPr/>
            </p:nvSpPr>
            <p:spPr bwMode="auto">
              <a:xfrm>
                <a:off x="11318976" y="2214955"/>
                <a:ext cx="4982923" cy="3228818"/>
              </a:xfrm>
              <a:custGeom>
                <a:avLst/>
                <a:gdLst>
                  <a:gd name="T0" fmla="*/ 188 w 7631"/>
                  <a:gd name="T1" fmla="*/ 0 h 4945"/>
                  <a:gd name="T2" fmla="*/ 319 w 7631"/>
                  <a:gd name="T3" fmla="*/ 43 h 4945"/>
                  <a:gd name="T4" fmla="*/ 7310 w 7631"/>
                  <a:gd name="T5" fmla="*/ 4081 h 4945"/>
                  <a:gd name="T6" fmla="*/ 7630 w 7631"/>
                  <a:gd name="T7" fmla="*/ 4631 h 4945"/>
                  <a:gd name="T8" fmla="*/ 7630 w 7631"/>
                  <a:gd name="T9" fmla="*/ 4944 h 4945"/>
                  <a:gd name="T10" fmla="*/ 0 w 7631"/>
                  <a:gd name="T11" fmla="*/ 538 h 4945"/>
                  <a:gd name="T12" fmla="*/ 0 w 7631"/>
                  <a:gd name="T13" fmla="*/ 225 h 4945"/>
                  <a:gd name="T14" fmla="*/ 163 w 7631"/>
                  <a:gd name="T15" fmla="*/ 0 h 4945"/>
                  <a:gd name="T16" fmla="*/ 188 w 7631"/>
                  <a:gd name="T17" fmla="*/ 0 h 4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31" h="4945">
                    <a:moveTo>
                      <a:pt x="188" y="0"/>
                    </a:moveTo>
                    <a:cubicBezTo>
                      <a:pt x="228" y="2"/>
                      <a:pt x="272" y="16"/>
                      <a:pt x="319" y="43"/>
                    </a:cubicBezTo>
                    <a:lnTo>
                      <a:pt x="7310" y="4081"/>
                    </a:lnTo>
                    <a:cubicBezTo>
                      <a:pt x="7487" y="4182"/>
                      <a:pt x="7630" y="4429"/>
                      <a:pt x="7630" y="4631"/>
                    </a:cubicBezTo>
                    <a:lnTo>
                      <a:pt x="7630" y="4944"/>
                    </a:lnTo>
                    <a:lnTo>
                      <a:pt x="0" y="538"/>
                    </a:lnTo>
                    <a:lnTo>
                      <a:pt x="0" y="225"/>
                    </a:lnTo>
                    <a:cubicBezTo>
                      <a:pt x="0" y="88"/>
                      <a:pt x="66" y="6"/>
                      <a:pt x="163" y="0"/>
                    </a:cubicBezTo>
                    <a:lnTo>
                      <a:pt x="188" y="0"/>
                    </a:lnTo>
                  </a:path>
                </a:pathLst>
              </a:custGeom>
              <a:solidFill>
                <a:schemeClr val="accent3">
                  <a:lumMod val="60000"/>
                  <a:lumOff val="40000"/>
                </a:schemeClr>
              </a:solidFill>
              <a:ln>
                <a:noFill/>
              </a:ln>
              <a:effectLst/>
            </p:spPr>
            <p:txBody>
              <a:bodyPr wrap="none" anchor="ctr"/>
              <a:lstStyle/>
              <a:p>
                <a:endParaRPr lang="en-US" sz="3266" dirty="0">
                  <a:latin typeface="Lato Light" panose="020F0502020204030203" pitchFamily="34" charset="0"/>
                </a:endParaRPr>
              </a:p>
            </p:txBody>
          </p:sp>
          <p:sp>
            <p:nvSpPr>
              <p:cNvPr id="28" name="Freeform 93">
                <a:extLst>
                  <a:ext uri="{FF2B5EF4-FFF2-40B4-BE49-F238E27FC236}">
                    <a16:creationId xmlns:a16="http://schemas.microsoft.com/office/drawing/2014/main" id="{E919DFF1-158C-DA4C-BC83-F0A47F0B4B60}"/>
                  </a:ext>
                </a:extLst>
              </p:cNvPr>
              <p:cNvSpPr>
                <a:spLocks noChangeArrowheads="1"/>
              </p:cNvSpPr>
              <p:nvPr/>
            </p:nvSpPr>
            <p:spPr bwMode="auto">
              <a:xfrm>
                <a:off x="12353003" y="2909107"/>
                <a:ext cx="2546187" cy="1572645"/>
              </a:xfrm>
              <a:custGeom>
                <a:avLst/>
                <a:gdLst>
                  <a:gd name="T0" fmla="*/ 99 w 3900"/>
                  <a:gd name="T1" fmla="*/ 0 h 2406"/>
                  <a:gd name="T2" fmla="*/ 100 w 3900"/>
                  <a:gd name="T3" fmla="*/ 1 h 2406"/>
                  <a:gd name="T4" fmla="*/ 3800 w 3900"/>
                  <a:gd name="T5" fmla="*/ 2138 h 2406"/>
                  <a:gd name="T6" fmla="*/ 3899 w 3900"/>
                  <a:gd name="T7" fmla="*/ 2328 h 2406"/>
                  <a:gd name="T8" fmla="*/ 3870 w 3900"/>
                  <a:gd name="T9" fmla="*/ 2405 h 2406"/>
                  <a:gd name="T10" fmla="*/ 3804 w 3900"/>
                  <a:gd name="T11" fmla="*/ 2405 h 2406"/>
                  <a:gd name="T12" fmla="*/ 3800 w 3900"/>
                  <a:gd name="T13" fmla="*/ 2403 h 2406"/>
                  <a:gd name="T14" fmla="*/ 100 w 3900"/>
                  <a:gd name="T15" fmla="*/ 267 h 2406"/>
                  <a:gd name="T16" fmla="*/ 0 w 3900"/>
                  <a:gd name="T17" fmla="*/ 77 h 2406"/>
                  <a:gd name="T18" fmla="*/ 29 w 3900"/>
                  <a:gd name="T19" fmla="*/ 0 h 2406"/>
                  <a:gd name="T20" fmla="*/ 99 w 3900"/>
                  <a:gd name="T21" fmla="*/ 0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0" h="2406">
                    <a:moveTo>
                      <a:pt x="99" y="0"/>
                    </a:moveTo>
                    <a:cubicBezTo>
                      <a:pt x="99" y="0"/>
                      <a:pt x="100" y="0"/>
                      <a:pt x="100" y="1"/>
                    </a:cubicBezTo>
                    <a:lnTo>
                      <a:pt x="3800" y="2138"/>
                    </a:lnTo>
                    <a:cubicBezTo>
                      <a:pt x="3855" y="2170"/>
                      <a:pt x="3899" y="2255"/>
                      <a:pt x="3899" y="2328"/>
                    </a:cubicBezTo>
                    <a:cubicBezTo>
                      <a:pt x="3899" y="2364"/>
                      <a:pt x="3888" y="2391"/>
                      <a:pt x="3870" y="2405"/>
                    </a:cubicBezTo>
                    <a:lnTo>
                      <a:pt x="3804" y="2405"/>
                    </a:lnTo>
                    <a:cubicBezTo>
                      <a:pt x="3803" y="2404"/>
                      <a:pt x="3801" y="2403"/>
                      <a:pt x="3800" y="2403"/>
                    </a:cubicBezTo>
                    <a:lnTo>
                      <a:pt x="100" y="267"/>
                    </a:lnTo>
                    <a:cubicBezTo>
                      <a:pt x="44" y="235"/>
                      <a:pt x="0" y="150"/>
                      <a:pt x="0" y="77"/>
                    </a:cubicBezTo>
                    <a:cubicBezTo>
                      <a:pt x="0" y="40"/>
                      <a:pt x="11" y="14"/>
                      <a:pt x="29" y="0"/>
                    </a:cubicBezTo>
                    <a:lnTo>
                      <a:pt x="99" y="0"/>
                    </a:lnTo>
                  </a:path>
                </a:pathLst>
              </a:custGeom>
              <a:solidFill>
                <a:schemeClr val="accent3">
                  <a:lumMod val="20000"/>
                  <a:lumOff val="80000"/>
                </a:schemeClr>
              </a:solidFill>
              <a:ln>
                <a:noFill/>
              </a:ln>
              <a:effectLst/>
            </p:spPr>
            <p:txBody>
              <a:bodyPr wrap="none" anchor="ctr"/>
              <a:lstStyle/>
              <a:p>
                <a:endParaRPr lang="en-US" sz="3266" dirty="0">
                  <a:latin typeface="Lato Light" panose="020F0502020204030203" pitchFamily="34" charset="0"/>
                </a:endParaRPr>
              </a:p>
            </p:txBody>
          </p:sp>
        </p:grpSp>
        <p:grpSp>
          <p:nvGrpSpPr>
            <p:cNvPr id="17" name="Group 16">
              <a:extLst>
                <a:ext uri="{FF2B5EF4-FFF2-40B4-BE49-F238E27FC236}">
                  <a16:creationId xmlns:a16="http://schemas.microsoft.com/office/drawing/2014/main" id="{F32FF167-2301-064F-A3C3-048935674A7C}"/>
                </a:ext>
              </a:extLst>
            </p:cNvPr>
            <p:cNvGrpSpPr/>
            <p:nvPr/>
          </p:nvGrpSpPr>
          <p:grpSpPr>
            <a:xfrm>
              <a:off x="10123649" y="1892360"/>
              <a:ext cx="4980044" cy="6264657"/>
              <a:chOff x="10123649" y="1892360"/>
              <a:chExt cx="4980044" cy="6264657"/>
            </a:xfrm>
          </p:grpSpPr>
          <p:sp>
            <p:nvSpPr>
              <p:cNvPr id="23" name="Freeform 108">
                <a:extLst>
                  <a:ext uri="{FF2B5EF4-FFF2-40B4-BE49-F238E27FC236}">
                    <a16:creationId xmlns:a16="http://schemas.microsoft.com/office/drawing/2014/main" id="{CBF4D4B9-CF91-024D-9EE6-5F608C10D4D1}"/>
                  </a:ext>
                </a:extLst>
              </p:cNvPr>
              <p:cNvSpPr>
                <a:spLocks noChangeArrowheads="1"/>
              </p:cNvSpPr>
              <p:nvPr/>
            </p:nvSpPr>
            <p:spPr bwMode="auto">
              <a:xfrm>
                <a:off x="10123649" y="1892360"/>
                <a:ext cx="4980044" cy="6264657"/>
              </a:xfrm>
              <a:custGeom>
                <a:avLst/>
                <a:gdLst>
                  <a:gd name="T0" fmla="*/ 7431 w 7626"/>
                  <a:gd name="T1" fmla="*/ 9592 h 9593"/>
                  <a:gd name="T2" fmla="*/ 7306 w 7626"/>
                  <a:gd name="T3" fmla="*/ 9549 h 9593"/>
                  <a:gd name="T4" fmla="*/ 319 w 7626"/>
                  <a:gd name="T5" fmla="*/ 5516 h 9593"/>
                  <a:gd name="T6" fmla="*/ 0 w 7626"/>
                  <a:gd name="T7" fmla="*/ 4965 h 9593"/>
                  <a:gd name="T8" fmla="*/ 0 w 7626"/>
                  <a:gd name="T9" fmla="*/ 227 h 9593"/>
                  <a:gd name="T10" fmla="*/ 175 w 7626"/>
                  <a:gd name="T11" fmla="*/ 0 h 9593"/>
                  <a:gd name="T12" fmla="*/ 319 w 7626"/>
                  <a:gd name="T13" fmla="*/ 45 h 9593"/>
                  <a:gd name="T14" fmla="*/ 7306 w 7626"/>
                  <a:gd name="T15" fmla="*/ 4079 h 9593"/>
                  <a:gd name="T16" fmla="*/ 7625 w 7626"/>
                  <a:gd name="T17" fmla="*/ 4630 h 9593"/>
                  <a:gd name="T18" fmla="*/ 7625 w 7626"/>
                  <a:gd name="T19" fmla="*/ 9367 h 9593"/>
                  <a:gd name="T20" fmla="*/ 7467 w 7626"/>
                  <a:gd name="T21" fmla="*/ 9592 h 9593"/>
                  <a:gd name="T22" fmla="*/ 7431 w 7626"/>
                  <a:gd name="T23" fmla="*/ 9592 h 9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26" h="9593">
                    <a:moveTo>
                      <a:pt x="7431" y="9592"/>
                    </a:moveTo>
                    <a:cubicBezTo>
                      <a:pt x="7392" y="9589"/>
                      <a:pt x="7350" y="9575"/>
                      <a:pt x="7306" y="9549"/>
                    </a:cubicBezTo>
                    <a:lnTo>
                      <a:pt x="319" y="5516"/>
                    </a:lnTo>
                    <a:cubicBezTo>
                      <a:pt x="143" y="5413"/>
                      <a:pt x="0" y="5167"/>
                      <a:pt x="0" y="4965"/>
                    </a:cubicBezTo>
                    <a:lnTo>
                      <a:pt x="0" y="227"/>
                    </a:lnTo>
                    <a:cubicBezTo>
                      <a:pt x="0" y="83"/>
                      <a:pt x="71" y="0"/>
                      <a:pt x="175" y="0"/>
                    </a:cubicBezTo>
                    <a:cubicBezTo>
                      <a:pt x="218" y="0"/>
                      <a:pt x="267" y="15"/>
                      <a:pt x="319" y="45"/>
                    </a:cubicBezTo>
                    <a:lnTo>
                      <a:pt x="7306" y="4079"/>
                    </a:lnTo>
                    <a:cubicBezTo>
                      <a:pt x="7482" y="4181"/>
                      <a:pt x="7625" y="4428"/>
                      <a:pt x="7625" y="4630"/>
                    </a:cubicBezTo>
                    <a:lnTo>
                      <a:pt x="7625" y="9367"/>
                    </a:lnTo>
                    <a:cubicBezTo>
                      <a:pt x="7625" y="9502"/>
                      <a:pt x="7562" y="9583"/>
                      <a:pt x="7467" y="9592"/>
                    </a:cubicBezTo>
                    <a:lnTo>
                      <a:pt x="7431" y="9592"/>
                    </a:lnTo>
                  </a:path>
                </a:pathLst>
              </a:custGeom>
              <a:solidFill>
                <a:schemeClr val="accent2"/>
              </a:solidFill>
              <a:ln>
                <a:noFill/>
              </a:ln>
              <a:effectLst/>
            </p:spPr>
            <p:txBody>
              <a:bodyPr wrap="none" anchor="ctr"/>
              <a:lstStyle/>
              <a:p>
                <a:endParaRPr lang="en-US" sz="3266" dirty="0">
                  <a:latin typeface="Lato Light" panose="020F0502020204030203" pitchFamily="34" charset="0"/>
                </a:endParaRPr>
              </a:p>
            </p:txBody>
          </p:sp>
          <p:sp>
            <p:nvSpPr>
              <p:cNvPr id="24" name="Freeform 109">
                <a:extLst>
                  <a:ext uri="{FF2B5EF4-FFF2-40B4-BE49-F238E27FC236}">
                    <a16:creationId xmlns:a16="http://schemas.microsoft.com/office/drawing/2014/main" id="{F495DA2A-94C2-8E40-9FAC-8EF5916AE3C6}"/>
                  </a:ext>
                </a:extLst>
              </p:cNvPr>
              <p:cNvSpPr>
                <a:spLocks noChangeArrowheads="1"/>
              </p:cNvSpPr>
              <p:nvPr/>
            </p:nvSpPr>
            <p:spPr bwMode="auto">
              <a:xfrm>
                <a:off x="10123649" y="1892361"/>
                <a:ext cx="4980044" cy="3228818"/>
              </a:xfrm>
              <a:custGeom>
                <a:avLst/>
                <a:gdLst>
                  <a:gd name="T0" fmla="*/ 0 w 7626"/>
                  <a:gd name="T1" fmla="*/ 227 h 4944"/>
                  <a:gd name="T2" fmla="*/ 175 w 7626"/>
                  <a:gd name="T3" fmla="*/ 0 h 4944"/>
                  <a:gd name="T4" fmla="*/ 175 w 7626"/>
                  <a:gd name="T5" fmla="*/ 0 h 4944"/>
                  <a:gd name="T6" fmla="*/ 175 w 7626"/>
                  <a:gd name="T7" fmla="*/ 0 h 4944"/>
                  <a:gd name="T8" fmla="*/ 319 w 7626"/>
                  <a:gd name="T9" fmla="*/ 45 h 4944"/>
                  <a:gd name="T10" fmla="*/ 319 w 7626"/>
                  <a:gd name="T11" fmla="*/ 45 h 4944"/>
                  <a:gd name="T12" fmla="*/ 7306 w 7626"/>
                  <a:gd name="T13" fmla="*/ 4079 h 4944"/>
                  <a:gd name="T14" fmla="*/ 7306 w 7626"/>
                  <a:gd name="T15" fmla="*/ 4079 h 4944"/>
                  <a:gd name="T16" fmla="*/ 7625 w 7626"/>
                  <a:gd name="T17" fmla="*/ 4630 h 4944"/>
                  <a:gd name="T18" fmla="*/ 7625 w 7626"/>
                  <a:gd name="T19" fmla="*/ 4630 h 4944"/>
                  <a:gd name="T20" fmla="*/ 7625 w 7626"/>
                  <a:gd name="T21" fmla="*/ 4943 h 4944"/>
                  <a:gd name="T22" fmla="*/ 0 w 7626"/>
                  <a:gd name="T23" fmla="*/ 539 h 4944"/>
                  <a:gd name="T24" fmla="*/ 0 w 7626"/>
                  <a:gd name="T25" fmla="*/ 227 h 4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26" h="4944">
                    <a:moveTo>
                      <a:pt x="0" y="227"/>
                    </a:moveTo>
                    <a:cubicBezTo>
                      <a:pt x="0" y="83"/>
                      <a:pt x="71" y="0"/>
                      <a:pt x="175" y="0"/>
                    </a:cubicBezTo>
                    <a:lnTo>
                      <a:pt x="175" y="0"/>
                    </a:lnTo>
                    <a:lnTo>
                      <a:pt x="175" y="0"/>
                    </a:lnTo>
                    <a:cubicBezTo>
                      <a:pt x="218" y="0"/>
                      <a:pt x="267" y="15"/>
                      <a:pt x="319" y="45"/>
                    </a:cubicBezTo>
                    <a:lnTo>
                      <a:pt x="319" y="45"/>
                    </a:lnTo>
                    <a:lnTo>
                      <a:pt x="7306" y="4079"/>
                    </a:lnTo>
                    <a:lnTo>
                      <a:pt x="7306" y="4079"/>
                    </a:lnTo>
                    <a:cubicBezTo>
                      <a:pt x="7482" y="4181"/>
                      <a:pt x="7625" y="4428"/>
                      <a:pt x="7625" y="4630"/>
                    </a:cubicBezTo>
                    <a:lnTo>
                      <a:pt x="7625" y="4630"/>
                    </a:lnTo>
                    <a:lnTo>
                      <a:pt x="7625" y="4943"/>
                    </a:lnTo>
                    <a:lnTo>
                      <a:pt x="0" y="539"/>
                    </a:lnTo>
                    <a:lnTo>
                      <a:pt x="0" y="227"/>
                    </a:lnTo>
                  </a:path>
                </a:pathLst>
              </a:custGeom>
              <a:solidFill>
                <a:schemeClr val="accent2">
                  <a:lumMod val="60000"/>
                  <a:lumOff val="40000"/>
                </a:schemeClr>
              </a:solidFill>
              <a:ln>
                <a:noFill/>
              </a:ln>
              <a:effectLst/>
            </p:spPr>
            <p:txBody>
              <a:bodyPr wrap="none" anchor="ctr"/>
              <a:lstStyle/>
              <a:p>
                <a:endParaRPr lang="en-US" sz="3266" dirty="0">
                  <a:latin typeface="Lato Light" panose="020F0502020204030203" pitchFamily="34" charset="0"/>
                </a:endParaRPr>
              </a:p>
            </p:txBody>
          </p:sp>
          <p:sp>
            <p:nvSpPr>
              <p:cNvPr id="25" name="Freeform 112">
                <a:extLst>
                  <a:ext uri="{FF2B5EF4-FFF2-40B4-BE49-F238E27FC236}">
                    <a16:creationId xmlns:a16="http://schemas.microsoft.com/office/drawing/2014/main" id="{812FCF6F-D7A6-5F49-8433-D8037AECA6E9}"/>
                  </a:ext>
                </a:extLst>
              </p:cNvPr>
              <p:cNvSpPr>
                <a:spLocks noChangeArrowheads="1"/>
              </p:cNvSpPr>
              <p:nvPr/>
            </p:nvSpPr>
            <p:spPr bwMode="auto">
              <a:xfrm>
                <a:off x="11183601" y="2580752"/>
                <a:ext cx="2546187" cy="1578406"/>
              </a:xfrm>
              <a:custGeom>
                <a:avLst/>
                <a:gdLst>
                  <a:gd name="T0" fmla="*/ 3799 w 3897"/>
                  <a:gd name="T1" fmla="*/ 2414 h 2415"/>
                  <a:gd name="T2" fmla="*/ 3797 w 3897"/>
                  <a:gd name="T3" fmla="*/ 2413 h 2415"/>
                  <a:gd name="T4" fmla="*/ 99 w 3897"/>
                  <a:gd name="T5" fmla="*/ 277 h 2415"/>
                  <a:gd name="T6" fmla="*/ 0 w 3897"/>
                  <a:gd name="T7" fmla="*/ 87 h 2415"/>
                  <a:gd name="T8" fmla="*/ 60 w 3897"/>
                  <a:gd name="T9" fmla="*/ 0 h 2415"/>
                  <a:gd name="T10" fmla="*/ 99 w 3897"/>
                  <a:gd name="T11" fmla="*/ 12 h 2415"/>
                  <a:gd name="T12" fmla="*/ 3797 w 3897"/>
                  <a:gd name="T13" fmla="*/ 2148 h 2415"/>
                  <a:gd name="T14" fmla="*/ 3896 w 3897"/>
                  <a:gd name="T15" fmla="*/ 2337 h 2415"/>
                  <a:gd name="T16" fmla="*/ 3868 w 3897"/>
                  <a:gd name="T17" fmla="*/ 2414 h 2415"/>
                  <a:gd name="T18" fmla="*/ 3799 w 3897"/>
                  <a:gd name="T19" fmla="*/ 2414 h 2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97" h="2415">
                    <a:moveTo>
                      <a:pt x="3799" y="2414"/>
                    </a:moveTo>
                    <a:cubicBezTo>
                      <a:pt x="3799" y="2413"/>
                      <a:pt x="3798" y="2413"/>
                      <a:pt x="3797" y="2413"/>
                    </a:cubicBezTo>
                    <a:lnTo>
                      <a:pt x="99" y="277"/>
                    </a:lnTo>
                    <a:cubicBezTo>
                      <a:pt x="44" y="245"/>
                      <a:pt x="0" y="161"/>
                      <a:pt x="0" y="87"/>
                    </a:cubicBezTo>
                    <a:cubicBezTo>
                      <a:pt x="0" y="33"/>
                      <a:pt x="24" y="0"/>
                      <a:pt x="60" y="0"/>
                    </a:cubicBezTo>
                    <a:cubicBezTo>
                      <a:pt x="72" y="0"/>
                      <a:pt x="85" y="4"/>
                      <a:pt x="99" y="12"/>
                    </a:cubicBezTo>
                    <a:lnTo>
                      <a:pt x="3797" y="2148"/>
                    </a:lnTo>
                    <a:cubicBezTo>
                      <a:pt x="3852" y="2179"/>
                      <a:pt x="3896" y="2264"/>
                      <a:pt x="3896" y="2337"/>
                    </a:cubicBezTo>
                    <a:cubicBezTo>
                      <a:pt x="3896" y="2373"/>
                      <a:pt x="3886" y="2400"/>
                      <a:pt x="3868" y="2414"/>
                    </a:cubicBezTo>
                    <a:lnTo>
                      <a:pt x="3799" y="2414"/>
                    </a:lnTo>
                  </a:path>
                </a:pathLst>
              </a:custGeom>
              <a:solidFill>
                <a:schemeClr val="accent2">
                  <a:lumMod val="20000"/>
                  <a:lumOff val="80000"/>
                </a:schemeClr>
              </a:solidFill>
              <a:ln>
                <a:noFill/>
              </a:ln>
              <a:effectLst/>
            </p:spPr>
            <p:txBody>
              <a:bodyPr wrap="none" anchor="ctr"/>
              <a:lstStyle/>
              <a:p>
                <a:endParaRPr lang="en-US" sz="3266" dirty="0">
                  <a:latin typeface="Lato Light" panose="020F0502020204030203" pitchFamily="34" charset="0"/>
                </a:endParaRPr>
              </a:p>
            </p:txBody>
          </p:sp>
        </p:grpSp>
        <p:sp>
          <p:nvSpPr>
            <p:cNvPr id="18" name="Freeform 17">
              <a:extLst>
                <a:ext uri="{FF2B5EF4-FFF2-40B4-BE49-F238E27FC236}">
                  <a16:creationId xmlns:a16="http://schemas.microsoft.com/office/drawing/2014/main" id="{88F55170-2DD6-E644-A485-F8F6C4E7C282}"/>
                </a:ext>
              </a:extLst>
            </p:cNvPr>
            <p:cNvSpPr>
              <a:spLocks noChangeArrowheads="1"/>
            </p:cNvSpPr>
            <p:nvPr/>
          </p:nvSpPr>
          <p:spPr bwMode="auto">
            <a:xfrm>
              <a:off x="13294864" y="4290857"/>
              <a:ext cx="2384237" cy="611561"/>
            </a:xfrm>
            <a:custGeom>
              <a:avLst/>
              <a:gdLst>
                <a:gd name="connsiteX0" fmla="*/ 2302579 w 2384237"/>
                <a:gd name="connsiteY0" fmla="*/ 460750 h 611561"/>
                <a:gd name="connsiteX1" fmla="*/ 2325516 w 2384237"/>
                <a:gd name="connsiteY1" fmla="*/ 468382 h 611561"/>
                <a:gd name="connsiteX2" fmla="*/ 2384237 w 2384237"/>
                <a:gd name="connsiteY2" fmla="*/ 570117 h 611561"/>
                <a:gd name="connsiteX3" fmla="*/ 2325516 w 2384237"/>
                <a:gd name="connsiteY3" fmla="*/ 603376 h 611561"/>
                <a:gd name="connsiteX4" fmla="*/ 2266796 w 2384237"/>
                <a:gd name="connsiteY4" fmla="*/ 502294 h 611561"/>
                <a:gd name="connsiteX5" fmla="*/ 2302579 w 2384237"/>
                <a:gd name="connsiteY5" fmla="*/ 460750 h 611561"/>
                <a:gd name="connsiteX6" fmla="*/ 2063713 w 2384237"/>
                <a:gd name="connsiteY6" fmla="*/ 322770 h 611561"/>
                <a:gd name="connsiteX7" fmla="*/ 2086778 w 2384237"/>
                <a:gd name="connsiteY7" fmla="*/ 330779 h 611561"/>
                <a:gd name="connsiteX8" fmla="*/ 2145168 w 2384237"/>
                <a:gd name="connsiteY8" fmla="*/ 431862 h 611561"/>
                <a:gd name="connsiteX9" fmla="*/ 2086778 w 2384237"/>
                <a:gd name="connsiteY9" fmla="*/ 465773 h 611561"/>
                <a:gd name="connsiteX10" fmla="*/ 2027733 w 2384237"/>
                <a:gd name="connsiteY10" fmla="*/ 364039 h 611561"/>
                <a:gd name="connsiteX11" fmla="*/ 2063713 w 2384237"/>
                <a:gd name="connsiteY11" fmla="*/ 322770 h 611561"/>
                <a:gd name="connsiteX12" fmla="*/ 274846 w 2384237"/>
                <a:gd name="connsiteY12" fmla="*/ 164119 h 611561"/>
                <a:gd name="connsiteX13" fmla="*/ 297783 w 2384237"/>
                <a:gd name="connsiteY13" fmla="*/ 171780 h 611561"/>
                <a:gd name="connsiteX14" fmla="*/ 356504 w 2384237"/>
                <a:gd name="connsiteY14" fmla="*/ 273246 h 611561"/>
                <a:gd name="connsiteX15" fmla="*/ 297783 w 2384237"/>
                <a:gd name="connsiteY15" fmla="*/ 307285 h 611561"/>
                <a:gd name="connsiteX16" fmla="*/ 239063 w 2384237"/>
                <a:gd name="connsiteY16" fmla="*/ 205820 h 611561"/>
                <a:gd name="connsiteX17" fmla="*/ 274846 w 2384237"/>
                <a:gd name="connsiteY17" fmla="*/ 164119 h 611561"/>
                <a:gd name="connsiteX18" fmla="*/ 1130297 w 2384237"/>
                <a:gd name="connsiteY18" fmla="*/ 138472 h 611561"/>
                <a:gd name="connsiteX19" fmla="*/ 1153234 w 2384237"/>
                <a:gd name="connsiteY19" fmla="*/ 146512 h 611561"/>
                <a:gd name="connsiteX20" fmla="*/ 1211954 w 2384237"/>
                <a:gd name="connsiteY20" fmla="*/ 247977 h 611561"/>
                <a:gd name="connsiteX21" fmla="*/ 1153234 w 2384237"/>
                <a:gd name="connsiteY21" fmla="*/ 281362 h 611561"/>
                <a:gd name="connsiteX22" fmla="*/ 1094515 w 2384237"/>
                <a:gd name="connsiteY22" fmla="*/ 179897 h 611561"/>
                <a:gd name="connsiteX23" fmla="*/ 1130297 w 2384237"/>
                <a:gd name="connsiteY23" fmla="*/ 138472 h 611561"/>
                <a:gd name="connsiteX24" fmla="*/ 36057 w 2384237"/>
                <a:gd name="connsiteY24" fmla="*/ 26100 h 611561"/>
                <a:gd name="connsiteX25" fmla="*/ 58719 w 2384237"/>
                <a:gd name="connsiteY25" fmla="*/ 34109 h 611561"/>
                <a:gd name="connsiteX26" fmla="*/ 117439 w 2384237"/>
                <a:gd name="connsiteY26" fmla="*/ 135191 h 611561"/>
                <a:gd name="connsiteX27" fmla="*/ 58719 w 2384237"/>
                <a:gd name="connsiteY27" fmla="*/ 169103 h 611561"/>
                <a:gd name="connsiteX28" fmla="*/ 0 w 2384237"/>
                <a:gd name="connsiteY28" fmla="*/ 67368 h 611561"/>
                <a:gd name="connsiteX29" fmla="*/ 36057 w 2384237"/>
                <a:gd name="connsiteY29" fmla="*/ 26100 h 611561"/>
                <a:gd name="connsiteX30" fmla="*/ 891231 w 2384237"/>
                <a:gd name="connsiteY30" fmla="*/ 176 h 611561"/>
                <a:gd name="connsiteX31" fmla="*/ 914168 w 2384237"/>
                <a:gd name="connsiteY31" fmla="*/ 8185 h 611561"/>
                <a:gd name="connsiteX32" fmla="*/ 972889 w 2384237"/>
                <a:gd name="connsiteY32" fmla="*/ 109267 h 611561"/>
                <a:gd name="connsiteX33" fmla="*/ 914168 w 2384237"/>
                <a:gd name="connsiteY33" fmla="*/ 142526 h 611561"/>
                <a:gd name="connsiteX34" fmla="*/ 855448 w 2384237"/>
                <a:gd name="connsiteY34" fmla="*/ 41444 h 611561"/>
                <a:gd name="connsiteX35" fmla="*/ 891231 w 2384237"/>
                <a:gd name="connsiteY35" fmla="*/ 176 h 611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384237" h="611561">
                  <a:moveTo>
                    <a:pt x="2302579" y="460750"/>
                  </a:moveTo>
                  <a:cubicBezTo>
                    <a:pt x="2309613" y="461331"/>
                    <a:pt x="2317360" y="463817"/>
                    <a:pt x="2325516" y="468382"/>
                  </a:cubicBezTo>
                  <a:cubicBezTo>
                    <a:pt x="2358139" y="487294"/>
                    <a:pt x="2384237" y="532944"/>
                    <a:pt x="2384237" y="570117"/>
                  </a:cubicBezTo>
                  <a:cubicBezTo>
                    <a:pt x="2384237" y="607289"/>
                    <a:pt x="2358139" y="622288"/>
                    <a:pt x="2325516" y="603376"/>
                  </a:cubicBezTo>
                  <a:cubicBezTo>
                    <a:pt x="2292894" y="584464"/>
                    <a:pt x="2266796" y="539466"/>
                    <a:pt x="2266796" y="502294"/>
                  </a:cubicBezTo>
                  <a:cubicBezTo>
                    <a:pt x="2266796" y="474415"/>
                    <a:pt x="2281476" y="459008"/>
                    <a:pt x="2302579" y="460750"/>
                  </a:cubicBezTo>
                  <a:close/>
                  <a:moveTo>
                    <a:pt x="2063713" y="322770"/>
                  </a:moveTo>
                  <a:cubicBezTo>
                    <a:pt x="2070787" y="323443"/>
                    <a:pt x="2078577" y="326051"/>
                    <a:pt x="2086778" y="330779"/>
                  </a:cubicBezTo>
                  <a:cubicBezTo>
                    <a:pt x="2118925" y="349692"/>
                    <a:pt x="2145168" y="394689"/>
                    <a:pt x="2145168" y="431862"/>
                  </a:cubicBezTo>
                  <a:cubicBezTo>
                    <a:pt x="2145168" y="469034"/>
                    <a:pt x="2118925" y="484033"/>
                    <a:pt x="2086778" y="465773"/>
                  </a:cubicBezTo>
                  <a:cubicBezTo>
                    <a:pt x="2053975" y="446861"/>
                    <a:pt x="2027733" y="401211"/>
                    <a:pt x="2027733" y="364039"/>
                  </a:cubicBezTo>
                  <a:cubicBezTo>
                    <a:pt x="2027733" y="336160"/>
                    <a:pt x="2042494" y="320753"/>
                    <a:pt x="2063713" y="322770"/>
                  </a:cubicBezTo>
                  <a:close/>
                  <a:moveTo>
                    <a:pt x="274846" y="164119"/>
                  </a:moveTo>
                  <a:cubicBezTo>
                    <a:pt x="281880" y="164702"/>
                    <a:pt x="289628" y="167198"/>
                    <a:pt x="297783" y="171780"/>
                  </a:cubicBezTo>
                  <a:cubicBezTo>
                    <a:pt x="330406" y="190764"/>
                    <a:pt x="356504" y="236587"/>
                    <a:pt x="356504" y="273246"/>
                  </a:cubicBezTo>
                  <a:cubicBezTo>
                    <a:pt x="356504" y="311213"/>
                    <a:pt x="330406" y="325615"/>
                    <a:pt x="297783" y="307285"/>
                  </a:cubicBezTo>
                  <a:cubicBezTo>
                    <a:pt x="265161" y="288302"/>
                    <a:pt x="239063" y="243133"/>
                    <a:pt x="239063" y="205820"/>
                  </a:cubicBezTo>
                  <a:cubicBezTo>
                    <a:pt x="239063" y="177836"/>
                    <a:pt x="253743" y="162370"/>
                    <a:pt x="274846" y="164119"/>
                  </a:cubicBezTo>
                  <a:close/>
                  <a:moveTo>
                    <a:pt x="1130297" y="138472"/>
                  </a:moveTo>
                  <a:cubicBezTo>
                    <a:pt x="1137331" y="139147"/>
                    <a:pt x="1145079" y="141766"/>
                    <a:pt x="1153234" y="146512"/>
                  </a:cubicBezTo>
                  <a:cubicBezTo>
                    <a:pt x="1185856" y="164841"/>
                    <a:pt x="1211954" y="210664"/>
                    <a:pt x="1211954" y="247977"/>
                  </a:cubicBezTo>
                  <a:cubicBezTo>
                    <a:pt x="1211954" y="285290"/>
                    <a:pt x="1185856" y="299692"/>
                    <a:pt x="1153234" y="281362"/>
                  </a:cubicBezTo>
                  <a:cubicBezTo>
                    <a:pt x="1120612" y="262379"/>
                    <a:pt x="1094515" y="217210"/>
                    <a:pt x="1094515" y="179897"/>
                  </a:cubicBezTo>
                  <a:cubicBezTo>
                    <a:pt x="1094515" y="151912"/>
                    <a:pt x="1109195" y="136447"/>
                    <a:pt x="1130297" y="138472"/>
                  </a:cubicBezTo>
                  <a:close/>
                  <a:moveTo>
                    <a:pt x="36057" y="26100"/>
                  </a:moveTo>
                  <a:cubicBezTo>
                    <a:pt x="43061" y="26772"/>
                    <a:pt x="50727" y="29381"/>
                    <a:pt x="58719" y="34109"/>
                  </a:cubicBezTo>
                  <a:cubicBezTo>
                    <a:pt x="91341" y="53021"/>
                    <a:pt x="117439" y="98019"/>
                    <a:pt x="117439" y="135191"/>
                  </a:cubicBezTo>
                  <a:cubicBezTo>
                    <a:pt x="117439" y="172364"/>
                    <a:pt x="91341" y="187363"/>
                    <a:pt x="58719" y="169103"/>
                  </a:cubicBezTo>
                  <a:cubicBezTo>
                    <a:pt x="26750" y="150190"/>
                    <a:pt x="0" y="104540"/>
                    <a:pt x="0" y="67368"/>
                  </a:cubicBezTo>
                  <a:cubicBezTo>
                    <a:pt x="0" y="39489"/>
                    <a:pt x="15047" y="24082"/>
                    <a:pt x="36057" y="26100"/>
                  </a:cubicBezTo>
                  <a:close/>
                  <a:moveTo>
                    <a:pt x="891231" y="176"/>
                  </a:moveTo>
                  <a:cubicBezTo>
                    <a:pt x="898265" y="848"/>
                    <a:pt x="906013" y="3457"/>
                    <a:pt x="914168" y="8185"/>
                  </a:cubicBezTo>
                  <a:cubicBezTo>
                    <a:pt x="946138" y="27097"/>
                    <a:pt x="972889" y="72095"/>
                    <a:pt x="972889" y="109267"/>
                  </a:cubicBezTo>
                  <a:cubicBezTo>
                    <a:pt x="972889" y="146439"/>
                    <a:pt x="946138" y="161439"/>
                    <a:pt x="914168" y="142526"/>
                  </a:cubicBezTo>
                  <a:cubicBezTo>
                    <a:pt x="881546" y="123614"/>
                    <a:pt x="855448" y="78616"/>
                    <a:pt x="855448" y="41444"/>
                  </a:cubicBezTo>
                  <a:cubicBezTo>
                    <a:pt x="855448" y="13565"/>
                    <a:pt x="870128" y="-1842"/>
                    <a:pt x="891231" y="176"/>
                  </a:cubicBezTo>
                  <a:close/>
                </a:path>
              </a:pathLst>
            </a:custGeom>
            <a:solidFill>
              <a:schemeClr val="bg1"/>
            </a:solidFill>
            <a:ln>
              <a:noFill/>
            </a:ln>
            <a:effectLst/>
          </p:spPr>
          <p:txBody>
            <a:bodyPr wrap="square" anchor="ctr">
              <a:noAutofit/>
            </a:bodyPr>
            <a:lstStyle/>
            <a:p>
              <a:endParaRPr lang="en-US" sz="3266" dirty="0">
                <a:latin typeface="Lato Light" panose="020F0502020204030203" pitchFamily="34" charset="0"/>
              </a:endParaRPr>
            </a:p>
          </p:txBody>
        </p:sp>
        <p:grpSp>
          <p:nvGrpSpPr>
            <p:cNvPr id="19" name="Group 18">
              <a:extLst>
                <a:ext uri="{FF2B5EF4-FFF2-40B4-BE49-F238E27FC236}">
                  <a16:creationId xmlns:a16="http://schemas.microsoft.com/office/drawing/2014/main" id="{718A650C-E228-D547-B086-E86A3EC07A3F}"/>
                </a:ext>
              </a:extLst>
            </p:cNvPr>
            <p:cNvGrpSpPr/>
            <p:nvPr/>
          </p:nvGrpSpPr>
          <p:grpSpPr>
            <a:xfrm>
              <a:off x="9294123" y="1918282"/>
              <a:ext cx="4982923" cy="6267538"/>
              <a:chOff x="9294123" y="1918282"/>
              <a:chExt cx="4982923" cy="6267538"/>
            </a:xfrm>
          </p:grpSpPr>
          <p:sp>
            <p:nvSpPr>
              <p:cNvPr id="20" name="Freeform 117">
                <a:extLst>
                  <a:ext uri="{FF2B5EF4-FFF2-40B4-BE49-F238E27FC236}">
                    <a16:creationId xmlns:a16="http://schemas.microsoft.com/office/drawing/2014/main" id="{6919092C-0662-064E-9D3F-6CD2F44A647E}"/>
                  </a:ext>
                </a:extLst>
              </p:cNvPr>
              <p:cNvSpPr>
                <a:spLocks noChangeArrowheads="1"/>
              </p:cNvSpPr>
              <p:nvPr/>
            </p:nvSpPr>
            <p:spPr bwMode="auto">
              <a:xfrm>
                <a:off x="9294123" y="1918282"/>
                <a:ext cx="4982923" cy="6267538"/>
              </a:xfrm>
              <a:custGeom>
                <a:avLst/>
                <a:gdLst>
                  <a:gd name="T0" fmla="*/ 195 w 7631"/>
                  <a:gd name="T1" fmla="*/ 0 h 9597"/>
                  <a:gd name="T2" fmla="*/ 320 w 7631"/>
                  <a:gd name="T3" fmla="*/ 43 h 9597"/>
                  <a:gd name="T4" fmla="*/ 7311 w 7631"/>
                  <a:gd name="T5" fmla="*/ 4080 h 9597"/>
                  <a:gd name="T6" fmla="*/ 7630 w 7631"/>
                  <a:gd name="T7" fmla="*/ 4631 h 9597"/>
                  <a:gd name="T8" fmla="*/ 7630 w 7631"/>
                  <a:gd name="T9" fmla="*/ 9371 h 9597"/>
                  <a:gd name="T10" fmla="*/ 7467 w 7631"/>
                  <a:gd name="T11" fmla="*/ 9596 h 9597"/>
                  <a:gd name="T12" fmla="*/ 7442 w 7631"/>
                  <a:gd name="T13" fmla="*/ 9596 h 9597"/>
                  <a:gd name="T14" fmla="*/ 7311 w 7631"/>
                  <a:gd name="T15" fmla="*/ 9553 h 9597"/>
                  <a:gd name="T16" fmla="*/ 320 w 7631"/>
                  <a:gd name="T17" fmla="*/ 5517 h 9597"/>
                  <a:gd name="T18" fmla="*/ 0 w 7631"/>
                  <a:gd name="T19" fmla="*/ 4966 h 9597"/>
                  <a:gd name="T20" fmla="*/ 0 w 7631"/>
                  <a:gd name="T21" fmla="*/ 225 h 9597"/>
                  <a:gd name="T22" fmla="*/ 158 w 7631"/>
                  <a:gd name="T23" fmla="*/ 0 h 9597"/>
                  <a:gd name="T24" fmla="*/ 195 w 7631"/>
                  <a:gd name="T25" fmla="*/ 0 h 9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31" h="9597">
                    <a:moveTo>
                      <a:pt x="195" y="0"/>
                    </a:moveTo>
                    <a:cubicBezTo>
                      <a:pt x="233" y="3"/>
                      <a:pt x="276" y="17"/>
                      <a:pt x="320" y="43"/>
                    </a:cubicBezTo>
                    <a:lnTo>
                      <a:pt x="7311" y="4080"/>
                    </a:lnTo>
                    <a:cubicBezTo>
                      <a:pt x="7487" y="4182"/>
                      <a:pt x="7630" y="4429"/>
                      <a:pt x="7630" y="4631"/>
                    </a:cubicBezTo>
                    <a:lnTo>
                      <a:pt x="7630" y="9371"/>
                    </a:lnTo>
                    <a:cubicBezTo>
                      <a:pt x="7630" y="9509"/>
                      <a:pt x="7564" y="9590"/>
                      <a:pt x="7467" y="9596"/>
                    </a:cubicBezTo>
                    <a:lnTo>
                      <a:pt x="7442" y="9596"/>
                    </a:lnTo>
                    <a:cubicBezTo>
                      <a:pt x="7402" y="9594"/>
                      <a:pt x="7358" y="9580"/>
                      <a:pt x="7311" y="9553"/>
                    </a:cubicBezTo>
                    <a:lnTo>
                      <a:pt x="320" y="5517"/>
                    </a:lnTo>
                    <a:cubicBezTo>
                      <a:pt x="144" y="5415"/>
                      <a:pt x="0" y="5169"/>
                      <a:pt x="0" y="4966"/>
                    </a:cubicBezTo>
                    <a:lnTo>
                      <a:pt x="0" y="225"/>
                    </a:lnTo>
                    <a:cubicBezTo>
                      <a:pt x="0" y="90"/>
                      <a:pt x="64" y="9"/>
                      <a:pt x="158" y="0"/>
                    </a:cubicBezTo>
                    <a:lnTo>
                      <a:pt x="195" y="0"/>
                    </a:lnTo>
                  </a:path>
                </a:pathLst>
              </a:custGeom>
              <a:solidFill>
                <a:schemeClr val="accent1">
                  <a:lumMod val="75000"/>
                </a:schemeClr>
              </a:solidFill>
              <a:ln>
                <a:noFill/>
              </a:ln>
              <a:effectLst/>
            </p:spPr>
            <p:txBody>
              <a:bodyPr wrap="none" anchor="ctr"/>
              <a:lstStyle/>
              <a:p>
                <a:endParaRPr lang="en-US" sz="3266" dirty="0">
                  <a:latin typeface="Lato Light" panose="020F0502020204030203" pitchFamily="34" charset="0"/>
                </a:endParaRPr>
              </a:p>
            </p:txBody>
          </p:sp>
          <p:sp>
            <p:nvSpPr>
              <p:cNvPr id="21" name="Freeform 118">
                <a:extLst>
                  <a:ext uri="{FF2B5EF4-FFF2-40B4-BE49-F238E27FC236}">
                    <a16:creationId xmlns:a16="http://schemas.microsoft.com/office/drawing/2014/main" id="{BB789FA1-4FA0-9C44-B33B-C776909802F6}"/>
                  </a:ext>
                </a:extLst>
              </p:cNvPr>
              <p:cNvSpPr>
                <a:spLocks noChangeArrowheads="1"/>
              </p:cNvSpPr>
              <p:nvPr/>
            </p:nvSpPr>
            <p:spPr bwMode="auto">
              <a:xfrm>
                <a:off x="9294123" y="1918282"/>
                <a:ext cx="4982923" cy="3228820"/>
              </a:xfrm>
              <a:custGeom>
                <a:avLst/>
                <a:gdLst>
                  <a:gd name="T0" fmla="*/ 195 w 7631"/>
                  <a:gd name="T1" fmla="*/ 0 h 4945"/>
                  <a:gd name="T2" fmla="*/ 320 w 7631"/>
                  <a:gd name="T3" fmla="*/ 43 h 4945"/>
                  <a:gd name="T4" fmla="*/ 7311 w 7631"/>
                  <a:gd name="T5" fmla="*/ 4080 h 4945"/>
                  <a:gd name="T6" fmla="*/ 7630 w 7631"/>
                  <a:gd name="T7" fmla="*/ 4631 h 4945"/>
                  <a:gd name="T8" fmla="*/ 7630 w 7631"/>
                  <a:gd name="T9" fmla="*/ 4944 h 4945"/>
                  <a:gd name="T10" fmla="*/ 0 w 7631"/>
                  <a:gd name="T11" fmla="*/ 538 h 4945"/>
                  <a:gd name="T12" fmla="*/ 0 w 7631"/>
                  <a:gd name="T13" fmla="*/ 225 h 4945"/>
                  <a:gd name="T14" fmla="*/ 158 w 7631"/>
                  <a:gd name="T15" fmla="*/ 0 h 4945"/>
                  <a:gd name="T16" fmla="*/ 195 w 7631"/>
                  <a:gd name="T17" fmla="*/ 0 h 4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31" h="4945">
                    <a:moveTo>
                      <a:pt x="195" y="0"/>
                    </a:moveTo>
                    <a:cubicBezTo>
                      <a:pt x="233" y="3"/>
                      <a:pt x="276" y="17"/>
                      <a:pt x="320" y="43"/>
                    </a:cubicBezTo>
                    <a:lnTo>
                      <a:pt x="7311" y="4080"/>
                    </a:lnTo>
                    <a:cubicBezTo>
                      <a:pt x="7487" y="4182"/>
                      <a:pt x="7630" y="4429"/>
                      <a:pt x="7630" y="4631"/>
                    </a:cubicBezTo>
                    <a:lnTo>
                      <a:pt x="7630" y="4944"/>
                    </a:lnTo>
                    <a:lnTo>
                      <a:pt x="0" y="538"/>
                    </a:lnTo>
                    <a:lnTo>
                      <a:pt x="0" y="225"/>
                    </a:lnTo>
                    <a:cubicBezTo>
                      <a:pt x="0" y="90"/>
                      <a:pt x="64" y="9"/>
                      <a:pt x="158" y="0"/>
                    </a:cubicBezTo>
                    <a:lnTo>
                      <a:pt x="195" y="0"/>
                    </a:lnTo>
                  </a:path>
                </a:pathLst>
              </a:custGeom>
              <a:solidFill>
                <a:schemeClr val="accent1">
                  <a:lumMod val="60000"/>
                  <a:lumOff val="40000"/>
                </a:schemeClr>
              </a:solidFill>
              <a:ln>
                <a:noFill/>
              </a:ln>
              <a:effectLst/>
            </p:spPr>
            <p:txBody>
              <a:bodyPr wrap="none" anchor="ctr"/>
              <a:lstStyle/>
              <a:p>
                <a:endParaRPr lang="en-US" sz="3266" dirty="0">
                  <a:latin typeface="Lato Light" panose="020F0502020204030203" pitchFamily="34" charset="0"/>
                </a:endParaRPr>
              </a:p>
            </p:txBody>
          </p:sp>
          <p:sp>
            <p:nvSpPr>
              <p:cNvPr id="22" name="Freeform 112">
                <a:extLst>
                  <a:ext uri="{FF2B5EF4-FFF2-40B4-BE49-F238E27FC236}">
                    <a16:creationId xmlns:a16="http://schemas.microsoft.com/office/drawing/2014/main" id="{A83657D1-5AB1-0A4D-958D-7DCE0F9CEB8C}"/>
                  </a:ext>
                </a:extLst>
              </p:cNvPr>
              <p:cNvSpPr>
                <a:spLocks noChangeArrowheads="1"/>
              </p:cNvSpPr>
              <p:nvPr/>
            </p:nvSpPr>
            <p:spPr bwMode="auto">
              <a:xfrm>
                <a:off x="10032811" y="2422336"/>
                <a:ext cx="2546187" cy="1578406"/>
              </a:xfrm>
              <a:custGeom>
                <a:avLst/>
                <a:gdLst>
                  <a:gd name="T0" fmla="*/ 3799 w 3897"/>
                  <a:gd name="T1" fmla="*/ 2414 h 2415"/>
                  <a:gd name="T2" fmla="*/ 3797 w 3897"/>
                  <a:gd name="T3" fmla="*/ 2413 h 2415"/>
                  <a:gd name="T4" fmla="*/ 99 w 3897"/>
                  <a:gd name="T5" fmla="*/ 277 h 2415"/>
                  <a:gd name="T6" fmla="*/ 0 w 3897"/>
                  <a:gd name="T7" fmla="*/ 87 h 2415"/>
                  <a:gd name="T8" fmla="*/ 60 w 3897"/>
                  <a:gd name="T9" fmla="*/ 0 h 2415"/>
                  <a:gd name="T10" fmla="*/ 99 w 3897"/>
                  <a:gd name="T11" fmla="*/ 12 h 2415"/>
                  <a:gd name="T12" fmla="*/ 3797 w 3897"/>
                  <a:gd name="T13" fmla="*/ 2148 h 2415"/>
                  <a:gd name="T14" fmla="*/ 3896 w 3897"/>
                  <a:gd name="T15" fmla="*/ 2337 h 2415"/>
                  <a:gd name="T16" fmla="*/ 3868 w 3897"/>
                  <a:gd name="T17" fmla="*/ 2414 h 2415"/>
                  <a:gd name="T18" fmla="*/ 3799 w 3897"/>
                  <a:gd name="T19" fmla="*/ 2414 h 2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97" h="2415">
                    <a:moveTo>
                      <a:pt x="3799" y="2414"/>
                    </a:moveTo>
                    <a:cubicBezTo>
                      <a:pt x="3799" y="2413"/>
                      <a:pt x="3798" y="2413"/>
                      <a:pt x="3797" y="2413"/>
                    </a:cubicBezTo>
                    <a:lnTo>
                      <a:pt x="99" y="277"/>
                    </a:lnTo>
                    <a:cubicBezTo>
                      <a:pt x="44" y="245"/>
                      <a:pt x="0" y="161"/>
                      <a:pt x="0" y="87"/>
                    </a:cubicBezTo>
                    <a:cubicBezTo>
                      <a:pt x="0" y="33"/>
                      <a:pt x="24" y="0"/>
                      <a:pt x="60" y="0"/>
                    </a:cubicBezTo>
                    <a:cubicBezTo>
                      <a:pt x="72" y="0"/>
                      <a:pt x="85" y="4"/>
                      <a:pt x="99" y="12"/>
                    </a:cubicBezTo>
                    <a:lnTo>
                      <a:pt x="3797" y="2148"/>
                    </a:lnTo>
                    <a:cubicBezTo>
                      <a:pt x="3852" y="2179"/>
                      <a:pt x="3896" y="2264"/>
                      <a:pt x="3896" y="2337"/>
                    </a:cubicBezTo>
                    <a:cubicBezTo>
                      <a:pt x="3896" y="2373"/>
                      <a:pt x="3886" y="2400"/>
                      <a:pt x="3868" y="2414"/>
                    </a:cubicBezTo>
                    <a:lnTo>
                      <a:pt x="3799" y="2414"/>
                    </a:lnTo>
                  </a:path>
                </a:pathLst>
              </a:custGeom>
              <a:solidFill>
                <a:schemeClr val="accent1">
                  <a:lumMod val="20000"/>
                  <a:lumOff val="80000"/>
                </a:schemeClr>
              </a:solidFill>
              <a:ln>
                <a:noFill/>
              </a:ln>
              <a:effectLst/>
            </p:spPr>
            <p:txBody>
              <a:bodyPr wrap="none" anchor="ctr"/>
              <a:lstStyle/>
              <a:p>
                <a:endParaRPr lang="en-US" sz="3266" dirty="0">
                  <a:latin typeface="Lato Light" panose="020F0502020204030203" pitchFamily="34" charset="0"/>
                </a:endParaRPr>
              </a:p>
            </p:txBody>
          </p:sp>
        </p:grpSp>
      </p:grpSp>
      <p:sp>
        <p:nvSpPr>
          <p:cNvPr id="29" name="TextBox 28">
            <a:extLst>
              <a:ext uri="{FF2B5EF4-FFF2-40B4-BE49-F238E27FC236}">
                <a16:creationId xmlns:a16="http://schemas.microsoft.com/office/drawing/2014/main" id="{E9A51E8C-46FC-B340-AAFA-F8BDB545B8AF}"/>
              </a:ext>
            </a:extLst>
          </p:cNvPr>
          <p:cNvSpPr txBox="1"/>
          <p:nvPr/>
        </p:nvSpPr>
        <p:spPr>
          <a:xfrm>
            <a:off x="1842301" y="5133411"/>
            <a:ext cx="1471493"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3</a:t>
            </a:r>
          </a:p>
        </p:txBody>
      </p:sp>
      <p:sp>
        <p:nvSpPr>
          <p:cNvPr id="30" name="Subtitle 2">
            <a:extLst>
              <a:ext uri="{FF2B5EF4-FFF2-40B4-BE49-F238E27FC236}">
                <a16:creationId xmlns:a16="http://schemas.microsoft.com/office/drawing/2014/main" id="{4EBF4836-3F4A-EC42-8E02-942039D55923}"/>
              </a:ext>
            </a:extLst>
          </p:cNvPr>
          <p:cNvSpPr txBox="1">
            <a:spLocks/>
          </p:cNvSpPr>
          <p:nvPr/>
        </p:nvSpPr>
        <p:spPr>
          <a:xfrm>
            <a:off x="1842301" y="5521491"/>
            <a:ext cx="2106860" cy="71577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t>
            </a:r>
          </a:p>
        </p:txBody>
      </p:sp>
      <p:sp>
        <p:nvSpPr>
          <p:cNvPr id="31" name="TextBox 30">
            <a:extLst>
              <a:ext uri="{FF2B5EF4-FFF2-40B4-BE49-F238E27FC236}">
                <a16:creationId xmlns:a16="http://schemas.microsoft.com/office/drawing/2014/main" id="{4CB491AB-10DB-5044-B4D9-DFB900B2C546}"/>
              </a:ext>
            </a:extLst>
          </p:cNvPr>
          <p:cNvSpPr txBox="1"/>
          <p:nvPr/>
        </p:nvSpPr>
        <p:spPr>
          <a:xfrm>
            <a:off x="1842301" y="1642327"/>
            <a:ext cx="1439433"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1</a:t>
            </a:r>
          </a:p>
        </p:txBody>
      </p:sp>
      <p:sp>
        <p:nvSpPr>
          <p:cNvPr id="32" name="Subtitle 2">
            <a:extLst>
              <a:ext uri="{FF2B5EF4-FFF2-40B4-BE49-F238E27FC236}">
                <a16:creationId xmlns:a16="http://schemas.microsoft.com/office/drawing/2014/main" id="{588838C6-D689-FC47-9149-5AAA400C075C}"/>
              </a:ext>
            </a:extLst>
          </p:cNvPr>
          <p:cNvSpPr txBox="1">
            <a:spLocks/>
          </p:cNvSpPr>
          <p:nvPr/>
        </p:nvSpPr>
        <p:spPr>
          <a:xfrm>
            <a:off x="1842301" y="2030406"/>
            <a:ext cx="2106860" cy="71577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t>
            </a:r>
          </a:p>
        </p:txBody>
      </p:sp>
      <p:sp>
        <p:nvSpPr>
          <p:cNvPr id="33" name="TextBox 32">
            <a:extLst>
              <a:ext uri="{FF2B5EF4-FFF2-40B4-BE49-F238E27FC236}">
                <a16:creationId xmlns:a16="http://schemas.microsoft.com/office/drawing/2014/main" id="{CCFECD24-5A74-DD4B-8BCF-DE05481EDF25}"/>
              </a:ext>
            </a:extLst>
          </p:cNvPr>
          <p:cNvSpPr txBox="1"/>
          <p:nvPr/>
        </p:nvSpPr>
        <p:spPr>
          <a:xfrm>
            <a:off x="1842301" y="3387869"/>
            <a:ext cx="1471493"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2</a:t>
            </a:r>
          </a:p>
        </p:txBody>
      </p:sp>
      <p:sp>
        <p:nvSpPr>
          <p:cNvPr id="34" name="Subtitle 2">
            <a:extLst>
              <a:ext uri="{FF2B5EF4-FFF2-40B4-BE49-F238E27FC236}">
                <a16:creationId xmlns:a16="http://schemas.microsoft.com/office/drawing/2014/main" id="{EAAAF7D3-473F-7F45-AAB1-5615ED1469E8}"/>
              </a:ext>
            </a:extLst>
          </p:cNvPr>
          <p:cNvSpPr txBox="1">
            <a:spLocks/>
          </p:cNvSpPr>
          <p:nvPr/>
        </p:nvSpPr>
        <p:spPr>
          <a:xfrm>
            <a:off x="1842301" y="3775948"/>
            <a:ext cx="2106860" cy="71577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t>
            </a:r>
          </a:p>
        </p:txBody>
      </p:sp>
      <p:sp>
        <p:nvSpPr>
          <p:cNvPr id="35" name="Oval 34">
            <a:extLst>
              <a:ext uri="{FF2B5EF4-FFF2-40B4-BE49-F238E27FC236}">
                <a16:creationId xmlns:a16="http://schemas.microsoft.com/office/drawing/2014/main" id="{93172373-1B39-DD44-99C7-555B64D0753B}"/>
              </a:ext>
            </a:extLst>
          </p:cNvPr>
          <p:cNvSpPr>
            <a:spLocks noChangeAspect="1"/>
          </p:cNvSpPr>
          <p:nvPr/>
        </p:nvSpPr>
        <p:spPr>
          <a:xfrm>
            <a:off x="765368" y="5305386"/>
            <a:ext cx="786384" cy="78638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6" name="Oval 35">
            <a:extLst>
              <a:ext uri="{FF2B5EF4-FFF2-40B4-BE49-F238E27FC236}">
                <a16:creationId xmlns:a16="http://schemas.microsoft.com/office/drawing/2014/main" id="{976FF687-DA9B-9942-A031-DC14D8FB10FC}"/>
              </a:ext>
            </a:extLst>
          </p:cNvPr>
          <p:cNvSpPr>
            <a:spLocks noChangeAspect="1"/>
          </p:cNvSpPr>
          <p:nvPr/>
        </p:nvSpPr>
        <p:spPr>
          <a:xfrm>
            <a:off x="765368" y="1814302"/>
            <a:ext cx="786384" cy="7863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7" name="Oval 36">
            <a:extLst>
              <a:ext uri="{FF2B5EF4-FFF2-40B4-BE49-F238E27FC236}">
                <a16:creationId xmlns:a16="http://schemas.microsoft.com/office/drawing/2014/main" id="{B86D733F-0F88-C348-BC96-27348759E8C6}"/>
              </a:ext>
            </a:extLst>
          </p:cNvPr>
          <p:cNvSpPr>
            <a:spLocks noChangeAspect="1"/>
          </p:cNvSpPr>
          <p:nvPr/>
        </p:nvSpPr>
        <p:spPr>
          <a:xfrm>
            <a:off x="765368" y="3559844"/>
            <a:ext cx="786384" cy="7863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8" name="Freeform 630">
            <a:extLst>
              <a:ext uri="{FF2B5EF4-FFF2-40B4-BE49-F238E27FC236}">
                <a16:creationId xmlns:a16="http://schemas.microsoft.com/office/drawing/2014/main" id="{53A7D3C0-CE9E-2E4F-A5E5-93DC80A50EBD}"/>
              </a:ext>
            </a:extLst>
          </p:cNvPr>
          <p:cNvSpPr>
            <a:spLocks noChangeAspect="1"/>
          </p:cNvSpPr>
          <p:nvPr/>
        </p:nvSpPr>
        <p:spPr bwMode="auto">
          <a:xfrm>
            <a:off x="973600" y="2016515"/>
            <a:ext cx="369919" cy="381957"/>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US" sz="900" dirty="0">
              <a:latin typeface="Lato Light" panose="020F0502020204030203" pitchFamily="34" charset="0"/>
            </a:endParaRPr>
          </a:p>
        </p:txBody>
      </p:sp>
      <p:sp>
        <p:nvSpPr>
          <p:cNvPr id="39" name="Freeform 621">
            <a:extLst>
              <a:ext uri="{FF2B5EF4-FFF2-40B4-BE49-F238E27FC236}">
                <a16:creationId xmlns:a16="http://schemas.microsoft.com/office/drawing/2014/main" id="{5731EA2A-3001-AF44-B69C-BA5F5A888A6C}"/>
              </a:ext>
            </a:extLst>
          </p:cNvPr>
          <p:cNvSpPr>
            <a:spLocks noChangeAspect="1"/>
          </p:cNvSpPr>
          <p:nvPr/>
        </p:nvSpPr>
        <p:spPr bwMode="auto">
          <a:xfrm>
            <a:off x="998991" y="5488994"/>
            <a:ext cx="317386" cy="419168"/>
          </a:xfrm>
          <a:custGeom>
            <a:avLst/>
            <a:gdLst>
              <a:gd name="T0" fmla="*/ 179020 w 136167"/>
              <a:gd name="T1" fmla="*/ 1334949 h 180612"/>
              <a:gd name="T2" fmla="*/ 358033 w 136167"/>
              <a:gd name="T3" fmla="*/ 1504540 h 180612"/>
              <a:gd name="T4" fmla="*/ 1259759 w 136167"/>
              <a:gd name="T5" fmla="*/ 2398191 h 180612"/>
              <a:gd name="T6" fmla="*/ 2161468 w 136167"/>
              <a:gd name="T7" fmla="*/ 1504540 h 180612"/>
              <a:gd name="T8" fmla="*/ 2340481 w 136167"/>
              <a:gd name="T9" fmla="*/ 1334949 h 180612"/>
              <a:gd name="T10" fmla="*/ 2519501 w 136167"/>
              <a:gd name="T11" fmla="*/ 1504540 h 180612"/>
              <a:gd name="T12" fmla="*/ 1750291 w 136167"/>
              <a:gd name="T13" fmla="*/ 2652983 h 180612"/>
              <a:gd name="T14" fmla="*/ 1432910 w 136167"/>
              <a:gd name="T15" fmla="*/ 2716037 h 180612"/>
              <a:gd name="T16" fmla="*/ 1432910 w 136167"/>
              <a:gd name="T17" fmla="*/ 3122271 h 180612"/>
              <a:gd name="T18" fmla="*/ 1259871 w 136167"/>
              <a:gd name="T19" fmla="*/ 3301713 h 180612"/>
              <a:gd name="T20" fmla="*/ 1086828 w 136167"/>
              <a:gd name="T21" fmla="*/ 3122271 h 180612"/>
              <a:gd name="T22" fmla="*/ 1086828 w 136167"/>
              <a:gd name="T23" fmla="*/ 2715886 h 180612"/>
              <a:gd name="T24" fmla="*/ 772005 w 136167"/>
              <a:gd name="T25" fmla="*/ 2652983 h 180612"/>
              <a:gd name="T26" fmla="*/ 0 w 136167"/>
              <a:gd name="T27" fmla="*/ 1504540 h 180612"/>
              <a:gd name="T28" fmla="*/ 179020 w 136167"/>
              <a:gd name="T29" fmla="*/ 1334949 h 180612"/>
              <a:gd name="T30" fmla="*/ 1245088 w 136167"/>
              <a:gd name="T31" fmla="*/ 355271 h 180612"/>
              <a:gd name="T32" fmla="*/ 973948 w 136167"/>
              <a:gd name="T33" fmla="*/ 625018 h 180612"/>
              <a:gd name="T34" fmla="*/ 973948 w 136167"/>
              <a:gd name="T35" fmla="*/ 1486901 h 180612"/>
              <a:gd name="T36" fmla="*/ 1245088 w 136167"/>
              <a:gd name="T37" fmla="*/ 1756649 h 180612"/>
              <a:gd name="T38" fmla="*/ 1516211 w 136167"/>
              <a:gd name="T39" fmla="*/ 1486901 h 180612"/>
              <a:gd name="T40" fmla="*/ 1516211 w 136167"/>
              <a:gd name="T41" fmla="*/ 625018 h 180612"/>
              <a:gd name="T42" fmla="*/ 1245088 w 136167"/>
              <a:gd name="T43" fmla="*/ 355271 h 180612"/>
              <a:gd name="T44" fmla="*/ 1245088 w 136167"/>
              <a:gd name="T45" fmla="*/ 0 h 180612"/>
              <a:gd name="T46" fmla="*/ 1873298 w 136167"/>
              <a:gd name="T47" fmla="*/ 625018 h 180612"/>
              <a:gd name="T48" fmla="*/ 1873298 w 136167"/>
              <a:gd name="T49" fmla="*/ 1486901 h 180612"/>
              <a:gd name="T50" fmla="*/ 1245088 w 136167"/>
              <a:gd name="T51" fmla="*/ 2111913 h 180612"/>
              <a:gd name="T52" fmla="*/ 616850 w 136167"/>
              <a:gd name="T53" fmla="*/ 1486901 h 180612"/>
              <a:gd name="T54" fmla="*/ 616850 w 136167"/>
              <a:gd name="T55" fmla="*/ 625018 h 180612"/>
              <a:gd name="T56" fmla="*/ 1245088 w 136167"/>
              <a:gd name="T57" fmla="*/ 0 h 18061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36167" h="180612">
                <a:moveTo>
                  <a:pt x="9675" y="73025"/>
                </a:moveTo>
                <a:cubicBezTo>
                  <a:pt x="15050" y="73025"/>
                  <a:pt x="19350" y="77307"/>
                  <a:pt x="19350" y="82302"/>
                </a:cubicBezTo>
                <a:cubicBezTo>
                  <a:pt x="19350" y="109421"/>
                  <a:pt x="41208" y="131187"/>
                  <a:pt x="68084" y="131187"/>
                </a:cubicBezTo>
                <a:cubicBezTo>
                  <a:pt x="94959" y="131187"/>
                  <a:pt x="116817" y="109421"/>
                  <a:pt x="116817" y="82302"/>
                </a:cubicBezTo>
                <a:cubicBezTo>
                  <a:pt x="116817" y="77307"/>
                  <a:pt x="121117" y="73025"/>
                  <a:pt x="126492" y="73025"/>
                </a:cubicBezTo>
                <a:cubicBezTo>
                  <a:pt x="131867" y="73025"/>
                  <a:pt x="136167" y="77307"/>
                  <a:pt x="136167" y="82302"/>
                </a:cubicBezTo>
                <a:cubicBezTo>
                  <a:pt x="136167" y="110670"/>
                  <a:pt x="119034" y="134822"/>
                  <a:pt x="94595" y="145125"/>
                </a:cubicBezTo>
                <a:lnTo>
                  <a:pt x="77442" y="148574"/>
                </a:lnTo>
                <a:lnTo>
                  <a:pt x="77442" y="170796"/>
                </a:lnTo>
                <a:cubicBezTo>
                  <a:pt x="77442" y="176249"/>
                  <a:pt x="73286" y="180612"/>
                  <a:pt x="68090" y="180612"/>
                </a:cubicBezTo>
                <a:cubicBezTo>
                  <a:pt x="62895" y="180612"/>
                  <a:pt x="58738" y="176249"/>
                  <a:pt x="58738" y="170796"/>
                </a:cubicBezTo>
                <a:lnTo>
                  <a:pt x="58738" y="148566"/>
                </a:lnTo>
                <a:lnTo>
                  <a:pt x="41723" y="145125"/>
                </a:lnTo>
                <a:cubicBezTo>
                  <a:pt x="17334" y="134822"/>
                  <a:pt x="0" y="110670"/>
                  <a:pt x="0" y="82302"/>
                </a:cubicBezTo>
                <a:cubicBezTo>
                  <a:pt x="0" y="77307"/>
                  <a:pt x="4300" y="73025"/>
                  <a:pt x="9675" y="73025"/>
                </a:cubicBezTo>
                <a:close/>
                <a:moveTo>
                  <a:pt x="67291" y="19434"/>
                </a:moveTo>
                <a:cubicBezTo>
                  <a:pt x="59428" y="19434"/>
                  <a:pt x="52637" y="25913"/>
                  <a:pt x="52637" y="34190"/>
                </a:cubicBezTo>
                <a:lnTo>
                  <a:pt x="52637" y="81337"/>
                </a:lnTo>
                <a:cubicBezTo>
                  <a:pt x="52637" y="89255"/>
                  <a:pt x="59428" y="96093"/>
                  <a:pt x="67291" y="96093"/>
                </a:cubicBezTo>
                <a:cubicBezTo>
                  <a:pt x="75511" y="96093"/>
                  <a:pt x="81944" y="89255"/>
                  <a:pt x="81944" y="81337"/>
                </a:cubicBezTo>
                <a:lnTo>
                  <a:pt x="81944" y="34190"/>
                </a:lnTo>
                <a:cubicBezTo>
                  <a:pt x="81944" y="25913"/>
                  <a:pt x="75511" y="19434"/>
                  <a:pt x="67291" y="19434"/>
                </a:cubicBezTo>
                <a:close/>
                <a:moveTo>
                  <a:pt x="67291" y="0"/>
                </a:moveTo>
                <a:cubicBezTo>
                  <a:pt x="86232" y="0"/>
                  <a:pt x="101243" y="15476"/>
                  <a:pt x="101243" y="34190"/>
                </a:cubicBezTo>
                <a:lnTo>
                  <a:pt x="101243" y="81337"/>
                </a:lnTo>
                <a:cubicBezTo>
                  <a:pt x="101243" y="100051"/>
                  <a:pt x="86232" y="115527"/>
                  <a:pt x="67291" y="115527"/>
                </a:cubicBezTo>
                <a:cubicBezTo>
                  <a:pt x="48706" y="115527"/>
                  <a:pt x="33338" y="100051"/>
                  <a:pt x="33338" y="81337"/>
                </a:cubicBezTo>
                <a:lnTo>
                  <a:pt x="33338" y="34190"/>
                </a:lnTo>
                <a:cubicBezTo>
                  <a:pt x="33338" y="15476"/>
                  <a:pt x="48706" y="0"/>
                  <a:pt x="67291" y="0"/>
                </a:cubicBezTo>
                <a:close/>
              </a:path>
            </a:pathLst>
          </a:custGeom>
          <a:solidFill>
            <a:schemeClr val="bg1"/>
          </a:solidFill>
          <a:ln>
            <a:noFill/>
          </a:ln>
        </p:spPr>
        <p:txBody>
          <a:bodyPr anchor="ctr"/>
          <a:lstStyle/>
          <a:p>
            <a:endParaRPr lang="en-US" sz="900" dirty="0">
              <a:latin typeface="Lato Light" panose="020F0502020204030203" pitchFamily="34" charset="0"/>
            </a:endParaRPr>
          </a:p>
        </p:txBody>
      </p:sp>
      <p:sp>
        <p:nvSpPr>
          <p:cNvPr id="40" name="Freeform 624">
            <a:extLst>
              <a:ext uri="{FF2B5EF4-FFF2-40B4-BE49-F238E27FC236}">
                <a16:creationId xmlns:a16="http://schemas.microsoft.com/office/drawing/2014/main" id="{9A6A8030-482E-7D47-8A2C-7C644C6E3369}"/>
              </a:ext>
            </a:extLst>
          </p:cNvPr>
          <p:cNvSpPr>
            <a:spLocks noChangeAspect="1"/>
          </p:cNvSpPr>
          <p:nvPr/>
        </p:nvSpPr>
        <p:spPr bwMode="auto">
          <a:xfrm>
            <a:off x="960140" y="3832101"/>
            <a:ext cx="395089" cy="241869"/>
          </a:xfrm>
          <a:custGeom>
            <a:avLst/>
            <a:gdLst>
              <a:gd name="T0" fmla="*/ 1228470 w 169501"/>
              <a:gd name="T1" fmla="*/ 434138 h 104417"/>
              <a:gd name="T2" fmla="*/ 1401228 w 169501"/>
              <a:gd name="T3" fmla="*/ 608950 h 104417"/>
              <a:gd name="T4" fmla="*/ 1401228 w 169501"/>
              <a:gd name="T5" fmla="*/ 1236931 h 104417"/>
              <a:gd name="T6" fmla="*/ 1228470 w 169501"/>
              <a:gd name="T7" fmla="*/ 1411734 h 104417"/>
              <a:gd name="T8" fmla="*/ 1055715 w 169501"/>
              <a:gd name="T9" fmla="*/ 1236931 h 104417"/>
              <a:gd name="T10" fmla="*/ 1055715 w 169501"/>
              <a:gd name="T11" fmla="*/ 608950 h 104417"/>
              <a:gd name="T12" fmla="*/ 1228470 w 169501"/>
              <a:gd name="T13" fmla="*/ 434138 h 104417"/>
              <a:gd name="T14" fmla="*/ 682327 w 169501"/>
              <a:gd name="T15" fmla="*/ 434138 h 104417"/>
              <a:gd name="T16" fmla="*/ 872942 w 169501"/>
              <a:gd name="T17" fmla="*/ 608950 h 104417"/>
              <a:gd name="T18" fmla="*/ 872942 w 169501"/>
              <a:gd name="T19" fmla="*/ 1236931 h 104417"/>
              <a:gd name="T20" fmla="*/ 682327 w 169501"/>
              <a:gd name="T21" fmla="*/ 1411734 h 104417"/>
              <a:gd name="T22" fmla="*/ 498525 w 169501"/>
              <a:gd name="T23" fmla="*/ 1236931 h 104417"/>
              <a:gd name="T24" fmla="*/ 498525 w 169501"/>
              <a:gd name="T25" fmla="*/ 608950 h 104417"/>
              <a:gd name="T26" fmla="*/ 682327 w 169501"/>
              <a:gd name="T27" fmla="*/ 434138 h 104417"/>
              <a:gd name="T28" fmla="*/ 367182 w 169501"/>
              <a:gd name="T29" fmla="*/ 352060 h 104417"/>
              <a:gd name="T30" fmla="*/ 367182 w 169501"/>
              <a:gd name="T31" fmla="*/ 1551663 h 104417"/>
              <a:gd name="T32" fmla="*/ 2536941 w 169501"/>
              <a:gd name="T33" fmla="*/ 1551663 h 104417"/>
              <a:gd name="T34" fmla="*/ 2536941 w 169501"/>
              <a:gd name="T35" fmla="*/ 1290896 h 104417"/>
              <a:gd name="T36" fmla="*/ 2683818 w 169501"/>
              <a:gd name="T37" fmla="*/ 1108335 h 104417"/>
              <a:gd name="T38" fmla="*/ 2763934 w 169501"/>
              <a:gd name="T39" fmla="*/ 1108335 h 104417"/>
              <a:gd name="T40" fmla="*/ 2763934 w 169501"/>
              <a:gd name="T41" fmla="*/ 749755 h 104417"/>
              <a:gd name="T42" fmla="*/ 2683818 w 169501"/>
              <a:gd name="T43" fmla="*/ 749755 h 104417"/>
              <a:gd name="T44" fmla="*/ 2536941 w 169501"/>
              <a:gd name="T45" fmla="*/ 586776 h 104417"/>
              <a:gd name="T46" fmla="*/ 2536941 w 169501"/>
              <a:gd name="T47" fmla="*/ 352060 h 104417"/>
              <a:gd name="T48" fmla="*/ 166901 w 169501"/>
              <a:gd name="T49" fmla="*/ 0 h 104417"/>
              <a:gd name="T50" fmla="*/ 2683818 w 169501"/>
              <a:gd name="T51" fmla="*/ 0 h 104417"/>
              <a:gd name="T52" fmla="*/ 2904140 w 169501"/>
              <a:gd name="T53" fmla="*/ 169499 h 104417"/>
              <a:gd name="T54" fmla="*/ 2904140 w 169501"/>
              <a:gd name="T55" fmla="*/ 397696 h 104417"/>
              <a:gd name="T56" fmla="*/ 2897475 w 169501"/>
              <a:gd name="T57" fmla="*/ 397696 h 104417"/>
              <a:gd name="T58" fmla="*/ 3131133 w 169501"/>
              <a:gd name="T59" fmla="*/ 586776 h 104417"/>
              <a:gd name="T60" fmla="*/ 3131133 w 169501"/>
              <a:gd name="T61" fmla="*/ 1290896 h 104417"/>
              <a:gd name="T62" fmla="*/ 2897475 w 169501"/>
              <a:gd name="T63" fmla="*/ 1460395 h 104417"/>
              <a:gd name="T64" fmla="*/ 2904140 w 169501"/>
              <a:gd name="T65" fmla="*/ 1460395 h 104417"/>
              <a:gd name="T66" fmla="*/ 2904140 w 169501"/>
              <a:gd name="T67" fmla="*/ 1714659 h 104417"/>
              <a:gd name="T68" fmla="*/ 2683818 w 169501"/>
              <a:gd name="T69" fmla="*/ 1903723 h 104417"/>
              <a:gd name="T70" fmla="*/ 166901 w 169501"/>
              <a:gd name="T71" fmla="*/ 1903723 h 104417"/>
              <a:gd name="T72" fmla="*/ 0 w 169501"/>
              <a:gd name="T73" fmla="*/ 1714659 h 104417"/>
              <a:gd name="T74" fmla="*/ 0 w 169501"/>
              <a:gd name="T75" fmla="*/ 169499 h 104417"/>
              <a:gd name="T76" fmla="*/ 166901 w 169501"/>
              <a:gd name="T77" fmla="*/ 0 h 1044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69501" h="104417">
                <a:moveTo>
                  <a:pt x="66502" y="23812"/>
                </a:moveTo>
                <a:cubicBezTo>
                  <a:pt x="71351" y="23812"/>
                  <a:pt x="75854" y="28073"/>
                  <a:pt x="75854" y="33400"/>
                </a:cubicBezTo>
                <a:lnTo>
                  <a:pt x="75854" y="67844"/>
                </a:lnTo>
                <a:cubicBezTo>
                  <a:pt x="75854" y="73171"/>
                  <a:pt x="71351" y="77432"/>
                  <a:pt x="66502" y="77432"/>
                </a:cubicBezTo>
                <a:cubicBezTo>
                  <a:pt x="61307" y="77432"/>
                  <a:pt x="57150" y="73171"/>
                  <a:pt x="57150" y="67844"/>
                </a:cubicBezTo>
                <a:lnTo>
                  <a:pt x="57150" y="33400"/>
                </a:lnTo>
                <a:cubicBezTo>
                  <a:pt x="57150" y="28073"/>
                  <a:pt x="61307" y="23812"/>
                  <a:pt x="66502" y="23812"/>
                </a:cubicBezTo>
                <a:close/>
                <a:moveTo>
                  <a:pt x="36937" y="23812"/>
                </a:moveTo>
                <a:cubicBezTo>
                  <a:pt x="42465" y="23812"/>
                  <a:pt x="47256" y="28073"/>
                  <a:pt x="47256" y="33400"/>
                </a:cubicBezTo>
                <a:lnTo>
                  <a:pt x="47256" y="67844"/>
                </a:lnTo>
                <a:cubicBezTo>
                  <a:pt x="47256" y="73171"/>
                  <a:pt x="42465" y="77432"/>
                  <a:pt x="36937" y="77432"/>
                </a:cubicBezTo>
                <a:cubicBezTo>
                  <a:pt x="31409" y="77432"/>
                  <a:pt x="26987" y="73171"/>
                  <a:pt x="26987" y="67844"/>
                </a:cubicBezTo>
                <a:lnTo>
                  <a:pt x="26987" y="33400"/>
                </a:lnTo>
                <a:cubicBezTo>
                  <a:pt x="26987" y="28073"/>
                  <a:pt x="31409" y="23812"/>
                  <a:pt x="36937" y="23812"/>
                </a:cubicBezTo>
                <a:close/>
                <a:moveTo>
                  <a:pt x="19877" y="19310"/>
                </a:moveTo>
                <a:lnTo>
                  <a:pt x="19877" y="85107"/>
                </a:lnTo>
                <a:lnTo>
                  <a:pt x="137335" y="85107"/>
                </a:lnTo>
                <a:lnTo>
                  <a:pt x="137335" y="70804"/>
                </a:lnTo>
                <a:cubicBezTo>
                  <a:pt x="137335" y="65797"/>
                  <a:pt x="140227" y="60791"/>
                  <a:pt x="145286" y="60791"/>
                </a:cubicBezTo>
                <a:lnTo>
                  <a:pt x="149623" y="60791"/>
                </a:lnTo>
                <a:lnTo>
                  <a:pt x="149623" y="41123"/>
                </a:lnTo>
                <a:lnTo>
                  <a:pt x="145286" y="41123"/>
                </a:lnTo>
                <a:cubicBezTo>
                  <a:pt x="140227" y="41123"/>
                  <a:pt x="137335" y="37547"/>
                  <a:pt x="137335" y="32184"/>
                </a:cubicBezTo>
                <a:lnTo>
                  <a:pt x="137335" y="19310"/>
                </a:lnTo>
                <a:lnTo>
                  <a:pt x="19877" y="19310"/>
                </a:lnTo>
                <a:close/>
                <a:moveTo>
                  <a:pt x="9035" y="0"/>
                </a:moveTo>
                <a:lnTo>
                  <a:pt x="145286" y="0"/>
                </a:lnTo>
                <a:cubicBezTo>
                  <a:pt x="150708" y="0"/>
                  <a:pt x="157213" y="3933"/>
                  <a:pt x="157213" y="9297"/>
                </a:cubicBezTo>
                <a:lnTo>
                  <a:pt x="157213" y="21813"/>
                </a:lnTo>
                <a:lnTo>
                  <a:pt x="156852" y="21813"/>
                </a:lnTo>
                <a:cubicBezTo>
                  <a:pt x="162634" y="21813"/>
                  <a:pt x="169501" y="27177"/>
                  <a:pt x="169501" y="32184"/>
                </a:cubicBezTo>
                <a:lnTo>
                  <a:pt x="169501" y="70804"/>
                </a:lnTo>
                <a:cubicBezTo>
                  <a:pt x="169501" y="76168"/>
                  <a:pt x="162634" y="80101"/>
                  <a:pt x="156852" y="80101"/>
                </a:cubicBezTo>
                <a:lnTo>
                  <a:pt x="157213" y="80101"/>
                </a:lnTo>
                <a:lnTo>
                  <a:pt x="157213" y="94047"/>
                </a:lnTo>
                <a:cubicBezTo>
                  <a:pt x="157213" y="99411"/>
                  <a:pt x="150708" y="104417"/>
                  <a:pt x="145286" y="104417"/>
                </a:cubicBezTo>
                <a:lnTo>
                  <a:pt x="9035" y="104417"/>
                </a:lnTo>
                <a:cubicBezTo>
                  <a:pt x="3252" y="104417"/>
                  <a:pt x="0" y="99411"/>
                  <a:pt x="0" y="94047"/>
                </a:cubicBezTo>
                <a:lnTo>
                  <a:pt x="0" y="9297"/>
                </a:lnTo>
                <a:cubicBezTo>
                  <a:pt x="0" y="3933"/>
                  <a:pt x="3252" y="0"/>
                  <a:pt x="9035" y="0"/>
                </a:cubicBezTo>
                <a:close/>
              </a:path>
            </a:pathLst>
          </a:custGeom>
          <a:solidFill>
            <a:schemeClr val="bg1"/>
          </a:solidFill>
          <a:ln>
            <a:noFill/>
          </a:ln>
        </p:spPr>
        <p:txBody>
          <a:bodyPr anchor="ctr"/>
          <a:lstStyle/>
          <a:p>
            <a:endParaRPr lang="en-US" sz="900" dirty="0">
              <a:latin typeface="Lato Light" panose="020F0502020204030203" pitchFamily="34" charset="0"/>
            </a:endParaRPr>
          </a:p>
        </p:txBody>
      </p:sp>
      <p:sp>
        <p:nvSpPr>
          <p:cNvPr id="41" name="TextBox 40">
            <a:extLst>
              <a:ext uri="{FF2B5EF4-FFF2-40B4-BE49-F238E27FC236}">
                <a16:creationId xmlns:a16="http://schemas.microsoft.com/office/drawing/2014/main" id="{65D19E1D-09C7-304B-9F9F-0CF142DE2A14}"/>
              </a:ext>
            </a:extLst>
          </p:cNvPr>
          <p:cNvSpPr txBox="1"/>
          <p:nvPr/>
        </p:nvSpPr>
        <p:spPr>
          <a:xfrm>
            <a:off x="9319773" y="5133411"/>
            <a:ext cx="1471493"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6</a:t>
            </a:r>
          </a:p>
        </p:txBody>
      </p:sp>
      <p:sp>
        <p:nvSpPr>
          <p:cNvPr id="42" name="Subtitle 2">
            <a:extLst>
              <a:ext uri="{FF2B5EF4-FFF2-40B4-BE49-F238E27FC236}">
                <a16:creationId xmlns:a16="http://schemas.microsoft.com/office/drawing/2014/main" id="{2C7BE58D-A781-9A42-9786-8CD94F300DC4}"/>
              </a:ext>
            </a:extLst>
          </p:cNvPr>
          <p:cNvSpPr txBox="1">
            <a:spLocks/>
          </p:cNvSpPr>
          <p:nvPr/>
        </p:nvSpPr>
        <p:spPr>
          <a:xfrm>
            <a:off x="9319773" y="5521491"/>
            <a:ext cx="2106860" cy="71577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t>
            </a:r>
          </a:p>
        </p:txBody>
      </p:sp>
      <p:sp>
        <p:nvSpPr>
          <p:cNvPr id="43" name="TextBox 42">
            <a:extLst>
              <a:ext uri="{FF2B5EF4-FFF2-40B4-BE49-F238E27FC236}">
                <a16:creationId xmlns:a16="http://schemas.microsoft.com/office/drawing/2014/main" id="{4DF7C870-203E-414D-BF09-0C401C4BFBF2}"/>
              </a:ext>
            </a:extLst>
          </p:cNvPr>
          <p:cNvSpPr txBox="1"/>
          <p:nvPr/>
        </p:nvSpPr>
        <p:spPr>
          <a:xfrm>
            <a:off x="9319773" y="1642327"/>
            <a:ext cx="1474699"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4</a:t>
            </a:r>
          </a:p>
        </p:txBody>
      </p:sp>
      <p:sp>
        <p:nvSpPr>
          <p:cNvPr id="44" name="Subtitle 2">
            <a:extLst>
              <a:ext uri="{FF2B5EF4-FFF2-40B4-BE49-F238E27FC236}">
                <a16:creationId xmlns:a16="http://schemas.microsoft.com/office/drawing/2014/main" id="{77919A94-9386-C443-864A-DEC6BC93F361}"/>
              </a:ext>
            </a:extLst>
          </p:cNvPr>
          <p:cNvSpPr txBox="1">
            <a:spLocks/>
          </p:cNvSpPr>
          <p:nvPr/>
        </p:nvSpPr>
        <p:spPr>
          <a:xfrm>
            <a:off x="9319773" y="2030406"/>
            <a:ext cx="2106860" cy="71577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t>
            </a:r>
          </a:p>
        </p:txBody>
      </p:sp>
      <p:sp>
        <p:nvSpPr>
          <p:cNvPr id="45" name="TextBox 44">
            <a:extLst>
              <a:ext uri="{FF2B5EF4-FFF2-40B4-BE49-F238E27FC236}">
                <a16:creationId xmlns:a16="http://schemas.microsoft.com/office/drawing/2014/main" id="{EDE91C47-9FCF-9146-BF17-7DDCCDAF93FC}"/>
              </a:ext>
            </a:extLst>
          </p:cNvPr>
          <p:cNvSpPr txBox="1"/>
          <p:nvPr/>
        </p:nvSpPr>
        <p:spPr>
          <a:xfrm>
            <a:off x="9319773" y="3387869"/>
            <a:ext cx="1471493"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5</a:t>
            </a:r>
          </a:p>
        </p:txBody>
      </p:sp>
      <p:sp>
        <p:nvSpPr>
          <p:cNvPr id="46" name="Subtitle 2">
            <a:extLst>
              <a:ext uri="{FF2B5EF4-FFF2-40B4-BE49-F238E27FC236}">
                <a16:creationId xmlns:a16="http://schemas.microsoft.com/office/drawing/2014/main" id="{7768E290-A5DF-744E-BF90-A937D48CFC63}"/>
              </a:ext>
            </a:extLst>
          </p:cNvPr>
          <p:cNvSpPr txBox="1">
            <a:spLocks/>
          </p:cNvSpPr>
          <p:nvPr/>
        </p:nvSpPr>
        <p:spPr>
          <a:xfrm>
            <a:off x="9319773" y="3775948"/>
            <a:ext cx="2106860" cy="71577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t>
            </a:r>
          </a:p>
        </p:txBody>
      </p:sp>
      <p:sp>
        <p:nvSpPr>
          <p:cNvPr id="47" name="Oval 46">
            <a:extLst>
              <a:ext uri="{FF2B5EF4-FFF2-40B4-BE49-F238E27FC236}">
                <a16:creationId xmlns:a16="http://schemas.microsoft.com/office/drawing/2014/main" id="{9D1EA4CA-8619-2B43-9753-3354CC1EA16D}"/>
              </a:ext>
            </a:extLst>
          </p:cNvPr>
          <p:cNvSpPr>
            <a:spLocks noChangeAspect="1"/>
          </p:cNvSpPr>
          <p:nvPr/>
        </p:nvSpPr>
        <p:spPr>
          <a:xfrm>
            <a:off x="8242840" y="5305386"/>
            <a:ext cx="786384" cy="78638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48" name="Oval 47">
            <a:extLst>
              <a:ext uri="{FF2B5EF4-FFF2-40B4-BE49-F238E27FC236}">
                <a16:creationId xmlns:a16="http://schemas.microsoft.com/office/drawing/2014/main" id="{D0A5CD48-BF40-F649-A62C-738581215903}"/>
              </a:ext>
            </a:extLst>
          </p:cNvPr>
          <p:cNvSpPr>
            <a:spLocks noChangeAspect="1"/>
          </p:cNvSpPr>
          <p:nvPr/>
        </p:nvSpPr>
        <p:spPr>
          <a:xfrm>
            <a:off x="8242840" y="1814302"/>
            <a:ext cx="786384" cy="78638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49" name="Oval 48">
            <a:extLst>
              <a:ext uri="{FF2B5EF4-FFF2-40B4-BE49-F238E27FC236}">
                <a16:creationId xmlns:a16="http://schemas.microsoft.com/office/drawing/2014/main" id="{6E7AC47C-C80F-E345-AE89-DE0E067A240F}"/>
              </a:ext>
            </a:extLst>
          </p:cNvPr>
          <p:cNvSpPr>
            <a:spLocks noChangeAspect="1"/>
          </p:cNvSpPr>
          <p:nvPr/>
        </p:nvSpPr>
        <p:spPr>
          <a:xfrm>
            <a:off x="8242840" y="3559844"/>
            <a:ext cx="786384" cy="78638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53" name="Freeform 728">
            <a:extLst>
              <a:ext uri="{FF2B5EF4-FFF2-40B4-BE49-F238E27FC236}">
                <a16:creationId xmlns:a16="http://schemas.microsoft.com/office/drawing/2014/main" id="{66F56E81-8544-4746-8893-13C606CFFC81}"/>
              </a:ext>
            </a:extLst>
          </p:cNvPr>
          <p:cNvSpPr>
            <a:spLocks noChangeAspect="1"/>
          </p:cNvSpPr>
          <p:nvPr/>
        </p:nvSpPr>
        <p:spPr bwMode="auto">
          <a:xfrm>
            <a:off x="8439397" y="5566062"/>
            <a:ext cx="393304" cy="265032"/>
          </a:xfrm>
          <a:custGeom>
            <a:avLst/>
            <a:gdLst>
              <a:gd name="T0" fmla="*/ 3241789 w 194902"/>
              <a:gd name="T1" fmla="*/ 1898276 h 131404"/>
              <a:gd name="T2" fmla="*/ 3057890 w 194902"/>
              <a:gd name="T3" fmla="*/ 1975987 h 131404"/>
              <a:gd name="T4" fmla="*/ 3016213 w 194902"/>
              <a:gd name="T5" fmla="*/ 2074988 h 131404"/>
              <a:gd name="T6" fmla="*/ 3241789 w 194902"/>
              <a:gd name="T7" fmla="*/ 2074988 h 131404"/>
              <a:gd name="T8" fmla="*/ 360198 w 194902"/>
              <a:gd name="T9" fmla="*/ 1897926 h 131404"/>
              <a:gd name="T10" fmla="*/ 360198 w 194902"/>
              <a:gd name="T11" fmla="*/ 2074988 h 131404"/>
              <a:gd name="T12" fmla="*/ 587397 w 194902"/>
              <a:gd name="T13" fmla="*/ 2074988 h 131404"/>
              <a:gd name="T14" fmla="*/ 546630 w 194902"/>
              <a:gd name="T15" fmla="*/ 1975987 h 131404"/>
              <a:gd name="T16" fmla="*/ 1812398 w 194902"/>
              <a:gd name="T17" fmla="*/ 1062543 h 131404"/>
              <a:gd name="T18" fmla="*/ 1647360 w 194902"/>
              <a:gd name="T19" fmla="*/ 1234491 h 131404"/>
              <a:gd name="T20" fmla="*/ 1812398 w 194902"/>
              <a:gd name="T21" fmla="*/ 1399833 h 131404"/>
              <a:gd name="T22" fmla="*/ 1984031 w 194902"/>
              <a:gd name="T23" fmla="*/ 1234491 h 131404"/>
              <a:gd name="T24" fmla="*/ 1812398 w 194902"/>
              <a:gd name="T25" fmla="*/ 1062543 h 131404"/>
              <a:gd name="T26" fmla="*/ 1812398 w 194902"/>
              <a:gd name="T27" fmla="*/ 705428 h 131404"/>
              <a:gd name="T28" fmla="*/ 2340491 w 194902"/>
              <a:gd name="T29" fmla="*/ 1234491 h 131404"/>
              <a:gd name="T30" fmla="*/ 1812398 w 194902"/>
              <a:gd name="T31" fmla="*/ 1756955 h 131404"/>
              <a:gd name="T32" fmla="*/ 1290904 w 194902"/>
              <a:gd name="T33" fmla="*/ 1234491 h 131404"/>
              <a:gd name="T34" fmla="*/ 1812398 w 194902"/>
              <a:gd name="T35" fmla="*/ 705428 h 131404"/>
              <a:gd name="T36" fmla="*/ 3003869 w 194902"/>
              <a:gd name="T37" fmla="*/ 357988 h 131404"/>
              <a:gd name="T38" fmla="*/ 3057890 w 194902"/>
              <a:gd name="T39" fmla="*/ 486335 h 131404"/>
              <a:gd name="T40" fmla="*/ 3241789 w 194902"/>
              <a:gd name="T41" fmla="*/ 564023 h 131404"/>
              <a:gd name="T42" fmla="*/ 3241789 w 194902"/>
              <a:gd name="T43" fmla="*/ 357988 h 131404"/>
              <a:gd name="T44" fmla="*/ 959111 w 194902"/>
              <a:gd name="T45" fmla="*/ 357988 h 131404"/>
              <a:gd name="T46" fmla="*/ 801319 w 194902"/>
              <a:gd name="T47" fmla="*/ 741469 h 131404"/>
              <a:gd name="T48" fmla="*/ 360198 w 194902"/>
              <a:gd name="T49" fmla="*/ 924869 h 131404"/>
              <a:gd name="T50" fmla="*/ 360198 w 194902"/>
              <a:gd name="T51" fmla="*/ 1537437 h 131404"/>
              <a:gd name="T52" fmla="*/ 801319 w 194902"/>
              <a:gd name="T53" fmla="*/ 1720826 h 131404"/>
              <a:gd name="T54" fmla="*/ 947042 w 194902"/>
              <a:gd name="T55" fmla="*/ 2074988 h 131404"/>
              <a:gd name="T56" fmla="*/ 2655814 w 194902"/>
              <a:gd name="T57" fmla="*/ 2074988 h 131404"/>
              <a:gd name="T58" fmla="*/ 2803201 w 194902"/>
              <a:gd name="T59" fmla="*/ 1720826 h 131404"/>
              <a:gd name="T60" fmla="*/ 3241789 w 194902"/>
              <a:gd name="T61" fmla="*/ 1537627 h 131404"/>
              <a:gd name="T62" fmla="*/ 3241789 w 194902"/>
              <a:gd name="T63" fmla="*/ 924678 h 131404"/>
              <a:gd name="T64" fmla="*/ 2803201 w 194902"/>
              <a:gd name="T65" fmla="*/ 741469 h 131404"/>
              <a:gd name="T66" fmla="*/ 2643596 w 194902"/>
              <a:gd name="T67" fmla="*/ 357988 h 131404"/>
              <a:gd name="T68" fmla="*/ 360198 w 194902"/>
              <a:gd name="T69" fmla="*/ 357988 h 131404"/>
              <a:gd name="T70" fmla="*/ 360198 w 194902"/>
              <a:gd name="T71" fmla="*/ 564379 h 131404"/>
              <a:gd name="T72" fmla="*/ 546630 w 194902"/>
              <a:gd name="T73" fmla="*/ 486335 h 131404"/>
              <a:gd name="T74" fmla="*/ 599490 w 194902"/>
              <a:gd name="T75" fmla="*/ 357988 h 131404"/>
              <a:gd name="T76" fmla="*/ 180094 w 194902"/>
              <a:gd name="T77" fmla="*/ 0 h 131404"/>
              <a:gd name="T78" fmla="*/ 3421894 w 194902"/>
              <a:gd name="T79" fmla="*/ 0 h 131404"/>
              <a:gd name="T80" fmla="*/ 3601991 w 194902"/>
              <a:gd name="T81" fmla="*/ 178986 h 131404"/>
              <a:gd name="T82" fmla="*/ 3601991 w 194902"/>
              <a:gd name="T83" fmla="*/ 2253974 h 131404"/>
              <a:gd name="T84" fmla="*/ 3421894 w 194902"/>
              <a:gd name="T85" fmla="*/ 2432956 h 131404"/>
              <a:gd name="T86" fmla="*/ 180094 w 194902"/>
              <a:gd name="T87" fmla="*/ 2432956 h 131404"/>
              <a:gd name="T88" fmla="*/ 0 w 194902"/>
              <a:gd name="T89" fmla="*/ 2253974 h 131404"/>
              <a:gd name="T90" fmla="*/ 0 w 194902"/>
              <a:gd name="T91" fmla="*/ 178986 h 131404"/>
              <a:gd name="T92" fmla="*/ 180094 w 194902"/>
              <a:gd name="T93" fmla="*/ 0 h 1314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94902" h="131404">
                <a:moveTo>
                  <a:pt x="175412" y="102526"/>
                </a:moveTo>
                <a:lnTo>
                  <a:pt x="165461" y="106723"/>
                </a:lnTo>
                <a:lnTo>
                  <a:pt x="163206" y="112070"/>
                </a:lnTo>
                <a:lnTo>
                  <a:pt x="175412" y="112070"/>
                </a:lnTo>
                <a:lnTo>
                  <a:pt x="175412" y="102526"/>
                </a:lnTo>
                <a:close/>
                <a:moveTo>
                  <a:pt x="19490" y="102507"/>
                </a:moveTo>
                <a:lnTo>
                  <a:pt x="19490" y="112070"/>
                </a:lnTo>
                <a:lnTo>
                  <a:pt x="31784" y="112070"/>
                </a:lnTo>
                <a:lnTo>
                  <a:pt x="29578" y="106723"/>
                </a:lnTo>
                <a:lnTo>
                  <a:pt x="19490" y="102507"/>
                </a:lnTo>
                <a:close/>
                <a:moveTo>
                  <a:pt x="98068" y="57388"/>
                </a:moveTo>
                <a:cubicBezTo>
                  <a:pt x="93067" y="57388"/>
                  <a:pt x="89138" y="61317"/>
                  <a:pt x="89138" y="66675"/>
                </a:cubicBezTo>
                <a:cubicBezTo>
                  <a:pt x="89138" y="71676"/>
                  <a:pt x="93067" y="75605"/>
                  <a:pt x="98068" y="75605"/>
                </a:cubicBezTo>
                <a:cubicBezTo>
                  <a:pt x="103069" y="75605"/>
                  <a:pt x="107355" y="71676"/>
                  <a:pt x="107355" y="66675"/>
                </a:cubicBezTo>
                <a:cubicBezTo>
                  <a:pt x="107355" y="61317"/>
                  <a:pt x="103069" y="57388"/>
                  <a:pt x="98068" y="57388"/>
                </a:cubicBezTo>
                <a:close/>
                <a:moveTo>
                  <a:pt x="98068" y="38100"/>
                </a:moveTo>
                <a:cubicBezTo>
                  <a:pt x="113784" y="38100"/>
                  <a:pt x="126643" y="50602"/>
                  <a:pt x="126643" y="66675"/>
                </a:cubicBezTo>
                <a:cubicBezTo>
                  <a:pt x="126643" y="82391"/>
                  <a:pt x="113784" y="94893"/>
                  <a:pt x="98068" y="94893"/>
                </a:cubicBezTo>
                <a:cubicBezTo>
                  <a:pt x="82352" y="94893"/>
                  <a:pt x="69850" y="82391"/>
                  <a:pt x="69850" y="66675"/>
                </a:cubicBezTo>
                <a:cubicBezTo>
                  <a:pt x="69850" y="50602"/>
                  <a:pt x="82352" y="38100"/>
                  <a:pt x="98068" y="38100"/>
                </a:cubicBezTo>
                <a:close/>
                <a:moveTo>
                  <a:pt x="162538" y="19335"/>
                </a:moveTo>
                <a:lnTo>
                  <a:pt x="165461" y="26267"/>
                </a:lnTo>
                <a:lnTo>
                  <a:pt x="175412" y="30463"/>
                </a:lnTo>
                <a:lnTo>
                  <a:pt x="175412" y="19335"/>
                </a:lnTo>
                <a:lnTo>
                  <a:pt x="162538" y="19335"/>
                </a:lnTo>
                <a:close/>
                <a:moveTo>
                  <a:pt x="51897" y="19335"/>
                </a:moveTo>
                <a:lnTo>
                  <a:pt x="43359" y="40047"/>
                </a:lnTo>
                <a:lnTo>
                  <a:pt x="19490" y="49952"/>
                </a:lnTo>
                <a:lnTo>
                  <a:pt x="19490" y="83037"/>
                </a:lnTo>
                <a:lnTo>
                  <a:pt x="43359" y="92942"/>
                </a:lnTo>
                <a:lnTo>
                  <a:pt x="51244" y="112070"/>
                </a:lnTo>
                <a:lnTo>
                  <a:pt x="143705" y="112070"/>
                </a:lnTo>
                <a:lnTo>
                  <a:pt x="151680" y="92942"/>
                </a:lnTo>
                <a:lnTo>
                  <a:pt x="175412" y="83047"/>
                </a:lnTo>
                <a:lnTo>
                  <a:pt x="175412" y="49942"/>
                </a:lnTo>
                <a:lnTo>
                  <a:pt x="151680" y="40047"/>
                </a:lnTo>
                <a:lnTo>
                  <a:pt x="143044" y="19335"/>
                </a:lnTo>
                <a:lnTo>
                  <a:pt x="51897" y="19335"/>
                </a:lnTo>
                <a:close/>
                <a:moveTo>
                  <a:pt x="19490" y="19335"/>
                </a:moveTo>
                <a:lnTo>
                  <a:pt x="19490" y="30482"/>
                </a:lnTo>
                <a:lnTo>
                  <a:pt x="29578" y="26267"/>
                </a:lnTo>
                <a:lnTo>
                  <a:pt x="32438" y="19335"/>
                </a:lnTo>
                <a:lnTo>
                  <a:pt x="19490" y="19335"/>
                </a:lnTo>
                <a:close/>
                <a:moveTo>
                  <a:pt x="9745" y="0"/>
                </a:moveTo>
                <a:lnTo>
                  <a:pt x="185157" y="0"/>
                </a:lnTo>
                <a:cubicBezTo>
                  <a:pt x="190571" y="0"/>
                  <a:pt x="194902" y="4297"/>
                  <a:pt x="194902" y="9667"/>
                </a:cubicBezTo>
                <a:lnTo>
                  <a:pt x="194902" y="121737"/>
                </a:lnTo>
                <a:cubicBezTo>
                  <a:pt x="194902" y="127108"/>
                  <a:pt x="190571" y="131404"/>
                  <a:pt x="185157" y="131404"/>
                </a:cubicBezTo>
                <a:lnTo>
                  <a:pt x="9745" y="131404"/>
                </a:lnTo>
                <a:cubicBezTo>
                  <a:pt x="4331" y="131404"/>
                  <a:pt x="0" y="127108"/>
                  <a:pt x="0" y="121737"/>
                </a:cubicBezTo>
                <a:lnTo>
                  <a:pt x="0" y="9667"/>
                </a:lnTo>
                <a:cubicBezTo>
                  <a:pt x="0" y="4297"/>
                  <a:pt x="4331" y="0"/>
                  <a:pt x="9745" y="0"/>
                </a:cubicBezTo>
                <a:close/>
              </a:path>
            </a:pathLst>
          </a:custGeom>
          <a:solidFill>
            <a:schemeClr val="bg1"/>
          </a:solidFill>
          <a:ln>
            <a:noFill/>
          </a:ln>
        </p:spPr>
        <p:txBody>
          <a:bodyPr anchor="ctr"/>
          <a:lstStyle/>
          <a:p>
            <a:endParaRPr lang="en-US" sz="900" dirty="0">
              <a:latin typeface="Lato Light" panose="020F0502020204030203" pitchFamily="34" charset="0"/>
            </a:endParaRPr>
          </a:p>
        </p:txBody>
      </p:sp>
      <p:sp>
        <p:nvSpPr>
          <p:cNvPr id="54" name="Freeform 722">
            <a:extLst>
              <a:ext uri="{FF2B5EF4-FFF2-40B4-BE49-F238E27FC236}">
                <a16:creationId xmlns:a16="http://schemas.microsoft.com/office/drawing/2014/main" id="{52382AC0-25C0-F04A-968B-22F1E3F8A78A}"/>
              </a:ext>
            </a:extLst>
          </p:cNvPr>
          <p:cNvSpPr>
            <a:spLocks noChangeAspect="1"/>
          </p:cNvSpPr>
          <p:nvPr/>
        </p:nvSpPr>
        <p:spPr bwMode="auto">
          <a:xfrm>
            <a:off x="8454630" y="3776662"/>
            <a:ext cx="363123" cy="352748"/>
          </a:xfrm>
          <a:custGeom>
            <a:avLst/>
            <a:gdLst>
              <a:gd name="T0" fmla="*/ 3155690 w 179020"/>
              <a:gd name="T1" fmla="*/ 2163188 h 174268"/>
              <a:gd name="T2" fmla="*/ 3341431 w 179020"/>
              <a:gd name="T3" fmla="*/ 2344807 h 174268"/>
              <a:gd name="T4" fmla="*/ 3341431 w 179020"/>
              <a:gd name="T5" fmla="*/ 3071268 h 174268"/>
              <a:gd name="T6" fmla="*/ 3155690 w 179020"/>
              <a:gd name="T7" fmla="*/ 3252891 h 174268"/>
              <a:gd name="T8" fmla="*/ 2963090 w 179020"/>
              <a:gd name="T9" fmla="*/ 3071268 h 174268"/>
              <a:gd name="T10" fmla="*/ 2963090 w 179020"/>
              <a:gd name="T11" fmla="*/ 2344807 h 174268"/>
              <a:gd name="T12" fmla="*/ 3155690 w 179020"/>
              <a:gd name="T13" fmla="*/ 2163188 h 174268"/>
              <a:gd name="T14" fmla="*/ 2171000 w 179020"/>
              <a:gd name="T15" fmla="*/ 1451998 h 174268"/>
              <a:gd name="T16" fmla="*/ 2363599 w 179020"/>
              <a:gd name="T17" fmla="*/ 1632092 h 174268"/>
              <a:gd name="T18" fmla="*/ 2363599 w 179020"/>
              <a:gd name="T19" fmla="*/ 3072852 h 174268"/>
              <a:gd name="T20" fmla="*/ 2171000 w 179020"/>
              <a:gd name="T21" fmla="*/ 3252949 h 174268"/>
              <a:gd name="T22" fmla="*/ 1985275 w 179020"/>
              <a:gd name="T23" fmla="*/ 3072852 h 174268"/>
              <a:gd name="T24" fmla="*/ 1985275 w 179020"/>
              <a:gd name="T25" fmla="*/ 1632092 h 174268"/>
              <a:gd name="T26" fmla="*/ 2171000 w 179020"/>
              <a:gd name="T27" fmla="*/ 1451998 h 174268"/>
              <a:gd name="T28" fmla="*/ 1193185 w 179020"/>
              <a:gd name="T29" fmla="*/ 711190 h 174268"/>
              <a:gd name="T30" fmla="*/ 1385795 w 179020"/>
              <a:gd name="T31" fmla="*/ 892740 h 174268"/>
              <a:gd name="T32" fmla="*/ 1385795 w 179020"/>
              <a:gd name="T33" fmla="*/ 3071343 h 174268"/>
              <a:gd name="T34" fmla="*/ 1193185 w 179020"/>
              <a:gd name="T35" fmla="*/ 3252891 h 174268"/>
              <a:gd name="T36" fmla="*/ 1007447 w 179020"/>
              <a:gd name="T37" fmla="*/ 3071343 h 174268"/>
              <a:gd name="T38" fmla="*/ 1007447 w 179020"/>
              <a:gd name="T39" fmla="*/ 892740 h 174268"/>
              <a:gd name="T40" fmla="*/ 1193185 w 179020"/>
              <a:gd name="T41" fmla="*/ 711190 h 174268"/>
              <a:gd name="T42" fmla="*/ 174558 w 179020"/>
              <a:gd name="T43" fmla="*/ 0 h 174268"/>
              <a:gd name="T44" fmla="*/ 349115 w 179020"/>
              <a:gd name="T45" fmla="*/ 180728 h 174268"/>
              <a:gd name="T46" fmla="*/ 349115 w 179020"/>
              <a:gd name="T47" fmla="*/ 3072203 h 174268"/>
              <a:gd name="T48" fmla="*/ 174558 w 179020"/>
              <a:gd name="T49" fmla="*/ 3252932 h 174268"/>
              <a:gd name="T50" fmla="*/ 0 w 179020"/>
              <a:gd name="T51" fmla="*/ 3072203 h 174268"/>
              <a:gd name="T52" fmla="*/ 0 w 179020"/>
              <a:gd name="T53" fmla="*/ 180728 h 174268"/>
              <a:gd name="T54" fmla="*/ 174558 w 179020"/>
              <a:gd name="T55" fmla="*/ 0 h 17426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79020" h="174268">
                <a:moveTo>
                  <a:pt x="169069" y="115887"/>
                </a:moveTo>
                <a:cubicBezTo>
                  <a:pt x="174597" y="115887"/>
                  <a:pt x="179020" y="120212"/>
                  <a:pt x="179020" y="125617"/>
                </a:cubicBezTo>
                <a:lnTo>
                  <a:pt x="179020" y="164535"/>
                </a:lnTo>
                <a:cubicBezTo>
                  <a:pt x="179020" y="169941"/>
                  <a:pt x="174597" y="174265"/>
                  <a:pt x="169069" y="174265"/>
                </a:cubicBezTo>
                <a:cubicBezTo>
                  <a:pt x="163541" y="174265"/>
                  <a:pt x="158750" y="169941"/>
                  <a:pt x="158750" y="164535"/>
                </a:cubicBezTo>
                <a:lnTo>
                  <a:pt x="158750" y="125617"/>
                </a:lnTo>
                <a:cubicBezTo>
                  <a:pt x="158750" y="120212"/>
                  <a:pt x="163541" y="115887"/>
                  <a:pt x="169069" y="115887"/>
                </a:cubicBezTo>
                <a:close/>
                <a:moveTo>
                  <a:pt x="116313" y="77787"/>
                </a:moveTo>
                <a:cubicBezTo>
                  <a:pt x="121841" y="77787"/>
                  <a:pt x="126632" y="82075"/>
                  <a:pt x="126632" y="87435"/>
                </a:cubicBezTo>
                <a:lnTo>
                  <a:pt x="126632" y="164620"/>
                </a:lnTo>
                <a:cubicBezTo>
                  <a:pt x="126632" y="169980"/>
                  <a:pt x="121841" y="174268"/>
                  <a:pt x="116313" y="174268"/>
                </a:cubicBezTo>
                <a:cubicBezTo>
                  <a:pt x="110785" y="174268"/>
                  <a:pt x="106363" y="169980"/>
                  <a:pt x="106363" y="164620"/>
                </a:cubicBezTo>
                <a:lnTo>
                  <a:pt x="106363" y="87435"/>
                </a:lnTo>
                <a:cubicBezTo>
                  <a:pt x="106363" y="82075"/>
                  <a:pt x="110785" y="77787"/>
                  <a:pt x="116313" y="77787"/>
                </a:cubicBezTo>
                <a:close/>
                <a:moveTo>
                  <a:pt x="63926" y="38100"/>
                </a:moveTo>
                <a:cubicBezTo>
                  <a:pt x="69822" y="38100"/>
                  <a:pt x="74245" y="42423"/>
                  <a:pt x="74245" y="47826"/>
                </a:cubicBezTo>
                <a:lnTo>
                  <a:pt x="74245" y="164539"/>
                </a:lnTo>
                <a:cubicBezTo>
                  <a:pt x="74245" y="169942"/>
                  <a:pt x="69822" y="174265"/>
                  <a:pt x="63926" y="174265"/>
                </a:cubicBezTo>
                <a:cubicBezTo>
                  <a:pt x="58766" y="174265"/>
                  <a:pt x="53975" y="169942"/>
                  <a:pt x="53975" y="164539"/>
                </a:cubicBezTo>
                <a:lnTo>
                  <a:pt x="53975" y="47826"/>
                </a:lnTo>
                <a:cubicBezTo>
                  <a:pt x="53975" y="42423"/>
                  <a:pt x="58766" y="38100"/>
                  <a:pt x="63926" y="38100"/>
                </a:cubicBezTo>
                <a:close/>
                <a:moveTo>
                  <a:pt x="9352" y="0"/>
                </a:moveTo>
                <a:cubicBezTo>
                  <a:pt x="14548" y="0"/>
                  <a:pt x="18704" y="4303"/>
                  <a:pt x="18704" y="9682"/>
                </a:cubicBezTo>
                <a:lnTo>
                  <a:pt x="18704" y="164585"/>
                </a:lnTo>
                <a:cubicBezTo>
                  <a:pt x="18704" y="169964"/>
                  <a:pt x="14548" y="174267"/>
                  <a:pt x="9352" y="174267"/>
                </a:cubicBezTo>
                <a:cubicBezTo>
                  <a:pt x="4157" y="174267"/>
                  <a:pt x="0" y="169964"/>
                  <a:pt x="0" y="164585"/>
                </a:cubicBezTo>
                <a:lnTo>
                  <a:pt x="0" y="9682"/>
                </a:lnTo>
                <a:cubicBezTo>
                  <a:pt x="0" y="4303"/>
                  <a:pt x="4157" y="0"/>
                  <a:pt x="9352" y="0"/>
                </a:cubicBezTo>
                <a:close/>
              </a:path>
            </a:pathLst>
          </a:custGeom>
          <a:solidFill>
            <a:schemeClr val="bg1"/>
          </a:solidFill>
          <a:ln>
            <a:noFill/>
          </a:ln>
        </p:spPr>
        <p:txBody>
          <a:bodyPr anchor="ctr"/>
          <a:lstStyle/>
          <a:p>
            <a:endParaRPr lang="en-US" sz="900" dirty="0">
              <a:latin typeface="Lato Light" panose="020F0502020204030203" pitchFamily="34" charset="0"/>
            </a:endParaRPr>
          </a:p>
        </p:txBody>
      </p:sp>
      <p:sp>
        <p:nvSpPr>
          <p:cNvPr id="55" name="Freeform 14">
            <a:extLst>
              <a:ext uri="{FF2B5EF4-FFF2-40B4-BE49-F238E27FC236}">
                <a16:creationId xmlns:a16="http://schemas.microsoft.com/office/drawing/2014/main" id="{4796505E-3AA0-CC48-AACB-BA333D3D2BD9}"/>
              </a:ext>
            </a:extLst>
          </p:cNvPr>
          <p:cNvSpPr>
            <a:spLocks noChangeAspect="1"/>
          </p:cNvSpPr>
          <p:nvPr/>
        </p:nvSpPr>
        <p:spPr bwMode="auto">
          <a:xfrm>
            <a:off x="8458260" y="2032063"/>
            <a:ext cx="355577" cy="350861"/>
          </a:xfrm>
          <a:custGeom>
            <a:avLst/>
            <a:gdLst>
              <a:gd name="T0" fmla="*/ 2147483646 w 490"/>
              <a:gd name="T1" fmla="*/ 2147483646 h 479"/>
              <a:gd name="T2" fmla="*/ 2147483646 w 490"/>
              <a:gd name="T3" fmla="*/ 2147483646 h 479"/>
              <a:gd name="T4" fmla="*/ 2147483646 w 490"/>
              <a:gd name="T5" fmla="*/ 2147483646 h 479"/>
              <a:gd name="T6" fmla="*/ 2147483646 w 490"/>
              <a:gd name="T7" fmla="*/ 2147483646 h 479"/>
              <a:gd name="T8" fmla="*/ 2147483646 w 490"/>
              <a:gd name="T9" fmla="*/ 2147483646 h 479"/>
              <a:gd name="T10" fmla="*/ 2147483646 w 490"/>
              <a:gd name="T11" fmla="*/ 2147483646 h 479"/>
              <a:gd name="T12" fmla="*/ 2147483646 w 490"/>
              <a:gd name="T13" fmla="*/ 2147483646 h 479"/>
              <a:gd name="T14" fmla="*/ 2147483646 w 490"/>
              <a:gd name="T15" fmla="*/ 2147483646 h 479"/>
              <a:gd name="T16" fmla="*/ 2147483646 w 490"/>
              <a:gd name="T17" fmla="*/ 2147483646 h 479"/>
              <a:gd name="T18" fmla="*/ 2147483646 w 490"/>
              <a:gd name="T19" fmla="*/ 2147483646 h 479"/>
              <a:gd name="T20" fmla="*/ 2147483646 w 490"/>
              <a:gd name="T21" fmla="*/ 2147483646 h 479"/>
              <a:gd name="T22" fmla="*/ 2147483646 w 490"/>
              <a:gd name="T23" fmla="*/ 2147483646 h 479"/>
              <a:gd name="T24" fmla="*/ 2147483646 w 490"/>
              <a:gd name="T25" fmla="*/ 2147483646 h 479"/>
              <a:gd name="T26" fmla="*/ 2147483646 w 490"/>
              <a:gd name="T27" fmla="*/ 2147483646 h 479"/>
              <a:gd name="T28" fmla="*/ 2147483646 w 490"/>
              <a:gd name="T29" fmla="*/ 2147483646 h 479"/>
              <a:gd name="T30" fmla="*/ 2147483646 w 490"/>
              <a:gd name="T31" fmla="*/ 2147483646 h 479"/>
              <a:gd name="T32" fmla="*/ 2147483646 w 490"/>
              <a:gd name="T33" fmla="*/ 0 h 479"/>
              <a:gd name="T34" fmla="*/ 2147483646 w 490"/>
              <a:gd name="T35" fmla="*/ 0 h 479"/>
              <a:gd name="T36" fmla="*/ 2147483646 w 490"/>
              <a:gd name="T37" fmla="*/ 2147483646 h 479"/>
              <a:gd name="T38" fmla="*/ 2147483646 w 490"/>
              <a:gd name="T39" fmla="*/ 2147483646 h 479"/>
              <a:gd name="T40" fmla="*/ 0 w 490"/>
              <a:gd name="T41" fmla="*/ 2147483646 h 479"/>
              <a:gd name="T42" fmla="*/ 0 w 490"/>
              <a:gd name="T43" fmla="*/ 2147483646 h 479"/>
              <a:gd name="T44" fmla="*/ 2147483646 w 490"/>
              <a:gd name="T45" fmla="*/ 2147483646 h 479"/>
              <a:gd name="T46" fmla="*/ 2147483646 w 490"/>
              <a:gd name="T47" fmla="*/ 2147483646 h 479"/>
              <a:gd name="T48" fmla="*/ 2147483646 w 490"/>
              <a:gd name="T49" fmla="*/ 2147483646 h 479"/>
              <a:gd name="T50" fmla="*/ 2147483646 w 490"/>
              <a:gd name="T51" fmla="*/ 2147483646 h 479"/>
              <a:gd name="T52" fmla="*/ 2147483646 w 490"/>
              <a:gd name="T53" fmla="*/ 2147483646 h 479"/>
              <a:gd name="T54" fmla="*/ 2147483646 w 490"/>
              <a:gd name="T55" fmla="*/ 2147483646 h 479"/>
              <a:gd name="T56" fmla="*/ 2147483646 w 490"/>
              <a:gd name="T57" fmla="*/ 2147483646 h 479"/>
              <a:gd name="T58" fmla="*/ 2147483646 w 490"/>
              <a:gd name="T59" fmla="*/ 2147483646 h 479"/>
              <a:gd name="T60" fmla="*/ 2147483646 w 490"/>
              <a:gd name="T61" fmla="*/ 2147483646 h 479"/>
              <a:gd name="T62" fmla="*/ 2147483646 w 490"/>
              <a:gd name="T63" fmla="*/ 2147483646 h 479"/>
              <a:gd name="T64" fmla="*/ 2147483646 w 490"/>
              <a:gd name="T65" fmla="*/ 2147483646 h 479"/>
              <a:gd name="T66" fmla="*/ 2147483646 w 490"/>
              <a:gd name="T67" fmla="*/ 2147483646 h 479"/>
              <a:gd name="T68" fmla="*/ 2147483646 w 490"/>
              <a:gd name="T69" fmla="*/ 2147483646 h 479"/>
              <a:gd name="T70" fmla="*/ 2147483646 w 490"/>
              <a:gd name="T71" fmla="*/ 2147483646 h 479"/>
              <a:gd name="T72" fmla="*/ 2147483646 w 490"/>
              <a:gd name="T73" fmla="*/ 2147483646 h 479"/>
              <a:gd name="T74" fmla="*/ 2147483646 w 490"/>
              <a:gd name="T75" fmla="*/ 2147483646 h 479"/>
              <a:gd name="T76" fmla="*/ 2147483646 w 490"/>
              <a:gd name="T77" fmla="*/ 2147483646 h 479"/>
              <a:gd name="T78" fmla="*/ 2147483646 w 490"/>
              <a:gd name="T79" fmla="*/ 2147483646 h 479"/>
              <a:gd name="T80" fmla="*/ 2147483646 w 490"/>
              <a:gd name="T81" fmla="*/ 2147483646 h 479"/>
              <a:gd name="T82" fmla="*/ 2147483646 w 490"/>
              <a:gd name="T83" fmla="*/ 2147483646 h 479"/>
              <a:gd name="T84" fmla="*/ 2147483646 w 490"/>
              <a:gd name="T85" fmla="*/ 2147483646 h 479"/>
              <a:gd name="T86" fmla="*/ 2147483646 w 490"/>
              <a:gd name="T87" fmla="*/ 2147483646 h 479"/>
              <a:gd name="T88" fmla="*/ 2147483646 w 490"/>
              <a:gd name="T89" fmla="*/ 2147483646 h 479"/>
              <a:gd name="T90" fmla="*/ 2147483646 w 490"/>
              <a:gd name="T91" fmla="*/ 2147483646 h 479"/>
              <a:gd name="T92" fmla="*/ 2147483646 w 490"/>
              <a:gd name="T93" fmla="*/ 2147483646 h 479"/>
              <a:gd name="T94" fmla="*/ 2147483646 w 490"/>
              <a:gd name="T95" fmla="*/ 2147483646 h 479"/>
              <a:gd name="T96" fmla="*/ 2147483646 w 490"/>
              <a:gd name="T97" fmla="*/ 2147483646 h 47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90" h="479">
                <a:moveTo>
                  <a:pt x="420" y="276"/>
                </a:moveTo>
                <a:lnTo>
                  <a:pt x="420" y="217"/>
                </a:lnTo>
                <a:cubicBezTo>
                  <a:pt x="428" y="223"/>
                  <a:pt x="434" y="235"/>
                  <a:pt x="434" y="246"/>
                </a:cubicBezTo>
                <a:cubicBezTo>
                  <a:pt x="434" y="258"/>
                  <a:pt x="428" y="269"/>
                  <a:pt x="420" y="276"/>
                </a:cubicBezTo>
                <a:close/>
                <a:moveTo>
                  <a:pt x="67" y="276"/>
                </a:moveTo>
                <a:lnTo>
                  <a:pt x="67" y="276"/>
                </a:lnTo>
                <a:cubicBezTo>
                  <a:pt x="54" y="269"/>
                  <a:pt x="54" y="258"/>
                  <a:pt x="54" y="246"/>
                </a:cubicBezTo>
                <a:cubicBezTo>
                  <a:pt x="54" y="235"/>
                  <a:pt x="54" y="223"/>
                  <a:pt x="67" y="217"/>
                </a:cubicBezTo>
                <a:lnTo>
                  <a:pt x="67" y="276"/>
                </a:lnTo>
                <a:close/>
                <a:moveTo>
                  <a:pt x="489" y="246"/>
                </a:moveTo>
                <a:lnTo>
                  <a:pt x="489" y="246"/>
                </a:lnTo>
                <a:cubicBezTo>
                  <a:pt x="489" y="203"/>
                  <a:pt x="459" y="167"/>
                  <a:pt x="419" y="155"/>
                </a:cubicBezTo>
                <a:cubicBezTo>
                  <a:pt x="409" y="68"/>
                  <a:pt x="334" y="0"/>
                  <a:pt x="244" y="0"/>
                </a:cubicBezTo>
                <a:cubicBezTo>
                  <a:pt x="154" y="0"/>
                  <a:pt x="79" y="68"/>
                  <a:pt x="68" y="155"/>
                </a:cubicBezTo>
                <a:cubicBezTo>
                  <a:pt x="29" y="167"/>
                  <a:pt x="0" y="203"/>
                  <a:pt x="0" y="246"/>
                </a:cubicBezTo>
                <a:cubicBezTo>
                  <a:pt x="0" y="299"/>
                  <a:pt x="42" y="341"/>
                  <a:pt x="94" y="341"/>
                </a:cubicBezTo>
                <a:cubicBezTo>
                  <a:pt x="109" y="341"/>
                  <a:pt x="122" y="329"/>
                  <a:pt x="122" y="314"/>
                </a:cubicBezTo>
                <a:lnTo>
                  <a:pt x="122" y="179"/>
                </a:lnTo>
                <a:lnTo>
                  <a:pt x="121" y="178"/>
                </a:lnTo>
                <a:cubicBezTo>
                  <a:pt x="121" y="109"/>
                  <a:pt x="176" y="54"/>
                  <a:pt x="244" y="54"/>
                </a:cubicBezTo>
                <a:cubicBezTo>
                  <a:pt x="312" y="54"/>
                  <a:pt x="367" y="109"/>
                  <a:pt x="367" y="178"/>
                </a:cubicBezTo>
                <a:lnTo>
                  <a:pt x="366" y="178"/>
                </a:lnTo>
                <a:lnTo>
                  <a:pt x="366" y="179"/>
                </a:lnTo>
                <a:lnTo>
                  <a:pt x="366" y="302"/>
                </a:lnTo>
                <a:cubicBezTo>
                  <a:pt x="366" y="369"/>
                  <a:pt x="311" y="424"/>
                  <a:pt x="244" y="424"/>
                </a:cubicBezTo>
                <a:cubicBezTo>
                  <a:pt x="229" y="424"/>
                  <a:pt x="217" y="437"/>
                  <a:pt x="217" y="451"/>
                </a:cubicBezTo>
                <a:cubicBezTo>
                  <a:pt x="217" y="466"/>
                  <a:pt x="229" y="478"/>
                  <a:pt x="244" y="478"/>
                </a:cubicBezTo>
                <a:cubicBezTo>
                  <a:pt x="329" y="478"/>
                  <a:pt x="400" y="418"/>
                  <a:pt x="417" y="338"/>
                </a:cubicBezTo>
                <a:cubicBezTo>
                  <a:pt x="458" y="328"/>
                  <a:pt x="489" y="290"/>
                  <a:pt x="489" y="246"/>
                </a:cubicBezTo>
                <a:close/>
              </a:path>
            </a:pathLst>
          </a:custGeom>
          <a:solidFill>
            <a:schemeClr val="bg1"/>
          </a:solidFill>
          <a:ln>
            <a:noFill/>
          </a:ln>
        </p:spPr>
        <p:txBody>
          <a:bodyPr wrap="none" anchor="ctr"/>
          <a:lstStyle/>
          <a:p>
            <a:endParaRPr lang="en-US" sz="900" dirty="0">
              <a:latin typeface="Lato Light" panose="020F0502020204030203" pitchFamily="34" charset="0"/>
            </a:endParaRPr>
          </a:p>
        </p:txBody>
      </p:sp>
      <p:sp>
        <p:nvSpPr>
          <p:cNvPr id="56" name="Titel 1">
            <a:extLst>
              <a:ext uri="{FF2B5EF4-FFF2-40B4-BE49-F238E27FC236}">
                <a16:creationId xmlns:a16="http://schemas.microsoft.com/office/drawing/2014/main" id="{567F29D0-5BD4-4AAE-9676-5D95B2428ADB}"/>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Technology tools infographic</a:t>
            </a:r>
          </a:p>
        </p:txBody>
      </p:sp>
    </p:spTree>
    <p:custDataLst>
      <p:tags r:id="rId1"/>
    </p:custDataLst>
    <p:extLst>
      <p:ext uri="{BB962C8B-B14F-4D97-AF65-F5344CB8AC3E}">
        <p14:creationId xmlns:p14="http://schemas.microsoft.com/office/powerpoint/2010/main" val="17154771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New York City">
            <a:extLst>
              <a:ext uri="{FF2B5EF4-FFF2-40B4-BE49-F238E27FC236}">
                <a16:creationId xmlns:a16="http://schemas.microsoft.com/office/drawing/2014/main" id="{CC7A304D-E194-49CB-B134-138058AED2E7}"/>
              </a:ext>
            </a:extLst>
          </p:cNvPr>
          <p:cNvPicPr>
            <a:picLocks noGrp="1" noChangeAspect="1"/>
          </p:cNvPicPr>
          <p:nvPr>
            <p:ph type="pic" sz="quarter" idx="13"/>
            <p:custDataLst>
              <p:tags r:id="rId1"/>
            </p:custDataLst>
          </p:nvPr>
        </p:nvPicPr>
        <p:blipFill>
          <a:blip r:embed="rId3" cstate="screen">
            <a:extLst>
              <a:ext uri="{28A0092B-C50C-407E-A947-70E740481C1C}">
                <a14:useLocalDpi xmlns:a14="http://schemas.microsoft.com/office/drawing/2010/main"/>
              </a:ext>
            </a:extLst>
          </a:blip>
          <a:srcRect t="676" b="676"/>
          <a:stretch>
            <a:fillRect/>
          </a:stretch>
        </p:blipFill>
        <p:spPr>
          <a:xfrm>
            <a:off x="1" y="96839"/>
            <a:ext cx="12191345" cy="6760799"/>
          </a:xfrm>
          <a:prstGeom prst="rect">
            <a:avLst/>
          </a:prstGeom>
        </p:spPr>
      </p:pic>
      <p:sp>
        <p:nvSpPr>
          <p:cNvPr id="4" name="Text Placeholder 3">
            <a:extLst>
              <a:ext uri="{FF2B5EF4-FFF2-40B4-BE49-F238E27FC236}">
                <a16:creationId xmlns:a16="http://schemas.microsoft.com/office/drawing/2014/main" id="{F2160938-141F-4275-8E25-5335216F1102}"/>
              </a:ext>
            </a:extLst>
          </p:cNvPr>
          <p:cNvSpPr>
            <a:spLocks noGrp="1"/>
          </p:cNvSpPr>
          <p:nvPr>
            <p:ph type="body" sz="quarter" idx="14"/>
          </p:nvPr>
        </p:nvSpPr>
        <p:spPr>
          <a:xfrm>
            <a:off x="0" y="3914775"/>
            <a:ext cx="4352923" cy="738664"/>
          </a:xfrm>
        </p:spPr>
        <p:txBody>
          <a:bodyPr/>
          <a:lstStyle/>
          <a:p>
            <a:r>
              <a:rPr lang="de-DE" dirty="0"/>
              <a:t>Cover pages</a:t>
            </a:r>
            <a:endParaRPr lang="en-US" dirty="0"/>
          </a:p>
        </p:txBody>
      </p:sp>
    </p:spTree>
    <p:extLst>
      <p:ext uri="{BB962C8B-B14F-4D97-AF65-F5344CB8AC3E}">
        <p14:creationId xmlns:p14="http://schemas.microsoft.com/office/powerpoint/2010/main" val="3971129910"/>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New York Skyline">
            <a:extLst>
              <a:ext uri="{FF2B5EF4-FFF2-40B4-BE49-F238E27FC236}">
                <a16:creationId xmlns:a16="http://schemas.microsoft.com/office/drawing/2014/main" id="{0FDA5DC5-5045-423B-96C3-4F7C18F14D22}"/>
              </a:ext>
            </a:extLst>
          </p:cNvPr>
          <p:cNvPicPr>
            <a:picLocks noGrp="1" noChangeAspect="1"/>
          </p:cNvPicPr>
          <p:nvPr>
            <p:ph type="pic" sz="quarter" idx="14"/>
            <p:custDataLst>
              <p:tags r:id="rId2"/>
            </p:custDataLst>
          </p:nvPr>
        </p:nvPicPr>
        <p:blipFill rotWithShape="1">
          <a:blip r:embed="rId5" cstate="print">
            <a:extLst>
              <a:ext uri="{28A0092B-C50C-407E-A947-70E740481C1C}">
                <a14:useLocalDpi xmlns:a14="http://schemas.microsoft.com/office/drawing/2010/main"/>
              </a:ext>
            </a:extLst>
          </a:blip>
          <a:srcRect/>
          <a:stretch/>
        </p:blipFill>
        <p:spPr>
          <a:xfrm>
            <a:off x="0" y="97201"/>
            <a:ext cx="12192000" cy="6760799"/>
          </a:xfrm>
        </p:spPr>
      </p:pic>
      <p:sp>
        <p:nvSpPr>
          <p:cNvPr id="5" name="Titel 4">
            <a:extLst>
              <a:ext uri="{FF2B5EF4-FFF2-40B4-BE49-F238E27FC236}">
                <a16:creationId xmlns:a16="http://schemas.microsoft.com/office/drawing/2014/main" id="{079D6FCE-B917-4DA7-8D4C-8C58530D0ACC}"/>
              </a:ext>
            </a:extLst>
          </p:cNvPr>
          <p:cNvSpPr>
            <a:spLocks noGrp="1"/>
          </p:cNvSpPr>
          <p:nvPr>
            <p:ph type="title"/>
          </p:nvPr>
        </p:nvSpPr>
        <p:spPr>
          <a:xfrm>
            <a:off x="0" y="3803199"/>
            <a:ext cx="5902325" cy="652147"/>
          </a:xfrm>
        </p:spPr>
        <p:txBody>
          <a:bodyPr/>
          <a:lstStyle/>
          <a:p>
            <a:r>
              <a:rPr lang="en-US" dirty="0"/>
              <a:t>Picture with text </a:t>
            </a:r>
          </a:p>
        </p:txBody>
      </p:sp>
      <p:sp>
        <p:nvSpPr>
          <p:cNvPr id="7" name="Textplatzhalter 6">
            <a:extLst>
              <a:ext uri="{FF2B5EF4-FFF2-40B4-BE49-F238E27FC236}">
                <a16:creationId xmlns:a16="http://schemas.microsoft.com/office/drawing/2014/main" id="{383C4E59-0A0A-4307-9F0F-CAC6A1A62162}"/>
              </a:ext>
            </a:extLst>
          </p:cNvPr>
          <p:cNvSpPr>
            <a:spLocks noGrp="1"/>
          </p:cNvSpPr>
          <p:nvPr>
            <p:ph type="body" sz="quarter" idx="15"/>
          </p:nvPr>
        </p:nvSpPr>
        <p:spPr>
          <a:xfrm>
            <a:off x="0" y="4455347"/>
            <a:ext cx="5902325" cy="1350782"/>
          </a:xfrm>
        </p:spPr>
        <p:txBody>
          <a:bodyPr/>
          <a:lstStyle/>
          <a:p>
            <a:r>
              <a:rPr lang="en-US" dirty="0"/>
              <a:t>Lorem ipsum dolor sit amet, consectetuer adipiscing elit. Aenean commodo ligula eget dolor. Aenean massa. Cum sociis natoque penatibus et magnis dis parturient montes, nascetur ridiculus mus. </a:t>
            </a:r>
          </a:p>
        </p:txBody>
      </p:sp>
    </p:spTree>
    <p:custDataLst>
      <p:tags r:id="rId1"/>
    </p:custDataLst>
    <p:extLst>
      <p:ext uri="{BB962C8B-B14F-4D97-AF65-F5344CB8AC3E}">
        <p14:creationId xmlns:p14="http://schemas.microsoft.com/office/powerpoint/2010/main" val="6519998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2C1F823-1A74-4516-B452-BB91BF1E3651}"/>
              </a:ext>
            </a:extLst>
          </p:cNvPr>
          <p:cNvSpPr>
            <a:spLocks noGrp="1"/>
          </p:cNvSpPr>
          <p:nvPr>
            <p:ph type="title"/>
          </p:nvPr>
        </p:nvSpPr>
        <p:spPr/>
        <p:txBody>
          <a:bodyPr/>
          <a:lstStyle/>
          <a:p>
            <a:r>
              <a:rPr lang="en-US" dirty="0"/>
              <a:t>Lorem ipsum dolor sit amet</a:t>
            </a:r>
          </a:p>
        </p:txBody>
      </p:sp>
      <p:sp>
        <p:nvSpPr>
          <p:cNvPr id="2" name="Text Placeholder 1">
            <a:extLst>
              <a:ext uri="{FF2B5EF4-FFF2-40B4-BE49-F238E27FC236}">
                <a16:creationId xmlns:a16="http://schemas.microsoft.com/office/drawing/2014/main" id="{18134D02-5E67-9846-A3ED-400E6C69B607}"/>
              </a:ext>
            </a:extLst>
          </p:cNvPr>
          <p:cNvSpPr>
            <a:spLocks noGrp="1"/>
          </p:cNvSpPr>
          <p:nvPr>
            <p:ph type="body" sz="quarter" idx="13"/>
          </p:nvPr>
        </p:nvSpPr>
        <p:spPr/>
        <p:txBody>
          <a:bodyPr/>
          <a:lstStyle/>
          <a:p>
            <a:r>
              <a:rPr lang="en-US" dirty="0"/>
              <a:t>Lorem ipsum dolor sit amet, consectetuer elit. Aenean commodo ligula eget dolor. Aenean massa.</a:t>
            </a:r>
          </a:p>
          <a:p>
            <a:endParaRPr lang="en-US" dirty="0"/>
          </a:p>
        </p:txBody>
      </p:sp>
      <p:pic>
        <p:nvPicPr>
          <p:cNvPr id="4" name="New York Skyline">
            <a:extLst>
              <a:ext uri="{FF2B5EF4-FFF2-40B4-BE49-F238E27FC236}">
                <a16:creationId xmlns:a16="http://schemas.microsoft.com/office/drawing/2014/main" id="{234D3DCC-C16B-4DAE-A4A2-03277980D78F}"/>
              </a:ext>
            </a:extLst>
          </p:cNvPr>
          <p:cNvPicPr>
            <a:picLocks noGrp="1" noChangeAspect="1"/>
          </p:cNvPicPr>
          <p:nvPr>
            <p:ph type="pic" sz="quarter" idx="14"/>
            <p:custDataLst>
              <p:tags r:id="rId2"/>
            </p:custDataLst>
          </p:nvPr>
        </p:nvPicPr>
        <p:blipFill rotWithShape="1">
          <a:blip r:embed="rId5" cstate="print">
            <a:extLst>
              <a:ext uri="{28A0092B-C50C-407E-A947-70E740481C1C}">
                <a14:useLocalDpi xmlns:a14="http://schemas.microsoft.com/office/drawing/2010/main"/>
              </a:ext>
            </a:extLst>
          </a:blip>
          <a:srcRect/>
          <a:stretch/>
        </p:blipFill>
        <p:spPr>
          <a:xfrm>
            <a:off x="4346400" y="97199"/>
            <a:ext cx="7845600" cy="6760801"/>
          </a:xfrm>
          <a:prstGeom prst="rect">
            <a:avLst/>
          </a:prstGeom>
        </p:spPr>
      </p:pic>
    </p:spTree>
    <p:custDataLst>
      <p:tags r:id="rId1"/>
    </p:custDataLst>
    <p:extLst>
      <p:ext uri="{BB962C8B-B14F-4D97-AF65-F5344CB8AC3E}">
        <p14:creationId xmlns:p14="http://schemas.microsoft.com/office/powerpoint/2010/main" val="448538489"/>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213E620-8212-40DA-B5D1-13294CC136D8}"/>
              </a:ext>
            </a:extLst>
          </p:cNvPr>
          <p:cNvSpPr>
            <a:spLocks noGrp="1"/>
          </p:cNvSpPr>
          <p:nvPr>
            <p:ph type="title"/>
          </p:nvPr>
        </p:nvSpPr>
        <p:spPr/>
        <p:txBody>
          <a:bodyPr/>
          <a:lstStyle/>
          <a:p>
            <a:r>
              <a:rPr lang="en-US" dirty="0"/>
              <a:t>Lorem ipsum dolor sit amet</a:t>
            </a:r>
          </a:p>
        </p:txBody>
      </p:sp>
      <p:sp>
        <p:nvSpPr>
          <p:cNvPr id="2" name="Text Placeholder 1">
            <a:extLst>
              <a:ext uri="{FF2B5EF4-FFF2-40B4-BE49-F238E27FC236}">
                <a16:creationId xmlns:a16="http://schemas.microsoft.com/office/drawing/2014/main" id="{19778CBB-3C74-CE44-8975-5E52555B9B87}"/>
              </a:ext>
            </a:extLst>
          </p:cNvPr>
          <p:cNvSpPr>
            <a:spLocks noGrp="1"/>
          </p:cNvSpPr>
          <p:nvPr>
            <p:ph type="body" sz="quarter" idx="13"/>
          </p:nvPr>
        </p:nvSpPr>
        <p:spPr/>
        <p:txBody>
          <a:bodyPr/>
          <a:lstStyle/>
          <a:p>
            <a:r>
              <a:rPr lang="en-US" dirty="0"/>
              <a:t>Lorem ipsum dolor sit amet, consectetuer elit. Aenean commodo ligula eget dolor. Aenean massa.</a:t>
            </a:r>
          </a:p>
          <a:p>
            <a:endParaRPr lang="en-US" dirty="0"/>
          </a:p>
          <a:p>
            <a:endParaRPr lang="en-US" dirty="0"/>
          </a:p>
        </p:txBody>
      </p:sp>
      <p:pic>
        <p:nvPicPr>
          <p:cNvPr id="4" name="New York Skyline">
            <a:extLst>
              <a:ext uri="{FF2B5EF4-FFF2-40B4-BE49-F238E27FC236}">
                <a16:creationId xmlns:a16="http://schemas.microsoft.com/office/drawing/2014/main" id="{E5D64B02-C66B-4013-A8EE-0B56A4B31C90}"/>
              </a:ext>
            </a:extLst>
          </p:cNvPr>
          <p:cNvPicPr>
            <a:picLocks noGrp="1" noChangeAspect="1"/>
          </p:cNvPicPr>
          <p:nvPr>
            <p:ph type="pic" sz="quarter" idx="14"/>
            <p:custDataLst>
              <p:tags r:id="rId2"/>
            </p:custDataLst>
          </p:nvPr>
        </p:nvPicPr>
        <p:blipFill rotWithShape="1">
          <a:blip r:embed="rId5" cstate="print">
            <a:extLst>
              <a:ext uri="{28A0092B-C50C-407E-A947-70E740481C1C}">
                <a14:useLocalDpi xmlns:a14="http://schemas.microsoft.com/office/drawing/2010/main"/>
              </a:ext>
            </a:extLst>
          </a:blip>
          <a:srcRect/>
          <a:stretch/>
        </p:blipFill>
        <p:spPr>
          <a:xfrm>
            <a:off x="0" y="97201"/>
            <a:ext cx="7845600" cy="6760799"/>
          </a:xfrm>
          <a:prstGeom prst="rect">
            <a:avLst/>
          </a:prstGeom>
        </p:spPr>
      </p:pic>
    </p:spTree>
    <p:custDataLst>
      <p:tags r:id="rId1"/>
    </p:custDataLst>
    <p:extLst>
      <p:ext uri="{BB962C8B-B14F-4D97-AF65-F5344CB8AC3E}">
        <p14:creationId xmlns:p14="http://schemas.microsoft.com/office/powerpoint/2010/main" val="27221810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New York Skyline">
            <a:extLst>
              <a:ext uri="{FF2B5EF4-FFF2-40B4-BE49-F238E27FC236}">
                <a16:creationId xmlns:a16="http://schemas.microsoft.com/office/drawing/2014/main" id="{46A4484D-E1B6-46E0-8006-31E14A93FDCE}"/>
              </a:ext>
            </a:extLst>
          </p:cNvPr>
          <p:cNvPicPr>
            <a:picLocks noGrp="1" noChangeAspect="1"/>
          </p:cNvPicPr>
          <p:nvPr>
            <p:ph type="pic" sz="quarter" idx="14"/>
            <p:custDataLst>
              <p:tags r:id="rId2"/>
            </p:custDataLst>
          </p:nvPr>
        </p:nvPicPr>
        <p:blipFill rotWithShape="1">
          <a:blip r:embed="rId5" cstate="print">
            <a:extLst>
              <a:ext uri="{28A0092B-C50C-407E-A947-70E740481C1C}">
                <a14:useLocalDpi xmlns:a14="http://schemas.microsoft.com/office/drawing/2010/main"/>
              </a:ext>
            </a:extLst>
          </a:blip>
          <a:srcRect/>
          <a:stretch/>
        </p:blipFill>
        <p:spPr>
          <a:xfrm>
            <a:off x="4346400" y="97201"/>
            <a:ext cx="7845600" cy="6760799"/>
          </a:xfrm>
          <a:prstGeom prst="rect">
            <a:avLst/>
          </a:prstGeom>
        </p:spPr>
      </p:pic>
      <p:sp>
        <p:nvSpPr>
          <p:cNvPr id="4" name="MIO_TEXTBOX_BODY">
            <a:extLst>
              <a:ext uri="{FF2B5EF4-FFF2-40B4-BE49-F238E27FC236}">
                <a16:creationId xmlns:a16="http://schemas.microsoft.com/office/drawing/2014/main" id="{2D993326-28B1-4588-8488-446C835E98D6}"/>
              </a:ext>
            </a:extLst>
          </p:cNvPr>
          <p:cNvSpPr txBox="1"/>
          <p:nvPr/>
        </p:nvSpPr>
        <p:spPr>
          <a:xfrm>
            <a:off x="458788" y="1387800"/>
            <a:ext cx="3498812" cy="5054399"/>
          </a:xfrm>
          <a:prstGeom prst="rect">
            <a:avLst/>
          </a:prstGeom>
          <a:noFill/>
        </p:spPr>
        <p:txBody>
          <a:bodyPr wrap="square" lIns="0" tIns="0" rIns="0" bIns="0" rtlCol="0">
            <a:noAutofit/>
          </a:bodyPr>
          <a:lstStyle/>
          <a:p>
            <a:pPr>
              <a:lnSpc>
                <a:spcPct val="120000"/>
              </a:lnSpc>
              <a:spcBef>
                <a:spcPts val="500"/>
              </a:spcBef>
              <a:buClr>
                <a:schemeClr val="tx2"/>
              </a:buClr>
              <a:buSzPct val="100000"/>
            </a:pPr>
            <a:r>
              <a:rPr lang="en-US" sz="1600" dirty="0"/>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Donec pede justo, fringilla vel, aliquet nec, vulputate eget, arcu. </a:t>
            </a:r>
          </a:p>
          <a:p>
            <a:pPr>
              <a:lnSpc>
                <a:spcPct val="120000"/>
              </a:lnSpc>
              <a:spcBef>
                <a:spcPts val="500"/>
              </a:spcBef>
              <a:buClr>
                <a:schemeClr val="tx2"/>
              </a:buClr>
              <a:buSzPct val="100000"/>
            </a:pPr>
            <a:r>
              <a:rPr lang="en-US" sz="1600" dirty="0"/>
              <a:t>Lorem ipsum dolor sit amet, consectetuer adipiscing elit. Aenean commodo ligula eget dolor. Aenean massa. </a:t>
            </a:r>
          </a:p>
        </p:txBody>
      </p:sp>
      <p:sp>
        <p:nvSpPr>
          <p:cNvPr id="7" name="MIO_TEXTBOX_HEADER">
            <a:extLst>
              <a:ext uri="{FF2B5EF4-FFF2-40B4-BE49-F238E27FC236}">
                <a16:creationId xmlns:a16="http://schemas.microsoft.com/office/drawing/2014/main" id="{8C3DC45D-513A-4015-A5C4-7E99701D3ECF}"/>
              </a:ext>
            </a:extLst>
          </p:cNvPr>
          <p:cNvSpPr txBox="1"/>
          <p:nvPr/>
        </p:nvSpPr>
        <p:spPr>
          <a:xfrm>
            <a:off x="458788" y="901801"/>
            <a:ext cx="3498812" cy="486000"/>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800" dirty="0">
                <a:solidFill>
                  <a:schemeClr val="dk1"/>
                </a:solidFill>
              </a:rPr>
              <a:t>Lorem ipsum dolor sit amet</a:t>
            </a:r>
          </a:p>
        </p:txBody>
      </p:sp>
    </p:spTree>
    <p:custDataLst>
      <p:tags r:id="rId1"/>
    </p:custDataLst>
    <p:extLst>
      <p:ext uri="{BB962C8B-B14F-4D97-AF65-F5344CB8AC3E}">
        <p14:creationId xmlns:p14="http://schemas.microsoft.com/office/powerpoint/2010/main" val="162176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C00AF807-D06B-DC42-83F6-60F9F9A3CE2F}"/>
              </a:ext>
            </a:extLst>
          </p:cNvPr>
          <p:cNvSpPr>
            <a:spLocks/>
          </p:cNvSpPr>
          <p:nvPr/>
        </p:nvSpPr>
        <p:spPr bwMode="auto">
          <a:xfrm>
            <a:off x="5543487" y="5545887"/>
            <a:ext cx="1105026" cy="770200"/>
          </a:xfrm>
          <a:custGeom>
            <a:avLst/>
            <a:gdLst>
              <a:gd name="T0" fmla="*/ 0 w 673"/>
              <a:gd name="T1" fmla="*/ 0 h 546"/>
              <a:gd name="T2" fmla="*/ 202 w 673"/>
              <a:gd name="T3" fmla="*/ 546 h 546"/>
              <a:gd name="T4" fmla="*/ 470 w 673"/>
              <a:gd name="T5" fmla="*/ 546 h 546"/>
              <a:gd name="T6" fmla="*/ 673 w 673"/>
              <a:gd name="T7" fmla="*/ 0 h 546"/>
              <a:gd name="T8" fmla="*/ 0 w 673"/>
              <a:gd name="T9" fmla="*/ 0 h 546"/>
            </a:gdLst>
            <a:ahLst/>
            <a:cxnLst>
              <a:cxn ang="0">
                <a:pos x="T0" y="T1"/>
              </a:cxn>
              <a:cxn ang="0">
                <a:pos x="T2" y="T3"/>
              </a:cxn>
              <a:cxn ang="0">
                <a:pos x="T4" y="T5"/>
              </a:cxn>
              <a:cxn ang="0">
                <a:pos x="T6" y="T7"/>
              </a:cxn>
              <a:cxn ang="0">
                <a:pos x="T8" y="T9"/>
              </a:cxn>
            </a:cxnLst>
            <a:rect l="0" t="0" r="r" b="b"/>
            <a:pathLst>
              <a:path w="673" h="546">
                <a:moveTo>
                  <a:pt x="0" y="0"/>
                </a:moveTo>
                <a:lnTo>
                  <a:pt x="202" y="546"/>
                </a:lnTo>
                <a:lnTo>
                  <a:pt x="470" y="546"/>
                </a:lnTo>
                <a:lnTo>
                  <a:pt x="673" y="0"/>
                </a:lnTo>
                <a:lnTo>
                  <a:pt x="0" y="0"/>
                </a:lnTo>
                <a:close/>
              </a:path>
            </a:pathLst>
          </a:custGeom>
          <a:solidFill>
            <a:schemeClr val="accent5"/>
          </a:solidFill>
          <a:ln w="9525">
            <a:noFill/>
            <a:round/>
            <a:headEnd/>
            <a:tailEnd/>
          </a:ln>
        </p:spPr>
        <p:txBody>
          <a:bodyPr vert="horz" wrap="square" lIns="91416" tIns="45708" rIns="91416" bIns="45708" numCol="1" anchor="t" anchorCtr="0" compatLnSpc="1">
            <a:prstTxWarp prst="textNoShape">
              <a:avLst/>
            </a:prstTxWarp>
          </a:bodyPr>
          <a:lstStyle/>
          <a:p>
            <a:endParaRPr lang="en-US" sz="3599" dirty="0"/>
          </a:p>
        </p:txBody>
      </p:sp>
      <p:sp>
        <p:nvSpPr>
          <p:cNvPr id="4" name="Freeform 7">
            <a:extLst>
              <a:ext uri="{FF2B5EF4-FFF2-40B4-BE49-F238E27FC236}">
                <a16:creationId xmlns:a16="http://schemas.microsoft.com/office/drawing/2014/main" id="{673668CB-7DA2-4D45-ABEB-35703111F7CB}"/>
              </a:ext>
            </a:extLst>
          </p:cNvPr>
          <p:cNvSpPr>
            <a:spLocks/>
          </p:cNvSpPr>
          <p:nvPr/>
        </p:nvSpPr>
        <p:spPr bwMode="auto">
          <a:xfrm>
            <a:off x="4684752" y="3525572"/>
            <a:ext cx="2822497" cy="769354"/>
          </a:xfrm>
          <a:custGeom>
            <a:avLst/>
            <a:gdLst>
              <a:gd name="T0" fmla="*/ 1719 w 1719"/>
              <a:gd name="T1" fmla="*/ 0 h 547"/>
              <a:gd name="T2" fmla="*/ 0 w 1719"/>
              <a:gd name="T3" fmla="*/ 0 h 547"/>
              <a:gd name="T4" fmla="*/ 166 w 1719"/>
              <a:gd name="T5" fmla="*/ 453 h 547"/>
              <a:gd name="T6" fmla="*/ 200 w 1719"/>
              <a:gd name="T7" fmla="*/ 547 h 547"/>
              <a:gd name="T8" fmla="*/ 1519 w 1719"/>
              <a:gd name="T9" fmla="*/ 547 h 547"/>
              <a:gd name="T10" fmla="*/ 1553 w 1719"/>
              <a:gd name="T11" fmla="*/ 453 h 547"/>
              <a:gd name="T12" fmla="*/ 1719 w 1719"/>
              <a:gd name="T13" fmla="*/ 0 h 547"/>
            </a:gdLst>
            <a:ahLst/>
            <a:cxnLst>
              <a:cxn ang="0">
                <a:pos x="T0" y="T1"/>
              </a:cxn>
              <a:cxn ang="0">
                <a:pos x="T2" y="T3"/>
              </a:cxn>
              <a:cxn ang="0">
                <a:pos x="T4" y="T5"/>
              </a:cxn>
              <a:cxn ang="0">
                <a:pos x="T6" y="T7"/>
              </a:cxn>
              <a:cxn ang="0">
                <a:pos x="T8" y="T9"/>
              </a:cxn>
              <a:cxn ang="0">
                <a:pos x="T10" y="T11"/>
              </a:cxn>
              <a:cxn ang="0">
                <a:pos x="T12" y="T13"/>
              </a:cxn>
            </a:cxnLst>
            <a:rect l="0" t="0" r="r" b="b"/>
            <a:pathLst>
              <a:path w="1719" h="547">
                <a:moveTo>
                  <a:pt x="1719" y="0"/>
                </a:moveTo>
                <a:lnTo>
                  <a:pt x="0" y="0"/>
                </a:lnTo>
                <a:lnTo>
                  <a:pt x="166" y="453"/>
                </a:lnTo>
                <a:lnTo>
                  <a:pt x="200" y="547"/>
                </a:lnTo>
                <a:lnTo>
                  <a:pt x="1519" y="547"/>
                </a:lnTo>
                <a:lnTo>
                  <a:pt x="1553" y="453"/>
                </a:lnTo>
                <a:lnTo>
                  <a:pt x="1719" y="0"/>
                </a:lnTo>
                <a:close/>
              </a:path>
            </a:pathLst>
          </a:custGeom>
          <a:solidFill>
            <a:schemeClr val="accent3"/>
          </a:solidFill>
          <a:ln w="9525">
            <a:noFill/>
            <a:round/>
            <a:headEnd/>
            <a:tailEnd/>
          </a:ln>
        </p:spPr>
        <p:txBody>
          <a:bodyPr vert="horz" wrap="square" lIns="91416" tIns="45708" rIns="91416" bIns="45708" numCol="1" anchor="t" anchorCtr="0" compatLnSpc="1">
            <a:prstTxWarp prst="textNoShape">
              <a:avLst/>
            </a:prstTxWarp>
          </a:bodyPr>
          <a:lstStyle/>
          <a:p>
            <a:endParaRPr lang="en-US" sz="3599" dirty="0"/>
          </a:p>
        </p:txBody>
      </p:sp>
      <p:sp>
        <p:nvSpPr>
          <p:cNvPr id="5" name="Freeform 9">
            <a:extLst>
              <a:ext uri="{FF2B5EF4-FFF2-40B4-BE49-F238E27FC236}">
                <a16:creationId xmlns:a16="http://schemas.microsoft.com/office/drawing/2014/main" id="{E4C1727B-9669-D645-AEA5-A2C2BB2F95CB}"/>
              </a:ext>
            </a:extLst>
          </p:cNvPr>
          <p:cNvSpPr>
            <a:spLocks/>
          </p:cNvSpPr>
          <p:nvPr/>
        </p:nvSpPr>
        <p:spPr bwMode="auto">
          <a:xfrm>
            <a:off x="5116582" y="4532623"/>
            <a:ext cx="1958836" cy="770200"/>
          </a:xfrm>
          <a:custGeom>
            <a:avLst/>
            <a:gdLst>
              <a:gd name="T0" fmla="*/ 0 w 1193"/>
              <a:gd name="T1" fmla="*/ 0 h 546"/>
              <a:gd name="T2" fmla="*/ 200 w 1193"/>
              <a:gd name="T3" fmla="*/ 546 h 546"/>
              <a:gd name="T4" fmla="*/ 993 w 1193"/>
              <a:gd name="T5" fmla="*/ 546 h 546"/>
              <a:gd name="T6" fmla="*/ 1193 w 1193"/>
              <a:gd name="T7" fmla="*/ 0 h 546"/>
              <a:gd name="T8" fmla="*/ 0 w 1193"/>
              <a:gd name="T9" fmla="*/ 0 h 546"/>
            </a:gdLst>
            <a:ahLst/>
            <a:cxnLst>
              <a:cxn ang="0">
                <a:pos x="T0" y="T1"/>
              </a:cxn>
              <a:cxn ang="0">
                <a:pos x="T2" y="T3"/>
              </a:cxn>
              <a:cxn ang="0">
                <a:pos x="T4" y="T5"/>
              </a:cxn>
              <a:cxn ang="0">
                <a:pos x="T6" y="T7"/>
              </a:cxn>
              <a:cxn ang="0">
                <a:pos x="T8" y="T9"/>
              </a:cxn>
            </a:cxnLst>
            <a:rect l="0" t="0" r="r" b="b"/>
            <a:pathLst>
              <a:path w="1193" h="546">
                <a:moveTo>
                  <a:pt x="0" y="0"/>
                </a:moveTo>
                <a:lnTo>
                  <a:pt x="200" y="546"/>
                </a:lnTo>
                <a:lnTo>
                  <a:pt x="993" y="546"/>
                </a:lnTo>
                <a:lnTo>
                  <a:pt x="1193" y="0"/>
                </a:lnTo>
                <a:lnTo>
                  <a:pt x="0" y="0"/>
                </a:lnTo>
                <a:close/>
              </a:path>
            </a:pathLst>
          </a:custGeom>
          <a:solidFill>
            <a:schemeClr val="accent4"/>
          </a:solidFill>
          <a:ln w="9525">
            <a:noFill/>
            <a:round/>
            <a:headEnd/>
            <a:tailEnd/>
          </a:ln>
        </p:spPr>
        <p:txBody>
          <a:bodyPr vert="horz" wrap="square" lIns="91416" tIns="45708" rIns="91416" bIns="45708" numCol="1" anchor="t" anchorCtr="0" compatLnSpc="1">
            <a:prstTxWarp prst="textNoShape">
              <a:avLst/>
            </a:prstTxWarp>
          </a:bodyPr>
          <a:lstStyle/>
          <a:p>
            <a:endParaRPr lang="en-US" sz="3599" dirty="0"/>
          </a:p>
        </p:txBody>
      </p:sp>
      <p:sp>
        <p:nvSpPr>
          <p:cNvPr id="6" name="Freeform 11">
            <a:extLst>
              <a:ext uri="{FF2B5EF4-FFF2-40B4-BE49-F238E27FC236}">
                <a16:creationId xmlns:a16="http://schemas.microsoft.com/office/drawing/2014/main" id="{F7A1BBAE-B96F-9145-935B-59252301905E}"/>
              </a:ext>
            </a:extLst>
          </p:cNvPr>
          <p:cNvSpPr>
            <a:spLocks/>
          </p:cNvSpPr>
          <p:nvPr/>
        </p:nvSpPr>
        <p:spPr bwMode="auto">
          <a:xfrm>
            <a:off x="4251280" y="2512895"/>
            <a:ext cx="3689441" cy="769354"/>
          </a:xfrm>
          <a:custGeom>
            <a:avLst/>
            <a:gdLst>
              <a:gd name="T0" fmla="*/ 0 w 2247"/>
              <a:gd name="T1" fmla="*/ 0 h 547"/>
              <a:gd name="T2" fmla="*/ 200 w 2247"/>
              <a:gd name="T3" fmla="*/ 547 h 547"/>
              <a:gd name="T4" fmla="*/ 2045 w 2247"/>
              <a:gd name="T5" fmla="*/ 547 h 547"/>
              <a:gd name="T6" fmla="*/ 2247 w 2247"/>
              <a:gd name="T7" fmla="*/ 0 h 547"/>
              <a:gd name="T8" fmla="*/ 0 w 2247"/>
              <a:gd name="T9" fmla="*/ 0 h 547"/>
            </a:gdLst>
            <a:ahLst/>
            <a:cxnLst>
              <a:cxn ang="0">
                <a:pos x="T0" y="T1"/>
              </a:cxn>
              <a:cxn ang="0">
                <a:pos x="T2" y="T3"/>
              </a:cxn>
              <a:cxn ang="0">
                <a:pos x="T4" y="T5"/>
              </a:cxn>
              <a:cxn ang="0">
                <a:pos x="T6" y="T7"/>
              </a:cxn>
              <a:cxn ang="0">
                <a:pos x="T8" y="T9"/>
              </a:cxn>
            </a:cxnLst>
            <a:rect l="0" t="0" r="r" b="b"/>
            <a:pathLst>
              <a:path w="2247" h="547">
                <a:moveTo>
                  <a:pt x="0" y="0"/>
                </a:moveTo>
                <a:lnTo>
                  <a:pt x="200" y="547"/>
                </a:lnTo>
                <a:lnTo>
                  <a:pt x="2045" y="547"/>
                </a:lnTo>
                <a:lnTo>
                  <a:pt x="2247" y="0"/>
                </a:lnTo>
                <a:lnTo>
                  <a:pt x="0" y="0"/>
                </a:lnTo>
                <a:close/>
              </a:path>
            </a:pathLst>
          </a:custGeom>
          <a:solidFill>
            <a:schemeClr val="accent2"/>
          </a:solidFill>
          <a:ln w="9525">
            <a:noFill/>
            <a:round/>
            <a:headEnd/>
            <a:tailEnd/>
          </a:ln>
        </p:spPr>
        <p:txBody>
          <a:bodyPr vert="horz" wrap="square" lIns="91416" tIns="45708" rIns="91416" bIns="45708" numCol="1" anchor="t" anchorCtr="0" compatLnSpc="1">
            <a:prstTxWarp prst="textNoShape">
              <a:avLst/>
            </a:prstTxWarp>
          </a:bodyPr>
          <a:lstStyle/>
          <a:p>
            <a:endParaRPr lang="en-US" sz="3599" dirty="0"/>
          </a:p>
        </p:txBody>
      </p:sp>
      <p:sp>
        <p:nvSpPr>
          <p:cNvPr id="7" name="Freeform 13">
            <a:extLst>
              <a:ext uri="{FF2B5EF4-FFF2-40B4-BE49-F238E27FC236}">
                <a16:creationId xmlns:a16="http://schemas.microsoft.com/office/drawing/2014/main" id="{AD5EC51A-401F-1043-83E9-41870FFF6B30}"/>
              </a:ext>
            </a:extLst>
          </p:cNvPr>
          <p:cNvSpPr>
            <a:spLocks/>
          </p:cNvSpPr>
          <p:nvPr/>
        </p:nvSpPr>
        <p:spPr bwMode="auto">
          <a:xfrm>
            <a:off x="3817808" y="1500218"/>
            <a:ext cx="4556386" cy="769354"/>
          </a:xfrm>
          <a:custGeom>
            <a:avLst/>
            <a:gdLst>
              <a:gd name="T0" fmla="*/ 1387 w 2775"/>
              <a:gd name="T1" fmla="*/ 0 h 547"/>
              <a:gd name="T2" fmla="*/ 0 w 2775"/>
              <a:gd name="T3" fmla="*/ 0 h 547"/>
              <a:gd name="T4" fmla="*/ 200 w 2775"/>
              <a:gd name="T5" fmla="*/ 547 h 547"/>
              <a:gd name="T6" fmla="*/ 2575 w 2775"/>
              <a:gd name="T7" fmla="*/ 547 h 547"/>
              <a:gd name="T8" fmla="*/ 2775 w 2775"/>
              <a:gd name="T9" fmla="*/ 0 h 547"/>
              <a:gd name="T10" fmla="*/ 1387 w 2775"/>
              <a:gd name="T11" fmla="*/ 0 h 547"/>
            </a:gdLst>
            <a:ahLst/>
            <a:cxnLst>
              <a:cxn ang="0">
                <a:pos x="T0" y="T1"/>
              </a:cxn>
              <a:cxn ang="0">
                <a:pos x="T2" y="T3"/>
              </a:cxn>
              <a:cxn ang="0">
                <a:pos x="T4" y="T5"/>
              </a:cxn>
              <a:cxn ang="0">
                <a:pos x="T6" y="T7"/>
              </a:cxn>
              <a:cxn ang="0">
                <a:pos x="T8" y="T9"/>
              </a:cxn>
              <a:cxn ang="0">
                <a:pos x="T10" y="T11"/>
              </a:cxn>
            </a:cxnLst>
            <a:rect l="0" t="0" r="r" b="b"/>
            <a:pathLst>
              <a:path w="2775" h="547">
                <a:moveTo>
                  <a:pt x="1387" y="0"/>
                </a:moveTo>
                <a:lnTo>
                  <a:pt x="0" y="0"/>
                </a:lnTo>
                <a:lnTo>
                  <a:pt x="200" y="547"/>
                </a:lnTo>
                <a:lnTo>
                  <a:pt x="2575" y="547"/>
                </a:lnTo>
                <a:lnTo>
                  <a:pt x="2775" y="0"/>
                </a:lnTo>
                <a:lnTo>
                  <a:pt x="1387" y="0"/>
                </a:lnTo>
                <a:close/>
              </a:path>
            </a:pathLst>
          </a:custGeom>
          <a:solidFill>
            <a:schemeClr val="accent1"/>
          </a:solidFill>
          <a:ln w="9525">
            <a:noFill/>
            <a:round/>
            <a:headEnd/>
            <a:tailEnd/>
          </a:ln>
        </p:spPr>
        <p:txBody>
          <a:bodyPr vert="horz" wrap="square" lIns="91416" tIns="45708" rIns="91416" bIns="45708" numCol="1" anchor="t" anchorCtr="0" compatLnSpc="1">
            <a:prstTxWarp prst="textNoShape">
              <a:avLst/>
            </a:prstTxWarp>
          </a:bodyPr>
          <a:lstStyle/>
          <a:p>
            <a:endParaRPr lang="en-US" sz="3599" dirty="0"/>
          </a:p>
        </p:txBody>
      </p:sp>
      <p:sp>
        <p:nvSpPr>
          <p:cNvPr id="8" name="Freeform 1047">
            <a:extLst>
              <a:ext uri="{FF2B5EF4-FFF2-40B4-BE49-F238E27FC236}">
                <a16:creationId xmlns:a16="http://schemas.microsoft.com/office/drawing/2014/main" id="{B2CA7CAF-C0F8-1D4E-88E9-113A1EC720B6}"/>
              </a:ext>
            </a:extLst>
          </p:cNvPr>
          <p:cNvSpPr>
            <a:spLocks noChangeAspect="1" noChangeArrowheads="1"/>
          </p:cNvSpPr>
          <p:nvPr/>
        </p:nvSpPr>
        <p:spPr bwMode="auto">
          <a:xfrm>
            <a:off x="4399320" y="1621973"/>
            <a:ext cx="528762" cy="525842"/>
          </a:xfrm>
          <a:custGeom>
            <a:avLst/>
            <a:gdLst>
              <a:gd name="T0" fmla="*/ 229384 w 286977"/>
              <a:gd name="T1" fmla="*/ 251968 h 285393"/>
              <a:gd name="T2" fmla="*/ 224597 w 286977"/>
              <a:gd name="T3" fmla="*/ 286823 h 285393"/>
              <a:gd name="T4" fmla="*/ 220180 w 286977"/>
              <a:gd name="T5" fmla="*/ 251968 h 285393"/>
              <a:gd name="T6" fmla="*/ 63245 w 286977"/>
              <a:gd name="T7" fmla="*/ 247297 h 285393"/>
              <a:gd name="T8" fmla="*/ 68224 w 286977"/>
              <a:gd name="T9" fmla="*/ 282512 h 285393"/>
              <a:gd name="T10" fmla="*/ 59034 w 286977"/>
              <a:gd name="T11" fmla="*/ 282512 h 285393"/>
              <a:gd name="T12" fmla="*/ 63245 w 286977"/>
              <a:gd name="T13" fmla="*/ 247297 h 285393"/>
              <a:gd name="T14" fmla="*/ 151287 w 286977"/>
              <a:gd name="T15" fmla="*/ 193983 h 285393"/>
              <a:gd name="T16" fmla="*/ 200264 w 286977"/>
              <a:gd name="T17" fmla="*/ 182424 h 285393"/>
              <a:gd name="T18" fmla="*/ 103397 w 286977"/>
              <a:gd name="T19" fmla="*/ 171948 h 285393"/>
              <a:gd name="T20" fmla="*/ 111015 w 286977"/>
              <a:gd name="T21" fmla="*/ 217103 h 285393"/>
              <a:gd name="T22" fmla="*/ 103397 w 286977"/>
              <a:gd name="T23" fmla="*/ 171948 h 285393"/>
              <a:gd name="T24" fmla="*/ 111015 w 286977"/>
              <a:gd name="T25" fmla="*/ 158221 h 285393"/>
              <a:gd name="T26" fmla="*/ 144030 w 286977"/>
              <a:gd name="T27" fmla="*/ 188204 h 285393"/>
              <a:gd name="T28" fmla="*/ 177045 w 286977"/>
              <a:gd name="T29" fmla="*/ 158221 h 285393"/>
              <a:gd name="T30" fmla="*/ 144030 w 286977"/>
              <a:gd name="T31" fmla="*/ 156776 h 285393"/>
              <a:gd name="T32" fmla="*/ 167250 w 286977"/>
              <a:gd name="T33" fmla="*/ 38651 h 285393"/>
              <a:gd name="T34" fmla="*/ 164347 w 286977"/>
              <a:gd name="T35" fmla="*/ 52741 h 285393"/>
              <a:gd name="T36" fmla="*/ 87071 w 286977"/>
              <a:gd name="T37" fmla="*/ 44794 h 285393"/>
              <a:gd name="T38" fmla="*/ 144030 w 286977"/>
              <a:gd name="T39" fmla="*/ 148107 h 285393"/>
              <a:gd name="T40" fmla="*/ 198450 w 286977"/>
              <a:gd name="T41" fmla="*/ 39015 h 285393"/>
              <a:gd name="T42" fmla="*/ 179585 w 286977"/>
              <a:gd name="T43" fmla="*/ 46239 h 285393"/>
              <a:gd name="T44" fmla="*/ 144030 w 286977"/>
              <a:gd name="T45" fmla="*/ 9030 h 285393"/>
              <a:gd name="T46" fmla="*/ 158542 w 286977"/>
              <a:gd name="T47" fmla="*/ 45153 h 285393"/>
              <a:gd name="T48" fmla="*/ 160719 w 286977"/>
              <a:gd name="T49" fmla="*/ 27093 h 285393"/>
              <a:gd name="T50" fmla="*/ 182487 w 286977"/>
              <a:gd name="T51" fmla="*/ 37569 h 285393"/>
              <a:gd name="T52" fmla="*/ 144030 w 286977"/>
              <a:gd name="T53" fmla="*/ 9030 h 285393"/>
              <a:gd name="T54" fmla="*/ 214776 w 286977"/>
              <a:gd name="T55" fmla="*/ 72247 h 285393"/>
              <a:gd name="T56" fmla="*/ 185751 w 286977"/>
              <a:gd name="T57" fmla="*/ 155693 h 285393"/>
              <a:gd name="T58" fmla="*/ 245977 w 286977"/>
              <a:gd name="T59" fmla="*/ 182062 h 285393"/>
              <a:gd name="T60" fmla="*/ 288423 w 286977"/>
              <a:gd name="T61" fmla="*/ 282487 h 285393"/>
              <a:gd name="T62" fmla="*/ 279355 w 286977"/>
              <a:gd name="T63" fmla="*/ 282487 h 285393"/>
              <a:gd name="T64" fmla="*/ 244163 w 286977"/>
              <a:gd name="T65" fmla="*/ 190732 h 285393"/>
              <a:gd name="T66" fmla="*/ 181399 w 286977"/>
              <a:gd name="T67" fmla="*/ 225772 h 285393"/>
              <a:gd name="T68" fmla="*/ 178134 w 286977"/>
              <a:gd name="T69" fmla="*/ 227578 h 285393"/>
              <a:gd name="T70" fmla="*/ 148384 w 286977"/>
              <a:gd name="T71" fmla="*/ 203015 h 285393"/>
              <a:gd name="T72" fmla="*/ 144030 w 286977"/>
              <a:gd name="T73" fmla="*/ 286821 h 285393"/>
              <a:gd name="T74" fmla="*/ 139676 w 286977"/>
              <a:gd name="T75" fmla="*/ 203015 h 285393"/>
              <a:gd name="T76" fmla="*/ 109928 w 286977"/>
              <a:gd name="T77" fmla="*/ 227578 h 285393"/>
              <a:gd name="T78" fmla="*/ 106299 w 286977"/>
              <a:gd name="T79" fmla="*/ 225772 h 285393"/>
              <a:gd name="T80" fmla="*/ 43898 w 286977"/>
              <a:gd name="T81" fmla="*/ 190732 h 285393"/>
              <a:gd name="T82" fmla="*/ 8707 w 286977"/>
              <a:gd name="T83" fmla="*/ 282487 h 285393"/>
              <a:gd name="T84" fmla="*/ 0 w 286977"/>
              <a:gd name="T85" fmla="*/ 282487 h 285393"/>
              <a:gd name="T86" fmla="*/ 42446 w 286977"/>
              <a:gd name="T87" fmla="*/ 182062 h 285393"/>
              <a:gd name="T88" fmla="*/ 102309 w 286977"/>
              <a:gd name="T89" fmla="*/ 155693 h 285393"/>
              <a:gd name="T90" fmla="*/ 73647 w 286977"/>
              <a:gd name="T91" fmla="*/ 72247 h 2853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6977" h="285393">
                <a:moveTo>
                  <a:pt x="223471" y="246063"/>
                </a:moveTo>
                <a:cubicBezTo>
                  <a:pt x="226036" y="246063"/>
                  <a:pt x="228234" y="248208"/>
                  <a:pt x="228234" y="250711"/>
                </a:cubicBezTo>
                <a:lnTo>
                  <a:pt x="228234" y="281102"/>
                </a:lnTo>
                <a:cubicBezTo>
                  <a:pt x="228234" y="283247"/>
                  <a:pt x="226036" y="285393"/>
                  <a:pt x="223471" y="285393"/>
                </a:cubicBezTo>
                <a:cubicBezTo>
                  <a:pt x="221273" y="285393"/>
                  <a:pt x="219075" y="283247"/>
                  <a:pt x="219075" y="281102"/>
                </a:cubicBezTo>
                <a:lnTo>
                  <a:pt x="219075" y="250711"/>
                </a:lnTo>
                <a:cubicBezTo>
                  <a:pt x="219075" y="248208"/>
                  <a:pt x="221273" y="246063"/>
                  <a:pt x="223471" y="246063"/>
                </a:cubicBezTo>
                <a:close/>
                <a:moveTo>
                  <a:pt x="62929" y="246063"/>
                </a:moveTo>
                <a:cubicBezTo>
                  <a:pt x="65596" y="246063"/>
                  <a:pt x="67882" y="248208"/>
                  <a:pt x="67882" y="250711"/>
                </a:cubicBezTo>
                <a:lnTo>
                  <a:pt x="67882" y="281102"/>
                </a:lnTo>
                <a:cubicBezTo>
                  <a:pt x="67882" y="283247"/>
                  <a:pt x="65596" y="285393"/>
                  <a:pt x="62929" y="285393"/>
                </a:cubicBezTo>
                <a:cubicBezTo>
                  <a:pt x="61024" y="285393"/>
                  <a:pt x="58738" y="283247"/>
                  <a:pt x="58738" y="281102"/>
                </a:cubicBezTo>
                <a:lnTo>
                  <a:pt x="58738" y="250711"/>
                </a:lnTo>
                <a:cubicBezTo>
                  <a:pt x="58738" y="248208"/>
                  <a:pt x="61024" y="246063"/>
                  <a:pt x="62929" y="246063"/>
                </a:cubicBezTo>
                <a:close/>
                <a:moveTo>
                  <a:pt x="183376" y="171090"/>
                </a:moveTo>
                <a:lnTo>
                  <a:pt x="150528" y="193016"/>
                </a:lnTo>
                <a:lnTo>
                  <a:pt x="176518" y="216020"/>
                </a:lnTo>
                <a:lnTo>
                  <a:pt x="199259" y="181514"/>
                </a:lnTo>
                <a:cubicBezTo>
                  <a:pt x="193123" y="180076"/>
                  <a:pt x="188069" y="176122"/>
                  <a:pt x="183376" y="171090"/>
                </a:cubicBezTo>
                <a:close/>
                <a:moveTo>
                  <a:pt x="102878" y="171090"/>
                </a:moveTo>
                <a:cubicBezTo>
                  <a:pt x="98908" y="176122"/>
                  <a:pt x="93132" y="180076"/>
                  <a:pt x="86995" y="181514"/>
                </a:cubicBezTo>
                <a:lnTo>
                  <a:pt x="110459" y="216020"/>
                </a:lnTo>
                <a:lnTo>
                  <a:pt x="136088" y="193016"/>
                </a:lnTo>
                <a:lnTo>
                  <a:pt x="102878" y="171090"/>
                </a:lnTo>
                <a:close/>
                <a:moveTo>
                  <a:pt x="112986" y="147368"/>
                </a:moveTo>
                <a:lnTo>
                  <a:pt x="110459" y="157432"/>
                </a:lnTo>
                <a:cubicBezTo>
                  <a:pt x="110098" y="159588"/>
                  <a:pt x="108654" y="161745"/>
                  <a:pt x="107932" y="163902"/>
                </a:cubicBezTo>
                <a:lnTo>
                  <a:pt x="143308" y="187265"/>
                </a:lnTo>
                <a:lnTo>
                  <a:pt x="179045" y="163902"/>
                </a:lnTo>
                <a:cubicBezTo>
                  <a:pt x="177601" y="161745"/>
                  <a:pt x="176879" y="159588"/>
                  <a:pt x="176157" y="157432"/>
                </a:cubicBezTo>
                <a:lnTo>
                  <a:pt x="173630" y="147368"/>
                </a:lnTo>
                <a:cubicBezTo>
                  <a:pt x="164245" y="152759"/>
                  <a:pt x="154137" y="155994"/>
                  <a:pt x="143308" y="155994"/>
                </a:cubicBezTo>
                <a:cubicBezTo>
                  <a:pt x="132479" y="155994"/>
                  <a:pt x="122371" y="152759"/>
                  <a:pt x="112986" y="147368"/>
                </a:cubicBezTo>
                <a:close/>
                <a:moveTo>
                  <a:pt x="166411" y="38459"/>
                </a:moveTo>
                <a:lnTo>
                  <a:pt x="166411" y="48164"/>
                </a:lnTo>
                <a:cubicBezTo>
                  <a:pt x="166411" y="50321"/>
                  <a:pt x="164967" y="52118"/>
                  <a:pt x="163523" y="52477"/>
                </a:cubicBezTo>
                <a:cubicBezTo>
                  <a:pt x="151249" y="56071"/>
                  <a:pt x="140420" y="57509"/>
                  <a:pt x="130674" y="57509"/>
                </a:cubicBezTo>
                <a:cubicBezTo>
                  <a:pt x="108654" y="57509"/>
                  <a:pt x="93493" y="49961"/>
                  <a:pt x="86635" y="44570"/>
                </a:cubicBezTo>
                <a:cubicBezTo>
                  <a:pt x="83386" y="52837"/>
                  <a:pt x="81942" y="61822"/>
                  <a:pt x="81942" y="71887"/>
                </a:cubicBezTo>
                <a:cubicBezTo>
                  <a:pt x="81942" y="113221"/>
                  <a:pt x="109376" y="147368"/>
                  <a:pt x="143308" y="147368"/>
                </a:cubicBezTo>
                <a:cubicBezTo>
                  <a:pt x="177240" y="147368"/>
                  <a:pt x="205035" y="113221"/>
                  <a:pt x="205035" y="71887"/>
                </a:cubicBezTo>
                <a:cubicBezTo>
                  <a:pt x="205035" y="59306"/>
                  <a:pt x="202147" y="48164"/>
                  <a:pt x="197455" y="38819"/>
                </a:cubicBezTo>
                <a:cubicBezTo>
                  <a:pt x="191318" y="43132"/>
                  <a:pt x="182654" y="46007"/>
                  <a:pt x="182294" y="46367"/>
                </a:cubicBezTo>
                <a:cubicBezTo>
                  <a:pt x="180850" y="46726"/>
                  <a:pt x="179767" y="46367"/>
                  <a:pt x="178684" y="46007"/>
                </a:cubicBezTo>
                <a:lnTo>
                  <a:pt x="166411" y="38459"/>
                </a:lnTo>
                <a:close/>
                <a:moveTo>
                  <a:pt x="143308" y="8986"/>
                </a:moveTo>
                <a:cubicBezTo>
                  <a:pt x="118761" y="8986"/>
                  <a:pt x="100713" y="19050"/>
                  <a:pt x="89883" y="37021"/>
                </a:cubicBezTo>
                <a:cubicBezTo>
                  <a:pt x="97825" y="42054"/>
                  <a:pt x="120927" y="55712"/>
                  <a:pt x="157747" y="44929"/>
                </a:cubicBezTo>
                <a:lnTo>
                  <a:pt x="157747" y="30911"/>
                </a:lnTo>
                <a:cubicBezTo>
                  <a:pt x="157747" y="29114"/>
                  <a:pt x="158469" y="27676"/>
                  <a:pt x="159913" y="26957"/>
                </a:cubicBezTo>
                <a:cubicBezTo>
                  <a:pt x="161357" y="26238"/>
                  <a:pt x="163162" y="26238"/>
                  <a:pt x="164245" y="26957"/>
                </a:cubicBezTo>
                <a:lnTo>
                  <a:pt x="181572" y="37381"/>
                </a:lnTo>
                <a:cubicBezTo>
                  <a:pt x="184459" y="35943"/>
                  <a:pt x="189152" y="34146"/>
                  <a:pt x="192762" y="31630"/>
                </a:cubicBezTo>
                <a:cubicBezTo>
                  <a:pt x="182654" y="16893"/>
                  <a:pt x="164967" y="8986"/>
                  <a:pt x="143308" y="8986"/>
                </a:cubicBezTo>
                <a:close/>
                <a:moveTo>
                  <a:pt x="143308" y="0"/>
                </a:moveTo>
                <a:cubicBezTo>
                  <a:pt x="185542" y="0"/>
                  <a:pt x="213699" y="28754"/>
                  <a:pt x="213699" y="71887"/>
                </a:cubicBezTo>
                <a:cubicBezTo>
                  <a:pt x="213699" y="101001"/>
                  <a:pt x="200703" y="127239"/>
                  <a:pt x="181572" y="142336"/>
                </a:cubicBezTo>
                <a:lnTo>
                  <a:pt x="184820" y="154916"/>
                </a:lnTo>
                <a:cubicBezTo>
                  <a:pt x="186986" y="164980"/>
                  <a:pt x="195650" y="173247"/>
                  <a:pt x="206118" y="174685"/>
                </a:cubicBezTo>
                <a:lnTo>
                  <a:pt x="244743" y="181154"/>
                </a:lnTo>
                <a:cubicBezTo>
                  <a:pt x="268928" y="185468"/>
                  <a:pt x="286977" y="206674"/>
                  <a:pt x="286977" y="230756"/>
                </a:cubicBezTo>
                <a:lnTo>
                  <a:pt x="286977" y="281078"/>
                </a:lnTo>
                <a:cubicBezTo>
                  <a:pt x="286977" y="283234"/>
                  <a:pt x="284811" y="285391"/>
                  <a:pt x="282284" y="285391"/>
                </a:cubicBezTo>
                <a:cubicBezTo>
                  <a:pt x="279758" y="285391"/>
                  <a:pt x="277953" y="283234"/>
                  <a:pt x="277953" y="281078"/>
                </a:cubicBezTo>
                <a:lnTo>
                  <a:pt x="277953" y="230756"/>
                </a:lnTo>
                <a:cubicBezTo>
                  <a:pt x="277953" y="210628"/>
                  <a:pt x="263153" y="193375"/>
                  <a:pt x="242938" y="189781"/>
                </a:cubicBezTo>
                <a:lnTo>
                  <a:pt x="208645" y="184030"/>
                </a:lnTo>
                <a:lnTo>
                  <a:pt x="180489" y="224646"/>
                </a:lnTo>
                <a:cubicBezTo>
                  <a:pt x="180128" y="225724"/>
                  <a:pt x="179045" y="226443"/>
                  <a:pt x="177601" y="226443"/>
                </a:cubicBezTo>
                <a:cubicBezTo>
                  <a:pt x="177240" y="226443"/>
                  <a:pt x="177240" y="226443"/>
                  <a:pt x="177240" y="226443"/>
                </a:cubicBezTo>
                <a:cubicBezTo>
                  <a:pt x="176157" y="226443"/>
                  <a:pt x="175435" y="226443"/>
                  <a:pt x="174352" y="225724"/>
                </a:cubicBezTo>
                <a:lnTo>
                  <a:pt x="147640" y="202002"/>
                </a:lnTo>
                <a:lnTo>
                  <a:pt x="147640" y="281078"/>
                </a:lnTo>
                <a:cubicBezTo>
                  <a:pt x="147640" y="283234"/>
                  <a:pt x="145835" y="285391"/>
                  <a:pt x="143308" y="285391"/>
                </a:cubicBezTo>
                <a:cubicBezTo>
                  <a:pt x="141142" y="285391"/>
                  <a:pt x="138976" y="283234"/>
                  <a:pt x="138976" y="281078"/>
                </a:cubicBezTo>
                <a:lnTo>
                  <a:pt x="138976" y="202002"/>
                </a:lnTo>
                <a:lnTo>
                  <a:pt x="112264" y="225724"/>
                </a:lnTo>
                <a:cubicBezTo>
                  <a:pt x="111542" y="226443"/>
                  <a:pt x="110459" y="226443"/>
                  <a:pt x="109376" y="226443"/>
                </a:cubicBezTo>
                <a:cubicBezTo>
                  <a:pt x="109015" y="226443"/>
                  <a:pt x="109015" y="226443"/>
                  <a:pt x="108654" y="226443"/>
                </a:cubicBezTo>
                <a:cubicBezTo>
                  <a:pt x="107571" y="226443"/>
                  <a:pt x="106127" y="225724"/>
                  <a:pt x="105766" y="224646"/>
                </a:cubicBezTo>
                <a:lnTo>
                  <a:pt x="77610" y="184030"/>
                </a:lnTo>
                <a:lnTo>
                  <a:pt x="43678" y="189781"/>
                </a:lnTo>
                <a:cubicBezTo>
                  <a:pt x="23463" y="193375"/>
                  <a:pt x="8663" y="210628"/>
                  <a:pt x="8663" y="230756"/>
                </a:cubicBezTo>
                <a:lnTo>
                  <a:pt x="8663" y="281078"/>
                </a:lnTo>
                <a:cubicBezTo>
                  <a:pt x="8663" y="283234"/>
                  <a:pt x="6859" y="285391"/>
                  <a:pt x="4693" y="285391"/>
                </a:cubicBezTo>
                <a:cubicBezTo>
                  <a:pt x="2166" y="285391"/>
                  <a:pt x="0" y="283234"/>
                  <a:pt x="0" y="281078"/>
                </a:cubicBezTo>
                <a:lnTo>
                  <a:pt x="0" y="230756"/>
                </a:lnTo>
                <a:cubicBezTo>
                  <a:pt x="0" y="206674"/>
                  <a:pt x="17688" y="185468"/>
                  <a:pt x="42234" y="181154"/>
                </a:cubicBezTo>
                <a:lnTo>
                  <a:pt x="80498" y="174685"/>
                </a:lnTo>
                <a:cubicBezTo>
                  <a:pt x="90605" y="173247"/>
                  <a:pt x="99269" y="164980"/>
                  <a:pt x="101796" y="154916"/>
                </a:cubicBezTo>
                <a:lnTo>
                  <a:pt x="105044" y="142336"/>
                </a:lnTo>
                <a:cubicBezTo>
                  <a:pt x="85913" y="127239"/>
                  <a:pt x="73278" y="101001"/>
                  <a:pt x="73278" y="71887"/>
                </a:cubicBezTo>
                <a:cubicBezTo>
                  <a:pt x="73278" y="28754"/>
                  <a:pt x="101435" y="0"/>
                  <a:pt x="143308" y="0"/>
                </a:cubicBezTo>
                <a:close/>
              </a:path>
            </a:pathLst>
          </a:custGeom>
          <a:solidFill>
            <a:schemeClr val="bg1"/>
          </a:solidFill>
          <a:ln>
            <a:noFill/>
          </a:ln>
          <a:effectLst/>
        </p:spPr>
        <p:txBody>
          <a:bodyPr anchor="ctr"/>
          <a:lstStyle/>
          <a:p>
            <a:endParaRPr lang="en-US" sz="900" dirty="0"/>
          </a:p>
        </p:txBody>
      </p:sp>
      <p:sp>
        <p:nvSpPr>
          <p:cNvPr id="9" name="Freeform 1048">
            <a:extLst>
              <a:ext uri="{FF2B5EF4-FFF2-40B4-BE49-F238E27FC236}">
                <a16:creationId xmlns:a16="http://schemas.microsoft.com/office/drawing/2014/main" id="{F234E63E-D629-ED49-97AA-CEDEA44CE021}"/>
              </a:ext>
            </a:extLst>
          </p:cNvPr>
          <p:cNvSpPr>
            <a:spLocks noChangeAspect="1" noChangeArrowheads="1"/>
          </p:cNvSpPr>
          <p:nvPr/>
        </p:nvSpPr>
        <p:spPr bwMode="auto">
          <a:xfrm>
            <a:off x="4978361" y="1621973"/>
            <a:ext cx="514156" cy="525842"/>
          </a:xfrm>
          <a:custGeom>
            <a:avLst/>
            <a:gdLst>
              <a:gd name="T0" fmla="*/ 232587 w 279041"/>
              <a:gd name="T1" fmla="*/ 257945 h 285396"/>
              <a:gd name="T2" fmla="*/ 227992 w 279041"/>
              <a:gd name="T3" fmla="*/ 286814 h 285396"/>
              <a:gd name="T4" fmla="*/ 223396 w 279041"/>
              <a:gd name="T5" fmla="*/ 257945 h 285396"/>
              <a:gd name="T6" fmla="*/ 53885 w 279041"/>
              <a:gd name="T7" fmla="*/ 253667 h 285396"/>
              <a:gd name="T8" fmla="*/ 58672 w 279041"/>
              <a:gd name="T9" fmla="*/ 282538 h 285396"/>
              <a:gd name="T10" fmla="*/ 49466 w 279041"/>
              <a:gd name="T11" fmla="*/ 282538 h 285396"/>
              <a:gd name="T12" fmla="*/ 53885 w 279041"/>
              <a:gd name="T13" fmla="*/ 253667 h 285396"/>
              <a:gd name="T14" fmla="*/ 110098 w 279041"/>
              <a:gd name="T15" fmla="*/ 180972 h 285396"/>
              <a:gd name="T16" fmla="*/ 140059 w 279041"/>
              <a:gd name="T17" fmla="*/ 247075 h 285396"/>
              <a:gd name="T18" fmla="*/ 170743 w 279041"/>
              <a:gd name="T19" fmla="*/ 180972 h 285396"/>
              <a:gd name="T20" fmla="*/ 140059 w 279041"/>
              <a:gd name="T21" fmla="*/ 188558 h 285396"/>
              <a:gd name="T22" fmla="*/ 169434 w 279041"/>
              <a:gd name="T23" fmla="*/ 78791 h 285396"/>
              <a:gd name="T24" fmla="*/ 84108 w 279041"/>
              <a:gd name="T25" fmla="*/ 89221 h 285396"/>
              <a:gd name="T26" fmla="*/ 140059 w 279041"/>
              <a:gd name="T27" fmla="*/ 180249 h 285396"/>
              <a:gd name="T28" fmla="*/ 196372 w 279041"/>
              <a:gd name="T29" fmla="*/ 87777 h 285396"/>
              <a:gd name="T30" fmla="*/ 140059 w 279041"/>
              <a:gd name="T31" fmla="*/ 9030 h 285396"/>
              <a:gd name="T32" fmla="*/ 63532 w 279041"/>
              <a:gd name="T33" fmla="*/ 201923 h 285396"/>
              <a:gd name="T34" fmla="*/ 102157 w 279041"/>
              <a:gd name="T35" fmla="*/ 178805 h 285396"/>
              <a:gd name="T36" fmla="*/ 72918 w 279041"/>
              <a:gd name="T37" fmla="*/ 107644 h 285396"/>
              <a:gd name="T38" fmla="*/ 80138 w 279041"/>
              <a:gd name="T39" fmla="*/ 78746 h 285396"/>
              <a:gd name="T40" fmla="*/ 137532 w 279041"/>
              <a:gd name="T41" fmla="*/ 79468 h 285396"/>
              <a:gd name="T42" fmla="*/ 204314 w 279041"/>
              <a:gd name="T43" fmla="*/ 83804 h 285396"/>
              <a:gd name="T44" fmla="*/ 177962 w 279041"/>
              <a:gd name="T45" fmla="*/ 175192 h 285396"/>
              <a:gd name="T46" fmla="*/ 199982 w 279041"/>
              <a:gd name="T47" fmla="*/ 199033 h 285396"/>
              <a:gd name="T48" fmla="*/ 237523 w 279041"/>
              <a:gd name="T49" fmla="*/ 120287 h 285396"/>
              <a:gd name="T50" fmla="*/ 140059 w 279041"/>
              <a:gd name="T51" fmla="*/ 0 h 285396"/>
              <a:gd name="T52" fmla="*/ 226333 w 279041"/>
              <a:gd name="T53" fmla="*/ 203368 h 285396"/>
              <a:gd name="T54" fmla="*/ 280479 w 279041"/>
              <a:gd name="T55" fmla="*/ 265136 h 285396"/>
              <a:gd name="T56" fmla="*/ 276148 w 279041"/>
              <a:gd name="T57" fmla="*/ 286809 h 285396"/>
              <a:gd name="T58" fmla="*/ 272177 w 279041"/>
              <a:gd name="T59" fmla="*/ 265136 h 285396"/>
              <a:gd name="T60" fmla="*/ 205757 w 279041"/>
              <a:gd name="T61" fmla="*/ 208786 h 285396"/>
              <a:gd name="T62" fmla="*/ 144392 w 279041"/>
              <a:gd name="T63" fmla="*/ 282476 h 285396"/>
              <a:gd name="T64" fmla="*/ 136089 w 279041"/>
              <a:gd name="T65" fmla="*/ 282476 h 285396"/>
              <a:gd name="T66" fmla="*/ 74723 w 279041"/>
              <a:gd name="T67" fmla="*/ 208786 h 285396"/>
              <a:gd name="T68" fmla="*/ 9026 w 279041"/>
              <a:gd name="T69" fmla="*/ 265136 h 285396"/>
              <a:gd name="T70" fmla="*/ 4334 w 279041"/>
              <a:gd name="T71" fmla="*/ 286809 h 285396"/>
              <a:gd name="T72" fmla="*/ 0 w 279041"/>
              <a:gd name="T73" fmla="*/ 265136 h 285396"/>
              <a:gd name="T74" fmla="*/ 54146 w 279041"/>
              <a:gd name="T75" fmla="*/ 203368 h 285396"/>
              <a:gd name="T76" fmla="*/ 140059 w 279041"/>
              <a:gd name="T77" fmla="*/ 0 h 285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9041" h="285396">
                <a:moveTo>
                  <a:pt x="226822" y="252413"/>
                </a:moveTo>
                <a:cubicBezTo>
                  <a:pt x="229489" y="252413"/>
                  <a:pt x="231394" y="254186"/>
                  <a:pt x="231394" y="256669"/>
                </a:cubicBezTo>
                <a:lnTo>
                  <a:pt x="231394" y="281140"/>
                </a:lnTo>
                <a:cubicBezTo>
                  <a:pt x="231394" y="283268"/>
                  <a:pt x="229489" y="285396"/>
                  <a:pt x="226822" y="285396"/>
                </a:cubicBezTo>
                <a:cubicBezTo>
                  <a:pt x="224155" y="285396"/>
                  <a:pt x="222250" y="283268"/>
                  <a:pt x="222250" y="281140"/>
                </a:cubicBezTo>
                <a:lnTo>
                  <a:pt x="222250" y="256669"/>
                </a:lnTo>
                <a:cubicBezTo>
                  <a:pt x="222250" y="254186"/>
                  <a:pt x="224155" y="252413"/>
                  <a:pt x="226822" y="252413"/>
                </a:cubicBezTo>
                <a:close/>
                <a:moveTo>
                  <a:pt x="53609" y="252413"/>
                </a:moveTo>
                <a:cubicBezTo>
                  <a:pt x="56174" y="252413"/>
                  <a:pt x="58372" y="254186"/>
                  <a:pt x="58372" y="256669"/>
                </a:cubicBezTo>
                <a:lnTo>
                  <a:pt x="58372" y="281140"/>
                </a:lnTo>
                <a:cubicBezTo>
                  <a:pt x="58372" y="283268"/>
                  <a:pt x="56174" y="285396"/>
                  <a:pt x="53609" y="285396"/>
                </a:cubicBezTo>
                <a:cubicBezTo>
                  <a:pt x="51045" y="285396"/>
                  <a:pt x="49213" y="283268"/>
                  <a:pt x="49213" y="281140"/>
                </a:cubicBezTo>
                <a:lnTo>
                  <a:pt x="49213" y="256669"/>
                </a:lnTo>
                <a:cubicBezTo>
                  <a:pt x="49213" y="254186"/>
                  <a:pt x="51045" y="252413"/>
                  <a:pt x="53609" y="252413"/>
                </a:cubicBezTo>
                <a:close/>
                <a:moveTo>
                  <a:pt x="110252" y="179358"/>
                </a:moveTo>
                <a:lnTo>
                  <a:pt x="109534" y="180077"/>
                </a:lnTo>
                <a:cubicBezTo>
                  <a:pt x="106301" y="193376"/>
                  <a:pt x="95887" y="203080"/>
                  <a:pt x="82958" y="205956"/>
                </a:cubicBezTo>
                <a:cubicBezTo>
                  <a:pt x="86909" y="223928"/>
                  <a:pt x="123539" y="240102"/>
                  <a:pt x="139341" y="245853"/>
                </a:cubicBezTo>
                <a:cubicBezTo>
                  <a:pt x="155502" y="240102"/>
                  <a:pt x="192133" y="223928"/>
                  <a:pt x="196801" y="205956"/>
                </a:cubicBezTo>
                <a:cubicBezTo>
                  <a:pt x="183514" y="203080"/>
                  <a:pt x="173099" y="193376"/>
                  <a:pt x="169867" y="180077"/>
                </a:cubicBezTo>
                <a:lnTo>
                  <a:pt x="169508" y="179358"/>
                </a:lnTo>
                <a:cubicBezTo>
                  <a:pt x="160529" y="185109"/>
                  <a:pt x="150474" y="187625"/>
                  <a:pt x="139341" y="187625"/>
                </a:cubicBezTo>
                <a:cubicBezTo>
                  <a:pt x="129285" y="187625"/>
                  <a:pt x="118512" y="185109"/>
                  <a:pt x="110252" y="179358"/>
                </a:cubicBezTo>
                <a:close/>
                <a:moveTo>
                  <a:pt x="168565" y="78402"/>
                </a:moveTo>
                <a:cubicBezTo>
                  <a:pt x="159721" y="78357"/>
                  <a:pt x="150833" y="81232"/>
                  <a:pt x="141496" y="86983"/>
                </a:cubicBezTo>
                <a:cubicBezTo>
                  <a:pt x="118871" y="100282"/>
                  <a:pt x="96246" y="95610"/>
                  <a:pt x="83676" y="88780"/>
                </a:cubicBezTo>
                <a:cubicBezTo>
                  <a:pt x="81881" y="94531"/>
                  <a:pt x="81163" y="100642"/>
                  <a:pt x="81163" y="107112"/>
                </a:cubicBezTo>
                <a:cubicBezTo>
                  <a:pt x="81163" y="146649"/>
                  <a:pt x="107738" y="179358"/>
                  <a:pt x="139341" y="179358"/>
                </a:cubicBezTo>
                <a:cubicBezTo>
                  <a:pt x="172021" y="179358"/>
                  <a:pt x="197879" y="146649"/>
                  <a:pt x="197879" y="107112"/>
                </a:cubicBezTo>
                <a:cubicBezTo>
                  <a:pt x="197879" y="99923"/>
                  <a:pt x="197160" y="93453"/>
                  <a:pt x="195365" y="87343"/>
                </a:cubicBezTo>
                <a:cubicBezTo>
                  <a:pt x="186207" y="81412"/>
                  <a:pt x="177408" y="78447"/>
                  <a:pt x="168565" y="78402"/>
                </a:cubicBezTo>
                <a:close/>
                <a:moveTo>
                  <a:pt x="139341" y="8986"/>
                </a:moveTo>
                <a:cubicBezTo>
                  <a:pt x="81163" y="8986"/>
                  <a:pt x="43095" y="52118"/>
                  <a:pt x="43095" y="119692"/>
                </a:cubicBezTo>
                <a:cubicBezTo>
                  <a:pt x="43095" y="152041"/>
                  <a:pt x="50996" y="184030"/>
                  <a:pt x="63206" y="200924"/>
                </a:cubicBezTo>
                <a:lnTo>
                  <a:pt x="80085" y="198048"/>
                </a:lnTo>
                <a:cubicBezTo>
                  <a:pt x="90141" y="195892"/>
                  <a:pt x="98760" y="188344"/>
                  <a:pt x="101633" y="177920"/>
                </a:cubicBezTo>
                <a:lnTo>
                  <a:pt x="102351" y="174326"/>
                </a:lnTo>
                <a:cubicBezTo>
                  <a:pt x="84395" y="159589"/>
                  <a:pt x="72544" y="135147"/>
                  <a:pt x="72544" y="107112"/>
                </a:cubicBezTo>
                <a:cubicBezTo>
                  <a:pt x="72544" y="97766"/>
                  <a:pt x="74339" y="88780"/>
                  <a:pt x="76853" y="80873"/>
                </a:cubicBezTo>
                <a:cubicBezTo>
                  <a:pt x="77212" y="80154"/>
                  <a:pt x="78290" y="78716"/>
                  <a:pt x="79726" y="78357"/>
                </a:cubicBezTo>
                <a:cubicBezTo>
                  <a:pt x="80803" y="77997"/>
                  <a:pt x="82599" y="78357"/>
                  <a:pt x="83317" y="78716"/>
                </a:cubicBezTo>
                <a:cubicBezTo>
                  <a:pt x="92296" y="84827"/>
                  <a:pt x="114920" y="92734"/>
                  <a:pt x="136827" y="79076"/>
                </a:cubicBezTo>
                <a:cubicBezTo>
                  <a:pt x="158734" y="66136"/>
                  <a:pt x="179922" y="66496"/>
                  <a:pt x="200752" y="80873"/>
                </a:cubicBezTo>
                <a:cubicBezTo>
                  <a:pt x="201829" y="81232"/>
                  <a:pt x="202906" y="81951"/>
                  <a:pt x="203265" y="83389"/>
                </a:cubicBezTo>
                <a:cubicBezTo>
                  <a:pt x="205420" y="90937"/>
                  <a:pt x="206857" y="98845"/>
                  <a:pt x="206857" y="107112"/>
                </a:cubicBezTo>
                <a:cubicBezTo>
                  <a:pt x="206857" y="135147"/>
                  <a:pt x="194646" y="159589"/>
                  <a:pt x="177049" y="174326"/>
                </a:cubicBezTo>
                <a:lnTo>
                  <a:pt x="178127" y="177920"/>
                </a:lnTo>
                <a:cubicBezTo>
                  <a:pt x="180281" y="188344"/>
                  <a:pt x="188541" y="195892"/>
                  <a:pt x="198956" y="198048"/>
                </a:cubicBezTo>
                <a:lnTo>
                  <a:pt x="216194" y="200924"/>
                </a:lnTo>
                <a:cubicBezTo>
                  <a:pt x="228404" y="184030"/>
                  <a:pt x="236305" y="152041"/>
                  <a:pt x="236305" y="119692"/>
                </a:cubicBezTo>
                <a:cubicBezTo>
                  <a:pt x="236305" y="52118"/>
                  <a:pt x="198238" y="8986"/>
                  <a:pt x="139341" y="8986"/>
                </a:cubicBezTo>
                <a:close/>
                <a:moveTo>
                  <a:pt x="139341" y="0"/>
                </a:moveTo>
                <a:cubicBezTo>
                  <a:pt x="203625" y="0"/>
                  <a:pt x="244924" y="46727"/>
                  <a:pt x="244924" y="119692"/>
                </a:cubicBezTo>
                <a:cubicBezTo>
                  <a:pt x="244924" y="152400"/>
                  <a:pt x="237382" y="183312"/>
                  <a:pt x="225172" y="202362"/>
                </a:cubicBezTo>
                <a:lnTo>
                  <a:pt x="228045" y="202721"/>
                </a:lnTo>
                <a:cubicBezTo>
                  <a:pt x="257493" y="207753"/>
                  <a:pt x="279041" y="233632"/>
                  <a:pt x="279041" y="263825"/>
                </a:cubicBezTo>
                <a:lnTo>
                  <a:pt x="279041" y="281078"/>
                </a:lnTo>
                <a:cubicBezTo>
                  <a:pt x="279041" y="283234"/>
                  <a:pt x="277605" y="285391"/>
                  <a:pt x="274732" y="285391"/>
                </a:cubicBezTo>
                <a:cubicBezTo>
                  <a:pt x="272577" y="285391"/>
                  <a:pt x="270781" y="283234"/>
                  <a:pt x="270781" y="281078"/>
                </a:cubicBezTo>
                <a:lnTo>
                  <a:pt x="270781" y="263825"/>
                </a:lnTo>
                <a:cubicBezTo>
                  <a:pt x="270781" y="237946"/>
                  <a:pt x="251747" y="216020"/>
                  <a:pt x="226249" y="211347"/>
                </a:cubicBezTo>
                <a:lnTo>
                  <a:pt x="204702" y="207753"/>
                </a:lnTo>
                <a:cubicBezTo>
                  <a:pt x="199315" y="231835"/>
                  <a:pt x="156579" y="248729"/>
                  <a:pt x="143651" y="253401"/>
                </a:cubicBezTo>
                <a:lnTo>
                  <a:pt x="143651" y="281078"/>
                </a:lnTo>
                <a:cubicBezTo>
                  <a:pt x="143651" y="283234"/>
                  <a:pt x="141855" y="285391"/>
                  <a:pt x="139341" y="285391"/>
                </a:cubicBezTo>
                <a:cubicBezTo>
                  <a:pt x="137186" y="285391"/>
                  <a:pt x="135391" y="283234"/>
                  <a:pt x="135391" y="281078"/>
                </a:cubicBezTo>
                <a:lnTo>
                  <a:pt x="135391" y="253401"/>
                </a:lnTo>
                <a:cubicBezTo>
                  <a:pt x="122821" y="248729"/>
                  <a:pt x="79726" y="231835"/>
                  <a:pt x="74339" y="207753"/>
                </a:cubicBezTo>
                <a:lnTo>
                  <a:pt x="52792" y="211347"/>
                </a:lnTo>
                <a:cubicBezTo>
                  <a:pt x="27294" y="216020"/>
                  <a:pt x="8978" y="237946"/>
                  <a:pt x="8978" y="263825"/>
                </a:cubicBezTo>
                <a:lnTo>
                  <a:pt x="8978" y="281078"/>
                </a:lnTo>
                <a:cubicBezTo>
                  <a:pt x="8978" y="283234"/>
                  <a:pt x="6464" y="285391"/>
                  <a:pt x="4310" y="285391"/>
                </a:cubicBezTo>
                <a:cubicBezTo>
                  <a:pt x="2155" y="285391"/>
                  <a:pt x="0" y="283234"/>
                  <a:pt x="0" y="281078"/>
                </a:cubicBezTo>
                <a:lnTo>
                  <a:pt x="0" y="263825"/>
                </a:lnTo>
                <a:cubicBezTo>
                  <a:pt x="0" y="233632"/>
                  <a:pt x="21907" y="207753"/>
                  <a:pt x="51714" y="202721"/>
                </a:cubicBezTo>
                <a:lnTo>
                  <a:pt x="53869" y="202362"/>
                </a:lnTo>
                <a:cubicBezTo>
                  <a:pt x="41659" y="183312"/>
                  <a:pt x="34476" y="152400"/>
                  <a:pt x="34476" y="119692"/>
                </a:cubicBezTo>
                <a:cubicBezTo>
                  <a:pt x="34476" y="47805"/>
                  <a:pt x="76853" y="0"/>
                  <a:pt x="139341" y="0"/>
                </a:cubicBezTo>
                <a:close/>
              </a:path>
            </a:pathLst>
          </a:custGeom>
          <a:solidFill>
            <a:schemeClr val="bg1"/>
          </a:solidFill>
          <a:ln>
            <a:noFill/>
          </a:ln>
          <a:effectLst/>
        </p:spPr>
        <p:txBody>
          <a:bodyPr anchor="ctr"/>
          <a:lstStyle/>
          <a:p>
            <a:endParaRPr lang="en-US" sz="900" dirty="0"/>
          </a:p>
        </p:txBody>
      </p:sp>
      <p:sp>
        <p:nvSpPr>
          <p:cNvPr id="10" name="Freeform 1047">
            <a:extLst>
              <a:ext uri="{FF2B5EF4-FFF2-40B4-BE49-F238E27FC236}">
                <a16:creationId xmlns:a16="http://schemas.microsoft.com/office/drawing/2014/main" id="{25D8CEFD-5577-A24B-BE40-2787FA258DBD}"/>
              </a:ext>
            </a:extLst>
          </p:cNvPr>
          <p:cNvSpPr>
            <a:spLocks noChangeAspect="1" noChangeArrowheads="1"/>
          </p:cNvSpPr>
          <p:nvPr/>
        </p:nvSpPr>
        <p:spPr bwMode="auto">
          <a:xfrm>
            <a:off x="5542797" y="1621973"/>
            <a:ext cx="528762" cy="525842"/>
          </a:xfrm>
          <a:custGeom>
            <a:avLst/>
            <a:gdLst>
              <a:gd name="T0" fmla="*/ 229384 w 286977"/>
              <a:gd name="T1" fmla="*/ 251968 h 285393"/>
              <a:gd name="T2" fmla="*/ 224597 w 286977"/>
              <a:gd name="T3" fmla="*/ 286823 h 285393"/>
              <a:gd name="T4" fmla="*/ 220180 w 286977"/>
              <a:gd name="T5" fmla="*/ 251968 h 285393"/>
              <a:gd name="T6" fmla="*/ 63245 w 286977"/>
              <a:gd name="T7" fmla="*/ 247297 h 285393"/>
              <a:gd name="T8" fmla="*/ 68224 w 286977"/>
              <a:gd name="T9" fmla="*/ 282512 h 285393"/>
              <a:gd name="T10" fmla="*/ 59034 w 286977"/>
              <a:gd name="T11" fmla="*/ 282512 h 285393"/>
              <a:gd name="T12" fmla="*/ 63245 w 286977"/>
              <a:gd name="T13" fmla="*/ 247297 h 285393"/>
              <a:gd name="T14" fmla="*/ 151287 w 286977"/>
              <a:gd name="T15" fmla="*/ 193983 h 285393"/>
              <a:gd name="T16" fmla="*/ 200264 w 286977"/>
              <a:gd name="T17" fmla="*/ 182424 h 285393"/>
              <a:gd name="T18" fmla="*/ 103397 w 286977"/>
              <a:gd name="T19" fmla="*/ 171948 h 285393"/>
              <a:gd name="T20" fmla="*/ 111015 w 286977"/>
              <a:gd name="T21" fmla="*/ 217103 h 285393"/>
              <a:gd name="T22" fmla="*/ 103397 w 286977"/>
              <a:gd name="T23" fmla="*/ 171948 h 285393"/>
              <a:gd name="T24" fmla="*/ 111015 w 286977"/>
              <a:gd name="T25" fmla="*/ 158221 h 285393"/>
              <a:gd name="T26" fmla="*/ 144030 w 286977"/>
              <a:gd name="T27" fmla="*/ 188204 h 285393"/>
              <a:gd name="T28" fmla="*/ 177045 w 286977"/>
              <a:gd name="T29" fmla="*/ 158221 h 285393"/>
              <a:gd name="T30" fmla="*/ 144030 w 286977"/>
              <a:gd name="T31" fmla="*/ 156776 h 285393"/>
              <a:gd name="T32" fmla="*/ 167250 w 286977"/>
              <a:gd name="T33" fmla="*/ 38651 h 285393"/>
              <a:gd name="T34" fmla="*/ 164347 w 286977"/>
              <a:gd name="T35" fmla="*/ 52741 h 285393"/>
              <a:gd name="T36" fmla="*/ 87071 w 286977"/>
              <a:gd name="T37" fmla="*/ 44794 h 285393"/>
              <a:gd name="T38" fmla="*/ 144030 w 286977"/>
              <a:gd name="T39" fmla="*/ 148107 h 285393"/>
              <a:gd name="T40" fmla="*/ 198450 w 286977"/>
              <a:gd name="T41" fmla="*/ 39015 h 285393"/>
              <a:gd name="T42" fmla="*/ 179585 w 286977"/>
              <a:gd name="T43" fmla="*/ 46239 h 285393"/>
              <a:gd name="T44" fmla="*/ 144030 w 286977"/>
              <a:gd name="T45" fmla="*/ 9030 h 285393"/>
              <a:gd name="T46" fmla="*/ 158542 w 286977"/>
              <a:gd name="T47" fmla="*/ 45153 h 285393"/>
              <a:gd name="T48" fmla="*/ 160719 w 286977"/>
              <a:gd name="T49" fmla="*/ 27093 h 285393"/>
              <a:gd name="T50" fmla="*/ 182487 w 286977"/>
              <a:gd name="T51" fmla="*/ 37569 h 285393"/>
              <a:gd name="T52" fmla="*/ 144030 w 286977"/>
              <a:gd name="T53" fmla="*/ 9030 h 285393"/>
              <a:gd name="T54" fmla="*/ 214776 w 286977"/>
              <a:gd name="T55" fmla="*/ 72247 h 285393"/>
              <a:gd name="T56" fmla="*/ 185751 w 286977"/>
              <a:gd name="T57" fmla="*/ 155693 h 285393"/>
              <a:gd name="T58" fmla="*/ 245977 w 286977"/>
              <a:gd name="T59" fmla="*/ 182062 h 285393"/>
              <a:gd name="T60" fmla="*/ 288423 w 286977"/>
              <a:gd name="T61" fmla="*/ 282487 h 285393"/>
              <a:gd name="T62" fmla="*/ 279355 w 286977"/>
              <a:gd name="T63" fmla="*/ 282487 h 285393"/>
              <a:gd name="T64" fmla="*/ 244163 w 286977"/>
              <a:gd name="T65" fmla="*/ 190732 h 285393"/>
              <a:gd name="T66" fmla="*/ 181399 w 286977"/>
              <a:gd name="T67" fmla="*/ 225772 h 285393"/>
              <a:gd name="T68" fmla="*/ 178134 w 286977"/>
              <a:gd name="T69" fmla="*/ 227578 h 285393"/>
              <a:gd name="T70" fmla="*/ 148384 w 286977"/>
              <a:gd name="T71" fmla="*/ 203015 h 285393"/>
              <a:gd name="T72" fmla="*/ 144030 w 286977"/>
              <a:gd name="T73" fmla="*/ 286821 h 285393"/>
              <a:gd name="T74" fmla="*/ 139676 w 286977"/>
              <a:gd name="T75" fmla="*/ 203015 h 285393"/>
              <a:gd name="T76" fmla="*/ 109928 w 286977"/>
              <a:gd name="T77" fmla="*/ 227578 h 285393"/>
              <a:gd name="T78" fmla="*/ 106299 w 286977"/>
              <a:gd name="T79" fmla="*/ 225772 h 285393"/>
              <a:gd name="T80" fmla="*/ 43898 w 286977"/>
              <a:gd name="T81" fmla="*/ 190732 h 285393"/>
              <a:gd name="T82" fmla="*/ 8707 w 286977"/>
              <a:gd name="T83" fmla="*/ 282487 h 285393"/>
              <a:gd name="T84" fmla="*/ 0 w 286977"/>
              <a:gd name="T85" fmla="*/ 282487 h 285393"/>
              <a:gd name="T86" fmla="*/ 42446 w 286977"/>
              <a:gd name="T87" fmla="*/ 182062 h 285393"/>
              <a:gd name="T88" fmla="*/ 102309 w 286977"/>
              <a:gd name="T89" fmla="*/ 155693 h 285393"/>
              <a:gd name="T90" fmla="*/ 73647 w 286977"/>
              <a:gd name="T91" fmla="*/ 72247 h 2853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6977" h="285393">
                <a:moveTo>
                  <a:pt x="223471" y="246063"/>
                </a:moveTo>
                <a:cubicBezTo>
                  <a:pt x="226036" y="246063"/>
                  <a:pt x="228234" y="248208"/>
                  <a:pt x="228234" y="250711"/>
                </a:cubicBezTo>
                <a:lnTo>
                  <a:pt x="228234" y="281102"/>
                </a:lnTo>
                <a:cubicBezTo>
                  <a:pt x="228234" y="283247"/>
                  <a:pt x="226036" y="285393"/>
                  <a:pt x="223471" y="285393"/>
                </a:cubicBezTo>
                <a:cubicBezTo>
                  <a:pt x="221273" y="285393"/>
                  <a:pt x="219075" y="283247"/>
                  <a:pt x="219075" y="281102"/>
                </a:cubicBezTo>
                <a:lnTo>
                  <a:pt x="219075" y="250711"/>
                </a:lnTo>
                <a:cubicBezTo>
                  <a:pt x="219075" y="248208"/>
                  <a:pt x="221273" y="246063"/>
                  <a:pt x="223471" y="246063"/>
                </a:cubicBezTo>
                <a:close/>
                <a:moveTo>
                  <a:pt x="62929" y="246063"/>
                </a:moveTo>
                <a:cubicBezTo>
                  <a:pt x="65596" y="246063"/>
                  <a:pt x="67882" y="248208"/>
                  <a:pt x="67882" y="250711"/>
                </a:cubicBezTo>
                <a:lnTo>
                  <a:pt x="67882" y="281102"/>
                </a:lnTo>
                <a:cubicBezTo>
                  <a:pt x="67882" y="283247"/>
                  <a:pt x="65596" y="285393"/>
                  <a:pt x="62929" y="285393"/>
                </a:cubicBezTo>
                <a:cubicBezTo>
                  <a:pt x="61024" y="285393"/>
                  <a:pt x="58738" y="283247"/>
                  <a:pt x="58738" y="281102"/>
                </a:cubicBezTo>
                <a:lnTo>
                  <a:pt x="58738" y="250711"/>
                </a:lnTo>
                <a:cubicBezTo>
                  <a:pt x="58738" y="248208"/>
                  <a:pt x="61024" y="246063"/>
                  <a:pt x="62929" y="246063"/>
                </a:cubicBezTo>
                <a:close/>
                <a:moveTo>
                  <a:pt x="183376" y="171090"/>
                </a:moveTo>
                <a:lnTo>
                  <a:pt x="150528" y="193016"/>
                </a:lnTo>
                <a:lnTo>
                  <a:pt x="176518" y="216020"/>
                </a:lnTo>
                <a:lnTo>
                  <a:pt x="199259" y="181514"/>
                </a:lnTo>
                <a:cubicBezTo>
                  <a:pt x="193123" y="180076"/>
                  <a:pt x="188069" y="176122"/>
                  <a:pt x="183376" y="171090"/>
                </a:cubicBezTo>
                <a:close/>
                <a:moveTo>
                  <a:pt x="102878" y="171090"/>
                </a:moveTo>
                <a:cubicBezTo>
                  <a:pt x="98908" y="176122"/>
                  <a:pt x="93132" y="180076"/>
                  <a:pt x="86995" y="181514"/>
                </a:cubicBezTo>
                <a:lnTo>
                  <a:pt x="110459" y="216020"/>
                </a:lnTo>
                <a:lnTo>
                  <a:pt x="136088" y="193016"/>
                </a:lnTo>
                <a:lnTo>
                  <a:pt x="102878" y="171090"/>
                </a:lnTo>
                <a:close/>
                <a:moveTo>
                  <a:pt x="112986" y="147368"/>
                </a:moveTo>
                <a:lnTo>
                  <a:pt x="110459" y="157432"/>
                </a:lnTo>
                <a:cubicBezTo>
                  <a:pt x="110098" y="159588"/>
                  <a:pt x="108654" y="161745"/>
                  <a:pt x="107932" y="163902"/>
                </a:cubicBezTo>
                <a:lnTo>
                  <a:pt x="143308" y="187265"/>
                </a:lnTo>
                <a:lnTo>
                  <a:pt x="179045" y="163902"/>
                </a:lnTo>
                <a:cubicBezTo>
                  <a:pt x="177601" y="161745"/>
                  <a:pt x="176879" y="159588"/>
                  <a:pt x="176157" y="157432"/>
                </a:cubicBezTo>
                <a:lnTo>
                  <a:pt x="173630" y="147368"/>
                </a:lnTo>
                <a:cubicBezTo>
                  <a:pt x="164245" y="152759"/>
                  <a:pt x="154137" y="155994"/>
                  <a:pt x="143308" y="155994"/>
                </a:cubicBezTo>
                <a:cubicBezTo>
                  <a:pt x="132479" y="155994"/>
                  <a:pt x="122371" y="152759"/>
                  <a:pt x="112986" y="147368"/>
                </a:cubicBezTo>
                <a:close/>
                <a:moveTo>
                  <a:pt x="166411" y="38459"/>
                </a:moveTo>
                <a:lnTo>
                  <a:pt x="166411" y="48164"/>
                </a:lnTo>
                <a:cubicBezTo>
                  <a:pt x="166411" y="50321"/>
                  <a:pt x="164967" y="52118"/>
                  <a:pt x="163523" y="52477"/>
                </a:cubicBezTo>
                <a:cubicBezTo>
                  <a:pt x="151249" y="56071"/>
                  <a:pt x="140420" y="57509"/>
                  <a:pt x="130674" y="57509"/>
                </a:cubicBezTo>
                <a:cubicBezTo>
                  <a:pt x="108654" y="57509"/>
                  <a:pt x="93493" y="49961"/>
                  <a:pt x="86635" y="44570"/>
                </a:cubicBezTo>
                <a:cubicBezTo>
                  <a:pt x="83386" y="52837"/>
                  <a:pt x="81942" y="61822"/>
                  <a:pt x="81942" y="71887"/>
                </a:cubicBezTo>
                <a:cubicBezTo>
                  <a:pt x="81942" y="113221"/>
                  <a:pt x="109376" y="147368"/>
                  <a:pt x="143308" y="147368"/>
                </a:cubicBezTo>
                <a:cubicBezTo>
                  <a:pt x="177240" y="147368"/>
                  <a:pt x="205035" y="113221"/>
                  <a:pt x="205035" y="71887"/>
                </a:cubicBezTo>
                <a:cubicBezTo>
                  <a:pt x="205035" y="59306"/>
                  <a:pt x="202147" y="48164"/>
                  <a:pt x="197455" y="38819"/>
                </a:cubicBezTo>
                <a:cubicBezTo>
                  <a:pt x="191318" y="43132"/>
                  <a:pt x="182654" y="46007"/>
                  <a:pt x="182294" y="46367"/>
                </a:cubicBezTo>
                <a:cubicBezTo>
                  <a:pt x="180850" y="46726"/>
                  <a:pt x="179767" y="46367"/>
                  <a:pt x="178684" y="46007"/>
                </a:cubicBezTo>
                <a:lnTo>
                  <a:pt x="166411" y="38459"/>
                </a:lnTo>
                <a:close/>
                <a:moveTo>
                  <a:pt x="143308" y="8986"/>
                </a:moveTo>
                <a:cubicBezTo>
                  <a:pt x="118761" y="8986"/>
                  <a:pt x="100713" y="19050"/>
                  <a:pt x="89883" y="37021"/>
                </a:cubicBezTo>
                <a:cubicBezTo>
                  <a:pt x="97825" y="42054"/>
                  <a:pt x="120927" y="55712"/>
                  <a:pt x="157747" y="44929"/>
                </a:cubicBezTo>
                <a:lnTo>
                  <a:pt x="157747" y="30911"/>
                </a:lnTo>
                <a:cubicBezTo>
                  <a:pt x="157747" y="29114"/>
                  <a:pt x="158469" y="27676"/>
                  <a:pt x="159913" y="26957"/>
                </a:cubicBezTo>
                <a:cubicBezTo>
                  <a:pt x="161357" y="26238"/>
                  <a:pt x="163162" y="26238"/>
                  <a:pt x="164245" y="26957"/>
                </a:cubicBezTo>
                <a:lnTo>
                  <a:pt x="181572" y="37381"/>
                </a:lnTo>
                <a:cubicBezTo>
                  <a:pt x="184459" y="35943"/>
                  <a:pt x="189152" y="34146"/>
                  <a:pt x="192762" y="31630"/>
                </a:cubicBezTo>
                <a:cubicBezTo>
                  <a:pt x="182654" y="16893"/>
                  <a:pt x="164967" y="8986"/>
                  <a:pt x="143308" y="8986"/>
                </a:cubicBezTo>
                <a:close/>
                <a:moveTo>
                  <a:pt x="143308" y="0"/>
                </a:moveTo>
                <a:cubicBezTo>
                  <a:pt x="185542" y="0"/>
                  <a:pt x="213699" y="28754"/>
                  <a:pt x="213699" y="71887"/>
                </a:cubicBezTo>
                <a:cubicBezTo>
                  <a:pt x="213699" y="101001"/>
                  <a:pt x="200703" y="127239"/>
                  <a:pt x="181572" y="142336"/>
                </a:cubicBezTo>
                <a:lnTo>
                  <a:pt x="184820" y="154916"/>
                </a:lnTo>
                <a:cubicBezTo>
                  <a:pt x="186986" y="164980"/>
                  <a:pt x="195650" y="173247"/>
                  <a:pt x="206118" y="174685"/>
                </a:cubicBezTo>
                <a:lnTo>
                  <a:pt x="244743" y="181154"/>
                </a:lnTo>
                <a:cubicBezTo>
                  <a:pt x="268928" y="185468"/>
                  <a:pt x="286977" y="206674"/>
                  <a:pt x="286977" y="230756"/>
                </a:cubicBezTo>
                <a:lnTo>
                  <a:pt x="286977" y="281078"/>
                </a:lnTo>
                <a:cubicBezTo>
                  <a:pt x="286977" y="283234"/>
                  <a:pt x="284811" y="285391"/>
                  <a:pt x="282284" y="285391"/>
                </a:cubicBezTo>
                <a:cubicBezTo>
                  <a:pt x="279758" y="285391"/>
                  <a:pt x="277953" y="283234"/>
                  <a:pt x="277953" y="281078"/>
                </a:cubicBezTo>
                <a:lnTo>
                  <a:pt x="277953" y="230756"/>
                </a:lnTo>
                <a:cubicBezTo>
                  <a:pt x="277953" y="210628"/>
                  <a:pt x="263153" y="193375"/>
                  <a:pt x="242938" y="189781"/>
                </a:cubicBezTo>
                <a:lnTo>
                  <a:pt x="208645" y="184030"/>
                </a:lnTo>
                <a:lnTo>
                  <a:pt x="180489" y="224646"/>
                </a:lnTo>
                <a:cubicBezTo>
                  <a:pt x="180128" y="225724"/>
                  <a:pt x="179045" y="226443"/>
                  <a:pt x="177601" y="226443"/>
                </a:cubicBezTo>
                <a:cubicBezTo>
                  <a:pt x="177240" y="226443"/>
                  <a:pt x="177240" y="226443"/>
                  <a:pt x="177240" y="226443"/>
                </a:cubicBezTo>
                <a:cubicBezTo>
                  <a:pt x="176157" y="226443"/>
                  <a:pt x="175435" y="226443"/>
                  <a:pt x="174352" y="225724"/>
                </a:cubicBezTo>
                <a:lnTo>
                  <a:pt x="147640" y="202002"/>
                </a:lnTo>
                <a:lnTo>
                  <a:pt x="147640" y="281078"/>
                </a:lnTo>
                <a:cubicBezTo>
                  <a:pt x="147640" y="283234"/>
                  <a:pt x="145835" y="285391"/>
                  <a:pt x="143308" y="285391"/>
                </a:cubicBezTo>
                <a:cubicBezTo>
                  <a:pt x="141142" y="285391"/>
                  <a:pt x="138976" y="283234"/>
                  <a:pt x="138976" y="281078"/>
                </a:cubicBezTo>
                <a:lnTo>
                  <a:pt x="138976" y="202002"/>
                </a:lnTo>
                <a:lnTo>
                  <a:pt x="112264" y="225724"/>
                </a:lnTo>
                <a:cubicBezTo>
                  <a:pt x="111542" y="226443"/>
                  <a:pt x="110459" y="226443"/>
                  <a:pt x="109376" y="226443"/>
                </a:cubicBezTo>
                <a:cubicBezTo>
                  <a:pt x="109015" y="226443"/>
                  <a:pt x="109015" y="226443"/>
                  <a:pt x="108654" y="226443"/>
                </a:cubicBezTo>
                <a:cubicBezTo>
                  <a:pt x="107571" y="226443"/>
                  <a:pt x="106127" y="225724"/>
                  <a:pt x="105766" y="224646"/>
                </a:cubicBezTo>
                <a:lnTo>
                  <a:pt x="77610" y="184030"/>
                </a:lnTo>
                <a:lnTo>
                  <a:pt x="43678" y="189781"/>
                </a:lnTo>
                <a:cubicBezTo>
                  <a:pt x="23463" y="193375"/>
                  <a:pt x="8663" y="210628"/>
                  <a:pt x="8663" y="230756"/>
                </a:cubicBezTo>
                <a:lnTo>
                  <a:pt x="8663" y="281078"/>
                </a:lnTo>
                <a:cubicBezTo>
                  <a:pt x="8663" y="283234"/>
                  <a:pt x="6859" y="285391"/>
                  <a:pt x="4693" y="285391"/>
                </a:cubicBezTo>
                <a:cubicBezTo>
                  <a:pt x="2166" y="285391"/>
                  <a:pt x="0" y="283234"/>
                  <a:pt x="0" y="281078"/>
                </a:cubicBezTo>
                <a:lnTo>
                  <a:pt x="0" y="230756"/>
                </a:lnTo>
                <a:cubicBezTo>
                  <a:pt x="0" y="206674"/>
                  <a:pt x="17688" y="185468"/>
                  <a:pt x="42234" y="181154"/>
                </a:cubicBezTo>
                <a:lnTo>
                  <a:pt x="80498" y="174685"/>
                </a:lnTo>
                <a:cubicBezTo>
                  <a:pt x="90605" y="173247"/>
                  <a:pt x="99269" y="164980"/>
                  <a:pt x="101796" y="154916"/>
                </a:cubicBezTo>
                <a:lnTo>
                  <a:pt x="105044" y="142336"/>
                </a:lnTo>
                <a:cubicBezTo>
                  <a:pt x="85913" y="127239"/>
                  <a:pt x="73278" y="101001"/>
                  <a:pt x="73278" y="71887"/>
                </a:cubicBezTo>
                <a:cubicBezTo>
                  <a:pt x="73278" y="28754"/>
                  <a:pt x="101435" y="0"/>
                  <a:pt x="143308" y="0"/>
                </a:cubicBezTo>
                <a:close/>
              </a:path>
            </a:pathLst>
          </a:custGeom>
          <a:solidFill>
            <a:schemeClr val="bg1"/>
          </a:solidFill>
          <a:ln>
            <a:noFill/>
          </a:ln>
          <a:effectLst/>
        </p:spPr>
        <p:txBody>
          <a:bodyPr anchor="ctr"/>
          <a:lstStyle/>
          <a:p>
            <a:endParaRPr lang="en-US" sz="900" dirty="0"/>
          </a:p>
        </p:txBody>
      </p:sp>
      <p:sp>
        <p:nvSpPr>
          <p:cNvPr id="11" name="Freeform 1048">
            <a:extLst>
              <a:ext uri="{FF2B5EF4-FFF2-40B4-BE49-F238E27FC236}">
                <a16:creationId xmlns:a16="http://schemas.microsoft.com/office/drawing/2014/main" id="{1577175B-B174-6548-B475-B6422DADAF18}"/>
              </a:ext>
            </a:extLst>
          </p:cNvPr>
          <p:cNvSpPr>
            <a:spLocks noChangeAspect="1" noChangeArrowheads="1"/>
          </p:cNvSpPr>
          <p:nvPr/>
        </p:nvSpPr>
        <p:spPr bwMode="auto">
          <a:xfrm>
            <a:off x="6121839" y="1621973"/>
            <a:ext cx="514156" cy="525842"/>
          </a:xfrm>
          <a:custGeom>
            <a:avLst/>
            <a:gdLst>
              <a:gd name="T0" fmla="*/ 232587 w 279041"/>
              <a:gd name="T1" fmla="*/ 257945 h 285396"/>
              <a:gd name="T2" fmla="*/ 227992 w 279041"/>
              <a:gd name="T3" fmla="*/ 286814 h 285396"/>
              <a:gd name="T4" fmla="*/ 223396 w 279041"/>
              <a:gd name="T5" fmla="*/ 257945 h 285396"/>
              <a:gd name="T6" fmla="*/ 53885 w 279041"/>
              <a:gd name="T7" fmla="*/ 253667 h 285396"/>
              <a:gd name="T8" fmla="*/ 58672 w 279041"/>
              <a:gd name="T9" fmla="*/ 282538 h 285396"/>
              <a:gd name="T10" fmla="*/ 49466 w 279041"/>
              <a:gd name="T11" fmla="*/ 282538 h 285396"/>
              <a:gd name="T12" fmla="*/ 53885 w 279041"/>
              <a:gd name="T13" fmla="*/ 253667 h 285396"/>
              <a:gd name="T14" fmla="*/ 110098 w 279041"/>
              <a:gd name="T15" fmla="*/ 180972 h 285396"/>
              <a:gd name="T16" fmla="*/ 140059 w 279041"/>
              <a:gd name="T17" fmla="*/ 247075 h 285396"/>
              <a:gd name="T18" fmla="*/ 170743 w 279041"/>
              <a:gd name="T19" fmla="*/ 180972 h 285396"/>
              <a:gd name="T20" fmla="*/ 140059 w 279041"/>
              <a:gd name="T21" fmla="*/ 188558 h 285396"/>
              <a:gd name="T22" fmla="*/ 169434 w 279041"/>
              <a:gd name="T23" fmla="*/ 78791 h 285396"/>
              <a:gd name="T24" fmla="*/ 84108 w 279041"/>
              <a:gd name="T25" fmla="*/ 89221 h 285396"/>
              <a:gd name="T26" fmla="*/ 140059 w 279041"/>
              <a:gd name="T27" fmla="*/ 180249 h 285396"/>
              <a:gd name="T28" fmla="*/ 196372 w 279041"/>
              <a:gd name="T29" fmla="*/ 87777 h 285396"/>
              <a:gd name="T30" fmla="*/ 140059 w 279041"/>
              <a:gd name="T31" fmla="*/ 9030 h 285396"/>
              <a:gd name="T32" fmla="*/ 63532 w 279041"/>
              <a:gd name="T33" fmla="*/ 201923 h 285396"/>
              <a:gd name="T34" fmla="*/ 102157 w 279041"/>
              <a:gd name="T35" fmla="*/ 178805 h 285396"/>
              <a:gd name="T36" fmla="*/ 72918 w 279041"/>
              <a:gd name="T37" fmla="*/ 107644 h 285396"/>
              <a:gd name="T38" fmla="*/ 80138 w 279041"/>
              <a:gd name="T39" fmla="*/ 78746 h 285396"/>
              <a:gd name="T40" fmla="*/ 137532 w 279041"/>
              <a:gd name="T41" fmla="*/ 79468 h 285396"/>
              <a:gd name="T42" fmla="*/ 204314 w 279041"/>
              <a:gd name="T43" fmla="*/ 83804 h 285396"/>
              <a:gd name="T44" fmla="*/ 177962 w 279041"/>
              <a:gd name="T45" fmla="*/ 175192 h 285396"/>
              <a:gd name="T46" fmla="*/ 199982 w 279041"/>
              <a:gd name="T47" fmla="*/ 199033 h 285396"/>
              <a:gd name="T48" fmla="*/ 237523 w 279041"/>
              <a:gd name="T49" fmla="*/ 120287 h 285396"/>
              <a:gd name="T50" fmla="*/ 140059 w 279041"/>
              <a:gd name="T51" fmla="*/ 0 h 285396"/>
              <a:gd name="T52" fmla="*/ 226333 w 279041"/>
              <a:gd name="T53" fmla="*/ 203368 h 285396"/>
              <a:gd name="T54" fmla="*/ 280479 w 279041"/>
              <a:gd name="T55" fmla="*/ 265136 h 285396"/>
              <a:gd name="T56" fmla="*/ 276148 w 279041"/>
              <a:gd name="T57" fmla="*/ 286809 h 285396"/>
              <a:gd name="T58" fmla="*/ 272177 w 279041"/>
              <a:gd name="T59" fmla="*/ 265136 h 285396"/>
              <a:gd name="T60" fmla="*/ 205757 w 279041"/>
              <a:gd name="T61" fmla="*/ 208786 h 285396"/>
              <a:gd name="T62" fmla="*/ 144392 w 279041"/>
              <a:gd name="T63" fmla="*/ 282476 h 285396"/>
              <a:gd name="T64" fmla="*/ 136089 w 279041"/>
              <a:gd name="T65" fmla="*/ 282476 h 285396"/>
              <a:gd name="T66" fmla="*/ 74723 w 279041"/>
              <a:gd name="T67" fmla="*/ 208786 h 285396"/>
              <a:gd name="T68" fmla="*/ 9026 w 279041"/>
              <a:gd name="T69" fmla="*/ 265136 h 285396"/>
              <a:gd name="T70" fmla="*/ 4334 w 279041"/>
              <a:gd name="T71" fmla="*/ 286809 h 285396"/>
              <a:gd name="T72" fmla="*/ 0 w 279041"/>
              <a:gd name="T73" fmla="*/ 265136 h 285396"/>
              <a:gd name="T74" fmla="*/ 54146 w 279041"/>
              <a:gd name="T75" fmla="*/ 203368 h 285396"/>
              <a:gd name="T76" fmla="*/ 140059 w 279041"/>
              <a:gd name="T77" fmla="*/ 0 h 285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9041" h="285396">
                <a:moveTo>
                  <a:pt x="226822" y="252413"/>
                </a:moveTo>
                <a:cubicBezTo>
                  <a:pt x="229489" y="252413"/>
                  <a:pt x="231394" y="254186"/>
                  <a:pt x="231394" y="256669"/>
                </a:cubicBezTo>
                <a:lnTo>
                  <a:pt x="231394" y="281140"/>
                </a:lnTo>
                <a:cubicBezTo>
                  <a:pt x="231394" y="283268"/>
                  <a:pt x="229489" y="285396"/>
                  <a:pt x="226822" y="285396"/>
                </a:cubicBezTo>
                <a:cubicBezTo>
                  <a:pt x="224155" y="285396"/>
                  <a:pt x="222250" y="283268"/>
                  <a:pt x="222250" y="281140"/>
                </a:cubicBezTo>
                <a:lnTo>
                  <a:pt x="222250" y="256669"/>
                </a:lnTo>
                <a:cubicBezTo>
                  <a:pt x="222250" y="254186"/>
                  <a:pt x="224155" y="252413"/>
                  <a:pt x="226822" y="252413"/>
                </a:cubicBezTo>
                <a:close/>
                <a:moveTo>
                  <a:pt x="53609" y="252413"/>
                </a:moveTo>
                <a:cubicBezTo>
                  <a:pt x="56174" y="252413"/>
                  <a:pt x="58372" y="254186"/>
                  <a:pt x="58372" y="256669"/>
                </a:cubicBezTo>
                <a:lnTo>
                  <a:pt x="58372" y="281140"/>
                </a:lnTo>
                <a:cubicBezTo>
                  <a:pt x="58372" y="283268"/>
                  <a:pt x="56174" y="285396"/>
                  <a:pt x="53609" y="285396"/>
                </a:cubicBezTo>
                <a:cubicBezTo>
                  <a:pt x="51045" y="285396"/>
                  <a:pt x="49213" y="283268"/>
                  <a:pt x="49213" y="281140"/>
                </a:cubicBezTo>
                <a:lnTo>
                  <a:pt x="49213" y="256669"/>
                </a:lnTo>
                <a:cubicBezTo>
                  <a:pt x="49213" y="254186"/>
                  <a:pt x="51045" y="252413"/>
                  <a:pt x="53609" y="252413"/>
                </a:cubicBezTo>
                <a:close/>
                <a:moveTo>
                  <a:pt x="110252" y="179358"/>
                </a:moveTo>
                <a:lnTo>
                  <a:pt x="109534" y="180077"/>
                </a:lnTo>
                <a:cubicBezTo>
                  <a:pt x="106301" y="193376"/>
                  <a:pt x="95887" y="203080"/>
                  <a:pt x="82958" y="205956"/>
                </a:cubicBezTo>
                <a:cubicBezTo>
                  <a:pt x="86909" y="223928"/>
                  <a:pt x="123539" y="240102"/>
                  <a:pt x="139341" y="245853"/>
                </a:cubicBezTo>
                <a:cubicBezTo>
                  <a:pt x="155502" y="240102"/>
                  <a:pt x="192133" y="223928"/>
                  <a:pt x="196801" y="205956"/>
                </a:cubicBezTo>
                <a:cubicBezTo>
                  <a:pt x="183514" y="203080"/>
                  <a:pt x="173099" y="193376"/>
                  <a:pt x="169867" y="180077"/>
                </a:cubicBezTo>
                <a:lnTo>
                  <a:pt x="169508" y="179358"/>
                </a:lnTo>
                <a:cubicBezTo>
                  <a:pt x="160529" y="185109"/>
                  <a:pt x="150474" y="187625"/>
                  <a:pt x="139341" y="187625"/>
                </a:cubicBezTo>
                <a:cubicBezTo>
                  <a:pt x="129285" y="187625"/>
                  <a:pt x="118512" y="185109"/>
                  <a:pt x="110252" y="179358"/>
                </a:cubicBezTo>
                <a:close/>
                <a:moveTo>
                  <a:pt x="168565" y="78402"/>
                </a:moveTo>
                <a:cubicBezTo>
                  <a:pt x="159721" y="78357"/>
                  <a:pt x="150833" y="81232"/>
                  <a:pt x="141496" y="86983"/>
                </a:cubicBezTo>
                <a:cubicBezTo>
                  <a:pt x="118871" y="100282"/>
                  <a:pt x="96246" y="95610"/>
                  <a:pt x="83676" y="88780"/>
                </a:cubicBezTo>
                <a:cubicBezTo>
                  <a:pt x="81881" y="94531"/>
                  <a:pt x="81163" y="100642"/>
                  <a:pt x="81163" y="107112"/>
                </a:cubicBezTo>
                <a:cubicBezTo>
                  <a:pt x="81163" y="146649"/>
                  <a:pt x="107738" y="179358"/>
                  <a:pt x="139341" y="179358"/>
                </a:cubicBezTo>
                <a:cubicBezTo>
                  <a:pt x="172021" y="179358"/>
                  <a:pt x="197879" y="146649"/>
                  <a:pt x="197879" y="107112"/>
                </a:cubicBezTo>
                <a:cubicBezTo>
                  <a:pt x="197879" y="99923"/>
                  <a:pt x="197160" y="93453"/>
                  <a:pt x="195365" y="87343"/>
                </a:cubicBezTo>
                <a:cubicBezTo>
                  <a:pt x="186207" y="81412"/>
                  <a:pt x="177408" y="78447"/>
                  <a:pt x="168565" y="78402"/>
                </a:cubicBezTo>
                <a:close/>
                <a:moveTo>
                  <a:pt x="139341" y="8986"/>
                </a:moveTo>
                <a:cubicBezTo>
                  <a:pt x="81163" y="8986"/>
                  <a:pt x="43095" y="52118"/>
                  <a:pt x="43095" y="119692"/>
                </a:cubicBezTo>
                <a:cubicBezTo>
                  <a:pt x="43095" y="152041"/>
                  <a:pt x="50996" y="184030"/>
                  <a:pt x="63206" y="200924"/>
                </a:cubicBezTo>
                <a:lnTo>
                  <a:pt x="80085" y="198048"/>
                </a:lnTo>
                <a:cubicBezTo>
                  <a:pt x="90141" y="195892"/>
                  <a:pt x="98760" y="188344"/>
                  <a:pt x="101633" y="177920"/>
                </a:cubicBezTo>
                <a:lnTo>
                  <a:pt x="102351" y="174326"/>
                </a:lnTo>
                <a:cubicBezTo>
                  <a:pt x="84395" y="159589"/>
                  <a:pt x="72544" y="135147"/>
                  <a:pt x="72544" y="107112"/>
                </a:cubicBezTo>
                <a:cubicBezTo>
                  <a:pt x="72544" y="97766"/>
                  <a:pt x="74339" y="88780"/>
                  <a:pt x="76853" y="80873"/>
                </a:cubicBezTo>
                <a:cubicBezTo>
                  <a:pt x="77212" y="80154"/>
                  <a:pt x="78290" y="78716"/>
                  <a:pt x="79726" y="78357"/>
                </a:cubicBezTo>
                <a:cubicBezTo>
                  <a:pt x="80803" y="77997"/>
                  <a:pt x="82599" y="78357"/>
                  <a:pt x="83317" y="78716"/>
                </a:cubicBezTo>
                <a:cubicBezTo>
                  <a:pt x="92296" y="84827"/>
                  <a:pt x="114920" y="92734"/>
                  <a:pt x="136827" y="79076"/>
                </a:cubicBezTo>
                <a:cubicBezTo>
                  <a:pt x="158734" y="66136"/>
                  <a:pt x="179922" y="66496"/>
                  <a:pt x="200752" y="80873"/>
                </a:cubicBezTo>
                <a:cubicBezTo>
                  <a:pt x="201829" y="81232"/>
                  <a:pt x="202906" y="81951"/>
                  <a:pt x="203265" y="83389"/>
                </a:cubicBezTo>
                <a:cubicBezTo>
                  <a:pt x="205420" y="90937"/>
                  <a:pt x="206857" y="98845"/>
                  <a:pt x="206857" y="107112"/>
                </a:cubicBezTo>
                <a:cubicBezTo>
                  <a:pt x="206857" y="135147"/>
                  <a:pt x="194646" y="159589"/>
                  <a:pt x="177049" y="174326"/>
                </a:cubicBezTo>
                <a:lnTo>
                  <a:pt x="178127" y="177920"/>
                </a:lnTo>
                <a:cubicBezTo>
                  <a:pt x="180281" y="188344"/>
                  <a:pt x="188541" y="195892"/>
                  <a:pt x="198956" y="198048"/>
                </a:cubicBezTo>
                <a:lnTo>
                  <a:pt x="216194" y="200924"/>
                </a:lnTo>
                <a:cubicBezTo>
                  <a:pt x="228404" y="184030"/>
                  <a:pt x="236305" y="152041"/>
                  <a:pt x="236305" y="119692"/>
                </a:cubicBezTo>
                <a:cubicBezTo>
                  <a:pt x="236305" y="52118"/>
                  <a:pt x="198238" y="8986"/>
                  <a:pt x="139341" y="8986"/>
                </a:cubicBezTo>
                <a:close/>
                <a:moveTo>
                  <a:pt x="139341" y="0"/>
                </a:moveTo>
                <a:cubicBezTo>
                  <a:pt x="203625" y="0"/>
                  <a:pt x="244924" y="46727"/>
                  <a:pt x="244924" y="119692"/>
                </a:cubicBezTo>
                <a:cubicBezTo>
                  <a:pt x="244924" y="152400"/>
                  <a:pt x="237382" y="183312"/>
                  <a:pt x="225172" y="202362"/>
                </a:cubicBezTo>
                <a:lnTo>
                  <a:pt x="228045" y="202721"/>
                </a:lnTo>
                <a:cubicBezTo>
                  <a:pt x="257493" y="207753"/>
                  <a:pt x="279041" y="233632"/>
                  <a:pt x="279041" y="263825"/>
                </a:cubicBezTo>
                <a:lnTo>
                  <a:pt x="279041" y="281078"/>
                </a:lnTo>
                <a:cubicBezTo>
                  <a:pt x="279041" y="283234"/>
                  <a:pt x="277605" y="285391"/>
                  <a:pt x="274732" y="285391"/>
                </a:cubicBezTo>
                <a:cubicBezTo>
                  <a:pt x="272577" y="285391"/>
                  <a:pt x="270781" y="283234"/>
                  <a:pt x="270781" y="281078"/>
                </a:cubicBezTo>
                <a:lnTo>
                  <a:pt x="270781" y="263825"/>
                </a:lnTo>
                <a:cubicBezTo>
                  <a:pt x="270781" y="237946"/>
                  <a:pt x="251747" y="216020"/>
                  <a:pt x="226249" y="211347"/>
                </a:cubicBezTo>
                <a:lnTo>
                  <a:pt x="204702" y="207753"/>
                </a:lnTo>
                <a:cubicBezTo>
                  <a:pt x="199315" y="231835"/>
                  <a:pt x="156579" y="248729"/>
                  <a:pt x="143651" y="253401"/>
                </a:cubicBezTo>
                <a:lnTo>
                  <a:pt x="143651" y="281078"/>
                </a:lnTo>
                <a:cubicBezTo>
                  <a:pt x="143651" y="283234"/>
                  <a:pt x="141855" y="285391"/>
                  <a:pt x="139341" y="285391"/>
                </a:cubicBezTo>
                <a:cubicBezTo>
                  <a:pt x="137186" y="285391"/>
                  <a:pt x="135391" y="283234"/>
                  <a:pt x="135391" y="281078"/>
                </a:cubicBezTo>
                <a:lnTo>
                  <a:pt x="135391" y="253401"/>
                </a:lnTo>
                <a:cubicBezTo>
                  <a:pt x="122821" y="248729"/>
                  <a:pt x="79726" y="231835"/>
                  <a:pt x="74339" y="207753"/>
                </a:cubicBezTo>
                <a:lnTo>
                  <a:pt x="52792" y="211347"/>
                </a:lnTo>
                <a:cubicBezTo>
                  <a:pt x="27294" y="216020"/>
                  <a:pt x="8978" y="237946"/>
                  <a:pt x="8978" y="263825"/>
                </a:cubicBezTo>
                <a:lnTo>
                  <a:pt x="8978" y="281078"/>
                </a:lnTo>
                <a:cubicBezTo>
                  <a:pt x="8978" y="283234"/>
                  <a:pt x="6464" y="285391"/>
                  <a:pt x="4310" y="285391"/>
                </a:cubicBezTo>
                <a:cubicBezTo>
                  <a:pt x="2155" y="285391"/>
                  <a:pt x="0" y="283234"/>
                  <a:pt x="0" y="281078"/>
                </a:cubicBezTo>
                <a:lnTo>
                  <a:pt x="0" y="263825"/>
                </a:lnTo>
                <a:cubicBezTo>
                  <a:pt x="0" y="233632"/>
                  <a:pt x="21907" y="207753"/>
                  <a:pt x="51714" y="202721"/>
                </a:cubicBezTo>
                <a:lnTo>
                  <a:pt x="53869" y="202362"/>
                </a:lnTo>
                <a:cubicBezTo>
                  <a:pt x="41659" y="183312"/>
                  <a:pt x="34476" y="152400"/>
                  <a:pt x="34476" y="119692"/>
                </a:cubicBezTo>
                <a:cubicBezTo>
                  <a:pt x="34476" y="47805"/>
                  <a:pt x="76853" y="0"/>
                  <a:pt x="139341" y="0"/>
                </a:cubicBezTo>
                <a:close/>
              </a:path>
            </a:pathLst>
          </a:custGeom>
          <a:solidFill>
            <a:schemeClr val="bg1"/>
          </a:solidFill>
          <a:ln>
            <a:noFill/>
          </a:ln>
          <a:effectLst/>
        </p:spPr>
        <p:txBody>
          <a:bodyPr anchor="ctr"/>
          <a:lstStyle/>
          <a:p>
            <a:endParaRPr lang="en-US" sz="900" dirty="0"/>
          </a:p>
        </p:txBody>
      </p:sp>
      <p:sp>
        <p:nvSpPr>
          <p:cNvPr id="12" name="Freeform 1047">
            <a:extLst>
              <a:ext uri="{FF2B5EF4-FFF2-40B4-BE49-F238E27FC236}">
                <a16:creationId xmlns:a16="http://schemas.microsoft.com/office/drawing/2014/main" id="{78CEE0CD-9D94-2C4A-B57C-99093746D923}"/>
              </a:ext>
            </a:extLst>
          </p:cNvPr>
          <p:cNvSpPr>
            <a:spLocks noChangeAspect="1" noChangeArrowheads="1"/>
          </p:cNvSpPr>
          <p:nvPr/>
        </p:nvSpPr>
        <p:spPr bwMode="auto">
          <a:xfrm>
            <a:off x="6686275" y="1621973"/>
            <a:ext cx="528762" cy="525842"/>
          </a:xfrm>
          <a:custGeom>
            <a:avLst/>
            <a:gdLst>
              <a:gd name="T0" fmla="*/ 229384 w 286977"/>
              <a:gd name="T1" fmla="*/ 251968 h 285393"/>
              <a:gd name="T2" fmla="*/ 224597 w 286977"/>
              <a:gd name="T3" fmla="*/ 286823 h 285393"/>
              <a:gd name="T4" fmla="*/ 220180 w 286977"/>
              <a:gd name="T5" fmla="*/ 251968 h 285393"/>
              <a:gd name="T6" fmla="*/ 63245 w 286977"/>
              <a:gd name="T7" fmla="*/ 247297 h 285393"/>
              <a:gd name="T8" fmla="*/ 68224 w 286977"/>
              <a:gd name="T9" fmla="*/ 282512 h 285393"/>
              <a:gd name="T10" fmla="*/ 59034 w 286977"/>
              <a:gd name="T11" fmla="*/ 282512 h 285393"/>
              <a:gd name="T12" fmla="*/ 63245 w 286977"/>
              <a:gd name="T13" fmla="*/ 247297 h 285393"/>
              <a:gd name="T14" fmla="*/ 151287 w 286977"/>
              <a:gd name="T15" fmla="*/ 193983 h 285393"/>
              <a:gd name="T16" fmla="*/ 200264 w 286977"/>
              <a:gd name="T17" fmla="*/ 182424 h 285393"/>
              <a:gd name="T18" fmla="*/ 103397 w 286977"/>
              <a:gd name="T19" fmla="*/ 171948 h 285393"/>
              <a:gd name="T20" fmla="*/ 111015 w 286977"/>
              <a:gd name="T21" fmla="*/ 217103 h 285393"/>
              <a:gd name="T22" fmla="*/ 103397 w 286977"/>
              <a:gd name="T23" fmla="*/ 171948 h 285393"/>
              <a:gd name="T24" fmla="*/ 111015 w 286977"/>
              <a:gd name="T25" fmla="*/ 158221 h 285393"/>
              <a:gd name="T26" fmla="*/ 144030 w 286977"/>
              <a:gd name="T27" fmla="*/ 188204 h 285393"/>
              <a:gd name="T28" fmla="*/ 177045 w 286977"/>
              <a:gd name="T29" fmla="*/ 158221 h 285393"/>
              <a:gd name="T30" fmla="*/ 144030 w 286977"/>
              <a:gd name="T31" fmla="*/ 156776 h 285393"/>
              <a:gd name="T32" fmla="*/ 167250 w 286977"/>
              <a:gd name="T33" fmla="*/ 38651 h 285393"/>
              <a:gd name="T34" fmla="*/ 164347 w 286977"/>
              <a:gd name="T35" fmla="*/ 52741 h 285393"/>
              <a:gd name="T36" fmla="*/ 87071 w 286977"/>
              <a:gd name="T37" fmla="*/ 44794 h 285393"/>
              <a:gd name="T38" fmla="*/ 144030 w 286977"/>
              <a:gd name="T39" fmla="*/ 148107 h 285393"/>
              <a:gd name="T40" fmla="*/ 198450 w 286977"/>
              <a:gd name="T41" fmla="*/ 39015 h 285393"/>
              <a:gd name="T42" fmla="*/ 179585 w 286977"/>
              <a:gd name="T43" fmla="*/ 46239 h 285393"/>
              <a:gd name="T44" fmla="*/ 144030 w 286977"/>
              <a:gd name="T45" fmla="*/ 9030 h 285393"/>
              <a:gd name="T46" fmla="*/ 158542 w 286977"/>
              <a:gd name="T47" fmla="*/ 45153 h 285393"/>
              <a:gd name="T48" fmla="*/ 160719 w 286977"/>
              <a:gd name="T49" fmla="*/ 27093 h 285393"/>
              <a:gd name="T50" fmla="*/ 182487 w 286977"/>
              <a:gd name="T51" fmla="*/ 37569 h 285393"/>
              <a:gd name="T52" fmla="*/ 144030 w 286977"/>
              <a:gd name="T53" fmla="*/ 9030 h 285393"/>
              <a:gd name="T54" fmla="*/ 214776 w 286977"/>
              <a:gd name="T55" fmla="*/ 72247 h 285393"/>
              <a:gd name="T56" fmla="*/ 185751 w 286977"/>
              <a:gd name="T57" fmla="*/ 155693 h 285393"/>
              <a:gd name="T58" fmla="*/ 245977 w 286977"/>
              <a:gd name="T59" fmla="*/ 182062 h 285393"/>
              <a:gd name="T60" fmla="*/ 288423 w 286977"/>
              <a:gd name="T61" fmla="*/ 282487 h 285393"/>
              <a:gd name="T62" fmla="*/ 279355 w 286977"/>
              <a:gd name="T63" fmla="*/ 282487 h 285393"/>
              <a:gd name="T64" fmla="*/ 244163 w 286977"/>
              <a:gd name="T65" fmla="*/ 190732 h 285393"/>
              <a:gd name="T66" fmla="*/ 181399 w 286977"/>
              <a:gd name="T67" fmla="*/ 225772 h 285393"/>
              <a:gd name="T68" fmla="*/ 178134 w 286977"/>
              <a:gd name="T69" fmla="*/ 227578 h 285393"/>
              <a:gd name="T70" fmla="*/ 148384 w 286977"/>
              <a:gd name="T71" fmla="*/ 203015 h 285393"/>
              <a:gd name="T72" fmla="*/ 144030 w 286977"/>
              <a:gd name="T73" fmla="*/ 286821 h 285393"/>
              <a:gd name="T74" fmla="*/ 139676 w 286977"/>
              <a:gd name="T75" fmla="*/ 203015 h 285393"/>
              <a:gd name="T76" fmla="*/ 109928 w 286977"/>
              <a:gd name="T77" fmla="*/ 227578 h 285393"/>
              <a:gd name="T78" fmla="*/ 106299 w 286977"/>
              <a:gd name="T79" fmla="*/ 225772 h 285393"/>
              <a:gd name="T80" fmla="*/ 43898 w 286977"/>
              <a:gd name="T81" fmla="*/ 190732 h 285393"/>
              <a:gd name="T82" fmla="*/ 8707 w 286977"/>
              <a:gd name="T83" fmla="*/ 282487 h 285393"/>
              <a:gd name="T84" fmla="*/ 0 w 286977"/>
              <a:gd name="T85" fmla="*/ 282487 h 285393"/>
              <a:gd name="T86" fmla="*/ 42446 w 286977"/>
              <a:gd name="T87" fmla="*/ 182062 h 285393"/>
              <a:gd name="T88" fmla="*/ 102309 w 286977"/>
              <a:gd name="T89" fmla="*/ 155693 h 285393"/>
              <a:gd name="T90" fmla="*/ 73647 w 286977"/>
              <a:gd name="T91" fmla="*/ 72247 h 2853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6977" h="285393">
                <a:moveTo>
                  <a:pt x="223471" y="246063"/>
                </a:moveTo>
                <a:cubicBezTo>
                  <a:pt x="226036" y="246063"/>
                  <a:pt x="228234" y="248208"/>
                  <a:pt x="228234" y="250711"/>
                </a:cubicBezTo>
                <a:lnTo>
                  <a:pt x="228234" y="281102"/>
                </a:lnTo>
                <a:cubicBezTo>
                  <a:pt x="228234" y="283247"/>
                  <a:pt x="226036" y="285393"/>
                  <a:pt x="223471" y="285393"/>
                </a:cubicBezTo>
                <a:cubicBezTo>
                  <a:pt x="221273" y="285393"/>
                  <a:pt x="219075" y="283247"/>
                  <a:pt x="219075" y="281102"/>
                </a:cubicBezTo>
                <a:lnTo>
                  <a:pt x="219075" y="250711"/>
                </a:lnTo>
                <a:cubicBezTo>
                  <a:pt x="219075" y="248208"/>
                  <a:pt x="221273" y="246063"/>
                  <a:pt x="223471" y="246063"/>
                </a:cubicBezTo>
                <a:close/>
                <a:moveTo>
                  <a:pt x="62929" y="246063"/>
                </a:moveTo>
                <a:cubicBezTo>
                  <a:pt x="65596" y="246063"/>
                  <a:pt x="67882" y="248208"/>
                  <a:pt x="67882" y="250711"/>
                </a:cubicBezTo>
                <a:lnTo>
                  <a:pt x="67882" y="281102"/>
                </a:lnTo>
                <a:cubicBezTo>
                  <a:pt x="67882" y="283247"/>
                  <a:pt x="65596" y="285393"/>
                  <a:pt x="62929" y="285393"/>
                </a:cubicBezTo>
                <a:cubicBezTo>
                  <a:pt x="61024" y="285393"/>
                  <a:pt x="58738" y="283247"/>
                  <a:pt x="58738" y="281102"/>
                </a:cubicBezTo>
                <a:lnTo>
                  <a:pt x="58738" y="250711"/>
                </a:lnTo>
                <a:cubicBezTo>
                  <a:pt x="58738" y="248208"/>
                  <a:pt x="61024" y="246063"/>
                  <a:pt x="62929" y="246063"/>
                </a:cubicBezTo>
                <a:close/>
                <a:moveTo>
                  <a:pt x="183376" y="171090"/>
                </a:moveTo>
                <a:lnTo>
                  <a:pt x="150528" y="193016"/>
                </a:lnTo>
                <a:lnTo>
                  <a:pt x="176518" y="216020"/>
                </a:lnTo>
                <a:lnTo>
                  <a:pt x="199259" y="181514"/>
                </a:lnTo>
                <a:cubicBezTo>
                  <a:pt x="193123" y="180076"/>
                  <a:pt x="188069" y="176122"/>
                  <a:pt x="183376" y="171090"/>
                </a:cubicBezTo>
                <a:close/>
                <a:moveTo>
                  <a:pt x="102878" y="171090"/>
                </a:moveTo>
                <a:cubicBezTo>
                  <a:pt x="98908" y="176122"/>
                  <a:pt x="93132" y="180076"/>
                  <a:pt x="86995" y="181514"/>
                </a:cubicBezTo>
                <a:lnTo>
                  <a:pt x="110459" y="216020"/>
                </a:lnTo>
                <a:lnTo>
                  <a:pt x="136088" y="193016"/>
                </a:lnTo>
                <a:lnTo>
                  <a:pt x="102878" y="171090"/>
                </a:lnTo>
                <a:close/>
                <a:moveTo>
                  <a:pt x="112986" y="147368"/>
                </a:moveTo>
                <a:lnTo>
                  <a:pt x="110459" y="157432"/>
                </a:lnTo>
                <a:cubicBezTo>
                  <a:pt x="110098" y="159588"/>
                  <a:pt x="108654" y="161745"/>
                  <a:pt x="107932" y="163902"/>
                </a:cubicBezTo>
                <a:lnTo>
                  <a:pt x="143308" y="187265"/>
                </a:lnTo>
                <a:lnTo>
                  <a:pt x="179045" y="163902"/>
                </a:lnTo>
                <a:cubicBezTo>
                  <a:pt x="177601" y="161745"/>
                  <a:pt x="176879" y="159588"/>
                  <a:pt x="176157" y="157432"/>
                </a:cubicBezTo>
                <a:lnTo>
                  <a:pt x="173630" y="147368"/>
                </a:lnTo>
                <a:cubicBezTo>
                  <a:pt x="164245" y="152759"/>
                  <a:pt x="154137" y="155994"/>
                  <a:pt x="143308" y="155994"/>
                </a:cubicBezTo>
                <a:cubicBezTo>
                  <a:pt x="132479" y="155994"/>
                  <a:pt x="122371" y="152759"/>
                  <a:pt x="112986" y="147368"/>
                </a:cubicBezTo>
                <a:close/>
                <a:moveTo>
                  <a:pt x="166411" y="38459"/>
                </a:moveTo>
                <a:lnTo>
                  <a:pt x="166411" y="48164"/>
                </a:lnTo>
                <a:cubicBezTo>
                  <a:pt x="166411" y="50321"/>
                  <a:pt x="164967" y="52118"/>
                  <a:pt x="163523" y="52477"/>
                </a:cubicBezTo>
                <a:cubicBezTo>
                  <a:pt x="151249" y="56071"/>
                  <a:pt x="140420" y="57509"/>
                  <a:pt x="130674" y="57509"/>
                </a:cubicBezTo>
                <a:cubicBezTo>
                  <a:pt x="108654" y="57509"/>
                  <a:pt x="93493" y="49961"/>
                  <a:pt x="86635" y="44570"/>
                </a:cubicBezTo>
                <a:cubicBezTo>
                  <a:pt x="83386" y="52837"/>
                  <a:pt x="81942" y="61822"/>
                  <a:pt x="81942" y="71887"/>
                </a:cubicBezTo>
                <a:cubicBezTo>
                  <a:pt x="81942" y="113221"/>
                  <a:pt x="109376" y="147368"/>
                  <a:pt x="143308" y="147368"/>
                </a:cubicBezTo>
                <a:cubicBezTo>
                  <a:pt x="177240" y="147368"/>
                  <a:pt x="205035" y="113221"/>
                  <a:pt x="205035" y="71887"/>
                </a:cubicBezTo>
                <a:cubicBezTo>
                  <a:pt x="205035" y="59306"/>
                  <a:pt x="202147" y="48164"/>
                  <a:pt x="197455" y="38819"/>
                </a:cubicBezTo>
                <a:cubicBezTo>
                  <a:pt x="191318" y="43132"/>
                  <a:pt x="182654" y="46007"/>
                  <a:pt x="182294" y="46367"/>
                </a:cubicBezTo>
                <a:cubicBezTo>
                  <a:pt x="180850" y="46726"/>
                  <a:pt x="179767" y="46367"/>
                  <a:pt x="178684" y="46007"/>
                </a:cubicBezTo>
                <a:lnTo>
                  <a:pt x="166411" y="38459"/>
                </a:lnTo>
                <a:close/>
                <a:moveTo>
                  <a:pt x="143308" y="8986"/>
                </a:moveTo>
                <a:cubicBezTo>
                  <a:pt x="118761" y="8986"/>
                  <a:pt x="100713" y="19050"/>
                  <a:pt x="89883" y="37021"/>
                </a:cubicBezTo>
                <a:cubicBezTo>
                  <a:pt x="97825" y="42054"/>
                  <a:pt x="120927" y="55712"/>
                  <a:pt x="157747" y="44929"/>
                </a:cubicBezTo>
                <a:lnTo>
                  <a:pt x="157747" y="30911"/>
                </a:lnTo>
                <a:cubicBezTo>
                  <a:pt x="157747" y="29114"/>
                  <a:pt x="158469" y="27676"/>
                  <a:pt x="159913" y="26957"/>
                </a:cubicBezTo>
                <a:cubicBezTo>
                  <a:pt x="161357" y="26238"/>
                  <a:pt x="163162" y="26238"/>
                  <a:pt x="164245" y="26957"/>
                </a:cubicBezTo>
                <a:lnTo>
                  <a:pt x="181572" y="37381"/>
                </a:lnTo>
                <a:cubicBezTo>
                  <a:pt x="184459" y="35943"/>
                  <a:pt x="189152" y="34146"/>
                  <a:pt x="192762" y="31630"/>
                </a:cubicBezTo>
                <a:cubicBezTo>
                  <a:pt x="182654" y="16893"/>
                  <a:pt x="164967" y="8986"/>
                  <a:pt x="143308" y="8986"/>
                </a:cubicBezTo>
                <a:close/>
                <a:moveTo>
                  <a:pt x="143308" y="0"/>
                </a:moveTo>
                <a:cubicBezTo>
                  <a:pt x="185542" y="0"/>
                  <a:pt x="213699" y="28754"/>
                  <a:pt x="213699" y="71887"/>
                </a:cubicBezTo>
                <a:cubicBezTo>
                  <a:pt x="213699" y="101001"/>
                  <a:pt x="200703" y="127239"/>
                  <a:pt x="181572" y="142336"/>
                </a:cubicBezTo>
                <a:lnTo>
                  <a:pt x="184820" y="154916"/>
                </a:lnTo>
                <a:cubicBezTo>
                  <a:pt x="186986" y="164980"/>
                  <a:pt x="195650" y="173247"/>
                  <a:pt x="206118" y="174685"/>
                </a:cubicBezTo>
                <a:lnTo>
                  <a:pt x="244743" y="181154"/>
                </a:lnTo>
                <a:cubicBezTo>
                  <a:pt x="268928" y="185468"/>
                  <a:pt x="286977" y="206674"/>
                  <a:pt x="286977" y="230756"/>
                </a:cubicBezTo>
                <a:lnTo>
                  <a:pt x="286977" y="281078"/>
                </a:lnTo>
                <a:cubicBezTo>
                  <a:pt x="286977" y="283234"/>
                  <a:pt x="284811" y="285391"/>
                  <a:pt x="282284" y="285391"/>
                </a:cubicBezTo>
                <a:cubicBezTo>
                  <a:pt x="279758" y="285391"/>
                  <a:pt x="277953" y="283234"/>
                  <a:pt x="277953" y="281078"/>
                </a:cubicBezTo>
                <a:lnTo>
                  <a:pt x="277953" y="230756"/>
                </a:lnTo>
                <a:cubicBezTo>
                  <a:pt x="277953" y="210628"/>
                  <a:pt x="263153" y="193375"/>
                  <a:pt x="242938" y="189781"/>
                </a:cubicBezTo>
                <a:lnTo>
                  <a:pt x="208645" y="184030"/>
                </a:lnTo>
                <a:lnTo>
                  <a:pt x="180489" y="224646"/>
                </a:lnTo>
                <a:cubicBezTo>
                  <a:pt x="180128" y="225724"/>
                  <a:pt x="179045" y="226443"/>
                  <a:pt x="177601" y="226443"/>
                </a:cubicBezTo>
                <a:cubicBezTo>
                  <a:pt x="177240" y="226443"/>
                  <a:pt x="177240" y="226443"/>
                  <a:pt x="177240" y="226443"/>
                </a:cubicBezTo>
                <a:cubicBezTo>
                  <a:pt x="176157" y="226443"/>
                  <a:pt x="175435" y="226443"/>
                  <a:pt x="174352" y="225724"/>
                </a:cubicBezTo>
                <a:lnTo>
                  <a:pt x="147640" y="202002"/>
                </a:lnTo>
                <a:lnTo>
                  <a:pt x="147640" y="281078"/>
                </a:lnTo>
                <a:cubicBezTo>
                  <a:pt x="147640" y="283234"/>
                  <a:pt x="145835" y="285391"/>
                  <a:pt x="143308" y="285391"/>
                </a:cubicBezTo>
                <a:cubicBezTo>
                  <a:pt x="141142" y="285391"/>
                  <a:pt x="138976" y="283234"/>
                  <a:pt x="138976" y="281078"/>
                </a:cubicBezTo>
                <a:lnTo>
                  <a:pt x="138976" y="202002"/>
                </a:lnTo>
                <a:lnTo>
                  <a:pt x="112264" y="225724"/>
                </a:lnTo>
                <a:cubicBezTo>
                  <a:pt x="111542" y="226443"/>
                  <a:pt x="110459" y="226443"/>
                  <a:pt x="109376" y="226443"/>
                </a:cubicBezTo>
                <a:cubicBezTo>
                  <a:pt x="109015" y="226443"/>
                  <a:pt x="109015" y="226443"/>
                  <a:pt x="108654" y="226443"/>
                </a:cubicBezTo>
                <a:cubicBezTo>
                  <a:pt x="107571" y="226443"/>
                  <a:pt x="106127" y="225724"/>
                  <a:pt x="105766" y="224646"/>
                </a:cubicBezTo>
                <a:lnTo>
                  <a:pt x="77610" y="184030"/>
                </a:lnTo>
                <a:lnTo>
                  <a:pt x="43678" y="189781"/>
                </a:lnTo>
                <a:cubicBezTo>
                  <a:pt x="23463" y="193375"/>
                  <a:pt x="8663" y="210628"/>
                  <a:pt x="8663" y="230756"/>
                </a:cubicBezTo>
                <a:lnTo>
                  <a:pt x="8663" y="281078"/>
                </a:lnTo>
                <a:cubicBezTo>
                  <a:pt x="8663" y="283234"/>
                  <a:pt x="6859" y="285391"/>
                  <a:pt x="4693" y="285391"/>
                </a:cubicBezTo>
                <a:cubicBezTo>
                  <a:pt x="2166" y="285391"/>
                  <a:pt x="0" y="283234"/>
                  <a:pt x="0" y="281078"/>
                </a:cubicBezTo>
                <a:lnTo>
                  <a:pt x="0" y="230756"/>
                </a:lnTo>
                <a:cubicBezTo>
                  <a:pt x="0" y="206674"/>
                  <a:pt x="17688" y="185468"/>
                  <a:pt x="42234" y="181154"/>
                </a:cubicBezTo>
                <a:lnTo>
                  <a:pt x="80498" y="174685"/>
                </a:lnTo>
                <a:cubicBezTo>
                  <a:pt x="90605" y="173247"/>
                  <a:pt x="99269" y="164980"/>
                  <a:pt x="101796" y="154916"/>
                </a:cubicBezTo>
                <a:lnTo>
                  <a:pt x="105044" y="142336"/>
                </a:lnTo>
                <a:cubicBezTo>
                  <a:pt x="85913" y="127239"/>
                  <a:pt x="73278" y="101001"/>
                  <a:pt x="73278" y="71887"/>
                </a:cubicBezTo>
                <a:cubicBezTo>
                  <a:pt x="73278" y="28754"/>
                  <a:pt x="101435" y="0"/>
                  <a:pt x="143308" y="0"/>
                </a:cubicBezTo>
                <a:close/>
              </a:path>
            </a:pathLst>
          </a:custGeom>
          <a:solidFill>
            <a:schemeClr val="bg1"/>
          </a:solidFill>
          <a:ln>
            <a:noFill/>
          </a:ln>
          <a:effectLst/>
        </p:spPr>
        <p:txBody>
          <a:bodyPr anchor="ctr"/>
          <a:lstStyle/>
          <a:p>
            <a:endParaRPr lang="en-US" sz="900" dirty="0"/>
          </a:p>
        </p:txBody>
      </p:sp>
      <p:sp>
        <p:nvSpPr>
          <p:cNvPr id="13" name="Freeform 1048">
            <a:extLst>
              <a:ext uri="{FF2B5EF4-FFF2-40B4-BE49-F238E27FC236}">
                <a16:creationId xmlns:a16="http://schemas.microsoft.com/office/drawing/2014/main" id="{D9999BDB-1CFA-D742-BBFB-219051797D90}"/>
              </a:ext>
            </a:extLst>
          </p:cNvPr>
          <p:cNvSpPr>
            <a:spLocks noChangeAspect="1" noChangeArrowheads="1"/>
          </p:cNvSpPr>
          <p:nvPr/>
        </p:nvSpPr>
        <p:spPr bwMode="auto">
          <a:xfrm>
            <a:off x="7265316" y="1621973"/>
            <a:ext cx="514156" cy="525842"/>
          </a:xfrm>
          <a:custGeom>
            <a:avLst/>
            <a:gdLst>
              <a:gd name="T0" fmla="*/ 232587 w 279041"/>
              <a:gd name="T1" fmla="*/ 257945 h 285396"/>
              <a:gd name="T2" fmla="*/ 227992 w 279041"/>
              <a:gd name="T3" fmla="*/ 286814 h 285396"/>
              <a:gd name="T4" fmla="*/ 223396 w 279041"/>
              <a:gd name="T5" fmla="*/ 257945 h 285396"/>
              <a:gd name="T6" fmla="*/ 53885 w 279041"/>
              <a:gd name="T7" fmla="*/ 253667 h 285396"/>
              <a:gd name="T8" fmla="*/ 58672 w 279041"/>
              <a:gd name="T9" fmla="*/ 282538 h 285396"/>
              <a:gd name="T10" fmla="*/ 49466 w 279041"/>
              <a:gd name="T11" fmla="*/ 282538 h 285396"/>
              <a:gd name="T12" fmla="*/ 53885 w 279041"/>
              <a:gd name="T13" fmla="*/ 253667 h 285396"/>
              <a:gd name="T14" fmla="*/ 110098 w 279041"/>
              <a:gd name="T15" fmla="*/ 180972 h 285396"/>
              <a:gd name="T16" fmla="*/ 140059 w 279041"/>
              <a:gd name="T17" fmla="*/ 247075 h 285396"/>
              <a:gd name="T18" fmla="*/ 170743 w 279041"/>
              <a:gd name="T19" fmla="*/ 180972 h 285396"/>
              <a:gd name="T20" fmla="*/ 140059 w 279041"/>
              <a:gd name="T21" fmla="*/ 188558 h 285396"/>
              <a:gd name="T22" fmla="*/ 169434 w 279041"/>
              <a:gd name="T23" fmla="*/ 78791 h 285396"/>
              <a:gd name="T24" fmla="*/ 84108 w 279041"/>
              <a:gd name="T25" fmla="*/ 89221 h 285396"/>
              <a:gd name="T26" fmla="*/ 140059 w 279041"/>
              <a:gd name="T27" fmla="*/ 180249 h 285396"/>
              <a:gd name="T28" fmla="*/ 196372 w 279041"/>
              <a:gd name="T29" fmla="*/ 87777 h 285396"/>
              <a:gd name="T30" fmla="*/ 140059 w 279041"/>
              <a:gd name="T31" fmla="*/ 9030 h 285396"/>
              <a:gd name="T32" fmla="*/ 63532 w 279041"/>
              <a:gd name="T33" fmla="*/ 201923 h 285396"/>
              <a:gd name="T34" fmla="*/ 102157 w 279041"/>
              <a:gd name="T35" fmla="*/ 178805 h 285396"/>
              <a:gd name="T36" fmla="*/ 72918 w 279041"/>
              <a:gd name="T37" fmla="*/ 107644 h 285396"/>
              <a:gd name="T38" fmla="*/ 80138 w 279041"/>
              <a:gd name="T39" fmla="*/ 78746 h 285396"/>
              <a:gd name="T40" fmla="*/ 137532 w 279041"/>
              <a:gd name="T41" fmla="*/ 79468 h 285396"/>
              <a:gd name="T42" fmla="*/ 204314 w 279041"/>
              <a:gd name="T43" fmla="*/ 83804 h 285396"/>
              <a:gd name="T44" fmla="*/ 177962 w 279041"/>
              <a:gd name="T45" fmla="*/ 175192 h 285396"/>
              <a:gd name="T46" fmla="*/ 199982 w 279041"/>
              <a:gd name="T47" fmla="*/ 199033 h 285396"/>
              <a:gd name="T48" fmla="*/ 237523 w 279041"/>
              <a:gd name="T49" fmla="*/ 120287 h 285396"/>
              <a:gd name="T50" fmla="*/ 140059 w 279041"/>
              <a:gd name="T51" fmla="*/ 0 h 285396"/>
              <a:gd name="T52" fmla="*/ 226333 w 279041"/>
              <a:gd name="T53" fmla="*/ 203368 h 285396"/>
              <a:gd name="T54" fmla="*/ 280479 w 279041"/>
              <a:gd name="T55" fmla="*/ 265136 h 285396"/>
              <a:gd name="T56" fmla="*/ 276148 w 279041"/>
              <a:gd name="T57" fmla="*/ 286809 h 285396"/>
              <a:gd name="T58" fmla="*/ 272177 w 279041"/>
              <a:gd name="T59" fmla="*/ 265136 h 285396"/>
              <a:gd name="T60" fmla="*/ 205757 w 279041"/>
              <a:gd name="T61" fmla="*/ 208786 h 285396"/>
              <a:gd name="T62" fmla="*/ 144392 w 279041"/>
              <a:gd name="T63" fmla="*/ 282476 h 285396"/>
              <a:gd name="T64" fmla="*/ 136089 w 279041"/>
              <a:gd name="T65" fmla="*/ 282476 h 285396"/>
              <a:gd name="T66" fmla="*/ 74723 w 279041"/>
              <a:gd name="T67" fmla="*/ 208786 h 285396"/>
              <a:gd name="T68" fmla="*/ 9026 w 279041"/>
              <a:gd name="T69" fmla="*/ 265136 h 285396"/>
              <a:gd name="T70" fmla="*/ 4334 w 279041"/>
              <a:gd name="T71" fmla="*/ 286809 h 285396"/>
              <a:gd name="T72" fmla="*/ 0 w 279041"/>
              <a:gd name="T73" fmla="*/ 265136 h 285396"/>
              <a:gd name="T74" fmla="*/ 54146 w 279041"/>
              <a:gd name="T75" fmla="*/ 203368 h 285396"/>
              <a:gd name="T76" fmla="*/ 140059 w 279041"/>
              <a:gd name="T77" fmla="*/ 0 h 285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9041" h="285396">
                <a:moveTo>
                  <a:pt x="226822" y="252413"/>
                </a:moveTo>
                <a:cubicBezTo>
                  <a:pt x="229489" y="252413"/>
                  <a:pt x="231394" y="254186"/>
                  <a:pt x="231394" y="256669"/>
                </a:cubicBezTo>
                <a:lnTo>
                  <a:pt x="231394" y="281140"/>
                </a:lnTo>
                <a:cubicBezTo>
                  <a:pt x="231394" y="283268"/>
                  <a:pt x="229489" y="285396"/>
                  <a:pt x="226822" y="285396"/>
                </a:cubicBezTo>
                <a:cubicBezTo>
                  <a:pt x="224155" y="285396"/>
                  <a:pt x="222250" y="283268"/>
                  <a:pt x="222250" y="281140"/>
                </a:cubicBezTo>
                <a:lnTo>
                  <a:pt x="222250" y="256669"/>
                </a:lnTo>
                <a:cubicBezTo>
                  <a:pt x="222250" y="254186"/>
                  <a:pt x="224155" y="252413"/>
                  <a:pt x="226822" y="252413"/>
                </a:cubicBezTo>
                <a:close/>
                <a:moveTo>
                  <a:pt x="53609" y="252413"/>
                </a:moveTo>
                <a:cubicBezTo>
                  <a:pt x="56174" y="252413"/>
                  <a:pt x="58372" y="254186"/>
                  <a:pt x="58372" y="256669"/>
                </a:cubicBezTo>
                <a:lnTo>
                  <a:pt x="58372" y="281140"/>
                </a:lnTo>
                <a:cubicBezTo>
                  <a:pt x="58372" y="283268"/>
                  <a:pt x="56174" y="285396"/>
                  <a:pt x="53609" y="285396"/>
                </a:cubicBezTo>
                <a:cubicBezTo>
                  <a:pt x="51045" y="285396"/>
                  <a:pt x="49213" y="283268"/>
                  <a:pt x="49213" y="281140"/>
                </a:cubicBezTo>
                <a:lnTo>
                  <a:pt x="49213" y="256669"/>
                </a:lnTo>
                <a:cubicBezTo>
                  <a:pt x="49213" y="254186"/>
                  <a:pt x="51045" y="252413"/>
                  <a:pt x="53609" y="252413"/>
                </a:cubicBezTo>
                <a:close/>
                <a:moveTo>
                  <a:pt x="110252" y="179358"/>
                </a:moveTo>
                <a:lnTo>
                  <a:pt x="109534" y="180077"/>
                </a:lnTo>
                <a:cubicBezTo>
                  <a:pt x="106301" y="193376"/>
                  <a:pt x="95887" y="203080"/>
                  <a:pt x="82958" y="205956"/>
                </a:cubicBezTo>
                <a:cubicBezTo>
                  <a:pt x="86909" y="223928"/>
                  <a:pt x="123539" y="240102"/>
                  <a:pt x="139341" y="245853"/>
                </a:cubicBezTo>
                <a:cubicBezTo>
                  <a:pt x="155502" y="240102"/>
                  <a:pt x="192133" y="223928"/>
                  <a:pt x="196801" y="205956"/>
                </a:cubicBezTo>
                <a:cubicBezTo>
                  <a:pt x="183514" y="203080"/>
                  <a:pt x="173099" y="193376"/>
                  <a:pt x="169867" y="180077"/>
                </a:cubicBezTo>
                <a:lnTo>
                  <a:pt x="169508" y="179358"/>
                </a:lnTo>
                <a:cubicBezTo>
                  <a:pt x="160529" y="185109"/>
                  <a:pt x="150474" y="187625"/>
                  <a:pt x="139341" y="187625"/>
                </a:cubicBezTo>
                <a:cubicBezTo>
                  <a:pt x="129285" y="187625"/>
                  <a:pt x="118512" y="185109"/>
                  <a:pt x="110252" y="179358"/>
                </a:cubicBezTo>
                <a:close/>
                <a:moveTo>
                  <a:pt x="168565" y="78402"/>
                </a:moveTo>
                <a:cubicBezTo>
                  <a:pt x="159721" y="78357"/>
                  <a:pt x="150833" y="81232"/>
                  <a:pt x="141496" y="86983"/>
                </a:cubicBezTo>
                <a:cubicBezTo>
                  <a:pt x="118871" y="100282"/>
                  <a:pt x="96246" y="95610"/>
                  <a:pt x="83676" y="88780"/>
                </a:cubicBezTo>
                <a:cubicBezTo>
                  <a:pt x="81881" y="94531"/>
                  <a:pt x="81163" y="100642"/>
                  <a:pt x="81163" y="107112"/>
                </a:cubicBezTo>
                <a:cubicBezTo>
                  <a:pt x="81163" y="146649"/>
                  <a:pt x="107738" y="179358"/>
                  <a:pt x="139341" y="179358"/>
                </a:cubicBezTo>
                <a:cubicBezTo>
                  <a:pt x="172021" y="179358"/>
                  <a:pt x="197879" y="146649"/>
                  <a:pt x="197879" y="107112"/>
                </a:cubicBezTo>
                <a:cubicBezTo>
                  <a:pt x="197879" y="99923"/>
                  <a:pt x="197160" y="93453"/>
                  <a:pt x="195365" y="87343"/>
                </a:cubicBezTo>
                <a:cubicBezTo>
                  <a:pt x="186207" y="81412"/>
                  <a:pt x="177408" y="78447"/>
                  <a:pt x="168565" y="78402"/>
                </a:cubicBezTo>
                <a:close/>
                <a:moveTo>
                  <a:pt x="139341" y="8986"/>
                </a:moveTo>
                <a:cubicBezTo>
                  <a:pt x="81163" y="8986"/>
                  <a:pt x="43095" y="52118"/>
                  <a:pt x="43095" y="119692"/>
                </a:cubicBezTo>
                <a:cubicBezTo>
                  <a:pt x="43095" y="152041"/>
                  <a:pt x="50996" y="184030"/>
                  <a:pt x="63206" y="200924"/>
                </a:cubicBezTo>
                <a:lnTo>
                  <a:pt x="80085" y="198048"/>
                </a:lnTo>
                <a:cubicBezTo>
                  <a:pt x="90141" y="195892"/>
                  <a:pt x="98760" y="188344"/>
                  <a:pt x="101633" y="177920"/>
                </a:cubicBezTo>
                <a:lnTo>
                  <a:pt x="102351" y="174326"/>
                </a:lnTo>
                <a:cubicBezTo>
                  <a:pt x="84395" y="159589"/>
                  <a:pt x="72544" y="135147"/>
                  <a:pt x="72544" y="107112"/>
                </a:cubicBezTo>
                <a:cubicBezTo>
                  <a:pt x="72544" y="97766"/>
                  <a:pt x="74339" y="88780"/>
                  <a:pt x="76853" y="80873"/>
                </a:cubicBezTo>
                <a:cubicBezTo>
                  <a:pt x="77212" y="80154"/>
                  <a:pt x="78290" y="78716"/>
                  <a:pt x="79726" y="78357"/>
                </a:cubicBezTo>
                <a:cubicBezTo>
                  <a:pt x="80803" y="77997"/>
                  <a:pt x="82599" y="78357"/>
                  <a:pt x="83317" y="78716"/>
                </a:cubicBezTo>
                <a:cubicBezTo>
                  <a:pt x="92296" y="84827"/>
                  <a:pt x="114920" y="92734"/>
                  <a:pt x="136827" y="79076"/>
                </a:cubicBezTo>
                <a:cubicBezTo>
                  <a:pt x="158734" y="66136"/>
                  <a:pt x="179922" y="66496"/>
                  <a:pt x="200752" y="80873"/>
                </a:cubicBezTo>
                <a:cubicBezTo>
                  <a:pt x="201829" y="81232"/>
                  <a:pt x="202906" y="81951"/>
                  <a:pt x="203265" y="83389"/>
                </a:cubicBezTo>
                <a:cubicBezTo>
                  <a:pt x="205420" y="90937"/>
                  <a:pt x="206857" y="98845"/>
                  <a:pt x="206857" y="107112"/>
                </a:cubicBezTo>
                <a:cubicBezTo>
                  <a:pt x="206857" y="135147"/>
                  <a:pt x="194646" y="159589"/>
                  <a:pt x="177049" y="174326"/>
                </a:cubicBezTo>
                <a:lnTo>
                  <a:pt x="178127" y="177920"/>
                </a:lnTo>
                <a:cubicBezTo>
                  <a:pt x="180281" y="188344"/>
                  <a:pt x="188541" y="195892"/>
                  <a:pt x="198956" y="198048"/>
                </a:cubicBezTo>
                <a:lnTo>
                  <a:pt x="216194" y="200924"/>
                </a:lnTo>
                <a:cubicBezTo>
                  <a:pt x="228404" y="184030"/>
                  <a:pt x="236305" y="152041"/>
                  <a:pt x="236305" y="119692"/>
                </a:cubicBezTo>
                <a:cubicBezTo>
                  <a:pt x="236305" y="52118"/>
                  <a:pt x="198238" y="8986"/>
                  <a:pt x="139341" y="8986"/>
                </a:cubicBezTo>
                <a:close/>
                <a:moveTo>
                  <a:pt x="139341" y="0"/>
                </a:moveTo>
                <a:cubicBezTo>
                  <a:pt x="203625" y="0"/>
                  <a:pt x="244924" y="46727"/>
                  <a:pt x="244924" y="119692"/>
                </a:cubicBezTo>
                <a:cubicBezTo>
                  <a:pt x="244924" y="152400"/>
                  <a:pt x="237382" y="183312"/>
                  <a:pt x="225172" y="202362"/>
                </a:cubicBezTo>
                <a:lnTo>
                  <a:pt x="228045" y="202721"/>
                </a:lnTo>
                <a:cubicBezTo>
                  <a:pt x="257493" y="207753"/>
                  <a:pt x="279041" y="233632"/>
                  <a:pt x="279041" y="263825"/>
                </a:cubicBezTo>
                <a:lnTo>
                  <a:pt x="279041" y="281078"/>
                </a:lnTo>
                <a:cubicBezTo>
                  <a:pt x="279041" y="283234"/>
                  <a:pt x="277605" y="285391"/>
                  <a:pt x="274732" y="285391"/>
                </a:cubicBezTo>
                <a:cubicBezTo>
                  <a:pt x="272577" y="285391"/>
                  <a:pt x="270781" y="283234"/>
                  <a:pt x="270781" y="281078"/>
                </a:cubicBezTo>
                <a:lnTo>
                  <a:pt x="270781" y="263825"/>
                </a:lnTo>
                <a:cubicBezTo>
                  <a:pt x="270781" y="237946"/>
                  <a:pt x="251747" y="216020"/>
                  <a:pt x="226249" y="211347"/>
                </a:cubicBezTo>
                <a:lnTo>
                  <a:pt x="204702" y="207753"/>
                </a:lnTo>
                <a:cubicBezTo>
                  <a:pt x="199315" y="231835"/>
                  <a:pt x="156579" y="248729"/>
                  <a:pt x="143651" y="253401"/>
                </a:cubicBezTo>
                <a:lnTo>
                  <a:pt x="143651" y="281078"/>
                </a:lnTo>
                <a:cubicBezTo>
                  <a:pt x="143651" y="283234"/>
                  <a:pt x="141855" y="285391"/>
                  <a:pt x="139341" y="285391"/>
                </a:cubicBezTo>
                <a:cubicBezTo>
                  <a:pt x="137186" y="285391"/>
                  <a:pt x="135391" y="283234"/>
                  <a:pt x="135391" y="281078"/>
                </a:cubicBezTo>
                <a:lnTo>
                  <a:pt x="135391" y="253401"/>
                </a:lnTo>
                <a:cubicBezTo>
                  <a:pt x="122821" y="248729"/>
                  <a:pt x="79726" y="231835"/>
                  <a:pt x="74339" y="207753"/>
                </a:cubicBezTo>
                <a:lnTo>
                  <a:pt x="52792" y="211347"/>
                </a:lnTo>
                <a:cubicBezTo>
                  <a:pt x="27294" y="216020"/>
                  <a:pt x="8978" y="237946"/>
                  <a:pt x="8978" y="263825"/>
                </a:cubicBezTo>
                <a:lnTo>
                  <a:pt x="8978" y="281078"/>
                </a:lnTo>
                <a:cubicBezTo>
                  <a:pt x="8978" y="283234"/>
                  <a:pt x="6464" y="285391"/>
                  <a:pt x="4310" y="285391"/>
                </a:cubicBezTo>
                <a:cubicBezTo>
                  <a:pt x="2155" y="285391"/>
                  <a:pt x="0" y="283234"/>
                  <a:pt x="0" y="281078"/>
                </a:cubicBezTo>
                <a:lnTo>
                  <a:pt x="0" y="263825"/>
                </a:lnTo>
                <a:cubicBezTo>
                  <a:pt x="0" y="233632"/>
                  <a:pt x="21907" y="207753"/>
                  <a:pt x="51714" y="202721"/>
                </a:cubicBezTo>
                <a:lnTo>
                  <a:pt x="53869" y="202362"/>
                </a:lnTo>
                <a:cubicBezTo>
                  <a:pt x="41659" y="183312"/>
                  <a:pt x="34476" y="152400"/>
                  <a:pt x="34476" y="119692"/>
                </a:cubicBezTo>
                <a:cubicBezTo>
                  <a:pt x="34476" y="47805"/>
                  <a:pt x="76853" y="0"/>
                  <a:pt x="139341" y="0"/>
                </a:cubicBezTo>
                <a:close/>
              </a:path>
            </a:pathLst>
          </a:custGeom>
          <a:solidFill>
            <a:schemeClr val="bg1"/>
          </a:solidFill>
          <a:ln>
            <a:noFill/>
          </a:ln>
          <a:effectLst/>
        </p:spPr>
        <p:txBody>
          <a:bodyPr anchor="ctr"/>
          <a:lstStyle/>
          <a:p>
            <a:endParaRPr lang="en-US" sz="900" dirty="0"/>
          </a:p>
        </p:txBody>
      </p:sp>
      <p:sp>
        <p:nvSpPr>
          <p:cNvPr id="24" name="Freeform 1048">
            <a:extLst>
              <a:ext uri="{FF2B5EF4-FFF2-40B4-BE49-F238E27FC236}">
                <a16:creationId xmlns:a16="http://schemas.microsoft.com/office/drawing/2014/main" id="{50ACCF0D-A44D-7748-850B-8403B288C032}"/>
              </a:ext>
            </a:extLst>
          </p:cNvPr>
          <p:cNvSpPr>
            <a:spLocks noChangeAspect="1" noChangeArrowheads="1"/>
          </p:cNvSpPr>
          <p:nvPr/>
        </p:nvSpPr>
        <p:spPr bwMode="auto">
          <a:xfrm>
            <a:off x="4697374" y="2641773"/>
            <a:ext cx="514156" cy="525842"/>
          </a:xfrm>
          <a:custGeom>
            <a:avLst/>
            <a:gdLst>
              <a:gd name="T0" fmla="*/ 232587 w 279041"/>
              <a:gd name="T1" fmla="*/ 257945 h 285396"/>
              <a:gd name="T2" fmla="*/ 227992 w 279041"/>
              <a:gd name="T3" fmla="*/ 286814 h 285396"/>
              <a:gd name="T4" fmla="*/ 223396 w 279041"/>
              <a:gd name="T5" fmla="*/ 257945 h 285396"/>
              <a:gd name="T6" fmla="*/ 53885 w 279041"/>
              <a:gd name="T7" fmla="*/ 253667 h 285396"/>
              <a:gd name="T8" fmla="*/ 58672 w 279041"/>
              <a:gd name="T9" fmla="*/ 282538 h 285396"/>
              <a:gd name="T10" fmla="*/ 49466 w 279041"/>
              <a:gd name="T11" fmla="*/ 282538 h 285396"/>
              <a:gd name="T12" fmla="*/ 53885 w 279041"/>
              <a:gd name="T13" fmla="*/ 253667 h 285396"/>
              <a:gd name="T14" fmla="*/ 110098 w 279041"/>
              <a:gd name="T15" fmla="*/ 180972 h 285396"/>
              <a:gd name="T16" fmla="*/ 140059 w 279041"/>
              <a:gd name="T17" fmla="*/ 247075 h 285396"/>
              <a:gd name="T18" fmla="*/ 170743 w 279041"/>
              <a:gd name="T19" fmla="*/ 180972 h 285396"/>
              <a:gd name="T20" fmla="*/ 140059 w 279041"/>
              <a:gd name="T21" fmla="*/ 188558 h 285396"/>
              <a:gd name="T22" fmla="*/ 169434 w 279041"/>
              <a:gd name="T23" fmla="*/ 78791 h 285396"/>
              <a:gd name="T24" fmla="*/ 84108 w 279041"/>
              <a:gd name="T25" fmla="*/ 89221 h 285396"/>
              <a:gd name="T26" fmla="*/ 140059 w 279041"/>
              <a:gd name="T27" fmla="*/ 180249 h 285396"/>
              <a:gd name="T28" fmla="*/ 196372 w 279041"/>
              <a:gd name="T29" fmla="*/ 87777 h 285396"/>
              <a:gd name="T30" fmla="*/ 140059 w 279041"/>
              <a:gd name="T31" fmla="*/ 9030 h 285396"/>
              <a:gd name="T32" fmla="*/ 63532 w 279041"/>
              <a:gd name="T33" fmla="*/ 201923 h 285396"/>
              <a:gd name="T34" fmla="*/ 102157 w 279041"/>
              <a:gd name="T35" fmla="*/ 178805 h 285396"/>
              <a:gd name="T36" fmla="*/ 72918 w 279041"/>
              <a:gd name="T37" fmla="*/ 107644 h 285396"/>
              <a:gd name="T38" fmla="*/ 80138 w 279041"/>
              <a:gd name="T39" fmla="*/ 78746 h 285396"/>
              <a:gd name="T40" fmla="*/ 137532 w 279041"/>
              <a:gd name="T41" fmla="*/ 79468 h 285396"/>
              <a:gd name="T42" fmla="*/ 204314 w 279041"/>
              <a:gd name="T43" fmla="*/ 83804 h 285396"/>
              <a:gd name="T44" fmla="*/ 177962 w 279041"/>
              <a:gd name="T45" fmla="*/ 175192 h 285396"/>
              <a:gd name="T46" fmla="*/ 199982 w 279041"/>
              <a:gd name="T47" fmla="*/ 199033 h 285396"/>
              <a:gd name="T48" fmla="*/ 237523 w 279041"/>
              <a:gd name="T49" fmla="*/ 120287 h 285396"/>
              <a:gd name="T50" fmla="*/ 140059 w 279041"/>
              <a:gd name="T51" fmla="*/ 0 h 285396"/>
              <a:gd name="T52" fmla="*/ 226333 w 279041"/>
              <a:gd name="T53" fmla="*/ 203368 h 285396"/>
              <a:gd name="T54" fmla="*/ 280479 w 279041"/>
              <a:gd name="T55" fmla="*/ 265136 h 285396"/>
              <a:gd name="T56" fmla="*/ 276148 w 279041"/>
              <a:gd name="T57" fmla="*/ 286809 h 285396"/>
              <a:gd name="T58" fmla="*/ 272177 w 279041"/>
              <a:gd name="T59" fmla="*/ 265136 h 285396"/>
              <a:gd name="T60" fmla="*/ 205757 w 279041"/>
              <a:gd name="T61" fmla="*/ 208786 h 285396"/>
              <a:gd name="T62" fmla="*/ 144392 w 279041"/>
              <a:gd name="T63" fmla="*/ 282476 h 285396"/>
              <a:gd name="T64" fmla="*/ 136089 w 279041"/>
              <a:gd name="T65" fmla="*/ 282476 h 285396"/>
              <a:gd name="T66" fmla="*/ 74723 w 279041"/>
              <a:gd name="T67" fmla="*/ 208786 h 285396"/>
              <a:gd name="T68" fmla="*/ 9026 w 279041"/>
              <a:gd name="T69" fmla="*/ 265136 h 285396"/>
              <a:gd name="T70" fmla="*/ 4334 w 279041"/>
              <a:gd name="T71" fmla="*/ 286809 h 285396"/>
              <a:gd name="T72" fmla="*/ 0 w 279041"/>
              <a:gd name="T73" fmla="*/ 265136 h 285396"/>
              <a:gd name="T74" fmla="*/ 54146 w 279041"/>
              <a:gd name="T75" fmla="*/ 203368 h 285396"/>
              <a:gd name="T76" fmla="*/ 140059 w 279041"/>
              <a:gd name="T77" fmla="*/ 0 h 285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9041" h="285396">
                <a:moveTo>
                  <a:pt x="226822" y="252413"/>
                </a:moveTo>
                <a:cubicBezTo>
                  <a:pt x="229489" y="252413"/>
                  <a:pt x="231394" y="254186"/>
                  <a:pt x="231394" y="256669"/>
                </a:cubicBezTo>
                <a:lnTo>
                  <a:pt x="231394" y="281140"/>
                </a:lnTo>
                <a:cubicBezTo>
                  <a:pt x="231394" y="283268"/>
                  <a:pt x="229489" y="285396"/>
                  <a:pt x="226822" y="285396"/>
                </a:cubicBezTo>
                <a:cubicBezTo>
                  <a:pt x="224155" y="285396"/>
                  <a:pt x="222250" y="283268"/>
                  <a:pt x="222250" y="281140"/>
                </a:cubicBezTo>
                <a:lnTo>
                  <a:pt x="222250" y="256669"/>
                </a:lnTo>
                <a:cubicBezTo>
                  <a:pt x="222250" y="254186"/>
                  <a:pt x="224155" y="252413"/>
                  <a:pt x="226822" y="252413"/>
                </a:cubicBezTo>
                <a:close/>
                <a:moveTo>
                  <a:pt x="53609" y="252413"/>
                </a:moveTo>
                <a:cubicBezTo>
                  <a:pt x="56174" y="252413"/>
                  <a:pt x="58372" y="254186"/>
                  <a:pt x="58372" y="256669"/>
                </a:cubicBezTo>
                <a:lnTo>
                  <a:pt x="58372" y="281140"/>
                </a:lnTo>
                <a:cubicBezTo>
                  <a:pt x="58372" y="283268"/>
                  <a:pt x="56174" y="285396"/>
                  <a:pt x="53609" y="285396"/>
                </a:cubicBezTo>
                <a:cubicBezTo>
                  <a:pt x="51045" y="285396"/>
                  <a:pt x="49213" y="283268"/>
                  <a:pt x="49213" y="281140"/>
                </a:cubicBezTo>
                <a:lnTo>
                  <a:pt x="49213" y="256669"/>
                </a:lnTo>
                <a:cubicBezTo>
                  <a:pt x="49213" y="254186"/>
                  <a:pt x="51045" y="252413"/>
                  <a:pt x="53609" y="252413"/>
                </a:cubicBezTo>
                <a:close/>
                <a:moveTo>
                  <a:pt x="110252" y="179358"/>
                </a:moveTo>
                <a:lnTo>
                  <a:pt x="109534" y="180077"/>
                </a:lnTo>
                <a:cubicBezTo>
                  <a:pt x="106301" y="193376"/>
                  <a:pt x="95887" y="203080"/>
                  <a:pt x="82958" y="205956"/>
                </a:cubicBezTo>
                <a:cubicBezTo>
                  <a:pt x="86909" y="223928"/>
                  <a:pt x="123539" y="240102"/>
                  <a:pt x="139341" y="245853"/>
                </a:cubicBezTo>
                <a:cubicBezTo>
                  <a:pt x="155502" y="240102"/>
                  <a:pt x="192133" y="223928"/>
                  <a:pt x="196801" y="205956"/>
                </a:cubicBezTo>
                <a:cubicBezTo>
                  <a:pt x="183514" y="203080"/>
                  <a:pt x="173099" y="193376"/>
                  <a:pt x="169867" y="180077"/>
                </a:cubicBezTo>
                <a:lnTo>
                  <a:pt x="169508" y="179358"/>
                </a:lnTo>
                <a:cubicBezTo>
                  <a:pt x="160529" y="185109"/>
                  <a:pt x="150474" y="187625"/>
                  <a:pt x="139341" y="187625"/>
                </a:cubicBezTo>
                <a:cubicBezTo>
                  <a:pt x="129285" y="187625"/>
                  <a:pt x="118512" y="185109"/>
                  <a:pt x="110252" y="179358"/>
                </a:cubicBezTo>
                <a:close/>
                <a:moveTo>
                  <a:pt x="168565" y="78402"/>
                </a:moveTo>
                <a:cubicBezTo>
                  <a:pt x="159721" y="78357"/>
                  <a:pt x="150833" y="81232"/>
                  <a:pt x="141496" y="86983"/>
                </a:cubicBezTo>
                <a:cubicBezTo>
                  <a:pt x="118871" y="100282"/>
                  <a:pt x="96246" y="95610"/>
                  <a:pt x="83676" y="88780"/>
                </a:cubicBezTo>
                <a:cubicBezTo>
                  <a:pt x="81881" y="94531"/>
                  <a:pt x="81163" y="100642"/>
                  <a:pt x="81163" y="107112"/>
                </a:cubicBezTo>
                <a:cubicBezTo>
                  <a:pt x="81163" y="146649"/>
                  <a:pt x="107738" y="179358"/>
                  <a:pt x="139341" y="179358"/>
                </a:cubicBezTo>
                <a:cubicBezTo>
                  <a:pt x="172021" y="179358"/>
                  <a:pt x="197879" y="146649"/>
                  <a:pt x="197879" y="107112"/>
                </a:cubicBezTo>
                <a:cubicBezTo>
                  <a:pt x="197879" y="99923"/>
                  <a:pt x="197160" y="93453"/>
                  <a:pt x="195365" y="87343"/>
                </a:cubicBezTo>
                <a:cubicBezTo>
                  <a:pt x="186207" y="81412"/>
                  <a:pt x="177408" y="78447"/>
                  <a:pt x="168565" y="78402"/>
                </a:cubicBezTo>
                <a:close/>
                <a:moveTo>
                  <a:pt x="139341" y="8986"/>
                </a:moveTo>
                <a:cubicBezTo>
                  <a:pt x="81163" y="8986"/>
                  <a:pt x="43095" y="52118"/>
                  <a:pt x="43095" y="119692"/>
                </a:cubicBezTo>
                <a:cubicBezTo>
                  <a:pt x="43095" y="152041"/>
                  <a:pt x="50996" y="184030"/>
                  <a:pt x="63206" y="200924"/>
                </a:cubicBezTo>
                <a:lnTo>
                  <a:pt x="80085" y="198048"/>
                </a:lnTo>
                <a:cubicBezTo>
                  <a:pt x="90141" y="195892"/>
                  <a:pt x="98760" y="188344"/>
                  <a:pt x="101633" y="177920"/>
                </a:cubicBezTo>
                <a:lnTo>
                  <a:pt x="102351" y="174326"/>
                </a:lnTo>
                <a:cubicBezTo>
                  <a:pt x="84395" y="159589"/>
                  <a:pt x="72544" y="135147"/>
                  <a:pt x="72544" y="107112"/>
                </a:cubicBezTo>
                <a:cubicBezTo>
                  <a:pt x="72544" y="97766"/>
                  <a:pt x="74339" y="88780"/>
                  <a:pt x="76853" y="80873"/>
                </a:cubicBezTo>
                <a:cubicBezTo>
                  <a:pt x="77212" y="80154"/>
                  <a:pt x="78290" y="78716"/>
                  <a:pt x="79726" y="78357"/>
                </a:cubicBezTo>
                <a:cubicBezTo>
                  <a:pt x="80803" y="77997"/>
                  <a:pt x="82599" y="78357"/>
                  <a:pt x="83317" y="78716"/>
                </a:cubicBezTo>
                <a:cubicBezTo>
                  <a:pt x="92296" y="84827"/>
                  <a:pt x="114920" y="92734"/>
                  <a:pt x="136827" y="79076"/>
                </a:cubicBezTo>
                <a:cubicBezTo>
                  <a:pt x="158734" y="66136"/>
                  <a:pt x="179922" y="66496"/>
                  <a:pt x="200752" y="80873"/>
                </a:cubicBezTo>
                <a:cubicBezTo>
                  <a:pt x="201829" y="81232"/>
                  <a:pt x="202906" y="81951"/>
                  <a:pt x="203265" y="83389"/>
                </a:cubicBezTo>
                <a:cubicBezTo>
                  <a:pt x="205420" y="90937"/>
                  <a:pt x="206857" y="98845"/>
                  <a:pt x="206857" y="107112"/>
                </a:cubicBezTo>
                <a:cubicBezTo>
                  <a:pt x="206857" y="135147"/>
                  <a:pt x="194646" y="159589"/>
                  <a:pt x="177049" y="174326"/>
                </a:cubicBezTo>
                <a:lnTo>
                  <a:pt x="178127" y="177920"/>
                </a:lnTo>
                <a:cubicBezTo>
                  <a:pt x="180281" y="188344"/>
                  <a:pt x="188541" y="195892"/>
                  <a:pt x="198956" y="198048"/>
                </a:cubicBezTo>
                <a:lnTo>
                  <a:pt x="216194" y="200924"/>
                </a:lnTo>
                <a:cubicBezTo>
                  <a:pt x="228404" y="184030"/>
                  <a:pt x="236305" y="152041"/>
                  <a:pt x="236305" y="119692"/>
                </a:cubicBezTo>
                <a:cubicBezTo>
                  <a:pt x="236305" y="52118"/>
                  <a:pt x="198238" y="8986"/>
                  <a:pt x="139341" y="8986"/>
                </a:cubicBezTo>
                <a:close/>
                <a:moveTo>
                  <a:pt x="139341" y="0"/>
                </a:moveTo>
                <a:cubicBezTo>
                  <a:pt x="203625" y="0"/>
                  <a:pt x="244924" y="46727"/>
                  <a:pt x="244924" y="119692"/>
                </a:cubicBezTo>
                <a:cubicBezTo>
                  <a:pt x="244924" y="152400"/>
                  <a:pt x="237382" y="183312"/>
                  <a:pt x="225172" y="202362"/>
                </a:cubicBezTo>
                <a:lnTo>
                  <a:pt x="228045" y="202721"/>
                </a:lnTo>
                <a:cubicBezTo>
                  <a:pt x="257493" y="207753"/>
                  <a:pt x="279041" y="233632"/>
                  <a:pt x="279041" y="263825"/>
                </a:cubicBezTo>
                <a:lnTo>
                  <a:pt x="279041" y="281078"/>
                </a:lnTo>
                <a:cubicBezTo>
                  <a:pt x="279041" y="283234"/>
                  <a:pt x="277605" y="285391"/>
                  <a:pt x="274732" y="285391"/>
                </a:cubicBezTo>
                <a:cubicBezTo>
                  <a:pt x="272577" y="285391"/>
                  <a:pt x="270781" y="283234"/>
                  <a:pt x="270781" y="281078"/>
                </a:cubicBezTo>
                <a:lnTo>
                  <a:pt x="270781" y="263825"/>
                </a:lnTo>
                <a:cubicBezTo>
                  <a:pt x="270781" y="237946"/>
                  <a:pt x="251747" y="216020"/>
                  <a:pt x="226249" y="211347"/>
                </a:cubicBezTo>
                <a:lnTo>
                  <a:pt x="204702" y="207753"/>
                </a:lnTo>
                <a:cubicBezTo>
                  <a:pt x="199315" y="231835"/>
                  <a:pt x="156579" y="248729"/>
                  <a:pt x="143651" y="253401"/>
                </a:cubicBezTo>
                <a:lnTo>
                  <a:pt x="143651" y="281078"/>
                </a:lnTo>
                <a:cubicBezTo>
                  <a:pt x="143651" y="283234"/>
                  <a:pt x="141855" y="285391"/>
                  <a:pt x="139341" y="285391"/>
                </a:cubicBezTo>
                <a:cubicBezTo>
                  <a:pt x="137186" y="285391"/>
                  <a:pt x="135391" y="283234"/>
                  <a:pt x="135391" y="281078"/>
                </a:cubicBezTo>
                <a:lnTo>
                  <a:pt x="135391" y="253401"/>
                </a:lnTo>
                <a:cubicBezTo>
                  <a:pt x="122821" y="248729"/>
                  <a:pt x="79726" y="231835"/>
                  <a:pt x="74339" y="207753"/>
                </a:cubicBezTo>
                <a:lnTo>
                  <a:pt x="52792" y="211347"/>
                </a:lnTo>
                <a:cubicBezTo>
                  <a:pt x="27294" y="216020"/>
                  <a:pt x="8978" y="237946"/>
                  <a:pt x="8978" y="263825"/>
                </a:cubicBezTo>
                <a:lnTo>
                  <a:pt x="8978" y="281078"/>
                </a:lnTo>
                <a:cubicBezTo>
                  <a:pt x="8978" y="283234"/>
                  <a:pt x="6464" y="285391"/>
                  <a:pt x="4310" y="285391"/>
                </a:cubicBezTo>
                <a:cubicBezTo>
                  <a:pt x="2155" y="285391"/>
                  <a:pt x="0" y="283234"/>
                  <a:pt x="0" y="281078"/>
                </a:cubicBezTo>
                <a:lnTo>
                  <a:pt x="0" y="263825"/>
                </a:lnTo>
                <a:cubicBezTo>
                  <a:pt x="0" y="233632"/>
                  <a:pt x="21907" y="207753"/>
                  <a:pt x="51714" y="202721"/>
                </a:cubicBezTo>
                <a:lnTo>
                  <a:pt x="53869" y="202362"/>
                </a:lnTo>
                <a:cubicBezTo>
                  <a:pt x="41659" y="183312"/>
                  <a:pt x="34476" y="152400"/>
                  <a:pt x="34476" y="119692"/>
                </a:cubicBezTo>
                <a:cubicBezTo>
                  <a:pt x="34476" y="47805"/>
                  <a:pt x="76853" y="0"/>
                  <a:pt x="139341" y="0"/>
                </a:cubicBezTo>
                <a:close/>
              </a:path>
            </a:pathLst>
          </a:custGeom>
          <a:solidFill>
            <a:schemeClr val="bg1"/>
          </a:solidFill>
          <a:ln>
            <a:noFill/>
          </a:ln>
          <a:effectLst/>
        </p:spPr>
        <p:txBody>
          <a:bodyPr anchor="ctr"/>
          <a:lstStyle/>
          <a:p>
            <a:endParaRPr lang="en-US" sz="900" dirty="0"/>
          </a:p>
        </p:txBody>
      </p:sp>
      <p:sp>
        <p:nvSpPr>
          <p:cNvPr id="25" name="Freeform 1047">
            <a:extLst>
              <a:ext uri="{FF2B5EF4-FFF2-40B4-BE49-F238E27FC236}">
                <a16:creationId xmlns:a16="http://schemas.microsoft.com/office/drawing/2014/main" id="{60AB9A50-6095-1943-9CC3-EF492DF4FFBB}"/>
              </a:ext>
            </a:extLst>
          </p:cNvPr>
          <p:cNvSpPr>
            <a:spLocks noChangeAspect="1" noChangeArrowheads="1"/>
          </p:cNvSpPr>
          <p:nvPr/>
        </p:nvSpPr>
        <p:spPr bwMode="auto">
          <a:xfrm>
            <a:off x="5261810" y="2641773"/>
            <a:ext cx="528762" cy="525842"/>
          </a:xfrm>
          <a:custGeom>
            <a:avLst/>
            <a:gdLst>
              <a:gd name="T0" fmla="*/ 229384 w 286977"/>
              <a:gd name="T1" fmla="*/ 251968 h 285393"/>
              <a:gd name="T2" fmla="*/ 224597 w 286977"/>
              <a:gd name="T3" fmla="*/ 286823 h 285393"/>
              <a:gd name="T4" fmla="*/ 220180 w 286977"/>
              <a:gd name="T5" fmla="*/ 251968 h 285393"/>
              <a:gd name="T6" fmla="*/ 63245 w 286977"/>
              <a:gd name="T7" fmla="*/ 247297 h 285393"/>
              <a:gd name="T8" fmla="*/ 68224 w 286977"/>
              <a:gd name="T9" fmla="*/ 282512 h 285393"/>
              <a:gd name="T10" fmla="*/ 59034 w 286977"/>
              <a:gd name="T11" fmla="*/ 282512 h 285393"/>
              <a:gd name="T12" fmla="*/ 63245 w 286977"/>
              <a:gd name="T13" fmla="*/ 247297 h 285393"/>
              <a:gd name="T14" fmla="*/ 151287 w 286977"/>
              <a:gd name="T15" fmla="*/ 193983 h 285393"/>
              <a:gd name="T16" fmla="*/ 200264 w 286977"/>
              <a:gd name="T17" fmla="*/ 182424 h 285393"/>
              <a:gd name="T18" fmla="*/ 103397 w 286977"/>
              <a:gd name="T19" fmla="*/ 171948 h 285393"/>
              <a:gd name="T20" fmla="*/ 111015 w 286977"/>
              <a:gd name="T21" fmla="*/ 217103 h 285393"/>
              <a:gd name="T22" fmla="*/ 103397 w 286977"/>
              <a:gd name="T23" fmla="*/ 171948 h 285393"/>
              <a:gd name="T24" fmla="*/ 111015 w 286977"/>
              <a:gd name="T25" fmla="*/ 158221 h 285393"/>
              <a:gd name="T26" fmla="*/ 144030 w 286977"/>
              <a:gd name="T27" fmla="*/ 188204 h 285393"/>
              <a:gd name="T28" fmla="*/ 177045 w 286977"/>
              <a:gd name="T29" fmla="*/ 158221 h 285393"/>
              <a:gd name="T30" fmla="*/ 144030 w 286977"/>
              <a:gd name="T31" fmla="*/ 156776 h 285393"/>
              <a:gd name="T32" fmla="*/ 167250 w 286977"/>
              <a:gd name="T33" fmla="*/ 38651 h 285393"/>
              <a:gd name="T34" fmla="*/ 164347 w 286977"/>
              <a:gd name="T35" fmla="*/ 52741 h 285393"/>
              <a:gd name="T36" fmla="*/ 87071 w 286977"/>
              <a:gd name="T37" fmla="*/ 44794 h 285393"/>
              <a:gd name="T38" fmla="*/ 144030 w 286977"/>
              <a:gd name="T39" fmla="*/ 148107 h 285393"/>
              <a:gd name="T40" fmla="*/ 198450 w 286977"/>
              <a:gd name="T41" fmla="*/ 39015 h 285393"/>
              <a:gd name="T42" fmla="*/ 179585 w 286977"/>
              <a:gd name="T43" fmla="*/ 46239 h 285393"/>
              <a:gd name="T44" fmla="*/ 144030 w 286977"/>
              <a:gd name="T45" fmla="*/ 9030 h 285393"/>
              <a:gd name="T46" fmla="*/ 158542 w 286977"/>
              <a:gd name="T47" fmla="*/ 45153 h 285393"/>
              <a:gd name="T48" fmla="*/ 160719 w 286977"/>
              <a:gd name="T49" fmla="*/ 27093 h 285393"/>
              <a:gd name="T50" fmla="*/ 182487 w 286977"/>
              <a:gd name="T51" fmla="*/ 37569 h 285393"/>
              <a:gd name="T52" fmla="*/ 144030 w 286977"/>
              <a:gd name="T53" fmla="*/ 9030 h 285393"/>
              <a:gd name="T54" fmla="*/ 214776 w 286977"/>
              <a:gd name="T55" fmla="*/ 72247 h 285393"/>
              <a:gd name="T56" fmla="*/ 185751 w 286977"/>
              <a:gd name="T57" fmla="*/ 155693 h 285393"/>
              <a:gd name="T58" fmla="*/ 245977 w 286977"/>
              <a:gd name="T59" fmla="*/ 182062 h 285393"/>
              <a:gd name="T60" fmla="*/ 288423 w 286977"/>
              <a:gd name="T61" fmla="*/ 282487 h 285393"/>
              <a:gd name="T62" fmla="*/ 279355 w 286977"/>
              <a:gd name="T63" fmla="*/ 282487 h 285393"/>
              <a:gd name="T64" fmla="*/ 244163 w 286977"/>
              <a:gd name="T65" fmla="*/ 190732 h 285393"/>
              <a:gd name="T66" fmla="*/ 181399 w 286977"/>
              <a:gd name="T67" fmla="*/ 225772 h 285393"/>
              <a:gd name="T68" fmla="*/ 178134 w 286977"/>
              <a:gd name="T69" fmla="*/ 227578 h 285393"/>
              <a:gd name="T70" fmla="*/ 148384 w 286977"/>
              <a:gd name="T71" fmla="*/ 203015 h 285393"/>
              <a:gd name="T72" fmla="*/ 144030 w 286977"/>
              <a:gd name="T73" fmla="*/ 286821 h 285393"/>
              <a:gd name="T74" fmla="*/ 139676 w 286977"/>
              <a:gd name="T75" fmla="*/ 203015 h 285393"/>
              <a:gd name="T76" fmla="*/ 109928 w 286977"/>
              <a:gd name="T77" fmla="*/ 227578 h 285393"/>
              <a:gd name="T78" fmla="*/ 106299 w 286977"/>
              <a:gd name="T79" fmla="*/ 225772 h 285393"/>
              <a:gd name="T80" fmla="*/ 43898 w 286977"/>
              <a:gd name="T81" fmla="*/ 190732 h 285393"/>
              <a:gd name="T82" fmla="*/ 8707 w 286977"/>
              <a:gd name="T83" fmla="*/ 282487 h 285393"/>
              <a:gd name="T84" fmla="*/ 0 w 286977"/>
              <a:gd name="T85" fmla="*/ 282487 h 285393"/>
              <a:gd name="T86" fmla="*/ 42446 w 286977"/>
              <a:gd name="T87" fmla="*/ 182062 h 285393"/>
              <a:gd name="T88" fmla="*/ 102309 w 286977"/>
              <a:gd name="T89" fmla="*/ 155693 h 285393"/>
              <a:gd name="T90" fmla="*/ 73647 w 286977"/>
              <a:gd name="T91" fmla="*/ 72247 h 2853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6977" h="285393">
                <a:moveTo>
                  <a:pt x="223471" y="246063"/>
                </a:moveTo>
                <a:cubicBezTo>
                  <a:pt x="226036" y="246063"/>
                  <a:pt x="228234" y="248208"/>
                  <a:pt x="228234" y="250711"/>
                </a:cubicBezTo>
                <a:lnTo>
                  <a:pt x="228234" y="281102"/>
                </a:lnTo>
                <a:cubicBezTo>
                  <a:pt x="228234" y="283247"/>
                  <a:pt x="226036" y="285393"/>
                  <a:pt x="223471" y="285393"/>
                </a:cubicBezTo>
                <a:cubicBezTo>
                  <a:pt x="221273" y="285393"/>
                  <a:pt x="219075" y="283247"/>
                  <a:pt x="219075" y="281102"/>
                </a:cubicBezTo>
                <a:lnTo>
                  <a:pt x="219075" y="250711"/>
                </a:lnTo>
                <a:cubicBezTo>
                  <a:pt x="219075" y="248208"/>
                  <a:pt x="221273" y="246063"/>
                  <a:pt x="223471" y="246063"/>
                </a:cubicBezTo>
                <a:close/>
                <a:moveTo>
                  <a:pt x="62929" y="246063"/>
                </a:moveTo>
                <a:cubicBezTo>
                  <a:pt x="65596" y="246063"/>
                  <a:pt x="67882" y="248208"/>
                  <a:pt x="67882" y="250711"/>
                </a:cubicBezTo>
                <a:lnTo>
                  <a:pt x="67882" y="281102"/>
                </a:lnTo>
                <a:cubicBezTo>
                  <a:pt x="67882" y="283247"/>
                  <a:pt x="65596" y="285393"/>
                  <a:pt x="62929" y="285393"/>
                </a:cubicBezTo>
                <a:cubicBezTo>
                  <a:pt x="61024" y="285393"/>
                  <a:pt x="58738" y="283247"/>
                  <a:pt x="58738" y="281102"/>
                </a:cubicBezTo>
                <a:lnTo>
                  <a:pt x="58738" y="250711"/>
                </a:lnTo>
                <a:cubicBezTo>
                  <a:pt x="58738" y="248208"/>
                  <a:pt x="61024" y="246063"/>
                  <a:pt x="62929" y="246063"/>
                </a:cubicBezTo>
                <a:close/>
                <a:moveTo>
                  <a:pt x="183376" y="171090"/>
                </a:moveTo>
                <a:lnTo>
                  <a:pt x="150528" y="193016"/>
                </a:lnTo>
                <a:lnTo>
                  <a:pt x="176518" y="216020"/>
                </a:lnTo>
                <a:lnTo>
                  <a:pt x="199259" y="181514"/>
                </a:lnTo>
                <a:cubicBezTo>
                  <a:pt x="193123" y="180076"/>
                  <a:pt x="188069" y="176122"/>
                  <a:pt x="183376" y="171090"/>
                </a:cubicBezTo>
                <a:close/>
                <a:moveTo>
                  <a:pt x="102878" y="171090"/>
                </a:moveTo>
                <a:cubicBezTo>
                  <a:pt x="98908" y="176122"/>
                  <a:pt x="93132" y="180076"/>
                  <a:pt x="86995" y="181514"/>
                </a:cubicBezTo>
                <a:lnTo>
                  <a:pt x="110459" y="216020"/>
                </a:lnTo>
                <a:lnTo>
                  <a:pt x="136088" y="193016"/>
                </a:lnTo>
                <a:lnTo>
                  <a:pt x="102878" y="171090"/>
                </a:lnTo>
                <a:close/>
                <a:moveTo>
                  <a:pt x="112986" y="147368"/>
                </a:moveTo>
                <a:lnTo>
                  <a:pt x="110459" y="157432"/>
                </a:lnTo>
                <a:cubicBezTo>
                  <a:pt x="110098" y="159588"/>
                  <a:pt x="108654" y="161745"/>
                  <a:pt x="107932" y="163902"/>
                </a:cubicBezTo>
                <a:lnTo>
                  <a:pt x="143308" y="187265"/>
                </a:lnTo>
                <a:lnTo>
                  <a:pt x="179045" y="163902"/>
                </a:lnTo>
                <a:cubicBezTo>
                  <a:pt x="177601" y="161745"/>
                  <a:pt x="176879" y="159588"/>
                  <a:pt x="176157" y="157432"/>
                </a:cubicBezTo>
                <a:lnTo>
                  <a:pt x="173630" y="147368"/>
                </a:lnTo>
                <a:cubicBezTo>
                  <a:pt x="164245" y="152759"/>
                  <a:pt x="154137" y="155994"/>
                  <a:pt x="143308" y="155994"/>
                </a:cubicBezTo>
                <a:cubicBezTo>
                  <a:pt x="132479" y="155994"/>
                  <a:pt x="122371" y="152759"/>
                  <a:pt x="112986" y="147368"/>
                </a:cubicBezTo>
                <a:close/>
                <a:moveTo>
                  <a:pt x="166411" y="38459"/>
                </a:moveTo>
                <a:lnTo>
                  <a:pt x="166411" y="48164"/>
                </a:lnTo>
                <a:cubicBezTo>
                  <a:pt x="166411" y="50321"/>
                  <a:pt x="164967" y="52118"/>
                  <a:pt x="163523" y="52477"/>
                </a:cubicBezTo>
                <a:cubicBezTo>
                  <a:pt x="151249" y="56071"/>
                  <a:pt x="140420" y="57509"/>
                  <a:pt x="130674" y="57509"/>
                </a:cubicBezTo>
                <a:cubicBezTo>
                  <a:pt x="108654" y="57509"/>
                  <a:pt x="93493" y="49961"/>
                  <a:pt x="86635" y="44570"/>
                </a:cubicBezTo>
                <a:cubicBezTo>
                  <a:pt x="83386" y="52837"/>
                  <a:pt x="81942" y="61822"/>
                  <a:pt x="81942" y="71887"/>
                </a:cubicBezTo>
                <a:cubicBezTo>
                  <a:pt x="81942" y="113221"/>
                  <a:pt x="109376" y="147368"/>
                  <a:pt x="143308" y="147368"/>
                </a:cubicBezTo>
                <a:cubicBezTo>
                  <a:pt x="177240" y="147368"/>
                  <a:pt x="205035" y="113221"/>
                  <a:pt x="205035" y="71887"/>
                </a:cubicBezTo>
                <a:cubicBezTo>
                  <a:pt x="205035" y="59306"/>
                  <a:pt x="202147" y="48164"/>
                  <a:pt x="197455" y="38819"/>
                </a:cubicBezTo>
                <a:cubicBezTo>
                  <a:pt x="191318" y="43132"/>
                  <a:pt x="182654" y="46007"/>
                  <a:pt x="182294" y="46367"/>
                </a:cubicBezTo>
                <a:cubicBezTo>
                  <a:pt x="180850" y="46726"/>
                  <a:pt x="179767" y="46367"/>
                  <a:pt x="178684" y="46007"/>
                </a:cubicBezTo>
                <a:lnTo>
                  <a:pt x="166411" y="38459"/>
                </a:lnTo>
                <a:close/>
                <a:moveTo>
                  <a:pt x="143308" y="8986"/>
                </a:moveTo>
                <a:cubicBezTo>
                  <a:pt x="118761" y="8986"/>
                  <a:pt x="100713" y="19050"/>
                  <a:pt x="89883" y="37021"/>
                </a:cubicBezTo>
                <a:cubicBezTo>
                  <a:pt x="97825" y="42054"/>
                  <a:pt x="120927" y="55712"/>
                  <a:pt x="157747" y="44929"/>
                </a:cubicBezTo>
                <a:lnTo>
                  <a:pt x="157747" y="30911"/>
                </a:lnTo>
                <a:cubicBezTo>
                  <a:pt x="157747" y="29114"/>
                  <a:pt x="158469" y="27676"/>
                  <a:pt x="159913" y="26957"/>
                </a:cubicBezTo>
                <a:cubicBezTo>
                  <a:pt x="161357" y="26238"/>
                  <a:pt x="163162" y="26238"/>
                  <a:pt x="164245" y="26957"/>
                </a:cubicBezTo>
                <a:lnTo>
                  <a:pt x="181572" y="37381"/>
                </a:lnTo>
                <a:cubicBezTo>
                  <a:pt x="184459" y="35943"/>
                  <a:pt x="189152" y="34146"/>
                  <a:pt x="192762" y="31630"/>
                </a:cubicBezTo>
                <a:cubicBezTo>
                  <a:pt x="182654" y="16893"/>
                  <a:pt x="164967" y="8986"/>
                  <a:pt x="143308" y="8986"/>
                </a:cubicBezTo>
                <a:close/>
                <a:moveTo>
                  <a:pt x="143308" y="0"/>
                </a:moveTo>
                <a:cubicBezTo>
                  <a:pt x="185542" y="0"/>
                  <a:pt x="213699" y="28754"/>
                  <a:pt x="213699" y="71887"/>
                </a:cubicBezTo>
                <a:cubicBezTo>
                  <a:pt x="213699" y="101001"/>
                  <a:pt x="200703" y="127239"/>
                  <a:pt x="181572" y="142336"/>
                </a:cubicBezTo>
                <a:lnTo>
                  <a:pt x="184820" y="154916"/>
                </a:lnTo>
                <a:cubicBezTo>
                  <a:pt x="186986" y="164980"/>
                  <a:pt x="195650" y="173247"/>
                  <a:pt x="206118" y="174685"/>
                </a:cubicBezTo>
                <a:lnTo>
                  <a:pt x="244743" y="181154"/>
                </a:lnTo>
                <a:cubicBezTo>
                  <a:pt x="268928" y="185468"/>
                  <a:pt x="286977" y="206674"/>
                  <a:pt x="286977" y="230756"/>
                </a:cubicBezTo>
                <a:lnTo>
                  <a:pt x="286977" y="281078"/>
                </a:lnTo>
                <a:cubicBezTo>
                  <a:pt x="286977" y="283234"/>
                  <a:pt x="284811" y="285391"/>
                  <a:pt x="282284" y="285391"/>
                </a:cubicBezTo>
                <a:cubicBezTo>
                  <a:pt x="279758" y="285391"/>
                  <a:pt x="277953" y="283234"/>
                  <a:pt x="277953" y="281078"/>
                </a:cubicBezTo>
                <a:lnTo>
                  <a:pt x="277953" y="230756"/>
                </a:lnTo>
                <a:cubicBezTo>
                  <a:pt x="277953" y="210628"/>
                  <a:pt x="263153" y="193375"/>
                  <a:pt x="242938" y="189781"/>
                </a:cubicBezTo>
                <a:lnTo>
                  <a:pt x="208645" y="184030"/>
                </a:lnTo>
                <a:lnTo>
                  <a:pt x="180489" y="224646"/>
                </a:lnTo>
                <a:cubicBezTo>
                  <a:pt x="180128" y="225724"/>
                  <a:pt x="179045" y="226443"/>
                  <a:pt x="177601" y="226443"/>
                </a:cubicBezTo>
                <a:cubicBezTo>
                  <a:pt x="177240" y="226443"/>
                  <a:pt x="177240" y="226443"/>
                  <a:pt x="177240" y="226443"/>
                </a:cubicBezTo>
                <a:cubicBezTo>
                  <a:pt x="176157" y="226443"/>
                  <a:pt x="175435" y="226443"/>
                  <a:pt x="174352" y="225724"/>
                </a:cubicBezTo>
                <a:lnTo>
                  <a:pt x="147640" y="202002"/>
                </a:lnTo>
                <a:lnTo>
                  <a:pt x="147640" y="281078"/>
                </a:lnTo>
                <a:cubicBezTo>
                  <a:pt x="147640" y="283234"/>
                  <a:pt x="145835" y="285391"/>
                  <a:pt x="143308" y="285391"/>
                </a:cubicBezTo>
                <a:cubicBezTo>
                  <a:pt x="141142" y="285391"/>
                  <a:pt x="138976" y="283234"/>
                  <a:pt x="138976" y="281078"/>
                </a:cubicBezTo>
                <a:lnTo>
                  <a:pt x="138976" y="202002"/>
                </a:lnTo>
                <a:lnTo>
                  <a:pt x="112264" y="225724"/>
                </a:lnTo>
                <a:cubicBezTo>
                  <a:pt x="111542" y="226443"/>
                  <a:pt x="110459" y="226443"/>
                  <a:pt x="109376" y="226443"/>
                </a:cubicBezTo>
                <a:cubicBezTo>
                  <a:pt x="109015" y="226443"/>
                  <a:pt x="109015" y="226443"/>
                  <a:pt x="108654" y="226443"/>
                </a:cubicBezTo>
                <a:cubicBezTo>
                  <a:pt x="107571" y="226443"/>
                  <a:pt x="106127" y="225724"/>
                  <a:pt x="105766" y="224646"/>
                </a:cubicBezTo>
                <a:lnTo>
                  <a:pt x="77610" y="184030"/>
                </a:lnTo>
                <a:lnTo>
                  <a:pt x="43678" y="189781"/>
                </a:lnTo>
                <a:cubicBezTo>
                  <a:pt x="23463" y="193375"/>
                  <a:pt x="8663" y="210628"/>
                  <a:pt x="8663" y="230756"/>
                </a:cubicBezTo>
                <a:lnTo>
                  <a:pt x="8663" y="281078"/>
                </a:lnTo>
                <a:cubicBezTo>
                  <a:pt x="8663" y="283234"/>
                  <a:pt x="6859" y="285391"/>
                  <a:pt x="4693" y="285391"/>
                </a:cubicBezTo>
                <a:cubicBezTo>
                  <a:pt x="2166" y="285391"/>
                  <a:pt x="0" y="283234"/>
                  <a:pt x="0" y="281078"/>
                </a:cubicBezTo>
                <a:lnTo>
                  <a:pt x="0" y="230756"/>
                </a:lnTo>
                <a:cubicBezTo>
                  <a:pt x="0" y="206674"/>
                  <a:pt x="17688" y="185468"/>
                  <a:pt x="42234" y="181154"/>
                </a:cubicBezTo>
                <a:lnTo>
                  <a:pt x="80498" y="174685"/>
                </a:lnTo>
                <a:cubicBezTo>
                  <a:pt x="90605" y="173247"/>
                  <a:pt x="99269" y="164980"/>
                  <a:pt x="101796" y="154916"/>
                </a:cubicBezTo>
                <a:lnTo>
                  <a:pt x="105044" y="142336"/>
                </a:lnTo>
                <a:cubicBezTo>
                  <a:pt x="85913" y="127239"/>
                  <a:pt x="73278" y="101001"/>
                  <a:pt x="73278" y="71887"/>
                </a:cubicBezTo>
                <a:cubicBezTo>
                  <a:pt x="73278" y="28754"/>
                  <a:pt x="101435" y="0"/>
                  <a:pt x="143308" y="0"/>
                </a:cubicBezTo>
                <a:close/>
              </a:path>
            </a:pathLst>
          </a:custGeom>
          <a:solidFill>
            <a:schemeClr val="bg1"/>
          </a:solidFill>
          <a:ln>
            <a:noFill/>
          </a:ln>
          <a:effectLst/>
        </p:spPr>
        <p:txBody>
          <a:bodyPr anchor="ctr"/>
          <a:lstStyle/>
          <a:p>
            <a:endParaRPr lang="en-US" sz="900" dirty="0"/>
          </a:p>
        </p:txBody>
      </p:sp>
      <p:sp>
        <p:nvSpPr>
          <p:cNvPr id="26" name="Freeform 1048">
            <a:extLst>
              <a:ext uri="{FF2B5EF4-FFF2-40B4-BE49-F238E27FC236}">
                <a16:creationId xmlns:a16="http://schemas.microsoft.com/office/drawing/2014/main" id="{595D5ED7-A2D0-A94E-BB45-9DC4A9573F00}"/>
              </a:ext>
            </a:extLst>
          </p:cNvPr>
          <p:cNvSpPr>
            <a:spLocks noChangeAspect="1" noChangeArrowheads="1"/>
          </p:cNvSpPr>
          <p:nvPr/>
        </p:nvSpPr>
        <p:spPr bwMode="auto">
          <a:xfrm>
            <a:off x="5840851" y="2641773"/>
            <a:ext cx="514156" cy="525842"/>
          </a:xfrm>
          <a:custGeom>
            <a:avLst/>
            <a:gdLst>
              <a:gd name="T0" fmla="*/ 232587 w 279041"/>
              <a:gd name="T1" fmla="*/ 257945 h 285396"/>
              <a:gd name="T2" fmla="*/ 227992 w 279041"/>
              <a:gd name="T3" fmla="*/ 286814 h 285396"/>
              <a:gd name="T4" fmla="*/ 223396 w 279041"/>
              <a:gd name="T5" fmla="*/ 257945 h 285396"/>
              <a:gd name="T6" fmla="*/ 53885 w 279041"/>
              <a:gd name="T7" fmla="*/ 253667 h 285396"/>
              <a:gd name="T8" fmla="*/ 58672 w 279041"/>
              <a:gd name="T9" fmla="*/ 282538 h 285396"/>
              <a:gd name="T10" fmla="*/ 49466 w 279041"/>
              <a:gd name="T11" fmla="*/ 282538 h 285396"/>
              <a:gd name="T12" fmla="*/ 53885 w 279041"/>
              <a:gd name="T13" fmla="*/ 253667 h 285396"/>
              <a:gd name="T14" fmla="*/ 110098 w 279041"/>
              <a:gd name="T15" fmla="*/ 180972 h 285396"/>
              <a:gd name="T16" fmla="*/ 140059 w 279041"/>
              <a:gd name="T17" fmla="*/ 247075 h 285396"/>
              <a:gd name="T18" fmla="*/ 170743 w 279041"/>
              <a:gd name="T19" fmla="*/ 180972 h 285396"/>
              <a:gd name="T20" fmla="*/ 140059 w 279041"/>
              <a:gd name="T21" fmla="*/ 188558 h 285396"/>
              <a:gd name="T22" fmla="*/ 169434 w 279041"/>
              <a:gd name="T23" fmla="*/ 78791 h 285396"/>
              <a:gd name="T24" fmla="*/ 84108 w 279041"/>
              <a:gd name="T25" fmla="*/ 89221 h 285396"/>
              <a:gd name="T26" fmla="*/ 140059 w 279041"/>
              <a:gd name="T27" fmla="*/ 180249 h 285396"/>
              <a:gd name="T28" fmla="*/ 196372 w 279041"/>
              <a:gd name="T29" fmla="*/ 87777 h 285396"/>
              <a:gd name="T30" fmla="*/ 140059 w 279041"/>
              <a:gd name="T31" fmla="*/ 9030 h 285396"/>
              <a:gd name="T32" fmla="*/ 63532 w 279041"/>
              <a:gd name="T33" fmla="*/ 201923 h 285396"/>
              <a:gd name="T34" fmla="*/ 102157 w 279041"/>
              <a:gd name="T35" fmla="*/ 178805 h 285396"/>
              <a:gd name="T36" fmla="*/ 72918 w 279041"/>
              <a:gd name="T37" fmla="*/ 107644 h 285396"/>
              <a:gd name="T38" fmla="*/ 80138 w 279041"/>
              <a:gd name="T39" fmla="*/ 78746 h 285396"/>
              <a:gd name="T40" fmla="*/ 137532 w 279041"/>
              <a:gd name="T41" fmla="*/ 79468 h 285396"/>
              <a:gd name="T42" fmla="*/ 204314 w 279041"/>
              <a:gd name="T43" fmla="*/ 83804 h 285396"/>
              <a:gd name="T44" fmla="*/ 177962 w 279041"/>
              <a:gd name="T45" fmla="*/ 175192 h 285396"/>
              <a:gd name="T46" fmla="*/ 199982 w 279041"/>
              <a:gd name="T47" fmla="*/ 199033 h 285396"/>
              <a:gd name="T48" fmla="*/ 237523 w 279041"/>
              <a:gd name="T49" fmla="*/ 120287 h 285396"/>
              <a:gd name="T50" fmla="*/ 140059 w 279041"/>
              <a:gd name="T51" fmla="*/ 0 h 285396"/>
              <a:gd name="T52" fmla="*/ 226333 w 279041"/>
              <a:gd name="T53" fmla="*/ 203368 h 285396"/>
              <a:gd name="T54" fmla="*/ 280479 w 279041"/>
              <a:gd name="T55" fmla="*/ 265136 h 285396"/>
              <a:gd name="T56" fmla="*/ 276148 w 279041"/>
              <a:gd name="T57" fmla="*/ 286809 h 285396"/>
              <a:gd name="T58" fmla="*/ 272177 w 279041"/>
              <a:gd name="T59" fmla="*/ 265136 h 285396"/>
              <a:gd name="T60" fmla="*/ 205757 w 279041"/>
              <a:gd name="T61" fmla="*/ 208786 h 285396"/>
              <a:gd name="T62" fmla="*/ 144392 w 279041"/>
              <a:gd name="T63" fmla="*/ 282476 h 285396"/>
              <a:gd name="T64" fmla="*/ 136089 w 279041"/>
              <a:gd name="T65" fmla="*/ 282476 h 285396"/>
              <a:gd name="T66" fmla="*/ 74723 w 279041"/>
              <a:gd name="T67" fmla="*/ 208786 h 285396"/>
              <a:gd name="T68" fmla="*/ 9026 w 279041"/>
              <a:gd name="T69" fmla="*/ 265136 h 285396"/>
              <a:gd name="T70" fmla="*/ 4334 w 279041"/>
              <a:gd name="T71" fmla="*/ 286809 h 285396"/>
              <a:gd name="T72" fmla="*/ 0 w 279041"/>
              <a:gd name="T73" fmla="*/ 265136 h 285396"/>
              <a:gd name="T74" fmla="*/ 54146 w 279041"/>
              <a:gd name="T75" fmla="*/ 203368 h 285396"/>
              <a:gd name="T76" fmla="*/ 140059 w 279041"/>
              <a:gd name="T77" fmla="*/ 0 h 285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9041" h="285396">
                <a:moveTo>
                  <a:pt x="226822" y="252413"/>
                </a:moveTo>
                <a:cubicBezTo>
                  <a:pt x="229489" y="252413"/>
                  <a:pt x="231394" y="254186"/>
                  <a:pt x="231394" y="256669"/>
                </a:cubicBezTo>
                <a:lnTo>
                  <a:pt x="231394" y="281140"/>
                </a:lnTo>
                <a:cubicBezTo>
                  <a:pt x="231394" y="283268"/>
                  <a:pt x="229489" y="285396"/>
                  <a:pt x="226822" y="285396"/>
                </a:cubicBezTo>
                <a:cubicBezTo>
                  <a:pt x="224155" y="285396"/>
                  <a:pt x="222250" y="283268"/>
                  <a:pt x="222250" y="281140"/>
                </a:cubicBezTo>
                <a:lnTo>
                  <a:pt x="222250" y="256669"/>
                </a:lnTo>
                <a:cubicBezTo>
                  <a:pt x="222250" y="254186"/>
                  <a:pt x="224155" y="252413"/>
                  <a:pt x="226822" y="252413"/>
                </a:cubicBezTo>
                <a:close/>
                <a:moveTo>
                  <a:pt x="53609" y="252413"/>
                </a:moveTo>
                <a:cubicBezTo>
                  <a:pt x="56174" y="252413"/>
                  <a:pt x="58372" y="254186"/>
                  <a:pt x="58372" y="256669"/>
                </a:cubicBezTo>
                <a:lnTo>
                  <a:pt x="58372" y="281140"/>
                </a:lnTo>
                <a:cubicBezTo>
                  <a:pt x="58372" y="283268"/>
                  <a:pt x="56174" y="285396"/>
                  <a:pt x="53609" y="285396"/>
                </a:cubicBezTo>
                <a:cubicBezTo>
                  <a:pt x="51045" y="285396"/>
                  <a:pt x="49213" y="283268"/>
                  <a:pt x="49213" y="281140"/>
                </a:cubicBezTo>
                <a:lnTo>
                  <a:pt x="49213" y="256669"/>
                </a:lnTo>
                <a:cubicBezTo>
                  <a:pt x="49213" y="254186"/>
                  <a:pt x="51045" y="252413"/>
                  <a:pt x="53609" y="252413"/>
                </a:cubicBezTo>
                <a:close/>
                <a:moveTo>
                  <a:pt x="110252" y="179358"/>
                </a:moveTo>
                <a:lnTo>
                  <a:pt x="109534" y="180077"/>
                </a:lnTo>
                <a:cubicBezTo>
                  <a:pt x="106301" y="193376"/>
                  <a:pt x="95887" y="203080"/>
                  <a:pt x="82958" y="205956"/>
                </a:cubicBezTo>
                <a:cubicBezTo>
                  <a:pt x="86909" y="223928"/>
                  <a:pt x="123539" y="240102"/>
                  <a:pt x="139341" y="245853"/>
                </a:cubicBezTo>
                <a:cubicBezTo>
                  <a:pt x="155502" y="240102"/>
                  <a:pt x="192133" y="223928"/>
                  <a:pt x="196801" y="205956"/>
                </a:cubicBezTo>
                <a:cubicBezTo>
                  <a:pt x="183514" y="203080"/>
                  <a:pt x="173099" y="193376"/>
                  <a:pt x="169867" y="180077"/>
                </a:cubicBezTo>
                <a:lnTo>
                  <a:pt x="169508" y="179358"/>
                </a:lnTo>
                <a:cubicBezTo>
                  <a:pt x="160529" y="185109"/>
                  <a:pt x="150474" y="187625"/>
                  <a:pt x="139341" y="187625"/>
                </a:cubicBezTo>
                <a:cubicBezTo>
                  <a:pt x="129285" y="187625"/>
                  <a:pt x="118512" y="185109"/>
                  <a:pt x="110252" y="179358"/>
                </a:cubicBezTo>
                <a:close/>
                <a:moveTo>
                  <a:pt x="168565" y="78402"/>
                </a:moveTo>
                <a:cubicBezTo>
                  <a:pt x="159721" y="78357"/>
                  <a:pt x="150833" y="81232"/>
                  <a:pt x="141496" y="86983"/>
                </a:cubicBezTo>
                <a:cubicBezTo>
                  <a:pt x="118871" y="100282"/>
                  <a:pt x="96246" y="95610"/>
                  <a:pt x="83676" y="88780"/>
                </a:cubicBezTo>
                <a:cubicBezTo>
                  <a:pt x="81881" y="94531"/>
                  <a:pt x="81163" y="100642"/>
                  <a:pt x="81163" y="107112"/>
                </a:cubicBezTo>
                <a:cubicBezTo>
                  <a:pt x="81163" y="146649"/>
                  <a:pt x="107738" y="179358"/>
                  <a:pt x="139341" y="179358"/>
                </a:cubicBezTo>
                <a:cubicBezTo>
                  <a:pt x="172021" y="179358"/>
                  <a:pt x="197879" y="146649"/>
                  <a:pt x="197879" y="107112"/>
                </a:cubicBezTo>
                <a:cubicBezTo>
                  <a:pt x="197879" y="99923"/>
                  <a:pt x="197160" y="93453"/>
                  <a:pt x="195365" y="87343"/>
                </a:cubicBezTo>
                <a:cubicBezTo>
                  <a:pt x="186207" y="81412"/>
                  <a:pt x="177408" y="78447"/>
                  <a:pt x="168565" y="78402"/>
                </a:cubicBezTo>
                <a:close/>
                <a:moveTo>
                  <a:pt x="139341" y="8986"/>
                </a:moveTo>
                <a:cubicBezTo>
                  <a:pt x="81163" y="8986"/>
                  <a:pt x="43095" y="52118"/>
                  <a:pt x="43095" y="119692"/>
                </a:cubicBezTo>
                <a:cubicBezTo>
                  <a:pt x="43095" y="152041"/>
                  <a:pt x="50996" y="184030"/>
                  <a:pt x="63206" y="200924"/>
                </a:cubicBezTo>
                <a:lnTo>
                  <a:pt x="80085" y="198048"/>
                </a:lnTo>
                <a:cubicBezTo>
                  <a:pt x="90141" y="195892"/>
                  <a:pt x="98760" y="188344"/>
                  <a:pt x="101633" y="177920"/>
                </a:cubicBezTo>
                <a:lnTo>
                  <a:pt x="102351" y="174326"/>
                </a:lnTo>
                <a:cubicBezTo>
                  <a:pt x="84395" y="159589"/>
                  <a:pt x="72544" y="135147"/>
                  <a:pt x="72544" y="107112"/>
                </a:cubicBezTo>
                <a:cubicBezTo>
                  <a:pt x="72544" y="97766"/>
                  <a:pt x="74339" y="88780"/>
                  <a:pt x="76853" y="80873"/>
                </a:cubicBezTo>
                <a:cubicBezTo>
                  <a:pt x="77212" y="80154"/>
                  <a:pt x="78290" y="78716"/>
                  <a:pt x="79726" y="78357"/>
                </a:cubicBezTo>
                <a:cubicBezTo>
                  <a:pt x="80803" y="77997"/>
                  <a:pt x="82599" y="78357"/>
                  <a:pt x="83317" y="78716"/>
                </a:cubicBezTo>
                <a:cubicBezTo>
                  <a:pt x="92296" y="84827"/>
                  <a:pt x="114920" y="92734"/>
                  <a:pt x="136827" y="79076"/>
                </a:cubicBezTo>
                <a:cubicBezTo>
                  <a:pt x="158734" y="66136"/>
                  <a:pt x="179922" y="66496"/>
                  <a:pt x="200752" y="80873"/>
                </a:cubicBezTo>
                <a:cubicBezTo>
                  <a:pt x="201829" y="81232"/>
                  <a:pt x="202906" y="81951"/>
                  <a:pt x="203265" y="83389"/>
                </a:cubicBezTo>
                <a:cubicBezTo>
                  <a:pt x="205420" y="90937"/>
                  <a:pt x="206857" y="98845"/>
                  <a:pt x="206857" y="107112"/>
                </a:cubicBezTo>
                <a:cubicBezTo>
                  <a:pt x="206857" y="135147"/>
                  <a:pt x="194646" y="159589"/>
                  <a:pt x="177049" y="174326"/>
                </a:cubicBezTo>
                <a:lnTo>
                  <a:pt x="178127" y="177920"/>
                </a:lnTo>
                <a:cubicBezTo>
                  <a:pt x="180281" y="188344"/>
                  <a:pt x="188541" y="195892"/>
                  <a:pt x="198956" y="198048"/>
                </a:cubicBezTo>
                <a:lnTo>
                  <a:pt x="216194" y="200924"/>
                </a:lnTo>
                <a:cubicBezTo>
                  <a:pt x="228404" y="184030"/>
                  <a:pt x="236305" y="152041"/>
                  <a:pt x="236305" y="119692"/>
                </a:cubicBezTo>
                <a:cubicBezTo>
                  <a:pt x="236305" y="52118"/>
                  <a:pt x="198238" y="8986"/>
                  <a:pt x="139341" y="8986"/>
                </a:cubicBezTo>
                <a:close/>
                <a:moveTo>
                  <a:pt x="139341" y="0"/>
                </a:moveTo>
                <a:cubicBezTo>
                  <a:pt x="203625" y="0"/>
                  <a:pt x="244924" y="46727"/>
                  <a:pt x="244924" y="119692"/>
                </a:cubicBezTo>
                <a:cubicBezTo>
                  <a:pt x="244924" y="152400"/>
                  <a:pt x="237382" y="183312"/>
                  <a:pt x="225172" y="202362"/>
                </a:cubicBezTo>
                <a:lnTo>
                  <a:pt x="228045" y="202721"/>
                </a:lnTo>
                <a:cubicBezTo>
                  <a:pt x="257493" y="207753"/>
                  <a:pt x="279041" y="233632"/>
                  <a:pt x="279041" y="263825"/>
                </a:cubicBezTo>
                <a:lnTo>
                  <a:pt x="279041" y="281078"/>
                </a:lnTo>
                <a:cubicBezTo>
                  <a:pt x="279041" y="283234"/>
                  <a:pt x="277605" y="285391"/>
                  <a:pt x="274732" y="285391"/>
                </a:cubicBezTo>
                <a:cubicBezTo>
                  <a:pt x="272577" y="285391"/>
                  <a:pt x="270781" y="283234"/>
                  <a:pt x="270781" y="281078"/>
                </a:cubicBezTo>
                <a:lnTo>
                  <a:pt x="270781" y="263825"/>
                </a:lnTo>
                <a:cubicBezTo>
                  <a:pt x="270781" y="237946"/>
                  <a:pt x="251747" y="216020"/>
                  <a:pt x="226249" y="211347"/>
                </a:cubicBezTo>
                <a:lnTo>
                  <a:pt x="204702" y="207753"/>
                </a:lnTo>
                <a:cubicBezTo>
                  <a:pt x="199315" y="231835"/>
                  <a:pt x="156579" y="248729"/>
                  <a:pt x="143651" y="253401"/>
                </a:cubicBezTo>
                <a:lnTo>
                  <a:pt x="143651" y="281078"/>
                </a:lnTo>
                <a:cubicBezTo>
                  <a:pt x="143651" y="283234"/>
                  <a:pt x="141855" y="285391"/>
                  <a:pt x="139341" y="285391"/>
                </a:cubicBezTo>
                <a:cubicBezTo>
                  <a:pt x="137186" y="285391"/>
                  <a:pt x="135391" y="283234"/>
                  <a:pt x="135391" y="281078"/>
                </a:cubicBezTo>
                <a:lnTo>
                  <a:pt x="135391" y="253401"/>
                </a:lnTo>
                <a:cubicBezTo>
                  <a:pt x="122821" y="248729"/>
                  <a:pt x="79726" y="231835"/>
                  <a:pt x="74339" y="207753"/>
                </a:cubicBezTo>
                <a:lnTo>
                  <a:pt x="52792" y="211347"/>
                </a:lnTo>
                <a:cubicBezTo>
                  <a:pt x="27294" y="216020"/>
                  <a:pt x="8978" y="237946"/>
                  <a:pt x="8978" y="263825"/>
                </a:cubicBezTo>
                <a:lnTo>
                  <a:pt x="8978" y="281078"/>
                </a:lnTo>
                <a:cubicBezTo>
                  <a:pt x="8978" y="283234"/>
                  <a:pt x="6464" y="285391"/>
                  <a:pt x="4310" y="285391"/>
                </a:cubicBezTo>
                <a:cubicBezTo>
                  <a:pt x="2155" y="285391"/>
                  <a:pt x="0" y="283234"/>
                  <a:pt x="0" y="281078"/>
                </a:cubicBezTo>
                <a:lnTo>
                  <a:pt x="0" y="263825"/>
                </a:lnTo>
                <a:cubicBezTo>
                  <a:pt x="0" y="233632"/>
                  <a:pt x="21907" y="207753"/>
                  <a:pt x="51714" y="202721"/>
                </a:cubicBezTo>
                <a:lnTo>
                  <a:pt x="53869" y="202362"/>
                </a:lnTo>
                <a:cubicBezTo>
                  <a:pt x="41659" y="183312"/>
                  <a:pt x="34476" y="152400"/>
                  <a:pt x="34476" y="119692"/>
                </a:cubicBezTo>
                <a:cubicBezTo>
                  <a:pt x="34476" y="47805"/>
                  <a:pt x="76853" y="0"/>
                  <a:pt x="139341" y="0"/>
                </a:cubicBezTo>
                <a:close/>
              </a:path>
            </a:pathLst>
          </a:custGeom>
          <a:solidFill>
            <a:schemeClr val="bg1"/>
          </a:solidFill>
          <a:ln>
            <a:noFill/>
          </a:ln>
          <a:effectLst/>
        </p:spPr>
        <p:txBody>
          <a:bodyPr anchor="ctr"/>
          <a:lstStyle/>
          <a:p>
            <a:endParaRPr lang="en-US" sz="900" dirty="0"/>
          </a:p>
        </p:txBody>
      </p:sp>
      <p:sp>
        <p:nvSpPr>
          <p:cNvPr id="27" name="Freeform 1047">
            <a:extLst>
              <a:ext uri="{FF2B5EF4-FFF2-40B4-BE49-F238E27FC236}">
                <a16:creationId xmlns:a16="http://schemas.microsoft.com/office/drawing/2014/main" id="{E498EE62-C366-9E42-8A11-5F9E9C4354F6}"/>
              </a:ext>
            </a:extLst>
          </p:cNvPr>
          <p:cNvSpPr>
            <a:spLocks noChangeAspect="1" noChangeArrowheads="1"/>
          </p:cNvSpPr>
          <p:nvPr/>
        </p:nvSpPr>
        <p:spPr bwMode="auto">
          <a:xfrm>
            <a:off x="6405287" y="2641773"/>
            <a:ext cx="528762" cy="525842"/>
          </a:xfrm>
          <a:custGeom>
            <a:avLst/>
            <a:gdLst>
              <a:gd name="T0" fmla="*/ 229384 w 286977"/>
              <a:gd name="T1" fmla="*/ 251968 h 285393"/>
              <a:gd name="T2" fmla="*/ 224597 w 286977"/>
              <a:gd name="T3" fmla="*/ 286823 h 285393"/>
              <a:gd name="T4" fmla="*/ 220180 w 286977"/>
              <a:gd name="T5" fmla="*/ 251968 h 285393"/>
              <a:gd name="T6" fmla="*/ 63245 w 286977"/>
              <a:gd name="T7" fmla="*/ 247297 h 285393"/>
              <a:gd name="T8" fmla="*/ 68224 w 286977"/>
              <a:gd name="T9" fmla="*/ 282512 h 285393"/>
              <a:gd name="T10" fmla="*/ 59034 w 286977"/>
              <a:gd name="T11" fmla="*/ 282512 h 285393"/>
              <a:gd name="T12" fmla="*/ 63245 w 286977"/>
              <a:gd name="T13" fmla="*/ 247297 h 285393"/>
              <a:gd name="T14" fmla="*/ 151287 w 286977"/>
              <a:gd name="T15" fmla="*/ 193983 h 285393"/>
              <a:gd name="T16" fmla="*/ 200264 w 286977"/>
              <a:gd name="T17" fmla="*/ 182424 h 285393"/>
              <a:gd name="T18" fmla="*/ 103397 w 286977"/>
              <a:gd name="T19" fmla="*/ 171948 h 285393"/>
              <a:gd name="T20" fmla="*/ 111015 w 286977"/>
              <a:gd name="T21" fmla="*/ 217103 h 285393"/>
              <a:gd name="T22" fmla="*/ 103397 w 286977"/>
              <a:gd name="T23" fmla="*/ 171948 h 285393"/>
              <a:gd name="T24" fmla="*/ 111015 w 286977"/>
              <a:gd name="T25" fmla="*/ 158221 h 285393"/>
              <a:gd name="T26" fmla="*/ 144030 w 286977"/>
              <a:gd name="T27" fmla="*/ 188204 h 285393"/>
              <a:gd name="T28" fmla="*/ 177045 w 286977"/>
              <a:gd name="T29" fmla="*/ 158221 h 285393"/>
              <a:gd name="T30" fmla="*/ 144030 w 286977"/>
              <a:gd name="T31" fmla="*/ 156776 h 285393"/>
              <a:gd name="T32" fmla="*/ 167250 w 286977"/>
              <a:gd name="T33" fmla="*/ 38651 h 285393"/>
              <a:gd name="T34" fmla="*/ 164347 w 286977"/>
              <a:gd name="T35" fmla="*/ 52741 h 285393"/>
              <a:gd name="T36" fmla="*/ 87071 w 286977"/>
              <a:gd name="T37" fmla="*/ 44794 h 285393"/>
              <a:gd name="T38" fmla="*/ 144030 w 286977"/>
              <a:gd name="T39" fmla="*/ 148107 h 285393"/>
              <a:gd name="T40" fmla="*/ 198450 w 286977"/>
              <a:gd name="T41" fmla="*/ 39015 h 285393"/>
              <a:gd name="T42" fmla="*/ 179585 w 286977"/>
              <a:gd name="T43" fmla="*/ 46239 h 285393"/>
              <a:gd name="T44" fmla="*/ 144030 w 286977"/>
              <a:gd name="T45" fmla="*/ 9030 h 285393"/>
              <a:gd name="T46" fmla="*/ 158542 w 286977"/>
              <a:gd name="T47" fmla="*/ 45153 h 285393"/>
              <a:gd name="T48" fmla="*/ 160719 w 286977"/>
              <a:gd name="T49" fmla="*/ 27093 h 285393"/>
              <a:gd name="T50" fmla="*/ 182487 w 286977"/>
              <a:gd name="T51" fmla="*/ 37569 h 285393"/>
              <a:gd name="T52" fmla="*/ 144030 w 286977"/>
              <a:gd name="T53" fmla="*/ 9030 h 285393"/>
              <a:gd name="T54" fmla="*/ 214776 w 286977"/>
              <a:gd name="T55" fmla="*/ 72247 h 285393"/>
              <a:gd name="T56" fmla="*/ 185751 w 286977"/>
              <a:gd name="T57" fmla="*/ 155693 h 285393"/>
              <a:gd name="T58" fmla="*/ 245977 w 286977"/>
              <a:gd name="T59" fmla="*/ 182062 h 285393"/>
              <a:gd name="T60" fmla="*/ 288423 w 286977"/>
              <a:gd name="T61" fmla="*/ 282487 h 285393"/>
              <a:gd name="T62" fmla="*/ 279355 w 286977"/>
              <a:gd name="T63" fmla="*/ 282487 h 285393"/>
              <a:gd name="T64" fmla="*/ 244163 w 286977"/>
              <a:gd name="T65" fmla="*/ 190732 h 285393"/>
              <a:gd name="T66" fmla="*/ 181399 w 286977"/>
              <a:gd name="T67" fmla="*/ 225772 h 285393"/>
              <a:gd name="T68" fmla="*/ 178134 w 286977"/>
              <a:gd name="T69" fmla="*/ 227578 h 285393"/>
              <a:gd name="T70" fmla="*/ 148384 w 286977"/>
              <a:gd name="T71" fmla="*/ 203015 h 285393"/>
              <a:gd name="T72" fmla="*/ 144030 w 286977"/>
              <a:gd name="T73" fmla="*/ 286821 h 285393"/>
              <a:gd name="T74" fmla="*/ 139676 w 286977"/>
              <a:gd name="T75" fmla="*/ 203015 h 285393"/>
              <a:gd name="T76" fmla="*/ 109928 w 286977"/>
              <a:gd name="T77" fmla="*/ 227578 h 285393"/>
              <a:gd name="T78" fmla="*/ 106299 w 286977"/>
              <a:gd name="T79" fmla="*/ 225772 h 285393"/>
              <a:gd name="T80" fmla="*/ 43898 w 286977"/>
              <a:gd name="T81" fmla="*/ 190732 h 285393"/>
              <a:gd name="T82" fmla="*/ 8707 w 286977"/>
              <a:gd name="T83" fmla="*/ 282487 h 285393"/>
              <a:gd name="T84" fmla="*/ 0 w 286977"/>
              <a:gd name="T85" fmla="*/ 282487 h 285393"/>
              <a:gd name="T86" fmla="*/ 42446 w 286977"/>
              <a:gd name="T87" fmla="*/ 182062 h 285393"/>
              <a:gd name="T88" fmla="*/ 102309 w 286977"/>
              <a:gd name="T89" fmla="*/ 155693 h 285393"/>
              <a:gd name="T90" fmla="*/ 73647 w 286977"/>
              <a:gd name="T91" fmla="*/ 72247 h 2853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6977" h="285393">
                <a:moveTo>
                  <a:pt x="223471" y="246063"/>
                </a:moveTo>
                <a:cubicBezTo>
                  <a:pt x="226036" y="246063"/>
                  <a:pt x="228234" y="248208"/>
                  <a:pt x="228234" y="250711"/>
                </a:cubicBezTo>
                <a:lnTo>
                  <a:pt x="228234" y="281102"/>
                </a:lnTo>
                <a:cubicBezTo>
                  <a:pt x="228234" y="283247"/>
                  <a:pt x="226036" y="285393"/>
                  <a:pt x="223471" y="285393"/>
                </a:cubicBezTo>
                <a:cubicBezTo>
                  <a:pt x="221273" y="285393"/>
                  <a:pt x="219075" y="283247"/>
                  <a:pt x="219075" y="281102"/>
                </a:cubicBezTo>
                <a:lnTo>
                  <a:pt x="219075" y="250711"/>
                </a:lnTo>
                <a:cubicBezTo>
                  <a:pt x="219075" y="248208"/>
                  <a:pt x="221273" y="246063"/>
                  <a:pt x="223471" y="246063"/>
                </a:cubicBezTo>
                <a:close/>
                <a:moveTo>
                  <a:pt x="62929" y="246063"/>
                </a:moveTo>
                <a:cubicBezTo>
                  <a:pt x="65596" y="246063"/>
                  <a:pt x="67882" y="248208"/>
                  <a:pt x="67882" y="250711"/>
                </a:cubicBezTo>
                <a:lnTo>
                  <a:pt x="67882" y="281102"/>
                </a:lnTo>
                <a:cubicBezTo>
                  <a:pt x="67882" y="283247"/>
                  <a:pt x="65596" y="285393"/>
                  <a:pt x="62929" y="285393"/>
                </a:cubicBezTo>
                <a:cubicBezTo>
                  <a:pt x="61024" y="285393"/>
                  <a:pt x="58738" y="283247"/>
                  <a:pt x="58738" y="281102"/>
                </a:cubicBezTo>
                <a:lnTo>
                  <a:pt x="58738" y="250711"/>
                </a:lnTo>
                <a:cubicBezTo>
                  <a:pt x="58738" y="248208"/>
                  <a:pt x="61024" y="246063"/>
                  <a:pt x="62929" y="246063"/>
                </a:cubicBezTo>
                <a:close/>
                <a:moveTo>
                  <a:pt x="183376" y="171090"/>
                </a:moveTo>
                <a:lnTo>
                  <a:pt x="150528" y="193016"/>
                </a:lnTo>
                <a:lnTo>
                  <a:pt x="176518" y="216020"/>
                </a:lnTo>
                <a:lnTo>
                  <a:pt x="199259" y="181514"/>
                </a:lnTo>
                <a:cubicBezTo>
                  <a:pt x="193123" y="180076"/>
                  <a:pt x="188069" y="176122"/>
                  <a:pt x="183376" y="171090"/>
                </a:cubicBezTo>
                <a:close/>
                <a:moveTo>
                  <a:pt x="102878" y="171090"/>
                </a:moveTo>
                <a:cubicBezTo>
                  <a:pt x="98908" y="176122"/>
                  <a:pt x="93132" y="180076"/>
                  <a:pt x="86995" y="181514"/>
                </a:cubicBezTo>
                <a:lnTo>
                  <a:pt x="110459" y="216020"/>
                </a:lnTo>
                <a:lnTo>
                  <a:pt x="136088" y="193016"/>
                </a:lnTo>
                <a:lnTo>
                  <a:pt x="102878" y="171090"/>
                </a:lnTo>
                <a:close/>
                <a:moveTo>
                  <a:pt x="112986" y="147368"/>
                </a:moveTo>
                <a:lnTo>
                  <a:pt x="110459" y="157432"/>
                </a:lnTo>
                <a:cubicBezTo>
                  <a:pt x="110098" y="159588"/>
                  <a:pt x="108654" y="161745"/>
                  <a:pt x="107932" y="163902"/>
                </a:cubicBezTo>
                <a:lnTo>
                  <a:pt x="143308" y="187265"/>
                </a:lnTo>
                <a:lnTo>
                  <a:pt x="179045" y="163902"/>
                </a:lnTo>
                <a:cubicBezTo>
                  <a:pt x="177601" y="161745"/>
                  <a:pt x="176879" y="159588"/>
                  <a:pt x="176157" y="157432"/>
                </a:cubicBezTo>
                <a:lnTo>
                  <a:pt x="173630" y="147368"/>
                </a:lnTo>
                <a:cubicBezTo>
                  <a:pt x="164245" y="152759"/>
                  <a:pt x="154137" y="155994"/>
                  <a:pt x="143308" y="155994"/>
                </a:cubicBezTo>
                <a:cubicBezTo>
                  <a:pt x="132479" y="155994"/>
                  <a:pt x="122371" y="152759"/>
                  <a:pt x="112986" y="147368"/>
                </a:cubicBezTo>
                <a:close/>
                <a:moveTo>
                  <a:pt x="166411" y="38459"/>
                </a:moveTo>
                <a:lnTo>
                  <a:pt x="166411" y="48164"/>
                </a:lnTo>
                <a:cubicBezTo>
                  <a:pt x="166411" y="50321"/>
                  <a:pt x="164967" y="52118"/>
                  <a:pt x="163523" y="52477"/>
                </a:cubicBezTo>
                <a:cubicBezTo>
                  <a:pt x="151249" y="56071"/>
                  <a:pt x="140420" y="57509"/>
                  <a:pt x="130674" y="57509"/>
                </a:cubicBezTo>
                <a:cubicBezTo>
                  <a:pt x="108654" y="57509"/>
                  <a:pt x="93493" y="49961"/>
                  <a:pt x="86635" y="44570"/>
                </a:cubicBezTo>
                <a:cubicBezTo>
                  <a:pt x="83386" y="52837"/>
                  <a:pt x="81942" y="61822"/>
                  <a:pt x="81942" y="71887"/>
                </a:cubicBezTo>
                <a:cubicBezTo>
                  <a:pt x="81942" y="113221"/>
                  <a:pt x="109376" y="147368"/>
                  <a:pt x="143308" y="147368"/>
                </a:cubicBezTo>
                <a:cubicBezTo>
                  <a:pt x="177240" y="147368"/>
                  <a:pt x="205035" y="113221"/>
                  <a:pt x="205035" y="71887"/>
                </a:cubicBezTo>
                <a:cubicBezTo>
                  <a:pt x="205035" y="59306"/>
                  <a:pt x="202147" y="48164"/>
                  <a:pt x="197455" y="38819"/>
                </a:cubicBezTo>
                <a:cubicBezTo>
                  <a:pt x="191318" y="43132"/>
                  <a:pt x="182654" y="46007"/>
                  <a:pt x="182294" y="46367"/>
                </a:cubicBezTo>
                <a:cubicBezTo>
                  <a:pt x="180850" y="46726"/>
                  <a:pt x="179767" y="46367"/>
                  <a:pt x="178684" y="46007"/>
                </a:cubicBezTo>
                <a:lnTo>
                  <a:pt x="166411" y="38459"/>
                </a:lnTo>
                <a:close/>
                <a:moveTo>
                  <a:pt x="143308" y="8986"/>
                </a:moveTo>
                <a:cubicBezTo>
                  <a:pt x="118761" y="8986"/>
                  <a:pt x="100713" y="19050"/>
                  <a:pt x="89883" y="37021"/>
                </a:cubicBezTo>
                <a:cubicBezTo>
                  <a:pt x="97825" y="42054"/>
                  <a:pt x="120927" y="55712"/>
                  <a:pt x="157747" y="44929"/>
                </a:cubicBezTo>
                <a:lnTo>
                  <a:pt x="157747" y="30911"/>
                </a:lnTo>
                <a:cubicBezTo>
                  <a:pt x="157747" y="29114"/>
                  <a:pt x="158469" y="27676"/>
                  <a:pt x="159913" y="26957"/>
                </a:cubicBezTo>
                <a:cubicBezTo>
                  <a:pt x="161357" y="26238"/>
                  <a:pt x="163162" y="26238"/>
                  <a:pt x="164245" y="26957"/>
                </a:cubicBezTo>
                <a:lnTo>
                  <a:pt x="181572" y="37381"/>
                </a:lnTo>
                <a:cubicBezTo>
                  <a:pt x="184459" y="35943"/>
                  <a:pt x="189152" y="34146"/>
                  <a:pt x="192762" y="31630"/>
                </a:cubicBezTo>
                <a:cubicBezTo>
                  <a:pt x="182654" y="16893"/>
                  <a:pt x="164967" y="8986"/>
                  <a:pt x="143308" y="8986"/>
                </a:cubicBezTo>
                <a:close/>
                <a:moveTo>
                  <a:pt x="143308" y="0"/>
                </a:moveTo>
                <a:cubicBezTo>
                  <a:pt x="185542" y="0"/>
                  <a:pt x="213699" y="28754"/>
                  <a:pt x="213699" y="71887"/>
                </a:cubicBezTo>
                <a:cubicBezTo>
                  <a:pt x="213699" y="101001"/>
                  <a:pt x="200703" y="127239"/>
                  <a:pt x="181572" y="142336"/>
                </a:cubicBezTo>
                <a:lnTo>
                  <a:pt x="184820" y="154916"/>
                </a:lnTo>
                <a:cubicBezTo>
                  <a:pt x="186986" y="164980"/>
                  <a:pt x="195650" y="173247"/>
                  <a:pt x="206118" y="174685"/>
                </a:cubicBezTo>
                <a:lnTo>
                  <a:pt x="244743" y="181154"/>
                </a:lnTo>
                <a:cubicBezTo>
                  <a:pt x="268928" y="185468"/>
                  <a:pt x="286977" y="206674"/>
                  <a:pt x="286977" y="230756"/>
                </a:cubicBezTo>
                <a:lnTo>
                  <a:pt x="286977" y="281078"/>
                </a:lnTo>
                <a:cubicBezTo>
                  <a:pt x="286977" y="283234"/>
                  <a:pt x="284811" y="285391"/>
                  <a:pt x="282284" y="285391"/>
                </a:cubicBezTo>
                <a:cubicBezTo>
                  <a:pt x="279758" y="285391"/>
                  <a:pt x="277953" y="283234"/>
                  <a:pt x="277953" y="281078"/>
                </a:cubicBezTo>
                <a:lnTo>
                  <a:pt x="277953" y="230756"/>
                </a:lnTo>
                <a:cubicBezTo>
                  <a:pt x="277953" y="210628"/>
                  <a:pt x="263153" y="193375"/>
                  <a:pt x="242938" y="189781"/>
                </a:cubicBezTo>
                <a:lnTo>
                  <a:pt x="208645" y="184030"/>
                </a:lnTo>
                <a:lnTo>
                  <a:pt x="180489" y="224646"/>
                </a:lnTo>
                <a:cubicBezTo>
                  <a:pt x="180128" y="225724"/>
                  <a:pt x="179045" y="226443"/>
                  <a:pt x="177601" y="226443"/>
                </a:cubicBezTo>
                <a:cubicBezTo>
                  <a:pt x="177240" y="226443"/>
                  <a:pt x="177240" y="226443"/>
                  <a:pt x="177240" y="226443"/>
                </a:cubicBezTo>
                <a:cubicBezTo>
                  <a:pt x="176157" y="226443"/>
                  <a:pt x="175435" y="226443"/>
                  <a:pt x="174352" y="225724"/>
                </a:cubicBezTo>
                <a:lnTo>
                  <a:pt x="147640" y="202002"/>
                </a:lnTo>
                <a:lnTo>
                  <a:pt x="147640" y="281078"/>
                </a:lnTo>
                <a:cubicBezTo>
                  <a:pt x="147640" y="283234"/>
                  <a:pt x="145835" y="285391"/>
                  <a:pt x="143308" y="285391"/>
                </a:cubicBezTo>
                <a:cubicBezTo>
                  <a:pt x="141142" y="285391"/>
                  <a:pt x="138976" y="283234"/>
                  <a:pt x="138976" y="281078"/>
                </a:cubicBezTo>
                <a:lnTo>
                  <a:pt x="138976" y="202002"/>
                </a:lnTo>
                <a:lnTo>
                  <a:pt x="112264" y="225724"/>
                </a:lnTo>
                <a:cubicBezTo>
                  <a:pt x="111542" y="226443"/>
                  <a:pt x="110459" y="226443"/>
                  <a:pt x="109376" y="226443"/>
                </a:cubicBezTo>
                <a:cubicBezTo>
                  <a:pt x="109015" y="226443"/>
                  <a:pt x="109015" y="226443"/>
                  <a:pt x="108654" y="226443"/>
                </a:cubicBezTo>
                <a:cubicBezTo>
                  <a:pt x="107571" y="226443"/>
                  <a:pt x="106127" y="225724"/>
                  <a:pt x="105766" y="224646"/>
                </a:cubicBezTo>
                <a:lnTo>
                  <a:pt x="77610" y="184030"/>
                </a:lnTo>
                <a:lnTo>
                  <a:pt x="43678" y="189781"/>
                </a:lnTo>
                <a:cubicBezTo>
                  <a:pt x="23463" y="193375"/>
                  <a:pt x="8663" y="210628"/>
                  <a:pt x="8663" y="230756"/>
                </a:cubicBezTo>
                <a:lnTo>
                  <a:pt x="8663" y="281078"/>
                </a:lnTo>
                <a:cubicBezTo>
                  <a:pt x="8663" y="283234"/>
                  <a:pt x="6859" y="285391"/>
                  <a:pt x="4693" y="285391"/>
                </a:cubicBezTo>
                <a:cubicBezTo>
                  <a:pt x="2166" y="285391"/>
                  <a:pt x="0" y="283234"/>
                  <a:pt x="0" y="281078"/>
                </a:cubicBezTo>
                <a:lnTo>
                  <a:pt x="0" y="230756"/>
                </a:lnTo>
                <a:cubicBezTo>
                  <a:pt x="0" y="206674"/>
                  <a:pt x="17688" y="185468"/>
                  <a:pt x="42234" y="181154"/>
                </a:cubicBezTo>
                <a:lnTo>
                  <a:pt x="80498" y="174685"/>
                </a:lnTo>
                <a:cubicBezTo>
                  <a:pt x="90605" y="173247"/>
                  <a:pt x="99269" y="164980"/>
                  <a:pt x="101796" y="154916"/>
                </a:cubicBezTo>
                <a:lnTo>
                  <a:pt x="105044" y="142336"/>
                </a:lnTo>
                <a:cubicBezTo>
                  <a:pt x="85913" y="127239"/>
                  <a:pt x="73278" y="101001"/>
                  <a:pt x="73278" y="71887"/>
                </a:cubicBezTo>
                <a:cubicBezTo>
                  <a:pt x="73278" y="28754"/>
                  <a:pt x="101435" y="0"/>
                  <a:pt x="143308" y="0"/>
                </a:cubicBezTo>
                <a:close/>
              </a:path>
            </a:pathLst>
          </a:custGeom>
          <a:solidFill>
            <a:schemeClr val="bg1"/>
          </a:solidFill>
          <a:ln>
            <a:noFill/>
          </a:ln>
          <a:effectLst/>
        </p:spPr>
        <p:txBody>
          <a:bodyPr anchor="ctr"/>
          <a:lstStyle/>
          <a:p>
            <a:endParaRPr lang="en-US" sz="900" dirty="0"/>
          </a:p>
        </p:txBody>
      </p:sp>
      <p:sp>
        <p:nvSpPr>
          <p:cNvPr id="28" name="Freeform 1048">
            <a:extLst>
              <a:ext uri="{FF2B5EF4-FFF2-40B4-BE49-F238E27FC236}">
                <a16:creationId xmlns:a16="http://schemas.microsoft.com/office/drawing/2014/main" id="{899F6663-F583-B746-B0FF-2390187872C5}"/>
              </a:ext>
            </a:extLst>
          </p:cNvPr>
          <p:cNvSpPr>
            <a:spLocks noChangeAspect="1" noChangeArrowheads="1"/>
          </p:cNvSpPr>
          <p:nvPr/>
        </p:nvSpPr>
        <p:spPr bwMode="auto">
          <a:xfrm>
            <a:off x="6984329" y="2641773"/>
            <a:ext cx="514156" cy="525842"/>
          </a:xfrm>
          <a:custGeom>
            <a:avLst/>
            <a:gdLst>
              <a:gd name="T0" fmla="*/ 232587 w 279041"/>
              <a:gd name="T1" fmla="*/ 257945 h 285396"/>
              <a:gd name="T2" fmla="*/ 227992 w 279041"/>
              <a:gd name="T3" fmla="*/ 286814 h 285396"/>
              <a:gd name="T4" fmla="*/ 223396 w 279041"/>
              <a:gd name="T5" fmla="*/ 257945 h 285396"/>
              <a:gd name="T6" fmla="*/ 53885 w 279041"/>
              <a:gd name="T7" fmla="*/ 253667 h 285396"/>
              <a:gd name="T8" fmla="*/ 58672 w 279041"/>
              <a:gd name="T9" fmla="*/ 282538 h 285396"/>
              <a:gd name="T10" fmla="*/ 49466 w 279041"/>
              <a:gd name="T11" fmla="*/ 282538 h 285396"/>
              <a:gd name="T12" fmla="*/ 53885 w 279041"/>
              <a:gd name="T13" fmla="*/ 253667 h 285396"/>
              <a:gd name="T14" fmla="*/ 110098 w 279041"/>
              <a:gd name="T15" fmla="*/ 180972 h 285396"/>
              <a:gd name="T16" fmla="*/ 140059 w 279041"/>
              <a:gd name="T17" fmla="*/ 247075 h 285396"/>
              <a:gd name="T18" fmla="*/ 170743 w 279041"/>
              <a:gd name="T19" fmla="*/ 180972 h 285396"/>
              <a:gd name="T20" fmla="*/ 140059 w 279041"/>
              <a:gd name="T21" fmla="*/ 188558 h 285396"/>
              <a:gd name="T22" fmla="*/ 169434 w 279041"/>
              <a:gd name="T23" fmla="*/ 78791 h 285396"/>
              <a:gd name="T24" fmla="*/ 84108 w 279041"/>
              <a:gd name="T25" fmla="*/ 89221 h 285396"/>
              <a:gd name="T26" fmla="*/ 140059 w 279041"/>
              <a:gd name="T27" fmla="*/ 180249 h 285396"/>
              <a:gd name="T28" fmla="*/ 196372 w 279041"/>
              <a:gd name="T29" fmla="*/ 87777 h 285396"/>
              <a:gd name="T30" fmla="*/ 140059 w 279041"/>
              <a:gd name="T31" fmla="*/ 9030 h 285396"/>
              <a:gd name="T32" fmla="*/ 63532 w 279041"/>
              <a:gd name="T33" fmla="*/ 201923 h 285396"/>
              <a:gd name="T34" fmla="*/ 102157 w 279041"/>
              <a:gd name="T35" fmla="*/ 178805 h 285396"/>
              <a:gd name="T36" fmla="*/ 72918 w 279041"/>
              <a:gd name="T37" fmla="*/ 107644 h 285396"/>
              <a:gd name="T38" fmla="*/ 80138 w 279041"/>
              <a:gd name="T39" fmla="*/ 78746 h 285396"/>
              <a:gd name="T40" fmla="*/ 137532 w 279041"/>
              <a:gd name="T41" fmla="*/ 79468 h 285396"/>
              <a:gd name="T42" fmla="*/ 204314 w 279041"/>
              <a:gd name="T43" fmla="*/ 83804 h 285396"/>
              <a:gd name="T44" fmla="*/ 177962 w 279041"/>
              <a:gd name="T45" fmla="*/ 175192 h 285396"/>
              <a:gd name="T46" fmla="*/ 199982 w 279041"/>
              <a:gd name="T47" fmla="*/ 199033 h 285396"/>
              <a:gd name="T48" fmla="*/ 237523 w 279041"/>
              <a:gd name="T49" fmla="*/ 120287 h 285396"/>
              <a:gd name="T50" fmla="*/ 140059 w 279041"/>
              <a:gd name="T51" fmla="*/ 0 h 285396"/>
              <a:gd name="T52" fmla="*/ 226333 w 279041"/>
              <a:gd name="T53" fmla="*/ 203368 h 285396"/>
              <a:gd name="T54" fmla="*/ 280479 w 279041"/>
              <a:gd name="T55" fmla="*/ 265136 h 285396"/>
              <a:gd name="T56" fmla="*/ 276148 w 279041"/>
              <a:gd name="T57" fmla="*/ 286809 h 285396"/>
              <a:gd name="T58" fmla="*/ 272177 w 279041"/>
              <a:gd name="T59" fmla="*/ 265136 h 285396"/>
              <a:gd name="T60" fmla="*/ 205757 w 279041"/>
              <a:gd name="T61" fmla="*/ 208786 h 285396"/>
              <a:gd name="T62" fmla="*/ 144392 w 279041"/>
              <a:gd name="T63" fmla="*/ 282476 h 285396"/>
              <a:gd name="T64" fmla="*/ 136089 w 279041"/>
              <a:gd name="T65" fmla="*/ 282476 h 285396"/>
              <a:gd name="T66" fmla="*/ 74723 w 279041"/>
              <a:gd name="T67" fmla="*/ 208786 h 285396"/>
              <a:gd name="T68" fmla="*/ 9026 w 279041"/>
              <a:gd name="T69" fmla="*/ 265136 h 285396"/>
              <a:gd name="T70" fmla="*/ 4334 w 279041"/>
              <a:gd name="T71" fmla="*/ 286809 h 285396"/>
              <a:gd name="T72" fmla="*/ 0 w 279041"/>
              <a:gd name="T73" fmla="*/ 265136 h 285396"/>
              <a:gd name="T74" fmla="*/ 54146 w 279041"/>
              <a:gd name="T75" fmla="*/ 203368 h 285396"/>
              <a:gd name="T76" fmla="*/ 140059 w 279041"/>
              <a:gd name="T77" fmla="*/ 0 h 285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9041" h="285396">
                <a:moveTo>
                  <a:pt x="226822" y="252413"/>
                </a:moveTo>
                <a:cubicBezTo>
                  <a:pt x="229489" y="252413"/>
                  <a:pt x="231394" y="254186"/>
                  <a:pt x="231394" y="256669"/>
                </a:cubicBezTo>
                <a:lnTo>
                  <a:pt x="231394" y="281140"/>
                </a:lnTo>
                <a:cubicBezTo>
                  <a:pt x="231394" y="283268"/>
                  <a:pt x="229489" y="285396"/>
                  <a:pt x="226822" y="285396"/>
                </a:cubicBezTo>
                <a:cubicBezTo>
                  <a:pt x="224155" y="285396"/>
                  <a:pt x="222250" y="283268"/>
                  <a:pt x="222250" y="281140"/>
                </a:cubicBezTo>
                <a:lnTo>
                  <a:pt x="222250" y="256669"/>
                </a:lnTo>
                <a:cubicBezTo>
                  <a:pt x="222250" y="254186"/>
                  <a:pt x="224155" y="252413"/>
                  <a:pt x="226822" y="252413"/>
                </a:cubicBezTo>
                <a:close/>
                <a:moveTo>
                  <a:pt x="53609" y="252413"/>
                </a:moveTo>
                <a:cubicBezTo>
                  <a:pt x="56174" y="252413"/>
                  <a:pt x="58372" y="254186"/>
                  <a:pt x="58372" y="256669"/>
                </a:cubicBezTo>
                <a:lnTo>
                  <a:pt x="58372" y="281140"/>
                </a:lnTo>
                <a:cubicBezTo>
                  <a:pt x="58372" y="283268"/>
                  <a:pt x="56174" y="285396"/>
                  <a:pt x="53609" y="285396"/>
                </a:cubicBezTo>
                <a:cubicBezTo>
                  <a:pt x="51045" y="285396"/>
                  <a:pt x="49213" y="283268"/>
                  <a:pt x="49213" y="281140"/>
                </a:cubicBezTo>
                <a:lnTo>
                  <a:pt x="49213" y="256669"/>
                </a:lnTo>
                <a:cubicBezTo>
                  <a:pt x="49213" y="254186"/>
                  <a:pt x="51045" y="252413"/>
                  <a:pt x="53609" y="252413"/>
                </a:cubicBezTo>
                <a:close/>
                <a:moveTo>
                  <a:pt x="110252" y="179358"/>
                </a:moveTo>
                <a:lnTo>
                  <a:pt x="109534" y="180077"/>
                </a:lnTo>
                <a:cubicBezTo>
                  <a:pt x="106301" y="193376"/>
                  <a:pt x="95887" y="203080"/>
                  <a:pt x="82958" y="205956"/>
                </a:cubicBezTo>
                <a:cubicBezTo>
                  <a:pt x="86909" y="223928"/>
                  <a:pt x="123539" y="240102"/>
                  <a:pt x="139341" y="245853"/>
                </a:cubicBezTo>
                <a:cubicBezTo>
                  <a:pt x="155502" y="240102"/>
                  <a:pt x="192133" y="223928"/>
                  <a:pt x="196801" y="205956"/>
                </a:cubicBezTo>
                <a:cubicBezTo>
                  <a:pt x="183514" y="203080"/>
                  <a:pt x="173099" y="193376"/>
                  <a:pt x="169867" y="180077"/>
                </a:cubicBezTo>
                <a:lnTo>
                  <a:pt x="169508" y="179358"/>
                </a:lnTo>
                <a:cubicBezTo>
                  <a:pt x="160529" y="185109"/>
                  <a:pt x="150474" y="187625"/>
                  <a:pt x="139341" y="187625"/>
                </a:cubicBezTo>
                <a:cubicBezTo>
                  <a:pt x="129285" y="187625"/>
                  <a:pt x="118512" y="185109"/>
                  <a:pt x="110252" y="179358"/>
                </a:cubicBezTo>
                <a:close/>
                <a:moveTo>
                  <a:pt x="168565" y="78402"/>
                </a:moveTo>
                <a:cubicBezTo>
                  <a:pt x="159721" y="78357"/>
                  <a:pt x="150833" y="81232"/>
                  <a:pt x="141496" y="86983"/>
                </a:cubicBezTo>
                <a:cubicBezTo>
                  <a:pt x="118871" y="100282"/>
                  <a:pt x="96246" y="95610"/>
                  <a:pt x="83676" y="88780"/>
                </a:cubicBezTo>
                <a:cubicBezTo>
                  <a:pt x="81881" y="94531"/>
                  <a:pt x="81163" y="100642"/>
                  <a:pt x="81163" y="107112"/>
                </a:cubicBezTo>
                <a:cubicBezTo>
                  <a:pt x="81163" y="146649"/>
                  <a:pt x="107738" y="179358"/>
                  <a:pt x="139341" y="179358"/>
                </a:cubicBezTo>
                <a:cubicBezTo>
                  <a:pt x="172021" y="179358"/>
                  <a:pt x="197879" y="146649"/>
                  <a:pt x="197879" y="107112"/>
                </a:cubicBezTo>
                <a:cubicBezTo>
                  <a:pt x="197879" y="99923"/>
                  <a:pt x="197160" y="93453"/>
                  <a:pt x="195365" y="87343"/>
                </a:cubicBezTo>
                <a:cubicBezTo>
                  <a:pt x="186207" y="81412"/>
                  <a:pt x="177408" y="78447"/>
                  <a:pt x="168565" y="78402"/>
                </a:cubicBezTo>
                <a:close/>
                <a:moveTo>
                  <a:pt x="139341" y="8986"/>
                </a:moveTo>
                <a:cubicBezTo>
                  <a:pt x="81163" y="8986"/>
                  <a:pt x="43095" y="52118"/>
                  <a:pt x="43095" y="119692"/>
                </a:cubicBezTo>
                <a:cubicBezTo>
                  <a:pt x="43095" y="152041"/>
                  <a:pt x="50996" y="184030"/>
                  <a:pt x="63206" y="200924"/>
                </a:cubicBezTo>
                <a:lnTo>
                  <a:pt x="80085" y="198048"/>
                </a:lnTo>
                <a:cubicBezTo>
                  <a:pt x="90141" y="195892"/>
                  <a:pt x="98760" y="188344"/>
                  <a:pt x="101633" y="177920"/>
                </a:cubicBezTo>
                <a:lnTo>
                  <a:pt x="102351" y="174326"/>
                </a:lnTo>
                <a:cubicBezTo>
                  <a:pt x="84395" y="159589"/>
                  <a:pt x="72544" y="135147"/>
                  <a:pt x="72544" y="107112"/>
                </a:cubicBezTo>
                <a:cubicBezTo>
                  <a:pt x="72544" y="97766"/>
                  <a:pt x="74339" y="88780"/>
                  <a:pt x="76853" y="80873"/>
                </a:cubicBezTo>
                <a:cubicBezTo>
                  <a:pt x="77212" y="80154"/>
                  <a:pt x="78290" y="78716"/>
                  <a:pt x="79726" y="78357"/>
                </a:cubicBezTo>
                <a:cubicBezTo>
                  <a:pt x="80803" y="77997"/>
                  <a:pt x="82599" y="78357"/>
                  <a:pt x="83317" y="78716"/>
                </a:cubicBezTo>
                <a:cubicBezTo>
                  <a:pt x="92296" y="84827"/>
                  <a:pt x="114920" y="92734"/>
                  <a:pt x="136827" y="79076"/>
                </a:cubicBezTo>
                <a:cubicBezTo>
                  <a:pt x="158734" y="66136"/>
                  <a:pt x="179922" y="66496"/>
                  <a:pt x="200752" y="80873"/>
                </a:cubicBezTo>
                <a:cubicBezTo>
                  <a:pt x="201829" y="81232"/>
                  <a:pt x="202906" y="81951"/>
                  <a:pt x="203265" y="83389"/>
                </a:cubicBezTo>
                <a:cubicBezTo>
                  <a:pt x="205420" y="90937"/>
                  <a:pt x="206857" y="98845"/>
                  <a:pt x="206857" y="107112"/>
                </a:cubicBezTo>
                <a:cubicBezTo>
                  <a:pt x="206857" y="135147"/>
                  <a:pt x="194646" y="159589"/>
                  <a:pt x="177049" y="174326"/>
                </a:cubicBezTo>
                <a:lnTo>
                  <a:pt x="178127" y="177920"/>
                </a:lnTo>
                <a:cubicBezTo>
                  <a:pt x="180281" y="188344"/>
                  <a:pt x="188541" y="195892"/>
                  <a:pt x="198956" y="198048"/>
                </a:cubicBezTo>
                <a:lnTo>
                  <a:pt x="216194" y="200924"/>
                </a:lnTo>
                <a:cubicBezTo>
                  <a:pt x="228404" y="184030"/>
                  <a:pt x="236305" y="152041"/>
                  <a:pt x="236305" y="119692"/>
                </a:cubicBezTo>
                <a:cubicBezTo>
                  <a:pt x="236305" y="52118"/>
                  <a:pt x="198238" y="8986"/>
                  <a:pt x="139341" y="8986"/>
                </a:cubicBezTo>
                <a:close/>
                <a:moveTo>
                  <a:pt x="139341" y="0"/>
                </a:moveTo>
                <a:cubicBezTo>
                  <a:pt x="203625" y="0"/>
                  <a:pt x="244924" y="46727"/>
                  <a:pt x="244924" y="119692"/>
                </a:cubicBezTo>
                <a:cubicBezTo>
                  <a:pt x="244924" y="152400"/>
                  <a:pt x="237382" y="183312"/>
                  <a:pt x="225172" y="202362"/>
                </a:cubicBezTo>
                <a:lnTo>
                  <a:pt x="228045" y="202721"/>
                </a:lnTo>
                <a:cubicBezTo>
                  <a:pt x="257493" y="207753"/>
                  <a:pt x="279041" y="233632"/>
                  <a:pt x="279041" y="263825"/>
                </a:cubicBezTo>
                <a:lnTo>
                  <a:pt x="279041" y="281078"/>
                </a:lnTo>
                <a:cubicBezTo>
                  <a:pt x="279041" y="283234"/>
                  <a:pt x="277605" y="285391"/>
                  <a:pt x="274732" y="285391"/>
                </a:cubicBezTo>
                <a:cubicBezTo>
                  <a:pt x="272577" y="285391"/>
                  <a:pt x="270781" y="283234"/>
                  <a:pt x="270781" y="281078"/>
                </a:cubicBezTo>
                <a:lnTo>
                  <a:pt x="270781" y="263825"/>
                </a:lnTo>
                <a:cubicBezTo>
                  <a:pt x="270781" y="237946"/>
                  <a:pt x="251747" y="216020"/>
                  <a:pt x="226249" y="211347"/>
                </a:cubicBezTo>
                <a:lnTo>
                  <a:pt x="204702" y="207753"/>
                </a:lnTo>
                <a:cubicBezTo>
                  <a:pt x="199315" y="231835"/>
                  <a:pt x="156579" y="248729"/>
                  <a:pt x="143651" y="253401"/>
                </a:cubicBezTo>
                <a:lnTo>
                  <a:pt x="143651" y="281078"/>
                </a:lnTo>
                <a:cubicBezTo>
                  <a:pt x="143651" y="283234"/>
                  <a:pt x="141855" y="285391"/>
                  <a:pt x="139341" y="285391"/>
                </a:cubicBezTo>
                <a:cubicBezTo>
                  <a:pt x="137186" y="285391"/>
                  <a:pt x="135391" y="283234"/>
                  <a:pt x="135391" y="281078"/>
                </a:cubicBezTo>
                <a:lnTo>
                  <a:pt x="135391" y="253401"/>
                </a:lnTo>
                <a:cubicBezTo>
                  <a:pt x="122821" y="248729"/>
                  <a:pt x="79726" y="231835"/>
                  <a:pt x="74339" y="207753"/>
                </a:cubicBezTo>
                <a:lnTo>
                  <a:pt x="52792" y="211347"/>
                </a:lnTo>
                <a:cubicBezTo>
                  <a:pt x="27294" y="216020"/>
                  <a:pt x="8978" y="237946"/>
                  <a:pt x="8978" y="263825"/>
                </a:cubicBezTo>
                <a:lnTo>
                  <a:pt x="8978" y="281078"/>
                </a:lnTo>
                <a:cubicBezTo>
                  <a:pt x="8978" y="283234"/>
                  <a:pt x="6464" y="285391"/>
                  <a:pt x="4310" y="285391"/>
                </a:cubicBezTo>
                <a:cubicBezTo>
                  <a:pt x="2155" y="285391"/>
                  <a:pt x="0" y="283234"/>
                  <a:pt x="0" y="281078"/>
                </a:cubicBezTo>
                <a:lnTo>
                  <a:pt x="0" y="263825"/>
                </a:lnTo>
                <a:cubicBezTo>
                  <a:pt x="0" y="233632"/>
                  <a:pt x="21907" y="207753"/>
                  <a:pt x="51714" y="202721"/>
                </a:cubicBezTo>
                <a:lnTo>
                  <a:pt x="53869" y="202362"/>
                </a:lnTo>
                <a:cubicBezTo>
                  <a:pt x="41659" y="183312"/>
                  <a:pt x="34476" y="152400"/>
                  <a:pt x="34476" y="119692"/>
                </a:cubicBezTo>
                <a:cubicBezTo>
                  <a:pt x="34476" y="47805"/>
                  <a:pt x="76853" y="0"/>
                  <a:pt x="139341" y="0"/>
                </a:cubicBezTo>
                <a:close/>
              </a:path>
            </a:pathLst>
          </a:custGeom>
          <a:solidFill>
            <a:schemeClr val="bg1"/>
          </a:solidFill>
          <a:ln>
            <a:noFill/>
          </a:ln>
          <a:effectLst/>
        </p:spPr>
        <p:txBody>
          <a:bodyPr anchor="ctr"/>
          <a:lstStyle/>
          <a:p>
            <a:endParaRPr lang="en-US" sz="900" dirty="0"/>
          </a:p>
        </p:txBody>
      </p:sp>
      <p:sp>
        <p:nvSpPr>
          <p:cNvPr id="31" name="Freeform 1047">
            <a:extLst>
              <a:ext uri="{FF2B5EF4-FFF2-40B4-BE49-F238E27FC236}">
                <a16:creationId xmlns:a16="http://schemas.microsoft.com/office/drawing/2014/main" id="{049CA923-A773-314D-9AD2-9924E6E6ADD0}"/>
              </a:ext>
            </a:extLst>
          </p:cNvPr>
          <p:cNvSpPr>
            <a:spLocks noChangeAspect="1" noChangeArrowheads="1"/>
          </p:cNvSpPr>
          <p:nvPr/>
        </p:nvSpPr>
        <p:spPr bwMode="auto">
          <a:xfrm>
            <a:off x="5258864" y="3652409"/>
            <a:ext cx="528762" cy="525842"/>
          </a:xfrm>
          <a:custGeom>
            <a:avLst/>
            <a:gdLst>
              <a:gd name="T0" fmla="*/ 229384 w 286977"/>
              <a:gd name="T1" fmla="*/ 251968 h 285393"/>
              <a:gd name="T2" fmla="*/ 224597 w 286977"/>
              <a:gd name="T3" fmla="*/ 286823 h 285393"/>
              <a:gd name="T4" fmla="*/ 220180 w 286977"/>
              <a:gd name="T5" fmla="*/ 251968 h 285393"/>
              <a:gd name="T6" fmla="*/ 63245 w 286977"/>
              <a:gd name="T7" fmla="*/ 247297 h 285393"/>
              <a:gd name="T8" fmla="*/ 68224 w 286977"/>
              <a:gd name="T9" fmla="*/ 282512 h 285393"/>
              <a:gd name="T10" fmla="*/ 59034 w 286977"/>
              <a:gd name="T11" fmla="*/ 282512 h 285393"/>
              <a:gd name="T12" fmla="*/ 63245 w 286977"/>
              <a:gd name="T13" fmla="*/ 247297 h 285393"/>
              <a:gd name="T14" fmla="*/ 151287 w 286977"/>
              <a:gd name="T15" fmla="*/ 193983 h 285393"/>
              <a:gd name="T16" fmla="*/ 200264 w 286977"/>
              <a:gd name="T17" fmla="*/ 182424 h 285393"/>
              <a:gd name="T18" fmla="*/ 103397 w 286977"/>
              <a:gd name="T19" fmla="*/ 171948 h 285393"/>
              <a:gd name="T20" fmla="*/ 111015 w 286977"/>
              <a:gd name="T21" fmla="*/ 217103 h 285393"/>
              <a:gd name="T22" fmla="*/ 103397 w 286977"/>
              <a:gd name="T23" fmla="*/ 171948 h 285393"/>
              <a:gd name="T24" fmla="*/ 111015 w 286977"/>
              <a:gd name="T25" fmla="*/ 158221 h 285393"/>
              <a:gd name="T26" fmla="*/ 144030 w 286977"/>
              <a:gd name="T27" fmla="*/ 188204 h 285393"/>
              <a:gd name="T28" fmla="*/ 177045 w 286977"/>
              <a:gd name="T29" fmla="*/ 158221 h 285393"/>
              <a:gd name="T30" fmla="*/ 144030 w 286977"/>
              <a:gd name="T31" fmla="*/ 156776 h 285393"/>
              <a:gd name="T32" fmla="*/ 167250 w 286977"/>
              <a:gd name="T33" fmla="*/ 38651 h 285393"/>
              <a:gd name="T34" fmla="*/ 164347 w 286977"/>
              <a:gd name="T35" fmla="*/ 52741 h 285393"/>
              <a:gd name="T36" fmla="*/ 87071 w 286977"/>
              <a:gd name="T37" fmla="*/ 44794 h 285393"/>
              <a:gd name="T38" fmla="*/ 144030 w 286977"/>
              <a:gd name="T39" fmla="*/ 148107 h 285393"/>
              <a:gd name="T40" fmla="*/ 198450 w 286977"/>
              <a:gd name="T41" fmla="*/ 39015 h 285393"/>
              <a:gd name="T42" fmla="*/ 179585 w 286977"/>
              <a:gd name="T43" fmla="*/ 46239 h 285393"/>
              <a:gd name="T44" fmla="*/ 144030 w 286977"/>
              <a:gd name="T45" fmla="*/ 9030 h 285393"/>
              <a:gd name="T46" fmla="*/ 158542 w 286977"/>
              <a:gd name="T47" fmla="*/ 45153 h 285393"/>
              <a:gd name="T48" fmla="*/ 160719 w 286977"/>
              <a:gd name="T49" fmla="*/ 27093 h 285393"/>
              <a:gd name="T50" fmla="*/ 182487 w 286977"/>
              <a:gd name="T51" fmla="*/ 37569 h 285393"/>
              <a:gd name="T52" fmla="*/ 144030 w 286977"/>
              <a:gd name="T53" fmla="*/ 9030 h 285393"/>
              <a:gd name="T54" fmla="*/ 214776 w 286977"/>
              <a:gd name="T55" fmla="*/ 72247 h 285393"/>
              <a:gd name="T56" fmla="*/ 185751 w 286977"/>
              <a:gd name="T57" fmla="*/ 155693 h 285393"/>
              <a:gd name="T58" fmla="*/ 245977 w 286977"/>
              <a:gd name="T59" fmla="*/ 182062 h 285393"/>
              <a:gd name="T60" fmla="*/ 288423 w 286977"/>
              <a:gd name="T61" fmla="*/ 282487 h 285393"/>
              <a:gd name="T62" fmla="*/ 279355 w 286977"/>
              <a:gd name="T63" fmla="*/ 282487 h 285393"/>
              <a:gd name="T64" fmla="*/ 244163 w 286977"/>
              <a:gd name="T65" fmla="*/ 190732 h 285393"/>
              <a:gd name="T66" fmla="*/ 181399 w 286977"/>
              <a:gd name="T67" fmla="*/ 225772 h 285393"/>
              <a:gd name="T68" fmla="*/ 178134 w 286977"/>
              <a:gd name="T69" fmla="*/ 227578 h 285393"/>
              <a:gd name="T70" fmla="*/ 148384 w 286977"/>
              <a:gd name="T71" fmla="*/ 203015 h 285393"/>
              <a:gd name="T72" fmla="*/ 144030 w 286977"/>
              <a:gd name="T73" fmla="*/ 286821 h 285393"/>
              <a:gd name="T74" fmla="*/ 139676 w 286977"/>
              <a:gd name="T75" fmla="*/ 203015 h 285393"/>
              <a:gd name="T76" fmla="*/ 109928 w 286977"/>
              <a:gd name="T77" fmla="*/ 227578 h 285393"/>
              <a:gd name="T78" fmla="*/ 106299 w 286977"/>
              <a:gd name="T79" fmla="*/ 225772 h 285393"/>
              <a:gd name="T80" fmla="*/ 43898 w 286977"/>
              <a:gd name="T81" fmla="*/ 190732 h 285393"/>
              <a:gd name="T82" fmla="*/ 8707 w 286977"/>
              <a:gd name="T83" fmla="*/ 282487 h 285393"/>
              <a:gd name="T84" fmla="*/ 0 w 286977"/>
              <a:gd name="T85" fmla="*/ 282487 h 285393"/>
              <a:gd name="T86" fmla="*/ 42446 w 286977"/>
              <a:gd name="T87" fmla="*/ 182062 h 285393"/>
              <a:gd name="T88" fmla="*/ 102309 w 286977"/>
              <a:gd name="T89" fmla="*/ 155693 h 285393"/>
              <a:gd name="T90" fmla="*/ 73647 w 286977"/>
              <a:gd name="T91" fmla="*/ 72247 h 2853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6977" h="285393">
                <a:moveTo>
                  <a:pt x="223471" y="246063"/>
                </a:moveTo>
                <a:cubicBezTo>
                  <a:pt x="226036" y="246063"/>
                  <a:pt x="228234" y="248208"/>
                  <a:pt x="228234" y="250711"/>
                </a:cubicBezTo>
                <a:lnTo>
                  <a:pt x="228234" y="281102"/>
                </a:lnTo>
                <a:cubicBezTo>
                  <a:pt x="228234" y="283247"/>
                  <a:pt x="226036" y="285393"/>
                  <a:pt x="223471" y="285393"/>
                </a:cubicBezTo>
                <a:cubicBezTo>
                  <a:pt x="221273" y="285393"/>
                  <a:pt x="219075" y="283247"/>
                  <a:pt x="219075" y="281102"/>
                </a:cubicBezTo>
                <a:lnTo>
                  <a:pt x="219075" y="250711"/>
                </a:lnTo>
                <a:cubicBezTo>
                  <a:pt x="219075" y="248208"/>
                  <a:pt x="221273" y="246063"/>
                  <a:pt x="223471" y="246063"/>
                </a:cubicBezTo>
                <a:close/>
                <a:moveTo>
                  <a:pt x="62929" y="246063"/>
                </a:moveTo>
                <a:cubicBezTo>
                  <a:pt x="65596" y="246063"/>
                  <a:pt x="67882" y="248208"/>
                  <a:pt x="67882" y="250711"/>
                </a:cubicBezTo>
                <a:lnTo>
                  <a:pt x="67882" y="281102"/>
                </a:lnTo>
                <a:cubicBezTo>
                  <a:pt x="67882" y="283247"/>
                  <a:pt x="65596" y="285393"/>
                  <a:pt x="62929" y="285393"/>
                </a:cubicBezTo>
                <a:cubicBezTo>
                  <a:pt x="61024" y="285393"/>
                  <a:pt x="58738" y="283247"/>
                  <a:pt x="58738" y="281102"/>
                </a:cubicBezTo>
                <a:lnTo>
                  <a:pt x="58738" y="250711"/>
                </a:lnTo>
                <a:cubicBezTo>
                  <a:pt x="58738" y="248208"/>
                  <a:pt x="61024" y="246063"/>
                  <a:pt x="62929" y="246063"/>
                </a:cubicBezTo>
                <a:close/>
                <a:moveTo>
                  <a:pt x="183376" y="171090"/>
                </a:moveTo>
                <a:lnTo>
                  <a:pt x="150528" y="193016"/>
                </a:lnTo>
                <a:lnTo>
                  <a:pt x="176518" y="216020"/>
                </a:lnTo>
                <a:lnTo>
                  <a:pt x="199259" y="181514"/>
                </a:lnTo>
                <a:cubicBezTo>
                  <a:pt x="193123" y="180076"/>
                  <a:pt x="188069" y="176122"/>
                  <a:pt x="183376" y="171090"/>
                </a:cubicBezTo>
                <a:close/>
                <a:moveTo>
                  <a:pt x="102878" y="171090"/>
                </a:moveTo>
                <a:cubicBezTo>
                  <a:pt x="98908" y="176122"/>
                  <a:pt x="93132" y="180076"/>
                  <a:pt x="86995" y="181514"/>
                </a:cubicBezTo>
                <a:lnTo>
                  <a:pt x="110459" y="216020"/>
                </a:lnTo>
                <a:lnTo>
                  <a:pt x="136088" y="193016"/>
                </a:lnTo>
                <a:lnTo>
                  <a:pt x="102878" y="171090"/>
                </a:lnTo>
                <a:close/>
                <a:moveTo>
                  <a:pt x="112986" y="147368"/>
                </a:moveTo>
                <a:lnTo>
                  <a:pt x="110459" y="157432"/>
                </a:lnTo>
                <a:cubicBezTo>
                  <a:pt x="110098" y="159588"/>
                  <a:pt x="108654" y="161745"/>
                  <a:pt x="107932" y="163902"/>
                </a:cubicBezTo>
                <a:lnTo>
                  <a:pt x="143308" y="187265"/>
                </a:lnTo>
                <a:lnTo>
                  <a:pt x="179045" y="163902"/>
                </a:lnTo>
                <a:cubicBezTo>
                  <a:pt x="177601" y="161745"/>
                  <a:pt x="176879" y="159588"/>
                  <a:pt x="176157" y="157432"/>
                </a:cubicBezTo>
                <a:lnTo>
                  <a:pt x="173630" y="147368"/>
                </a:lnTo>
                <a:cubicBezTo>
                  <a:pt x="164245" y="152759"/>
                  <a:pt x="154137" y="155994"/>
                  <a:pt x="143308" y="155994"/>
                </a:cubicBezTo>
                <a:cubicBezTo>
                  <a:pt x="132479" y="155994"/>
                  <a:pt x="122371" y="152759"/>
                  <a:pt x="112986" y="147368"/>
                </a:cubicBezTo>
                <a:close/>
                <a:moveTo>
                  <a:pt x="166411" y="38459"/>
                </a:moveTo>
                <a:lnTo>
                  <a:pt x="166411" y="48164"/>
                </a:lnTo>
                <a:cubicBezTo>
                  <a:pt x="166411" y="50321"/>
                  <a:pt x="164967" y="52118"/>
                  <a:pt x="163523" y="52477"/>
                </a:cubicBezTo>
                <a:cubicBezTo>
                  <a:pt x="151249" y="56071"/>
                  <a:pt x="140420" y="57509"/>
                  <a:pt x="130674" y="57509"/>
                </a:cubicBezTo>
                <a:cubicBezTo>
                  <a:pt x="108654" y="57509"/>
                  <a:pt x="93493" y="49961"/>
                  <a:pt x="86635" y="44570"/>
                </a:cubicBezTo>
                <a:cubicBezTo>
                  <a:pt x="83386" y="52837"/>
                  <a:pt x="81942" y="61822"/>
                  <a:pt x="81942" y="71887"/>
                </a:cubicBezTo>
                <a:cubicBezTo>
                  <a:pt x="81942" y="113221"/>
                  <a:pt x="109376" y="147368"/>
                  <a:pt x="143308" y="147368"/>
                </a:cubicBezTo>
                <a:cubicBezTo>
                  <a:pt x="177240" y="147368"/>
                  <a:pt x="205035" y="113221"/>
                  <a:pt x="205035" y="71887"/>
                </a:cubicBezTo>
                <a:cubicBezTo>
                  <a:pt x="205035" y="59306"/>
                  <a:pt x="202147" y="48164"/>
                  <a:pt x="197455" y="38819"/>
                </a:cubicBezTo>
                <a:cubicBezTo>
                  <a:pt x="191318" y="43132"/>
                  <a:pt x="182654" y="46007"/>
                  <a:pt x="182294" y="46367"/>
                </a:cubicBezTo>
                <a:cubicBezTo>
                  <a:pt x="180850" y="46726"/>
                  <a:pt x="179767" y="46367"/>
                  <a:pt x="178684" y="46007"/>
                </a:cubicBezTo>
                <a:lnTo>
                  <a:pt x="166411" y="38459"/>
                </a:lnTo>
                <a:close/>
                <a:moveTo>
                  <a:pt x="143308" y="8986"/>
                </a:moveTo>
                <a:cubicBezTo>
                  <a:pt x="118761" y="8986"/>
                  <a:pt x="100713" y="19050"/>
                  <a:pt x="89883" y="37021"/>
                </a:cubicBezTo>
                <a:cubicBezTo>
                  <a:pt x="97825" y="42054"/>
                  <a:pt x="120927" y="55712"/>
                  <a:pt x="157747" y="44929"/>
                </a:cubicBezTo>
                <a:lnTo>
                  <a:pt x="157747" y="30911"/>
                </a:lnTo>
                <a:cubicBezTo>
                  <a:pt x="157747" y="29114"/>
                  <a:pt x="158469" y="27676"/>
                  <a:pt x="159913" y="26957"/>
                </a:cubicBezTo>
                <a:cubicBezTo>
                  <a:pt x="161357" y="26238"/>
                  <a:pt x="163162" y="26238"/>
                  <a:pt x="164245" y="26957"/>
                </a:cubicBezTo>
                <a:lnTo>
                  <a:pt x="181572" y="37381"/>
                </a:lnTo>
                <a:cubicBezTo>
                  <a:pt x="184459" y="35943"/>
                  <a:pt x="189152" y="34146"/>
                  <a:pt x="192762" y="31630"/>
                </a:cubicBezTo>
                <a:cubicBezTo>
                  <a:pt x="182654" y="16893"/>
                  <a:pt x="164967" y="8986"/>
                  <a:pt x="143308" y="8986"/>
                </a:cubicBezTo>
                <a:close/>
                <a:moveTo>
                  <a:pt x="143308" y="0"/>
                </a:moveTo>
                <a:cubicBezTo>
                  <a:pt x="185542" y="0"/>
                  <a:pt x="213699" y="28754"/>
                  <a:pt x="213699" y="71887"/>
                </a:cubicBezTo>
                <a:cubicBezTo>
                  <a:pt x="213699" y="101001"/>
                  <a:pt x="200703" y="127239"/>
                  <a:pt x="181572" y="142336"/>
                </a:cubicBezTo>
                <a:lnTo>
                  <a:pt x="184820" y="154916"/>
                </a:lnTo>
                <a:cubicBezTo>
                  <a:pt x="186986" y="164980"/>
                  <a:pt x="195650" y="173247"/>
                  <a:pt x="206118" y="174685"/>
                </a:cubicBezTo>
                <a:lnTo>
                  <a:pt x="244743" y="181154"/>
                </a:lnTo>
                <a:cubicBezTo>
                  <a:pt x="268928" y="185468"/>
                  <a:pt x="286977" y="206674"/>
                  <a:pt x="286977" y="230756"/>
                </a:cubicBezTo>
                <a:lnTo>
                  <a:pt x="286977" y="281078"/>
                </a:lnTo>
                <a:cubicBezTo>
                  <a:pt x="286977" y="283234"/>
                  <a:pt x="284811" y="285391"/>
                  <a:pt x="282284" y="285391"/>
                </a:cubicBezTo>
                <a:cubicBezTo>
                  <a:pt x="279758" y="285391"/>
                  <a:pt x="277953" y="283234"/>
                  <a:pt x="277953" y="281078"/>
                </a:cubicBezTo>
                <a:lnTo>
                  <a:pt x="277953" y="230756"/>
                </a:lnTo>
                <a:cubicBezTo>
                  <a:pt x="277953" y="210628"/>
                  <a:pt x="263153" y="193375"/>
                  <a:pt x="242938" y="189781"/>
                </a:cubicBezTo>
                <a:lnTo>
                  <a:pt x="208645" y="184030"/>
                </a:lnTo>
                <a:lnTo>
                  <a:pt x="180489" y="224646"/>
                </a:lnTo>
                <a:cubicBezTo>
                  <a:pt x="180128" y="225724"/>
                  <a:pt x="179045" y="226443"/>
                  <a:pt x="177601" y="226443"/>
                </a:cubicBezTo>
                <a:cubicBezTo>
                  <a:pt x="177240" y="226443"/>
                  <a:pt x="177240" y="226443"/>
                  <a:pt x="177240" y="226443"/>
                </a:cubicBezTo>
                <a:cubicBezTo>
                  <a:pt x="176157" y="226443"/>
                  <a:pt x="175435" y="226443"/>
                  <a:pt x="174352" y="225724"/>
                </a:cubicBezTo>
                <a:lnTo>
                  <a:pt x="147640" y="202002"/>
                </a:lnTo>
                <a:lnTo>
                  <a:pt x="147640" y="281078"/>
                </a:lnTo>
                <a:cubicBezTo>
                  <a:pt x="147640" y="283234"/>
                  <a:pt x="145835" y="285391"/>
                  <a:pt x="143308" y="285391"/>
                </a:cubicBezTo>
                <a:cubicBezTo>
                  <a:pt x="141142" y="285391"/>
                  <a:pt x="138976" y="283234"/>
                  <a:pt x="138976" y="281078"/>
                </a:cubicBezTo>
                <a:lnTo>
                  <a:pt x="138976" y="202002"/>
                </a:lnTo>
                <a:lnTo>
                  <a:pt x="112264" y="225724"/>
                </a:lnTo>
                <a:cubicBezTo>
                  <a:pt x="111542" y="226443"/>
                  <a:pt x="110459" y="226443"/>
                  <a:pt x="109376" y="226443"/>
                </a:cubicBezTo>
                <a:cubicBezTo>
                  <a:pt x="109015" y="226443"/>
                  <a:pt x="109015" y="226443"/>
                  <a:pt x="108654" y="226443"/>
                </a:cubicBezTo>
                <a:cubicBezTo>
                  <a:pt x="107571" y="226443"/>
                  <a:pt x="106127" y="225724"/>
                  <a:pt x="105766" y="224646"/>
                </a:cubicBezTo>
                <a:lnTo>
                  <a:pt x="77610" y="184030"/>
                </a:lnTo>
                <a:lnTo>
                  <a:pt x="43678" y="189781"/>
                </a:lnTo>
                <a:cubicBezTo>
                  <a:pt x="23463" y="193375"/>
                  <a:pt x="8663" y="210628"/>
                  <a:pt x="8663" y="230756"/>
                </a:cubicBezTo>
                <a:lnTo>
                  <a:pt x="8663" y="281078"/>
                </a:lnTo>
                <a:cubicBezTo>
                  <a:pt x="8663" y="283234"/>
                  <a:pt x="6859" y="285391"/>
                  <a:pt x="4693" y="285391"/>
                </a:cubicBezTo>
                <a:cubicBezTo>
                  <a:pt x="2166" y="285391"/>
                  <a:pt x="0" y="283234"/>
                  <a:pt x="0" y="281078"/>
                </a:cubicBezTo>
                <a:lnTo>
                  <a:pt x="0" y="230756"/>
                </a:lnTo>
                <a:cubicBezTo>
                  <a:pt x="0" y="206674"/>
                  <a:pt x="17688" y="185468"/>
                  <a:pt x="42234" y="181154"/>
                </a:cubicBezTo>
                <a:lnTo>
                  <a:pt x="80498" y="174685"/>
                </a:lnTo>
                <a:cubicBezTo>
                  <a:pt x="90605" y="173247"/>
                  <a:pt x="99269" y="164980"/>
                  <a:pt x="101796" y="154916"/>
                </a:cubicBezTo>
                <a:lnTo>
                  <a:pt x="105044" y="142336"/>
                </a:lnTo>
                <a:cubicBezTo>
                  <a:pt x="85913" y="127239"/>
                  <a:pt x="73278" y="101001"/>
                  <a:pt x="73278" y="71887"/>
                </a:cubicBezTo>
                <a:cubicBezTo>
                  <a:pt x="73278" y="28754"/>
                  <a:pt x="101435" y="0"/>
                  <a:pt x="143308" y="0"/>
                </a:cubicBezTo>
                <a:close/>
              </a:path>
            </a:pathLst>
          </a:custGeom>
          <a:solidFill>
            <a:schemeClr val="bg1"/>
          </a:solidFill>
          <a:ln>
            <a:noFill/>
          </a:ln>
          <a:effectLst/>
        </p:spPr>
        <p:txBody>
          <a:bodyPr anchor="ctr"/>
          <a:lstStyle/>
          <a:p>
            <a:endParaRPr lang="en-US" sz="900" dirty="0"/>
          </a:p>
        </p:txBody>
      </p:sp>
      <p:sp>
        <p:nvSpPr>
          <p:cNvPr id="32" name="Freeform 1048">
            <a:extLst>
              <a:ext uri="{FF2B5EF4-FFF2-40B4-BE49-F238E27FC236}">
                <a16:creationId xmlns:a16="http://schemas.microsoft.com/office/drawing/2014/main" id="{2829E05D-F6C5-BD40-8719-46B7EDD463D5}"/>
              </a:ext>
            </a:extLst>
          </p:cNvPr>
          <p:cNvSpPr>
            <a:spLocks noChangeAspect="1" noChangeArrowheads="1"/>
          </p:cNvSpPr>
          <p:nvPr/>
        </p:nvSpPr>
        <p:spPr bwMode="auto">
          <a:xfrm>
            <a:off x="5837906" y="3652409"/>
            <a:ext cx="514156" cy="525842"/>
          </a:xfrm>
          <a:custGeom>
            <a:avLst/>
            <a:gdLst>
              <a:gd name="T0" fmla="*/ 232587 w 279041"/>
              <a:gd name="T1" fmla="*/ 257945 h 285396"/>
              <a:gd name="T2" fmla="*/ 227992 w 279041"/>
              <a:gd name="T3" fmla="*/ 286814 h 285396"/>
              <a:gd name="T4" fmla="*/ 223396 w 279041"/>
              <a:gd name="T5" fmla="*/ 257945 h 285396"/>
              <a:gd name="T6" fmla="*/ 53885 w 279041"/>
              <a:gd name="T7" fmla="*/ 253667 h 285396"/>
              <a:gd name="T8" fmla="*/ 58672 w 279041"/>
              <a:gd name="T9" fmla="*/ 282538 h 285396"/>
              <a:gd name="T10" fmla="*/ 49466 w 279041"/>
              <a:gd name="T11" fmla="*/ 282538 h 285396"/>
              <a:gd name="T12" fmla="*/ 53885 w 279041"/>
              <a:gd name="T13" fmla="*/ 253667 h 285396"/>
              <a:gd name="T14" fmla="*/ 110098 w 279041"/>
              <a:gd name="T15" fmla="*/ 180972 h 285396"/>
              <a:gd name="T16" fmla="*/ 140059 w 279041"/>
              <a:gd name="T17" fmla="*/ 247075 h 285396"/>
              <a:gd name="T18" fmla="*/ 170743 w 279041"/>
              <a:gd name="T19" fmla="*/ 180972 h 285396"/>
              <a:gd name="T20" fmla="*/ 140059 w 279041"/>
              <a:gd name="T21" fmla="*/ 188558 h 285396"/>
              <a:gd name="T22" fmla="*/ 169434 w 279041"/>
              <a:gd name="T23" fmla="*/ 78791 h 285396"/>
              <a:gd name="T24" fmla="*/ 84108 w 279041"/>
              <a:gd name="T25" fmla="*/ 89221 h 285396"/>
              <a:gd name="T26" fmla="*/ 140059 w 279041"/>
              <a:gd name="T27" fmla="*/ 180249 h 285396"/>
              <a:gd name="T28" fmla="*/ 196372 w 279041"/>
              <a:gd name="T29" fmla="*/ 87777 h 285396"/>
              <a:gd name="T30" fmla="*/ 140059 w 279041"/>
              <a:gd name="T31" fmla="*/ 9030 h 285396"/>
              <a:gd name="T32" fmla="*/ 63532 w 279041"/>
              <a:gd name="T33" fmla="*/ 201923 h 285396"/>
              <a:gd name="T34" fmla="*/ 102157 w 279041"/>
              <a:gd name="T35" fmla="*/ 178805 h 285396"/>
              <a:gd name="T36" fmla="*/ 72918 w 279041"/>
              <a:gd name="T37" fmla="*/ 107644 h 285396"/>
              <a:gd name="T38" fmla="*/ 80138 w 279041"/>
              <a:gd name="T39" fmla="*/ 78746 h 285396"/>
              <a:gd name="T40" fmla="*/ 137532 w 279041"/>
              <a:gd name="T41" fmla="*/ 79468 h 285396"/>
              <a:gd name="T42" fmla="*/ 204314 w 279041"/>
              <a:gd name="T43" fmla="*/ 83804 h 285396"/>
              <a:gd name="T44" fmla="*/ 177962 w 279041"/>
              <a:gd name="T45" fmla="*/ 175192 h 285396"/>
              <a:gd name="T46" fmla="*/ 199982 w 279041"/>
              <a:gd name="T47" fmla="*/ 199033 h 285396"/>
              <a:gd name="T48" fmla="*/ 237523 w 279041"/>
              <a:gd name="T49" fmla="*/ 120287 h 285396"/>
              <a:gd name="T50" fmla="*/ 140059 w 279041"/>
              <a:gd name="T51" fmla="*/ 0 h 285396"/>
              <a:gd name="T52" fmla="*/ 226333 w 279041"/>
              <a:gd name="T53" fmla="*/ 203368 h 285396"/>
              <a:gd name="T54" fmla="*/ 280479 w 279041"/>
              <a:gd name="T55" fmla="*/ 265136 h 285396"/>
              <a:gd name="T56" fmla="*/ 276148 w 279041"/>
              <a:gd name="T57" fmla="*/ 286809 h 285396"/>
              <a:gd name="T58" fmla="*/ 272177 w 279041"/>
              <a:gd name="T59" fmla="*/ 265136 h 285396"/>
              <a:gd name="T60" fmla="*/ 205757 w 279041"/>
              <a:gd name="T61" fmla="*/ 208786 h 285396"/>
              <a:gd name="T62" fmla="*/ 144392 w 279041"/>
              <a:gd name="T63" fmla="*/ 282476 h 285396"/>
              <a:gd name="T64" fmla="*/ 136089 w 279041"/>
              <a:gd name="T65" fmla="*/ 282476 h 285396"/>
              <a:gd name="T66" fmla="*/ 74723 w 279041"/>
              <a:gd name="T67" fmla="*/ 208786 h 285396"/>
              <a:gd name="T68" fmla="*/ 9026 w 279041"/>
              <a:gd name="T69" fmla="*/ 265136 h 285396"/>
              <a:gd name="T70" fmla="*/ 4334 w 279041"/>
              <a:gd name="T71" fmla="*/ 286809 h 285396"/>
              <a:gd name="T72" fmla="*/ 0 w 279041"/>
              <a:gd name="T73" fmla="*/ 265136 h 285396"/>
              <a:gd name="T74" fmla="*/ 54146 w 279041"/>
              <a:gd name="T75" fmla="*/ 203368 h 285396"/>
              <a:gd name="T76" fmla="*/ 140059 w 279041"/>
              <a:gd name="T77" fmla="*/ 0 h 285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9041" h="285396">
                <a:moveTo>
                  <a:pt x="226822" y="252413"/>
                </a:moveTo>
                <a:cubicBezTo>
                  <a:pt x="229489" y="252413"/>
                  <a:pt x="231394" y="254186"/>
                  <a:pt x="231394" y="256669"/>
                </a:cubicBezTo>
                <a:lnTo>
                  <a:pt x="231394" y="281140"/>
                </a:lnTo>
                <a:cubicBezTo>
                  <a:pt x="231394" y="283268"/>
                  <a:pt x="229489" y="285396"/>
                  <a:pt x="226822" y="285396"/>
                </a:cubicBezTo>
                <a:cubicBezTo>
                  <a:pt x="224155" y="285396"/>
                  <a:pt x="222250" y="283268"/>
                  <a:pt x="222250" y="281140"/>
                </a:cubicBezTo>
                <a:lnTo>
                  <a:pt x="222250" y="256669"/>
                </a:lnTo>
                <a:cubicBezTo>
                  <a:pt x="222250" y="254186"/>
                  <a:pt x="224155" y="252413"/>
                  <a:pt x="226822" y="252413"/>
                </a:cubicBezTo>
                <a:close/>
                <a:moveTo>
                  <a:pt x="53609" y="252413"/>
                </a:moveTo>
                <a:cubicBezTo>
                  <a:pt x="56174" y="252413"/>
                  <a:pt x="58372" y="254186"/>
                  <a:pt x="58372" y="256669"/>
                </a:cubicBezTo>
                <a:lnTo>
                  <a:pt x="58372" y="281140"/>
                </a:lnTo>
                <a:cubicBezTo>
                  <a:pt x="58372" y="283268"/>
                  <a:pt x="56174" y="285396"/>
                  <a:pt x="53609" y="285396"/>
                </a:cubicBezTo>
                <a:cubicBezTo>
                  <a:pt x="51045" y="285396"/>
                  <a:pt x="49213" y="283268"/>
                  <a:pt x="49213" y="281140"/>
                </a:cubicBezTo>
                <a:lnTo>
                  <a:pt x="49213" y="256669"/>
                </a:lnTo>
                <a:cubicBezTo>
                  <a:pt x="49213" y="254186"/>
                  <a:pt x="51045" y="252413"/>
                  <a:pt x="53609" y="252413"/>
                </a:cubicBezTo>
                <a:close/>
                <a:moveTo>
                  <a:pt x="110252" y="179358"/>
                </a:moveTo>
                <a:lnTo>
                  <a:pt x="109534" y="180077"/>
                </a:lnTo>
                <a:cubicBezTo>
                  <a:pt x="106301" y="193376"/>
                  <a:pt x="95887" y="203080"/>
                  <a:pt x="82958" y="205956"/>
                </a:cubicBezTo>
                <a:cubicBezTo>
                  <a:pt x="86909" y="223928"/>
                  <a:pt x="123539" y="240102"/>
                  <a:pt x="139341" y="245853"/>
                </a:cubicBezTo>
                <a:cubicBezTo>
                  <a:pt x="155502" y="240102"/>
                  <a:pt x="192133" y="223928"/>
                  <a:pt x="196801" y="205956"/>
                </a:cubicBezTo>
                <a:cubicBezTo>
                  <a:pt x="183514" y="203080"/>
                  <a:pt x="173099" y="193376"/>
                  <a:pt x="169867" y="180077"/>
                </a:cubicBezTo>
                <a:lnTo>
                  <a:pt x="169508" y="179358"/>
                </a:lnTo>
                <a:cubicBezTo>
                  <a:pt x="160529" y="185109"/>
                  <a:pt x="150474" y="187625"/>
                  <a:pt x="139341" y="187625"/>
                </a:cubicBezTo>
                <a:cubicBezTo>
                  <a:pt x="129285" y="187625"/>
                  <a:pt x="118512" y="185109"/>
                  <a:pt x="110252" y="179358"/>
                </a:cubicBezTo>
                <a:close/>
                <a:moveTo>
                  <a:pt x="168565" y="78402"/>
                </a:moveTo>
                <a:cubicBezTo>
                  <a:pt x="159721" y="78357"/>
                  <a:pt x="150833" y="81232"/>
                  <a:pt x="141496" y="86983"/>
                </a:cubicBezTo>
                <a:cubicBezTo>
                  <a:pt x="118871" y="100282"/>
                  <a:pt x="96246" y="95610"/>
                  <a:pt x="83676" y="88780"/>
                </a:cubicBezTo>
                <a:cubicBezTo>
                  <a:pt x="81881" y="94531"/>
                  <a:pt x="81163" y="100642"/>
                  <a:pt x="81163" y="107112"/>
                </a:cubicBezTo>
                <a:cubicBezTo>
                  <a:pt x="81163" y="146649"/>
                  <a:pt x="107738" y="179358"/>
                  <a:pt x="139341" y="179358"/>
                </a:cubicBezTo>
                <a:cubicBezTo>
                  <a:pt x="172021" y="179358"/>
                  <a:pt x="197879" y="146649"/>
                  <a:pt x="197879" y="107112"/>
                </a:cubicBezTo>
                <a:cubicBezTo>
                  <a:pt x="197879" y="99923"/>
                  <a:pt x="197160" y="93453"/>
                  <a:pt x="195365" y="87343"/>
                </a:cubicBezTo>
                <a:cubicBezTo>
                  <a:pt x="186207" y="81412"/>
                  <a:pt x="177408" y="78447"/>
                  <a:pt x="168565" y="78402"/>
                </a:cubicBezTo>
                <a:close/>
                <a:moveTo>
                  <a:pt x="139341" y="8986"/>
                </a:moveTo>
                <a:cubicBezTo>
                  <a:pt x="81163" y="8986"/>
                  <a:pt x="43095" y="52118"/>
                  <a:pt x="43095" y="119692"/>
                </a:cubicBezTo>
                <a:cubicBezTo>
                  <a:pt x="43095" y="152041"/>
                  <a:pt x="50996" y="184030"/>
                  <a:pt x="63206" y="200924"/>
                </a:cubicBezTo>
                <a:lnTo>
                  <a:pt x="80085" y="198048"/>
                </a:lnTo>
                <a:cubicBezTo>
                  <a:pt x="90141" y="195892"/>
                  <a:pt x="98760" y="188344"/>
                  <a:pt x="101633" y="177920"/>
                </a:cubicBezTo>
                <a:lnTo>
                  <a:pt x="102351" y="174326"/>
                </a:lnTo>
                <a:cubicBezTo>
                  <a:pt x="84395" y="159589"/>
                  <a:pt x="72544" y="135147"/>
                  <a:pt x="72544" y="107112"/>
                </a:cubicBezTo>
                <a:cubicBezTo>
                  <a:pt x="72544" y="97766"/>
                  <a:pt x="74339" y="88780"/>
                  <a:pt x="76853" y="80873"/>
                </a:cubicBezTo>
                <a:cubicBezTo>
                  <a:pt x="77212" y="80154"/>
                  <a:pt x="78290" y="78716"/>
                  <a:pt x="79726" y="78357"/>
                </a:cubicBezTo>
                <a:cubicBezTo>
                  <a:pt x="80803" y="77997"/>
                  <a:pt x="82599" y="78357"/>
                  <a:pt x="83317" y="78716"/>
                </a:cubicBezTo>
                <a:cubicBezTo>
                  <a:pt x="92296" y="84827"/>
                  <a:pt x="114920" y="92734"/>
                  <a:pt x="136827" y="79076"/>
                </a:cubicBezTo>
                <a:cubicBezTo>
                  <a:pt x="158734" y="66136"/>
                  <a:pt x="179922" y="66496"/>
                  <a:pt x="200752" y="80873"/>
                </a:cubicBezTo>
                <a:cubicBezTo>
                  <a:pt x="201829" y="81232"/>
                  <a:pt x="202906" y="81951"/>
                  <a:pt x="203265" y="83389"/>
                </a:cubicBezTo>
                <a:cubicBezTo>
                  <a:pt x="205420" y="90937"/>
                  <a:pt x="206857" y="98845"/>
                  <a:pt x="206857" y="107112"/>
                </a:cubicBezTo>
                <a:cubicBezTo>
                  <a:pt x="206857" y="135147"/>
                  <a:pt x="194646" y="159589"/>
                  <a:pt x="177049" y="174326"/>
                </a:cubicBezTo>
                <a:lnTo>
                  <a:pt x="178127" y="177920"/>
                </a:lnTo>
                <a:cubicBezTo>
                  <a:pt x="180281" y="188344"/>
                  <a:pt x="188541" y="195892"/>
                  <a:pt x="198956" y="198048"/>
                </a:cubicBezTo>
                <a:lnTo>
                  <a:pt x="216194" y="200924"/>
                </a:lnTo>
                <a:cubicBezTo>
                  <a:pt x="228404" y="184030"/>
                  <a:pt x="236305" y="152041"/>
                  <a:pt x="236305" y="119692"/>
                </a:cubicBezTo>
                <a:cubicBezTo>
                  <a:pt x="236305" y="52118"/>
                  <a:pt x="198238" y="8986"/>
                  <a:pt x="139341" y="8986"/>
                </a:cubicBezTo>
                <a:close/>
                <a:moveTo>
                  <a:pt x="139341" y="0"/>
                </a:moveTo>
                <a:cubicBezTo>
                  <a:pt x="203625" y="0"/>
                  <a:pt x="244924" y="46727"/>
                  <a:pt x="244924" y="119692"/>
                </a:cubicBezTo>
                <a:cubicBezTo>
                  <a:pt x="244924" y="152400"/>
                  <a:pt x="237382" y="183312"/>
                  <a:pt x="225172" y="202362"/>
                </a:cubicBezTo>
                <a:lnTo>
                  <a:pt x="228045" y="202721"/>
                </a:lnTo>
                <a:cubicBezTo>
                  <a:pt x="257493" y="207753"/>
                  <a:pt x="279041" y="233632"/>
                  <a:pt x="279041" y="263825"/>
                </a:cubicBezTo>
                <a:lnTo>
                  <a:pt x="279041" y="281078"/>
                </a:lnTo>
                <a:cubicBezTo>
                  <a:pt x="279041" y="283234"/>
                  <a:pt x="277605" y="285391"/>
                  <a:pt x="274732" y="285391"/>
                </a:cubicBezTo>
                <a:cubicBezTo>
                  <a:pt x="272577" y="285391"/>
                  <a:pt x="270781" y="283234"/>
                  <a:pt x="270781" y="281078"/>
                </a:cubicBezTo>
                <a:lnTo>
                  <a:pt x="270781" y="263825"/>
                </a:lnTo>
                <a:cubicBezTo>
                  <a:pt x="270781" y="237946"/>
                  <a:pt x="251747" y="216020"/>
                  <a:pt x="226249" y="211347"/>
                </a:cubicBezTo>
                <a:lnTo>
                  <a:pt x="204702" y="207753"/>
                </a:lnTo>
                <a:cubicBezTo>
                  <a:pt x="199315" y="231835"/>
                  <a:pt x="156579" y="248729"/>
                  <a:pt x="143651" y="253401"/>
                </a:cubicBezTo>
                <a:lnTo>
                  <a:pt x="143651" y="281078"/>
                </a:lnTo>
                <a:cubicBezTo>
                  <a:pt x="143651" y="283234"/>
                  <a:pt x="141855" y="285391"/>
                  <a:pt x="139341" y="285391"/>
                </a:cubicBezTo>
                <a:cubicBezTo>
                  <a:pt x="137186" y="285391"/>
                  <a:pt x="135391" y="283234"/>
                  <a:pt x="135391" y="281078"/>
                </a:cubicBezTo>
                <a:lnTo>
                  <a:pt x="135391" y="253401"/>
                </a:lnTo>
                <a:cubicBezTo>
                  <a:pt x="122821" y="248729"/>
                  <a:pt x="79726" y="231835"/>
                  <a:pt x="74339" y="207753"/>
                </a:cubicBezTo>
                <a:lnTo>
                  <a:pt x="52792" y="211347"/>
                </a:lnTo>
                <a:cubicBezTo>
                  <a:pt x="27294" y="216020"/>
                  <a:pt x="8978" y="237946"/>
                  <a:pt x="8978" y="263825"/>
                </a:cubicBezTo>
                <a:lnTo>
                  <a:pt x="8978" y="281078"/>
                </a:lnTo>
                <a:cubicBezTo>
                  <a:pt x="8978" y="283234"/>
                  <a:pt x="6464" y="285391"/>
                  <a:pt x="4310" y="285391"/>
                </a:cubicBezTo>
                <a:cubicBezTo>
                  <a:pt x="2155" y="285391"/>
                  <a:pt x="0" y="283234"/>
                  <a:pt x="0" y="281078"/>
                </a:cubicBezTo>
                <a:lnTo>
                  <a:pt x="0" y="263825"/>
                </a:lnTo>
                <a:cubicBezTo>
                  <a:pt x="0" y="233632"/>
                  <a:pt x="21907" y="207753"/>
                  <a:pt x="51714" y="202721"/>
                </a:cubicBezTo>
                <a:lnTo>
                  <a:pt x="53869" y="202362"/>
                </a:lnTo>
                <a:cubicBezTo>
                  <a:pt x="41659" y="183312"/>
                  <a:pt x="34476" y="152400"/>
                  <a:pt x="34476" y="119692"/>
                </a:cubicBezTo>
                <a:cubicBezTo>
                  <a:pt x="34476" y="47805"/>
                  <a:pt x="76853" y="0"/>
                  <a:pt x="139341" y="0"/>
                </a:cubicBezTo>
                <a:close/>
              </a:path>
            </a:pathLst>
          </a:custGeom>
          <a:solidFill>
            <a:schemeClr val="bg1"/>
          </a:solidFill>
          <a:ln>
            <a:noFill/>
          </a:ln>
          <a:effectLst/>
        </p:spPr>
        <p:txBody>
          <a:bodyPr anchor="ctr"/>
          <a:lstStyle/>
          <a:p>
            <a:endParaRPr lang="en-US" sz="900" dirty="0"/>
          </a:p>
        </p:txBody>
      </p:sp>
      <p:sp>
        <p:nvSpPr>
          <p:cNvPr id="33" name="Freeform 1047">
            <a:extLst>
              <a:ext uri="{FF2B5EF4-FFF2-40B4-BE49-F238E27FC236}">
                <a16:creationId xmlns:a16="http://schemas.microsoft.com/office/drawing/2014/main" id="{75B1CFBF-D2B5-434D-BF10-1723B0E141E3}"/>
              </a:ext>
            </a:extLst>
          </p:cNvPr>
          <p:cNvSpPr>
            <a:spLocks noChangeAspect="1" noChangeArrowheads="1"/>
          </p:cNvSpPr>
          <p:nvPr/>
        </p:nvSpPr>
        <p:spPr bwMode="auto">
          <a:xfrm>
            <a:off x="6402342" y="3652409"/>
            <a:ext cx="528762" cy="525842"/>
          </a:xfrm>
          <a:custGeom>
            <a:avLst/>
            <a:gdLst>
              <a:gd name="T0" fmla="*/ 229384 w 286977"/>
              <a:gd name="T1" fmla="*/ 251968 h 285393"/>
              <a:gd name="T2" fmla="*/ 224597 w 286977"/>
              <a:gd name="T3" fmla="*/ 286823 h 285393"/>
              <a:gd name="T4" fmla="*/ 220180 w 286977"/>
              <a:gd name="T5" fmla="*/ 251968 h 285393"/>
              <a:gd name="T6" fmla="*/ 63245 w 286977"/>
              <a:gd name="T7" fmla="*/ 247297 h 285393"/>
              <a:gd name="T8" fmla="*/ 68224 w 286977"/>
              <a:gd name="T9" fmla="*/ 282512 h 285393"/>
              <a:gd name="T10" fmla="*/ 59034 w 286977"/>
              <a:gd name="T11" fmla="*/ 282512 h 285393"/>
              <a:gd name="T12" fmla="*/ 63245 w 286977"/>
              <a:gd name="T13" fmla="*/ 247297 h 285393"/>
              <a:gd name="T14" fmla="*/ 151287 w 286977"/>
              <a:gd name="T15" fmla="*/ 193983 h 285393"/>
              <a:gd name="T16" fmla="*/ 200264 w 286977"/>
              <a:gd name="T17" fmla="*/ 182424 h 285393"/>
              <a:gd name="T18" fmla="*/ 103397 w 286977"/>
              <a:gd name="T19" fmla="*/ 171948 h 285393"/>
              <a:gd name="T20" fmla="*/ 111015 w 286977"/>
              <a:gd name="T21" fmla="*/ 217103 h 285393"/>
              <a:gd name="T22" fmla="*/ 103397 w 286977"/>
              <a:gd name="T23" fmla="*/ 171948 h 285393"/>
              <a:gd name="T24" fmla="*/ 111015 w 286977"/>
              <a:gd name="T25" fmla="*/ 158221 h 285393"/>
              <a:gd name="T26" fmla="*/ 144030 w 286977"/>
              <a:gd name="T27" fmla="*/ 188204 h 285393"/>
              <a:gd name="T28" fmla="*/ 177045 w 286977"/>
              <a:gd name="T29" fmla="*/ 158221 h 285393"/>
              <a:gd name="T30" fmla="*/ 144030 w 286977"/>
              <a:gd name="T31" fmla="*/ 156776 h 285393"/>
              <a:gd name="T32" fmla="*/ 167250 w 286977"/>
              <a:gd name="T33" fmla="*/ 38651 h 285393"/>
              <a:gd name="T34" fmla="*/ 164347 w 286977"/>
              <a:gd name="T35" fmla="*/ 52741 h 285393"/>
              <a:gd name="T36" fmla="*/ 87071 w 286977"/>
              <a:gd name="T37" fmla="*/ 44794 h 285393"/>
              <a:gd name="T38" fmla="*/ 144030 w 286977"/>
              <a:gd name="T39" fmla="*/ 148107 h 285393"/>
              <a:gd name="T40" fmla="*/ 198450 w 286977"/>
              <a:gd name="T41" fmla="*/ 39015 h 285393"/>
              <a:gd name="T42" fmla="*/ 179585 w 286977"/>
              <a:gd name="T43" fmla="*/ 46239 h 285393"/>
              <a:gd name="T44" fmla="*/ 144030 w 286977"/>
              <a:gd name="T45" fmla="*/ 9030 h 285393"/>
              <a:gd name="T46" fmla="*/ 158542 w 286977"/>
              <a:gd name="T47" fmla="*/ 45153 h 285393"/>
              <a:gd name="T48" fmla="*/ 160719 w 286977"/>
              <a:gd name="T49" fmla="*/ 27093 h 285393"/>
              <a:gd name="T50" fmla="*/ 182487 w 286977"/>
              <a:gd name="T51" fmla="*/ 37569 h 285393"/>
              <a:gd name="T52" fmla="*/ 144030 w 286977"/>
              <a:gd name="T53" fmla="*/ 9030 h 285393"/>
              <a:gd name="T54" fmla="*/ 214776 w 286977"/>
              <a:gd name="T55" fmla="*/ 72247 h 285393"/>
              <a:gd name="T56" fmla="*/ 185751 w 286977"/>
              <a:gd name="T57" fmla="*/ 155693 h 285393"/>
              <a:gd name="T58" fmla="*/ 245977 w 286977"/>
              <a:gd name="T59" fmla="*/ 182062 h 285393"/>
              <a:gd name="T60" fmla="*/ 288423 w 286977"/>
              <a:gd name="T61" fmla="*/ 282487 h 285393"/>
              <a:gd name="T62" fmla="*/ 279355 w 286977"/>
              <a:gd name="T63" fmla="*/ 282487 h 285393"/>
              <a:gd name="T64" fmla="*/ 244163 w 286977"/>
              <a:gd name="T65" fmla="*/ 190732 h 285393"/>
              <a:gd name="T66" fmla="*/ 181399 w 286977"/>
              <a:gd name="T67" fmla="*/ 225772 h 285393"/>
              <a:gd name="T68" fmla="*/ 178134 w 286977"/>
              <a:gd name="T69" fmla="*/ 227578 h 285393"/>
              <a:gd name="T70" fmla="*/ 148384 w 286977"/>
              <a:gd name="T71" fmla="*/ 203015 h 285393"/>
              <a:gd name="T72" fmla="*/ 144030 w 286977"/>
              <a:gd name="T73" fmla="*/ 286821 h 285393"/>
              <a:gd name="T74" fmla="*/ 139676 w 286977"/>
              <a:gd name="T75" fmla="*/ 203015 h 285393"/>
              <a:gd name="T76" fmla="*/ 109928 w 286977"/>
              <a:gd name="T77" fmla="*/ 227578 h 285393"/>
              <a:gd name="T78" fmla="*/ 106299 w 286977"/>
              <a:gd name="T79" fmla="*/ 225772 h 285393"/>
              <a:gd name="T80" fmla="*/ 43898 w 286977"/>
              <a:gd name="T81" fmla="*/ 190732 h 285393"/>
              <a:gd name="T82" fmla="*/ 8707 w 286977"/>
              <a:gd name="T83" fmla="*/ 282487 h 285393"/>
              <a:gd name="T84" fmla="*/ 0 w 286977"/>
              <a:gd name="T85" fmla="*/ 282487 h 285393"/>
              <a:gd name="T86" fmla="*/ 42446 w 286977"/>
              <a:gd name="T87" fmla="*/ 182062 h 285393"/>
              <a:gd name="T88" fmla="*/ 102309 w 286977"/>
              <a:gd name="T89" fmla="*/ 155693 h 285393"/>
              <a:gd name="T90" fmla="*/ 73647 w 286977"/>
              <a:gd name="T91" fmla="*/ 72247 h 2853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6977" h="285393">
                <a:moveTo>
                  <a:pt x="223471" y="246063"/>
                </a:moveTo>
                <a:cubicBezTo>
                  <a:pt x="226036" y="246063"/>
                  <a:pt x="228234" y="248208"/>
                  <a:pt x="228234" y="250711"/>
                </a:cubicBezTo>
                <a:lnTo>
                  <a:pt x="228234" y="281102"/>
                </a:lnTo>
                <a:cubicBezTo>
                  <a:pt x="228234" y="283247"/>
                  <a:pt x="226036" y="285393"/>
                  <a:pt x="223471" y="285393"/>
                </a:cubicBezTo>
                <a:cubicBezTo>
                  <a:pt x="221273" y="285393"/>
                  <a:pt x="219075" y="283247"/>
                  <a:pt x="219075" y="281102"/>
                </a:cubicBezTo>
                <a:lnTo>
                  <a:pt x="219075" y="250711"/>
                </a:lnTo>
                <a:cubicBezTo>
                  <a:pt x="219075" y="248208"/>
                  <a:pt x="221273" y="246063"/>
                  <a:pt x="223471" y="246063"/>
                </a:cubicBezTo>
                <a:close/>
                <a:moveTo>
                  <a:pt x="62929" y="246063"/>
                </a:moveTo>
                <a:cubicBezTo>
                  <a:pt x="65596" y="246063"/>
                  <a:pt x="67882" y="248208"/>
                  <a:pt x="67882" y="250711"/>
                </a:cubicBezTo>
                <a:lnTo>
                  <a:pt x="67882" y="281102"/>
                </a:lnTo>
                <a:cubicBezTo>
                  <a:pt x="67882" y="283247"/>
                  <a:pt x="65596" y="285393"/>
                  <a:pt x="62929" y="285393"/>
                </a:cubicBezTo>
                <a:cubicBezTo>
                  <a:pt x="61024" y="285393"/>
                  <a:pt x="58738" y="283247"/>
                  <a:pt x="58738" y="281102"/>
                </a:cubicBezTo>
                <a:lnTo>
                  <a:pt x="58738" y="250711"/>
                </a:lnTo>
                <a:cubicBezTo>
                  <a:pt x="58738" y="248208"/>
                  <a:pt x="61024" y="246063"/>
                  <a:pt x="62929" y="246063"/>
                </a:cubicBezTo>
                <a:close/>
                <a:moveTo>
                  <a:pt x="183376" y="171090"/>
                </a:moveTo>
                <a:lnTo>
                  <a:pt x="150528" y="193016"/>
                </a:lnTo>
                <a:lnTo>
                  <a:pt x="176518" y="216020"/>
                </a:lnTo>
                <a:lnTo>
                  <a:pt x="199259" y="181514"/>
                </a:lnTo>
                <a:cubicBezTo>
                  <a:pt x="193123" y="180076"/>
                  <a:pt x="188069" y="176122"/>
                  <a:pt x="183376" y="171090"/>
                </a:cubicBezTo>
                <a:close/>
                <a:moveTo>
                  <a:pt x="102878" y="171090"/>
                </a:moveTo>
                <a:cubicBezTo>
                  <a:pt x="98908" y="176122"/>
                  <a:pt x="93132" y="180076"/>
                  <a:pt x="86995" y="181514"/>
                </a:cubicBezTo>
                <a:lnTo>
                  <a:pt x="110459" y="216020"/>
                </a:lnTo>
                <a:lnTo>
                  <a:pt x="136088" y="193016"/>
                </a:lnTo>
                <a:lnTo>
                  <a:pt x="102878" y="171090"/>
                </a:lnTo>
                <a:close/>
                <a:moveTo>
                  <a:pt x="112986" y="147368"/>
                </a:moveTo>
                <a:lnTo>
                  <a:pt x="110459" y="157432"/>
                </a:lnTo>
                <a:cubicBezTo>
                  <a:pt x="110098" y="159588"/>
                  <a:pt x="108654" y="161745"/>
                  <a:pt x="107932" y="163902"/>
                </a:cubicBezTo>
                <a:lnTo>
                  <a:pt x="143308" y="187265"/>
                </a:lnTo>
                <a:lnTo>
                  <a:pt x="179045" y="163902"/>
                </a:lnTo>
                <a:cubicBezTo>
                  <a:pt x="177601" y="161745"/>
                  <a:pt x="176879" y="159588"/>
                  <a:pt x="176157" y="157432"/>
                </a:cubicBezTo>
                <a:lnTo>
                  <a:pt x="173630" y="147368"/>
                </a:lnTo>
                <a:cubicBezTo>
                  <a:pt x="164245" y="152759"/>
                  <a:pt x="154137" y="155994"/>
                  <a:pt x="143308" y="155994"/>
                </a:cubicBezTo>
                <a:cubicBezTo>
                  <a:pt x="132479" y="155994"/>
                  <a:pt x="122371" y="152759"/>
                  <a:pt x="112986" y="147368"/>
                </a:cubicBezTo>
                <a:close/>
                <a:moveTo>
                  <a:pt x="166411" y="38459"/>
                </a:moveTo>
                <a:lnTo>
                  <a:pt x="166411" y="48164"/>
                </a:lnTo>
                <a:cubicBezTo>
                  <a:pt x="166411" y="50321"/>
                  <a:pt x="164967" y="52118"/>
                  <a:pt x="163523" y="52477"/>
                </a:cubicBezTo>
                <a:cubicBezTo>
                  <a:pt x="151249" y="56071"/>
                  <a:pt x="140420" y="57509"/>
                  <a:pt x="130674" y="57509"/>
                </a:cubicBezTo>
                <a:cubicBezTo>
                  <a:pt x="108654" y="57509"/>
                  <a:pt x="93493" y="49961"/>
                  <a:pt x="86635" y="44570"/>
                </a:cubicBezTo>
                <a:cubicBezTo>
                  <a:pt x="83386" y="52837"/>
                  <a:pt x="81942" y="61822"/>
                  <a:pt x="81942" y="71887"/>
                </a:cubicBezTo>
                <a:cubicBezTo>
                  <a:pt x="81942" y="113221"/>
                  <a:pt x="109376" y="147368"/>
                  <a:pt x="143308" y="147368"/>
                </a:cubicBezTo>
                <a:cubicBezTo>
                  <a:pt x="177240" y="147368"/>
                  <a:pt x="205035" y="113221"/>
                  <a:pt x="205035" y="71887"/>
                </a:cubicBezTo>
                <a:cubicBezTo>
                  <a:pt x="205035" y="59306"/>
                  <a:pt x="202147" y="48164"/>
                  <a:pt x="197455" y="38819"/>
                </a:cubicBezTo>
                <a:cubicBezTo>
                  <a:pt x="191318" y="43132"/>
                  <a:pt x="182654" y="46007"/>
                  <a:pt x="182294" y="46367"/>
                </a:cubicBezTo>
                <a:cubicBezTo>
                  <a:pt x="180850" y="46726"/>
                  <a:pt x="179767" y="46367"/>
                  <a:pt x="178684" y="46007"/>
                </a:cubicBezTo>
                <a:lnTo>
                  <a:pt x="166411" y="38459"/>
                </a:lnTo>
                <a:close/>
                <a:moveTo>
                  <a:pt x="143308" y="8986"/>
                </a:moveTo>
                <a:cubicBezTo>
                  <a:pt x="118761" y="8986"/>
                  <a:pt x="100713" y="19050"/>
                  <a:pt x="89883" y="37021"/>
                </a:cubicBezTo>
                <a:cubicBezTo>
                  <a:pt x="97825" y="42054"/>
                  <a:pt x="120927" y="55712"/>
                  <a:pt x="157747" y="44929"/>
                </a:cubicBezTo>
                <a:lnTo>
                  <a:pt x="157747" y="30911"/>
                </a:lnTo>
                <a:cubicBezTo>
                  <a:pt x="157747" y="29114"/>
                  <a:pt x="158469" y="27676"/>
                  <a:pt x="159913" y="26957"/>
                </a:cubicBezTo>
                <a:cubicBezTo>
                  <a:pt x="161357" y="26238"/>
                  <a:pt x="163162" y="26238"/>
                  <a:pt x="164245" y="26957"/>
                </a:cubicBezTo>
                <a:lnTo>
                  <a:pt x="181572" y="37381"/>
                </a:lnTo>
                <a:cubicBezTo>
                  <a:pt x="184459" y="35943"/>
                  <a:pt x="189152" y="34146"/>
                  <a:pt x="192762" y="31630"/>
                </a:cubicBezTo>
                <a:cubicBezTo>
                  <a:pt x="182654" y="16893"/>
                  <a:pt x="164967" y="8986"/>
                  <a:pt x="143308" y="8986"/>
                </a:cubicBezTo>
                <a:close/>
                <a:moveTo>
                  <a:pt x="143308" y="0"/>
                </a:moveTo>
                <a:cubicBezTo>
                  <a:pt x="185542" y="0"/>
                  <a:pt x="213699" y="28754"/>
                  <a:pt x="213699" y="71887"/>
                </a:cubicBezTo>
                <a:cubicBezTo>
                  <a:pt x="213699" y="101001"/>
                  <a:pt x="200703" y="127239"/>
                  <a:pt x="181572" y="142336"/>
                </a:cubicBezTo>
                <a:lnTo>
                  <a:pt x="184820" y="154916"/>
                </a:lnTo>
                <a:cubicBezTo>
                  <a:pt x="186986" y="164980"/>
                  <a:pt x="195650" y="173247"/>
                  <a:pt x="206118" y="174685"/>
                </a:cubicBezTo>
                <a:lnTo>
                  <a:pt x="244743" y="181154"/>
                </a:lnTo>
                <a:cubicBezTo>
                  <a:pt x="268928" y="185468"/>
                  <a:pt x="286977" y="206674"/>
                  <a:pt x="286977" y="230756"/>
                </a:cubicBezTo>
                <a:lnTo>
                  <a:pt x="286977" y="281078"/>
                </a:lnTo>
                <a:cubicBezTo>
                  <a:pt x="286977" y="283234"/>
                  <a:pt x="284811" y="285391"/>
                  <a:pt x="282284" y="285391"/>
                </a:cubicBezTo>
                <a:cubicBezTo>
                  <a:pt x="279758" y="285391"/>
                  <a:pt x="277953" y="283234"/>
                  <a:pt x="277953" y="281078"/>
                </a:cubicBezTo>
                <a:lnTo>
                  <a:pt x="277953" y="230756"/>
                </a:lnTo>
                <a:cubicBezTo>
                  <a:pt x="277953" y="210628"/>
                  <a:pt x="263153" y="193375"/>
                  <a:pt x="242938" y="189781"/>
                </a:cubicBezTo>
                <a:lnTo>
                  <a:pt x="208645" y="184030"/>
                </a:lnTo>
                <a:lnTo>
                  <a:pt x="180489" y="224646"/>
                </a:lnTo>
                <a:cubicBezTo>
                  <a:pt x="180128" y="225724"/>
                  <a:pt x="179045" y="226443"/>
                  <a:pt x="177601" y="226443"/>
                </a:cubicBezTo>
                <a:cubicBezTo>
                  <a:pt x="177240" y="226443"/>
                  <a:pt x="177240" y="226443"/>
                  <a:pt x="177240" y="226443"/>
                </a:cubicBezTo>
                <a:cubicBezTo>
                  <a:pt x="176157" y="226443"/>
                  <a:pt x="175435" y="226443"/>
                  <a:pt x="174352" y="225724"/>
                </a:cubicBezTo>
                <a:lnTo>
                  <a:pt x="147640" y="202002"/>
                </a:lnTo>
                <a:lnTo>
                  <a:pt x="147640" y="281078"/>
                </a:lnTo>
                <a:cubicBezTo>
                  <a:pt x="147640" y="283234"/>
                  <a:pt x="145835" y="285391"/>
                  <a:pt x="143308" y="285391"/>
                </a:cubicBezTo>
                <a:cubicBezTo>
                  <a:pt x="141142" y="285391"/>
                  <a:pt x="138976" y="283234"/>
                  <a:pt x="138976" y="281078"/>
                </a:cubicBezTo>
                <a:lnTo>
                  <a:pt x="138976" y="202002"/>
                </a:lnTo>
                <a:lnTo>
                  <a:pt x="112264" y="225724"/>
                </a:lnTo>
                <a:cubicBezTo>
                  <a:pt x="111542" y="226443"/>
                  <a:pt x="110459" y="226443"/>
                  <a:pt x="109376" y="226443"/>
                </a:cubicBezTo>
                <a:cubicBezTo>
                  <a:pt x="109015" y="226443"/>
                  <a:pt x="109015" y="226443"/>
                  <a:pt x="108654" y="226443"/>
                </a:cubicBezTo>
                <a:cubicBezTo>
                  <a:pt x="107571" y="226443"/>
                  <a:pt x="106127" y="225724"/>
                  <a:pt x="105766" y="224646"/>
                </a:cubicBezTo>
                <a:lnTo>
                  <a:pt x="77610" y="184030"/>
                </a:lnTo>
                <a:lnTo>
                  <a:pt x="43678" y="189781"/>
                </a:lnTo>
                <a:cubicBezTo>
                  <a:pt x="23463" y="193375"/>
                  <a:pt x="8663" y="210628"/>
                  <a:pt x="8663" y="230756"/>
                </a:cubicBezTo>
                <a:lnTo>
                  <a:pt x="8663" y="281078"/>
                </a:lnTo>
                <a:cubicBezTo>
                  <a:pt x="8663" y="283234"/>
                  <a:pt x="6859" y="285391"/>
                  <a:pt x="4693" y="285391"/>
                </a:cubicBezTo>
                <a:cubicBezTo>
                  <a:pt x="2166" y="285391"/>
                  <a:pt x="0" y="283234"/>
                  <a:pt x="0" y="281078"/>
                </a:cubicBezTo>
                <a:lnTo>
                  <a:pt x="0" y="230756"/>
                </a:lnTo>
                <a:cubicBezTo>
                  <a:pt x="0" y="206674"/>
                  <a:pt x="17688" y="185468"/>
                  <a:pt x="42234" y="181154"/>
                </a:cubicBezTo>
                <a:lnTo>
                  <a:pt x="80498" y="174685"/>
                </a:lnTo>
                <a:cubicBezTo>
                  <a:pt x="90605" y="173247"/>
                  <a:pt x="99269" y="164980"/>
                  <a:pt x="101796" y="154916"/>
                </a:cubicBezTo>
                <a:lnTo>
                  <a:pt x="105044" y="142336"/>
                </a:lnTo>
                <a:cubicBezTo>
                  <a:pt x="85913" y="127239"/>
                  <a:pt x="73278" y="101001"/>
                  <a:pt x="73278" y="71887"/>
                </a:cubicBezTo>
                <a:cubicBezTo>
                  <a:pt x="73278" y="28754"/>
                  <a:pt x="101435" y="0"/>
                  <a:pt x="143308" y="0"/>
                </a:cubicBezTo>
                <a:close/>
              </a:path>
            </a:pathLst>
          </a:custGeom>
          <a:solidFill>
            <a:schemeClr val="bg1"/>
          </a:solidFill>
          <a:ln>
            <a:noFill/>
          </a:ln>
          <a:effectLst/>
        </p:spPr>
        <p:txBody>
          <a:bodyPr anchor="ctr"/>
          <a:lstStyle/>
          <a:p>
            <a:endParaRPr lang="en-US" sz="900" dirty="0"/>
          </a:p>
        </p:txBody>
      </p:sp>
      <p:sp>
        <p:nvSpPr>
          <p:cNvPr id="35" name="Freeform 1047">
            <a:extLst>
              <a:ext uri="{FF2B5EF4-FFF2-40B4-BE49-F238E27FC236}">
                <a16:creationId xmlns:a16="http://schemas.microsoft.com/office/drawing/2014/main" id="{A37B3900-7095-FE44-A483-B49F8FAEA8AE}"/>
              </a:ext>
            </a:extLst>
          </p:cNvPr>
          <p:cNvSpPr>
            <a:spLocks noChangeAspect="1" noChangeArrowheads="1"/>
          </p:cNvSpPr>
          <p:nvPr/>
        </p:nvSpPr>
        <p:spPr bwMode="auto">
          <a:xfrm>
            <a:off x="5540949" y="4658775"/>
            <a:ext cx="528762" cy="525842"/>
          </a:xfrm>
          <a:custGeom>
            <a:avLst/>
            <a:gdLst>
              <a:gd name="T0" fmla="*/ 229384 w 286977"/>
              <a:gd name="T1" fmla="*/ 251968 h 285393"/>
              <a:gd name="T2" fmla="*/ 224597 w 286977"/>
              <a:gd name="T3" fmla="*/ 286823 h 285393"/>
              <a:gd name="T4" fmla="*/ 220180 w 286977"/>
              <a:gd name="T5" fmla="*/ 251968 h 285393"/>
              <a:gd name="T6" fmla="*/ 63245 w 286977"/>
              <a:gd name="T7" fmla="*/ 247297 h 285393"/>
              <a:gd name="T8" fmla="*/ 68224 w 286977"/>
              <a:gd name="T9" fmla="*/ 282512 h 285393"/>
              <a:gd name="T10" fmla="*/ 59034 w 286977"/>
              <a:gd name="T11" fmla="*/ 282512 h 285393"/>
              <a:gd name="T12" fmla="*/ 63245 w 286977"/>
              <a:gd name="T13" fmla="*/ 247297 h 285393"/>
              <a:gd name="T14" fmla="*/ 151287 w 286977"/>
              <a:gd name="T15" fmla="*/ 193983 h 285393"/>
              <a:gd name="T16" fmla="*/ 200264 w 286977"/>
              <a:gd name="T17" fmla="*/ 182424 h 285393"/>
              <a:gd name="T18" fmla="*/ 103397 w 286977"/>
              <a:gd name="T19" fmla="*/ 171948 h 285393"/>
              <a:gd name="T20" fmla="*/ 111015 w 286977"/>
              <a:gd name="T21" fmla="*/ 217103 h 285393"/>
              <a:gd name="T22" fmla="*/ 103397 w 286977"/>
              <a:gd name="T23" fmla="*/ 171948 h 285393"/>
              <a:gd name="T24" fmla="*/ 111015 w 286977"/>
              <a:gd name="T25" fmla="*/ 158221 h 285393"/>
              <a:gd name="T26" fmla="*/ 144030 w 286977"/>
              <a:gd name="T27" fmla="*/ 188204 h 285393"/>
              <a:gd name="T28" fmla="*/ 177045 w 286977"/>
              <a:gd name="T29" fmla="*/ 158221 h 285393"/>
              <a:gd name="T30" fmla="*/ 144030 w 286977"/>
              <a:gd name="T31" fmla="*/ 156776 h 285393"/>
              <a:gd name="T32" fmla="*/ 167250 w 286977"/>
              <a:gd name="T33" fmla="*/ 38651 h 285393"/>
              <a:gd name="T34" fmla="*/ 164347 w 286977"/>
              <a:gd name="T35" fmla="*/ 52741 h 285393"/>
              <a:gd name="T36" fmla="*/ 87071 w 286977"/>
              <a:gd name="T37" fmla="*/ 44794 h 285393"/>
              <a:gd name="T38" fmla="*/ 144030 w 286977"/>
              <a:gd name="T39" fmla="*/ 148107 h 285393"/>
              <a:gd name="T40" fmla="*/ 198450 w 286977"/>
              <a:gd name="T41" fmla="*/ 39015 h 285393"/>
              <a:gd name="T42" fmla="*/ 179585 w 286977"/>
              <a:gd name="T43" fmla="*/ 46239 h 285393"/>
              <a:gd name="T44" fmla="*/ 144030 w 286977"/>
              <a:gd name="T45" fmla="*/ 9030 h 285393"/>
              <a:gd name="T46" fmla="*/ 158542 w 286977"/>
              <a:gd name="T47" fmla="*/ 45153 h 285393"/>
              <a:gd name="T48" fmla="*/ 160719 w 286977"/>
              <a:gd name="T49" fmla="*/ 27093 h 285393"/>
              <a:gd name="T50" fmla="*/ 182487 w 286977"/>
              <a:gd name="T51" fmla="*/ 37569 h 285393"/>
              <a:gd name="T52" fmla="*/ 144030 w 286977"/>
              <a:gd name="T53" fmla="*/ 9030 h 285393"/>
              <a:gd name="T54" fmla="*/ 214776 w 286977"/>
              <a:gd name="T55" fmla="*/ 72247 h 285393"/>
              <a:gd name="T56" fmla="*/ 185751 w 286977"/>
              <a:gd name="T57" fmla="*/ 155693 h 285393"/>
              <a:gd name="T58" fmla="*/ 245977 w 286977"/>
              <a:gd name="T59" fmla="*/ 182062 h 285393"/>
              <a:gd name="T60" fmla="*/ 288423 w 286977"/>
              <a:gd name="T61" fmla="*/ 282487 h 285393"/>
              <a:gd name="T62" fmla="*/ 279355 w 286977"/>
              <a:gd name="T63" fmla="*/ 282487 h 285393"/>
              <a:gd name="T64" fmla="*/ 244163 w 286977"/>
              <a:gd name="T65" fmla="*/ 190732 h 285393"/>
              <a:gd name="T66" fmla="*/ 181399 w 286977"/>
              <a:gd name="T67" fmla="*/ 225772 h 285393"/>
              <a:gd name="T68" fmla="*/ 178134 w 286977"/>
              <a:gd name="T69" fmla="*/ 227578 h 285393"/>
              <a:gd name="T70" fmla="*/ 148384 w 286977"/>
              <a:gd name="T71" fmla="*/ 203015 h 285393"/>
              <a:gd name="T72" fmla="*/ 144030 w 286977"/>
              <a:gd name="T73" fmla="*/ 286821 h 285393"/>
              <a:gd name="T74" fmla="*/ 139676 w 286977"/>
              <a:gd name="T75" fmla="*/ 203015 h 285393"/>
              <a:gd name="T76" fmla="*/ 109928 w 286977"/>
              <a:gd name="T77" fmla="*/ 227578 h 285393"/>
              <a:gd name="T78" fmla="*/ 106299 w 286977"/>
              <a:gd name="T79" fmla="*/ 225772 h 285393"/>
              <a:gd name="T80" fmla="*/ 43898 w 286977"/>
              <a:gd name="T81" fmla="*/ 190732 h 285393"/>
              <a:gd name="T82" fmla="*/ 8707 w 286977"/>
              <a:gd name="T83" fmla="*/ 282487 h 285393"/>
              <a:gd name="T84" fmla="*/ 0 w 286977"/>
              <a:gd name="T85" fmla="*/ 282487 h 285393"/>
              <a:gd name="T86" fmla="*/ 42446 w 286977"/>
              <a:gd name="T87" fmla="*/ 182062 h 285393"/>
              <a:gd name="T88" fmla="*/ 102309 w 286977"/>
              <a:gd name="T89" fmla="*/ 155693 h 285393"/>
              <a:gd name="T90" fmla="*/ 73647 w 286977"/>
              <a:gd name="T91" fmla="*/ 72247 h 2853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6977" h="285393">
                <a:moveTo>
                  <a:pt x="223471" y="246063"/>
                </a:moveTo>
                <a:cubicBezTo>
                  <a:pt x="226036" y="246063"/>
                  <a:pt x="228234" y="248208"/>
                  <a:pt x="228234" y="250711"/>
                </a:cubicBezTo>
                <a:lnTo>
                  <a:pt x="228234" y="281102"/>
                </a:lnTo>
                <a:cubicBezTo>
                  <a:pt x="228234" y="283247"/>
                  <a:pt x="226036" y="285393"/>
                  <a:pt x="223471" y="285393"/>
                </a:cubicBezTo>
                <a:cubicBezTo>
                  <a:pt x="221273" y="285393"/>
                  <a:pt x="219075" y="283247"/>
                  <a:pt x="219075" y="281102"/>
                </a:cubicBezTo>
                <a:lnTo>
                  <a:pt x="219075" y="250711"/>
                </a:lnTo>
                <a:cubicBezTo>
                  <a:pt x="219075" y="248208"/>
                  <a:pt x="221273" y="246063"/>
                  <a:pt x="223471" y="246063"/>
                </a:cubicBezTo>
                <a:close/>
                <a:moveTo>
                  <a:pt x="62929" y="246063"/>
                </a:moveTo>
                <a:cubicBezTo>
                  <a:pt x="65596" y="246063"/>
                  <a:pt x="67882" y="248208"/>
                  <a:pt x="67882" y="250711"/>
                </a:cubicBezTo>
                <a:lnTo>
                  <a:pt x="67882" y="281102"/>
                </a:lnTo>
                <a:cubicBezTo>
                  <a:pt x="67882" y="283247"/>
                  <a:pt x="65596" y="285393"/>
                  <a:pt x="62929" y="285393"/>
                </a:cubicBezTo>
                <a:cubicBezTo>
                  <a:pt x="61024" y="285393"/>
                  <a:pt x="58738" y="283247"/>
                  <a:pt x="58738" y="281102"/>
                </a:cubicBezTo>
                <a:lnTo>
                  <a:pt x="58738" y="250711"/>
                </a:lnTo>
                <a:cubicBezTo>
                  <a:pt x="58738" y="248208"/>
                  <a:pt x="61024" y="246063"/>
                  <a:pt x="62929" y="246063"/>
                </a:cubicBezTo>
                <a:close/>
                <a:moveTo>
                  <a:pt x="183376" y="171090"/>
                </a:moveTo>
                <a:lnTo>
                  <a:pt x="150528" y="193016"/>
                </a:lnTo>
                <a:lnTo>
                  <a:pt x="176518" y="216020"/>
                </a:lnTo>
                <a:lnTo>
                  <a:pt x="199259" y="181514"/>
                </a:lnTo>
                <a:cubicBezTo>
                  <a:pt x="193123" y="180076"/>
                  <a:pt x="188069" y="176122"/>
                  <a:pt x="183376" y="171090"/>
                </a:cubicBezTo>
                <a:close/>
                <a:moveTo>
                  <a:pt x="102878" y="171090"/>
                </a:moveTo>
                <a:cubicBezTo>
                  <a:pt x="98908" y="176122"/>
                  <a:pt x="93132" y="180076"/>
                  <a:pt x="86995" y="181514"/>
                </a:cubicBezTo>
                <a:lnTo>
                  <a:pt x="110459" y="216020"/>
                </a:lnTo>
                <a:lnTo>
                  <a:pt x="136088" y="193016"/>
                </a:lnTo>
                <a:lnTo>
                  <a:pt x="102878" y="171090"/>
                </a:lnTo>
                <a:close/>
                <a:moveTo>
                  <a:pt x="112986" y="147368"/>
                </a:moveTo>
                <a:lnTo>
                  <a:pt x="110459" y="157432"/>
                </a:lnTo>
                <a:cubicBezTo>
                  <a:pt x="110098" y="159588"/>
                  <a:pt x="108654" y="161745"/>
                  <a:pt x="107932" y="163902"/>
                </a:cubicBezTo>
                <a:lnTo>
                  <a:pt x="143308" y="187265"/>
                </a:lnTo>
                <a:lnTo>
                  <a:pt x="179045" y="163902"/>
                </a:lnTo>
                <a:cubicBezTo>
                  <a:pt x="177601" y="161745"/>
                  <a:pt x="176879" y="159588"/>
                  <a:pt x="176157" y="157432"/>
                </a:cubicBezTo>
                <a:lnTo>
                  <a:pt x="173630" y="147368"/>
                </a:lnTo>
                <a:cubicBezTo>
                  <a:pt x="164245" y="152759"/>
                  <a:pt x="154137" y="155994"/>
                  <a:pt x="143308" y="155994"/>
                </a:cubicBezTo>
                <a:cubicBezTo>
                  <a:pt x="132479" y="155994"/>
                  <a:pt x="122371" y="152759"/>
                  <a:pt x="112986" y="147368"/>
                </a:cubicBezTo>
                <a:close/>
                <a:moveTo>
                  <a:pt x="166411" y="38459"/>
                </a:moveTo>
                <a:lnTo>
                  <a:pt x="166411" y="48164"/>
                </a:lnTo>
                <a:cubicBezTo>
                  <a:pt x="166411" y="50321"/>
                  <a:pt x="164967" y="52118"/>
                  <a:pt x="163523" y="52477"/>
                </a:cubicBezTo>
                <a:cubicBezTo>
                  <a:pt x="151249" y="56071"/>
                  <a:pt x="140420" y="57509"/>
                  <a:pt x="130674" y="57509"/>
                </a:cubicBezTo>
                <a:cubicBezTo>
                  <a:pt x="108654" y="57509"/>
                  <a:pt x="93493" y="49961"/>
                  <a:pt x="86635" y="44570"/>
                </a:cubicBezTo>
                <a:cubicBezTo>
                  <a:pt x="83386" y="52837"/>
                  <a:pt x="81942" y="61822"/>
                  <a:pt x="81942" y="71887"/>
                </a:cubicBezTo>
                <a:cubicBezTo>
                  <a:pt x="81942" y="113221"/>
                  <a:pt x="109376" y="147368"/>
                  <a:pt x="143308" y="147368"/>
                </a:cubicBezTo>
                <a:cubicBezTo>
                  <a:pt x="177240" y="147368"/>
                  <a:pt x="205035" y="113221"/>
                  <a:pt x="205035" y="71887"/>
                </a:cubicBezTo>
                <a:cubicBezTo>
                  <a:pt x="205035" y="59306"/>
                  <a:pt x="202147" y="48164"/>
                  <a:pt x="197455" y="38819"/>
                </a:cubicBezTo>
                <a:cubicBezTo>
                  <a:pt x="191318" y="43132"/>
                  <a:pt x="182654" y="46007"/>
                  <a:pt x="182294" y="46367"/>
                </a:cubicBezTo>
                <a:cubicBezTo>
                  <a:pt x="180850" y="46726"/>
                  <a:pt x="179767" y="46367"/>
                  <a:pt x="178684" y="46007"/>
                </a:cubicBezTo>
                <a:lnTo>
                  <a:pt x="166411" y="38459"/>
                </a:lnTo>
                <a:close/>
                <a:moveTo>
                  <a:pt x="143308" y="8986"/>
                </a:moveTo>
                <a:cubicBezTo>
                  <a:pt x="118761" y="8986"/>
                  <a:pt x="100713" y="19050"/>
                  <a:pt x="89883" y="37021"/>
                </a:cubicBezTo>
                <a:cubicBezTo>
                  <a:pt x="97825" y="42054"/>
                  <a:pt x="120927" y="55712"/>
                  <a:pt x="157747" y="44929"/>
                </a:cubicBezTo>
                <a:lnTo>
                  <a:pt x="157747" y="30911"/>
                </a:lnTo>
                <a:cubicBezTo>
                  <a:pt x="157747" y="29114"/>
                  <a:pt x="158469" y="27676"/>
                  <a:pt x="159913" y="26957"/>
                </a:cubicBezTo>
                <a:cubicBezTo>
                  <a:pt x="161357" y="26238"/>
                  <a:pt x="163162" y="26238"/>
                  <a:pt x="164245" y="26957"/>
                </a:cubicBezTo>
                <a:lnTo>
                  <a:pt x="181572" y="37381"/>
                </a:lnTo>
                <a:cubicBezTo>
                  <a:pt x="184459" y="35943"/>
                  <a:pt x="189152" y="34146"/>
                  <a:pt x="192762" y="31630"/>
                </a:cubicBezTo>
                <a:cubicBezTo>
                  <a:pt x="182654" y="16893"/>
                  <a:pt x="164967" y="8986"/>
                  <a:pt x="143308" y="8986"/>
                </a:cubicBezTo>
                <a:close/>
                <a:moveTo>
                  <a:pt x="143308" y="0"/>
                </a:moveTo>
                <a:cubicBezTo>
                  <a:pt x="185542" y="0"/>
                  <a:pt x="213699" y="28754"/>
                  <a:pt x="213699" y="71887"/>
                </a:cubicBezTo>
                <a:cubicBezTo>
                  <a:pt x="213699" y="101001"/>
                  <a:pt x="200703" y="127239"/>
                  <a:pt x="181572" y="142336"/>
                </a:cubicBezTo>
                <a:lnTo>
                  <a:pt x="184820" y="154916"/>
                </a:lnTo>
                <a:cubicBezTo>
                  <a:pt x="186986" y="164980"/>
                  <a:pt x="195650" y="173247"/>
                  <a:pt x="206118" y="174685"/>
                </a:cubicBezTo>
                <a:lnTo>
                  <a:pt x="244743" y="181154"/>
                </a:lnTo>
                <a:cubicBezTo>
                  <a:pt x="268928" y="185468"/>
                  <a:pt x="286977" y="206674"/>
                  <a:pt x="286977" y="230756"/>
                </a:cubicBezTo>
                <a:lnTo>
                  <a:pt x="286977" y="281078"/>
                </a:lnTo>
                <a:cubicBezTo>
                  <a:pt x="286977" y="283234"/>
                  <a:pt x="284811" y="285391"/>
                  <a:pt x="282284" y="285391"/>
                </a:cubicBezTo>
                <a:cubicBezTo>
                  <a:pt x="279758" y="285391"/>
                  <a:pt x="277953" y="283234"/>
                  <a:pt x="277953" y="281078"/>
                </a:cubicBezTo>
                <a:lnTo>
                  <a:pt x="277953" y="230756"/>
                </a:lnTo>
                <a:cubicBezTo>
                  <a:pt x="277953" y="210628"/>
                  <a:pt x="263153" y="193375"/>
                  <a:pt x="242938" y="189781"/>
                </a:cubicBezTo>
                <a:lnTo>
                  <a:pt x="208645" y="184030"/>
                </a:lnTo>
                <a:lnTo>
                  <a:pt x="180489" y="224646"/>
                </a:lnTo>
                <a:cubicBezTo>
                  <a:pt x="180128" y="225724"/>
                  <a:pt x="179045" y="226443"/>
                  <a:pt x="177601" y="226443"/>
                </a:cubicBezTo>
                <a:cubicBezTo>
                  <a:pt x="177240" y="226443"/>
                  <a:pt x="177240" y="226443"/>
                  <a:pt x="177240" y="226443"/>
                </a:cubicBezTo>
                <a:cubicBezTo>
                  <a:pt x="176157" y="226443"/>
                  <a:pt x="175435" y="226443"/>
                  <a:pt x="174352" y="225724"/>
                </a:cubicBezTo>
                <a:lnTo>
                  <a:pt x="147640" y="202002"/>
                </a:lnTo>
                <a:lnTo>
                  <a:pt x="147640" y="281078"/>
                </a:lnTo>
                <a:cubicBezTo>
                  <a:pt x="147640" y="283234"/>
                  <a:pt x="145835" y="285391"/>
                  <a:pt x="143308" y="285391"/>
                </a:cubicBezTo>
                <a:cubicBezTo>
                  <a:pt x="141142" y="285391"/>
                  <a:pt x="138976" y="283234"/>
                  <a:pt x="138976" y="281078"/>
                </a:cubicBezTo>
                <a:lnTo>
                  <a:pt x="138976" y="202002"/>
                </a:lnTo>
                <a:lnTo>
                  <a:pt x="112264" y="225724"/>
                </a:lnTo>
                <a:cubicBezTo>
                  <a:pt x="111542" y="226443"/>
                  <a:pt x="110459" y="226443"/>
                  <a:pt x="109376" y="226443"/>
                </a:cubicBezTo>
                <a:cubicBezTo>
                  <a:pt x="109015" y="226443"/>
                  <a:pt x="109015" y="226443"/>
                  <a:pt x="108654" y="226443"/>
                </a:cubicBezTo>
                <a:cubicBezTo>
                  <a:pt x="107571" y="226443"/>
                  <a:pt x="106127" y="225724"/>
                  <a:pt x="105766" y="224646"/>
                </a:cubicBezTo>
                <a:lnTo>
                  <a:pt x="77610" y="184030"/>
                </a:lnTo>
                <a:lnTo>
                  <a:pt x="43678" y="189781"/>
                </a:lnTo>
                <a:cubicBezTo>
                  <a:pt x="23463" y="193375"/>
                  <a:pt x="8663" y="210628"/>
                  <a:pt x="8663" y="230756"/>
                </a:cubicBezTo>
                <a:lnTo>
                  <a:pt x="8663" y="281078"/>
                </a:lnTo>
                <a:cubicBezTo>
                  <a:pt x="8663" y="283234"/>
                  <a:pt x="6859" y="285391"/>
                  <a:pt x="4693" y="285391"/>
                </a:cubicBezTo>
                <a:cubicBezTo>
                  <a:pt x="2166" y="285391"/>
                  <a:pt x="0" y="283234"/>
                  <a:pt x="0" y="281078"/>
                </a:cubicBezTo>
                <a:lnTo>
                  <a:pt x="0" y="230756"/>
                </a:lnTo>
                <a:cubicBezTo>
                  <a:pt x="0" y="206674"/>
                  <a:pt x="17688" y="185468"/>
                  <a:pt x="42234" y="181154"/>
                </a:cubicBezTo>
                <a:lnTo>
                  <a:pt x="80498" y="174685"/>
                </a:lnTo>
                <a:cubicBezTo>
                  <a:pt x="90605" y="173247"/>
                  <a:pt x="99269" y="164980"/>
                  <a:pt x="101796" y="154916"/>
                </a:cubicBezTo>
                <a:lnTo>
                  <a:pt x="105044" y="142336"/>
                </a:lnTo>
                <a:cubicBezTo>
                  <a:pt x="85913" y="127239"/>
                  <a:pt x="73278" y="101001"/>
                  <a:pt x="73278" y="71887"/>
                </a:cubicBezTo>
                <a:cubicBezTo>
                  <a:pt x="73278" y="28754"/>
                  <a:pt x="101435" y="0"/>
                  <a:pt x="143308" y="0"/>
                </a:cubicBezTo>
                <a:close/>
              </a:path>
            </a:pathLst>
          </a:custGeom>
          <a:solidFill>
            <a:schemeClr val="bg1"/>
          </a:solidFill>
          <a:ln>
            <a:noFill/>
          </a:ln>
          <a:effectLst/>
        </p:spPr>
        <p:txBody>
          <a:bodyPr anchor="ctr"/>
          <a:lstStyle/>
          <a:p>
            <a:endParaRPr lang="en-US" sz="900" dirty="0"/>
          </a:p>
        </p:txBody>
      </p:sp>
      <p:sp>
        <p:nvSpPr>
          <p:cNvPr id="36" name="Freeform 1048">
            <a:extLst>
              <a:ext uri="{FF2B5EF4-FFF2-40B4-BE49-F238E27FC236}">
                <a16:creationId xmlns:a16="http://schemas.microsoft.com/office/drawing/2014/main" id="{432CDFC6-E4A9-734C-B8FB-F2FEF0E42EC0}"/>
              </a:ext>
            </a:extLst>
          </p:cNvPr>
          <p:cNvSpPr>
            <a:spLocks noChangeAspect="1" noChangeArrowheads="1"/>
          </p:cNvSpPr>
          <p:nvPr/>
        </p:nvSpPr>
        <p:spPr bwMode="auto">
          <a:xfrm>
            <a:off x="6119990" y="4658775"/>
            <a:ext cx="514156" cy="525842"/>
          </a:xfrm>
          <a:custGeom>
            <a:avLst/>
            <a:gdLst>
              <a:gd name="T0" fmla="*/ 232587 w 279041"/>
              <a:gd name="T1" fmla="*/ 257945 h 285396"/>
              <a:gd name="T2" fmla="*/ 227992 w 279041"/>
              <a:gd name="T3" fmla="*/ 286814 h 285396"/>
              <a:gd name="T4" fmla="*/ 223396 w 279041"/>
              <a:gd name="T5" fmla="*/ 257945 h 285396"/>
              <a:gd name="T6" fmla="*/ 53885 w 279041"/>
              <a:gd name="T7" fmla="*/ 253667 h 285396"/>
              <a:gd name="T8" fmla="*/ 58672 w 279041"/>
              <a:gd name="T9" fmla="*/ 282538 h 285396"/>
              <a:gd name="T10" fmla="*/ 49466 w 279041"/>
              <a:gd name="T11" fmla="*/ 282538 h 285396"/>
              <a:gd name="T12" fmla="*/ 53885 w 279041"/>
              <a:gd name="T13" fmla="*/ 253667 h 285396"/>
              <a:gd name="T14" fmla="*/ 110098 w 279041"/>
              <a:gd name="T15" fmla="*/ 180972 h 285396"/>
              <a:gd name="T16" fmla="*/ 140059 w 279041"/>
              <a:gd name="T17" fmla="*/ 247075 h 285396"/>
              <a:gd name="T18" fmla="*/ 170743 w 279041"/>
              <a:gd name="T19" fmla="*/ 180972 h 285396"/>
              <a:gd name="T20" fmla="*/ 140059 w 279041"/>
              <a:gd name="T21" fmla="*/ 188558 h 285396"/>
              <a:gd name="T22" fmla="*/ 169434 w 279041"/>
              <a:gd name="T23" fmla="*/ 78791 h 285396"/>
              <a:gd name="T24" fmla="*/ 84108 w 279041"/>
              <a:gd name="T25" fmla="*/ 89221 h 285396"/>
              <a:gd name="T26" fmla="*/ 140059 w 279041"/>
              <a:gd name="T27" fmla="*/ 180249 h 285396"/>
              <a:gd name="T28" fmla="*/ 196372 w 279041"/>
              <a:gd name="T29" fmla="*/ 87777 h 285396"/>
              <a:gd name="T30" fmla="*/ 140059 w 279041"/>
              <a:gd name="T31" fmla="*/ 9030 h 285396"/>
              <a:gd name="T32" fmla="*/ 63532 w 279041"/>
              <a:gd name="T33" fmla="*/ 201923 h 285396"/>
              <a:gd name="T34" fmla="*/ 102157 w 279041"/>
              <a:gd name="T35" fmla="*/ 178805 h 285396"/>
              <a:gd name="T36" fmla="*/ 72918 w 279041"/>
              <a:gd name="T37" fmla="*/ 107644 h 285396"/>
              <a:gd name="T38" fmla="*/ 80138 w 279041"/>
              <a:gd name="T39" fmla="*/ 78746 h 285396"/>
              <a:gd name="T40" fmla="*/ 137532 w 279041"/>
              <a:gd name="T41" fmla="*/ 79468 h 285396"/>
              <a:gd name="T42" fmla="*/ 204314 w 279041"/>
              <a:gd name="T43" fmla="*/ 83804 h 285396"/>
              <a:gd name="T44" fmla="*/ 177962 w 279041"/>
              <a:gd name="T45" fmla="*/ 175192 h 285396"/>
              <a:gd name="T46" fmla="*/ 199982 w 279041"/>
              <a:gd name="T47" fmla="*/ 199033 h 285396"/>
              <a:gd name="T48" fmla="*/ 237523 w 279041"/>
              <a:gd name="T49" fmla="*/ 120287 h 285396"/>
              <a:gd name="T50" fmla="*/ 140059 w 279041"/>
              <a:gd name="T51" fmla="*/ 0 h 285396"/>
              <a:gd name="T52" fmla="*/ 226333 w 279041"/>
              <a:gd name="T53" fmla="*/ 203368 h 285396"/>
              <a:gd name="T54" fmla="*/ 280479 w 279041"/>
              <a:gd name="T55" fmla="*/ 265136 h 285396"/>
              <a:gd name="T56" fmla="*/ 276148 w 279041"/>
              <a:gd name="T57" fmla="*/ 286809 h 285396"/>
              <a:gd name="T58" fmla="*/ 272177 w 279041"/>
              <a:gd name="T59" fmla="*/ 265136 h 285396"/>
              <a:gd name="T60" fmla="*/ 205757 w 279041"/>
              <a:gd name="T61" fmla="*/ 208786 h 285396"/>
              <a:gd name="T62" fmla="*/ 144392 w 279041"/>
              <a:gd name="T63" fmla="*/ 282476 h 285396"/>
              <a:gd name="T64" fmla="*/ 136089 w 279041"/>
              <a:gd name="T65" fmla="*/ 282476 h 285396"/>
              <a:gd name="T66" fmla="*/ 74723 w 279041"/>
              <a:gd name="T67" fmla="*/ 208786 h 285396"/>
              <a:gd name="T68" fmla="*/ 9026 w 279041"/>
              <a:gd name="T69" fmla="*/ 265136 h 285396"/>
              <a:gd name="T70" fmla="*/ 4334 w 279041"/>
              <a:gd name="T71" fmla="*/ 286809 h 285396"/>
              <a:gd name="T72" fmla="*/ 0 w 279041"/>
              <a:gd name="T73" fmla="*/ 265136 h 285396"/>
              <a:gd name="T74" fmla="*/ 54146 w 279041"/>
              <a:gd name="T75" fmla="*/ 203368 h 285396"/>
              <a:gd name="T76" fmla="*/ 140059 w 279041"/>
              <a:gd name="T77" fmla="*/ 0 h 285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9041" h="285396">
                <a:moveTo>
                  <a:pt x="226822" y="252413"/>
                </a:moveTo>
                <a:cubicBezTo>
                  <a:pt x="229489" y="252413"/>
                  <a:pt x="231394" y="254186"/>
                  <a:pt x="231394" y="256669"/>
                </a:cubicBezTo>
                <a:lnTo>
                  <a:pt x="231394" y="281140"/>
                </a:lnTo>
                <a:cubicBezTo>
                  <a:pt x="231394" y="283268"/>
                  <a:pt x="229489" y="285396"/>
                  <a:pt x="226822" y="285396"/>
                </a:cubicBezTo>
                <a:cubicBezTo>
                  <a:pt x="224155" y="285396"/>
                  <a:pt x="222250" y="283268"/>
                  <a:pt x="222250" y="281140"/>
                </a:cubicBezTo>
                <a:lnTo>
                  <a:pt x="222250" y="256669"/>
                </a:lnTo>
                <a:cubicBezTo>
                  <a:pt x="222250" y="254186"/>
                  <a:pt x="224155" y="252413"/>
                  <a:pt x="226822" y="252413"/>
                </a:cubicBezTo>
                <a:close/>
                <a:moveTo>
                  <a:pt x="53609" y="252413"/>
                </a:moveTo>
                <a:cubicBezTo>
                  <a:pt x="56174" y="252413"/>
                  <a:pt x="58372" y="254186"/>
                  <a:pt x="58372" y="256669"/>
                </a:cubicBezTo>
                <a:lnTo>
                  <a:pt x="58372" y="281140"/>
                </a:lnTo>
                <a:cubicBezTo>
                  <a:pt x="58372" y="283268"/>
                  <a:pt x="56174" y="285396"/>
                  <a:pt x="53609" y="285396"/>
                </a:cubicBezTo>
                <a:cubicBezTo>
                  <a:pt x="51045" y="285396"/>
                  <a:pt x="49213" y="283268"/>
                  <a:pt x="49213" y="281140"/>
                </a:cubicBezTo>
                <a:lnTo>
                  <a:pt x="49213" y="256669"/>
                </a:lnTo>
                <a:cubicBezTo>
                  <a:pt x="49213" y="254186"/>
                  <a:pt x="51045" y="252413"/>
                  <a:pt x="53609" y="252413"/>
                </a:cubicBezTo>
                <a:close/>
                <a:moveTo>
                  <a:pt x="110252" y="179358"/>
                </a:moveTo>
                <a:lnTo>
                  <a:pt x="109534" y="180077"/>
                </a:lnTo>
                <a:cubicBezTo>
                  <a:pt x="106301" y="193376"/>
                  <a:pt x="95887" y="203080"/>
                  <a:pt x="82958" y="205956"/>
                </a:cubicBezTo>
                <a:cubicBezTo>
                  <a:pt x="86909" y="223928"/>
                  <a:pt x="123539" y="240102"/>
                  <a:pt x="139341" y="245853"/>
                </a:cubicBezTo>
                <a:cubicBezTo>
                  <a:pt x="155502" y="240102"/>
                  <a:pt x="192133" y="223928"/>
                  <a:pt x="196801" y="205956"/>
                </a:cubicBezTo>
                <a:cubicBezTo>
                  <a:pt x="183514" y="203080"/>
                  <a:pt x="173099" y="193376"/>
                  <a:pt x="169867" y="180077"/>
                </a:cubicBezTo>
                <a:lnTo>
                  <a:pt x="169508" y="179358"/>
                </a:lnTo>
                <a:cubicBezTo>
                  <a:pt x="160529" y="185109"/>
                  <a:pt x="150474" y="187625"/>
                  <a:pt x="139341" y="187625"/>
                </a:cubicBezTo>
                <a:cubicBezTo>
                  <a:pt x="129285" y="187625"/>
                  <a:pt x="118512" y="185109"/>
                  <a:pt x="110252" y="179358"/>
                </a:cubicBezTo>
                <a:close/>
                <a:moveTo>
                  <a:pt x="168565" y="78402"/>
                </a:moveTo>
                <a:cubicBezTo>
                  <a:pt x="159721" y="78357"/>
                  <a:pt x="150833" y="81232"/>
                  <a:pt x="141496" y="86983"/>
                </a:cubicBezTo>
                <a:cubicBezTo>
                  <a:pt x="118871" y="100282"/>
                  <a:pt x="96246" y="95610"/>
                  <a:pt x="83676" y="88780"/>
                </a:cubicBezTo>
                <a:cubicBezTo>
                  <a:pt x="81881" y="94531"/>
                  <a:pt x="81163" y="100642"/>
                  <a:pt x="81163" y="107112"/>
                </a:cubicBezTo>
                <a:cubicBezTo>
                  <a:pt x="81163" y="146649"/>
                  <a:pt x="107738" y="179358"/>
                  <a:pt x="139341" y="179358"/>
                </a:cubicBezTo>
                <a:cubicBezTo>
                  <a:pt x="172021" y="179358"/>
                  <a:pt x="197879" y="146649"/>
                  <a:pt x="197879" y="107112"/>
                </a:cubicBezTo>
                <a:cubicBezTo>
                  <a:pt x="197879" y="99923"/>
                  <a:pt x="197160" y="93453"/>
                  <a:pt x="195365" y="87343"/>
                </a:cubicBezTo>
                <a:cubicBezTo>
                  <a:pt x="186207" y="81412"/>
                  <a:pt x="177408" y="78447"/>
                  <a:pt x="168565" y="78402"/>
                </a:cubicBezTo>
                <a:close/>
                <a:moveTo>
                  <a:pt x="139341" y="8986"/>
                </a:moveTo>
                <a:cubicBezTo>
                  <a:pt x="81163" y="8986"/>
                  <a:pt x="43095" y="52118"/>
                  <a:pt x="43095" y="119692"/>
                </a:cubicBezTo>
                <a:cubicBezTo>
                  <a:pt x="43095" y="152041"/>
                  <a:pt x="50996" y="184030"/>
                  <a:pt x="63206" y="200924"/>
                </a:cubicBezTo>
                <a:lnTo>
                  <a:pt x="80085" y="198048"/>
                </a:lnTo>
                <a:cubicBezTo>
                  <a:pt x="90141" y="195892"/>
                  <a:pt x="98760" y="188344"/>
                  <a:pt x="101633" y="177920"/>
                </a:cubicBezTo>
                <a:lnTo>
                  <a:pt x="102351" y="174326"/>
                </a:lnTo>
                <a:cubicBezTo>
                  <a:pt x="84395" y="159589"/>
                  <a:pt x="72544" y="135147"/>
                  <a:pt x="72544" y="107112"/>
                </a:cubicBezTo>
                <a:cubicBezTo>
                  <a:pt x="72544" y="97766"/>
                  <a:pt x="74339" y="88780"/>
                  <a:pt x="76853" y="80873"/>
                </a:cubicBezTo>
                <a:cubicBezTo>
                  <a:pt x="77212" y="80154"/>
                  <a:pt x="78290" y="78716"/>
                  <a:pt x="79726" y="78357"/>
                </a:cubicBezTo>
                <a:cubicBezTo>
                  <a:pt x="80803" y="77997"/>
                  <a:pt x="82599" y="78357"/>
                  <a:pt x="83317" y="78716"/>
                </a:cubicBezTo>
                <a:cubicBezTo>
                  <a:pt x="92296" y="84827"/>
                  <a:pt x="114920" y="92734"/>
                  <a:pt x="136827" y="79076"/>
                </a:cubicBezTo>
                <a:cubicBezTo>
                  <a:pt x="158734" y="66136"/>
                  <a:pt x="179922" y="66496"/>
                  <a:pt x="200752" y="80873"/>
                </a:cubicBezTo>
                <a:cubicBezTo>
                  <a:pt x="201829" y="81232"/>
                  <a:pt x="202906" y="81951"/>
                  <a:pt x="203265" y="83389"/>
                </a:cubicBezTo>
                <a:cubicBezTo>
                  <a:pt x="205420" y="90937"/>
                  <a:pt x="206857" y="98845"/>
                  <a:pt x="206857" y="107112"/>
                </a:cubicBezTo>
                <a:cubicBezTo>
                  <a:pt x="206857" y="135147"/>
                  <a:pt x="194646" y="159589"/>
                  <a:pt x="177049" y="174326"/>
                </a:cubicBezTo>
                <a:lnTo>
                  <a:pt x="178127" y="177920"/>
                </a:lnTo>
                <a:cubicBezTo>
                  <a:pt x="180281" y="188344"/>
                  <a:pt x="188541" y="195892"/>
                  <a:pt x="198956" y="198048"/>
                </a:cubicBezTo>
                <a:lnTo>
                  <a:pt x="216194" y="200924"/>
                </a:lnTo>
                <a:cubicBezTo>
                  <a:pt x="228404" y="184030"/>
                  <a:pt x="236305" y="152041"/>
                  <a:pt x="236305" y="119692"/>
                </a:cubicBezTo>
                <a:cubicBezTo>
                  <a:pt x="236305" y="52118"/>
                  <a:pt x="198238" y="8986"/>
                  <a:pt x="139341" y="8986"/>
                </a:cubicBezTo>
                <a:close/>
                <a:moveTo>
                  <a:pt x="139341" y="0"/>
                </a:moveTo>
                <a:cubicBezTo>
                  <a:pt x="203625" y="0"/>
                  <a:pt x="244924" y="46727"/>
                  <a:pt x="244924" y="119692"/>
                </a:cubicBezTo>
                <a:cubicBezTo>
                  <a:pt x="244924" y="152400"/>
                  <a:pt x="237382" y="183312"/>
                  <a:pt x="225172" y="202362"/>
                </a:cubicBezTo>
                <a:lnTo>
                  <a:pt x="228045" y="202721"/>
                </a:lnTo>
                <a:cubicBezTo>
                  <a:pt x="257493" y="207753"/>
                  <a:pt x="279041" y="233632"/>
                  <a:pt x="279041" y="263825"/>
                </a:cubicBezTo>
                <a:lnTo>
                  <a:pt x="279041" y="281078"/>
                </a:lnTo>
                <a:cubicBezTo>
                  <a:pt x="279041" y="283234"/>
                  <a:pt x="277605" y="285391"/>
                  <a:pt x="274732" y="285391"/>
                </a:cubicBezTo>
                <a:cubicBezTo>
                  <a:pt x="272577" y="285391"/>
                  <a:pt x="270781" y="283234"/>
                  <a:pt x="270781" y="281078"/>
                </a:cubicBezTo>
                <a:lnTo>
                  <a:pt x="270781" y="263825"/>
                </a:lnTo>
                <a:cubicBezTo>
                  <a:pt x="270781" y="237946"/>
                  <a:pt x="251747" y="216020"/>
                  <a:pt x="226249" y="211347"/>
                </a:cubicBezTo>
                <a:lnTo>
                  <a:pt x="204702" y="207753"/>
                </a:lnTo>
                <a:cubicBezTo>
                  <a:pt x="199315" y="231835"/>
                  <a:pt x="156579" y="248729"/>
                  <a:pt x="143651" y="253401"/>
                </a:cubicBezTo>
                <a:lnTo>
                  <a:pt x="143651" y="281078"/>
                </a:lnTo>
                <a:cubicBezTo>
                  <a:pt x="143651" y="283234"/>
                  <a:pt x="141855" y="285391"/>
                  <a:pt x="139341" y="285391"/>
                </a:cubicBezTo>
                <a:cubicBezTo>
                  <a:pt x="137186" y="285391"/>
                  <a:pt x="135391" y="283234"/>
                  <a:pt x="135391" y="281078"/>
                </a:cubicBezTo>
                <a:lnTo>
                  <a:pt x="135391" y="253401"/>
                </a:lnTo>
                <a:cubicBezTo>
                  <a:pt x="122821" y="248729"/>
                  <a:pt x="79726" y="231835"/>
                  <a:pt x="74339" y="207753"/>
                </a:cubicBezTo>
                <a:lnTo>
                  <a:pt x="52792" y="211347"/>
                </a:lnTo>
                <a:cubicBezTo>
                  <a:pt x="27294" y="216020"/>
                  <a:pt x="8978" y="237946"/>
                  <a:pt x="8978" y="263825"/>
                </a:cubicBezTo>
                <a:lnTo>
                  <a:pt x="8978" y="281078"/>
                </a:lnTo>
                <a:cubicBezTo>
                  <a:pt x="8978" y="283234"/>
                  <a:pt x="6464" y="285391"/>
                  <a:pt x="4310" y="285391"/>
                </a:cubicBezTo>
                <a:cubicBezTo>
                  <a:pt x="2155" y="285391"/>
                  <a:pt x="0" y="283234"/>
                  <a:pt x="0" y="281078"/>
                </a:cubicBezTo>
                <a:lnTo>
                  <a:pt x="0" y="263825"/>
                </a:lnTo>
                <a:cubicBezTo>
                  <a:pt x="0" y="233632"/>
                  <a:pt x="21907" y="207753"/>
                  <a:pt x="51714" y="202721"/>
                </a:cubicBezTo>
                <a:lnTo>
                  <a:pt x="53869" y="202362"/>
                </a:lnTo>
                <a:cubicBezTo>
                  <a:pt x="41659" y="183312"/>
                  <a:pt x="34476" y="152400"/>
                  <a:pt x="34476" y="119692"/>
                </a:cubicBezTo>
                <a:cubicBezTo>
                  <a:pt x="34476" y="47805"/>
                  <a:pt x="76853" y="0"/>
                  <a:pt x="139341" y="0"/>
                </a:cubicBezTo>
                <a:close/>
              </a:path>
            </a:pathLst>
          </a:custGeom>
          <a:solidFill>
            <a:schemeClr val="bg1"/>
          </a:solidFill>
          <a:ln>
            <a:noFill/>
          </a:ln>
          <a:effectLst/>
        </p:spPr>
        <p:txBody>
          <a:bodyPr anchor="ctr"/>
          <a:lstStyle/>
          <a:p>
            <a:endParaRPr lang="en-US" sz="900" dirty="0"/>
          </a:p>
        </p:txBody>
      </p:sp>
      <p:sp>
        <p:nvSpPr>
          <p:cNvPr id="38" name="Freeform 1047">
            <a:extLst>
              <a:ext uri="{FF2B5EF4-FFF2-40B4-BE49-F238E27FC236}">
                <a16:creationId xmlns:a16="http://schemas.microsoft.com/office/drawing/2014/main" id="{BCC3B329-3D75-F943-AE3C-8D83070B4135}"/>
              </a:ext>
            </a:extLst>
          </p:cNvPr>
          <p:cNvSpPr>
            <a:spLocks noChangeAspect="1" noChangeArrowheads="1"/>
          </p:cNvSpPr>
          <p:nvPr/>
        </p:nvSpPr>
        <p:spPr bwMode="auto">
          <a:xfrm>
            <a:off x="5830660" y="5677118"/>
            <a:ext cx="528762" cy="525842"/>
          </a:xfrm>
          <a:custGeom>
            <a:avLst/>
            <a:gdLst>
              <a:gd name="T0" fmla="*/ 229384 w 286977"/>
              <a:gd name="T1" fmla="*/ 251968 h 285393"/>
              <a:gd name="T2" fmla="*/ 224597 w 286977"/>
              <a:gd name="T3" fmla="*/ 286823 h 285393"/>
              <a:gd name="T4" fmla="*/ 220180 w 286977"/>
              <a:gd name="T5" fmla="*/ 251968 h 285393"/>
              <a:gd name="T6" fmla="*/ 63245 w 286977"/>
              <a:gd name="T7" fmla="*/ 247297 h 285393"/>
              <a:gd name="T8" fmla="*/ 68224 w 286977"/>
              <a:gd name="T9" fmla="*/ 282512 h 285393"/>
              <a:gd name="T10" fmla="*/ 59034 w 286977"/>
              <a:gd name="T11" fmla="*/ 282512 h 285393"/>
              <a:gd name="T12" fmla="*/ 63245 w 286977"/>
              <a:gd name="T13" fmla="*/ 247297 h 285393"/>
              <a:gd name="T14" fmla="*/ 151287 w 286977"/>
              <a:gd name="T15" fmla="*/ 193983 h 285393"/>
              <a:gd name="T16" fmla="*/ 200264 w 286977"/>
              <a:gd name="T17" fmla="*/ 182424 h 285393"/>
              <a:gd name="T18" fmla="*/ 103397 w 286977"/>
              <a:gd name="T19" fmla="*/ 171948 h 285393"/>
              <a:gd name="T20" fmla="*/ 111015 w 286977"/>
              <a:gd name="T21" fmla="*/ 217103 h 285393"/>
              <a:gd name="T22" fmla="*/ 103397 w 286977"/>
              <a:gd name="T23" fmla="*/ 171948 h 285393"/>
              <a:gd name="T24" fmla="*/ 111015 w 286977"/>
              <a:gd name="T25" fmla="*/ 158221 h 285393"/>
              <a:gd name="T26" fmla="*/ 144030 w 286977"/>
              <a:gd name="T27" fmla="*/ 188204 h 285393"/>
              <a:gd name="T28" fmla="*/ 177045 w 286977"/>
              <a:gd name="T29" fmla="*/ 158221 h 285393"/>
              <a:gd name="T30" fmla="*/ 144030 w 286977"/>
              <a:gd name="T31" fmla="*/ 156776 h 285393"/>
              <a:gd name="T32" fmla="*/ 167250 w 286977"/>
              <a:gd name="T33" fmla="*/ 38651 h 285393"/>
              <a:gd name="T34" fmla="*/ 164347 w 286977"/>
              <a:gd name="T35" fmla="*/ 52741 h 285393"/>
              <a:gd name="T36" fmla="*/ 87071 w 286977"/>
              <a:gd name="T37" fmla="*/ 44794 h 285393"/>
              <a:gd name="T38" fmla="*/ 144030 w 286977"/>
              <a:gd name="T39" fmla="*/ 148107 h 285393"/>
              <a:gd name="T40" fmla="*/ 198450 w 286977"/>
              <a:gd name="T41" fmla="*/ 39015 h 285393"/>
              <a:gd name="T42" fmla="*/ 179585 w 286977"/>
              <a:gd name="T43" fmla="*/ 46239 h 285393"/>
              <a:gd name="T44" fmla="*/ 144030 w 286977"/>
              <a:gd name="T45" fmla="*/ 9030 h 285393"/>
              <a:gd name="T46" fmla="*/ 158542 w 286977"/>
              <a:gd name="T47" fmla="*/ 45153 h 285393"/>
              <a:gd name="T48" fmla="*/ 160719 w 286977"/>
              <a:gd name="T49" fmla="*/ 27093 h 285393"/>
              <a:gd name="T50" fmla="*/ 182487 w 286977"/>
              <a:gd name="T51" fmla="*/ 37569 h 285393"/>
              <a:gd name="T52" fmla="*/ 144030 w 286977"/>
              <a:gd name="T53" fmla="*/ 9030 h 285393"/>
              <a:gd name="T54" fmla="*/ 214776 w 286977"/>
              <a:gd name="T55" fmla="*/ 72247 h 285393"/>
              <a:gd name="T56" fmla="*/ 185751 w 286977"/>
              <a:gd name="T57" fmla="*/ 155693 h 285393"/>
              <a:gd name="T58" fmla="*/ 245977 w 286977"/>
              <a:gd name="T59" fmla="*/ 182062 h 285393"/>
              <a:gd name="T60" fmla="*/ 288423 w 286977"/>
              <a:gd name="T61" fmla="*/ 282487 h 285393"/>
              <a:gd name="T62" fmla="*/ 279355 w 286977"/>
              <a:gd name="T63" fmla="*/ 282487 h 285393"/>
              <a:gd name="T64" fmla="*/ 244163 w 286977"/>
              <a:gd name="T65" fmla="*/ 190732 h 285393"/>
              <a:gd name="T66" fmla="*/ 181399 w 286977"/>
              <a:gd name="T67" fmla="*/ 225772 h 285393"/>
              <a:gd name="T68" fmla="*/ 178134 w 286977"/>
              <a:gd name="T69" fmla="*/ 227578 h 285393"/>
              <a:gd name="T70" fmla="*/ 148384 w 286977"/>
              <a:gd name="T71" fmla="*/ 203015 h 285393"/>
              <a:gd name="T72" fmla="*/ 144030 w 286977"/>
              <a:gd name="T73" fmla="*/ 286821 h 285393"/>
              <a:gd name="T74" fmla="*/ 139676 w 286977"/>
              <a:gd name="T75" fmla="*/ 203015 h 285393"/>
              <a:gd name="T76" fmla="*/ 109928 w 286977"/>
              <a:gd name="T77" fmla="*/ 227578 h 285393"/>
              <a:gd name="T78" fmla="*/ 106299 w 286977"/>
              <a:gd name="T79" fmla="*/ 225772 h 285393"/>
              <a:gd name="T80" fmla="*/ 43898 w 286977"/>
              <a:gd name="T81" fmla="*/ 190732 h 285393"/>
              <a:gd name="T82" fmla="*/ 8707 w 286977"/>
              <a:gd name="T83" fmla="*/ 282487 h 285393"/>
              <a:gd name="T84" fmla="*/ 0 w 286977"/>
              <a:gd name="T85" fmla="*/ 282487 h 285393"/>
              <a:gd name="T86" fmla="*/ 42446 w 286977"/>
              <a:gd name="T87" fmla="*/ 182062 h 285393"/>
              <a:gd name="T88" fmla="*/ 102309 w 286977"/>
              <a:gd name="T89" fmla="*/ 155693 h 285393"/>
              <a:gd name="T90" fmla="*/ 73647 w 286977"/>
              <a:gd name="T91" fmla="*/ 72247 h 2853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6977" h="285393">
                <a:moveTo>
                  <a:pt x="223471" y="246063"/>
                </a:moveTo>
                <a:cubicBezTo>
                  <a:pt x="226036" y="246063"/>
                  <a:pt x="228234" y="248208"/>
                  <a:pt x="228234" y="250711"/>
                </a:cubicBezTo>
                <a:lnTo>
                  <a:pt x="228234" y="281102"/>
                </a:lnTo>
                <a:cubicBezTo>
                  <a:pt x="228234" y="283247"/>
                  <a:pt x="226036" y="285393"/>
                  <a:pt x="223471" y="285393"/>
                </a:cubicBezTo>
                <a:cubicBezTo>
                  <a:pt x="221273" y="285393"/>
                  <a:pt x="219075" y="283247"/>
                  <a:pt x="219075" y="281102"/>
                </a:cubicBezTo>
                <a:lnTo>
                  <a:pt x="219075" y="250711"/>
                </a:lnTo>
                <a:cubicBezTo>
                  <a:pt x="219075" y="248208"/>
                  <a:pt x="221273" y="246063"/>
                  <a:pt x="223471" y="246063"/>
                </a:cubicBezTo>
                <a:close/>
                <a:moveTo>
                  <a:pt x="62929" y="246063"/>
                </a:moveTo>
                <a:cubicBezTo>
                  <a:pt x="65596" y="246063"/>
                  <a:pt x="67882" y="248208"/>
                  <a:pt x="67882" y="250711"/>
                </a:cubicBezTo>
                <a:lnTo>
                  <a:pt x="67882" y="281102"/>
                </a:lnTo>
                <a:cubicBezTo>
                  <a:pt x="67882" y="283247"/>
                  <a:pt x="65596" y="285393"/>
                  <a:pt x="62929" y="285393"/>
                </a:cubicBezTo>
                <a:cubicBezTo>
                  <a:pt x="61024" y="285393"/>
                  <a:pt x="58738" y="283247"/>
                  <a:pt x="58738" y="281102"/>
                </a:cubicBezTo>
                <a:lnTo>
                  <a:pt x="58738" y="250711"/>
                </a:lnTo>
                <a:cubicBezTo>
                  <a:pt x="58738" y="248208"/>
                  <a:pt x="61024" y="246063"/>
                  <a:pt x="62929" y="246063"/>
                </a:cubicBezTo>
                <a:close/>
                <a:moveTo>
                  <a:pt x="183376" y="171090"/>
                </a:moveTo>
                <a:lnTo>
                  <a:pt x="150528" y="193016"/>
                </a:lnTo>
                <a:lnTo>
                  <a:pt x="176518" y="216020"/>
                </a:lnTo>
                <a:lnTo>
                  <a:pt x="199259" y="181514"/>
                </a:lnTo>
                <a:cubicBezTo>
                  <a:pt x="193123" y="180076"/>
                  <a:pt x="188069" y="176122"/>
                  <a:pt x="183376" y="171090"/>
                </a:cubicBezTo>
                <a:close/>
                <a:moveTo>
                  <a:pt x="102878" y="171090"/>
                </a:moveTo>
                <a:cubicBezTo>
                  <a:pt x="98908" y="176122"/>
                  <a:pt x="93132" y="180076"/>
                  <a:pt x="86995" y="181514"/>
                </a:cubicBezTo>
                <a:lnTo>
                  <a:pt x="110459" y="216020"/>
                </a:lnTo>
                <a:lnTo>
                  <a:pt x="136088" y="193016"/>
                </a:lnTo>
                <a:lnTo>
                  <a:pt x="102878" y="171090"/>
                </a:lnTo>
                <a:close/>
                <a:moveTo>
                  <a:pt x="112986" y="147368"/>
                </a:moveTo>
                <a:lnTo>
                  <a:pt x="110459" y="157432"/>
                </a:lnTo>
                <a:cubicBezTo>
                  <a:pt x="110098" y="159588"/>
                  <a:pt x="108654" y="161745"/>
                  <a:pt x="107932" y="163902"/>
                </a:cubicBezTo>
                <a:lnTo>
                  <a:pt x="143308" y="187265"/>
                </a:lnTo>
                <a:lnTo>
                  <a:pt x="179045" y="163902"/>
                </a:lnTo>
                <a:cubicBezTo>
                  <a:pt x="177601" y="161745"/>
                  <a:pt x="176879" y="159588"/>
                  <a:pt x="176157" y="157432"/>
                </a:cubicBezTo>
                <a:lnTo>
                  <a:pt x="173630" y="147368"/>
                </a:lnTo>
                <a:cubicBezTo>
                  <a:pt x="164245" y="152759"/>
                  <a:pt x="154137" y="155994"/>
                  <a:pt x="143308" y="155994"/>
                </a:cubicBezTo>
                <a:cubicBezTo>
                  <a:pt x="132479" y="155994"/>
                  <a:pt x="122371" y="152759"/>
                  <a:pt x="112986" y="147368"/>
                </a:cubicBezTo>
                <a:close/>
                <a:moveTo>
                  <a:pt x="166411" y="38459"/>
                </a:moveTo>
                <a:lnTo>
                  <a:pt x="166411" y="48164"/>
                </a:lnTo>
                <a:cubicBezTo>
                  <a:pt x="166411" y="50321"/>
                  <a:pt x="164967" y="52118"/>
                  <a:pt x="163523" y="52477"/>
                </a:cubicBezTo>
                <a:cubicBezTo>
                  <a:pt x="151249" y="56071"/>
                  <a:pt x="140420" y="57509"/>
                  <a:pt x="130674" y="57509"/>
                </a:cubicBezTo>
                <a:cubicBezTo>
                  <a:pt x="108654" y="57509"/>
                  <a:pt x="93493" y="49961"/>
                  <a:pt x="86635" y="44570"/>
                </a:cubicBezTo>
                <a:cubicBezTo>
                  <a:pt x="83386" y="52837"/>
                  <a:pt x="81942" y="61822"/>
                  <a:pt x="81942" y="71887"/>
                </a:cubicBezTo>
                <a:cubicBezTo>
                  <a:pt x="81942" y="113221"/>
                  <a:pt x="109376" y="147368"/>
                  <a:pt x="143308" y="147368"/>
                </a:cubicBezTo>
                <a:cubicBezTo>
                  <a:pt x="177240" y="147368"/>
                  <a:pt x="205035" y="113221"/>
                  <a:pt x="205035" y="71887"/>
                </a:cubicBezTo>
                <a:cubicBezTo>
                  <a:pt x="205035" y="59306"/>
                  <a:pt x="202147" y="48164"/>
                  <a:pt x="197455" y="38819"/>
                </a:cubicBezTo>
                <a:cubicBezTo>
                  <a:pt x="191318" y="43132"/>
                  <a:pt x="182654" y="46007"/>
                  <a:pt x="182294" y="46367"/>
                </a:cubicBezTo>
                <a:cubicBezTo>
                  <a:pt x="180850" y="46726"/>
                  <a:pt x="179767" y="46367"/>
                  <a:pt x="178684" y="46007"/>
                </a:cubicBezTo>
                <a:lnTo>
                  <a:pt x="166411" y="38459"/>
                </a:lnTo>
                <a:close/>
                <a:moveTo>
                  <a:pt x="143308" y="8986"/>
                </a:moveTo>
                <a:cubicBezTo>
                  <a:pt x="118761" y="8986"/>
                  <a:pt x="100713" y="19050"/>
                  <a:pt x="89883" y="37021"/>
                </a:cubicBezTo>
                <a:cubicBezTo>
                  <a:pt x="97825" y="42054"/>
                  <a:pt x="120927" y="55712"/>
                  <a:pt x="157747" y="44929"/>
                </a:cubicBezTo>
                <a:lnTo>
                  <a:pt x="157747" y="30911"/>
                </a:lnTo>
                <a:cubicBezTo>
                  <a:pt x="157747" y="29114"/>
                  <a:pt x="158469" y="27676"/>
                  <a:pt x="159913" y="26957"/>
                </a:cubicBezTo>
                <a:cubicBezTo>
                  <a:pt x="161357" y="26238"/>
                  <a:pt x="163162" y="26238"/>
                  <a:pt x="164245" y="26957"/>
                </a:cubicBezTo>
                <a:lnTo>
                  <a:pt x="181572" y="37381"/>
                </a:lnTo>
                <a:cubicBezTo>
                  <a:pt x="184459" y="35943"/>
                  <a:pt x="189152" y="34146"/>
                  <a:pt x="192762" y="31630"/>
                </a:cubicBezTo>
                <a:cubicBezTo>
                  <a:pt x="182654" y="16893"/>
                  <a:pt x="164967" y="8986"/>
                  <a:pt x="143308" y="8986"/>
                </a:cubicBezTo>
                <a:close/>
                <a:moveTo>
                  <a:pt x="143308" y="0"/>
                </a:moveTo>
                <a:cubicBezTo>
                  <a:pt x="185542" y="0"/>
                  <a:pt x="213699" y="28754"/>
                  <a:pt x="213699" y="71887"/>
                </a:cubicBezTo>
                <a:cubicBezTo>
                  <a:pt x="213699" y="101001"/>
                  <a:pt x="200703" y="127239"/>
                  <a:pt x="181572" y="142336"/>
                </a:cubicBezTo>
                <a:lnTo>
                  <a:pt x="184820" y="154916"/>
                </a:lnTo>
                <a:cubicBezTo>
                  <a:pt x="186986" y="164980"/>
                  <a:pt x="195650" y="173247"/>
                  <a:pt x="206118" y="174685"/>
                </a:cubicBezTo>
                <a:lnTo>
                  <a:pt x="244743" y="181154"/>
                </a:lnTo>
                <a:cubicBezTo>
                  <a:pt x="268928" y="185468"/>
                  <a:pt x="286977" y="206674"/>
                  <a:pt x="286977" y="230756"/>
                </a:cubicBezTo>
                <a:lnTo>
                  <a:pt x="286977" y="281078"/>
                </a:lnTo>
                <a:cubicBezTo>
                  <a:pt x="286977" y="283234"/>
                  <a:pt x="284811" y="285391"/>
                  <a:pt x="282284" y="285391"/>
                </a:cubicBezTo>
                <a:cubicBezTo>
                  <a:pt x="279758" y="285391"/>
                  <a:pt x="277953" y="283234"/>
                  <a:pt x="277953" y="281078"/>
                </a:cubicBezTo>
                <a:lnTo>
                  <a:pt x="277953" y="230756"/>
                </a:lnTo>
                <a:cubicBezTo>
                  <a:pt x="277953" y="210628"/>
                  <a:pt x="263153" y="193375"/>
                  <a:pt x="242938" y="189781"/>
                </a:cubicBezTo>
                <a:lnTo>
                  <a:pt x="208645" y="184030"/>
                </a:lnTo>
                <a:lnTo>
                  <a:pt x="180489" y="224646"/>
                </a:lnTo>
                <a:cubicBezTo>
                  <a:pt x="180128" y="225724"/>
                  <a:pt x="179045" y="226443"/>
                  <a:pt x="177601" y="226443"/>
                </a:cubicBezTo>
                <a:cubicBezTo>
                  <a:pt x="177240" y="226443"/>
                  <a:pt x="177240" y="226443"/>
                  <a:pt x="177240" y="226443"/>
                </a:cubicBezTo>
                <a:cubicBezTo>
                  <a:pt x="176157" y="226443"/>
                  <a:pt x="175435" y="226443"/>
                  <a:pt x="174352" y="225724"/>
                </a:cubicBezTo>
                <a:lnTo>
                  <a:pt x="147640" y="202002"/>
                </a:lnTo>
                <a:lnTo>
                  <a:pt x="147640" y="281078"/>
                </a:lnTo>
                <a:cubicBezTo>
                  <a:pt x="147640" y="283234"/>
                  <a:pt x="145835" y="285391"/>
                  <a:pt x="143308" y="285391"/>
                </a:cubicBezTo>
                <a:cubicBezTo>
                  <a:pt x="141142" y="285391"/>
                  <a:pt x="138976" y="283234"/>
                  <a:pt x="138976" y="281078"/>
                </a:cubicBezTo>
                <a:lnTo>
                  <a:pt x="138976" y="202002"/>
                </a:lnTo>
                <a:lnTo>
                  <a:pt x="112264" y="225724"/>
                </a:lnTo>
                <a:cubicBezTo>
                  <a:pt x="111542" y="226443"/>
                  <a:pt x="110459" y="226443"/>
                  <a:pt x="109376" y="226443"/>
                </a:cubicBezTo>
                <a:cubicBezTo>
                  <a:pt x="109015" y="226443"/>
                  <a:pt x="109015" y="226443"/>
                  <a:pt x="108654" y="226443"/>
                </a:cubicBezTo>
                <a:cubicBezTo>
                  <a:pt x="107571" y="226443"/>
                  <a:pt x="106127" y="225724"/>
                  <a:pt x="105766" y="224646"/>
                </a:cubicBezTo>
                <a:lnTo>
                  <a:pt x="77610" y="184030"/>
                </a:lnTo>
                <a:lnTo>
                  <a:pt x="43678" y="189781"/>
                </a:lnTo>
                <a:cubicBezTo>
                  <a:pt x="23463" y="193375"/>
                  <a:pt x="8663" y="210628"/>
                  <a:pt x="8663" y="230756"/>
                </a:cubicBezTo>
                <a:lnTo>
                  <a:pt x="8663" y="281078"/>
                </a:lnTo>
                <a:cubicBezTo>
                  <a:pt x="8663" y="283234"/>
                  <a:pt x="6859" y="285391"/>
                  <a:pt x="4693" y="285391"/>
                </a:cubicBezTo>
                <a:cubicBezTo>
                  <a:pt x="2166" y="285391"/>
                  <a:pt x="0" y="283234"/>
                  <a:pt x="0" y="281078"/>
                </a:cubicBezTo>
                <a:lnTo>
                  <a:pt x="0" y="230756"/>
                </a:lnTo>
                <a:cubicBezTo>
                  <a:pt x="0" y="206674"/>
                  <a:pt x="17688" y="185468"/>
                  <a:pt x="42234" y="181154"/>
                </a:cubicBezTo>
                <a:lnTo>
                  <a:pt x="80498" y="174685"/>
                </a:lnTo>
                <a:cubicBezTo>
                  <a:pt x="90605" y="173247"/>
                  <a:pt x="99269" y="164980"/>
                  <a:pt x="101796" y="154916"/>
                </a:cubicBezTo>
                <a:lnTo>
                  <a:pt x="105044" y="142336"/>
                </a:lnTo>
                <a:cubicBezTo>
                  <a:pt x="85913" y="127239"/>
                  <a:pt x="73278" y="101001"/>
                  <a:pt x="73278" y="71887"/>
                </a:cubicBezTo>
                <a:cubicBezTo>
                  <a:pt x="73278" y="28754"/>
                  <a:pt x="101435" y="0"/>
                  <a:pt x="143308" y="0"/>
                </a:cubicBezTo>
                <a:close/>
              </a:path>
            </a:pathLst>
          </a:custGeom>
          <a:solidFill>
            <a:schemeClr val="bg1"/>
          </a:solidFill>
          <a:ln>
            <a:noFill/>
          </a:ln>
          <a:effectLst/>
        </p:spPr>
        <p:txBody>
          <a:bodyPr anchor="ctr"/>
          <a:lstStyle/>
          <a:p>
            <a:endParaRPr lang="en-US" sz="900" dirty="0"/>
          </a:p>
        </p:txBody>
      </p:sp>
      <p:sp>
        <p:nvSpPr>
          <p:cNvPr id="39" name="TextBox 38">
            <a:extLst>
              <a:ext uri="{FF2B5EF4-FFF2-40B4-BE49-F238E27FC236}">
                <a16:creationId xmlns:a16="http://schemas.microsoft.com/office/drawing/2014/main" id="{896EAE4B-A9A4-9A40-A2C1-653976E42ED8}"/>
              </a:ext>
            </a:extLst>
          </p:cNvPr>
          <p:cNvSpPr txBox="1"/>
          <p:nvPr/>
        </p:nvSpPr>
        <p:spPr>
          <a:xfrm>
            <a:off x="2313126" y="1607934"/>
            <a:ext cx="1021113" cy="353943"/>
          </a:xfrm>
          <a:prstGeom prst="rect">
            <a:avLst/>
          </a:prstGeom>
          <a:noFill/>
        </p:spPr>
        <p:txBody>
          <a:bodyPr wrap="none" rtlCol="0" anchor="ctr" anchorCtr="0">
            <a:spAutoFit/>
          </a:bodyPr>
          <a:lstStyle/>
          <a:p>
            <a:pPr algn="r"/>
            <a:r>
              <a:rPr lang="en-US" sz="1700" b="1" dirty="0">
                <a:solidFill>
                  <a:schemeClr val="tx2"/>
                </a:solidFill>
                <a:latin typeface="Segoe UI Light" panose="020B0502040204020203" pitchFamily="34" charset="0"/>
                <a:ea typeface="League Spartan" charset="0"/>
                <a:cs typeface="Poppins" pitchFamily="2" charset="77"/>
              </a:rPr>
              <a:t>Your Title</a:t>
            </a:r>
          </a:p>
        </p:txBody>
      </p:sp>
      <p:sp>
        <p:nvSpPr>
          <p:cNvPr id="40" name="Subtitle 2">
            <a:extLst>
              <a:ext uri="{FF2B5EF4-FFF2-40B4-BE49-F238E27FC236}">
                <a16:creationId xmlns:a16="http://schemas.microsoft.com/office/drawing/2014/main" id="{76A85E59-342E-A54E-85E4-613408D49033}"/>
              </a:ext>
            </a:extLst>
          </p:cNvPr>
          <p:cNvSpPr txBox="1">
            <a:spLocks/>
          </p:cNvSpPr>
          <p:nvPr/>
        </p:nvSpPr>
        <p:spPr>
          <a:xfrm>
            <a:off x="762000" y="1915674"/>
            <a:ext cx="2643350" cy="320700"/>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4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a:t>
            </a:r>
            <a:endParaRPr lang="en-US" sz="13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endParaRPr>
          </a:p>
        </p:txBody>
      </p:sp>
      <p:cxnSp>
        <p:nvCxnSpPr>
          <p:cNvPr id="41" name="Straight Arrow Connector 40">
            <a:extLst>
              <a:ext uri="{FF2B5EF4-FFF2-40B4-BE49-F238E27FC236}">
                <a16:creationId xmlns:a16="http://schemas.microsoft.com/office/drawing/2014/main" id="{27B536B4-8368-AA49-9402-04F6E3490877}"/>
              </a:ext>
            </a:extLst>
          </p:cNvPr>
          <p:cNvCxnSpPr/>
          <p:nvPr/>
        </p:nvCxnSpPr>
        <p:spPr>
          <a:xfrm flipH="1">
            <a:off x="3471584" y="1903416"/>
            <a:ext cx="548640" cy="0"/>
          </a:xfrm>
          <a:prstGeom prst="straightConnector1">
            <a:avLst/>
          </a:prstGeom>
          <a:ln w="38100">
            <a:tailEnd type="oval"/>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D5E9DFDA-CB16-F94C-8D7D-EA35E0AB516D}"/>
              </a:ext>
            </a:extLst>
          </p:cNvPr>
          <p:cNvCxnSpPr/>
          <p:nvPr/>
        </p:nvCxnSpPr>
        <p:spPr>
          <a:xfrm flipH="1">
            <a:off x="3882893" y="2893730"/>
            <a:ext cx="548640" cy="0"/>
          </a:xfrm>
          <a:prstGeom prst="straightConnector1">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FEFDD766-49FD-7942-A965-4C722FE24879}"/>
              </a:ext>
            </a:extLst>
          </p:cNvPr>
          <p:cNvCxnSpPr/>
          <p:nvPr/>
        </p:nvCxnSpPr>
        <p:spPr>
          <a:xfrm flipH="1">
            <a:off x="4347263" y="3968980"/>
            <a:ext cx="548640" cy="0"/>
          </a:xfrm>
          <a:prstGeom prst="straightConnector1">
            <a:avLst/>
          </a:prstGeom>
          <a:ln w="38100">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5E313CDC-881A-DD4C-A79D-AAF6CCD9EDD4}"/>
              </a:ext>
            </a:extLst>
          </p:cNvPr>
          <p:cNvCxnSpPr/>
          <p:nvPr/>
        </p:nvCxnSpPr>
        <p:spPr>
          <a:xfrm flipH="1">
            <a:off x="4778002" y="4955261"/>
            <a:ext cx="548640" cy="0"/>
          </a:xfrm>
          <a:prstGeom prst="straightConnector1">
            <a:avLst/>
          </a:prstGeom>
          <a:ln w="381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CCD86B08-35DF-684E-B812-9B695C7C6BA4}"/>
              </a:ext>
            </a:extLst>
          </p:cNvPr>
          <p:cNvCxnSpPr/>
          <p:nvPr/>
        </p:nvCxnSpPr>
        <p:spPr>
          <a:xfrm flipH="1">
            <a:off x="5223168" y="6014326"/>
            <a:ext cx="548640" cy="0"/>
          </a:xfrm>
          <a:prstGeom prst="straightConnector1">
            <a:avLst/>
          </a:prstGeom>
          <a:ln w="38100">
            <a:solidFill>
              <a:schemeClr val="accent5"/>
            </a:solidFill>
            <a:tailEnd type="ova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3E2A1FB9-3F93-FF44-A7F9-556073DDB85A}"/>
              </a:ext>
            </a:extLst>
          </p:cNvPr>
          <p:cNvSpPr txBox="1"/>
          <p:nvPr/>
        </p:nvSpPr>
        <p:spPr>
          <a:xfrm>
            <a:off x="2716820" y="2601181"/>
            <a:ext cx="1021113" cy="353943"/>
          </a:xfrm>
          <a:prstGeom prst="rect">
            <a:avLst/>
          </a:prstGeom>
          <a:noFill/>
        </p:spPr>
        <p:txBody>
          <a:bodyPr wrap="none" rtlCol="0" anchor="ctr" anchorCtr="0">
            <a:spAutoFit/>
          </a:bodyPr>
          <a:lstStyle/>
          <a:p>
            <a:pPr algn="r"/>
            <a:r>
              <a:rPr lang="en-US" sz="1700" b="1" dirty="0">
                <a:solidFill>
                  <a:schemeClr val="tx2"/>
                </a:solidFill>
                <a:latin typeface="Segoe UI Light" panose="020B0502040204020203" pitchFamily="34" charset="0"/>
                <a:ea typeface="League Spartan" charset="0"/>
                <a:cs typeface="Poppins" pitchFamily="2" charset="77"/>
              </a:rPr>
              <a:t>Your Title</a:t>
            </a:r>
          </a:p>
        </p:txBody>
      </p:sp>
      <p:sp>
        <p:nvSpPr>
          <p:cNvPr id="47" name="Subtitle 2">
            <a:extLst>
              <a:ext uri="{FF2B5EF4-FFF2-40B4-BE49-F238E27FC236}">
                <a16:creationId xmlns:a16="http://schemas.microsoft.com/office/drawing/2014/main" id="{DF25359C-A896-D446-85A7-3C26EDEC21CD}"/>
              </a:ext>
            </a:extLst>
          </p:cNvPr>
          <p:cNvSpPr txBox="1">
            <a:spLocks/>
          </p:cNvSpPr>
          <p:nvPr/>
        </p:nvSpPr>
        <p:spPr>
          <a:xfrm>
            <a:off x="1165694" y="2908921"/>
            <a:ext cx="2643350" cy="320700"/>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4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a:t>
            </a:r>
            <a:endParaRPr lang="en-US" sz="13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endParaRPr>
          </a:p>
        </p:txBody>
      </p:sp>
      <p:sp>
        <p:nvSpPr>
          <p:cNvPr id="48" name="TextBox 47">
            <a:extLst>
              <a:ext uri="{FF2B5EF4-FFF2-40B4-BE49-F238E27FC236}">
                <a16:creationId xmlns:a16="http://schemas.microsoft.com/office/drawing/2014/main" id="{6B7669B2-76BD-9C45-87B5-6301BFEA2519}"/>
              </a:ext>
            </a:extLst>
          </p:cNvPr>
          <p:cNvSpPr txBox="1"/>
          <p:nvPr/>
        </p:nvSpPr>
        <p:spPr>
          <a:xfrm>
            <a:off x="3182815" y="3670032"/>
            <a:ext cx="1021113" cy="353943"/>
          </a:xfrm>
          <a:prstGeom prst="rect">
            <a:avLst/>
          </a:prstGeom>
          <a:noFill/>
        </p:spPr>
        <p:txBody>
          <a:bodyPr wrap="none" rtlCol="0" anchor="ctr" anchorCtr="0">
            <a:spAutoFit/>
          </a:bodyPr>
          <a:lstStyle/>
          <a:p>
            <a:pPr algn="r"/>
            <a:r>
              <a:rPr lang="en-US" sz="1700" b="1" dirty="0">
                <a:solidFill>
                  <a:schemeClr val="tx2"/>
                </a:solidFill>
                <a:latin typeface="Segoe UI Light" panose="020B0502040204020203" pitchFamily="34" charset="0"/>
                <a:ea typeface="League Spartan" charset="0"/>
                <a:cs typeface="Poppins" pitchFamily="2" charset="77"/>
              </a:rPr>
              <a:t>Your Title</a:t>
            </a:r>
          </a:p>
        </p:txBody>
      </p:sp>
      <p:sp>
        <p:nvSpPr>
          <p:cNvPr id="49" name="Subtitle 2">
            <a:extLst>
              <a:ext uri="{FF2B5EF4-FFF2-40B4-BE49-F238E27FC236}">
                <a16:creationId xmlns:a16="http://schemas.microsoft.com/office/drawing/2014/main" id="{6B53E014-3EBD-D34E-8275-DC1B827B0DE7}"/>
              </a:ext>
            </a:extLst>
          </p:cNvPr>
          <p:cNvSpPr txBox="1">
            <a:spLocks/>
          </p:cNvSpPr>
          <p:nvPr/>
        </p:nvSpPr>
        <p:spPr>
          <a:xfrm>
            <a:off x="1631689" y="3977772"/>
            <a:ext cx="2643350" cy="320700"/>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4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a:t>
            </a:r>
            <a:endParaRPr lang="en-US" sz="13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endParaRPr>
          </a:p>
        </p:txBody>
      </p:sp>
      <p:sp>
        <p:nvSpPr>
          <p:cNvPr id="50" name="TextBox 49">
            <a:extLst>
              <a:ext uri="{FF2B5EF4-FFF2-40B4-BE49-F238E27FC236}">
                <a16:creationId xmlns:a16="http://schemas.microsoft.com/office/drawing/2014/main" id="{8970934C-DCA8-6C47-BDB0-7E5AAEAACB41}"/>
              </a:ext>
            </a:extLst>
          </p:cNvPr>
          <p:cNvSpPr txBox="1"/>
          <p:nvPr/>
        </p:nvSpPr>
        <p:spPr>
          <a:xfrm>
            <a:off x="3613639" y="4645248"/>
            <a:ext cx="1021113" cy="353943"/>
          </a:xfrm>
          <a:prstGeom prst="rect">
            <a:avLst/>
          </a:prstGeom>
          <a:noFill/>
        </p:spPr>
        <p:txBody>
          <a:bodyPr wrap="none" rtlCol="0" anchor="ctr" anchorCtr="0">
            <a:spAutoFit/>
          </a:bodyPr>
          <a:lstStyle/>
          <a:p>
            <a:pPr algn="r"/>
            <a:r>
              <a:rPr lang="en-US" sz="1700" b="1" dirty="0">
                <a:solidFill>
                  <a:schemeClr val="tx2"/>
                </a:solidFill>
                <a:latin typeface="Segoe UI Light" panose="020B0502040204020203" pitchFamily="34" charset="0"/>
                <a:ea typeface="League Spartan" charset="0"/>
                <a:cs typeface="Poppins" pitchFamily="2" charset="77"/>
              </a:rPr>
              <a:t>Your Title</a:t>
            </a:r>
          </a:p>
        </p:txBody>
      </p:sp>
      <p:sp>
        <p:nvSpPr>
          <p:cNvPr id="51" name="Subtitle 2">
            <a:extLst>
              <a:ext uri="{FF2B5EF4-FFF2-40B4-BE49-F238E27FC236}">
                <a16:creationId xmlns:a16="http://schemas.microsoft.com/office/drawing/2014/main" id="{5623E4BB-7C8A-8B4C-9525-6A2F78D8E4E3}"/>
              </a:ext>
            </a:extLst>
          </p:cNvPr>
          <p:cNvSpPr txBox="1">
            <a:spLocks/>
          </p:cNvSpPr>
          <p:nvPr/>
        </p:nvSpPr>
        <p:spPr>
          <a:xfrm>
            <a:off x="2062513" y="4952988"/>
            <a:ext cx="2643350" cy="320700"/>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4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a:t>
            </a:r>
            <a:endParaRPr lang="en-US" sz="13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endParaRPr>
          </a:p>
        </p:txBody>
      </p:sp>
      <p:sp>
        <p:nvSpPr>
          <p:cNvPr id="52" name="TextBox 51">
            <a:extLst>
              <a:ext uri="{FF2B5EF4-FFF2-40B4-BE49-F238E27FC236}">
                <a16:creationId xmlns:a16="http://schemas.microsoft.com/office/drawing/2014/main" id="{07E8B12F-420F-2343-A396-BA5AD3AE0652}"/>
              </a:ext>
            </a:extLst>
          </p:cNvPr>
          <p:cNvSpPr txBox="1"/>
          <p:nvPr/>
        </p:nvSpPr>
        <p:spPr>
          <a:xfrm>
            <a:off x="4062047" y="5710355"/>
            <a:ext cx="1021113" cy="353943"/>
          </a:xfrm>
          <a:prstGeom prst="rect">
            <a:avLst/>
          </a:prstGeom>
          <a:noFill/>
        </p:spPr>
        <p:txBody>
          <a:bodyPr wrap="none" rtlCol="0" anchor="ctr" anchorCtr="0">
            <a:spAutoFit/>
          </a:bodyPr>
          <a:lstStyle/>
          <a:p>
            <a:pPr algn="r"/>
            <a:r>
              <a:rPr lang="en-US" sz="1700" b="1" dirty="0">
                <a:solidFill>
                  <a:schemeClr val="tx2"/>
                </a:solidFill>
                <a:latin typeface="Segoe UI Light" panose="020B0502040204020203" pitchFamily="34" charset="0"/>
                <a:ea typeface="League Spartan" charset="0"/>
                <a:cs typeface="Poppins" pitchFamily="2" charset="77"/>
              </a:rPr>
              <a:t>Your Title</a:t>
            </a:r>
          </a:p>
        </p:txBody>
      </p:sp>
      <p:sp>
        <p:nvSpPr>
          <p:cNvPr id="53" name="Subtitle 2">
            <a:extLst>
              <a:ext uri="{FF2B5EF4-FFF2-40B4-BE49-F238E27FC236}">
                <a16:creationId xmlns:a16="http://schemas.microsoft.com/office/drawing/2014/main" id="{DFC52D56-7B71-B344-AB89-F7AE82B31584}"/>
              </a:ext>
            </a:extLst>
          </p:cNvPr>
          <p:cNvSpPr txBox="1">
            <a:spLocks/>
          </p:cNvSpPr>
          <p:nvPr/>
        </p:nvSpPr>
        <p:spPr>
          <a:xfrm>
            <a:off x="2510921" y="6018095"/>
            <a:ext cx="2643350" cy="320700"/>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4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a:t>
            </a:r>
            <a:endParaRPr lang="en-US" sz="13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endParaRPr>
          </a:p>
        </p:txBody>
      </p:sp>
      <p:sp>
        <p:nvSpPr>
          <p:cNvPr id="55" name="Freeform: Shape 378">
            <a:extLst>
              <a:ext uri="{FF2B5EF4-FFF2-40B4-BE49-F238E27FC236}">
                <a16:creationId xmlns:a16="http://schemas.microsoft.com/office/drawing/2014/main" id="{A042454B-A0DD-5A4F-8EFE-D655309A9144}"/>
              </a:ext>
            </a:extLst>
          </p:cNvPr>
          <p:cNvSpPr>
            <a:spLocks/>
          </p:cNvSpPr>
          <p:nvPr/>
        </p:nvSpPr>
        <p:spPr bwMode="auto">
          <a:xfrm rot="10800000">
            <a:off x="8408751" y="1525134"/>
            <a:ext cx="3788721" cy="720880"/>
          </a:xfrm>
          <a:custGeom>
            <a:avLst/>
            <a:gdLst>
              <a:gd name="connsiteX0" fmla="*/ 3481930 w 3789708"/>
              <a:gd name="connsiteY0" fmla="*/ 721068 h 721068"/>
              <a:gd name="connsiteX1" fmla="*/ 0 w 3789708"/>
              <a:gd name="connsiteY1" fmla="*/ 721068 h 721068"/>
              <a:gd name="connsiteX2" fmla="*/ 0 w 3789708"/>
              <a:gd name="connsiteY2" fmla="*/ 0 h 721068"/>
              <a:gd name="connsiteX3" fmla="*/ 1653726 w 3789708"/>
              <a:gd name="connsiteY3" fmla="*/ 0 h 721068"/>
              <a:gd name="connsiteX4" fmla="*/ 3789708 w 3789708"/>
              <a:gd name="connsiteY4" fmla="*/ 0 h 721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9708" h="721068">
                <a:moveTo>
                  <a:pt x="3481930" y="721068"/>
                </a:moveTo>
                <a:lnTo>
                  <a:pt x="0" y="721068"/>
                </a:lnTo>
                <a:lnTo>
                  <a:pt x="0" y="0"/>
                </a:lnTo>
                <a:lnTo>
                  <a:pt x="1653726" y="0"/>
                </a:lnTo>
                <a:lnTo>
                  <a:pt x="3789708" y="0"/>
                </a:lnTo>
                <a:close/>
              </a:path>
            </a:pathLst>
          </a:custGeom>
          <a:noFill/>
          <a:ln w="57150">
            <a:solidFill>
              <a:schemeClr val="accent1"/>
            </a:solidFill>
            <a:round/>
            <a:headEnd/>
            <a:tailEnd/>
          </a:ln>
        </p:spPr>
        <p:txBody>
          <a:bodyPr vert="horz" wrap="square" lIns="91416" tIns="45708" rIns="91416" bIns="45708" numCol="1" anchor="t" anchorCtr="0" compatLnSpc="1">
            <a:prstTxWarp prst="textNoShape">
              <a:avLst/>
            </a:prstTxWarp>
            <a:noAutofit/>
          </a:bodyPr>
          <a:lstStyle/>
          <a:p>
            <a:endParaRPr lang="en-US" sz="3599" dirty="0"/>
          </a:p>
        </p:txBody>
      </p:sp>
      <p:sp>
        <p:nvSpPr>
          <p:cNvPr id="56" name="Freeform: Shape 380">
            <a:extLst>
              <a:ext uri="{FF2B5EF4-FFF2-40B4-BE49-F238E27FC236}">
                <a16:creationId xmlns:a16="http://schemas.microsoft.com/office/drawing/2014/main" id="{9B5E7AB1-4FDD-B547-A7BD-7E20BA8118ED}"/>
              </a:ext>
            </a:extLst>
          </p:cNvPr>
          <p:cNvSpPr>
            <a:spLocks/>
          </p:cNvSpPr>
          <p:nvPr/>
        </p:nvSpPr>
        <p:spPr bwMode="auto">
          <a:xfrm rot="10800000">
            <a:off x="7976102" y="2563203"/>
            <a:ext cx="4221372" cy="720880"/>
          </a:xfrm>
          <a:custGeom>
            <a:avLst/>
            <a:gdLst>
              <a:gd name="connsiteX0" fmla="*/ 3914692 w 4222471"/>
              <a:gd name="connsiteY0" fmla="*/ 721068 h 721068"/>
              <a:gd name="connsiteX1" fmla="*/ 3069702 w 4222471"/>
              <a:gd name="connsiteY1" fmla="*/ 721068 h 721068"/>
              <a:gd name="connsiteX2" fmla="*/ 259823 w 4222471"/>
              <a:gd name="connsiteY2" fmla="*/ 721068 h 721068"/>
              <a:gd name="connsiteX3" fmla="*/ 0 w 4222471"/>
              <a:gd name="connsiteY3" fmla="*/ 721068 h 721068"/>
              <a:gd name="connsiteX4" fmla="*/ 0 w 4222471"/>
              <a:gd name="connsiteY4" fmla="*/ 0 h 721068"/>
              <a:gd name="connsiteX5" fmla="*/ 1241498 w 4222471"/>
              <a:gd name="connsiteY5" fmla="*/ 0 h 721068"/>
              <a:gd name="connsiteX6" fmla="*/ 2086488 w 4222471"/>
              <a:gd name="connsiteY6" fmla="*/ 0 h 721068"/>
              <a:gd name="connsiteX7" fmla="*/ 3377480 w 4222471"/>
              <a:gd name="connsiteY7" fmla="*/ 0 h 721068"/>
              <a:gd name="connsiteX8" fmla="*/ 4222471 w 4222471"/>
              <a:gd name="connsiteY8" fmla="*/ 0 h 721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22471" h="721068">
                <a:moveTo>
                  <a:pt x="3914692" y="721068"/>
                </a:moveTo>
                <a:lnTo>
                  <a:pt x="3069702" y="721068"/>
                </a:lnTo>
                <a:lnTo>
                  <a:pt x="259823" y="721068"/>
                </a:lnTo>
                <a:lnTo>
                  <a:pt x="0" y="721068"/>
                </a:lnTo>
                <a:lnTo>
                  <a:pt x="0" y="0"/>
                </a:lnTo>
                <a:lnTo>
                  <a:pt x="1241498" y="0"/>
                </a:lnTo>
                <a:lnTo>
                  <a:pt x="2086488" y="0"/>
                </a:lnTo>
                <a:lnTo>
                  <a:pt x="3377480" y="0"/>
                </a:lnTo>
                <a:lnTo>
                  <a:pt x="4222471" y="0"/>
                </a:lnTo>
                <a:close/>
              </a:path>
            </a:pathLst>
          </a:custGeom>
          <a:noFill/>
          <a:ln w="57150">
            <a:solidFill>
              <a:schemeClr val="accent2"/>
            </a:solidFill>
            <a:round/>
            <a:headEnd/>
            <a:tailEnd/>
          </a:ln>
        </p:spPr>
        <p:txBody>
          <a:bodyPr vert="horz" wrap="square" lIns="91416" tIns="45708" rIns="91416" bIns="45708" numCol="1" anchor="t" anchorCtr="0" compatLnSpc="1">
            <a:prstTxWarp prst="textNoShape">
              <a:avLst/>
            </a:prstTxWarp>
            <a:noAutofit/>
          </a:bodyPr>
          <a:lstStyle/>
          <a:p>
            <a:endParaRPr lang="en-US" sz="3599" dirty="0"/>
          </a:p>
        </p:txBody>
      </p:sp>
      <p:sp>
        <p:nvSpPr>
          <p:cNvPr id="57" name="Freeform: Shape 382">
            <a:extLst>
              <a:ext uri="{FF2B5EF4-FFF2-40B4-BE49-F238E27FC236}">
                <a16:creationId xmlns:a16="http://schemas.microsoft.com/office/drawing/2014/main" id="{063AB21D-C452-B647-B619-567FD451A10A}"/>
              </a:ext>
            </a:extLst>
          </p:cNvPr>
          <p:cNvSpPr>
            <a:spLocks/>
          </p:cNvSpPr>
          <p:nvPr/>
        </p:nvSpPr>
        <p:spPr bwMode="auto">
          <a:xfrm rot="10800000">
            <a:off x="7534351" y="3559780"/>
            <a:ext cx="4663123" cy="720880"/>
          </a:xfrm>
          <a:custGeom>
            <a:avLst/>
            <a:gdLst>
              <a:gd name="connsiteX0" fmla="*/ 4356558 w 4664337"/>
              <a:gd name="connsiteY0" fmla="*/ 721068 h 721068"/>
              <a:gd name="connsiteX1" fmla="*/ 3511568 w 4664337"/>
              <a:gd name="connsiteY1" fmla="*/ 721068 h 721068"/>
              <a:gd name="connsiteX2" fmla="*/ 701689 w 4664337"/>
              <a:gd name="connsiteY2" fmla="*/ 721068 h 721068"/>
              <a:gd name="connsiteX3" fmla="*/ 0 w 4664337"/>
              <a:gd name="connsiteY3" fmla="*/ 721068 h 721068"/>
              <a:gd name="connsiteX4" fmla="*/ 0 w 4664337"/>
              <a:gd name="connsiteY4" fmla="*/ 0 h 721068"/>
              <a:gd name="connsiteX5" fmla="*/ 393911 w 4664337"/>
              <a:gd name="connsiteY5" fmla="*/ 0 h 721068"/>
              <a:gd name="connsiteX6" fmla="*/ 1683364 w 4664337"/>
              <a:gd name="connsiteY6" fmla="*/ 0 h 721068"/>
              <a:gd name="connsiteX7" fmla="*/ 2528354 w 4664337"/>
              <a:gd name="connsiteY7" fmla="*/ 0 h 721068"/>
              <a:gd name="connsiteX8" fmla="*/ 3819346 w 4664337"/>
              <a:gd name="connsiteY8" fmla="*/ 0 h 721068"/>
              <a:gd name="connsiteX9" fmla="*/ 4664337 w 4664337"/>
              <a:gd name="connsiteY9" fmla="*/ 0 h 721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4337" h="721068">
                <a:moveTo>
                  <a:pt x="4356558" y="721068"/>
                </a:moveTo>
                <a:lnTo>
                  <a:pt x="3511568" y="721068"/>
                </a:lnTo>
                <a:lnTo>
                  <a:pt x="701689" y="721068"/>
                </a:lnTo>
                <a:lnTo>
                  <a:pt x="0" y="721068"/>
                </a:lnTo>
                <a:lnTo>
                  <a:pt x="0" y="0"/>
                </a:lnTo>
                <a:lnTo>
                  <a:pt x="393911" y="0"/>
                </a:lnTo>
                <a:lnTo>
                  <a:pt x="1683364" y="0"/>
                </a:lnTo>
                <a:lnTo>
                  <a:pt x="2528354" y="0"/>
                </a:lnTo>
                <a:lnTo>
                  <a:pt x="3819346" y="0"/>
                </a:lnTo>
                <a:lnTo>
                  <a:pt x="4664337" y="0"/>
                </a:lnTo>
                <a:close/>
              </a:path>
            </a:pathLst>
          </a:custGeom>
          <a:noFill/>
          <a:ln w="57150">
            <a:solidFill>
              <a:schemeClr val="accent3"/>
            </a:solidFill>
            <a:round/>
            <a:headEnd/>
            <a:tailEnd/>
          </a:ln>
        </p:spPr>
        <p:txBody>
          <a:bodyPr vert="horz" wrap="square" lIns="91416" tIns="45708" rIns="91416" bIns="45708" numCol="1" anchor="t" anchorCtr="0" compatLnSpc="1">
            <a:prstTxWarp prst="textNoShape">
              <a:avLst/>
            </a:prstTxWarp>
            <a:noAutofit/>
          </a:bodyPr>
          <a:lstStyle/>
          <a:p>
            <a:endParaRPr lang="en-US" sz="3599" dirty="0"/>
          </a:p>
        </p:txBody>
      </p:sp>
      <p:sp>
        <p:nvSpPr>
          <p:cNvPr id="58" name="Freeform: Shape 384">
            <a:extLst>
              <a:ext uri="{FF2B5EF4-FFF2-40B4-BE49-F238E27FC236}">
                <a16:creationId xmlns:a16="http://schemas.microsoft.com/office/drawing/2014/main" id="{91E3A690-FAC2-CD4B-B9FC-3FF8DDD3F342}"/>
              </a:ext>
            </a:extLst>
          </p:cNvPr>
          <p:cNvSpPr>
            <a:spLocks/>
          </p:cNvSpPr>
          <p:nvPr/>
        </p:nvSpPr>
        <p:spPr bwMode="auto">
          <a:xfrm rot="10800000">
            <a:off x="7101229" y="4569563"/>
            <a:ext cx="5096244" cy="720880"/>
          </a:xfrm>
          <a:custGeom>
            <a:avLst/>
            <a:gdLst>
              <a:gd name="connsiteX0" fmla="*/ 4789792 w 5097571"/>
              <a:gd name="connsiteY0" fmla="*/ 721068 h 721068"/>
              <a:gd name="connsiteX1" fmla="*/ 3944802 w 5097571"/>
              <a:gd name="connsiteY1" fmla="*/ 721068 h 721068"/>
              <a:gd name="connsiteX2" fmla="*/ 3367012 w 5097571"/>
              <a:gd name="connsiteY2" fmla="*/ 721068 h 721068"/>
              <a:gd name="connsiteX3" fmla="*/ 2522022 w 5097571"/>
              <a:gd name="connsiteY3" fmla="*/ 721068 h 721068"/>
              <a:gd name="connsiteX4" fmla="*/ 1134923 w 5097571"/>
              <a:gd name="connsiteY4" fmla="*/ 721068 h 721068"/>
              <a:gd name="connsiteX5" fmla="*/ 289932 w 5097571"/>
              <a:gd name="connsiteY5" fmla="*/ 721068 h 721068"/>
              <a:gd name="connsiteX6" fmla="*/ 0 w 5097571"/>
              <a:gd name="connsiteY6" fmla="*/ 721068 h 721068"/>
              <a:gd name="connsiteX7" fmla="*/ 0 w 5097571"/>
              <a:gd name="connsiteY7" fmla="*/ 0 h 721068"/>
              <a:gd name="connsiteX8" fmla="*/ 693818 w 5097571"/>
              <a:gd name="connsiteY8" fmla="*/ 0 h 721068"/>
              <a:gd name="connsiteX9" fmla="*/ 827145 w 5097571"/>
              <a:gd name="connsiteY9" fmla="*/ 0 h 721068"/>
              <a:gd name="connsiteX10" fmla="*/ 1538808 w 5097571"/>
              <a:gd name="connsiteY10" fmla="*/ 0 h 721068"/>
              <a:gd name="connsiteX11" fmla="*/ 2116598 w 5097571"/>
              <a:gd name="connsiteY11" fmla="*/ 0 h 721068"/>
              <a:gd name="connsiteX12" fmla="*/ 2829800 w 5097571"/>
              <a:gd name="connsiteY12" fmla="*/ 0 h 721068"/>
              <a:gd name="connsiteX13" fmla="*/ 2961588 w 5097571"/>
              <a:gd name="connsiteY13" fmla="*/ 0 h 721068"/>
              <a:gd name="connsiteX14" fmla="*/ 3674791 w 5097571"/>
              <a:gd name="connsiteY14" fmla="*/ 0 h 721068"/>
              <a:gd name="connsiteX15" fmla="*/ 4252580 w 5097571"/>
              <a:gd name="connsiteY15" fmla="*/ 0 h 721068"/>
              <a:gd name="connsiteX16" fmla="*/ 5097571 w 5097571"/>
              <a:gd name="connsiteY16" fmla="*/ 0 h 721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97571" h="721068">
                <a:moveTo>
                  <a:pt x="4789792" y="721068"/>
                </a:moveTo>
                <a:lnTo>
                  <a:pt x="3944802" y="721068"/>
                </a:lnTo>
                <a:lnTo>
                  <a:pt x="3367012" y="721068"/>
                </a:lnTo>
                <a:lnTo>
                  <a:pt x="2522022" y="721068"/>
                </a:lnTo>
                <a:lnTo>
                  <a:pt x="1134923" y="721068"/>
                </a:lnTo>
                <a:lnTo>
                  <a:pt x="289932" y="721068"/>
                </a:lnTo>
                <a:lnTo>
                  <a:pt x="0" y="721068"/>
                </a:lnTo>
                <a:lnTo>
                  <a:pt x="0" y="0"/>
                </a:lnTo>
                <a:lnTo>
                  <a:pt x="693818" y="0"/>
                </a:lnTo>
                <a:lnTo>
                  <a:pt x="827145" y="0"/>
                </a:lnTo>
                <a:lnTo>
                  <a:pt x="1538808" y="0"/>
                </a:lnTo>
                <a:lnTo>
                  <a:pt x="2116598" y="0"/>
                </a:lnTo>
                <a:lnTo>
                  <a:pt x="2829800" y="0"/>
                </a:lnTo>
                <a:lnTo>
                  <a:pt x="2961588" y="0"/>
                </a:lnTo>
                <a:lnTo>
                  <a:pt x="3674791" y="0"/>
                </a:lnTo>
                <a:lnTo>
                  <a:pt x="4252580" y="0"/>
                </a:lnTo>
                <a:lnTo>
                  <a:pt x="5097571" y="0"/>
                </a:lnTo>
                <a:close/>
              </a:path>
            </a:pathLst>
          </a:custGeom>
          <a:noFill/>
          <a:ln w="57150">
            <a:solidFill>
              <a:schemeClr val="accent4"/>
            </a:solidFill>
            <a:round/>
            <a:headEnd/>
            <a:tailEnd/>
          </a:ln>
        </p:spPr>
        <p:txBody>
          <a:bodyPr vert="horz" wrap="square" lIns="91416" tIns="45708" rIns="91416" bIns="45708" numCol="1" anchor="t" anchorCtr="0" compatLnSpc="1">
            <a:prstTxWarp prst="textNoShape">
              <a:avLst/>
            </a:prstTxWarp>
            <a:noAutofit/>
          </a:bodyPr>
          <a:lstStyle/>
          <a:p>
            <a:endParaRPr lang="en-US" sz="3599" dirty="0"/>
          </a:p>
        </p:txBody>
      </p:sp>
      <p:sp>
        <p:nvSpPr>
          <p:cNvPr id="59" name="Freeform: Shape 386">
            <a:extLst>
              <a:ext uri="{FF2B5EF4-FFF2-40B4-BE49-F238E27FC236}">
                <a16:creationId xmlns:a16="http://schemas.microsoft.com/office/drawing/2014/main" id="{56F68612-2D01-5B46-B847-9AF8263ABC68}"/>
              </a:ext>
            </a:extLst>
          </p:cNvPr>
          <p:cNvSpPr>
            <a:spLocks/>
          </p:cNvSpPr>
          <p:nvPr/>
        </p:nvSpPr>
        <p:spPr bwMode="auto">
          <a:xfrm rot="10800000">
            <a:off x="6677108" y="5580975"/>
            <a:ext cx="5520365" cy="720880"/>
          </a:xfrm>
          <a:custGeom>
            <a:avLst/>
            <a:gdLst>
              <a:gd name="connsiteX0" fmla="*/ 5214024 w 5521803"/>
              <a:gd name="connsiteY0" fmla="*/ 721068 h 721068"/>
              <a:gd name="connsiteX1" fmla="*/ 4369034 w 5521803"/>
              <a:gd name="connsiteY1" fmla="*/ 721068 h 721068"/>
              <a:gd name="connsiteX2" fmla="*/ 3791244 w 5521803"/>
              <a:gd name="connsiteY2" fmla="*/ 721068 h 721068"/>
              <a:gd name="connsiteX3" fmla="*/ 2946254 w 5521803"/>
              <a:gd name="connsiteY3" fmla="*/ 721068 h 721068"/>
              <a:gd name="connsiteX4" fmla="*/ 1559155 w 5521803"/>
              <a:gd name="connsiteY4" fmla="*/ 721068 h 721068"/>
              <a:gd name="connsiteX5" fmla="*/ 714164 w 5521803"/>
              <a:gd name="connsiteY5" fmla="*/ 721068 h 721068"/>
              <a:gd name="connsiteX6" fmla="*/ 136375 w 5521803"/>
              <a:gd name="connsiteY6" fmla="*/ 721068 h 721068"/>
              <a:gd name="connsiteX7" fmla="*/ 0 w 5521803"/>
              <a:gd name="connsiteY7" fmla="*/ 721068 h 721068"/>
              <a:gd name="connsiteX8" fmla="*/ 0 w 5521803"/>
              <a:gd name="connsiteY8" fmla="*/ 0 h 721068"/>
              <a:gd name="connsiteX9" fmla="*/ 406386 w 5521803"/>
              <a:gd name="connsiteY9" fmla="*/ 0 h 721068"/>
              <a:gd name="connsiteX10" fmla="*/ 1118050 w 5521803"/>
              <a:gd name="connsiteY10" fmla="*/ 0 h 721068"/>
              <a:gd name="connsiteX11" fmla="*/ 1251377 w 5521803"/>
              <a:gd name="connsiteY11" fmla="*/ 0 h 721068"/>
              <a:gd name="connsiteX12" fmla="*/ 1963040 w 5521803"/>
              <a:gd name="connsiteY12" fmla="*/ 0 h 721068"/>
              <a:gd name="connsiteX13" fmla="*/ 2540830 w 5521803"/>
              <a:gd name="connsiteY13" fmla="*/ 0 h 721068"/>
              <a:gd name="connsiteX14" fmla="*/ 3254032 w 5521803"/>
              <a:gd name="connsiteY14" fmla="*/ 0 h 721068"/>
              <a:gd name="connsiteX15" fmla="*/ 3385820 w 5521803"/>
              <a:gd name="connsiteY15" fmla="*/ 0 h 721068"/>
              <a:gd name="connsiteX16" fmla="*/ 4099023 w 5521803"/>
              <a:gd name="connsiteY16" fmla="*/ 0 h 721068"/>
              <a:gd name="connsiteX17" fmla="*/ 4676812 w 5521803"/>
              <a:gd name="connsiteY17" fmla="*/ 0 h 721068"/>
              <a:gd name="connsiteX18" fmla="*/ 5521803 w 5521803"/>
              <a:gd name="connsiteY18" fmla="*/ 0 h 721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21803" h="721068">
                <a:moveTo>
                  <a:pt x="5214024" y="721068"/>
                </a:moveTo>
                <a:lnTo>
                  <a:pt x="4369034" y="721068"/>
                </a:lnTo>
                <a:lnTo>
                  <a:pt x="3791244" y="721068"/>
                </a:lnTo>
                <a:lnTo>
                  <a:pt x="2946254" y="721068"/>
                </a:lnTo>
                <a:lnTo>
                  <a:pt x="1559155" y="721068"/>
                </a:lnTo>
                <a:lnTo>
                  <a:pt x="714164" y="721068"/>
                </a:lnTo>
                <a:lnTo>
                  <a:pt x="136375" y="721068"/>
                </a:lnTo>
                <a:lnTo>
                  <a:pt x="0" y="721068"/>
                </a:lnTo>
                <a:lnTo>
                  <a:pt x="0" y="0"/>
                </a:lnTo>
                <a:lnTo>
                  <a:pt x="406386" y="0"/>
                </a:lnTo>
                <a:lnTo>
                  <a:pt x="1118050" y="0"/>
                </a:lnTo>
                <a:lnTo>
                  <a:pt x="1251377" y="0"/>
                </a:lnTo>
                <a:lnTo>
                  <a:pt x="1963040" y="0"/>
                </a:lnTo>
                <a:lnTo>
                  <a:pt x="2540830" y="0"/>
                </a:lnTo>
                <a:lnTo>
                  <a:pt x="3254032" y="0"/>
                </a:lnTo>
                <a:lnTo>
                  <a:pt x="3385820" y="0"/>
                </a:lnTo>
                <a:lnTo>
                  <a:pt x="4099023" y="0"/>
                </a:lnTo>
                <a:lnTo>
                  <a:pt x="4676812" y="0"/>
                </a:lnTo>
                <a:lnTo>
                  <a:pt x="5521803" y="0"/>
                </a:lnTo>
                <a:close/>
              </a:path>
            </a:pathLst>
          </a:custGeom>
          <a:noFill/>
          <a:ln w="57150">
            <a:solidFill>
              <a:schemeClr val="accent5"/>
            </a:solidFill>
            <a:round/>
            <a:headEnd/>
            <a:tailEnd/>
          </a:ln>
        </p:spPr>
        <p:txBody>
          <a:bodyPr vert="horz" wrap="square" lIns="91416" tIns="45708" rIns="91416" bIns="45708" numCol="1" anchor="t" anchorCtr="0" compatLnSpc="1">
            <a:prstTxWarp prst="textNoShape">
              <a:avLst/>
            </a:prstTxWarp>
            <a:noAutofit/>
          </a:bodyPr>
          <a:lstStyle/>
          <a:p>
            <a:endParaRPr lang="en-US" sz="3599" dirty="0"/>
          </a:p>
        </p:txBody>
      </p:sp>
      <p:sp>
        <p:nvSpPr>
          <p:cNvPr id="60" name="Subtitle 2">
            <a:extLst>
              <a:ext uri="{FF2B5EF4-FFF2-40B4-BE49-F238E27FC236}">
                <a16:creationId xmlns:a16="http://schemas.microsoft.com/office/drawing/2014/main" id="{26D609FD-B8A3-0D40-B214-E2370ED17B28}"/>
              </a:ext>
            </a:extLst>
          </p:cNvPr>
          <p:cNvSpPr txBox="1">
            <a:spLocks/>
          </p:cNvSpPr>
          <p:nvPr/>
        </p:nvSpPr>
        <p:spPr>
          <a:xfrm>
            <a:off x="10596134" y="1705906"/>
            <a:ext cx="961805" cy="320700"/>
          </a:xfrm>
          <a:prstGeom prst="rect">
            <a:avLst/>
          </a:prstGeom>
        </p:spPr>
        <p:txBody>
          <a:bodyPr vert="horz" wrap="none" lIns="108745" tIns="54373" rIns="108745" bIns="54373"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3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Customers</a:t>
            </a:r>
          </a:p>
        </p:txBody>
      </p:sp>
      <p:sp>
        <p:nvSpPr>
          <p:cNvPr id="61" name="Subtitle 2">
            <a:extLst>
              <a:ext uri="{FF2B5EF4-FFF2-40B4-BE49-F238E27FC236}">
                <a16:creationId xmlns:a16="http://schemas.microsoft.com/office/drawing/2014/main" id="{03572377-1DBF-224C-AE1D-8080698A2431}"/>
              </a:ext>
            </a:extLst>
          </p:cNvPr>
          <p:cNvSpPr txBox="1">
            <a:spLocks/>
          </p:cNvSpPr>
          <p:nvPr/>
        </p:nvSpPr>
        <p:spPr>
          <a:xfrm>
            <a:off x="10596134" y="2763293"/>
            <a:ext cx="961805" cy="320700"/>
          </a:xfrm>
          <a:prstGeom prst="rect">
            <a:avLst/>
          </a:prstGeom>
        </p:spPr>
        <p:txBody>
          <a:bodyPr vert="horz" wrap="none" lIns="108745" tIns="54373" rIns="108745" bIns="54373"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3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Customers</a:t>
            </a:r>
          </a:p>
        </p:txBody>
      </p:sp>
      <p:sp>
        <p:nvSpPr>
          <p:cNvPr id="62" name="Subtitle 2">
            <a:extLst>
              <a:ext uri="{FF2B5EF4-FFF2-40B4-BE49-F238E27FC236}">
                <a16:creationId xmlns:a16="http://schemas.microsoft.com/office/drawing/2014/main" id="{9A7FF965-3956-2A4C-A604-D4B76E4E0826}"/>
              </a:ext>
            </a:extLst>
          </p:cNvPr>
          <p:cNvSpPr txBox="1">
            <a:spLocks/>
          </p:cNvSpPr>
          <p:nvPr/>
        </p:nvSpPr>
        <p:spPr>
          <a:xfrm>
            <a:off x="10596134" y="3755571"/>
            <a:ext cx="961805" cy="320700"/>
          </a:xfrm>
          <a:prstGeom prst="rect">
            <a:avLst/>
          </a:prstGeom>
        </p:spPr>
        <p:txBody>
          <a:bodyPr vert="horz" wrap="none" lIns="108745" tIns="54373" rIns="108745" bIns="54373"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3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Customers</a:t>
            </a:r>
          </a:p>
        </p:txBody>
      </p:sp>
      <p:sp>
        <p:nvSpPr>
          <p:cNvPr id="63" name="Subtitle 2">
            <a:extLst>
              <a:ext uri="{FF2B5EF4-FFF2-40B4-BE49-F238E27FC236}">
                <a16:creationId xmlns:a16="http://schemas.microsoft.com/office/drawing/2014/main" id="{90254DA8-02DC-1746-B0ED-33ABAA98F794}"/>
              </a:ext>
            </a:extLst>
          </p:cNvPr>
          <p:cNvSpPr txBox="1">
            <a:spLocks/>
          </p:cNvSpPr>
          <p:nvPr/>
        </p:nvSpPr>
        <p:spPr>
          <a:xfrm>
            <a:off x="10596134" y="4781063"/>
            <a:ext cx="961805" cy="320700"/>
          </a:xfrm>
          <a:prstGeom prst="rect">
            <a:avLst/>
          </a:prstGeom>
        </p:spPr>
        <p:txBody>
          <a:bodyPr vert="horz" wrap="none" lIns="108745" tIns="54373" rIns="108745" bIns="54373"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3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Customers</a:t>
            </a:r>
          </a:p>
        </p:txBody>
      </p:sp>
      <p:sp>
        <p:nvSpPr>
          <p:cNvPr id="64" name="Subtitle 2">
            <a:extLst>
              <a:ext uri="{FF2B5EF4-FFF2-40B4-BE49-F238E27FC236}">
                <a16:creationId xmlns:a16="http://schemas.microsoft.com/office/drawing/2014/main" id="{0280E5CF-725C-5041-B8E6-91B17096488C}"/>
              </a:ext>
            </a:extLst>
          </p:cNvPr>
          <p:cNvSpPr txBox="1">
            <a:spLocks/>
          </p:cNvSpPr>
          <p:nvPr/>
        </p:nvSpPr>
        <p:spPr>
          <a:xfrm>
            <a:off x="10596134" y="5779689"/>
            <a:ext cx="961805" cy="320700"/>
          </a:xfrm>
          <a:prstGeom prst="rect">
            <a:avLst/>
          </a:prstGeom>
        </p:spPr>
        <p:txBody>
          <a:bodyPr vert="horz" wrap="none" lIns="108745" tIns="54373" rIns="108745" bIns="54373"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3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Customers</a:t>
            </a:r>
          </a:p>
        </p:txBody>
      </p:sp>
      <p:sp>
        <p:nvSpPr>
          <p:cNvPr id="65" name="TextBox 64">
            <a:extLst>
              <a:ext uri="{FF2B5EF4-FFF2-40B4-BE49-F238E27FC236}">
                <a16:creationId xmlns:a16="http://schemas.microsoft.com/office/drawing/2014/main" id="{1794FA56-7ABD-1F4B-B7F0-235A16684E2C}"/>
              </a:ext>
            </a:extLst>
          </p:cNvPr>
          <p:cNvSpPr txBox="1"/>
          <p:nvPr/>
        </p:nvSpPr>
        <p:spPr>
          <a:xfrm>
            <a:off x="9129665" y="1650812"/>
            <a:ext cx="1077539" cy="430887"/>
          </a:xfrm>
          <a:prstGeom prst="rect">
            <a:avLst/>
          </a:prstGeom>
          <a:noFill/>
        </p:spPr>
        <p:txBody>
          <a:bodyPr wrap="none" rtlCol="0" anchor="ctr" anchorCtr="0">
            <a:spAutoFit/>
          </a:bodyPr>
          <a:lstStyle/>
          <a:p>
            <a:r>
              <a:rPr lang="en-US" sz="2200" b="1" dirty="0">
                <a:solidFill>
                  <a:schemeClr val="tx2"/>
                </a:solidFill>
                <a:latin typeface="Segoe UI Light" panose="020B0502040204020203" pitchFamily="34" charset="0"/>
                <a:ea typeface="League Spartan" charset="0"/>
                <a:cs typeface="Poppins" pitchFamily="2" charset="77"/>
              </a:rPr>
              <a:t>100,000</a:t>
            </a:r>
          </a:p>
        </p:txBody>
      </p:sp>
      <p:sp>
        <p:nvSpPr>
          <p:cNvPr id="66" name="TextBox 65">
            <a:extLst>
              <a:ext uri="{FF2B5EF4-FFF2-40B4-BE49-F238E27FC236}">
                <a16:creationId xmlns:a16="http://schemas.microsoft.com/office/drawing/2014/main" id="{AD829521-AEE6-A643-BDDB-17E9E0A66B85}"/>
              </a:ext>
            </a:extLst>
          </p:cNvPr>
          <p:cNvSpPr txBox="1"/>
          <p:nvPr/>
        </p:nvSpPr>
        <p:spPr>
          <a:xfrm>
            <a:off x="9129665" y="2708200"/>
            <a:ext cx="1077539" cy="430887"/>
          </a:xfrm>
          <a:prstGeom prst="rect">
            <a:avLst/>
          </a:prstGeom>
          <a:noFill/>
        </p:spPr>
        <p:txBody>
          <a:bodyPr wrap="none" rtlCol="0" anchor="ctr" anchorCtr="0">
            <a:spAutoFit/>
          </a:bodyPr>
          <a:lstStyle/>
          <a:p>
            <a:r>
              <a:rPr lang="en-US" sz="2200" b="1" dirty="0">
                <a:solidFill>
                  <a:schemeClr val="tx2"/>
                </a:solidFill>
                <a:latin typeface="Segoe UI Light" panose="020B0502040204020203" pitchFamily="34" charset="0"/>
                <a:ea typeface="League Spartan" charset="0"/>
                <a:cs typeface="Poppins" pitchFamily="2" charset="77"/>
              </a:rPr>
              <a:t>100,000</a:t>
            </a:r>
          </a:p>
        </p:txBody>
      </p:sp>
      <p:sp>
        <p:nvSpPr>
          <p:cNvPr id="67" name="TextBox 66">
            <a:extLst>
              <a:ext uri="{FF2B5EF4-FFF2-40B4-BE49-F238E27FC236}">
                <a16:creationId xmlns:a16="http://schemas.microsoft.com/office/drawing/2014/main" id="{9B9BB365-4D2E-064E-B407-830D3A91017B}"/>
              </a:ext>
            </a:extLst>
          </p:cNvPr>
          <p:cNvSpPr txBox="1"/>
          <p:nvPr/>
        </p:nvSpPr>
        <p:spPr>
          <a:xfrm>
            <a:off x="9129665" y="3704721"/>
            <a:ext cx="1077539" cy="430887"/>
          </a:xfrm>
          <a:prstGeom prst="rect">
            <a:avLst/>
          </a:prstGeom>
          <a:noFill/>
        </p:spPr>
        <p:txBody>
          <a:bodyPr wrap="none" rtlCol="0" anchor="ctr" anchorCtr="0">
            <a:spAutoFit/>
          </a:bodyPr>
          <a:lstStyle/>
          <a:p>
            <a:r>
              <a:rPr lang="en-US" sz="2200" b="1" dirty="0">
                <a:solidFill>
                  <a:schemeClr val="tx2"/>
                </a:solidFill>
                <a:latin typeface="Segoe UI Light" panose="020B0502040204020203" pitchFamily="34" charset="0"/>
                <a:ea typeface="League Spartan" charset="0"/>
                <a:cs typeface="Poppins" pitchFamily="2" charset="77"/>
              </a:rPr>
              <a:t>100,000</a:t>
            </a:r>
          </a:p>
        </p:txBody>
      </p:sp>
      <p:sp>
        <p:nvSpPr>
          <p:cNvPr id="68" name="TextBox 67">
            <a:extLst>
              <a:ext uri="{FF2B5EF4-FFF2-40B4-BE49-F238E27FC236}">
                <a16:creationId xmlns:a16="http://schemas.microsoft.com/office/drawing/2014/main" id="{4504DFF6-225D-DF49-BD03-1881D2156864}"/>
              </a:ext>
            </a:extLst>
          </p:cNvPr>
          <p:cNvSpPr txBox="1"/>
          <p:nvPr/>
        </p:nvSpPr>
        <p:spPr>
          <a:xfrm>
            <a:off x="9129665" y="4727328"/>
            <a:ext cx="1077539" cy="430887"/>
          </a:xfrm>
          <a:prstGeom prst="rect">
            <a:avLst/>
          </a:prstGeom>
          <a:noFill/>
        </p:spPr>
        <p:txBody>
          <a:bodyPr wrap="none" rtlCol="0" anchor="ctr" anchorCtr="0">
            <a:spAutoFit/>
          </a:bodyPr>
          <a:lstStyle/>
          <a:p>
            <a:r>
              <a:rPr lang="en-US" sz="2200" b="1" dirty="0">
                <a:solidFill>
                  <a:schemeClr val="tx2"/>
                </a:solidFill>
                <a:latin typeface="Segoe UI Light" panose="020B0502040204020203" pitchFamily="34" charset="0"/>
                <a:ea typeface="League Spartan" charset="0"/>
                <a:cs typeface="Poppins" pitchFamily="2" charset="77"/>
              </a:rPr>
              <a:t>100,000</a:t>
            </a:r>
          </a:p>
        </p:txBody>
      </p:sp>
      <p:sp>
        <p:nvSpPr>
          <p:cNvPr id="69" name="TextBox 68">
            <a:extLst>
              <a:ext uri="{FF2B5EF4-FFF2-40B4-BE49-F238E27FC236}">
                <a16:creationId xmlns:a16="http://schemas.microsoft.com/office/drawing/2014/main" id="{6F8C6D72-6E61-FD41-8837-17857CF2C527}"/>
              </a:ext>
            </a:extLst>
          </p:cNvPr>
          <p:cNvSpPr txBox="1"/>
          <p:nvPr/>
        </p:nvSpPr>
        <p:spPr>
          <a:xfrm>
            <a:off x="9129665" y="5724596"/>
            <a:ext cx="1077539" cy="430887"/>
          </a:xfrm>
          <a:prstGeom prst="rect">
            <a:avLst/>
          </a:prstGeom>
          <a:noFill/>
        </p:spPr>
        <p:txBody>
          <a:bodyPr wrap="none" rtlCol="0" anchor="ctr" anchorCtr="0">
            <a:spAutoFit/>
          </a:bodyPr>
          <a:lstStyle/>
          <a:p>
            <a:r>
              <a:rPr lang="en-US" sz="2200" b="1" dirty="0">
                <a:solidFill>
                  <a:schemeClr val="tx2"/>
                </a:solidFill>
                <a:latin typeface="Segoe UI Light" panose="020B0502040204020203" pitchFamily="34" charset="0"/>
                <a:ea typeface="League Spartan" charset="0"/>
                <a:cs typeface="Poppins" pitchFamily="2" charset="77"/>
              </a:rPr>
              <a:t>100,000</a:t>
            </a:r>
          </a:p>
        </p:txBody>
      </p:sp>
      <p:sp>
        <p:nvSpPr>
          <p:cNvPr id="71" name="Titel 1">
            <a:extLst>
              <a:ext uri="{FF2B5EF4-FFF2-40B4-BE49-F238E27FC236}">
                <a16:creationId xmlns:a16="http://schemas.microsoft.com/office/drawing/2014/main" id="{998503C5-0A32-41DC-97A2-F3AE4A255FAF}"/>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Funnel diagram</a:t>
            </a:r>
          </a:p>
        </p:txBody>
      </p:sp>
    </p:spTree>
    <p:custDataLst>
      <p:tags r:id="rId1"/>
    </p:custDataLst>
    <p:extLst>
      <p:ext uri="{BB962C8B-B14F-4D97-AF65-F5344CB8AC3E}">
        <p14:creationId xmlns:p14="http://schemas.microsoft.com/office/powerpoint/2010/main" val="98811531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two businessmen having a meeting in the park">
            <a:extLst>
              <a:ext uri="{FF2B5EF4-FFF2-40B4-BE49-F238E27FC236}">
                <a16:creationId xmlns:a16="http://schemas.microsoft.com/office/drawing/2014/main" id="{F6CB3C59-F73C-40D6-8094-2464541B0D39}"/>
              </a:ext>
            </a:extLst>
          </p:cNvPr>
          <p:cNvPicPr>
            <a:picLocks noGrp="1" noChangeAspect="1"/>
          </p:cNvPicPr>
          <p:nvPr>
            <p:ph type="pic" sz="quarter" idx="13"/>
            <p:custDataLst>
              <p:tags r:id="rId1"/>
            </p:custDataLst>
          </p:nvPr>
        </p:nvPicPr>
        <p:blipFill>
          <a:blip r:embed="rId3">
            <a:extLst>
              <a:ext uri="{28A0092B-C50C-407E-A947-70E740481C1C}">
                <a14:useLocalDpi xmlns:a14="http://schemas.microsoft.com/office/drawing/2010/main" val="0"/>
              </a:ext>
            </a:extLst>
          </a:blip>
          <a:srcRect t="8310" b="8310"/>
          <a:stretch>
            <a:fillRect/>
          </a:stretch>
        </p:blipFill>
        <p:spPr>
          <a:xfrm>
            <a:off x="1" y="96839"/>
            <a:ext cx="12191345" cy="6760799"/>
          </a:xfrm>
          <a:prstGeom prst="rect">
            <a:avLst/>
          </a:prstGeom>
        </p:spPr>
      </p:pic>
      <p:sp>
        <p:nvSpPr>
          <p:cNvPr id="6" name="Text Placeholder 5">
            <a:extLst>
              <a:ext uri="{FF2B5EF4-FFF2-40B4-BE49-F238E27FC236}">
                <a16:creationId xmlns:a16="http://schemas.microsoft.com/office/drawing/2014/main" id="{715A8043-5064-443A-A9C5-19C4A767EAE2}"/>
              </a:ext>
            </a:extLst>
          </p:cNvPr>
          <p:cNvSpPr>
            <a:spLocks noGrp="1"/>
          </p:cNvSpPr>
          <p:nvPr>
            <p:ph type="body" sz="quarter" idx="14"/>
          </p:nvPr>
        </p:nvSpPr>
        <p:spPr>
          <a:xfrm>
            <a:off x="0" y="3914775"/>
            <a:ext cx="6686895" cy="738664"/>
          </a:xfrm>
        </p:spPr>
        <p:txBody>
          <a:bodyPr/>
          <a:lstStyle/>
          <a:p>
            <a:r>
              <a:rPr lang="de-DE" dirty="0"/>
              <a:t>SWOT analysis slides</a:t>
            </a:r>
            <a:endParaRPr lang="en-US" dirty="0"/>
          </a:p>
        </p:txBody>
      </p:sp>
    </p:spTree>
    <p:extLst>
      <p:ext uri="{BB962C8B-B14F-4D97-AF65-F5344CB8AC3E}">
        <p14:creationId xmlns:p14="http://schemas.microsoft.com/office/powerpoint/2010/main" val="409523645"/>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MIO_SHADOWBOX">
            <a:extLst>
              <a:ext uri="{FF2B5EF4-FFF2-40B4-BE49-F238E27FC236}">
                <a16:creationId xmlns:a16="http://schemas.microsoft.com/office/drawing/2014/main" id="{7D1F5A7A-B4CD-43FC-B90A-965321E9AD7F}"/>
              </a:ext>
            </a:extLst>
          </p:cNvPr>
          <p:cNvSpPr>
            <a:spLocks noChangeAspect="1"/>
          </p:cNvSpPr>
          <p:nvPr/>
        </p:nvSpPr>
        <p:spPr>
          <a:xfrm>
            <a:off x="3060378" y="4009767"/>
            <a:ext cx="1862903" cy="1844534"/>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28" name="MIO_SHADOWBOX">
            <a:extLst>
              <a:ext uri="{FF2B5EF4-FFF2-40B4-BE49-F238E27FC236}">
                <a16:creationId xmlns:a16="http://schemas.microsoft.com/office/drawing/2014/main" id="{EF614170-783C-4930-9373-447C14ED17FA}"/>
              </a:ext>
            </a:extLst>
          </p:cNvPr>
          <p:cNvSpPr>
            <a:spLocks noChangeAspect="1"/>
          </p:cNvSpPr>
          <p:nvPr/>
        </p:nvSpPr>
        <p:spPr>
          <a:xfrm>
            <a:off x="1104329" y="4009767"/>
            <a:ext cx="1862903" cy="1844534"/>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29" name="MIO_SHADOWBOX">
            <a:extLst>
              <a:ext uri="{FF2B5EF4-FFF2-40B4-BE49-F238E27FC236}">
                <a16:creationId xmlns:a16="http://schemas.microsoft.com/office/drawing/2014/main" id="{0A041926-9D08-4D26-9C92-C6B6830E1D3D}"/>
              </a:ext>
            </a:extLst>
          </p:cNvPr>
          <p:cNvSpPr>
            <a:spLocks noChangeAspect="1"/>
          </p:cNvSpPr>
          <p:nvPr/>
        </p:nvSpPr>
        <p:spPr>
          <a:xfrm>
            <a:off x="3060378" y="2072087"/>
            <a:ext cx="1862903" cy="1844534"/>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30" name="MIO_SHADOWBOX">
            <a:extLst>
              <a:ext uri="{FF2B5EF4-FFF2-40B4-BE49-F238E27FC236}">
                <a16:creationId xmlns:a16="http://schemas.microsoft.com/office/drawing/2014/main" id="{C16EDDED-6C70-4FAC-AD92-682391BB5B62}"/>
              </a:ext>
            </a:extLst>
          </p:cNvPr>
          <p:cNvSpPr>
            <a:spLocks noChangeAspect="1"/>
          </p:cNvSpPr>
          <p:nvPr/>
        </p:nvSpPr>
        <p:spPr>
          <a:xfrm>
            <a:off x="1104329" y="2072087"/>
            <a:ext cx="1862903" cy="1844534"/>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2" name="Titel 1">
            <a:extLst>
              <a:ext uri="{FF2B5EF4-FFF2-40B4-BE49-F238E27FC236}">
                <a16:creationId xmlns:a16="http://schemas.microsoft.com/office/drawing/2014/main" id="{82AAE243-E3F6-4C79-A614-38495AB3966B}"/>
              </a:ext>
            </a:extLst>
          </p:cNvPr>
          <p:cNvSpPr>
            <a:spLocks noGrp="1"/>
          </p:cNvSpPr>
          <p:nvPr>
            <p:ph type="title"/>
          </p:nvPr>
        </p:nvSpPr>
        <p:spPr/>
        <p:txBody>
          <a:bodyPr/>
          <a:lstStyle/>
          <a:p>
            <a:r>
              <a:rPr lang="en-US" sz="3000" dirty="0"/>
              <a:t>SWOT</a:t>
            </a:r>
          </a:p>
        </p:txBody>
      </p:sp>
      <p:sp>
        <p:nvSpPr>
          <p:cNvPr id="10" name="Textfeld 9">
            <a:extLst>
              <a:ext uri="{FF2B5EF4-FFF2-40B4-BE49-F238E27FC236}">
                <a16:creationId xmlns:a16="http://schemas.microsoft.com/office/drawing/2014/main" id="{02C29E07-5F5C-49F5-ACFE-173EF03DB8ED}"/>
              </a:ext>
            </a:extLst>
          </p:cNvPr>
          <p:cNvSpPr txBox="1"/>
          <p:nvPr/>
        </p:nvSpPr>
        <p:spPr>
          <a:xfrm>
            <a:off x="1104329" y="3586029"/>
            <a:ext cx="1862903" cy="215444"/>
          </a:xfrm>
          <a:prstGeom prst="rect">
            <a:avLst/>
          </a:prstGeom>
          <a:noFill/>
        </p:spPr>
        <p:txBody>
          <a:bodyPr vert="horz" wrap="none" lIns="0" tIns="0" rIns="0" bIns="0" rtlCol="0">
            <a:noAutofit/>
          </a:bodyPr>
          <a:lstStyle/>
          <a:p>
            <a:pPr algn="ctr"/>
            <a:r>
              <a:rPr lang="en-US" sz="1400" dirty="0">
                <a:latin typeface="Segoe UI Semibold" panose="020B0702040204020203" pitchFamily="34" charset="0"/>
                <a:cs typeface="Segoe UI Light" panose="020B0502040204020203" pitchFamily="34" charset="0"/>
              </a:rPr>
              <a:t>Strengths</a:t>
            </a:r>
          </a:p>
        </p:txBody>
      </p:sp>
      <p:sp>
        <p:nvSpPr>
          <p:cNvPr id="11" name="Textfeld 10">
            <a:extLst>
              <a:ext uri="{FF2B5EF4-FFF2-40B4-BE49-F238E27FC236}">
                <a16:creationId xmlns:a16="http://schemas.microsoft.com/office/drawing/2014/main" id="{6D5C94F2-F386-4EEF-8172-57FFD69B50BD}"/>
              </a:ext>
            </a:extLst>
          </p:cNvPr>
          <p:cNvSpPr txBox="1"/>
          <p:nvPr/>
        </p:nvSpPr>
        <p:spPr>
          <a:xfrm>
            <a:off x="3060378" y="3586029"/>
            <a:ext cx="1862903" cy="215444"/>
          </a:xfrm>
          <a:prstGeom prst="rect">
            <a:avLst/>
          </a:prstGeom>
          <a:noFill/>
        </p:spPr>
        <p:txBody>
          <a:bodyPr vert="horz" wrap="none" lIns="0" tIns="0" rIns="0" bIns="0" rtlCol="0">
            <a:noAutofit/>
          </a:bodyPr>
          <a:lstStyle/>
          <a:p>
            <a:pPr algn="ctr"/>
            <a:r>
              <a:rPr lang="en-US" sz="1400" dirty="0">
                <a:latin typeface="Segoe UI Semibold" panose="020B0702040204020203" pitchFamily="34" charset="0"/>
                <a:cs typeface="Segoe UI Light" panose="020B0502040204020203" pitchFamily="34" charset="0"/>
              </a:rPr>
              <a:t>Weaknesses</a:t>
            </a:r>
            <a:endParaRPr lang="en-US" sz="1400" i="0" u="none" baseline="0" dirty="0">
              <a:latin typeface="Segoe UI Semibold" panose="020B0702040204020203" pitchFamily="34" charset="0"/>
              <a:cs typeface="Segoe UI Light" panose="020B0502040204020203" pitchFamily="34" charset="0"/>
            </a:endParaRPr>
          </a:p>
        </p:txBody>
      </p:sp>
      <p:sp>
        <p:nvSpPr>
          <p:cNvPr id="12" name="Textfeld 11">
            <a:extLst>
              <a:ext uri="{FF2B5EF4-FFF2-40B4-BE49-F238E27FC236}">
                <a16:creationId xmlns:a16="http://schemas.microsoft.com/office/drawing/2014/main" id="{9B772221-1978-4479-BBDB-1F9E25548326}"/>
              </a:ext>
            </a:extLst>
          </p:cNvPr>
          <p:cNvSpPr txBox="1"/>
          <p:nvPr/>
        </p:nvSpPr>
        <p:spPr>
          <a:xfrm>
            <a:off x="1104329" y="5522295"/>
            <a:ext cx="1862903" cy="215444"/>
          </a:xfrm>
          <a:prstGeom prst="rect">
            <a:avLst/>
          </a:prstGeom>
          <a:noFill/>
        </p:spPr>
        <p:txBody>
          <a:bodyPr vert="horz" wrap="none" lIns="0" tIns="0" rIns="0" bIns="0" rtlCol="0">
            <a:noAutofit/>
          </a:bodyPr>
          <a:lstStyle/>
          <a:p>
            <a:pPr algn="ctr"/>
            <a:r>
              <a:rPr lang="en-US" sz="1400" dirty="0">
                <a:latin typeface="Segoe UI Semibold" panose="020B0702040204020203" pitchFamily="34" charset="0"/>
                <a:cs typeface="Segoe UI Light" panose="020B0502040204020203" pitchFamily="34" charset="0"/>
              </a:rPr>
              <a:t>Opportunities</a:t>
            </a:r>
            <a:endParaRPr lang="en-US" sz="1400" i="0" u="none" baseline="0" dirty="0">
              <a:latin typeface="Segoe UI Semibold" panose="020B0702040204020203" pitchFamily="34" charset="0"/>
              <a:cs typeface="Segoe UI Light" panose="020B0502040204020203" pitchFamily="34" charset="0"/>
            </a:endParaRPr>
          </a:p>
        </p:txBody>
      </p:sp>
      <p:sp>
        <p:nvSpPr>
          <p:cNvPr id="13" name="Textfeld 12">
            <a:extLst>
              <a:ext uri="{FF2B5EF4-FFF2-40B4-BE49-F238E27FC236}">
                <a16:creationId xmlns:a16="http://schemas.microsoft.com/office/drawing/2014/main" id="{B88F57D5-CADF-4D12-98EF-5494A1AAB981}"/>
              </a:ext>
            </a:extLst>
          </p:cNvPr>
          <p:cNvSpPr txBox="1"/>
          <p:nvPr/>
        </p:nvSpPr>
        <p:spPr>
          <a:xfrm>
            <a:off x="3060378" y="5522295"/>
            <a:ext cx="1862903" cy="215444"/>
          </a:xfrm>
          <a:prstGeom prst="rect">
            <a:avLst/>
          </a:prstGeom>
          <a:noFill/>
        </p:spPr>
        <p:txBody>
          <a:bodyPr vert="horz" wrap="none" lIns="0" tIns="0" rIns="0" bIns="0" rtlCol="0">
            <a:noAutofit/>
          </a:bodyPr>
          <a:lstStyle/>
          <a:p>
            <a:pPr algn="ctr"/>
            <a:r>
              <a:rPr lang="en-US" sz="1400" dirty="0">
                <a:latin typeface="Segoe UI Semibold" panose="020B0702040204020203" pitchFamily="34" charset="0"/>
                <a:cs typeface="Segoe UI Light" panose="020B0502040204020203" pitchFamily="34" charset="0"/>
              </a:rPr>
              <a:t>Threats</a:t>
            </a:r>
            <a:endParaRPr lang="en-US" sz="1400" i="0" u="none" baseline="0" dirty="0">
              <a:latin typeface="Segoe UI Semibold" panose="020B0702040204020203" pitchFamily="34" charset="0"/>
              <a:cs typeface="Segoe UI Light" panose="020B0502040204020203" pitchFamily="34" charset="0"/>
            </a:endParaRPr>
          </a:p>
        </p:txBody>
      </p:sp>
      <p:sp>
        <p:nvSpPr>
          <p:cNvPr id="17" name="Textfeld 16">
            <a:extLst>
              <a:ext uri="{FF2B5EF4-FFF2-40B4-BE49-F238E27FC236}">
                <a16:creationId xmlns:a16="http://schemas.microsoft.com/office/drawing/2014/main" id="{FC376B4E-D9C3-41DD-BF0D-B79125553DD7}"/>
              </a:ext>
            </a:extLst>
          </p:cNvPr>
          <p:cNvSpPr txBox="1"/>
          <p:nvPr/>
        </p:nvSpPr>
        <p:spPr>
          <a:xfrm>
            <a:off x="1784108" y="2289909"/>
            <a:ext cx="503344" cy="1107996"/>
          </a:xfrm>
          <a:prstGeom prst="rect">
            <a:avLst/>
          </a:prstGeom>
          <a:noFill/>
        </p:spPr>
        <p:txBody>
          <a:bodyPr vert="horz" wrap="none" lIns="0" tIns="0" rIns="0" bIns="0" rtlCol="0">
            <a:noAutofit/>
          </a:bodyPr>
          <a:lstStyle/>
          <a:p>
            <a:pPr algn="ctr"/>
            <a:r>
              <a:rPr lang="en-US" sz="7200" dirty="0">
                <a:solidFill>
                  <a:schemeClr val="accent1"/>
                </a:solidFill>
                <a:latin typeface="Segoe UI Semibold" panose="020B0702040204020203" pitchFamily="34" charset="0"/>
                <a:cs typeface="Segoe UI Light" panose="020B0502040204020203" pitchFamily="34" charset="0"/>
              </a:rPr>
              <a:t>S</a:t>
            </a:r>
          </a:p>
        </p:txBody>
      </p:sp>
      <p:sp>
        <p:nvSpPr>
          <p:cNvPr id="19" name="Textfeld 18">
            <a:extLst>
              <a:ext uri="{FF2B5EF4-FFF2-40B4-BE49-F238E27FC236}">
                <a16:creationId xmlns:a16="http://schemas.microsoft.com/office/drawing/2014/main" id="{25E469DB-B261-4C8D-A081-7EB632F0A889}"/>
              </a:ext>
            </a:extLst>
          </p:cNvPr>
          <p:cNvSpPr txBox="1"/>
          <p:nvPr/>
        </p:nvSpPr>
        <p:spPr>
          <a:xfrm>
            <a:off x="3546194" y="2289909"/>
            <a:ext cx="891271" cy="1107996"/>
          </a:xfrm>
          <a:prstGeom prst="rect">
            <a:avLst/>
          </a:prstGeom>
          <a:noFill/>
        </p:spPr>
        <p:txBody>
          <a:bodyPr vert="horz" wrap="none" lIns="0" tIns="0" rIns="0" bIns="0" rtlCol="0">
            <a:noAutofit/>
          </a:bodyPr>
          <a:lstStyle/>
          <a:p>
            <a:pPr algn="ctr"/>
            <a:r>
              <a:rPr lang="en-US" sz="7200" dirty="0">
                <a:solidFill>
                  <a:schemeClr val="accent1"/>
                </a:solidFill>
                <a:latin typeface="Segoe UI Semibold" panose="020B0702040204020203" pitchFamily="34" charset="0"/>
                <a:cs typeface="Segoe UI Light" panose="020B0502040204020203" pitchFamily="34" charset="0"/>
              </a:rPr>
              <a:t>W</a:t>
            </a:r>
          </a:p>
        </p:txBody>
      </p:sp>
      <p:sp>
        <p:nvSpPr>
          <p:cNvPr id="20" name="Textfeld 19">
            <a:extLst>
              <a:ext uri="{FF2B5EF4-FFF2-40B4-BE49-F238E27FC236}">
                <a16:creationId xmlns:a16="http://schemas.microsoft.com/office/drawing/2014/main" id="{10CE31D2-AC1B-4AEA-BDB1-20650DE2D598}"/>
              </a:ext>
            </a:extLst>
          </p:cNvPr>
          <p:cNvSpPr txBox="1"/>
          <p:nvPr/>
        </p:nvSpPr>
        <p:spPr>
          <a:xfrm>
            <a:off x="1687127" y="4250588"/>
            <a:ext cx="697307" cy="1107996"/>
          </a:xfrm>
          <a:prstGeom prst="rect">
            <a:avLst/>
          </a:prstGeom>
          <a:noFill/>
        </p:spPr>
        <p:txBody>
          <a:bodyPr vert="horz" wrap="none" lIns="0" tIns="0" rIns="0" bIns="0" rtlCol="0">
            <a:noAutofit/>
          </a:bodyPr>
          <a:lstStyle/>
          <a:p>
            <a:pPr algn="ctr"/>
            <a:r>
              <a:rPr lang="en-US" sz="7200" dirty="0">
                <a:solidFill>
                  <a:schemeClr val="accent1"/>
                </a:solidFill>
                <a:latin typeface="Segoe UI Semibold" panose="020B0702040204020203" pitchFamily="34" charset="0"/>
                <a:cs typeface="Segoe UI Light" panose="020B0502040204020203" pitchFamily="34" charset="0"/>
              </a:rPr>
              <a:t>O</a:t>
            </a:r>
          </a:p>
        </p:txBody>
      </p:sp>
      <p:sp>
        <p:nvSpPr>
          <p:cNvPr id="21" name="Textfeld 20">
            <a:extLst>
              <a:ext uri="{FF2B5EF4-FFF2-40B4-BE49-F238E27FC236}">
                <a16:creationId xmlns:a16="http://schemas.microsoft.com/office/drawing/2014/main" id="{A739A6AE-6A59-4DEA-9780-87169CE4DC9A}"/>
              </a:ext>
            </a:extLst>
          </p:cNvPr>
          <p:cNvSpPr txBox="1"/>
          <p:nvPr/>
        </p:nvSpPr>
        <p:spPr>
          <a:xfrm>
            <a:off x="3736951" y="4250588"/>
            <a:ext cx="509755" cy="1107996"/>
          </a:xfrm>
          <a:prstGeom prst="rect">
            <a:avLst/>
          </a:prstGeom>
          <a:noFill/>
        </p:spPr>
        <p:txBody>
          <a:bodyPr vert="horz" wrap="none" lIns="0" tIns="0" rIns="0" bIns="0" rtlCol="0">
            <a:noAutofit/>
          </a:bodyPr>
          <a:lstStyle/>
          <a:p>
            <a:pPr algn="ctr"/>
            <a:r>
              <a:rPr lang="en-US" sz="7200" dirty="0">
                <a:solidFill>
                  <a:schemeClr val="accent1"/>
                </a:solidFill>
                <a:latin typeface="Segoe UI Semibold" panose="020B0702040204020203" pitchFamily="34" charset="0"/>
                <a:cs typeface="Segoe UI Light" panose="020B0502040204020203" pitchFamily="34" charset="0"/>
              </a:rPr>
              <a:t>T</a:t>
            </a:r>
          </a:p>
        </p:txBody>
      </p:sp>
      <p:sp>
        <p:nvSpPr>
          <p:cNvPr id="22" name="MIO_TEXTBOX_BODY">
            <a:extLst>
              <a:ext uri="{FF2B5EF4-FFF2-40B4-BE49-F238E27FC236}">
                <a16:creationId xmlns:a16="http://schemas.microsoft.com/office/drawing/2014/main" id="{5D02B81C-7669-4486-AA53-3F445A5CBFFB}"/>
              </a:ext>
            </a:extLst>
          </p:cNvPr>
          <p:cNvSpPr txBox="1"/>
          <p:nvPr/>
        </p:nvSpPr>
        <p:spPr>
          <a:xfrm>
            <a:off x="6613463" y="2722092"/>
            <a:ext cx="4474208" cy="2927276"/>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dirty="0"/>
              <a:t>Lorem ipsum dolor sit amet, consectetuer adipiscing elit. Aenean commodo ligula eget dolor. Aenean massa. Cum sociis natoque penatibus et magnis dis parturient montes, nascetur ridiculus mus. </a:t>
            </a:r>
          </a:p>
          <a:p>
            <a:pPr marL="0" indent="0">
              <a:buSzPct val="100000"/>
              <a:buNone/>
            </a:pPr>
            <a:r>
              <a:rPr lang="en-US" dirty="0"/>
              <a:t>Donec quam felis, ultricies nec, pellentesque eu, pretium quis, sem. Nulla consequat massa quis enim. Donec pede justo, fringilla vel, aliquet nec, vulputate eget, arcu. In enim justo, rhoncus ut, imperdiet a, venenatis vitae, justo. </a:t>
            </a:r>
          </a:p>
        </p:txBody>
      </p:sp>
      <p:sp>
        <p:nvSpPr>
          <p:cNvPr id="18" name="MIO_TEXTBOX_HEADER">
            <a:extLst>
              <a:ext uri="{FF2B5EF4-FFF2-40B4-BE49-F238E27FC236}">
                <a16:creationId xmlns:a16="http://schemas.microsoft.com/office/drawing/2014/main" id="{DED7A964-8865-4D93-9438-299957E5AAF4}"/>
              </a:ext>
            </a:extLst>
          </p:cNvPr>
          <p:cNvSpPr txBox="1"/>
          <p:nvPr/>
        </p:nvSpPr>
        <p:spPr>
          <a:xfrm>
            <a:off x="6613463" y="2279001"/>
            <a:ext cx="4474208" cy="335092"/>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800" dirty="0">
                <a:solidFill>
                  <a:schemeClr val="dk1"/>
                </a:solidFill>
              </a:rPr>
              <a:t>Lorem ipsum dolor sit amet</a:t>
            </a:r>
          </a:p>
        </p:txBody>
      </p:sp>
    </p:spTree>
    <p:custDataLst>
      <p:tags r:id="rId1"/>
    </p:custDataLst>
    <p:extLst>
      <p:ext uri="{BB962C8B-B14F-4D97-AF65-F5344CB8AC3E}">
        <p14:creationId xmlns:p14="http://schemas.microsoft.com/office/powerpoint/2010/main" val="2275152550"/>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MIO_SHADOWBOX">
            <a:extLst>
              <a:ext uri="{FF2B5EF4-FFF2-40B4-BE49-F238E27FC236}">
                <a16:creationId xmlns:a16="http://schemas.microsoft.com/office/drawing/2014/main" id="{AD71582E-8941-4E86-B007-3C801055A95E}"/>
              </a:ext>
            </a:extLst>
          </p:cNvPr>
          <p:cNvSpPr>
            <a:spLocks noChangeAspect="1"/>
          </p:cNvSpPr>
          <p:nvPr/>
        </p:nvSpPr>
        <p:spPr>
          <a:xfrm>
            <a:off x="3060378" y="4009767"/>
            <a:ext cx="1862903" cy="1844534"/>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20" name="MIO_SHADOWBOX">
            <a:extLst>
              <a:ext uri="{FF2B5EF4-FFF2-40B4-BE49-F238E27FC236}">
                <a16:creationId xmlns:a16="http://schemas.microsoft.com/office/drawing/2014/main" id="{671D39CE-18C6-4BBC-8A9F-69D5AA42844A}"/>
              </a:ext>
            </a:extLst>
          </p:cNvPr>
          <p:cNvSpPr>
            <a:spLocks noChangeAspect="1"/>
          </p:cNvSpPr>
          <p:nvPr/>
        </p:nvSpPr>
        <p:spPr>
          <a:xfrm>
            <a:off x="3060378" y="2072087"/>
            <a:ext cx="1862903" cy="1844534"/>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21" name="MIO_SHADOWBOX">
            <a:extLst>
              <a:ext uri="{FF2B5EF4-FFF2-40B4-BE49-F238E27FC236}">
                <a16:creationId xmlns:a16="http://schemas.microsoft.com/office/drawing/2014/main" id="{7B29B30F-2395-4757-A4BD-E717942635B1}"/>
              </a:ext>
            </a:extLst>
          </p:cNvPr>
          <p:cNvSpPr>
            <a:spLocks noChangeAspect="1"/>
          </p:cNvSpPr>
          <p:nvPr/>
        </p:nvSpPr>
        <p:spPr>
          <a:xfrm>
            <a:off x="1104329" y="2072087"/>
            <a:ext cx="1862903" cy="1844534"/>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26" name="Textfeld 25">
            <a:extLst>
              <a:ext uri="{FF2B5EF4-FFF2-40B4-BE49-F238E27FC236}">
                <a16:creationId xmlns:a16="http://schemas.microsoft.com/office/drawing/2014/main" id="{63667309-5AB7-48F8-BEDF-346C29D4485B}"/>
              </a:ext>
            </a:extLst>
          </p:cNvPr>
          <p:cNvSpPr txBox="1"/>
          <p:nvPr/>
        </p:nvSpPr>
        <p:spPr>
          <a:xfrm>
            <a:off x="1104329" y="3586029"/>
            <a:ext cx="1862903" cy="215444"/>
          </a:xfrm>
          <a:prstGeom prst="rect">
            <a:avLst/>
          </a:prstGeom>
          <a:noFill/>
        </p:spPr>
        <p:txBody>
          <a:bodyPr vert="horz" wrap="none" lIns="0" tIns="0" rIns="0" bIns="0" rtlCol="0">
            <a:noAutofit/>
          </a:bodyPr>
          <a:lstStyle/>
          <a:p>
            <a:pPr algn="ctr"/>
            <a:r>
              <a:rPr lang="en-US" sz="1400" dirty="0">
                <a:latin typeface="Segoe UI Semibold" panose="020B0702040204020203" pitchFamily="34" charset="0"/>
                <a:cs typeface="Segoe UI Light" panose="020B0502040204020203" pitchFamily="34" charset="0"/>
              </a:rPr>
              <a:t>Strengths</a:t>
            </a:r>
          </a:p>
        </p:txBody>
      </p:sp>
      <p:sp>
        <p:nvSpPr>
          <p:cNvPr id="27" name="Textfeld 26">
            <a:extLst>
              <a:ext uri="{FF2B5EF4-FFF2-40B4-BE49-F238E27FC236}">
                <a16:creationId xmlns:a16="http://schemas.microsoft.com/office/drawing/2014/main" id="{DE99D7B0-69DC-44A9-B950-FF3DFBAE9C12}"/>
              </a:ext>
            </a:extLst>
          </p:cNvPr>
          <p:cNvSpPr txBox="1"/>
          <p:nvPr/>
        </p:nvSpPr>
        <p:spPr>
          <a:xfrm>
            <a:off x="3060378" y="3586029"/>
            <a:ext cx="1862903" cy="215444"/>
          </a:xfrm>
          <a:prstGeom prst="rect">
            <a:avLst/>
          </a:prstGeom>
          <a:noFill/>
        </p:spPr>
        <p:txBody>
          <a:bodyPr vert="horz" wrap="none" lIns="0" tIns="0" rIns="0" bIns="0" rtlCol="0">
            <a:noAutofit/>
          </a:bodyPr>
          <a:lstStyle/>
          <a:p>
            <a:pPr algn="ctr"/>
            <a:r>
              <a:rPr lang="en-US" sz="1400" dirty="0">
                <a:latin typeface="Segoe UI Semibold" panose="020B0702040204020203" pitchFamily="34" charset="0"/>
                <a:cs typeface="Segoe UI Light" panose="020B0502040204020203" pitchFamily="34" charset="0"/>
              </a:rPr>
              <a:t>Weaknesses</a:t>
            </a:r>
            <a:endParaRPr lang="en-US" sz="1400" i="0" u="none" baseline="0" dirty="0">
              <a:latin typeface="Segoe UI Semibold" panose="020B0702040204020203" pitchFamily="34" charset="0"/>
              <a:cs typeface="Segoe UI Light" panose="020B0502040204020203" pitchFamily="34" charset="0"/>
            </a:endParaRPr>
          </a:p>
        </p:txBody>
      </p:sp>
      <p:sp>
        <p:nvSpPr>
          <p:cNvPr id="29" name="Textfeld 28">
            <a:extLst>
              <a:ext uri="{FF2B5EF4-FFF2-40B4-BE49-F238E27FC236}">
                <a16:creationId xmlns:a16="http://schemas.microsoft.com/office/drawing/2014/main" id="{807BAAEB-369C-44E3-B238-1F2D770065D7}"/>
              </a:ext>
            </a:extLst>
          </p:cNvPr>
          <p:cNvSpPr txBox="1"/>
          <p:nvPr/>
        </p:nvSpPr>
        <p:spPr>
          <a:xfrm>
            <a:off x="3060378" y="5522295"/>
            <a:ext cx="1862903" cy="215444"/>
          </a:xfrm>
          <a:prstGeom prst="rect">
            <a:avLst/>
          </a:prstGeom>
          <a:noFill/>
        </p:spPr>
        <p:txBody>
          <a:bodyPr vert="horz" wrap="none" lIns="0" tIns="0" rIns="0" bIns="0" rtlCol="0">
            <a:noAutofit/>
          </a:bodyPr>
          <a:lstStyle/>
          <a:p>
            <a:pPr algn="ctr"/>
            <a:r>
              <a:rPr lang="en-US" sz="1400" dirty="0">
                <a:latin typeface="Segoe UI Semibold" panose="020B0702040204020203" pitchFamily="34" charset="0"/>
                <a:cs typeface="Segoe UI Light" panose="020B0502040204020203" pitchFamily="34" charset="0"/>
              </a:rPr>
              <a:t>Threats</a:t>
            </a:r>
            <a:endParaRPr lang="en-US" sz="1400" i="0" u="none" baseline="0" dirty="0">
              <a:latin typeface="Segoe UI Semibold" panose="020B0702040204020203" pitchFamily="34" charset="0"/>
              <a:cs typeface="Segoe UI Light" panose="020B0502040204020203" pitchFamily="34" charset="0"/>
            </a:endParaRPr>
          </a:p>
        </p:txBody>
      </p:sp>
      <p:sp>
        <p:nvSpPr>
          <p:cNvPr id="39" name="Textfeld 38">
            <a:extLst>
              <a:ext uri="{FF2B5EF4-FFF2-40B4-BE49-F238E27FC236}">
                <a16:creationId xmlns:a16="http://schemas.microsoft.com/office/drawing/2014/main" id="{7F93D9CC-B58F-44A8-9596-21BE40DA6373}"/>
              </a:ext>
            </a:extLst>
          </p:cNvPr>
          <p:cNvSpPr txBox="1"/>
          <p:nvPr/>
        </p:nvSpPr>
        <p:spPr>
          <a:xfrm>
            <a:off x="1784108" y="2289909"/>
            <a:ext cx="503344" cy="1107996"/>
          </a:xfrm>
          <a:prstGeom prst="rect">
            <a:avLst/>
          </a:prstGeom>
          <a:noFill/>
        </p:spPr>
        <p:txBody>
          <a:bodyPr vert="horz" wrap="none" lIns="0" tIns="0" rIns="0" bIns="0" rtlCol="0">
            <a:noAutofit/>
          </a:bodyPr>
          <a:lstStyle/>
          <a:p>
            <a:pPr algn="ctr"/>
            <a:r>
              <a:rPr lang="en-US" sz="7200" dirty="0">
                <a:solidFill>
                  <a:schemeClr val="accent1"/>
                </a:solidFill>
                <a:latin typeface="Segoe UI Semibold" panose="020B0702040204020203" pitchFamily="34" charset="0"/>
                <a:cs typeface="Segoe UI Light" panose="020B0502040204020203" pitchFamily="34" charset="0"/>
              </a:rPr>
              <a:t>S</a:t>
            </a:r>
          </a:p>
        </p:txBody>
      </p:sp>
      <p:sp>
        <p:nvSpPr>
          <p:cNvPr id="40" name="Textfeld 39">
            <a:extLst>
              <a:ext uri="{FF2B5EF4-FFF2-40B4-BE49-F238E27FC236}">
                <a16:creationId xmlns:a16="http://schemas.microsoft.com/office/drawing/2014/main" id="{B022225F-1B23-47F6-BEDF-00C68BE760FB}"/>
              </a:ext>
            </a:extLst>
          </p:cNvPr>
          <p:cNvSpPr txBox="1"/>
          <p:nvPr/>
        </p:nvSpPr>
        <p:spPr>
          <a:xfrm>
            <a:off x="3546194" y="2289909"/>
            <a:ext cx="891271" cy="1107996"/>
          </a:xfrm>
          <a:prstGeom prst="rect">
            <a:avLst/>
          </a:prstGeom>
          <a:noFill/>
        </p:spPr>
        <p:txBody>
          <a:bodyPr vert="horz" wrap="none" lIns="0" tIns="0" rIns="0" bIns="0" rtlCol="0">
            <a:noAutofit/>
          </a:bodyPr>
          <a:lstStyle/>
          <a:p>
            <a:pPr algn="ctr"/>
            <a:r>
              <a:rPr lang="en-US" sz="7200" dirty="0">
                <a:solidFill>
                  <a:schemeClr val="accent1"/>
                </a:solidFill>
                <a:latin typeface="Segoe UI Semibold" panose="020B0702040204020203" pitchFamily="34" charset="0"/>
                <a:cs typeface="Segoe UI Light" panose="020B0502040204020203" pitchFamily="34" charset="0"/>
              </a:rPr>
              <a:t>W</a:t>
            </a:r>
          </a:p>
        </p:txBody>
      </p:sp>
      <p:sp>
        <p:nvSpPr>
          <p:cNvPr id="42" name="Textfeld 41">
            <a:extLst>
              <a:ext uri="{FF2B5EF4-FFF2-40B4-BE49-F238E27FC236}">
                <a16:creationId xmlns:a16="http://schemas.microsoft.com/office/drawing/2014/main" id="{813BEC98-5611-454A-8D6F-01127A345B7E}"/>
              </a:ext>
            </a:extLst>
          </p:cNvPr>
          <p:cNvSpPr txBox="1"/>
          <p:nvPr/>
        </p:nvSpPr>
        <p:spPr>
          <a:xfrm>
            <a:off x="3736951" y="4250588"/>
            <a:ext cx="509755" cy="1107996"/>
          </a:xfrm>
          <a:prstGeom prst="rect">
            <a:avLst/>
          </a:prstGeom>
          <a:noFill/>
        </p:spPr>
        <p:txBody>
          <a:bodyPr vert="horz" wrap="none" lIns="0" tIns="0" rIns="0" bIns="0" rtlCol="0">
            <a:noAutofit/>
          </a:bodyPr>
          <a:lstStyle/>
          <a:p>
            <a:pPr algn="ctr"/>
            <a:r>
              <a:rPr lang="en-US" sz="7200" dirty="0">
                <a:solidFill>
                  <a:schemeClr val="accent1"/>
                </a:solidFill>
                <a:latin typeface="Segoe UI Semibold" panose="020B0702040204020203" pitchFamily="34" charset="0"/>
                <a:cs typeface="Segoe UI Light" panose="020B0502040204020203" pitchFamily="34" charset="0"/>
              </a:rPr>
              <a:t>T</a:t>
            </a:r>
          </a:p>
        </p:txBody>
      </p:sp>
      <p:sp>
        <p:nvSpPr>
          <p:cNvPr id="43" name="MIO_TEXTBOX_BODY">
            <a:extLst>
              <a:ext uri="{FF2B5EF4-FFF2-40B4-BE49-F238E27FC236}">
                <a16:creationId xmlns:a16="http://schemas.microsoft.com/office/drawing/2014/main" id="{B5B9745B-BCB8-4C87-B4E1-4172437F9883}"/>
              </a:ext>
            </a:extLst>
          </p:cNvPr>
          <p:cNvSpPr txBox="1"/>
          <p:nvPr/>
        </p:nvSpPr>
        <p:spPr>
          <a:xfrm>
            <a:off x="6613463" y="2722092"/>
            <a:ext cx="4474208" cy="2927276"/>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dirty="0"/>
              <a:t>Lorem ipsum dolor sit amet, consectetuer adipiscing elit. Aenean commodo ligula eget dolor. Aenean massa. Cum sociis natoque penatibus et magnis dis parturient montes, nascetur ridiculus mus. </a:t>
            </a:r>
          </a:p>
          <a:p>
            <a:pPr marL="0" indent="0">
              <a:buSzPct val="100000"/>
              <a:buNone/>
            </a:pPr>
            <a:r>
              <a:rPr lang="en-US" dirty="0"/>
              <a:t>Donec quam felis, ultricies nec, pellentesque eu, pretium quis, sem. Nulla consequat massa quis enim. Donec pede justo, fringilla vel, aliquet nec, vulputate eget, arcu. In enim justo, rhoncus ut, imperdiet a, venenatis vitae, justo. </a:t>
            </a:r>
          </a:p>
        </p:txBody>
      </p:sp>
      <p:sp>
        <p:nvSpPr>
          <p:cNvPr id="44" name="MIO_TEXTBOX_HEADER">
            <a:extLst>
              <a:ext uri="{FF2B5EF4-FFF2-40B4-BE49-F238E27FC236}">
                <a16:creationId xmlns:a16="http://schemas.microsoft.com/office/drawing/2014/main" id="{6A534D1C-AF3E-4108-8307-913B5C9DF66F}"/>
              </a:ext>
            </a:extLst>
          </p:cNvPr>
          <p:cNvSpPr txBox="1"/>
          <p:nvPr/>
        </p:nvSpPr>
        <p:spPr>
          <a:xfrm>
            <a:off x="6613463" y="2279001"/>
            <a:ext cx="4474208" cy="335092"/>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800" dirty="0">
                <a:solidFill>
                  <a:schemeClr val="dk1"/>
                </a:solidFill>
              </a:rPr>
              <a:t>Lorem ipsum dolor sit amet</a:t>
            </a:r>
          </a:p>
        </p:txBody>
      </p:sp>
      <p:sp>
        <p:nvSpPr>
          <p:cNvPr id="2" name="Titel 1">
            <a:extLst>
              <a:ext uri="{FF2B5EF4-FFF2-40B4-BE49-F238E27FC236}">
                <a16:creationId xmlns:a16="http://schemas.microsoft.com/office/drawing/2014/main" id="{82AAE243-E3F6-4C79-A614-38495AB3966B}"/>
              </a:ext>
            </a:extLst>
          </p:cNvPr>
          <p:cNvSpPr>
            <a:spLocks noGrp="1"/>
          </p:cNvSpPr>
          <p:nvPr>
            <p:ph type="title"/>
          </p:nvPr>
        </p:nvSpPr>
        <p:spPr/>
        <p:txBody>
          <a:bodyPr/>
          <a:lstStyle/>
          <a:p>
            <a:r>
              <a:rPr lang="en-US" sz="3000" dirty="0"/>
              <a:t>SWOT opportunities</a:t>
            </a:r>
          </a:p>
        </p:txBody>
      </p:sp>
      <p:sp>
        <p:nvSpPr>
          <p:cNvPr id="22" name="MIO_OBJECT2">
            <a:extLst>
              <a:ext uri="{FF2B5EF4-FFF2-40B4-BE49-F238E27FC236}">
                <a16:creationId xmlns:a16="http://schemas.microsoft.com/office/drawing/2014/main" id="{E18E300B-7A11-4F84-83B8-43C6071E70FB}"/>
              </a:ext>
            </a:extLst>
          </p:cNvPr>
          <p:cNvSpPr/>
          <p:nvPr/>
        </p:nvSpPr>
        <p:spPr>
          <a:xfrm>
            <a:off x="790244" y="4009767"/>
            <a:ext cx="2176988" cy="21555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a:solidFill>
                <a:schemeClr val="bg1"/>
              </a:solidFill>
              <a:latin typeface="Segoe UI Semibold" panose="020B0702040204020203" pitchFamily="34" charset="0"/>
              <a:cs typeface="Segoe UI Semibold" panose="020B0702040204020203" pitchFamily="34" charset="0"/>
            </a:endParaRPr>
          </a:p>
        </p:txBody>
      </p:sp>
      <p:sp>
        <p:nvSpPr>
          <p:cNvPr id="23" name="Textfeld 22">
            <a:extLst>
              <a:ext uri="{FF2B5EF4-FFF2-40B4-BE49-F238E27FC236}">
                <a16:creationId xmlns:a16="http://schemas.microsoft.com/office/drawing/2014/main" id="{50DCF5FF-378F-480F-8CA9-054BA66CBC76}"/>
              </a:ext>
            </a:extLst>
          </p:cNvPr>
          <p:cNvSpPr txBox="1"/>
          <p:nvPr/>
        </p:nvSpPr>
        <p:spPr>
          <a:xfrm>
            <a:off x="947287" y="5615660"/>
            <a:ext cx="1862903" cy="215444"/>
          </a:xfrm>
          <a:prstGeom prst="rect">
            <a:avLst/>
          </a:prstGeom>
          <a:noFill/>
        </p:spPr>
        <p:txBody>
          <a:bodyPr vert="horz" wrap="none" lIns="0" tIns="0" rIns="0" bIns="0" rtlCol="0">
            <a:noAutofit/>
          </a:bodyPr>
          <a:lstStyle/>
          <a:p>
            <a:pPr algn="ctr"/>
            <a:r>
              <a:rPr lang="en-US" sz="1400" dirty="0">
                <a:solidFill>
                  <a:schemeClr val="lt1"/>
                </a:solidFill>
                <a:latin typeface="Segoe UI Semibold" panose="020B0702040204020203" pitchFamily="34" charset="0"/>
                <a:cs typeface="Segoe UI Light" panose="020B0502040204020203" pitchFamily="34" charset="0"/>
              </a:rPr>
              <a:t>Opportunities</a:t>
            </a:r>
            <a:endParaRPr lang="en-US" sz="1400" i="0" u="none" baseline="0" dirty="0">
              <a:solidFill>
                <a:schemeClr val="lt1"/>
              </a:solidFill>
              <a:latin typeface="Segoe UI Semibold" panose="020B0702040204020203" pitchFamily="34" charset="0"/>
              <a:cs typeface="Segoe UI Light" panose="020B0502040204020203" pitchFamily="34" charset="0"/>
            </a:endParaRPr>
          </a:p>
        </p:txBody>
      </p:sp>
      <p:sp>
        <p:nvSpPr>
          <p:cNvPr id="24" name="Textfeld 23">
            <a:extLst>
              <a:ext uri="{FF2B5EF4-FFF2-40B4-BE49-F238E27FC236}">
                <a16:creationId xmlns:a16="http://schemas.microsoft.com/office/drawing/2014/main" id="{39708B52-97B3-497A-AEFF-909997900602}"/>
              </a:ext>
            </a:extLst>
          </p:cNvPr>
          <p:cNvSpPr txBox="1"/>
          <p:nvPr/>
        </p:nvSpPr>
        <p:spPr>
          <a:xfrm>
            <a:off x="1530085" y="4343953"/>
            <a:ext cx="697307" cy="1107996"/>
          </a:xfrm>
          <a:prstGeom prst="rect">
            <a:avLst/>
          </a:prstGeom>
          <a:noFill/>
        </p:spPr>
        <p:txBody>
          <a:bodyPr vert="horz" wrap="none" lIns="0" tIns="0" rIns="0" bIns="0" rtlCol="0">
            <a:noAutofit/>
          </a:bodyPr>
          <a:lstStyle/>
          <a:p>
            <a:pPr algn="ctr"/>
            <a:r>
              <a:rPr lang="en-US" sz="7200" dirty="0">
                <a:solidFill>
                  <a:schemeClr val="lt1"/>
                </a:solidFill>
                <a:latin typeface="Segoe UI Semibold" panose="020B0702040204020203" pitchFamily="34" charset="0"/>
                <a:cs typeface="Segoe UI Light" panose="020B0502040204020203" pitchFamily="34" charset="0"/>
              </a:rPr>
              <a:t>O</a:t>
            </a:r>
          </a:p>
        </p:txBody>
      </p:sp>
    </p:spTree>
    <p:custDataLst>
      <p:tags r:id="rId1"/>
    </p:custDataLst>
    <p:extLst>
      <p:ext uri="{BB962C8B-B14F-4D97-AF65-F5344CB8AC3E}">
        <p14:creationId xmlns:p14="http://schemas.microsoft.com/office/powerpoint/2010/main" val="135066241"/>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MIO_SHADOWBOX">
            <a:extLst>
              <a:ext uri="{FF2B5EF4-FFF2-40B4-BE49-F238E27FC236}">
                <a16:creationId xmlns:a16="http://schemas.microsoft.com/office/drawing/2014/main" id="{409A8920-12F3-40A8-BE5C-5DA71D53970C}"/>
              </a:ext>
            </a:extLst>
          </p:cNvPr>
          <p:cNvSpPr>
            <a:spLocks noChangeAspect="1"/>
          </p:cNvSpPr>
          <p:nvPr/>
        </p:nvSpPr>
        <p:spPr>
          <a:xfrm>
            <a:off x="3060378" y="4009767"/>
            <a:ext cx="1862903" cy="1844534"/>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19" name="MIO_SHADOWBOX">
            <a:extLst>
              <a:ext uri="{FF2B5EF4-FFF2-40B4-BE49-F238E27FC236}">
                <a16:creationId xmlns:a16="http://schemas.microsoft.com/office/drawing/2014/main" id="{D8C15509-2E4B-4323-BE29-A59036051FA3}"/>
              </a:ext>
            </a:extLst>
          </p:cNvPr>
          <p:cNvSpPr>
            <a:spLocks noChangeAspect="1"/>
          </p:cNvSpPr>
          <p:nvPr/>
        </p:nvSpPr>
        <p:spPr>
          <a:xfrm>
            <a:off x="1104329" y="4009767"/>
            <a:ext cx="1862903" cy="1844534"/>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20" name="MIO_SHADOWBOX">
            <a:extLst>
              <a:ext uri="{FF2B5EF4-FFF2-40B4-BE49-F238E27FC236}">
                <a16:creationId xmlns:a16="http://schemas.microsoft.com/office/drawing/2014/main" id="{63F6B6A5-5A87-4A12-9E2F-64F647148A7D}"/>
              </a:ext>
            </a:extLst>
          </p:cNvPr>
          <p:cNvSpPr>
            <a:spLocks noChangeAspect="1"/>
          </p:cNvSpPr>
          <p:nvPr/>
        </p:nvSpPr>
        <p:spPr>
          <a:xfrm>
            <a:off x="3060378" y="2072087"/>
            <a:ext cx="1862903" cy="1844534"/>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27" name="Textfeld 26">
            <a:extLst>
              <a:ext uri="{FF2B5EF4-FFF2-40B4-BE49-F238E27FC236}">
                <a16:creationId xmlns:a16="http://schemas.microsoft.com/office/drawing/2014/main" id="{B0C9DC91-3053-4B25-8DD9-1FB244E69398}"/>
              </a:ext>
            </a:extLst>
          </p:cNvPr>
          <p:cNvSpPr txBox="1"/>
          <p:nvPr/>
        </p:nvSpPr>
        <p:spPr>
          <a:xfrm>
            <a:off x="3060378" y="3586029"/>
            <a:ext cx="1862903" cy="215444"/>
          </a:xfrm>
          <a:prstGeom prst="rect">
            <a:avLst/>
          </a:prstGeom>
          <a:noFill/>
        </p:spPr>
        <p:txBody>
          <a:bodyPr vert="horz" wrap="none" lIns="0" tIns="0" rIns="0" bIns="0" rtlCol="0">
            <a:noAutofit/>
          </a:bodyPr>
          <a:lstStyle/>
          <a:p>
            <a:pPr algn="ctr"/>
            <a:r>
              <a:rPr lang="en-US" sz="1400" dirty="0">
                <a:latin typeface="Segoe UI Semibold" panose="020B0702040204020203" pitchFamily="34" charset="0"/>
                <a:cs typeface="Segoe UI Light" panose="020B0502040204020203" pitchFamily="34" charset="0"/>
              </a:rPr>
              <a:t>Weaknesses</a:t>
            </a:r>
            <a:endParaRPr lang="en-US" sz="1400" i="0" u="none" baseline="0" dirty="0">
              <a:latin typeface="Segoe UI Semibold" panose="020B0702040204020203" pitchFamily="34" charset="0"/>
              <a:cs typeface="Segoe UI Light" panose="020B0502040204020203" pitchFamily="34" charset="0"/>
            </a:endParaRPr>
          </a:p>
        </p:txBody>
      </p:sp>
      <p:sp>
        <p:nvSpPr>
          <p:cNvPr id="28" name="Textfeld 27">
            <a:extLst>
              <a:ext uri="{FF2B5EF4-FFF2-40B4-BE49-F238E27FC236}">
                <a16:creationId xmlns:a16="http://schemas.microsoft.com/office/drawing/2014/main" id="{638AB426-08B1-45EE-8E02-D91B23DFE8EA}"/>
              </a:ext>
            </a:extLst>
          </p:cNvPr>
          <p:cNvSpPr txBox="1"/>
          <p:nvPr/>
        </p:nvSpPr>
        <p:spPr>
          <a:xfrm>
            <a:off x="1104329" y="5522295"/>
            <a:ext cx="1862903" cy="215444"/>
          </a:xfrm>
          <a:prstGeom prst="rect">
            <a:avLst/>
          </a:prstGeom>
          <a:noFill/>
        </p:spPr>
        <p:txBody>
          <a:bodyPr vert="horz" wrap="none" lIns="0" tIns="0" rIns="0" bIns="0" rtlCol="0">
            <a:noAutofit/>
          </a:bodyPr>
          <a:lstStyle/>
          <a:p>
            <a:pPr algn="ctr"/>
            <a:r>
              <a:rPr lang="en-US" sz="1400" dirty="0">
                <a:latin typeface="Segoe UI Semibold" panose="020B0702040204020203" pitchFamily="34" charset="0"/>
                <a:cs typeface="Segoe UI Light" panose="020B0502040204020203" pitchFamily="34" charset="0"/>
              </a:rPr>
              <a:t>Opportunities</a:t>
            </a:r>
            <a:endParaRPr lang="en-US" sz="1400" i="0" u="none" baseline="0" dirty="0">
              <a:latin typeface="Segoe UI Semibold" panose="020B0702040204020203" pitchFamily="34" charset="0"/>
              <a:cs typeface="Segoe UI Light" panose="020B0502040204020203" pitchFamily="34" charset="0"/>
            </a:endParaRPr>
          </a:p>
        </p:txBody>
      </p:sp>
      <p:sp>
        <p:nvSpPr>
          <p:cNvPr id="29" name="Textfeld 28">
            <a:extLst>
              <a:ext uri="{FF2B5EF4-FFF2-40B4-BE49-F238E27FC236}">
                <a16:creationId xmlns:a16="http://schemas.microsoft.com/office/drawing/2014/main" id="{C41C9035-35D1-49A0-A610-D027AA6E16F9}"/>
              </a:ext>
            </a:extLst>
          </p:cNvPr>
          <p:cNvSpPr txBox="1"/>
          <p:nvPr/>
        </p:nvSpPr>
        <p:spPr>
          <a:xfrm>
            <a:off x="3060378" y="5522295"/>
            <a:ext cx="1862903" cy="215444"/>
          </a:xfrm>
          <a:prstGeom prst="rect">
            <a:avLst/>
          </a:prstGeom>
          <a:noFill/>
        </p:spPr>
        <p:txBody>
          <a:bodyPr vert="horz" wrap="none" lIns="0" tIns="0" rIns="0" bIns="0" rtlCol="0">
            <a:noAutofit/>
          </a:bodyPr>
          <a:lstStyle/>
          <a:p>
            <a:pPr algn="ctr"/>
            <a:r>
              <a:rPr lang="en-US" sz="1400" dirty="0">
                <a:latin typeface="Segoe UI Semibold" panose="020B0702040204020203" pitchFamily="34" charset="0"/>
                <a:cs typeface="Segoe UI Light" panose="020B0502040204020203" pitchFamily="34" charset="0"/>
              </a:rPr>
              <a:t>Threats</a:t>
            </a:r>
            <a:endParaRPr lang="en-US" sz="1400" i="0" u="none" baseline="0" dirty="0">
              <a:latin typeface="Segoe UI Semibold" panose="020B0702040204020203" pitchFamily="34" charset="0"/>
              <a:cs typeface="Segoe UI Light" panose="020B0502040204020203" pitchFamily="34" charset="0"/>
            </a:endParaRPr>
          </a:p>
        </p:txBody>
      </p:sp>
      <p:sp>
        <p:nvSpPr>
          <p:cNvPr id="40" name="Textfeld 39">
            <a:extLst>
              <a:ext uri="{FF2B5EF4-FFF2-40B4-BE49-F238E27FC236}">
                <a16:creationId xmlns:a16="http://schemas.microsoft.com/office/drawing/2014/main" id="{532C59EE-54DA-4457-AF54-03520FED0244}"/>
              </a:ext>
            </a:extLst>
          </p:cNvPr>
          <p:cNvSpPr txBox="1"/>
          <p:nvPr/>
        </p:nvSpPr>
        <p:spPr>
          <a:xfrm>
            <a:off x="3546194" y="2289909"/>
            <a:ext cx="891271" cy="1107996"/>
          </a:xfrm>
          <a:prstGeom prst="rect">
            <a:avLst/>
          </a:prstGeom>
          <a:noFill/>
        </p:spPr>
        <p:txBody>
          <a:bodyPr vert="horz" wrap="none" lIns="0" tIns="0" rIns="0" bIns="0" rtlCol="0">
            <a:noAutofit/>
          </a:bodyPr>
          <a:lstStyle/>
          <a:p>
            <a:pPr algn="ctr"/>
            <a:r>
              <a:rPr lang="en-US" sz="7200" dirty="0">
                <a:solidFill>
                  <a:schemeClr val="accent1"/>
                </a:solidFill>
                <a:latin typeface="Segoe UI Semibold" panose="020B0702040204020203" pitchFamily="34" charset="0"/>
                <a:cs typeface="Segoe UI Light" panose="020B0502040204020203" pitchFamily="34" charset="0"/>
              </a:rPr>
              <a:t>W</a:t>
            </a:r>
          </a:p>
        </p:txBody>
      </p:sp>
      <p:sp>
        <p:nvSpPr>
          <p:cNvPr id="41" name="Textfeld 40">
            <a:extLst>
              <a:ext uri="{FF2B5EF4-FFF2-40B4-BE49-F238E27FC236}">
                <a16:creationId xmlns:a16="http://schemas.microsoft.com/office/drawing/2014/main" id="{7296DDC7-7E33-4916-B5C7-D9E2A7B2A5BF}"/>
              </a:ext>
            </a:extLst>
          </p:cNvPr>
          <p:cNvSpPr txBox="1"/>
          <p:nvPr/>
        </p:nvSpPr>
        <p:spPr>
          <a:xfrm>
            <a:off x="1687127" y="4250588"/>
            <a:ext cx="697307" cy="1107996"/>
          </a:xfrm>
          <a:prstGeom prst="rect">
            <a:avLst/>
          </a:prstGeom>
          <a:noFill/>
        </p:spPr>
        <p:txBody>
          <a:bodyPr vert="horz" wrap="none" lIns="0" tIns="0" rIns="0" bIns="0" rtlCol="0">
            <a:noAutofit/>
          </a:bodyPr>
          <a:lstStyle/>
          <a:p>
            <a:pPr algn="ctr"/>
            <a:r>
              <a:rPr lang="en-US" sz="7200" dirty="0">
                <a:solidFill>
                  <a:schemeClr val="accent1"/>
                </a:solidFill>
                <a:latin typeface="Segoe UI Semibold" panose="020B0702040204020203" pitchFamily="34" charset="0"/>
                <a:cs typeface="Segoe UI Light" panose="020B0502040204020203" pitchFamily="34" charset="0"/>
              </a:rPr>
              <a:t>O</a:t>
            </a:r>
          </a:p>
        </p:txBody>
      </p:sp>
      <p:sp>
        <p:nvSpPr>
          <p:cNvPr id="42" name="Textfeld 41">
            <a:extLst>
              <a:ext uri="{FF2B5EF4-FFF2-40B4-BE49-F238E27FC236}">
                <a16:creationId xmlns:a16="http://schemas.microsoft.com/office/drawing/2014/main" id="{4810BBAE-9074-4A3A-B57C-F24658DE4AE1}"/>
              </a:ext>
            </a:extLst>
          </p:cNvPr>
          <p:cNvSpPr txBox="1"/>
          <p:nvPr/>
        </p:nvSpPr>
        <p:spPr>
          <a:xfrm>
            <a:off x="3736951" y="4250588"/>
            <a:ext cx="509755" cy="1107996"/>
          </a:xfrm>
          <a:prstGeom prst="rect">
            <a:avLst/>
          </a:prstGeom>
          <a:noFill/>
        </p:spPr>
        <p:txBody>
          <a:bodyPr vert="horz" wrap="none" lIns="0" tIns="0" rIns="0" bIns="0" rtlCol="0">
            <a:noAutofit/>
          </a:bodyPr>
          <a:lstStyle/>
          <a:p>
            <a:pPr algn="ctr"/>
            <a:r>
              <a:rPr lang="en-US" sz="7200" dirty="0">
                <a:solidFill>
                  <a:schemeClr val="accent1"/>
                </a:solidFill>
                <a:latin typeface="Segoe UI Semibold" panose="020B0702040204020203" pitchFamily="34" charset="0"/>
                <a:cs typeface="Segoe UI Light" panose="020B0502040204020203" pitchFamily="34" charset="0"/>
              </a:rPr>
              <a:t>T</a:t>
            </a:r>
          </a:p>
        </p:txBody>
      </p:sp>
      <p:sp>
        <p:nvSpPr>
          <p:cNvPr id="43" name="MIO_TEXTBOX_BODY">
            <a:extLst>
              <a:ext uri="{FF2B5EF4-FFF2-40B4-BE49-F238E27FC236}">
                <a16:creationId xmlns:a16="http://schemas.microsoft.com/office/drawing/2014/main" id="{A1C29B47-74AC-4805-BC48-37BF8EED6CD7}"/>
              </a:ext>
            </a:extLst>
          </p:cNvPr>
          <p:cNvSpPr txBox="1"/>
          <p:nvPr/>
        </p:nvSpPr>
        <p:spPr>
          <a:xfrm>
            <a:off x="6613463" y="2722092"/>
            <a:ext cx="4474208" cy="2927276"/>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dirty="0"/>
              <a:t>Lorem ipsum dolor sit amet, consectetuer adipiscing elit. Aenean commodo ligula eget dolor. Aenean massa. Cum sociis natoque penatibus et magnis dis parturient montes, nascetur ridiculus mus. </a:t>
            </a:r>
          </a:p>
          <a:p>
            <a:pPr marL="0" indent="0">
              <a:buSzPct val="100000"/>
              <a:buNone/>
            </a:pPr>
            <a:r>
              <a:rPr lang="en-US" dirty="0"/>
              <a:t>Donec quam felis, ultricies nec, pellentesque eu, pretium quis, sem. Nulla consequat massa quis enim. Donec pede justo, fringilla vel, aliquet nec, vulputate eget, arcu. In enim justo, rhoncus ut, imperdiet a, venenatis vitae, justo. </a:t>
            </a:r>
          </a:p>
        </p:txBody>
      </p:sp>
      <p:sp>
        <p:nvSpPr>
          <p:cNvPr id="44" name="MIO_TEXTBOX_HEADER">
            <a:extLst>
              <a:ext uri="{FF2B5EF4-FFF2-40B4-BE49-F238E27FC236}">
                <a16:creationId xmlns:a16="http://schemas.microsoft.com/office/drawing/2014/main" id="{89F3B832-4F89-4728-B4A3-A128CA08E319}"/>
              </a:ext>
            </a:extLst>
          </p:cNvPr>
          <p:cNvSpPr txBox="1"/>
          <p:nvPr/>
        </p:nvSpPr>
        <p:spPr>
          <a:xfrm>
            <a:off x="6613463" y="2279001"/>
            <a:ext cx="4474208" cy="335092"/>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800" dirty="0">
                <a:solidFill>
                  <a:schemeClr val="dk1"/>
                </a:solidFill>
              </a:rPr>
              <a:t>Lorem ipsum dolor sit amet</a:t>
            </a:r>
          </a:p>
        </p:txBody>
      </p:sp>
      <p:sp>
        <p:nvSpPr>
          <p:cNvPr id="2" name="Titel 1">
            <a:extLst>
              <a:ext uri="{FF2B5EF4-FFF2-40B4-BE49-F238E27FC236}">
                <a16:creationId xmlns:a16="http://schemas.microsoft.com/office/drawing/2014/main" id="{82AAE243-E3F6-4C79-A614-38495AB3966B}"/>
              </a:ext>
            </a:extLst>
          </p:cNvPr>
          <p:cNvSpPr>
            <a:spLocks noGrp="1"/>
          </p:cNvSpPr>
          <p:nvPr>
            <p:ph type="title"/>
          </p:nvPr>
        </p:nvSpPr>
        <p:spPr/>
        <p:txBody>
          <a:bodyPr/>
          <a:lstStyle/>
          <a:p>
            <a:r>
              <a:rPr lang="en-US" sz="3000" dirty="0"/>
              <a:t>SWOT strengths</a:t>
            </a:r>
          </a:p>
        </p:txBody>
      </p:sp>
      <p:sp>
        <p:nvSpPr>
          <p:cNvPr id="22" name="MIO_OBJECT1">
            <a:extLst>
              <a:ext uri="{FF2B5EF4-FFF2-40B4-BE49-F238E27FC236}">
                <a16:creationId xmlns:a16="http://schemas.microsoft.com/office/drawing/2014/main" id="{CC9E65DE-5578-4BE5-BA16-A664EF0468A3}"/>
              </a:ext>
            </a:extLst>
          </p:cNvPr>
          <p:cNvSpPr/>
          <p:nvPr/>
        </p:nvSpPr>
        <p:spPr>
          <a:xfrm>
            <a:off x="790244" y="1761099"/>
            <a:ext cx="2176988" cy="21555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a:solidFill>
                <a:schemeClr val="bg1"/>
              </a:solidFill>
              <a:latin typeface="Segoe UI Semibold" panose="020B0702040204020203" pitchFamily="34" charset="0"/>
              <a:cs typeface="Segoe UI Semibold" panose="020B0702040204020203" pitchFamily="34" charset="0"/>
            </a:endParaRPr>
          </a:p>
        </p:txBody>
      </p:sp>
      <p:sp>
        <p:nvSpPr>
          <p:cNvPr id="23" name="Textfeld 22">
            <a:extLst>
              <a:ext uri="{FF2B5EF4-FFF2-40B4-BE49-F238E27FC236}">
                <a16:creationId xmlns:a16="http://schemas.microsoft.com/office/drawing/2014/main" id="{27FDF04B-003B-4B54-808E-FA899FEF7014}"/>
              </a:ext>
            </a:extLst>
          </p:cNvPr>
          <p:cNvSpPr txBox="1"/>
          <p:nvPr/>
        </p:nvSpPr>
        <p:spPr>
          <a:xfrm>
            <a:off x="947287" y="3379198"/>
            <a:ext cx="1862903" cy="215444"/>
          </a:xfrm>
          <a:prstGeom prst="rect">
            <a:avLst/>
          </a:prstGeom>
          <a:noFill/>
        </p:spPr>
        <p:txBody>
          <a:bodyPr vert="horz" wrap="none" lIns="0" tIns="0" rIns="0" bIns="0" rtlCol="0">
            <a:noAutofit/>
          </a:bodyPr>
          <a:lstStyle/>
          <a:p>
            <a:pPr algn="ctr"/>
            <a:r>
              <a:rPr lang="en-US" sz="1400" dirty="0">
                <a:solidFill>
                  <a:schemeClr val="bg1"/>
                </a:solidFill>
                <a:latin typeface="Segoe UI Semibold" panose="020B0702040204020203" pitchFamily="34" charset="0"/>
                <a:cs typeface="Segoe UI Light" panose="020B0502040204020203" pitchFamily="34" charset="0"/>
              </a:rPr>
              <a:t>Strengths</a:t>
            </a:r>
          </a:p>
        </p:txBody>
      </p:sp>
      <p:sp>
        <p:nvSpPr>
          <p:cNvPr id="24" name="Textfeld 23">
            <a:extLst>
              <a:ext uri="{FF2B5EF4-FFF2-40B4-BE49-F238E27FC236}">
                <a16:creationId xmlns:a16="http://schemas.microsoft.com/office/drawing/2014/main" id="{4639CD09-CE11-425E-A2C3-960148D4B290}"/>
              </a:ext>
            </a:extLst>
          </p:cNvPr>
          <p:cNvSpPr txBox="1"/>
          <p:nvPr/>
        </p:nvSpPr>
        <p:spPr>
          <a:xfrm>
            <a:off x="1627066" y="2083078"/>
            <a:ext cx="503344" cy="1107996"/>
          </a:xfrm>
          <a:prstGeom prst="rect">
            <a:avLst/>
          </a:prstGeom>
          <a:noFill/>
        </p:spPr>
        <p:txBody>
          <a:bodyPr vert="horz" wrap="none" lIns="0" tIns="0" rIns="0" bIns="0" rtlCol="0">
            <a:noAutofit/>
          </a:bodyPr>
          <a:lstStyle/>
          <a:p>
            <a:pPr algn="ctr"/>
            <a:r>
              <a:rPr lang="en-US" sz="7200" dirty="0">
                <a:solidFill>
                  <a:schemeClr val="bg1"/>
                </a:solidFill>
                <a:latin typeface="Segoe UI Semibold" panose="020B0702040204020203" pitchFamily="34" charset="0"/>
                <a:cs typeface="Segoe UI Light" panose="020B0502040204020203" pitchFamily="34" charset="0"/>
              </a:rPr>
              <a:t>S</a:t>
            </a:r>
          </a:p>
        </p:txBody>
      </p:sp>
    </p:spTree>
    <p:custDataLst>
      <p:tags r:id="rId1"/>
    </p:custDataLst>
    <p:extLst>
      <p:ext uri="{BB962C8B-B14F-4D97-AF65-F5344CB8AC3E}">
        <p14:creationId xmlns:p14="http://schemas.microsoft.com/office/powerpoint/2010/main" val="1271003862"/>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MIO_SHADOWBOX">
            <a:extLst>
              <a:ext uri="{FF2B5EF4-FFF2-40B4-BE49-F238E27FC236}">
                <a16:creationId xmlns:a16="http://schemas.microsoft.com/office/drawing/2014/main" id="{AA391D88-8AC6-4014-A4FF-AFAAEA95E5FF}"/>
              </a:ext>
            </a:extLst>
          </p:cNvPr>
          <p:cNvSpPr>
            <a:spLocks noChangeAspect="1"/>
          </p:cNvSpPr>
          <p:nvPr/>
        </p:nvSpPr>
        <p:spPr>
          <a:xfrm>
            <a:off x="1104329" y="4009767"/>
            <a:ext cx="1862903" cy="1844534"/>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20" name="MIO_SHADOWBOX">
            <a:extLst>
              <a:ext uri="{FF2B5EF4-FFF2-40B4-BE49-F238E27FC236}">
                <a16:creationId xmlns:a16="http://schemas.microsoft.com/office/drawing/2014/main" id="{DAC8157B-DBF3-4D4D-8EBB-30C068D4A698}"/>
              </a:ext>
            </a:extLst>
          </p:cNvPr>
          <p:cNvSpPr>
            <a:spLocks noChangeAspect="1"/>
          </p:cNvSpPr>
          <p:nvPr/>
        </p:nvSpPr>
        <p:spPr>
          <a:xfrm>
            <a:off x="3060378" y="2072087"/>
            <a:ext cx="1862903" cy="1844534"/>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25" name="MIO_SHADOWBOX">
            <a:extLst>
              <a:ext uri="{FF2B5EF4-FFF2-40B4-BE49-F238E27FC236}">
                <a16:creationId xmlns:a16="http://schemas.microsoft.com/office/drawing/2014/main" id="{75148941-7BAD-4319-95B0-48CE203217B5}"/>
              </a:ext>
            </a:extLst>
          </p:cNvPr>
          <p:cNvSpPr>
            <a:spLocks noChangeAspect="1"/>
          </p:cNvSpPr>
          <p:nvPr/>
        </p:nvSpPr>
        <p:spPr>
          <a:xfrm>
            <a:off x="1104329" y="2072087"/>
            <a:ext cx="1862903" cy="1844534"/>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26" name="Textfeld 25">
            <a:extLst>
              <a:ext uri="{FF2B5EF4-FFF2-40B4-BE49-F238E27FC236}">
                <a16:creationId xmlns:a16="http://schemas.microsoft.com/office/drawing/2014/main" id="{DA23680D-B099-4AA7-9BA8-DBE0C02B1A1B}"/>
              </a:ext>
            </a:extLst>
          </p:cNvPr>
          <p:cNvSpPr txBox="1"/>
          <p:nvPr/>
        </p:nvSpPr>
        <p:spPr>
          <a:xfrm>
            <a:off x="1104329" y="3586029"/>
            <a:ext cx="1862903" cy="215444"/>
          </a:xfrm>
          <a:prstGeom prst="rect">
            <a:avLst/>
          </a:prstGeom>
          <a:noFill/>
        </p:spPr>
        <p:txBody>
          <a:bodyPr vert="horz" wrap="none" lIns="0" tIns="0" rIns="0" bIns="0" rtlCol="0">
            <a:noAutofit/>
          </a:bodyPr>
          <a:lstStyle/>
          <a:p>
            <a:pPr algn="ctr"/>
            <a:r>
              <a:rPr lang="en-US" sz="1400" dirty="0">
                <a:latin typeface="Segoe UI Semibold" panose="020B0702040204020203" pitchFamily="34" charset="0"/>
                <a:cs typeface="Segoe UI Light" panose="020B0502040204020203" pitchFamily="34" charset="0"/>
              </a:rPr>
              <a:t>Strengths</a:t>
            </a:r>
          </a:p>
        </p:txBody>
      </p:sp>
      <p:sp>
        <p:nvSpPr>
          <p:cNvPr id="27" name="Textfeld 26">
            <a:extLst>
              <a:ext uri="{FF2B5EF4-FFF2-40B4-BE49-F238E27FC236}">
                <a16:creationId xmlns:a16="http://schemas.microsoft.com/office/drawing/2014/main" id="{72EDEC14-9F15-4D7E-B571-81822E80DFA4}"/>
              </a:ext>
            </a:extLst>
          </p:cNvPr>
          <p:cNvSpPr txBox="1"/>
          <p:nvPr/>
        </p:nvSpPr>
        <p:spPr>
          <a:xfrm>
            <a:off x="3060378" y="3586029"/>
            <a:ext cx="1862903" cy="215444"/>
          </a:xfrm>
          <a:prstGeom prst="rect">
            <a:avLst/>
          </a:prstGeom>
          <a:noFill/>
        </p:spPr>
        <p:txBody>
          <a:bodyPr vert="horz" wrap="none" lIns="0" tIns="0" rIns="0" bIns="0" rtlCol="0">
            <a:noAutofit/>
          </a:bodyPr>
          <a:lstStyle/>
          <a:p>
            <a:pPr algn="ctr"/>
            <a:r>
              <a:rPr lang="en-US" sz="1400" dirty="0">
                <a:latin typeface="Segoe UI Semibold" panose="020B0702040204020203" pitchFamily="34" charset="0"/>
                <a:cs typeface="Segoe UI Light" panose="020B0502040204020203" pitchFamily="34" charset="0"/>
              </a:rPr>
              <a:t>Weaknesses</a:t>
            </a:r>
            <a:endParaRPr lang="en-US" sz="1400" i="0" u="none" baseline="0" dirty="0">
              <a:latin typeface="Segoe UI Semibold" panose="020B0702040204020203" pitchFamily="34" charset="0"/>
              <a:cs typeface="Segoe UI Light" panose="020B0502040204020203" pitchFamily="34" charset="0"/>
            </a:endParaRPr>
          </a:p>
        </p:txBody>
      </p:sp>
      <p:sp>
        <p:nvSpPr>
          <p:cNvPr id="28" name="Textfeld 27">
            <a:extLst>
              <a:ext uri="{FF2B5EF4-FFF2-40B4-BE49-F238E27FC236}">
                <a16:creationId xmlns:a16="http://schemas.microsoft.com/office/drawing/2014/main" id="{F58AD86B-1C87-4CB6-B6AA-9914BE3D85D6}"/>
              </a:ext>
            </a:extLst>
          </p:cNvPr>
          <p:cNvSpPr txBox="1"/>
          <p:nvPr/>
        </p:nvSpPr>
        <p:spPr>
          <a:xfrm>
            <a:off x="1104329" y="5522295"/>
            <a:ext cx="1862903" cy="215444"/>
          </a:xfrm>
          <a:prstGeom prst="rect">
            <a:avLst/>
          </a:prstGeom>
          <a:noFill/>
        </p:spPr>
        <p:txBody>
          <a:bodyPr vert="horz" wrap="none" lIns="0" tIns="0" rIns="0" bIns="0" rtlCol="0">
            <a:noAutofit/>
          </a:bodyPr>
          <a:lstStyle/>
          <a:p>
            <a:pPr algn="ctr"/>
            <a:r>
              <a:rPr lang="en-US" sz="1400" dirty="0">
                <a:latin typeface="Segoe UI Semibold" panose="020B0702040204020203" pitchFamily="34" charset="0"/>
                <a:cs typeface="Segoe UI Light" panose="020B0502040204020203" pitchFamily="34" charset="0"/>
              </a:rPr>
              <a:t>Opportunities</a:t>
            </a:r>
            <a:endParaRPr lang="en-US" sz="1400" i="0" u="none" baseline="0" dirty="0">
              <a:latin typeface="Segoe UI Semibold" panose="020B0702040204020203" pitchFamily="34" charset="0"/>
              <a:cs typeface="Segoe UI Light" panose="020B0502040204020203" pitchFamily="34" charset="0"/>
            </a:endParaRPr>
          </a:p>
        </p:txBody>
      </p:sp>
      <p:sp>
        <p:nvSpPr>
          <p:cNvPr id="39" name="Textfeld 38">
            <a:extLst>
              <a:ext uri="{FF2B5EF4-FFF2-40B4-BE49-F238E27FC236}">
                <a16:creationId xmlns:a16="http://schemas.microsoft.com/office/drawing/2014/main" id="{7420E468-B5F4-4757-8642-7A67968CEFFE}"/>
              </a:ext>
            </a:extLst>
          </p:cNvPr>
          <p:cNvSpPr txBox="1"/>
          <p:nvPr/>
        </p:nvSpPr>
        <p:spPr>
          <a:xfrm>
            <a:off x="1784108" y="2289909"/>
            <a:ext cx="503344" cy="1107996"/>
          </a:xfrm>
          <a:prstGeom prst="rect">
            <a:avLst/>
          </a:prstGeom>
          <a:noFill/>
        </p:spPr>
        <p:txBody>
          <a:bodyPr vert="horz" wrap="none" lIns="0" tIns="0" rIns="0" bIns="0" rtlCol="0">
            <a:noAutofit/>
          </a:bodyPr>
          <a:lstStyle/>
          <a:p>
            <a:pPr algn="ctr"/>
            <a:r>
              <a:rPr lang="en-US" sz="7200" dirty="0">
                <a:solidFill>
                  <a:schemeClr val="accent1"/>
                </a:solidFill>
                <a:latin typeface="Segoe UI Semibold" panose="020B0702040204020203" pitchFamily="34" charset="0"/>
                <a:cs typeface="Segoe UI Light" panose="020B0502040204020203" pitchFamily="34" charset="0"/>
              </a:rPr>
              <a:t>S</a:t>
            </a:r>
          </a:p>
        </p:txBody>
      </p:sp>
      <p:sp>
        <p:nvSpPr>
          <p:cNvPr id="40" name="Textfeld 39">
            <a:extLst>
              <a:ext uri="{FF2B5EF4-FFF2-40B4-BE49-F238E27FC236}">
                <a16:creationId xmlns:a16="http://schemas.microsoft.com/office/drawing/2014/main" id="{24B25D5E-7E63-45DB-A552-2215BB9FBBFA}"/>
              </a:ext>
            </a:extLst>
          </p:cNvPr>
          <p:cNvSpPr txBox="1"/>
          <p:nvPr/>
        </p:nvSpPr>
        <p:spPr>
          <a:xfrm>
            <a:off x="3546194" y="2289909"/>
            <a:ext cx="891271" cy="1107996"/>
          </a:xfrm>
          <a:prstGeom prst="rect">
            <a:avLst/>
          </a:prstGeom>
          <a:noFill/>
        </p:spPr>
        <p:txBody>
          <a:bodyPr vert="horz" wrap="none" lIns="0" tIns="0" rIns="0" bIns="0" rtlCol="0">
            <a:noAutofit/>
          </a:bodyPr>
          <a:lstStyle/>
          <a:p>
            <a:pPr algn="ctr"/>
            <a:r>
              <a:rPr lang="en-US" sz="7200" dirty="0">
                <a:solidFill>
                  <a:schemeClr val="accent1"/>
                </a:solidFill>
                <a:latin typeface="Segoe UI Semibold" panose="020B0702040204020203" pitchFamily="34" charset="0"/>
                <a:cs typeface="Segoe UI Light" panose="020B0502040204020203" pitchFamily="34" charset="0"/>
              </a:rPr>
              <a:t>W</a:t>
            </a:r>
          </a:p>
        </p:txBody>
      </p:sp>
      <p:sp>
        <p:nvSpPr>
          <p:cNvPr id="41" name="Textfeld 40">
            <a:extLst>
              <a:ext uri="{FF2B5EF4-FFF2-40B4-BE49-F238E27FC236}">
                <a16:creationId xmlns:a16="http://schemas.microsoft.com/office/drawing/2014/main" id="{AE4B5BFC-8054-42D0-A331-94E4FAA8FA89}"/>
              </a:ext>
            </a:extLst>
          </p:cNvPr>
          <p:cNvSpPr txBox="1"/>
          <p:nvPr/>
        </p:nvSpPr>
        <p:spPr>
          <a:xfrm>
            <a:off x="1687127" y="4250588"/>
            <a:ext cx="697307" cy="1107996"/>
          </a:xfrm>
          <a:prstGeom prst="rect">
            <a:avLst/>
          </a:prstGeom>
          <a:noFill/>
        </p:spPr>
        <p:txBody>
          <a:bodyPr vert="horz" wrap="none" lIns="0" tIns="0" rIns="0" bIns="0" rtlCol="0">
            <a:noAutofit/>
          </a:bodyPr>
          <a:lstStyle/>
          <a:p>
            <a:pPr algn="ctr"/>
            <a:r>
              <a:rPr lang="en-US" sz="7200" dirty="0">
                <a:solidFill>
                  <a:schemeClr val="accent1"/>
                </a:solidFill>
                <a:latin typeface="Segoe UI Semibold" panose="020B0702040204020203" pitchFamily="34" charset="0"/>
                <a:cs typeface="Segoe UI Light" panose="020B0502040204020203" pitchFamily="34" charset="0"/>
              </a:rPr>
              <a:t>O</a:t>
            </a:r>
          </a:p>
        </p:txBody>
      </p:sp>
      <p:sp>
        <p:nvSpPr>
          <p:cNvPr id="43" name="MIO_TEXTBOX_BODY">
            <a:extLst>
              <a:ext uri="{FF2B5EF4-FFF2-40B4-BE49-F238E27FC236}">
                <a16:creationId xmlns:a16="http://schemas.microsoft.com/office/drawing/2014/main" id="{EAAB4C0C-ABD2-4777-8D58-0AED1BE9F02C}"/>
              </a:ext>
            </a:extLst>
          </p:cNvPr>
          <p:cNvSpPr txBox="1"/>
          <p:nvPr/>
        </p:nvSpPr>
        <p:spPr>
          <a:xfrm>
            <a:off x="6613463" y="2722092"/>
            <a:ext cx="4474208" cy="2927276"/>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dirty="0"/>
              <a:t>Lorem ipsum dolor sit amet, consectetuer adipiscing elit. Aenean commodo ligula eget dolor. Aenean massa. Cum sociis natoque penatibus et magnis dis parturient montes, nascetur ridiculus mus. </a:t>
            </a:r>
          </a:p>
          <a:p>
            <a:pPr marL="0" indent="0">
              <a:buSzPct val="100000"/>
              <a:buNone/>
            </a:pPr>
            <a:r>
              <a:rPr lang="en-US" dirty="0"/>
              <a:t>Donec quam felis, ultricies nec, pellentesque eu, pretium quis, sem. Nulla consequat massa quis enim. Donec pede justo, fringilla vel, aliquet nec, vulputate eget, arcu. In enim justo, rhoncus ut, imperdiet a, venenatis vitae, justo. </a:t>
            </a:r>
          </a:p>
        </p:txBody>
      </p:sp>
      <p:sp>
        <p:nvSpPr>
          <p:cNvPr id="44" name="MIO_TEXTBOX_HEADER">
            <a:extLst>
              <a:ext uri="{FF2B5EF4-FFF2-40B4-BE49-F238E27FC236}">
                <a16:creationId xmlns:a16="http://schemas.microsoft.com/office/drawing/2014/main" id="{0584859E-CCBB-4ACE-99AE-647FD5C16FFE}"/>
              </a:ext>
            </a:extLst>
          </p:cNvPr>
          <p:cNvSpPr txBox="1"/>
          <p:nvPr/>
        </p:nvSpPr>
        <p:spPr>
          <a:xfrm>
            <a:off x="6613463" y="2279001"/>
            <a:ext cx="4474208" cy="335092"/>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800" dirty="0">
                <a:solidFill>
                  <a:schemeClr val="dk1"/>
                </a:solidFill>
              </a:rPr>
              <a:t>Lorem ipsum dolor sit amet</a:t>
            </a:r>
          </a:p>
        </p:txBody>
      </p:sp>
      <p:sp>
        <p:nvSpPr>
          <p:cNvPr id="2" name="Titel 1">
            <a:extLst>
              <a:ext uri="{FF2B5EF4-FFF2-40B4-BE49-F238E27FC236}">
                <a16:creationId xmlns:a16="http://schemas.microsoft.com/office/drawing/2014/main" id="{82AAE243-E3F6-4C79-A614-38495AB3966B}"/>
              </a:ext>
            </a:extLst>
          </p:cNvPr>
          <p:cNvSpPr>
            <a:spLocks noGrp="1"/>
          </p:cNvSpPr>
          <p:nvPr>
            <p:ph type="title"/>
          </p:nvPr>
        </p:nvSpPr>
        <p:spPr/>
        <p:txBody>
          <a:bodyPr/>
          <a:lstStyle/>
          <a:p>
            <a:r>
              <a:rPr lang="en-US" sz="3000" dirty="0"/>
              <a:t>SWOT threats</a:t>
            </a:r>
          </a:p>
        </p:txBody>
      </p:sp>
      <p:sp>
        <p:nvSpPr>
          <p:cNvPr id="22" name="MIO_OBJECT5">
            <a:extLst>
              <a:ext uri="{FF2B5EF4-FFF2-40B4-BE49-F238E27FC236}">
                <a16:creationId xmlns:a16="http://schemas.microsoft.com/office/drawing/2014/main" id="{01839AAE-51C2-4870-A13D-B5A8DFAD82E4}"/>
              </a:ext>
            </a:extLst>
          </p:cNvPr>
          <p:cNvSpPr/>
          <p:nvPr/>
        </p:nvSpPr>
        <p:spPr>
          <a:xfrm>
            <a:off x="3060378" y="4009767"/>
            <a:ext cx="2176988" cy="215552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a:latin typeface="Segoe UI Semibold" panose="020B0702040204020203" pitchFamily="34" charset="0"/>
              <a:cs typeface="Segoe UI Semibold" panose="020B0702040204020203" pitchFamily="34" charset="0"/>
            </a:endParaRPr>
          </a:p>
        </p:txBody>
      </p:sp>
      <p:sp>
        <p:nvSpPr>
          <p:cNvPr id="23" name="Textfeld 22">
            <a:extLst>
              <a:ext uri="{FF2B5EF4-FFF2-40B4-BE49-F238E27FC236}">
                <a16:creationId xmlns:a16="http://schemas.microsoft.com/office/drawing/2014/main" id="{B2F97962-D722-4FAA-AEFC-E383B18293D8}"/>
              </a:ext>
            </a:extLst>
          </p:cNvPr>
          <p:cNvSpPr txBox="1"/>
          <p:nvPr/>
        </p:nvSpPr>
        <p:spPr>
          <a:xfrm>
            <a:off x="3217421" y="5615660"/>
            <a:ext cx="1862903" cy="215444"/>
          </a:xfrm>
          <a:prstGeom prst="rect">
            <a:avLst/>
          </a:prstGeom>
          <a:noFill/>
        </p:spPr>
        <p:txBody>
          <a:bodyPr vert="horz" wrap="none" lIns="0" tIns="0" rIns="0" bIns="0" rtlCol="0">
            <a:noAutofit/>
          </a:bodyPr>
          <a:lstStyle/>
          <a:p>
            <a:pPr algn="ctr"/>
            <a:r>
              <a:rPr lang="en-US" sz="1400" dirty="0">
                <a:solidFill>
                  <a:schemeClr val="lt1"/>
                </a:solidFill>
                <a:latin typeface="Segoe UI Semibold" panose="020B0702040204020203" pitchFamily="34" charset="0"/>
                <a:cs typeface="Segoe UI Light" panose="020B0502040204020203" pitchFamily="34" charset="0"/>
              </a:rPr>
              <a:t>Threats</a:t>
            </a:r>
            <a:endParaRPr lang="en-US" sz="1400" i="0" u="none" baseline="0" dirty="0">
              <a:solidFill>
                <a:schemeClr val="lt1"/>
              </a:solidFill>
              <a:latin typeface="Segoe UI Semibold" panose="020B0702040204020203" pitchFamily="34" charset="0"/>
              <a:cs typeface="Segoe UI Light" panose="020B0502040204020203" pitchFamily="34" charset="0"/>
            </a:endParaRPr>
          </a:p>
        </p:txBody>
      </p:sp>
      <p:sp>
        <p:nvSpPr>
          <p:cNvPr id="24" name="Textfeld 23">
            <a:extLst>
              <a:ext uri="{FF2B5EF4-FFF2-40B4-BE49-F238E27FC236}">
                <a16:creationId xmlns:a16="http://schemas.microsoft.com/office/drawing/2014/main" id="{DB7EB275-B0C0-47AC-94DE-A71261206A44}"/>
              </a:ext>
            </a:extLst>
          </p:cNvPr>
          <p:cNvSpPr txBox="1"/>
          <p:nvPr/>
        </p:nvSpPr>
        <p:spPr>
          <a:xfrm>
            <a:off x="3893995" y="4343953"/>
            <a:ext cx="509755" cy="1107996"/>
          </a:xfrm>
          <a:prstGeom prst="rect">
            <a:avLst/>
          </a:prstGeom>
          <a:noFill/>
        </p:spPr>
        <p:txBody>
          <a:bodyPr vert="horz" wrap="none" lIns="0" tIns="0" rIns="0" bIns="0" rtlCol="0">
            <a:noAutofit/>
          </a:bodyPr>
          <a:lstStyle/>
          <a:p>
            <a:pPr algn="ctr"/>
            <a:r>
              <a:rPr lang="en-US" sz="7200" dirty="0">
                <a:solidFill>
                  <a:schemeClr val="lt1"/>
                </a:solidFill>
                <a:latin typeface="Segoe UI Semibold" panose="020B0702040204020203" pitchFamily="34" charset="0"/>
                <a:cs typeface="Segoe UI Light" panose="020B0502040204020203" pitchFamily="34" charset="0"/>
              </a:rPr>
              <a:t>T</a:t>
            </a:r>
          </a:p>
        </p:txBody>
      </p:sp>
    </p:spTree>
    <p:custDataLst>
      <p:tags r:id="rId1"/>
    </p:custDataLst>
    <p:extLst>
      <p:ext uri="{BB962C8B-B14F-4D97-AF65-F5344CB8AC3E}">
        <p14:creationId xmlns:p14="http://schemas.microsoft.com/office/powerpoint/2010/main" val="831563749"/>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MIO_SHADOWBOX">
            <a:extLst>
              <a:ext uri="{FF2B5EF4-FFF2-40B4-BE49-F238E27FC236}">
                <a16:creationId xmlns:a16="http://schemas.microsoft.com/office/drawing/2014/main" id="{82CCF169-1CB0-4E73-95EB-27C17D6A1361}"/>
              </a:ext>
            </a:extLst>
          </p:cNvPr>
          <p:cNvSpPr>
            <a:spLocks noChangeAspect="1"/>
          </p:cNvSpPr>
          <p:nvPr/>
        </p:nvSpPr>
        <p:spPr>
          <a:xfrm>
            <a:off x="3060378" y="4009767"/>
            <a:ext cx="1862903" cy="1844534"/>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19" name="MIO_SHADOWBOX">
            <a:extLst>
              <a:ext uri="{FF2B5EF4-FFF2-40B4-BE49-F238E27FC236}">
                <a16:creationId xmlns:a16="http://schemas.microsoft.com/office/drawing/2014/main" id="{4E553D4C-EA7D-45A2-8D6E-86EE680BAA0E}"/>
              </a:ext>
            </a:extLst>
          </p:cNvPr>
          <p:cNvSpPr>
            <a:spLocks noChangeAspect="1"/>
          </p:cNvSpPr>
          <p:nvPr/>
        </p:nvSpPr>
        <p:spPr>
          <a:xfrm>
            <a:off x="1104329" y="4009767"/>
            <a:ext cx="1862903" cy="1844534"/>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21" name="MIO_SHADOWBOX">
            <a:extLst>
              <a:ext uri="{FF2B5EF4-FFF2-40B4-BE49-F238E27FC236}">
                <a16:creationId xmlns:a16="http://schemas.microsoft.com/office/drawing/2014/main" id="{86A50668-356E-497A-B9F8-9F5B51E56444}"/>
              </a:ext>
            </a:extLst>
          </p:cNvPr>
          <p:cNvSpPr>
            <a:spLocks noChangeAspect="1"/>
          </p:cNvSpPr>
          <p:nvPr/>
        </p:nvSpPr>
        <p:spPr>
          <a:xfrm>
            <a:off x="1104329" y="2072087"/>
            <a:ext cx="1862903" cy="1844534"/>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26" name="Textfeld 25">
            <a:extLst>
              <a:ext uri="{FF2B5EF4-FFF2-40B4-BE49-F238E27FC236}">
                <a16:creationId xmlns:a16="http://schemas.microsoft.com/office/drawing/2014/main" id="{C993E0B3-ADEE-4540-B38B-33093E8BE09C}"/>
              </a:ext>
            </a:extLst>
          </p:cNvPr>
          <p:cNvSpPr txBox="1"/>
          <p:nvPr/>
        </p:nvSpPr>
        <p:spPr>
          <a:xfrm>
            <a:off x="1104329" y="3586029"/>
            <a:ext cx="1862903" cy="215444"/>
          </a:xfrm>
          <a:prstGeom prst="rect">
            <a:avLst/>
          </a:prstGeom>
          <a:noFill/>
        </p:spPr>
        <p:txBody>
          <a:bodyPr vert="horz" wrap="none" lIns="0" tIns="0" rIns="0" bIns="0" rtlCol="0">
            <a:noAutofit/>
          </a:bodyPr>
          <a:lstStyle/>
          <a:p>
            <a:pPr algn="ctr"/>
            <a:r>
              <a:rPr lang="en-US" sz="1400" dirty="0">
                <a:latin typeface="Segoe UI Semibold" panose="020B0702040204020203" pitchFamily="34" charset="0"/>
                <a:cs typeface="Segoe UI Light" panose="020B0502040204020203" pitchFamily="34" charset="0"/>
              </a:rPr>
              <a:t>Strengths</a:t>
            </a:r>
          </a:p>
        </p:txBody>
      </p:sp>
      <p:sp>
        <p:nvSpPr>
          <p:cNvPr id="28" name="Textfeld 27">
            <a:extLst>
              <a:ext uri="{FF2B5EF4-FFF2-40B4-BE49-F238E27FC236}">
                <a16:creationId xmlns:a16="http://schemas.microsoft.com/office/drawing/2014/main" id="{7E73831D-930B-407B-A977-674A2775841B}"/>
              </a:ext>
            </a:extLst>
          </p:cNvPr>
          <p:cNvSpPr txBox="1"/>
          <p:nvPr/>
        </p:nvSpPr>
        <p:spPr>
          <a:xfrm>
            <a:off x="1104329" y="5522295"/>
            <a:ext cx="1862903" cy="215444"/>
          </a:xfrm>
          <a:prstGeom prst="rect">
            <a:avLst/>
          </a:prstGeom>
          <a:noFill/>
        </p:spPr>
        <p:txBody>
          <a:bodyPr vert="horz" wrap="none" lIns="0" tIns="0" rIns="0" bIns="0" rtlCol="0">
            <a:noAutofit/>
          </a:bodyPr>
          <a:lstStyle/>
          <a:p>
            <a:pPr algn="ctr"/>
            <a:r>
              <a:rPr lang="en-US" sz="1400" dirty="0">
                <a:latin typeface="Segoe UI Semibold" panose="020B0702040204020203" pitchFamily="34" charset="0"/>
                <a:cs typeface="Segoe UI Light" panose="020B0502040204020203" pitchFamily="34" charset="0"/>
              </a:rPr>
              <a:t>Opportunities</a:t>
            </a:r>
            <a:endParaRPr lang="en-US" sz="1400" i="0" u="none" baseline="0" dirty="0">
              <a:latin typeface="Segoe UI Semibold" panose="020B0702040204020203" pitchFamily="34" charset="0"/>
              <a:cs typeface="Segoe UI Light" panose="020B0502040204020203" pitchFamily="34" charset="0"/>
            </a:endParaRPr>
          </a:p>
        </p:txBody>
      </p:sp>
      <p:sp>
        <p:nvSpPr>
          <p:cNvPr id="29" name="Textfeld 28">
            <a:extLst>
              <a:ext uri="{FF2B5EF4-FFF2-40B4-BE49-F238E27FC236}">
                <a16:creationId xmlns:a16="http://schemas.microsoft.com/office/drawing/2014/main" id="{0CA96245-2710-4B00-85B3-FB74CC3052F1}"/>
              </a:ext>
            </a:extLst>
          </p:cNvPr>
          <p:cNvSpPr txBox="1"/>
          <p:nvPr/>
        </p:nvSpPr>
        <p:spPr>
          <a:xfrm>
            <a:off x="3060378" y="5522295"/>
            <a:ext cx="1862903" cy="215444"/>
          </a:xfrm>
          <a:prstGeom prst="rect">
            <a:avLst/>
          </a:prstGeom>
          <a:noFill/>
        </p:spPr>
        <p:txBody>
          <a:bodyPr vert="horz" wrap="none" lIns="0" tIns="0" rIns="0" bIns="0" rtlCol="0">
            <a:noAutofit/>
          </a:bodyPr>
          <a:lstStyle/>
          <a:p>
            <a:pPr algn="ctr"/>
            <a:r>
              <a:rPr lang="en-US" sz="1400" dirty="0">
                <a:latin typeface="Segoe UI Semibold" panose="020B0702040204020203" pitchFamily="34" charset="0"/>
                <a:cs typeface="Segoe UI Light" panose="020B0502040204020203" pitchFamily="34" charset="0"/>
              </a:rPr>
              <a:t>Threats</a:t>
            </a:r>
            <a:endParaRPr lang="en-US" sz="1400" i="0" u="none" baseline="0" dirty="0">
              <a:latin typeface="Segoe UI Semibold" panose="020B0702040204020203" pitchFamily="34" charset="0"/>
              <a:cs typeface="Segoe UI Light" panose="020B0502040204020203" pitchFamily="34" charset="0"/>
            </a:endParaRPr>
          </a:p>
        </p:txBody>
      </p:sp>
      <p:sp>
        <p:nvSpPr>
          <p:cNvPr id="39" name="Textfeld 38">
            <a:extLst>
              <a:ext uri="{FF2B5EF4-FFF2-40B4-BE49-F238E27FC236}">
                <a16:creationId xmlns:a16="http://schemas.microsoft.com/office/drawing/2014/main" id="{FAC2903B-8399-4BD4-9246-D75883EE9629}"/>
              </a:ext>
            </a:extLst>
          </p:cNvPr>
          <p:cNvSpPr txBox="1"/>
          <p:nvPr/>
        </p:nvSpPr>
        <p:spPr>
          <a:xfrm>
            <a:off x="1784108" y="2289909"/>
            <a:ext cx="503344" cy="1107996"/>
          </a:xfrm>
          <a:prstGeom prst="rect">
            <a:avLst/>
          </a:prstGeom>
          <a:noFill/>
        </p:spPr>
        <p:txBody>
          <a:bodyPr vert="horz" wrap="none" lIns="0" tIns="0" rIns="0" bIns="0" rtlCol="0">
            <a:noAutofit/>
          </a:bodyPr>
          <a:lstStyle/>
          <a:p>
            <a:pPr algn="ctr"/>
            <a:r>
              <a:rPr lang="en-US" sz="7200" dirty="0">
                <a:solidFill>
                  <a:schemeClr val="accent1"/>
                </a:solidFill>
                <a:latin typeface="Segoe UI Semibold" panose="020B0702040204020203" pitchFamily="34" charset="0"/>
                <a:cs typeface="Segoe UI Light" panose="020B0502040204020203" pitchFamily="34" charset="0"/>
              </a:rPr>
              <a:t>S</a:t>
            </a:r>
          </a:p>
        </p:txBody>
      </p:sp>
      <p:sp>
        <p:nvSpPr>
          <p:cNvPr id="41" name="Textfeld 40">
            <a:extLst>
              <a:ext uri="{FF2B5EF4-FFF2-40B4-BE49-F238E27FC236}">
                <a16:creationId xmlns:a16="http://schemas.microsoft.com/office/drawing/2014/main" id="{CB6323BA-8E87-4AA5-BCE0-D1969E6C553D}"/>
              </a:ext>
            </a:extLst>
          </p:cNvPr>
          <p:cNvSpPr txBox="1"/>
          <p:nvPr/>
        </p:nvSpPr>
        <p:spPr>
          <a:xfrm>
            <a:off x="1687127" y="4250588"/>
            <a:ext cx="697307" cy="1107996"/>
          </a:xfrm>
          <a:prstGeom prst="rect">
            <a:avLst/>
          </a:prstGeom>
          <a:noFill/>
        </p:spPr>
        <p:txBody>
          <a:bodyPr vert="horz" wrap="none" lIns="0" tIns="0" rIns="0" bIns="0" rtlCol="0">
            <a:noAutofit/>
          </a:bodyPr>
          <a:lstStyle/>
          <a:p>
            <a:pPr algn="ctr"/>
            <a:r>
              <a:rPr lang="en-US" sz="7200" dirty="0">
                <a:solidFill>
                  <a:schemeClr val="accent1"/>
                </a:solidFill>
                <a:latin typeface="Segoe UI Semibold" panose="020B0702040204020203" pitchFamily="34" charset="0"/>
                <a:cs typeface="Segoe UI Light" panose="020B0502040204020203" pitchFamily="34" charset="0"/>
              </a:rPr>
              <a:t>O</a:t>
            </a:r>
          </a:p>
        </p:txBody>
      </p:sp>
      <p:sp>
        <p:nvSpPr>
          <p:cNvPr id="42" name="Textfeld 41">
            <a:extLst>
              <a:ext uri="{FF2B5EF4-FFF2-40B4-BE49-F238E27FC236}">
                <a16:creationId xmlns:a16="http://schemas.microsoft.com/office/drawing/2014/main" id="{50943FF5-47BA-44CA-9D51-A549E9EACC1E}"/>
              </a:ext>
            </a:extLst>
          </p:cNvPr>
          <p:cNvSpPr txBox="1"/>
          <p:nvPr/>
        </p:nvSpPr>
        <p:spPr>
          <a:xfrm>
            <a:off x="3736951" y="4250588"/>
            <a:ext cx="509755" cy="1107996"/>
          </a:xfrm>
          <a:prstGeom prst="rect">
            <a:avLst/>
          </a:prstGeom>
          <a:noFill/>
        </p:spPr>
        <p:txBody>
          <a:bodyPr vert="horz" wrap="none" lIns="0" tIns="0" rIns="0" bIns="0" rtlCol="0">
            <a:noAutofit/>
          </a:bodyPr>
          <a:lstStyle/>
          <a:p>
            <a:pPr algn="ctr"/>
            <a:r>
              <a:rPr lang="en-US" sz="7200" dirty="0">
                <a:solidFill>
                  <a:schemeClr val="accent1"/>
                </a:solidFill>
                <a:latin typeface="Segoe UI Semibold" panose="020B0702040204020203" pitchFamily="34" charset="0"/>
                <a:cs typeface="Segoe UI Light" panose="020B0502040204020203" pitchFamily="34" charset="0"/>
              </a:rPr>
              <a:t>T</a:t>
            </a:r>
          </a:p>
        </p:txBody>
      </p:sp>
      <p:sp>
        <p:nvSpPr>
          <p:cNvPr id="43" name="MIO_TEXTBOX_BODY">
            <a:extLst>
              <a:ext uri="{FF2B5EF4-FFF2-40B4-BE49-F238E27FC236}">
                <a16:creationId xmlns:a16="http://schemas.microsoft.com/office/drawing/2014/main" id="{AD890C2E-3660-4A1D-98A7-115BE9DAD292}"/>
              </a:ext>
            </a:extLst>
          </p:cNvPr>
          <p:cNvSpPr txBox="1"/>
          <p:nvPr/>
        </p:nvSpPr>
        <p:spPr>
          <a:xfrm>
            <a:off x="6613463" y="2722092"/>
            <a:ext cx="4474208" cy="2927276"/>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dirty="0"/>
              <a:t>Lorem ipsum dolor sit amet, consectetuer adipiscing elit. Aenean commodo ligula eget dolor. Aenean massa. Cum sociis natoque penatibus et magnis dis parturient montes, nascetur ridiculus mus. </a:t>
            </a:r>
          </a:p>
          <a:p>
            <a:pPr marL="0" indent="0">
              <a:buSzPct val="100000"/>
              <a:buNone/>
            </a:pPr>
            <a:r>
              <a:rPr lang="en-US" dirty="0"/>
              <a:t>Donec quam felis, ultricies nec, pellentesque eu, pretium quis, sem. Nulla consequat massa quis enim. Donec pede justo, fringilla vel, aliquet nec, vulputate eget, arcu. In enim justo, rhoncus ut, imperdiet a, venenatis vitae, justo. </a:t>
            </a:r>
          </a:p>
        </p:txBody>
      </p:sp>
      <p:sp>
        <p:nvSpPr>
          <p:cNvPr id="44" name="MIO_TEXTBOX_HEADER">
            <a:extLst>
              <a:ext uri="{FF2B5EF4-FFF2-40B4-BE49-F238E27FC236}">
                <a16:creationId xmlns:a16="http://schemas.microsoft.com/office/drawing/2014/main" id="{6DA4A967-1C83-4050-B9F3-18840B154304}"/>
              </a:ext>
            </a:extLst>
          </p:cNvPr>
          <p:cNvSpPr txBox="1"/>
          <p:nvPr/>
        </p:nvSpPr>
        <p:spPr>
          <a:xfrm>
            <a:off x="6613463" y="2279001"/>
            <a:ext cx="4474208" cy="335092"/>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800" dirty="0">
                <a:solidFill>
                  <a:schemeClr val="dk1"/>
                </a:solidFill>
              </a:rPr>
              <a:t>Lorem ipsum dolor sit amet</a:t>
            </a:r>
          </a:p>
        </p:txBody>
      </p:sp>
      <p:sp>
        <p:nvSpPr>
          <p:cNvPr id="2" name="Titel 1">
            <a:extLst>
              <a:ext uri="{FF2B5EF4-FFF2-40B4-BE49-F238E27FC236}">
                <a16:creationId xmlns:a16="http://schemas.microsoft.com/office/drawing/2014/main" id="{82AAE243-E3F6-4C79-A614-38495AB3966B}"/>
              </a:ext>
            </a:extLst>
          </p:cNvPr>
          <p:cNvSpPr>
            <a:spLocks noGrp="1"/>
          </p:cNvSpPr>
          <p:nvPr>
            <p:ph type="title"/>
          </p:nvPr>
        </p:nvSpPr>
        <p:spPr/>
        <p:txBody>
          <a:bodyPr/>
          <a:lstStyle/>
          <a:p>
            <a:r>
              <a:rPr lang="en-US" sz="3000" dirty="0"/>
              <a:t>SWOT weaknesses</a:t>
            </a:r>
          </a:p>
        </p:txBody>
      </p:sp>
      <p:sp>
        <p:nvSpPr>
          <p:cNvPr id="22" name="MIO_OBJECT4">
            <a:extLst>
              <a:ext uri="{FF2B5EF4-FFF2-40B4-BE49-F238E27FC236}">
                <a16:creationId xmlns:a16="http://schemas.microsoft.com/office/drawing/2014/main" id="{D8F77D67-81CE-4699-89FF-A8F6F2EEF374}"/>
              </a:ext>
            </a:extLst>
          </p:cNvPr>
          <p:cNvSpPr/>
          <p:nvPr/>
        </p:nvSpPr>
        <p:spPr>
          <a:xfrm>
            <a:off x="3060378" y="1761098"/>
            <a:ext cx="2176989" cy="21555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a:latin typeface="Segoe UI Semibold" panose="020B0702040204020203" pitchFamily="34" charset="0"/>
              <a:cs typeface="Segoe UI Semibold" panose="020B0702040204020203" pitchFamily="34" charset="0"/>
            </a:endParaRPr>
          </a:p>
        </p:txBody>
      </p:sp>
      <p:sp>
        <p:nvSpPr>
          <p:cNvPr id="23" name="Textfeld 22">
            <a:extLst>
              <a:ext uri="{FF2B5EF4-FFF2-40B4-BE49-F238E27FC236}">
                <a16:creationId xmlns:a16="http://schemas.microsoft.com/office/drawing/2014/main" id="{4FD234F1-16C2-4163-916C-2333D0C22F86}"/>
              </a:ext>
            </a:extLst>
          </p:cNvPr>
          <p:cNvSpPr txBox="1"/>
          <p:nvPr/>
        </p:nvSpPr>
        <p:spPr>
          <a:xfrm>
            <a:off x="3217421" y="3379197"/>
            <a:ext cx="1862903" cy="215444"/>
          </a:xfrm>
          <a:prstGeom prst="rect">
            <a:avLst/>
          </a:prstGeom>
          <a:noFill/>
        </p:spPr>
        <p:txBody>
          <a:bodyPr vert="horz" wrap="none" lIns="0" tIns="0" rIns="0" bIns="0" rtlCol="0">
            <a:noAutofit/>
          </a:bodyPr>
          <a:lstStyle/>
          <a:p>
            <a:pPr algn="ctr"/>
            <a:r>
              <a:rPr lang="en-US" sz="1400" dirty="0">
                <a:solidFill>
                  <a:schemeClr val="lt1"/>
                </a:solidFill>
                <a:latin typeface="Segoe UI Semibold" panose="020B0702040204020203" pitchFamily="34" charset="0"/>
                <a:cs typeface="Segoe UI Light" panose="020B0502040204020203" pitchFamily="34" charset="0"/>
              </a:rPr>
              <a:t>Weaknesses</a:t>
            </a:r>
            <a:endParaRPr lang="en-US" sz="1400" i="0" u="none" baseline="0" dirty="0">
              <a:solidFill>
                <a:schemeClr val="lt1"/>
              </a:solidFill>
              <a:latin typeface="Segoe UI Semibold" panose="020B0702040204020203" pitchFamily="34" charset="0"/>
              <a:cs typeface="Segoe UI Light" panose="020B0502040204020203" pitchFamily="34" charset="0"/>
            </a:endParaRPr>
          </a:p>
        </p:txBody>
      </p:sp>
      <p:sp>
        <p:nvSpPr>
          <p:cNvPr id="24" name="Textfeld 23">
            <a:extLst>
              <a:ext uri="{FF2B5EF4-FFF2-40B4-BE49-F238E27FC236}">
                <a16:creationId xmlns:a16="http://schemas.microsoft.com/office/drawing/2014/main" id="{474E1F69-B1A5-46EC-825A-18EDF1E79BCD}"/>
              </a:ext>
            </a:extLst>
          </p:cNvPr>
          <p:cNvSpPr txBox="1"/>
          <p:nvPr/>
        </p:nvSpPr>
        <p:spPr>
          <a:xfrm>
            <a:off x="3703237" y="2083077"/>
            <a:ext cx="891271" cy="1107996"/>
          </a:xfrm>
          <a:prstGeom prst="rect">
            <a:avLst/>
          </a:prstGeom>
          <a:noFill/>
        </p:spPr>
        <p:txBody>
          <a:bodyPr vert="horz" wrap="none" lIns="0" tIns="0" rIns="0" bIns="0" rtlCol="0">
            <a:noAutofit/>
          </a:bodyPr>
          <a:lstStyle/>
          <a:p>
            <a:pPr algn="ctr"/>
            <a:r>
              <a:rPr lang="en-US" sz="7200" dirty="0">
                <a:solidFill>
                  <a:schemeClr val="lt1"/>
                </a:solidFill>
                <a:latin typeface="Segoe UI Semibold" panose="020B0702040204020203" pitchFamily="34" charset="0"/>
                <a:cs typeface="Segoe UI Light" panose="020B0502040204020203" pitchFamily="34" charset="0"/>
              </a:rPr>
              <a:t>W</a:t>
            </a:r>
          </a:p>
        </p:txBody>
      </p:sp>
    </p:spTree>
    <p:custDataLst>
      <p:tags r:id="rId1"/>
    </p:custDataLst>
    <p:extLst>
      <p:ext uri="{BB962C8B-B14F-4D97-AF65-F5344CB8AC3E}">
        <p14:creationId xmlns:p14="http://schemas.microsoft.com/office/powerpoint/2010/main" val="2273312650"/>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AAE243-E3F6-4C79-A614-38495AB3966B}"/>
              </a:ext>
            </a:extLst>
          </p:cNvPr>
          <p:cNvSpPr>
            <a:spLocks noGrp="1"/>
          </p:cNvSpPr>
          <p:nvPr>
            <p:ph type="title"/>
          </p:nvPr>
        </p:nvSpPr>
        <p:spPr/>
        <p:txBody>
          <a:bodyPr/>
          <a:lstStyle/>
          <a:p>
            <a:r>
              <a:rPr lang="en-US" sz="3000" dirty="0"/>
              <a:t>SWOT analysis slide</a:t>
            </a:r>
          </a:p>
        </p:txBody>
      </p:sp>
      <p:sp>
        <p:nvSpPr>
          <p:cNvPr id="18" name="Teardrop 9">
            <a:extLst>
              <a:ext uri="{FF2B5EF4-FFF2-40B4-BE49-F238E27FC236}">
                <a16:creationId xmlns:a16="http://schemas.microsoft.com/office/drawing/2014/main" id="{61C4586E-D847-4BED-8320-1229525FDCC2}"/>
              </a:ext>
            </a:extLst>
          </p:cNvPr>
          <p:cNvSpPr/>
          <p:nvPr/>
        </p:nvSpPr>
        <p:spPr>
          <a:xfrm rot="2758585">
            <a:off x="3650562" y="1774059"/>
            <a:ext cx="2347273" cy="2341231"/>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20" name="Teardrop 10">
            <a:extLst>
              <a:ext uri="{FF2B5EF4-FFF2-40B4-BE49-F238E27FC236}">
                <a16:creationId xmlns:a16="http://schemas.microsoft.com/office/drawing/2014/main" id="{925A4C83-F04B-4C8B-894D-A37993F6D1FB}"/>
              </a:ext>
            </a:extLst>
          </p:cNvPr>
          <p:cNvSpPr/>
          <p:nvPr/>
        </p:nvSpPr>
        <p:spPr>
          <a:xfrm rot="2758585">
            <a:off x="1122942" y="1845584"/>
            <a:ext cx="2347273" cy="2341231"/>
          </a:xfrm>
          <a:prstGeom prst="teardrop">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25" name="Teardrop 11">
            <a:extLst>
              <a:ext uri="{FF2B5EF4-FFF2-40B4-BE49-F238E27FC236}">
                <a16:creationId xmlns:a16="http://schemas.microsoft.com/office/drawing/2014/main" id="{2D62F470-4C94-484D-AD14-11B415C1518B}"/>
              </a:ext>
            </a:extLst>
          </p:cNvPr>
          <p:cNvSpPr/>
          <p:nvPr/>
        </p:nvSpPr>
        <p:spPr>
          <a:xfrm rot="2758585">
            <a:off x="6088801" y="1774059"/>
            <a:ext cx="2347273" cy="2341231"/>
          </a:xfrm>
          <a:prstGeom prst="teardrop">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27" name="Teardrop 12">
            <a:extLst>
              <a:ext uri="{FF2B5EF4-FFF2-40B4-BE49-F238E27FC236}">
                <a16:creationId xmlns:a16="http://schemas.microsoft.com/office/drawing/2014/main" id="{8E6C8843-BB20-458A-95F3-DC744484E789}"/>
              </a:ext>
            </a:extLst>
          </p:cNvPr>
          <p:cNvSpPr/>
          <p:nvPr/>
        </p:nvSpPr>
        <p:spPr>
          <a:xfrm rot="18841415" flipH="1">
            <a:off x="8834119" y="1790365"/>
            <a:ext cx="2347273" cy="2341231"/>
          </a:xfrm>
          <a:prstGeom prst="teardrop">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30" name="TextBox 13">
            <a:extLst>
              <a:ext uri="{FF2B5EF4-FFF2-40B4-BE49-F238E27FC236}">
                <a16:creationId xmlns:a16="http://schemas.microsoft.com/office/drawing/2014/main" id="{35DD4836-792D-4667-A6E8-17449AF4B526}"/>
              </a:ext>
            </a:extLst>
          </p:cNvPr>
          <p:cNvSpPr txBox="1"/>
          <p:nvPr/>
        </p:nvSpPr>
        <p:spPr>
          <a:xfrm>
            <a:off x="1897189" y="2329793"/>
            <a:ext cx="713657" cy="1369606"/>
          </a:xfrm>
          <a:prstGeom prst="rect">
            <a:avLst/>
          </a:prstGeom>
          <a:noFill/>
        </p:spPr>
        <p:txBody>
          <a:bodyPr wrap="none" rtlCol="0" anchor="ctr">
            <a:spAutoFit/>
          </a:bodyPr>
          <a:lstStyle/>
          <a:p>
            <a:pPr algn="ctr"/>
            <a:r>
              <a:rPr lang="en-US" sz="8300" b="1" dirty="0">
                <a:solidFill>
                  <a:schemeClr val="bg1"/>
                </a:solidFill>
                <a:latin typeface="Segoe UI Light" panose="020B0502040204020203" pitchFamily="34" charset="0"/>
              </a:rPr>
              <a:t>S</a:t>
            </a:r>
          </a:p>
        </p:txBody>
      </p:sp>
      <p:sp>
        <p:nvSpPr>
          <p:cNvPr id="31" name="TextBox 14">
            <a:extLst>
              <a:ext uri="{FF2B5EF4-FFF2-40B4-BE49-F238E27FC236}">
                <a16:creationId xmlns:a16="http://schemas.microsoft.com/office/drawing/2014/main" id="{3E913156-480E-45CB-84FD-E3A48683FB0D}"/>
              </a:ext>
            </a:extLst>
          </p:cNvPr>
          <p:cNvSpPr txBox="1"/>
          <p:nvPr/>
        </p:nvSpPr>
        <p:spPr>
          <a:xfrm>
            <a:off x="4300491" y="2329793"/>
            <a:ext cx="1138453" cy="1369606"/>
          </a:xfrm>
          <a:prstGeom prst="rect">
            <a:avLst/>
          </a:prstGeom>
          <a:noFill/>
        </p:spPr>
        <p:txBody>
          <a:bodyPr wrap="none" rtlCol="0" anchor="ctr">
            <a:spAutoFit/>
          </a:bodyPr>
          <a:lstStyle/>
          <a:p>
            <a:pPr algn="ctr"/>
            <a:r>
              <a:rPr lang="en-US" sz="8300" b="1" dirty="0">
                <a:solidFill>
                  <a:schemeClr val="bg1"/>
                </a:solidFill>
                <a:latin typeface="Segoe UI Light" panose="020B0502040204020203" pitchFamily="34" charset="0"/>
              </a:rPr>
              <a:t>W</a:t>
            </a:r>
          </a:p>
        </p:txBody>
      </p:sp>
      <p:sp>
        <p:nvSpPr>
          <p:cNvPr id="32" name="TextBox 15">
            <a:extLst>
              <a:ext uri="{FF2B5EF4-FFF2-40B4-BE49-F238E27FC236}">
                <a16:creationId xmlns:a16="http://schemas.microsoft.com/office/drawing/2014/main" id="{59F09485-A032-44F5-9F64-6AEEF6C3EE33}"/>
              </a:ext>
            </a:extLst>
          </p:cNvPr>
          <p:cNvSpPr txBox="1"/>
          <p:nvPr/>
        </p:nvSpPr>
        <p:spPr>
          <a:xfrm>
            <a:off x="6843773" y="2329793"/>
            <a:ext cx="989373" cy="1369606"/>
          </a:xfrm>
          <a:prstGeom prst="rect">
            <a:avLst/>
          </a:prstGeom>
          <a:noFill/>
        </p:spPr>
        <p:txBody>
          <a:bodyPr wrap="none" rtlCol="0" anchor="ctr">
            <a:spAutoFit/>
          </a:bodyPr>
          <a:lstStyle/>
          <a:p>
            <a:pPr algn="ctr"/>
            <a:r>
              <a:rPr lang="en-US" sz="8300" b="1" dirty="0">
                <a:solidFill>
                  <a:schemeClr val="bg1"/>
                </a:solidFill>
                <a:latin typeface="Segoe UI Light" panose="020B0502040204020203" pitchFamily="34" charset="0"/>
              </a:rPr>
              <a:t>O</a:t>
            </a:r>
          </a:p>
        </p:txBody>
      </p:sp>
      <p:sp>
        <p:nvSpPr>
          <p:cNvPr id="33" name="TextBox 16">
            <a:extLst>
              <a:ext uri="{FF2B5EF4-FFF2-40B4-BE49-F238E27FC236}">
                <a16:creationId xmlns:a16="http://schemas.microsoft.com/office/drawing/2014/main" id="{ABD66FC2-E6B5-42E2-B584-0449E90E698F}"/>
              </a:ext>
            </a:extLst>
          </p:cNvPr>
          <p:cNvSpPr txBox="1"/>
          <p:nvPr/>
        </p:nvSpPr>
        <p:spPr>
          <a:xfrm>
            <a:off x="9550059" y="2259872"/>
            <a:ext cx="729687" cy="1369606"/>
          </a:xfrm>
          <a:prstGeom prst="rect">
            <a:avLst/>
          </a:prstGeom>
          <a:noFill/>
        </p:spPr>
        <p:txBody>
          <a:bodyPr wrap="none" rtlCol="0" anchor="ctr">
            <a:spAutoFit/>
          </a:bodyPr>
          <a:lstStyle/>
          <a:p>
            <a:pPr algn="ctr"/>
            <a:r>
              <a:rPr lang="en-US" sz="8300" b="1" dirty="0">
                <a:solidFill>
                  <a:schemeClr val="bg1"/>
                </a:solidFill>
                <a:latin typeface="Segoe UI Light" panose="020B0502040204020203" pitchFamily="34" charset="0"/>
              </a:rPr>
              <a:t>T</a:t>
            </a:r>
          </a:p>
        </p:txBody>
      </p:sp>
      <p:cxnSp>
        <p:nvCxnSpPr>
          <p:cNvPr id="34" name="Straight Arrow Connector 17">
            <a:extLst>
              <a:ext uri="{FF2B5EF4-FFF2-40B4-BE49-F238E27FC236}">
                <a16:creationId xmlns:a16="http://schemas.microsoft.com/office/drawing/2014/main" id="{45980EE7-46D4-4070-8A79-08F58FAFE80E}"/>
              </a:ext>
            </a:extLst>
          </p:cNvPr>
          <p:cNvCxnSpPr>
            <a:cxnSpLocks/>
          </p:cNvCxnSpPr>
          <p:nvPr/>
        </p:nvCxnSpPr>
        <p:spPr>
          <a:xfrm>
            <a:off x="2268555" y="3915105"/>
            <a:ext cx="0" cy="694300"/>
          </a:xfrm>
          <a:prstGeom prst="straightConnector1">
            <a:avLst/>
          </a:prstGeom>
          <a:ln w="38100">
            <a:tailEnd type="oval"/>
          </a:ln>
        </p:spPr>
        <p:style>
          <a:lnRef idx="1">
            <a:schemeClr val="accent1"/>
          </a:lnRef>
          <a:fillRef idx="0">
            <a:schemeClr val="accent1"/>
          </a:fillRef>
          <a:effectRef idx="0">
            <a:schemeClr val="accent1"/>
          </a:effectRef>
          <a:fontRef idx="minor">
            <a:schemeClr val="tx1"/>
          </a:fontRef>
        </p:style>
      </p:cxnSp>
      <p:cxnSp>
        <p:nvCxnSpPr>
          <p:cNvPr id="35" name="Straight Arrow Connector 18">
            <a:extLst>
              <a:ext uri="{FF2B5EF4-FFF2-40B4-BE49-F238E27FC236}">
                <a16:creationId xmlns:a16="http://schemas.microsoft.com/office/drawing/2014/main" id="{1D39D9B7-F39B-4147-AD3F-CC8DC688D6B6}"/>
              </a:ext>
            </a:extLst>
          </p:cNvPr>
          <p:cNvCxnSpPr>
            <a:cxnSpLocks/>
          </p:cNvCxnSpPr>
          <p:nvPr/>
        </p:nvCxnSpPr>
        <p:spPr>
          <a:xfrm>
            <a:off x="4862589" y="3915105"/>
            <a:ext cx="0" cy="694300"/>
          </a:xfrm>
          <a:prstGeom prst="straightConnector1">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36" name="Straight Arrow Connector 19">
            <a:extLst>
              <a:ext uri="{FF2B5EF4-FFF2-40B4-BE49-F238E27FC236}">
                <a16:creationId xmlns:a16="http://schemas.microsoft.com/office/drawing/2014/main" id="{29BC7861-9131-4EDB-8B8C-4CC350771A27}"/>
              </a:ext>
            </a:extLst>
          </p:cNvPr>
          <p:cNvCxnSpPr>
            <a:cxnSpLocks/>
          </p:cNvCxnSpPr>
          <p:nvPr/>
        </p:nvCxnSpPr>
        <p:spPr>
          <a:xfrm>
            <a:off x="7338459" y="3915105"/>
            <a:ext cx="0" cy="694300"/>
          </a:xfrm>
          <a:prstGeom prst="straightConnector1">
            <a:avLst/>
          </a:prstGeom>
          <a:ln w="38100">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7" name="Straight Arrow Connector 20">
            <a:extLst>
              <a:ext uri="{FF2B5EF4-FFF2-40B4-BE49-F238E27FC236}">
                <a16:creationId xmlns:a16="http://schemas.microsoft.com/office/drawing/2014/main" id="{09AB10F2-2942-490F-98BC-2915C5285DBF}"/>
              </a:ext>
            </a:extLst>
          </p:cNvPr>
          <p:cNvCxnSpPr>
            <a:cxnSpLocks/>
          </p:cNvCxnSpPr>
          <p:nvPr/>
        </p:nvCxnSpPr>
        <p:spPr>
          <a:xfrm>
            <a:off x="9914902" y="3915105"/>
            <a:ext cx="0" cy="694300"/>
          </a:xfrm>
          <a:prstGeom prst="straightConnector1">
            <a:avLst/>
          </a:prstGeom>
          <a:ln w="3810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38" name="TextBox 23">
            <a:extLst>
              <a:ext uri="{FF2B5EF4-FFF2-40B4-BE49-F238E27FC236}">
                <a16:creationId xmlns:a16="http://schemas.microsoft.com/office/drawing/2014/main" id="{FBBB39B6-24BD-450C-8021-89B6D293A02E}"/>
              </a:ext>
            </a:extLst>
          </p:cNvPr>
          <p:cNvSpPr txBox="1"/>
          <p:nvPr/>
        </p:nvSpPr>
        <p:spPr>
          <a:xfrm>
            <a:off x="1670475" y="4722075"/>
            <a:ext cx="1196160" cy="353943"/>
          </a:xfrm>
          <a:prstGeom prst="rect">
            <a:avLst/>
          </a:prstGeom>
          <a:noFill/>
        </p:spPr>
        <p:txBody>
          <a:bodyPr wrap="none" rtlCol="0" anchor="ctr" anchorCtr="0">
            <a:spAutoFit/>
          </a:bodyPr>
          <a:lstStyle/>
          <a:p>
            <a:pPr algn="ctr"/>
            <a:r>
              <a:rPr lang="en-US" sz="1700" b="1" dirty="0">
                <a:solidFill>
                  <a:schemeClr val="tx2"/>
                </a:solidFill>
                <a:latin typeface="Segoe UI Light" panose="020B0502040204020203" pitchFamily="34" charset="0"/>
                <a:ea typeface="League Spartan" charset="0"/>
                <a:cs typeface="Poppins" pitchFamily="2" charset="77"/>
              </a:rPr>
              <a:t>STRENGTH</a:t>
            </a:r>
          </a:p>
        </p:txBody>
      </p:sp>
      <p:sp>
        <p:nvSpPr>
          <p:cNvPr id="40" name="Subtitle 2">
            <a:extLst>
              <a:ext uri="{FF2B5EF4-FFF2-40B4-BE49-F238E27FC236}">
                <a16:creationId xmlns:a16="http://schemas.microsoft.com/office/drawing/2014/main" id="{E7B6497E-086B-46AC-A736-4F637D661B75}"/>
              </a:ext>
            </a:extLst>
          </p:cNvPr>
          <p:cNvSpPr txBox="1">
            <a:spLocks/>
          </p:cNvSpPr>
          <p:nvPr/>
        </p:nvSpPr>
        <p:spPr>
          <a:xfrm>
            <a:off x="1352366" y="5065392"/>
            <a:ext cx="1832379" cy="1061287"/>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850"/>
              </a:lnSpc>
            </a:pPr>
            <a:r>
              <a:rPr lang="en-US" sz="13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t>
            </a:r>
          </a:p>
        </p:txBody>
      </p:sp>
      <p:sp>
        <p:nvSpPr>
          <p:cNvPr id="45" name="TextBox 25">
            <a:extLst>
              <a:ext uri="{FF2B5EF4-FFF2-40B4-BE49-F238E27FC236}">
                <a16:creationId xmlns:a16="http://schemas.microsoft.com/office/drawing/2014/main" id="{66BCBA1E-F424-4AA7-A495-819D2DE3168F}"/>
              </a:ext>
            </a:extLst>
          </p:cNvPr>
          <p:cNvSpPr txBox="1"/>
          <p:nvPr/>
        </p:nvSpPr>
        <p:spPr>
          <a:xfrm>
            <a:off x="4258422" y="4722075"/>
            <a:ext cx="1223412" cy="353943"/>
          </a:xfrm>
          <a:prstGeom prst="rect">
            <a:avLst/>
          </a:prstGeom>
          <a:noFill/>
        </p:spPr>
        <p:txBody>
          <a:bodyPr wrap="none" rtlCol="0" anchor="ctr" anchorCtr="0">
            <a:spAutoFit/>
          </a:bodyPr>
          <a:lstStyle/>
          <a:p>
            <a:pPr algn="ctr"/>
            <a:r>
              <a:rPr lang="en-US" sz="1700" b="1" dirty="0">
                <a:solidFill>
                  <a:schemeClr val="tx2"/>
                </a:solidFill>
                <a:latin typeface="Segoe UI Light" panose="020B0502040204020203" pitchFamily="34" charset="0"/>
                <a:ea typeface="League Spartan" charset="0"/>
                <a:cs typeface="Poppins" pitchFamily="2" charset="77"/>
              </a:rPr>
              <a:t>WEAKNESS</a:t>
            </a:r>
          </a:p>
        </p:txBody>
      </p:sp>
      <p:sp>
        <p:nvSpPr>
          <p:cNvPr id="46" name="Subtitle 2">
            <a:extLst>
              <a:ext uri="{FF2B5EF4-FFF2-40B4-BE49-F238E27FC236}">
                <a16:creationId xmlns:a16="http://schemas.microsoft.com/office/drawing/2014/main" id="{75D61AD0-20A3-4ACB-A33F-6A432017FF02}"/>
              </a:ext>
            </a:extLst>
          </p:cNvPr>
          <p:cNvSpPr txBox="1">
            <a:spLocks/>
          </p:cNvSpPr>
          <p:nvPr/>
        </p:nvSpPr>
        <p:spPr>
          <a:xfrm>
            <a:off x="3953937" y="5065392"/>
            <a:ext cx="1832379" cy="1061287"/>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850"/>
              </a:lnSpc>
            </a:pPr>
            <a:r>
              <a:rPr lang="en-US" sz="13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t>
            </a:r>
          </a:p>
        </p:txBody>
      </p:sp>
      <p:sp>
        <p:nvSpPr>
          <p:cNvPr id="47" name="TextBox 27">
            <a:extLst>
              <a:ext uri="{FF2B5EF4-FFF2-40B4-BE49-F238E27FC236}">
                <a16:creationId xmlns:a16="http://schemas.microsoft.com/office/drawing/2014/main" id="{970544DA-08ED-4412-BE14-6422B1D60808}"/>
              </a:ext>
            </a:extLst>
          </p:cNvPr>
          <p:cNvSpPr txBox="1"/>
          <p:nvPr/>
        </p:nvSpPr>
        <p:spPr>
          <a:xfrm>
            <a:off x="6553630" y="4722075"/>
            <a:ext cx="1569660" cy="353943"/>
          </a:xfrm>
          <a:prstGeom prst="rect">
            <a:avLst/>
          </a:prstGeom>
          <a:noFill/>
        </p:spPr>
        <p:txBody>
          <a:bodyPr wrap="none" rtlCol="0" anchor="ctr" anchorCtr="0">
            <a:spAutoFit/>
          </a:bodyPr>
          <a:lstStyle/>
          <a:p>
            <a:pPr algn="ctr"/>
            <a:r>
              <a:rPr lang="en-US" sz="1700" b="1" dirty="0">
                <a:solidFill>
                  <a:schemeClr val="tx2"/>
                </a:solidFill>
                <a:latin typeface="Segoe UI Light" panose="020B0502040204020203" pitchFamily="34" charset="0"/>
                <a:ea typeface="League Spartan" charset="0"/>
                <a:cs typeface="Poppins" pitchFamily="2" charset="77"/>
              </a:rPr>
              <a:t>OPPORTUNITY</a:t>
            </a:r>
          </a:p>
        </p:txBody>
      </p:sp>
      <p:sp>
        <p:nvSpPr>
          <p:cNvPr id="48" name="Subtitle 2">
            <a:extLst>
              <a:ext uri="{FF2B5EF4-FFF2-40B4-BE49-F238E27FC236}">
                <a16:creationId xmlns:a16="http://schemas.microsoft.com/office/drawing/2014/main" id="{A6185858-BDCC-4550-A0FB-8395DE4B9DF9}"/>
              </a:ext>
            </a:extLst>
          </p:cNvPr>
          <p:cNvSpPr txBox="1">
            <a:spLocks/>
          </p:cNvSpPr>
          <p:nvPr/>
        </p:nvSpPr>
        <p:spPr>
          <a:xfrm>
            <a:off x="6422269" y="5065392"/>
            <a:ext cx="1832379" cy="1061287"/>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850"/>
              </a:lnSpc>
            </a:pPr>
            <a:r>
              <a:rPr lang="en-US" sz="13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t>
            </a:r>
          </a:p>
        </p:txBody>
      </p:sp>
      <p:sp>
        <p:nvSpPr>
          <p:cNvPr id="49" name="TextBox 29">
            <a:extLst>
              <a:ext uri="{FF2B5EF4-FFF2-40B4-BE49-F238E27FC236}">
                <a16:creationId xmlns:a16="http://schemas.microsoft.com/office/drawing/2014/main" id="{99618430-67A1-40CD-962D-20EB59269526}"/>
              </a:ext>
            </a:extLst>
          </p:cNvPr>
          <p:cNvSpPr txBox="1"/>
          <p:nvPr/>
        </p:nvSpPr>
        <p:spPr>
          <a:xfrm>
            <a:off x="9464138" y="4722075"/>
            <a:ext cx="901529" cy="353943"/>
          </a:xfrm>
          <a:prstGeom prst="rect">
            <a:avLst/>
          </a:prstGeom>
          <a:noFill/>
        </p:spPr>
        <p:txBody>
          <a:bodyPr wrap="none" rtlCol="0" anchor="ctr" anchorCtr="0">
            <a:spAutoFit/>
          </a:bodyPr>
          <a:lstStyle/>
          <a:p>
            <a:pPr algn="ctr"/>
            <a:r>
              <a:rPr lang="en-US" sz="1700" b="1" dirty="0">
                <a:solidFill>
                  <a:schemeClr val="tx2"/>
                </a:solidFill>
                <a:latin typeface="Segoe UI Light" panose="020B0502040204020203" pitchFamily="34" charset="0"/>
                <a:ea typeface="League Spartan" charset="0"/>
                <a:cs typeface="Poppins" pitchFamily="2" charset="77"/>
              </a:rPr>
              <a:t>THREAT</a:t>
            </a:r>
          </a:p>
        </p:txBody>
      </p:sp>
      <p:sp>
        <p:nvSpPr>
          <p:cNvPr id="50" name="Subtitle 2">
            <a:extLst>
              <a:ext uri="{FF2B5EF4-FFF2-40B4-BE49-F238E27FC236}">
                <a16:creationId xmlns:a16="http://schemas.microsoft.com/office/drawing/2014/main" id="{0E1EDCAE-63E5-4F47-A7F6-C7BEECB8B80D}"/>
              </a:ext>
            </a:extLst>
          </p:cNvPr>
          <p:cNvSpPr txBox="1">
            <a:spLocks/>
          </p:cNvSpPr>
          <p:nvPr/>
        </p:nvSpPr>
        <p:spPr>
          <a:xfrm>
            <a:off x="8998712" y="5065392"/>
            <a:ext cx="1832379" cy="1061287"/>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850"/>
              </a:lnSpc>
            </a:pPr>
            <a:r>
              <a:rPr lang="en-US" sz="13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t>
            </a:r>
          </a:p>
        </p:txBody>
      </p:sp>
    </p:spTree>
    <p:custDataLst>
      <p:tags r:id="rId1"/>
    </p:custDataLst>
    <p:extLst>
      <p:ext uri="{BB962C8B-B14F-4D97-AF65-F5344CB8AC3E}">
        <p14:creationId xmlns:p14="http://schemas.microsoft.com/office/powerpoint/2010/main" val="2773258960"/>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16">
            <a:extLst>
              <a:ext uri="{FF2B5EF4-FFF2-40B4-BE49-F238E27FC236}">
                <a16:creationId xmlns:a16="http://schemas.microsoft.com/office/drawing/2014/main" id="{3E3BD50F-5C0E-4BE8-BB96-09C49E0A14E8}"/>
              </a:ext>
            </a:extLst>
          </p:cNvPr>
          <p:cNvPicPr>
            <a:picLocks noGrp="1" noChangeAspect="1"/>
          </p:cNvPicPr>
          <p:nvPr>
            <p:ph type="pic" sz="quarter" idx="13"/>
            <p:custDataLst>
              <p:tags r:id="rId1"/>
            </p:custDataLst>
          </p:nvPr>
        </p:nvPicPr>
        <p:blipFill>
          <a:blip r:embed="rId3">
            <a:extLst>
              <a:ext uri="{28A0092B-C50C-407E-A947-70E740481C1C}">
                <a14:useLocalDpi xmlns:a14="http://schemas.microsoft.com/office/drawing/2010/main" val="0"/>
              </a:ext>
            </a:extLst>
          </a:blip>
          <a:srcRect t="11084" b="11084"/>
          <a:stretch>
            <a:fillRect/>
          </a:stretch>
        </p:blipFill>
        <p:spPr>
          <a:xfrm>
            <a:off x="1" y="96839"/>
            <a:ext cx="12191345" cy="6760799"/>
          </a:xfrm>
          <a:custGeom>
            <a:avLst/>
            <a:gdLst>
              <a:gd name="connsiteX0" fmla="*/ 0 w 10287000"/>
              <a:gd name="connsiteY0" fmla="*/ 0 h 6858000"/>
              <a:gd name="connsiteX1" fmla="*/ 10287000 w 10287000"/>
              <a:gd name="connsiteY1" fmla="*/ 0 h 6858000"/>
              <a:gd name="connsiteX2" fmla="*/ 10287000 w 10287000"/>
              <a:gd name="connsiteY2" fmla="*/ 6858000 h 6858000"/>
              <a:gd name="connsiteX3" fmla="*/ 0 w 10287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287000" h="6858000">
                <a:moveTo>
                  <a:pt x="0" y="0"/>
                </a:moveTo>
                <a:lnTo>
                  <a:pt x="10287000" y="0"/>
                </a:lnTo>
                <a:lnTo>
                  <a:pt x="10287000" y="6858000"/>
                </a:lnTo>
                <a:lnTo>
                  <a:pt x="0" y="6858000"/>
                </a:lnTo>
                <a:close/>
              </a:path>
            </a:pathLst>
          </a:custGeom>
        </p:spPr>
      </p:pic>
      <p:sp>
        <p:nvSpPr>
          <p:cNvPr id="4" name="Text Placeholder 3">
            <a:extLst>
              <a:ext uri="{FF2B5EF4-FFF2-40B4-BE49-F238E27FC236}">
                <a16:creationId xmlns:a16="http://schemas.microsoft.com/office/drawing/2014/main" id="{D7852484-DE63-42C1-A7E4-617CAC9409FF}"/>
              </a:ext>
            </a:extLst>
          </p:cNvPr>
          <p:cNvSpPr>
            <a:spLocks noGrp="1"/>
          </p:cNvSpPr>
          <p:nvPr>
            <p:ph type="body" sz="quarter" idx="14"/>
          </p:nvPr>
        </p:nvSpPr>
        <p:spPr>
          <a:xfrm>
            <a:off x="0" y="3914775"/>
            <a:ext cx="5793381" cy="738664"/>
          </a:xfrm>
        </p:spPr>
        <p:txBody>
          <a:bodyPr/>
          <a:lstStyle/>
          <a:p>
            <a:r>
              <a:rPr lang="de-DE" dirty="0"/>
              <a:t>Slides with charts</a:t>
            </a:r>
            <a:endParaRPr lang="en-US" dirty="0"/>
          </a:p>
        </p:txBody>
      </p:sp>
    </p:spTree>
    <p:extLst>
      <p:ext uri="{BB962C8B-B14F-4D97-AF65-F5344CB8AC3E}">
        <p14:creationId xmlns:p14="http://schemas.microsoft.com/office/powerpoint/2010/main" val="2578263709"/>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7">
            <a:extLst>
              <a:ext uri="{FF2B5EF4-FFF2-40B4-BE49-F238E27FC236}">
                <a16:creationId xmlns:a16="http://schemas.microsoft.com/office/drawing/2014/main" id="{3178FF91-A501-482D-BA0F-2D6E9CAB33BC}"/>
              </a:ext>
            </a:extLst>
          </p:cNvPr>
          <p:cNvSpPr>
            <a:spLocks noGrp="1" noRot="1" noEditPoints="1" noAdjustHandles="1" noChangeArrowheads="1" noChangeShapeType="1"/>
          </p:cNvSpPr>
          <p:nvPr>
            <p:custDataLst>
              <p:tags r:id="rId2"/>
            </p:custDataLst>
          </p:nvPr>
        </p:nvSpPr>
        <p:spPr>
          <a:xfrm>
            <a:off x="458399" y="1387800"/>
            <a:ext cx="7340627" cy="5054400"/>
          </a:xfrm>
          <a:prstGeom prst="rect">
            <a:avLst/>
          </a:prstGeom>
          <a:solidFill>
            <a:srgbClr val="000000">
              <a:alpha val="0"/>
            </a:srgbClr>
          </a:solidFill>
          <a:ln w="0" cap="flat" cmpd="sng" algn="ctr">
            <a:solidFill>
              <a:prstClr val="black">
                <a:alpha val="0"/>
              </a:prst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495300" rtl="0" eaLnBrk="1" fontAlgn="auto" hangingPunct="1">
              <a:lnSpc>
                <a:spcPct val="100000"/>
              </a:lnSpc>
              <a:spcBef>
                <a:spcPts val="0"/>
              </a:spcBef>
              <a:spcAft>
                <a:spcPts val="0"/>
              </a:spcAft>
            </a:pPr>
            <a:r>
              <a:rPr lang="en-US" sz="1200" b="0" i="0" u="none" baseline="0" dirty="0">
                <a:solidFill>
                  <a:srgbClr val="000000"/>
                </a:solidFill>
                <a:latin typeface="Segoe UI Light" panose="020B0502040204020203" pitchFamily="34" charset="0"/>
                <a:cs typeface="Segoe UI Light" panose="020B0502040204020203" pitchFamily="34" charset="0"/>
              </a:rPr>
              <a:t>​</a:t>
            </a:r>
          </a:p>
        </p:txBody>
      </p:sp>
      <p:sp>
        <p:nvSpPr>
          <p:cNvPr id="2" name="Titel 1">
            <a:extLst>
              <a:ext uri="{FF2B5EF4-FFF2-40B4-BE49-F238E27FC236}">
                <a16:creationId xmlns:a16="http://schemas.microsoft.com/office/drawing/2014/main" id="{88BA6CE2-A278-480D-A312-C66F60DFB461}"/>
              </a:ext>
            </a:extLst>
          </p:cNvPr>
          <p:cNvSpPr>
            <a:spLocks noGrp="1"/>
          </p:cNvSpPr>
          <p:nvPr>
            <p:ph type="title"/>
          </p:nvPr>
        </p:nvSpPr>
        <p:spPr/>
        <p:txBody>
          <a:bodyPr/>
          <a:lstStyle/>
          <a:p>
            <a:r>
              <a:rPr lang="en-US" sz="3000" dirty="0"/>
              <a:t>Bar chart with text</a:t>
            </a:r>
          </a:p>
        </p:txBody>
      </p:sp>
      <p:graphicFrame>
        <p:nvGraphicFramePr>
          <p:cNvPr id="7" name="Stacked Columns">
            <a:extLst>
              <a:ext uri="{FF2B5EF4-FFF2-40B4-BE49-F238E27FC236}">
                <a16:creationId xmlns:a16="http://schemas.microsoft.com/office/drawing/2014/main" id="{D300F33D-E4F2-4F0B-860E-CB434A1C2053}"/>
              </a:ext>
            </a:extLst>
          </p:cNvPr>
          <p:cNvGraphicFramePr>
            <a:graphicFrameLocks noGrp="1"/>
          </p:cNvGraphicFramePr>
          <p:nvPr>
            <p:custDataLst>
              <p:tags r:id="rId3"/>
            </p:custDataLst>
            <p:extLst>
              <p:ext uri="{D42A27DB-BD31-4B8C-83A1-F6EECF244321}">
                <p14:modId xmlns:p14="http://schemas.microsoft.com/office/powerpoint/2010/main" val="1157809226"/>
              </p:ext>
            </p:extLst>
          </p:nvPr>
        </p:nvGraphicFramePr>
        <p:xfrm>
          <a:off x="458399" y="1387800"/>
          <a:ext cx="7340627" cy="5054400"/>
        </p:xfrm>
        <a:graphic>
          <a:graphicData uri="http://schemas.openxmlformats.org/drawingml/2006/chart">
            <c:chart xmlns:c="http://schemas.openxmlformats.org/drawingml/2006/chart" xmlns:r="http://schemas.openxmlformats.org/officeDocument/2006/relationships" r:id="rId6"/>
          </a:graphicData>
        </a:graphic>
      </p:graphicFrame>
      <p:sp>
        <p:nvSpPr>
          <p:cNvPr id="6" name="MIO_TEXTBOX_BODY">
            <a:extLst>
              <a:ext uri="{FF2B5EF4-FFF2-40B4-BE49-F238E27FC236}">
                <a16:creationId xmlns:a16="http://schemas.microsoft.com/office/drawing/2014/main" id="{6E85EAFD-15AC-49DE-B867-98D883FB2FA8}"/>
              </a:ext>
            </a:extLst>
          </p:cNvPr>
          <p:cNvSpPr txBox="1"/>
          <p:nvPr/>
        </p:nvSpPr>
        <p:spPr>
          <a:xfrm>
            <a:off x="8234509" y="1832183"/>
            <a:ext cx="3499090" cy="4610017"/>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dirty="0"/>
              <a:t>Lorem ipsum dolor sit amet, consectetuer adipiscing elit. Aenean commodo ligula eget dolor. Aenean massa. Cum sociis natoque penatibus et magnis dis parturient montes, nascetur ridiculus mus. </a:t>
            </a:r>
          </a:p>
          <a:p>
            <a:pPr marL="0" indent="0">
              <a:buSzPct val="100000"/>
              <a:buNone/>
            </a:pPr>
            <a:r>
              <a:rPr lang="en-US" dirty="0"/>
              <a:t>Donec quam felis, ultricies nec, pellentesque eu, pretium quis, sem. Nulla consequat massa quis enim. Donec pede justo, fringilla vel, aliquet nec, vulputate eget, arcu. </a:t>
            </a:r>
          </a:p>
          <a:p>
            <a:pPr marL="0" indent="0">
              <a:buSzPct val="100000"/>
              <a:buNone/>
            </a:pPr>
            <a:r>
              <a:rPr lang="en-US" dirty="0"/>
              <a:t>Lorem ipsum dolor sit amet, consectetuer adipiscing elit. Aenean commodo ligula eget dolor. Aenean massa. </a:t>
            </a:r>
          </a:p>
        </p:txBody>
      </p:sp>
      <p:sp>
        <p:nvSpPr>
          <p:cNvPr id="8" name="MIO_TEXTBOX_HEADER">
            <a:extLst>
              <a:ext uri="{FF2B5EF4-FFF2-40B4-BE49-F238E27FC236}">
                <a16:creationId xmlns:a16="http://schemas.microsoft.com/office/drawing/2014/main" id="{6D3EFD57-8591-4FB8-911C-BFDAFC8531D0}"/>
              </a:ext>
            </a:extLst>
          </p:cNvPr>
          <p:cNvSpPr txBox="1"/>
          <p:nvPr/>
        </p:nvSpPr>
        <p:spPr>
          <a:xfrm>
            <a:off x="8234508" y="1387800"/>
            <a:ext cx="3499090" cy="336068"/>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800" dirty="0">
                <a:solidFill>
                  <a:schemeClr val="dk1"/>
                </a:solidFill>
              </a:rPr>
              <a:t>Lorem ipsum dolor sit amet</a:t>
            </a:r>
          </a:p>
        </p:txBody>
      </p:sp>
    </p:spTree>
    <p:custDataLst>
      <p:tags r:id="rId1"/>
    </p:custDataLst>
    <p:extLst>
      <p:ext uri="{BB962C8B-B14F-4D97-AF65-F5344CB8AC3E}">
        <p14:creationId xmlns:p14="http://schemas.microsoft.com/office/powerpoint/2010/main" val="1874336807"/>
      </p:ext>
    </p:extLst>
  </p:cSld>
  <p:clrMapOvr>
    <a:masterClrMapping/>
  </p:clrMapOvr>
  <mc:AlternateContent xmlns:mc="http://schemas.openxmlformats.org/markup-compatibility/2006" xmlns:p14="http://schemas.microsoft.com/office/powerpoint/2010/main">
    <mc:Choice Requires="p14">
      <p:transition spd="med">
        <p14:pan/>
      </p:transition>
    </mc:Choice>
    <mc:Fallback xmlns:c="http://schemas.openxmlformats.org/drawingml/2006/chart" xmlns:a16="http://schemas.microsoft.com/office/drawing/2014/main"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A6CE2-A278-480D-A312-C66F60DFB461}"/>
              </a:ext>
            </a:extLst>
          </p:cNvPr>
          <p:cNvSpPr>
            <a:spLocks noGrp="1"/>
          </p:cNvSpPr>
          <p:nvPr>
            <p:ph type="title"/>
          </p:nvPr>
        </p:nvSpPr>
        <p:spPr/>
        <p:txBody>
          <a:bodyPr/>
          <a:lstStyle/>
          <a:p>
            <a:r>
              <a:rPr lang="en-US" sz="3000" dirty="0"/>
              <a:t>Comparison of bar charts</a:t>
            </a:r>
          </a:p>
        </p:txBody>
      </p:sp>
      <p:sp>
        <p:nvSpPr>
          <p:cNvPr id="15" name="MIO_OBJECT3">
            <a:extLst>
              <a:ext uri="{FF2B5EF4-FFF2-40B4-BE49-F238E27FC236}">
                <a16:creationId xmlns:a16="http://schemas.microsoft.com/office/drawing/2014/main" id="{AE55B6E8-8774-430F-9EED-BA2F5F0DE7E7}"/>
              </a:ext>
            </a:extLst>
          </p:cNvPr>
          <p:cNvSpPr/>
          <p:nvPr/>
        </p:nvSpPr>
        <p:spPr>
          <a:xfrm>
            <a:off x="6289688" y="1387800"/>
            <a:ext cx="5443912" cy="31298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a:solidFill>
                <a:schemeClr val="tx1"/>
              </a:solidFill>
              <a:latin typeface="Segoe UI Semibold" panose="020B0702040204020203" pitchFamily="34" charset="0"/>
              <a:cs typeface="Segoe UI Semibold" panose="020B0702040204020203" pitchFamily="34" charset="0"/>
            </a:endParaRPr>
          </a:p>
        </p:txBody>
      </p:sp>
      <p:sp>
        <p:nvSpPr>
          <p:cNvPr id="16" name="MIO_OBJECT3">
            <a:extLst>
              <a:ext uri="{FF2B5EF4-FFF2-40B4-BE49-F238E27FC236}">
                <a16:creationId xmlns:a16="http://schemas.microsoft.com/office/drawing/2014/main" id="{23E2B201-03B3-486E-B6FA-C124D691F677}"/>
              </a:ext>
            </a:extLst>
          </p:cNvPr>
          <p:cNvSpPr/>
          <p:nvPr/>
        </p:nvSpPr>
        <p:spPr>
          <a:xfrm>
            <a:off x="458401" y="1387800"/>
            <a:ext cx="5443912" cy="31298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a:solidFill>
                <a:schemeClr val="tx1"/>
              </a:solidFill>
              <a:latin typeface="Segoe UI Semibold" panose="020B0702040204020203" pitchFamily="34" charset="0"/>
              <a:cs typeface="Segoe UI Semibold" panose="020B0702040204020203" pitchFamily="34" charset="0"/>
            </a:endParaRPr>
          </a:p>
        </p:txBody>
      </p:sp>
      <p:graphicFrame>
        <p:nvGraphicFramePr>
          <p:cNvPr id="6" name="Diagramm 5">
            <a:extLst>
              <a:ext uri="{FF2B5EF4-FFF2-40B4-BE49-F238E27FC236}">
                <a16:creationId xmlns:a16="http://schemas.microsoft.com/office/drawing/2014/main" id="{C7FF56C5-4A94-42E3-96D4-9F5509891662}"/>
              </a:ext>
            </a:extLst>
          </p:cNvPr>
          <p:cNvGraphicFramePr/>
          <p:nvPr>
            <p:extLst>
              <p:ext uri="{D42A27DB-BD31-4B8C-83A1-F6EECF244321}">
                <p14:modId xmlns:p14="http://schemas.microsoft.com/office/powerpoint/2010/main" val="2491144959"/>
              </p:ext>
            </p:extLst>
          </p:nvPr>
        </p:nvGraphicFramePr>
        <p:xfrm>
          <a:off x="6289688" y="1387800"/>
          <a:ext cx="5443912" cy="312982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Diagramm 18">
            <a:extLst>
              <a:ext uri="{FF2B5EF4-FFF2-40B4-BE49-F238E27FC236}">
                <a16:creationId xmlns:a16="http://schemas.microsoft.com/office/drawing/2014/main" id="{E0890A7A-90EC-49AD-A2FC-E5BAA8B8FAD7}"/>
              </a:ext>
            </a:extLst>
          </p:cNvPr>
          <p:cNvGraphicFramePr/>
          <p:nvPr>
            <p:extLst>
              <p:ext uri="{D42A27DB-BD31-4B8C-83A1-F6EECF244321}">
                <p14:modId xmlns:p14="http://schemas.microsoft.com/office/powerpoint/2010/main" val="17185815"/>
              </p:ext>
            </p:extLst>
          </p:nvPr>
        </p:nvGraphicFramePr>
        <p:xfrm>
          <a:off x="458401" y="1387800"/>
          <a:ext cx="5443912" cy="3129823"/>
        </p:xfrm>
        <a:graphic>
          <a:graphicData uri="http://schemas.openxmlformats.org/drawingml/2006/chart">
            <c:chart xmlns:c="http://schemas.openxmlformats.org/drawingml/2006/chart" xmlns:r="http://schemas.openxmlformats.org/officeDocument/2006/relationships" r:id="rId5"/>
          </a:graphicData>
        </a:graphic>
      </p:graphicFrame>
      <p:sp>
        <p:nvSpPr>
          <p:cNvPr id="10" name="MIO_TEXTBOX_BODY">
            <a:extLst>
              <a:ext uri="{FF2B5EF4-FFF2-40B4-BE49-F238E27FC236}">
                <a16:creationId xmlns:a16="http://schemas.microsoft.com/office/drawing/2014/main" id="{AAA167CE-0F30-4654-87B1-819175D29B0E}"/>
              </a:ext>
            </a:extLst>
          </p:cNvPr>
          <p:cNvSpPr txBox="1"/>
          <p:nvPr/>
        </p:nvSpPr>
        <p:spPr>
          <a:xfrm>
            <a:off x="6289687" y="5284419"/>
            <a:ext cx="5443912" cy="1157781"/>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dirty="0"/>
              <a:t>Lorem ipsum dolor sit amet, consectetuer adipiscing elit. Aenean commodo ligula eget dolor. Aenean massa. Cum sociis natoque penatibus et magnis dis parturient montes, nascetur ridiculus mus. </a:t>
            </a:r>
          </a:p>
        </p:txBody>
      </p:sp>
      <p:sp>
        <p:nvSpPr>
          <p:cNvPr id="12" name="MIO_TEXTBOX_BODY">
            <a:extLst>
              <a:ext uri="{FF2B5EF4-FFF2-40B4-BE49-F238E27FC236}">
                <a16:creationId xmlns:a16="http://schemas.microsoft.com/office/drawing/2014/main" id="{BDE3BB9A-DC34-4124-8499-78CB4B5F79DE}"/>
              </a:ext>
            </a:extLst>
          </p:cNvPr>
          <p:cNvSpPr txBox="1"/>
          <p:nvPr/>
        </p:nvSpPr>
        <p:spPr>
          <a:xfrm>
            <a:off x="458401" y="5284419"/>
            <a:ext cx="5443912" cy="1157781"/>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dirty="0"/>
              <a:t>Lorem ipsum dolor sit amet, consectetuer adipiscing elit. Aenean commodo ligula eget dolor. Aenean massa. Cum sociis natoque penatibus et magnis dis parturient montes, nascetur ridiculus mus. </a:t>
            </a:r>
          </a:p>
        </p:txBody>
      </p:sp>
      <p:sp>
        <p:nvSpPr>
          <p:cNvPr id="13" name="MIO_TEXTBOX_HEADER">
            <a:extLst>
              <a:ext uri="{FF2B5EF4-FFF2-40B4-BE49-F238E27FC236}">
                <a16:creationId xmlns:a16="http://schemas.microsoft.com/office/drawing/2014/main" id="{04FDF060-552A-415A-AC70-F350BD41FA1D}"/>
              </a:ext>
            </a:extLst>
          </p:cNvPr>
          <p:cNvSpPr txBox="1"/>
          <p:nvPr/>
        </p:nvSpPr>
        <p:spPr>
          <a:xfrm>
            <a:off x="6289688" y="4840060"/>
            <a:ext cx="5443912" cy="336049"/>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800" dirty="0">
                <a:solidFill>
                  <a:schemeClr val="dk1"/>
                </a:solidFill>
              </a:rPr>
              <a:t>Lorem ipsum dolor sit amet</a:t>
            </a:r>
          </a:p>
        </p:txBody>
      </p:sp>
      <p:sp>
        <p:nvSpPr>
          <p:cNvPr id="14" name="MIO_TEXTBOX_HEADER">
            <a:extLst>
              <a:ext uri="{FF2B5EF4-FFF2-40B4-BE49-F238E27FC236}">
                <a16:creationId xmlns:a16="http://schemas.microsoft.com/office/drawing/2014/main" id="{A1B1DD7D-33E9-4745-B320-9F21BA85A484}"/>
              </a:ext>
            </a:extLst>
          </p:cNvPr>
          <p:cNvSpPr txBox="1"/>
          <p:nvPr/>
        </p:nvSpPr>
        <p:spPr>
          <a:xfrm>
            <a:off x="458400" y="4840060"/>
            <a:ext cx="5443911" cy="336049"/>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800" dirty="0">
                <a:solidFill>
                  <a:schemeClr val="dk1"/>
                </a:solidFill>
              </a:rPr>
              <a:t>Lorem ipsum dolor sit amet</a:t>
            </a:r>
          </a:p>
        </p:txBody>
      </p:sp>
    </p:spTree>
    <p:custDataLst>
      <p:tags r:id="rId1"/>
    </p:custDataLst>
    <p:extLst>
      <p:ext uri="{BB962C8B-B14F-4D97-AF65-F5344CB8AC3E}">
        <p14:creationId xmlns:p14="http://schemas.microsoft.com/office/powerpoint/2010/main" val="866531259"/>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hape 7744">
            <a:extLst>
              <a:ext uri="{FF2B5EF4-FFF2-40B4-BE49-F238E27FC236}">
                <a16:creationId xmlns:a16="http://schemas.microsoft.com/office/drawing/2014/main" id="{F5CB03BA-B054-3540-BDB4-6B9649EB8EAE}"/>
              </a:ext>
            </a:extLst>
          </p:cNvPr>
          <p:cNvSpPr/>
          <p:nvPr/>
        </p:nvSpPr>
        <p:spPr>
          <a:xfrm>
            <a:off x="6454289" y="1151255"/>
            <a:ext cx="3534687" cy="734857"/>
          </a:xfrm>
          <a:prstGeom prst="rightArrow">
            <a:avLst>
              <a:gd name="adj1" fmla="val 42953"/>
              <a:gd name="adj2" fmla="val 64000"/>
            </a:avLst>
          </a:prstGeom>
          <a:solidFill>
            <a:schemeClr val="accent1"/>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25" name="Shape 7745">
            <a:extLst>
              <a:ext uri="{FF2B5EF4-FFF2-40B4-BE49-F238E27FC236}">
                <a16:creationId xmlns:a16="http://schemas.microsoft.com/office/drawing/2014/main" id="{861C8C5D-F209-1D44-A7D2-D1B06ADD0E8C}"/>
              </a:ext>
            </a:extLst>
          </p:cNvPr>
          <p:cNvSpPr/>
          <p:nvPr/>
        </p:nvSpPr>
        <p:spPr>
          <a:xfrm>
            <a:off x="4444800" y="1361737"/>
            <a:ext cx="2222535" cy="1435701"/>
          </a:xfrm>
          <a:custGeom>
            <a:avLst/>
            <a:gdLst/>
            <a:ahLst/>
            <a:cxnLst>
              <a:cxn ang="0">
                <a:pos x="wd2" y="hd2"/>
              </a:cxn>
              <a:cxn ang="5400000">
                <a:pos x="wd2" y="hd2"/>
              </a:cxn>
              <a:cxn ang="10800000">
                <a:pos x="wd2" y="hd2"/>
              </a:cxn>
              <a:cxn ang="16200000">
                <a:pos x="wd2" y="hd2"/>
              </a:cxn>
            </a:cxnLst>
            <a:rect l="0" t="0" r="r" b="b"/>
            <a:pathLst>
              <a:path w="21600" h="21600" extrusionOk="0">
                <a:moveTo>
                  <a:pt x="3994" y="0"/>
                </a:moveTo>
                <a:cubicBezTo>
                  <a:pt x="2891" y="0"/>
                  <a:pt x="1893" y="692"/>
                  <a:pt x="1170" y="1811"/>
                </a:cubicBezTo>
                <a:cubicBezTo>
                  <a:pt x="447" y="2930"/>
                  <a:pt x="0" y="4476"/>
                  <a:pt x="0" y="6183"/>
                </a:cubicBezTo>
                <a:lnTo>
                  <a:pt x="0" y="15417"/>
                </a:lnTo>
                <a:cubicBezTo>
                  <a:pt x="0" y="17124"/>
                  <a:pt x="447" y="18670"/>
                  <a:pt x="1170" y="19789"/>
                </a:cubicBezTo>
                <a:cubicBezTo>
                  <a:pt x="1893" y="20908"/>
                  <a:pt x="2891" y="21600"/>
                  <a:pt x="3994" y="21600"/>
                </a:cubicBezTo>
                <a:lnTo>
                  <a:pt x="21600" y="21600"/>
                </a:lnTo>
                <a:lnTo>
                  <a:pt x="21600" y="16872"/>
                </a:lnTo>
                <a:lnTo>
                  <a:pt x="3843" y="16872"/>
                </a:lnTo>
                <a:cubicBezTo>
                  <a:pt x="3757" y="16872"/>
                  <a:pt x="3679" y="16818"/>
                  <a:pt x="3623" y="16730"/>
                </a:cubicBezTo>
                <a:cubicBezTo>
                  <a:pt x="3568" y="16643"/>
                  <a:pt x="3533" y="16522"/>
                  <a:pt x="3533" y="16388"/>
                </a:cubicBezTo>
                <a:lnTo>
                  <a:pt x="3533" y="5216"/>
                </a:lnTo>
                <a:cubicBezTo>
                  <a:pt x="3533" y="5082"/>
                  <a:pt x="3568" y="4961"/>
                  <a:pt x="3623" y="4874"/>
                </a:cubicBezTo>
                <a:cubicBezTo>
                  <a:pt x="3679" y="4786"/>
                  <a:pt x="3757" y="4732"/>
                  <a:pt x="3843" y="4732"/>
                </a:cubicBezTo>
                <a:lnTo>
                  <a:pt x="20850" y="4732"/>
                </a:lnTo>
                <a:lnTo>
                  <a:pt x="20850" y="0"/>
                </a:lnTo>
                <a:lnTo>
                  <a:pt x="3994" y="0"/>
                </a:lnTo>
                <a:close/>
              </a:path>
            </a:pathLst>
          </a:custGeom>
          <a:solidFill>
            <a:schemeClr val="accent1"/>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22" name="Shape 7747">
            <a:extLst>
              <a:ext uri="{FF2B5EF4-FFF2-40B4-BE49-F238E27FC236}">
                <a16:creationId xmlns:a16="http://schemas.microsoft.com/office/drawing/2014/main" id="{E92AA927-7EC1-294E-8D69-78AB8F23680B}"/>
              </a:ext>
            </a:extLst>
          </p:cNvPr>
          <p:cNvSpPr/>
          <p:nvPr/>
        </p:nvSpPr>
        <p:spPr>
          <a:xfrm flipH="1">
            <a:off x="5676164" y="2477826"/>
            <a:ext cx="2994294" cy="1435702"/>
          </a:xfrm>
          <a:custGeom>
            <a:avLst/>
            <a:gdLst/>
            <a:ahLst/>
            <a:cxnLst>
              <a:cxn ang="0">
                <a:pos x="wd2" y="hd2"/>
              </a:cxn>
              <a:cxn ang="5400000">
                <a:pos x="wd2" y="hd2"/>
              </a:cxn>
              <a:cxn ang="10800000">
                <a:pos x="wd2" y="hd2"/>
              </a:cxn>
              <a:cxn ang="16200000">
                <a:pos x="wd2" y="hd2"/>
              </a:cxn>
            </a:cxnLst>
            <a:rect l="0" t="0" r="r" b="b"/>
            <a:pathLst>
              <a:path w="21600" h="21600" extrusionOk="0">
                <a:moveTo>
                  <a:pt x="3479" y="0"/>
                </a:moveTo>
                <a:cubicBezTo>
                  <a:pt x="2518" y="0"/>
                  <a:pt x="1648" y="692"/>
                  <a:pt x="1019" y="1811"/>
                </a:cubicBezTo>
                <a:cubicBezTo>
                  <a:pt x="389" y="2930"/>
                  <a:pt x="0" y="4476"/>
                  <a:pt x="0" y="6183"/>
                </a:cubicBezTo>
                <a:lnTo>
                  <a:pt x="0" y="15417"/>
                </a:lnTo>
                <a:cubicBezTo>
                  <a:pt x="0" y="17124"/>
                  <a:pt x="389" y="18670"/>
                  <a:pt x="1019" y="19789"/>
                </a:cubicBezTo>
                <a:cubicBezTo>
                  <a:pt x="1648" y="20908"/>
                  <a:pt x="2518" y="21600"/>
                  <a:pt x="3479" y="21600"/>
                </a:cubicBezTo>
                <a:lnTo>
                  <a:pt x="21600" y="21600"/>
                </a:lnTo>
                <a:lnTo>
                  <a:pt x="21600" y="16872"/>
                </a:lnTo>
                <a:lnTo>
                  <a:pt x="3347" y="16872"/>
                </a:lnTo>
                <a:cubicBezTo>
                  <a:pt x="3272" y="16872"/>
                  <a:pt x="3205" y="16818"/>
                  <a:pt x="3156" y="16730"/>
                </a:cubicBezTo>
                <a:cubicBezTo>
                  <a:pt x="3107" y="16643"/>
                  <a:pt x="3077" y="16522"/>
                  <a:pt x="3077" y="16388"/>
                </a:cubicBezTo>
                <a:lnTo>
                  <a:pt x="3077" y="5216"/>
                </a:lnTo>
                <a:cubicBezTo>
                  <a:pt x="3077" y="5082"/>
                  <a:pt x="3107" y="4961"/>
                  <a:pt x="3156" y="4874"/>
                </a:cubicBezTo>
                <a:cubicBezTo>
                  <a:pt x="3205" y="4786"/>
                  <a:pt x="3272" y="4732"/>
                  <a:pt x="3347" y="4732"/>
                </a:cubicBezTo>
                <a:lnTo>
                  <a:pt x="12859" y="4732"/>
                </a:lnTo>
                <a:lnTo>
                  <a:pt x="12859" y="0"/>
                </a:lnTo>
                <a:lnTo>
                  <a:pt x="3479" y="0"/>
                </a:lnTo>
                <a:close/>
              </a:path>
            </a:pathLst>
          </a:custGeom>
          <a:solidFill>
            <a:schemeClr val="accent2"/>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23" name="Shape 7748">
            <a:extLst>
              <a:ext uri="{FF2B5EF4-FFF2-40B4-BE49-F238E27FC236}">
                <a16:creationId xmlns:a16="http://schemas.microsoft.com/office/drawing/2014/main" id="{56A50A9C-9B15-CC4C-8937-45FFFBC9CD5D}"/>
              </a:ext>
            </a:extLst>
          </p:cNvPr>
          <p:cNvSpPr/>
          <p:nvPr/>
        </p:nvSpPr>
        <p:spPr>
          <a:xfrm rot="10800000">
            <a:off x="6411423" y="2270915"/>
            <a:ext cx="1458935" cy="734858"/>
          </a:xfrm>
          <a:prstGeom prst="rightArrow">
            <a:avLst>
              <a:gd name="adj1" fmla="val 42953"/>
              <a:gd name="adj2" fmla="val 64000"/>
            </a:avLst>
          </a:prstGeom>
          <a:solidFill>
            <a:schemeClr val="accent2"/>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20" name="Shape 7750">
            <a:extLst>
              <a:ext uri="{FF2B5EF4-FFF2-40B4-BE49-F238E27FC236}">
                <a16:creationId xmlns:a16="http://schemas.microsoft.com/office/drawing/2014/main" id="{99B6ED3E-9B1E-F94E-A005-B87D84CFB3ED}"/>
              </a:ext>
            </a:extLst>
          </p:cNvPr>
          <p:cNvSpPr/>
          <p:nvPr/>
        </p:nvSpPr>
        <p:spPr>
          <a:xfrm>
            <a:off x="3996687" y="3597487"/>
            <a:ext cx="2994294" cy="1435702"/>
          </a:xfrm>
          <a:custGeom>
            <a:avLst/>
            <a:gdLst/>
            <a:ahLst/>
            <a:cxnLst>
              <a:cxn ang="0">
                <a:pos x="wd2" y="hd2"/>
              </a:cxn>
              <a:cxn ang="5400000">
                <a:pos x="wd2" y="hd2"/>
              </a:cxn>
              <a:cxn ang="10800000">
                <a:pos x="wd2" y="hd2"/>
              </a:cxn>
              <a:cxn ang="16200000">
                <a:pos x="wd2" y="hd2"/>
              </a:cxn>
            </a:cxnLst>
            <a:rect l="0" t="0" r="r" b="b"/>
            <a:pathLst>
              <a:path w="21600" h="21600" extrusionOk="0">
                <a:moveTo>
                  <a:pt x="3479" y="0"/>
                </a:moveTo>
                <a:cubicBezTo>
                  <a:pt x="2518" y="0"/>
                  <a:pt x="1648" y="692"/>
                  <a:pt x="1019" y="1811"/>
                </a:cubicBezTo>
                <a:cubicBezTo>
                  <a:pt x="389" y="2930"/>
                  <a:pt x="0" y="4476"/>
                  <a:pt x="0" y="6183"/>
                </a:cubicBezTo>
                <a:lnTo>
                  <a:pt x="0" y="15417"/>
                </a:lnTo>
                <a:cubicBezTo>
                  <a:pt x="0" y="17124"/>
                  <a:pt x="389" y="18670"/>
                  <a:pt x="1019" y="19789"/>
                </a:cubicBezTo>
                <a:cubicBezTo>
                  <a:pt x="1648" y="20908"/>
                  <a:pt x="2518" y="21600"/>
                  <a:pt x="3479" y="21600"/>
                </a:cubicBezTo>
                <a:lnTo>
                  <a:pt x="21600" y="21600"/>
                </a:lnTo>
                <a:lnTo>
                  <a:pt x="21600" y="16872"/>
                </a:lnTo>
                <a:lnTo>
                  <a:pt x="3347" y="16872"/>
                </a:lnTo>
                <a:cubicBezTo>
                  <a:pt x="3272" y="16872"/>
                  <a:pt x="3205" y="16818"/>
                  <a:pt x="3156" y="16730"/>
                </a:cubicBezTo>
                <a:cubicBezTo>
                  <a:pt x="3107" y="16643"/>
                  <a:pt x="3077" y="16522"/>
                  <a:pt x="3077" y="16388"/>
                </a:cubicBezTo>
                <a:lnTo>
                  <a:pt x="3077" y="5216"/>
                </a:lnTo>
                <a:cubicBezTo>
                  <a:pt x="3077" y="5082"/>
                  <a:pt x="3107" y="4961"/>
                  <a:pt x="3156" y="4874"/>
                </a:cubicBezTo>
                <a:cubicBezTo>
                  <a:pt x="3205" y="4786"/>
                  <a:pt x="3272" y="4732"/>
                  <a:pt x="3347" y="4732"/>
                </a:cubicBezTo>
                <a:lnTo>
                  <a:pt x="9749" y="4732"/>
                </a:lnTo>
                <a:lnTo>
                  <a:pt x="9749" y="0"/>
                </a:lnTo>
                <a:lnTo>
                  <a:pt x="3479" y="0"/>
                </a:lnTo>
                <a:close/>
              </a:path>
            </a:pathLst>
          </a:custGeom>
          <a:solidFill>
            <a:schemeClr val="accent3"/>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21" name="Shape 7751">
            <a:extLst>
              <a:ext uri="{FF2B5EF4-FFF2-40B4-BE49-F238E27FC236}">
                <a16:creationId xmlns:a16="http://schemas.microsoft.com/office/drawing/2014/main" id="{8C859D98-2F00-DD45-A816-9782582E7661}"/>
              </a:ext>
            </a:extLst>
          </p:cNvPr>
          <p:cNvSpPr/>
          <p:nvPr/>
        </p:nvSpPr>
        <p:spPr>
          <a:xfrm rot="10800000" flipH="1">
            <a:off x="4796787" y="3390576"/>
            <a:ext cx="1457401" cy="734857"/>
          </a:xfrm>
          <a:prstGeom prst="rightArrow">
            <a:avLst>
              <a:gd name="adj1" fmla="val 42953"/>
              <a:gd name="adj2" fmla="val 64000"/>
            </a:avLst>
          </a:prstGeom>
          <a:solidFill>
            <a:schemeClr val="accent3"/>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18" name="Shape 7753">
            <a:extLst>
              <a:ext uri="{FF2B5EF4-FFF2-40B4-BE49-F238E27FC236}">
                <a16:creationId xmlns:a16="http://schemas.microsoft.com/office/drawing/2014/main" id="{087CF5C9-DA28-A747-9BF3-D2E3D576F7AB}"/>
              </a:ext>
            </a:extLst>
          </p:cNvPr>
          <p:cNvSpPr/>
          <p:nvPr/>
        </p:nvSpPr>
        <p:spPr>
          <a:xfrm flipH="1">
            <a:off x="5676164" y="4714896"/>
            <a:ext cx="2551718" cy="1435702"/>
          </a:xfrm>
          <a:custGeom>
            <a:avLst/>
            <a:gdLst/>
            <a:ahLst/>
            <a:cxnLst>
              <a:cxn ang="0">
                <a:pos x="wd2" y="hd2"/>
              </a:cxn>
              <a:cxn ang="5400000">
                <a:pos x="wd2" y="hd2"/>
              </a:cxn>
              <a:cxn ang="10800000">
                <a:pos x="wd2" y="hd2"/>
              </a:cxn>
              <a:cxn ang="16200000">
                <a:pos x="wd2" y="hd2"/>
              </a:cxn>
            </a:cxnLst>
            <a:rect l="0" t="0" r="r" b="b"/>
            <a:pathLst>
              <a:path w="21600" h="21600" extrusionOk="0">
                <a:moveTo>
                  <a:pt x="3479" y="0"/>
                </a:moveTo>
                <a:cubicBezTo>
                  <a:pt x="2518" y="0"/>
                  <a:pt x="1648" y="692"/>
                  <a:pt x="1019" y="1811"/>
                </a:cubicBezTo>
                <a:cubicBezTo>
                  <a:pt x="389" y="2930"/>
                  <a:pt x="0" y="4476"/>
                  <a:pt x="0" y="6183"/>
                </a:cubicBezTo>
                <a:lnTo>
                  <a:pt x="0" y="15417"/>
                </a:lnTo>
                <a:cubicBezTo>
                  <a:pt x="0" y="17124"/>
                  <a:pt x="389" y="18670"/>
                  <a:pt x="1019" y="19789"/>
                </a:cubicBezTo>
                <a:cubicBezTo>
                  <a:pt x="1648" y="20908"/>
                  <a:pt x="2518" y="21600"/>
                  <a:pt x="3479" y="21600"/>
                </a:cubicBezTo>
                <a:lnTo>
                  <a:pt x="21600" y="21600"/>
                </a:lnTo>
                <a:lnTo>
                  <a:pt x="21600" y="16872"/>
                </a:lnTo>
                <a:lnTo>
                  <a:pt x="3347" y="16872"/>
                </a:lnTo>
                <a:cubicBezTo>
                  <a:pt x="3272" y="16872"/>
                  <a:pt x="3205" y="16818"/>
                  <a:pt x="3156" y="16730"/>
                </a:cubicBezTo>
                <a:cubicBezTo>
                  <a:pt x="3107" y="16643"/>
                  <a:pt x="3077" y="16522"/>
                  <a:pt x="3077" y="16388"/>
                </a:cubicBezTo>
                <a:lnTo>
                  <a:pt x="3077" y="5216"/>
                </a:lnTo>
                <a:cubicBezTo>
                  <a:pt x="3077" y="5082"/>
                  <a:pt x="3107" y="4961"/>
                  <a:pt x="3156" y="4874"/>
                </a:cubicBezTo>
                <a:cubicBezTo>
                  <a:pt x="3205" y="4786"/>
                  <a:pt x="3272" y="4732"/>
                  <a:pt x="3347" y="4732"/>
                </a:cubicBezTo>
                <a:lnTo>
                  <a:pt x="13149" y="4732"/>
                </a:lnTo>
                <a:lnTo>
                  <a:pt x="13149" y="0"/>
                </a:lnTo>
                <a:lnTo>
                  <a:pt x="3479" y="0"/>
                </a:lnTo>
                <a:close/>
              </a:path>
            </a:pathLst>
          </a:custGeom>
          <a:solidFill>
            <a:schemeClr val="accent4"/>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19" name="Shape 7754">
            <a:extLst>
              <a:ext uri="{FF2B5EF4-FFF2-40B4-BE49-F238E27FC236}">
                <a16:creationId xmlns:a16="http://schemas.microsoft.com/office/drawing/2014/main" id="{1E535826-96D9-8A41-9D70-2E4B150725DE}"/>
              </a:ext>
            </a:extLst>
          </p:cNvPr>
          <p:cNvSpPr/>
          <p:nvPr/>
        </p:nvSpPr>
        <p:spPr>
          <a:xfrm rot="10800000">
            <a:off x="6412957" y="4507985"/>
            <a:ext cx="1457401" cy="734857"/>
          </a:xfrm>
          <a:prstGeom prst="rightArrow">
            <a:avLst>
              <a:gd name="adj1" fmla="val 42953"/>
              <a:gd name="adj2" fmla="val 64000"/>
            </a:avLst>
          </a:prstGeom>
          <a:solidFill>
            <a:schemeClr val="accent4"/>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17" name="Shape 7756">
            <a:extLst>
              <a:ext uri="{FF2B5EF4-FFF2-40B4-BE49-F238E27FC236}">
                <a16:creationId xmlns:a16="http://schemas.microsoft.com/office/drawing/2014/main" id="{BD9AD42B-7644-904B-BA2E-85B999A48031}"/>
              </a:ext>
            </a:extLst>
          </p:cNvPr>
          <p:cNvSpPr/>
          <p:nvPr/>
        </p:nvSpPr>
        <p:spPr>
          <a:xfrm>
            <a:off x="1943644" y="5627647"/>
            <a:ext cx="4300777" cy="734857"/>
          </a:xfrm>
          <a:prstGeom prst="rightArrow">
            <a:avLst>
              <a:gd name="adj1" fmla="val 42953"/>
              <a:gd name="adj2" fmla="val 64000"/>
            </a:avLst>
          </a:prstGeom>
          <a:solidFill>
            <a:schemeClr val="accent5"/>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40" name="TextBox 39">
            <a:extLst>
              <a:ext uri="{FF2B5EF4-FFF2-40B4-BE49-F238E27FC236}">
                <a16:creationId xmlns:a16="http://schemas.microsoft.com/office/drawing/2014/main" id="{726BCD4A-77BE-9943-8332-E9196ADBC5A8}"/>
              </a:ext>
            </a:extLst>
          </p:cNvPr>
          <p:cNvSpPr txBox="1"/>
          <p:nvPr/>
        </p:nvSpPr>
        <p:spPr>
          <a:xfrm>
            <a:off x="4656611" y="5825798"/>
            <a:ext cx="1111202" cy="338554"/>
          </a:xfrm>
          <a:prstGeom prst="rect">
            <a:avLst/>
          </a:prstGeom>
          <a:noFill/>
        </p:spPr>
        <p:txBody>
          <a:bodyPr wrap="none" rtlCol="0" anchor="ctr" anchorCtr="0">
            <a:spAutoFit/>
          </a:bodyPr>
          <a:lstStyle/>
          <a:p>
            <a:pPr algn="r"/>
            <a:r>
              <a:rPr lang="en-US" sz="1600" b="1" dirty="0">
                <a:solidFill>
                  <a:schemeClr val="bg1"/>
                </a:solidFill>
                <a:latin typeface="Segoe UI Light" panose="020B0502040204020203" pitchFamily="34" charset="0"/>
                <a:ea typeface="League Spartan" charset="0"/>
                <a:cs typeface="Poppins" pitchFamily="2" charset="77"/>
              </a:rPr>
              <a:t>STEP ONE</a:t>
            </a:r>
          </a:p>
        </p:txBody>
      </p:sp>
      <p:sp>
        <p:nvSpPr>
          <p:cNvPr id="41" name="TextBox 40">
            <a:extLst>
              <a:ext uri="{FF2B5EF4-FFF2-40B4-BE49-F238E27FC236}">
                <a16:creationId xmlns:a16="http://schemas.microsoft.com/office/drawing/2014/main" id="{64846965-429A-984B-9F39-F11346FEED04}"/>
              </a:ext>
            </a:extLst>
          </p:cNvPr>
          <p:cNvSpPr txBox="1"/>
          <p:nvPr/>
        </p:nvSpPr>
        <p:spPr>
          <a:xfrm>
            <a:off x="4539592" y="3588728"/>
            <a:ext cx="1228221" cy="338554"/>
          </a:xfrm>
          <a:prstGeom prst="rect">
            <a:avLst/>
          </a:prstGeom>
          <a:noFill/>
        </p:spPr>
        <p:txBody>
          <a:bodyPr wrap="none" rtlCol="0" anchor="ctr" anchorCtr="0">
            <a:spAutoFit/>
          </a:bodyPr>
          <a:lstStyle/>
          <a:p>
            <a:pPr algn="r"/>
            <a:r>
              <a:rPr lang="en-US" sz="1600" b="1" dirty="0">
                <a:solidFill>
                  <a:schemeClr val="bg1"/>
                </a:solidFill>
                <a:latin typeface="Segoe UI Light" panose="020B0502040204020203" pitchFamily="34" charset="0"/>
                <a:ea typeface="League Spartan" charset="0"/>
                <a:cs typeface="Poppins" pitchFamily="2" charset="77"/>
              </a:rPr>
              <a:t>STEP THREE</a:t>
            </a:r>
          </a:p>
        </p:txBody>
      </p:sp>
      <p:sp>
        <p:nvSpPr>
          <p:cNvPr id="42" name="TextBox 41">
            <a:extLst>
              <a:ext uri="{FF2B5EF4-FFF2-40B4-BE49-F238E27FC236}">
                <a16:creationId xmlns:a16="http://schemas.microsoft.com/office/drawing/2014/main" id="{3BA19D81-A7FC-9546-A6F8-A72E37707BDB}"/>
              </a:ext>
            </a:extLst>
          </p:cNvPr>
          <p:cNvSpPr txBox="1"/>
          <p:nvPr/>
        </p:nvSpPr>
        <p:spPr>
          <a:xfrm>
            <a:off x="6884008" y="4710791"/>
            <a:ext cx="1117101" cy="338554"/>
          </a:xfrm>
          <a:prstGeom prst="rect">
            <a:avLst/>
          </a:prstGeom>
          <a:noFill/>
        </p:spPr>
        <p:txBody>
          <a:bodyPr wrap="none" rtlCol="0" anchor="ctr" anchorCtr="0">
            <a:spAutoFit/>
          </a:bodyPr>
          <a:lstStyle/>
          <a:p>
            <a:r>
              <a:rPr lang="en-US" sz="1600" b="1" dirty="0">
                <a:solidFill>
                  <a:schemeClr val="bg1"/>
                </a:solidFill>
                <a:latin typeface="Segoe UI Light" panose="020B0502040204020203" pitchFamily="34" charset="0"/>
                <a:ea typeface="League Spartan" charset="0"/>
                <a:cs typeface="Poppins" pitchFamily="2" charset="77"/>
              </a:rPr>
              <a:t>STEP TWO</a:t>
            </a:r>
          </a:p>
        </p:txBody>
      </p:sp>
      <p:sp>
        <p:nvSpPr>
          <p:cNvPr id="43" name="TextBox 42">
            <a:extLst>
              <a:ext uri="{FF2B5EF4-FFF2-40B4-BE49-F238E27FC236}">
                <a16:creationId xmlns:a16="http://schemas.microsoft.com/office/drawing/2014/main" id="{74B1FF08-0EEF-1648-BB34-A26399C0C5A4}"/>
              </a:ext>
            </a:extLst>
          </p:cNvPr>
          <p:cNvSpPr txBox="1"/>
          <p:nvPr/>
        </p:nvSpPr>
        <p:spPr>
          <a:xfrm>
            <a:off x="6884008" y="2473720"/>
            <a:ext cx="1164101" cy="338554"/>
          </a:xfrm>
          <a:prstGeom prst="rect">
            <a:avLst/>
          </a:prstGeom>
          <a:noFill/>
        </p:spPr>
        <p:txBody>
          <a:bodyPr wrap="none" rtlCol="0" anchor="ctr" anchorCtr="0">
            <a:spAutoFit/>
          </a:bodyPr>
          <a:lstStyle/>
          <a:p>
            <a:r>
              <a:rPr lang="en-US" sz="1600" b="1" dirty="0">
                <a:solidFill>
                  <a:schemeClr val="bg1"/>
                </a:solidFill>
                <a:latin typeface="Segoe UI Light" panose="020B0502040204020203" pitchFamily="34" charset="0"/>
                <a:ea typeface="League Spartan" charset="0"/>
                <a:cs typeface="Poppins" pitchFamily="2" charset="77"/>
              </a:rPr>
              <a:t>STEP FOUR</a:t>
            </a:r>
          </a:p>
        </p:txBody>
      </p:sp>
      <p:sp>
        <p:nvSpPr>
          <p:cNvPr id="44" name="TextBox 43">
            <a:extLst>
              <a:ext uri="{FF2B5EF4-FFF2-40B4-BE49-F238E27FC236}">
                <a16:creationId xmlns:a16="http://schemas.microsoft.com/office/drawing/2014/main" id="{F890049E-CEA9-124D-974D-F8EDBADFB47F}"/>
              </a:ext>
            </a:extLst>
          </p:cNvPr>
          <p:cNvSpPr txBox="1"/>
          <p:nvPr/>
        </p:nvSpPr>
        <p:spPr>
          <a:xfrm>
            <a:off x="8489740" y="1338271"/>
            <a:ext cx="1032654" cy="338554"/>
          </a:xfrm>
          <a:prstGeom prst="rect">
            <a:avLst/>
          </a:prstGeom>
          <a:noFill/>
        </p:spPr>
        <p:txBody>
          <a:bodyPr wrap="none" rtlCol="0" anchor="ctr" anchorCtr="0">
            <a:spAutoFit/>
          </a:bodyPr>
          <a:lstStyle/>
          <a:p>
            <a:pPr algn="r"/>
            <a:r>
              <a:rPr lang="en-US" sz="1600" b="1" dirty="0">
                <a:solidFill>
                  <a:schemeClr val="bg1"/>
                </a:solidFill>
                <a:latin typeface="Segoe UI Light" panose="020B0502040204020203" pitchFamily="34" charset="0"/>
                <a:ea typeface="League Spartan" charset="0"/>
                <a:cs typeface="Poppins" pitchFamily="2" charset="77"/>
              </a:rPr>
              <a:t>STEP FIVE</a:t>
            </a:r>
          </a:p>
        </p:txBody>
      </p:sp>
      <p:sp>
        <p:nvSpPr>
          <p:cNvPr id="45" name="TextBox 44">
            <a:extLst>
              <a:ext uri="{FF2B5EF4-FFF2-40B4-BE49-F238E27FC236}">
                <a16:creationId xmlns:a16="http://schemas.microsoft.com/office/drawing/2014/main" id="{14975C0C-0A34-A041-9F93-2FFC7D585107}"/>
              </a:ext>
            </a:extLst>
          </p:cNvPr>
          <p:cNvSpPr txBox="1"/>
          <p:nvPr/>
        </p:nvSpPr>
        <p:spPr>
          <a:xfrm>
            <a:off x="8440224" y="4769515"/>
            <a:ext cx="1199880" cy="338554"/>
          </a:xfrm>
          <a:prstGeom prst="rect">
            <a:avLst/>
          </a:prstGeom>
          <a:noFill/>
        </p:spPr>
        <p:txBody>
          <a:bodyPr wrap="none" rtlCol="0" anchor="ctr"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MILESTONE</a:t>
            </a:r>
          </a:p>
        </p:txBody>
      </p:sp>
      <p:sp>
        <p:nvSpPr>
          <p:cNvPr id="46" name="Subtitle 2">
            <a:extLst>
              <a:ext uri="{FF2B5EF4-FFF2-40B4-BE49-F238E27FC236}">
                <a16:creationId xmlns:a16="http://schemas.microsoft.com/office/drawing/2014/main" id="{F617266D-6A9F-2F4F-9680-10763EAE6F8D}"/>
              </a:ext>
            </a:extLst>
          </p:cNvPr>
          <p:cNvSpPr txBox="1">
            <a:spLocks/>
          </p:cNvSpPr>
          <p:nvPr/>
        </p:nvSpPr>
        <p:spPr>
          <a:xfrm>
            <a:off x="8440224" y="5135348"/>
            <a:ext cx="2741836" cy="715773"/>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a:t>
            </a:r>
          </a:p>
        </p:txBody>
      </p:sp>
      <p:sp>
        <p:nvSpPr>
          <p:cNvPr id="47" name="TextBox 46">
            <a:extLst>
              <a:ext uri="{FF2B5EF4-FFF2-40B4-BE49-F238E27FC236}">
                <a16:creationId xmlns:a16="http://schemas.microsoft.com/office/drawing/2014/main" id="{38C045BA-11B0-BB46-8B4D-DEA94D86210B}"/>
              </a:ext>
            </a:extLst>
          </p:cNvPr>
          <p:cNvSpPr txBox="1"/>
          <p:nvPr/>
        </p:nvSpPr>
        <p:spPr>
          <a:xfrm>
            <a:off x="8832110" y="2540760"/>
            <a:ext cx="1199880" cy="338554"/>
          </a:xfrm>
          <a:prstGeom prst="rect">
            <a:avLst/>
          </a:prstGeom>
          <a:noFill/>
        </p:spPr>
        <p:txBody>
          <a:bodyPr wrap="none" rtlCol="0" anchor="ctr"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MILESTONE</a:t>
            </a:r>
          </a:p>
        </p:txBody>
      </p:sp>
      <p:sp>
        <p:nvSpPr>
          <p:cNvPr id="48" name="Subtitle 2">
            <a:extLst>
              <a:ext uri="{FF2B5EF4-FFF2-40B4-BE49-F238E27FC236}">
                <a16:creationId xmlns:a16="http://schemas.microsoft.com/office/drawing/2014/main" id="{3DFC2EA2-3664-DE49-BABB-9EF8F405D107}"/>
              </a:ext>
            </a:extLst>
          </p:cNvPr>
          <p:cNvSpPr txBox="1">
            <a:spLocks/>
          </p:cNvSpPr>
          <p:nvPr/>
        </p:nvSpPr>
        <p:spPr>
          <a:xfrm>
            <a:off x="8832110" y="2906592"/>
            <a:ext cx="2741836" cy="715773"/>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a:t>
            </a:r>
          </a:p>
        </p:txBody>
      </p:sp>
      <p:sp>
        <p:nvSpPr>
          <p:cNvPr id="49" name="TextBox 48">
            <a:extLst>
              <a:ext uri="{FF2B5EF4-FFF2-40B4-BE49-F238E27FC236}">
                <a16:creationId xmlns:a16="http://schemas.microsoft.com/office/drawing/2014/main" id="{46F9C515-D368-3341-A23C-7AB2866242D5}"/>
              </a:ext>
            </a:extLst>
          </p:cNvPr>
          <p:cNvSpPr txBox="1"/>
          <p:nvPr/>
        </p:nvSpPr>
        <p:spPr>
          <a:xfrm>
            <a:off x="2594482" y="3618339"/>
            <a:ext cx="1199880" cy="338554"/>
          </a:xfrm>
          <a:prstGeom prst="rect">
            <a:avLst/>
          </a:prstGeom>
          <a:noFill/>
        </p:spPr>
        <p:txBody>
          <a:bodyPr wrap="none" rtlCol="0" anchor="ctr"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MILESTONE</a:t>
            </a:r>
          </a:p>
        </p:txBody>
      </p:sp>
      <p:sp>
        <p:nvSpPr>
          <p:cNvPr id="50" name="Subtitle 2">
            <a:extLst>
              <a:ext uri="{FF2B5EF4-FFF2-40B4-BE49-F238E27FC236}">
                <a16:creationId xmlns:a16="http://schemas.microsoft.com/office/drawing/2014/main" id="{049F9D78-0FF0-2E45-94B3-E1FC28A6A27D}"/>
              </a:ext>
            </a:extLst>
          </p:cNvPr>
          <p:cNvSpPr txBox="1">
            <a:spLocks/>
          </p:cNvSpPr>
          <p:nvPr/>
        </p:nvSpPr>
        <p:spPr>
          <a:xfrm>
            <a:off x="1076699" y="3984171"/>
            <a:ext cx="2741836" cy="715773"/>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a:t>
            </a:r>
          </a:p>
        </p:txBody>
      </p:sp>
      <p:sp>
        <p:nvSpPr>
          <p:cNvPr id="51" name="TextBox 50">
            <a:extLst>
              <a:ext uri="{FF2B5EF4-FFF2-40B4-BE49-F238E27FC236}">
                <a16:creationId xmlns:a16="http://schemas.microsoft.com/office/drawing/2014/main" id="{7285E4BD-903A-C24C-B50C-70B682CD963F}"/>
              </a:ext>
            </a:extLst>
          </p:cNvPr>
          <p:cNvSpPr txBox="1"/>
          <p:nvPr/>
        </p:nvSpPr>
        <p:spPr>
          <a:xfrm>
            <a:off x="3059094" y="1367606"/>
            <a:ext cx="1199880" cy="338554"/>
          </a:xfrm>
          <a:prstGeom prst="rect">
            <a:avLst/>
          </a:prstGeom>
          <a:noFill/>
        </p:spPr>
        <p:txBody>
          <a:bodyPr wrap="none" rtlCol="0" anchor="ctr"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MILESTONE</a:t>
            </a:r>
          </a:p>
        </p:txBody>
      </p:sp>
      <p:sp>
        <p:nvSpPr>
          <p:cNvPr id="52" name="Subtitle 2">
            <a:extLst>
              <a:ext uri="{FF2B5EF4-FFF2-40B4-BE49-F238E27FC236}">
                <a16:creationId xmlns:a16="http://schemas.microsoft.com/office/drawing/2014/main" id="{BB48705D-3C6D-6E46-B7B2-91329537BFA3}"/>
              </a:ext>
            </a:extLst>
          </p:cNvPr>
          <p:cNvSpPr txBox="1">
            <a:spLocks/>
          </p:cNvSpPr>
          <p:nvPr/>
        </p:nvSpPr>
        <p:spPr>
          <a:xfrm>
            <a:off x="1541311" y="1733438"/>
            <a:ext cx="2741836" cy="983539"/>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 Aenean commodo ligula eget dolor. Aenean massa.</a:t>
            </a:r>
          </a:p>
          <a:p>
            <a:pPr algn="r">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a:t>
            </a:r>
          </a:p>
        </p:txBody>
      </p:sp>
      <p:sp>
        <p:nvSpPr>
          <p:cNvPr id="26" name="Titel 1">
            <a:extLst>
              <a:ext uri="{FF2B5EF4-FFF2-40B4-BE49-F238E27FC236}">
                <a16:creationId xmlns:a16="http://schemas.microsoft.com/office/drawing/2014/main" id="{B02D5C3D-95D8-4D6D-A53E-D9D2AB416538}"/>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Milestones</a:t>
            </a:r>
          </a:p>
        </p:txBody>
      </p:sp>
    </p:spTree>
    <p:custDataLst>
      <p:tags r:id="rId1"/>
    </p:custDataLst>
    <p:extLst>
      <p:ext uri="{BB962C8B-B14F-4D97-AF65-F5344CB8AC3E}">
        <p14:creationId xmlns:p14="http://schemas.microsoft.com/office/powerpoint/2010/main" val="277521660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9916D2-D050-44BC-B276-15C224E568CF}"/>
              </a:ext>
            </a:extLst>
          </p:cNvPr>
          <p:cNvSpPr>
            <a:spLocks noGrp="1"/>
          </p:cNvSpPr>
          <p:nvPr>
            <p:ph type="title"/>
          </p:nvPr>
        </p:nvSpPr>
        <p:spPr/>
        <p:txBody>
          <a:bodyPr/>
          <a:lstStyle/>
          <a:p>
            <a:r>
              <a:rPr lang="en-US" sz="3000" dirty="0"/>
              <a:t>Ring chart with text</a:t>
            </a:r>
          </a:p>
        </p:txBody>
      </p:sp>
      <p:graphicFrame>
        <p:nvGraphicFramePr>
          <p:cNvPr id="5" name="Diagramm 4">
            <a:extLst>
              <a:ext uri="{FF2B5EF4-FFF2-40B4-BE49-F238E27FC236}">
                <a16:creationId xmlns:a16="http://schemas.microsoft.com/office/drawing/2014/main" id="{20AF0D77-59B9-4C2F-8A6D-5C0C966C0804}"/>
              </a:ext>
            </a:extLst>
          </p:cNvPr>
          <p:cNvGraphicFramePr/>
          <p:nvPr/>
        </p:nvGraphicFramePr>
        <p:xfrm>
          <a:off x="458399" y="1387800"/>
          <a:ext cx="7339451" cy="5054400"/>
        </p:xfrm>
        <a:graphic>
          <a:graphicData uri="http://schemas.openxmlformats.org/drawingml/2006/chart">
            <c:chart xmlns:c="http://schemas.openxmlformats.org/drawingml/2006/chart" xmlns:r="http://schemas.openxmlformats.org/officeDocument/2006/relationships" r:id="rId4"/>
          </a:graphicData>
        </a:graphic>
      </p:graphicFrame>
      <p:sp>
        <p:nvSpPr>
          <p:cNvPr id="6" name="MIO_TEXTBOX_BODY">
            <a:extLst>
              <a:ext uri="{FF2B5EF4-FFF2-40B4-BE49-F238E27FC236}">
                <a16:creationId xmlns:a16="http://schemas.microsoft.com/office/drawing/2014/main" id="{AD9EFCDA-C09A-47B7-81C6-A7C1C6C7597C}"/>
              </a:ext>
            </a:extLst>
          </p:cNvPr>
          <p:cNvSpPr txBox="1"/>
          <p:nvPr/>
        </p:nvSpPr>
        <p:spPr>
          <a:xfrm>
            <a:off x="8234509" y="1832183"/>
            <a:ext cx="3499090" cy="4610017"/>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dirty="0"/>
              <a:t>Lorem ipsum dolor sit amet, consectetuer adipiscing elit. Aenean commodo ligula eget dolor. Aenean massa. Cum sociis natoque penatibus et magnis dis parturient montes, nascetur ridiculus mus. </a:t>
            </a:r>
          </a:p>
          <a:p>
            <a:pPr marL="0" indent="0">
              <a:buSzPct val="100000"/>
              <a:buNone/>
            </a:pPr>
            <a:r>
              <a:rPr lang="en-US" dirty="0"/>
              <a:t>Donec quam felis, ultricies nec, pellentesque eu, pretium quis, sem. Nulla consequat massa quis enim. Donec pede justo, fringilla vel, aliquet nec, vulputate eget, arcu. </a:t>
            </a:r>
          </a:p>
          <a:p>
            <a:pPr marL="0" indent="0">
              <a:buSzPct val="100000"/>
              <a:buNone/>
            </a:pPr>
            <a:r>
              <a:rPr lang="en-US" dirty="0"/>
              <a:t>Lorem ipsum dolor sit amet, consectetuer adipiscing elit. Aenean commodo ligula eget dolor. Aenean massa. </a:t>
            </a:r>
          </a:p>
        </p:txBody>
      </p:sp>
      <p:sp>
        <p:nvSpPr>
          <p:cNvPr id="8" name="MIO_TEXTBOX_HEADER">
            <a:extLst>
              <a:ext uri="{FF2B5EF4-FFF2-40B4-BE49-F238E27FC236}">
                <a16:creationId xmlns:a16="http://schemas.microsoft.com/office/drawing/2014/main" id="{FEE1332A-8AE6-447D-A577-9A4C197AFBE0}"/>
              </a:ext>
            </a:extLst>
          </p:cNvPr>
          <p:cNvSpPr txBox="1"/>
          <p:nvPr/>
        </p:nvSpPr>
        <p:spPr>
          <a:xfrm>
            <a:off x="8234508" y="1387800"/>
            <a:ext cx="3499090" cy="336068"/>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800" dirty="0">
                <a:solidFill>
                  <a:schemeClr val="dk1"/>
                </a:solidFill>
              </a:rPr>
              <a:t>Lorem ipsum dolor sit amet</a:t>
            </a:r>
          </a:p>
        </p:txBody>
      </p:sp>
    </p:spTree>
    <p:custDataLst>
      <p:tags r:id="rId1"/>
    </p:custDataLst>
    <p:extLst>
      <p:ext uri="{BB962C8B-B14F-4D97-AF65-F5344CB8AC3E}">
        <p14:creationId xmlns:p14="http://schemas.microsoft.com/office/powerpoint/2010/main" val="1505019201"/>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Sky">
            <a:extLst>
              <a:ext uri="{FF2B5EF4-FFF2-40B4-BE49-F238E27FC236}">
                <a16:creationId xmlns:a16="http://schemas.microsoft.com/office/drawing/2014/main" id="{416A2D6D-DC12-4300-B290-27D1DB5D5ECD}"/>
              </a:ext>
            </a:extLst>
          </p:cNvPr>
          <p:cNvPicPr>
            <a:picLocks noGrp="1" noChangeAspect="1"/>
          </p:cNvPicPr>
          <p:nvPr>
            <p:ph type="pic" sz="quarter" idx="13"/>
            <p:custDataLst>
              <p:tags r:id="rId1"/>
            </p:custDataLst>
          </p:nvPr>
        </p:nvPicPr>
        <p:blipFill>
          <a:blip r:embed="rId3" cstate="screen">
            <a:extLst>
              <a:ext uri="{28A0092B-C50C-407E-A947-70E740481C1C}">
                <a14:useLocalDpi xmlns:a14="http://schemas.microsoft.com/office/drawing/2010/main"/>
              </a:ext>
            </a:extLst>
          </a:blip>
          <a:srcRect t="8408" b="8408"/>
          <a:stretch>
            <a:fillRect/>
          </a:stretch>
        </p:blipFill>
        <p:spPr>
          <a:xfrm>
            <a:off x="1" y="96839"/>
            <a:ext cx="12191345" cy="6760799"/>
          </a:xfrm>
          <a:prstGeom prst="rect">
            <a:avLst/>
          </a:prstGeom>
        </p:spPr>
      </p:pic>
      <p:sp>
        <p:nvSpPr>
          <p:cNvPr id="4" name="Text Placeholder 3">
            <a:extLst>
              <a:ext uri="{FF2B5EF4-FFF2-40B4-BE49-F238E27FC236}">
                <a16:creationId xmlns:a16="http://schemas.microsoft.com/office/drawing/2014/main" id="{735B18BC-B4A1-4648-89F5-9C05BECF2C1C}"/>
              </a:ext>
            </a:extLst>
          </p:cNvPr>
          <p:cNvSpPr>
            <a:spLocks noGrp="1"/>
          </p:cNvSpPr>
          <p:nvPr>
            <p:ph type="body" sz="quarter" idx="14"/>
          </p:nvPr>
        </p:nvSpPr>
        <p:spPr>
          <a:xfrm>
            <a:off x="0" y="3914775"/>
            <a:ext cx="7679538" cy="738664"/>
          </a:xfrm>
        </p:spPr>
        <p:txBody>
          <a:bodyPr/>
          <a:lstStyle/>
          <a:p>
            <a:r>
              <a:rPr lang="de-DE" dirty="0"/>
              <a:t>Percentage Infographics</a:t>
            </a:r>
            <a:endParaRPr lang="en-US" dirty="0"/>
          </a:p>
        </p:txBody>
      </p:sp>
    </p:spTree>
    <p:extLst>
      <p:ext uri="{BB962C8B-B14F-4D97-AF65-F5344CB8AC3E}">
        <p14:creationId xmlns:p14="http://schemas.microsoft.com/office/powerpoint/2010/main" val="563543312"/>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536923B-0418-485A-AB4D-D027AF409C0F}"/>
              </a:ext>
            </a:extLst>
          </p:cNvPr>
          <p:cNvSpPr>
            <a:spLocks noGrp="1"/>
          </p:cNvSpPr>
          <p:nvPr>
            <p:ph type="title"/>
          </p:nvPr>
        </p:nvSpPr>
        <p:spPr/>
        <p:txBody>
          <a:bodyPr/>
          <a:lstStyle/>
          <a:p>
            <a:r>
              <a:rPr lang="en-US" sz="3000" dirty="0"/>
              <a:t>Business infographic</a:t>
            </a:r>
          </a:p>
        </p:txBody>
      </p:sp>
      <p:grpSp>
        <p:nvGrpSpPr>
          <p:cNvPr id="22" name="Group 38">
            <a:extLst>
              <a:ext uri="{FF2B5EF4-FFF2-40B4-BE49-F238E27FC236}">
                <a16:creationId xmlns:a16="http://schemas.microsoft.com/office/drawing/2014/main" id="{55009B73-E9D9-4175-AA73-CD53EC27344B}"/>
              </a:ext>
            </a:extLst>
          </p:cNvPr>
          <p:cNvGrpSpPr/>
          <p:nvPr/>
        </p:nvGrpSpPr>
        <p:grpSpPr>
          <a:xfrm>
            <a:off x="816079" y="2922661"/>
            <a:ext cx="10613922" cy="2251552"/>
            <a:chOff x="4830762" y="4308387"/>
            <a:chExt cx="14672084" cy="3112418"/>
          </a:xfrm>
        </p:grpSpPr>
        <p:sp>
          <p:nvSpPr>
            <p:cNvPr id="24" name="Shape 60650">
              <a:extLst>
                <a:ext uri="{FF2B5EF4-FFF2-40B4-BE49-F238E27FC236}">
                  <a16:creationId xmlns:a16="http://schemas.microsoft.com/office/drawing/2014/main" id="{471AE2A5-A284-4E7A-A90F-816782DAC6EB}"/>
                </a:ext>
              </a:extLst>
            </p:cNvPr>
            <p:cNvSpPr/>
            <p:nvPr/>
          </p:nvSpPr>
          <p:spPr>
            <a:xfrm>
              <a:off x="4830762" y="4674405"/>
              <a:ext cx="2556867" cy="2051190"/>
            </a:xfrm>
            <a:custGeom>
              <a:avLst/>
              <a:gdLst/>
              <a:ahLst/>
              <a:cxnLst>
                <a:cxn ang="0">
                  <a:pos x="wd2" y="hd2"/>
                </a:cxn>
                <a:cxn ang="5400000">
                  <a:pos x="wd2" y="hd2"/>
                </a:cxn>
                <a:cxn ang="10800000">
                  <a:pos x="wd2" y="hd2"/>
                </a:cxn>
                <a:cxn ang="16200000">
                  <a:pos x="wd2" y="hd2"/>
                </a:cxn>
              </a:cxnLst>
              <a:rect l="0" t="0" r="r" b="b"/>
              <a:pathLst>
                <a:path w="21600" h="21584" extrusionOk="0">
                  <a:moveTo>
                    <a:pt x="4391" y="1"/>
                  </a:moveTo>
                  <a:cubicBezTo>
                    <a:pt x="3897" y="24"/>
                    <a:pt x="3536" y="402"/>
                    <a:pt x="3309" y="941"/>
                  </a:cubicBezTo>
                  <a:cubicBezTo>
                    <a:pt x="3078" y="1486"/>
                    <a:pt x="2989" y="2182"/>
                    <a:pt x="2964" y="2866"/>
                  </a:cubicBezTo>
                  <a:cubicBezTo>
                    <a:pt x="2906" y="4467"/>
                    <a:pt x="2806" y="6093"/>
                    <a:pt x="2658" y="7730"/>
                  </a:cubicBezTo>
                  <a:cubicBezTo>
                    <a:pt x="2231" y="12464"/>
                    <a:pt x="1326" y="17166"/>
                    <a:pt x="0" y="21584"/>
                  </a:cubicBezTo>
                  <a:lnTo>
                    <a:pt x="21600" y="21584"/>
                  </a:lnTo>
                  <a:cubicBezTo>
                    <a:pt x="20893" y="20802"/>
                    <a:pt x="20347" y="19825"/>
                    <a:pt x="19977" y="18742"/>
                  </a:cubicBezTo>
                  <a:cubicBezTo>
                    <a:pt x="19253" y="16623"/>
                    <a:pt x="19315" y="14151"/>
                    <a:pt x="18899" y="12027"/>
                  </a:cubicBezTo>
                  <a:cubicBezTo>
                    <a:pt x="18749" y="11257"/>
                    <a:pt x="18485" y="10559"/>
                    <a:pt x="17869" y="10516"/>
                  </a:cubicBezTo>
                  <a:cubicBezTo>
                    <a:pt x="17356" y="10481"/>
                    <a:pt x="16987" y="11049"/>
                    <a:pt x="16800" y="11677"/>
                  </a:cubicBezTo>
                  <a:cubicBezTo>
                    <a:pt x="16443" y="12874"/>
                    <a:pt x="16337" y="14376"/>
                    <a:pt x="16068" y="15578"/>
                  </a:cubicBezTo>
                  <a:cubicBezTo>
                    <a:pt x="15834" y="16621"/>
                    <a:pt x="15488" y="17409"/>
                    <a:pt x="14547" y="17462"/>
                  </a:cubicBezTo>
                  <a:cubicBezTo>
                    <a:pt x="13933" y="17496"/>
                    <a:pt x="13413" y="16990"/>
                    <a:pt x="13046" y="16367"/>
                  </a:cubicBezTo>
                  <a:cubicBezTo>
                    <a:pt x="11571" y="13865"/>
                    <a:pt x="12480" y="10515"/>
                    <a:pt x="12143" y="7496"/>
                  </a:cubicBezTo>
                  <a:cubicBezTo>
                    <a:pt x="12009" y="6297"/>
                    <a:pt x="11405" y="5230"/>
                    <a:pt x="10620" y="5514"/>
                  </a:cubicBezTo>
                  <a:cubicBezTo>
                    <a:pt x="10174" y="5675"/>
                    <a:pt x="9971" y="6265"/>
                    <a:pt x="9849" y="6835"/>
                  </a:cubicBezTo>
                  <a:cubicBezTo>
                    <a:pt x="9566" y="8170"/>
                    <a:pt x="9523" y="9544"/>
                    <a:pt x="9462" y="10922"/>
                  </a:cubicBezTo>
                  <a:cubicBezTo>
                    <a:pt x="9403" y="12253"/>
                    <a:pt x="9327" y="13592"/>
                    <a:pt x="9014" y="14869"/>
                  </a:cubicBezTo>
                  <a:cubicBezTo>
                    <a:pt x="8877" y="15422"/>
                    <a:pt x="8692" y="15930"/>
                    <a:pt x="8241" y="16098"/>
                  </a:cubicBezTo>
                  <a:cubicBezTo>
                    <a:pt x="7474" y="16383"/>
                    <a:pt x="6927" y="15304"/>
                    <a:pt x="6750" y="14130"/>
                  </a:cubicBezTo>
                  <a:cubicBezTo>
                    <a:pt x="6185" y="10376"/>
                    <a:pt x="5939" y="6572"/>
                    <a:pt x="5799" y="2758"/>
                  </a:cubicBezTo>
                  <a:cubicBezTo>
                    <a:pt x="5769" y="1935"/>
                    <a:pt x="5684" y="1124"/>
                    <a:pt x="5335" y="560"/>
                  </a:cubicBezTo>
                  <a:cubicBezTo>
                    <a:pt x="5111" y="197"/>
                    <a:pt x="4778" y="-16"/>
                    <a:pt x="4391" y="1"/>
                  </a:cubicBezTo>
                  <a:close/>
                </a:path>
              </a:pathLst>
            </a:custGeom>
            <a:solidFill>
              <a:schemeClr val="accent1">
                <a:alpha val="85000"/>
              </a:schemeClr>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28" name="Shape 60651">
              <a:extLst>
                <a:ext uri="{FF2B5EF4-FFF2-40B4-BE49-F238E27FC236}">
                  <a16:creationId xmlns:a16="http://schemas.microsoft.com/office/drawing/2014/main" id="{E218240E-D13F-46D8-A21F-CFF5C4266DC5}"/>
                </a:ext>
              </a:extLst>
            </p:cNvPr>
            <p:cNvSpPr/>
            <p:nvPr/>
          </p:nvSpPr>
          <p:spPr>
            <a:xfrm>
              <a:off x="6671845" y="4509022"/>
              <a:ext cx="3518828" cy="2216642"/>
            </a:xfrm>
            <a:custGeom>
              <a:avLst/>
              <a:gdLst/>
              <a:ahLst/>
              <a:cxnLst>
                <a:cxn ang="0">
                  <a:pos x="wd2" y="hd2"/>
                </a:cxn>
                <a:cxn ang="5400000">
                  <a:pos x="wd2" y="hd2"/>
                </a:cxn>
                <a:cxn ang="10800000">
                  <a:pos x="wd2" y="hd2"/>
                </a:cxn>
                <a:cxn ang="16200000">
                  <a:pos x="wd2" y="hd2"/>
                </a:cxn>
              </a:cxnLst>
              <a:rect l="0" t="0" r="r" b="b"/>
              <a:pathLst>
                <a:path w="21600" h="21463" extrusionOk="0">
                  <a:moveTo>
                    <a:pt x="14430" y="10"/>
                  </a:moveTo>
                  <a:cubicBezTo>
                    <a:pt x="13582" y="-137"/>
                    <a:pt x="13124" y="1365"/>
                    <a:pt x="12973" y="2869"/>
                  </a:cubicBezTo>
                  <a:cubicBezTo>
                    <a:pt x="12634" y="6243"/>
                    <a:pt x="12510" y="9714"/>
                    <a:pt x="11656" y="12861"/>
                  </a:cubicBezTo>
                  <a:cubicBezTo>
                    <a:pt x="11310" y="14132"/>
                    <a:pt x="10848" y="15329"/>
                    <a:pt x="10198" y="16261"/>
                  </a:cubicBezTo>
                  <a:cubicBezTo>
                    <a:pt x="9115" y="17816"/>
                    <a:pt x="7653" y="18466"/>
                    <a:pt x="6188" y="18435"/>
                  </a:cubicBezTo>
                  <a:cubicBezTo>
                    <a:pt x="3984" y="18390"/>
                    <a:pt x="1434" y="17360"/>
                    <a:pt x="276" y="20277"/>
                  </a:cubicBezTo>
                  <a:cubicBezTo>
                    <a:pt x="131" y="20642"/>
                    <a:pt x="49" y="21045"/>
                    <a:pt x="0" y="21463"/>
                  </a:cubicBezTo>
                  <a:lnTo>
                    <a:pt x="21600" y="21463"/>
                  </a:lnTo>
                  <a:cubicBezTo>
                    <a:pt x="19162" y="19103"/>
                    <a:pt x="17323" y="15334"/>
                    <a:pt x="16547" y="10821"/>
                  </a:cubicBezTo>
                  <a:cubicBezTo>
                    <a:pt x="16056" y="7967"/>
                    <a:pt x="16045" y="4955"/>
                    <a:pt x="15540" y="2106"/>
                  </a:cubicBezTo>
                  <a:cubicBezTo>
                    <a:pt x="15366" y="1121"/>
                    <a:pt x="15049" y="118"/>
                    <a:pt x="14430" y="10"/>
                  </a:cubicBezTo>
                  <a:close/>
                </a:path>
              </a:pathLst>
            </a:custGeom>
            <a:solidFill>
              <a:schemeClr val="accent2">
                <a:alpha val="85000"/>
              </a:schemeClr>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29" name="Shape 60652">
              <a:extLst>
                <a:ext uri="{FF2B5EF4-FFF2-40B4-BE49-F238E27FC236}">
                  <a16:creationId xmlns:a16="http://schemas.microsoft.com/office/drawing/2014/main" id="{0B21C914-58C0-4F0A-85D2-4668A878BA4F}"/>
                </a:ext>
              </a:extLst>
            </p:cNvPr>
            <p:cNvSpPr/>
            <p:nvPr/>
          </p:nvSpPr>
          <p:spPr>
            <a:xfrm>
              <a:off x="9243879" y="4839600"/>
              <a:ext cx="3209241" cy="1886346"/>
            </a:xfrm>
            <a:custGeom>
              <a:avLst/>
              <a:gdLst/>
              <a:ahLst/>
              <a:cxnLst>
                <a:cxn ang="0">
                  <a:pos x="wd2" y="hd2"/>
                </a:cxn>
                <a:cxn ang="5400000">
                  <a:pos x="wd2" y="hd2"/>
                </a:cxn>
                <a:cxn ang="10800000">
                  <a:pos x="wd2" y="hd2"/>
                </a:cxn>
                <a:cxn ang="16200000">
                  <a:pos x="wd2" y="hd2"/>
                </a:cxn>
              </a:cxnLst>
              <a:rect l="0" t="0" r="r" b="b"/>
              <a:pathLst>
                <a:path w="21600" h="21516" extrusionOk="0">
                  <a:moveTo>
                    <a:pt x="10539" y="30"/>
                  </a:moveTo>
                  <a:cubicBezTo>
                    <a:pt x="9334" y="394"/>
                    <a:pt x="9199" y="2915"/>
                    <a:pt x="8830" y="4939"/>
                  </a:cubicBezTo>
                  <a:cubicBezTo>
                    <a:pt x="8655" y="5902"/>
                    <a:pt x="8301" y="6767"/>
                    <a:pt x="7776" y="6852"/>
                  </a:cubicBezTo>
                  <a:cubicBezTo>
                    <a:pt x="7277" y="6933"/>
                    <a:pt x="6873" y="6295"/>
                    <a:pt x="6659" y="5458"/>
                  </a:cubicBezTo>
                  <a:cubicBezTo>
                    <a:pt x="6178" y="3573"/>
                    <a:pt x="5937" y="969"/>
                    <a:pt x="4892" y="1654"/>
                  </a:cubicBezTo>
                  <a:cubicBezTo>
                    <a:pt x="4593" y="1850"/>
                    <a:pt x="4431" y="2358"/>
                    <a:pt x="4303" y="2858"/>
                  </a:cubicBezTo>
                  <a:cubicBezTo>
                    <a:pt x="3887" y="4493"/>
                    <a:pt x="3670" y="6237"/>
                    <a:pt x="3402" y="7957"/>
                  </a:cubicBezTo>
                  <a:cubicBezTo>
                    <a:pt x="3134" y="9682"/>
                    <a:pt x="2814" y="11383"/>
                    <a:pt x="2442" y="13052"/>
                  </a:cubicBezTo>
                  <a:cubicBezTo>
                    <a:pt x="1786" y="15996"/>
                    <a:pt x="966" y="18827"/>
                    <a:pt x="0" y="21516"/>
                  </a:cubicBezTo>
                  <a:lnTo>
                    <a:pt x="21600" y="21516"/>
                  </a:lnTo>
                  <a:cubicBezTo>
                    <a:pt x="20789" y="20336"/>
                    <a:pt x="20111" y="18953"/>
                    <a:pt x="19580" y="17430"/>
                  </a:cubicBezTo>
                  <a:cubicBezTo>
                    <a:pt x="18991" y="15742"/>
                    <a:pt x="18580" y="13870"/>
                    <a:pt x="18328" y="11899"/>
                  </a:cubicBezTo>
                  <a:cubicBezTo>
                    <a:pt x="17923" y="8737"/>
                    <a:pt x="17129" y="5341"/>
                    <a:pt x="15507" y="5929"/>
                  </a:cubicBezTo>
                  <a:cubicBezTo>
                    <a:pt x="15154" y="6057"/>
                    <a:pt x="14858" y="6435"/>
                    <a:pt x="14523" y="6664"/>
                  </a:cubicBezTo>
                  <a:cubicBezTo>
                    <a:pt x="14056" y="6984"/>
                    <a:pt x="13722" y="7193"/>
                    <a:pt x="13412" y="6948"/>
                  </a:cubicBezTo>
                  <a:cubicBezTo>
                    <a:pt x="13081" y="6685"/>
                    <a:pt x="12830" y="6010"/>
                    <a:pt x="12652" y="5187"/>
                  </a:cubicBezTo>
                  <a:cubicBezTo>
                    <a:pt x="12304" y="3584"/>
                    <a:pt x="12170" y="1484"/>
                    <a:pt x="11583" y="569"/>
                  </a:cubicBezTo>
                  <a:cubicBezTo>
                    <a:pt x="11300" y="128"/>
                    <a:pt x="10917" y="-84"/>
                    <a:pt x="10539" y="30"/>
                  </a:cubicBezTo>
                  <a:close/>
                </a:path>
              </a:pathLst>
            </a:custGeom>
            <a:solidFill>
              <a:schemeClr val="accent3">
                <a:alpha val="85000"/>
              </a:schemeClr>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30" name="Shape 60653">
              <a:extLst>
                <a:ext uri="{FF2B5EF4-FFF2-40B4-BE49-F238E27FC236}">
                  <a16:creationId xmlns:a16="http://schemas.microsoft.com/office/drawing/2014/main" id="{7B81A950-FF07-4BEE-BA31-C8538B2A284B}"/>
                </a:ext>
              </a:extLst>
            </p:cNvPr>
            <p:cNvSpPr/>
            <p:nvPr/>
          </p:nvSpPr>
          <p:spPr>
            <a:xfrm>
              <a:off x="11159050" y="4671486"/>
              <a:ext cx="3811000" cy="2053838"/>
            </a:xfrm>
            <a:custGeom>
              <a:avLst/>
              <a:gdLst/>
              <a:ahLst/>
              <a:cxnLst>
                <a:cxn ang="0">
                  <a:pos x="wd2" y="hd2"/>
                </a:cxn>
                <a:cxn ang="5400000">
                  <a:pos x="wd2" y="hd2"/>
                </a:cxn>
                <a:cxn ang="10800000">
                  <a:pos x="wd2" y="hd2"/>
                </a:cxn>
                <a:cxn ang="16200000">
                  <a:pos x="wd2" y="hd2"/>
                </a:cxn>
              </a:cxnLst>
              <a:rect l="0" t="0" r="r" b="b"/>
              <a:pathLst>
                <a:path w="21600" h="21522" extrusionOk="0">
                  <a:moveTo>
                    <a:pt x="15636" y="5"/>
                  </a:moveTo>
                  <a:cubicBezTo>
                    <a:pt x="15045" y="-78"/>
                    <a:pt x="14691" y="1052"/>
                    <a:pt x="14531" y="2203"/>
                  </a:cubicBezTo>
                  <a:cubicBezTo>
                    <a:pt x="13970" y="6245"/>
                    <a:pt x="14140" y="11030"/>
                    <a:pt x="12293" y="13517"/>
                  </a:cubicBezTo>
                  <a:cubicBezTo>
                    <a:pt x="11890" y="14060"/>
                    <a:pt x="11392" y="14407"/>
                    <a:pt x="10931" y="14085"/>
                  </a:cubicBezTo>
                  <a:cubicBezTo>
                    <a:pt x="10252" y="13612"/>
                    <a:pt x="10078" y="12119"/>
                    <a:pt x="10026" y="10733"/>
                  </a:cubicBezTo>
                  <a:cubicBezTo>
                    <a:pt x="9976" y="9368"/>
                    <a:pt x="9675" y="7998"/>
                    <a:pt x="9061" y="8171"/>
                  </a:cubicBezTo>
                  <a:cubicBezTo>
                    <a:pt x="8601" y="8301"/>
                    <a:pt x="8438" y="9273"/>
                    <a:pt x="8386" y="10189"/>
                  </a:cubicBezTo>
                  <a:cubicBezTo>
                    <a:pt x="8213" y="13265"/>
                    <a:pt x="7957" y="16706"/>
                    <a:pt x="6424" y="17530"/>
                  </a:cubicBezTo>
                  <a:cubicBezTo>
                    <a:pt x="5847" y="17841"/>
                    <a:pt x="5242" y="17578"/>
                    <a:pt x="4645" y="17469"/>
                  </a:cubicBezTo>
                  <a:cubicBezTo>
                    <a:pt x="3977" y="17347"/>
                    <a:pt x="3295" y="17426"/>
                    <a:pt x="2672" y="17891"/>
                  </a:cubicBezTo>
                  <a:cubicBezTo>
                    <a:pt x="2056" y="18350"/>
                    <a:pt x="1543" y="19152"/>
                    <a:pt x="1035" y="19939"/>
                  </a:cubicBezTo>
                  <a:cubicBezTo>
                    <a:pt x="691" y="20470"/>
                    <a:pt x="347" y="20998"/>
                    <a:pt x="0" y="21522"/>
                  </a:cubicBezTo>
                  <a:lnTo>
                    <a:pt x="21600" y="21522"/>
                  </a:lnTo>
                  <a:cubicBezTo>
                    <a:pt x="20288" y="20202"/>
                    <a:pt x="19188" y="18265"/>
                    <a:pt x="18421" y="15892"/>
                  </a:cubicBezTo>
                  <a:cubicBezTo>
                    <a:pt x="17697" y="13654"/>
                    <a:pt x="17296" y="11128"/>
                    <a:pt x="17090" y="8550"/>
                  </a:cubicBezTo>
                  <a:cubicBezTo>
                    <a:pt x="16914" y="6348"/>
                    <a:pt x="16880" y="4101"/>
                    <a:pt x="16555" y="1955"/>
                  </a:cubicBezTo>
                  <a:cubicBezTo>
                    <a:pt x="16413" y="1016"/>
                    <a:pt x="16138" y="75"/>
                    <a:pt x="15636" y="5"/>
                  </a:cubicBezTo>
                  <a:close/>
                </a:path>
              </a:pathLst>
            </a:custGeom>
            <a:solidFill>
              <a:schemeClr val="accent4">
                <a:alpha val="85000"/>
              </a:schemeClr>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31" name="Shape 60654">
              <a:extLst>
                <a:ext uri="{FF2B5EF4-FFF2-40B4-BE49-F238E27FC236}">
                  <a16:creationId xmlns:a16="http://schemas.microsoft.com/office/drawing/2014/main" id="{D0252FCC-3005-4D0D-A0AA-FF47FD0D5B7A}"/>
                </a:ext>
              </a:extLst>
            </p:cNvPr>
            <p:cNvSpPr/>
            <p:nvPr/>
          </p:nvSpPr>
          <p:spPr>
            <a:xfrm>
              <a:off x="13847755" y="4570345"/>
              <a:ext cx="3303568" cy="2154341"/>
            </a:xfrm>
            <a:custGeom>
              <a:avLst/>
              <a:gdLst/>
              <a:ahLst/>
              <a:cxnLst>
                <a:cxn ang="0">
                  <a:pos x="wd2" y="hd2"/>
                </a:cxn>
                <a:cxn ang="5400000">
                  <a:pos x="wd2" y="hd2"/>
                </a:cxn>
                <a:cxn ang="10800000">
                  <a:pos x="wd2" y="hd2"/>
                </a:cxn>
                <a:cxn ang="16200000">
                  <a:pos x="wd2" y="hd2"/>
                </a:cxn>
              </a:cxnLst>
              <a:rect l="0" t="0" r="r" b="b"/>
              <a:pathLst>
                <a:path w="21600" h="21212" extrusionOk="0">
                  <a:moveTo>
                    <a:pt x="14388" y="64"/>
                  </a:moveTo>
                  <a:cubicBezTo>
                    <a:pt x="12968" y="-388"/>
                    <a:pt x="11916" y="1626"/>
                    <a:pt x="11679" y="4000"/>
                  </a:cubicBezTo>
                  <a:cubicBezTo>
                    <a:pt x="11396" y="6821"/>
                    <a:pt x="11485" y="10314"/>
                    <a:pt x="9715" y="11012"/>
                  </a:cubicBezTo>
                  <a:cubicBezTo>
                    <a:pt x="8994" y="11296"/>
                    <a:pt x="8274" y="10811"/>
                    <a:pt x="7556" y="10534"/>
                  </a:cubicBezTo>
                  <a:cubicBezTo>
                    <a:pt x="6982" y="10313"/>
                    <a:pt x="6336" y="10311"/>
                    <a:pt x="6019" y="11016"/>
                  </a:cubicBezTo>
                  <a:cubicBezTo>
                    <a:pt x="5617" y="11910"/>
                    <a:pt x="6146" y="12985"/>
                    <a:pt x="6114" y="14015"/>
                  </a:cubicBezTo>
                  <a:cubicBezTo>
                    <a:pt x="6076" y="15280"/>
                    <a:pt x="5308" y="16080"/>
                    <a:pt x="4577" y="16749"/>
                  </a:cubicBezTo>
                  <a:cubicBezTo>
                    <a:pt x="3024" y="18171"/>
                    <a:pt x="1497" y="19659"/>
                    <a:pt x="0" y="21212"/>
                  </a:cubicBezTo>
                  <a:lnTo>
                    <a:pt x="21600" y="21212"/>
                  </a:lnTo>
                  <a:cubicBezTo>
                    <a:pt x="20606" y="19879"/>
                    <a:pt x="19781" y="18292"/>
                    <a:pt x="19159" y="16519"/>
                  </a:cubicBezTo>
                  <a:cubicBezTo>
                    <a:pt x="18296" y="14063"/>
                    <a:pt x="17802" y="11262"/>
                    <a:pt x="17413" y="8524"/>
                  </a:cubicBezTo>
                  <a:cubicBezTo>
                    <a:pt x="17054" y="5988"/>
                    <a:pt x="16745" y="3454"/>
                    <a:pt x="15646" y="1400"/>
                  </a:cubicBezTo>
                  <a:cubicBezTo>
                    <a:pt x="15314" y="779"/>
                    <a:pt x="14906" y="229"/>
                    <a:pt x="14388" y="64"/>
                  </a:cubicBezTo>
                  <a:close/>
                </a:path>
              </a:pathLst>
            </a:custGeom>
            <a:solidFill>
              <a:schemeClr val="accent5">
                <a:alpha val="85000"/>
              </a:schemeClr>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32" name="Shape 60655">
              <a:extLst>
                <a:ext uri="{FF2B5EF4-FFF2-40B4-BE49-F238E27FC236}">
                  <a16:creationId xmlns:a16="http://schemas.microsoft.com/office/drawing/2014/main" id="{F9584310-BE5E-480D-A0AF-97891ACFAFD4}"/>
                </a:ext>
              </a:extLst>
            </p:cNvPr>
            <p:cNvSpPr/>
            <p:nvPr/>
          </p:nvSpPr>
          <p:spPr>
            <a:xfrm>
              <a:off x="16546961" y="4564884"/>
              <a:ext cx="2955885" cy="2160784"/>
            </a:xfrm>
            <a:custGeom>
              <a:avLst/>
              <a:gdLst/>
              <a:ahLst/>
              <a:cxnLst>
                <a:cxn ang="0">
                  <a:pos x="wd2" y="hd2"/>
                </a:cxn>
                <a:cxn ang="5400000">
                  <a:pos x="wd2" y="hd2"/>
                </a:cxn>
                <a:cxn ang="10800000">
                  <a:pos x="wd2" y="hd2"/>
                </a:cxn>
                <a:cxn ang="16200000">
                  <a:pos x="wd2" y="hd2"/>
                </a:cxn>
              </a:cxnLst>
              <a:rect l="0" t="0" r="r" b="b"/>
              <a:pathLst>
                <a:path w="21600" h="21524" extrusionOk="0">
                  <a:moveTo>
                    <a:pt x="5153" y="7"/>
                  </a:moveTo>
                  <a:cubicBezTo>
                    <a:pt x="4657" y="76"/>
                    <a:pt x="4383" y="688"/>
                    <a:pt x="4227" y="1351"/>
                  </a:cubicBezTo>
                  <a:cubicBezTo>
                    <a:pt x="4046" y="2122"/>
                    <a:pt x="3932" y="3007"/>
                    <a:pt x="3888" y="3888"/>
                  </a:cubicBezTo>
                  <a:cubicBezTo>
                    <a:pt x="3661" y="8420"/>
                    <a:pt x="3524" y="13038"/>
                    <a:pt x="2123" y="17172"/>
                  </a:cubicBezTo>
                  <a:cubicBezTo>
                    <a:pt x="1583" y="18764"/>
                    <a:pt x="862" y="20225"/>
                    <a:pt x="0" y="21524"/>
                  </a:cubicBezTo>
                  <a:lnTo>
                    <a:pt x="21600" y="21524"/>
                  </a:lnTo>
                  <a:cubicBezTo>
                    <a:pt x="21588" y="21222"/>
                    <a:pt x="21574" y="20919"/>
                    <a:pt x="21558" y="20617"/>
                  </a:cubicBezTo>
                  <a:cubicBezTo>
                    <a:pt x="21498" y="19498"/>
                    <a:pt x="21411" y="18369"/>
                    <a:pt x="21110" y="17323"/>
                  </a:cubicBezTo>
                  <a:cubicBezTo>
                    <a:pt x="20598" y="15541"/>
                    <a:pt x="19473" y="14160"/>
                    <a:pt x="18092" y="14121"/>
                  </a:cubicBezTo>
                  <a:cubicBezTo>
                    <a:pt x="17196" y="14096"/>
                    <a:pt x="16192" y="14622"/>
                    <a:pt x="15547" y="13743"/>
                  </a:cubicBezTo>
                  <a:cubicBezTo>
                    <a:pt x="15210" y="13285"/>
                    <a:pt x="15150" y="12605"/>
                    <a:pt x="15027" y="11982"/>
                  </a:cubicBezTo>
                  <a:cubicBezTo>
                    <a:pt x="14755" y="10613"/>
                    <a:pt x="14107" y="9400"/>
                    <a:pt x="13130" y="8938"/>
                  </a:cubicBezTo>
                  <a:cubicBezTo>
                    <a:pt x="12204" y="8499"/>
                    <a:pt x="11213" y="8873"/>
                    <a:pt x="10239" y="8943"/>
                  </a:cubicBezTo>
                  <a:cubicBezTo>
                    <a:pt x="9305" y="9011"/>
                    <a:pt x="8343" y="8776"/>
                    <a:pt x="7656" y="7915"/>
                  </a:cubicBezTo>
                  <a:cubicBezTo>
                    <a:pt x="6957" y="7039"/>
                    <a:pt x="6717" y="5727"/>
                    <a:pt x="6654" y="4434"/>
                  </a:cubicBezTo>
                  <a:cubicBezTo>
                    <a:pt x="6603" y="3374"/>
                    <a:pt x="6482" y="2283"/>
                    <a:pt x="6289" y="1410"/>
                  </a:cubicBezTo>
                  <a:cubicBezTo>
                    <a:pt x="6108" y="588"/>
                    <a:pt x="5758" y="-76"/>
                    <a:pt x="5153" y="7"/>
                  </a:cubicBezTo>
                  <a:close/>
                </a:path>
              </a:pathLst>
            </a:custGeom>
            <a:solidFill>
              <a:schemeClr val="accent6">
                <a:lumMod val="75000"/>
                <a:alpha val="85000"/>
              </a:schemeClr>
            </a:solidFill>
            <a:ln w="12700" cap="flat">
              <a:noFill/>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33" name="Shape 60657">
              <a:extLst>
                <a:ext uri="{FF2B5EF4-FFF2-40B4-BE49-F238E27FC236}">
                  <a16:creationId xmlns:a16="http://schemas.microsoft.com/office/drawing/2014/main" id="{295C7372-16B4-4D6F-A2F8-CEC413BBEE19}"/>
                </a:ext>
              </a:extLst>
            </p:cNvPr>
            <p:cNvSpPr/>
            <p:nvPr/>
          </p:nvSpPr>
          <p:spPr>
            <a:xfrm>
              <a:off x="18163391" y="4313600"/>
              <a:ext cx="1" cy="1107284"/>
            </a:xfrm>
            <a:prstGeom prst="line">
              <a:avLst/>
            </a:prstGeom>
            <a:noFill/>
            <a:ln w="38100" cap="flat">
              <a:solidFill>
                <a:schemeClr val="bg1">
                  <a:lumMod val="85000"/>
                </a:schemeClr>
              </a:solidFill>
              <a:prstDash val="solid"/>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34" name="Shape 60658">
              <a:extLst>
                <a:ext uri="{FF2B5EF4-FFF2-40B4-BE49-F238E27FC236}">
                  <a16:creationId xmlns:a16="http://schemas.microsoft.com/office/drawing/2014/main" id="{FF7F3615-DC5A-4708-8904-230FCAB39742}"/>
                </a:ext>
              </a:extLst>
            </p:cNvPr>
            <p:cNvSpPr/>
            <p:nvPr/>
          </p:nvSpPr>
          <p:spPr>
            <a:xfrm>
              <a:off x="13243020" y="4308387"/>
              <a:ext cx="1" cy="1685785"/>
            </a:xfrm>
            <a:prstGeom prst="line">
              <a:avLst/>
            </a:prstGeom>
            <a:noFill/>
            <a:ln w="38100" cap="flat">
              <a:solidFill>
                <a:schemeClr val="bg1">
                  <a:lumMod val="85000"/>
                </a:schemeClr>
              </a:solidFill>
              <a:prstDash val="solid"/>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35" name="Shape 60659">
              <a:extLst>
                <a:ext uri="{FF2B5EF4-FFF2-40B4-BE49-F238E27FC236}">
                  <a16:creationId xmlns:a16="http://schemas.microsoft.com/office/drawing/2014/main" id="{E290E0CB-6885-4AF6-B648-2474321E1FFF}"/>
                </a:ext>
              </a:extLst>
            </p:cNvPr>
            <p:cNvSpPr/>
            <p:nvPr/>
          </p:nvSpPr>
          <p:spPr>
            <a:xfrm>
              <a:off x="7542317" y="4308387"/>
              <a:ext cx="0" cy="2077295"/>
            </a:xfrm>
            <a:prstGeom prst="line">
              <a:avLst/>
            </a:prstGeom>
            <a:noFill/>
            <a:ln w="38100" cap="flat">
              <a:solidFill>
                <a:schemeClr val="bg1">
                  <a:lumMod val="85000"/>
                </a:schemeClr>
              </a:solidFill>
              <a:prstDash val="solid"/>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36" name="Shape 60660">
              <a:extLst>
                <a:ext uri="{FF2B5EF4-FFF2-40B4-BE49-F238E27FC236}">
                  <a16:creationId xmlns:a16="http://schemas.microsoft.com/office/drawing/2014/main" id="{AC508B04-06BD-4269-8C62-524DEF241334}"/>
                </a:ext>
              </a:extLst>
            </p:cNvPr>
            <p:cNvSpPr/>
            <p:nvPr/>
          </p:nvSpPr>
          <p:spPr>
            <a:xfrm>
              <a:off x="6167145" y="6725044"/>
              <a:ext cx="0" cy="695209"/>
            </a:xfrm>
            <a:prstGeom prst="line">
              <a:avLst/>
            </a:prstGeom>
            <a:noFill/>
            <a:ln w="38100" cap="flat">
              <a:solidFill>
                <a:schemeClr val="bg1">
                  <a:lumMod val="85000"/>
                </a:schemeClr>
              </a:solidFill>
              <a:prstDash val="solid"/>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37" name="Shape 60661">
              <a:extLst>
                <a:ext uri="{FF2B5EF4-FFF2-40B4-BE49-F238E27FC236}">
                  <a16:creationId xmlns:a16="http://schemas.microsoft.com/office/drawing/2014/main" id="{3D55CC01-3A18-407C-998C-34E8F1FFF6C2}"/>
                </a:ext>
              </a:extLst>
            </p:cNvPr>
            <p:cNvSpPr/>
            <p:nvPr/>
          </p:nvSpPr>
          <p:spPr>
            <a:xfrm>
              <a:off x="10617691" y="6725044"/>
              <a:ext cx="1" cy="695209"/>
            </a:xfrm>
            <a:prstGeom prst="line">
              <a:avLst/>
            </a:prstGeom>
            <a:noFill/>
            <a:ln w="38100" cap="flat">
              <a:solidFill>
                <a:schemeClr val="bg1">
                  <a:lumMod val="85000"/>
                </a:schemeClr>
              </a:solidFill>
              <a:prstDash val="solid"/>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sp>
          <p:nvSpPr>
            <p:cNvPr id="38" name="Shape 60662">
              <a:extLst>
                <a:ext uri="{FF2B5EF4-FFF2-40B4-BE49-F238E27FC236}">
                  <a16:creationId xmlns:a16="http://schemas.microsoft.com/office/drawing/2014/main" id="{9C567372-9FA2-4E58-A46A-298C99F9FC8C}"/>
                </a:ext>
              </a:extLst>
            </p:cNvPr>
            <p:cNvSpPr/>
            <p:nvPr/>
          </p:nvSpPr>
          <p:spPr>
            <a:xfrm>
              <a:off x="15776149" y="6725595"/>
              <a:ext cx="1" cy="695210"/>
            </a:xfrm>
            <a:prstGeom prst="line">
              <a:avLst/>
            </a:prstGeom>
            <a:noFill/>
            <a:ln w="38100" cap="flat">
              <a:solidFill>
                <a:schemeClr val="bg1">
                  <a:lumMod val="85000"/>
                </a:schemeClr>
              </a:solidFill>
              <a:prstDash val="solid"/>
              <a:miter lim="400000"/>
            </a:ln>
            <a:effectLst/>
          </p:spPr>
          <p:txBody>
            <a:bodyPr wrap="square" lIns="35719" tIns="35719" rIns="35719" bIns="35719" numCol="1" anchor="ctr">
              <a:noAutofit/>
            </a:bodyPr>
            <a:lstStyle/>
            <a:p>
              <a:endParaRPr lang="en-US" sz="2532" dirty="0">
                <a:latin typeface="Lato Light" panose="020F0502020204030203" pitchFamily="34" charset="0"/>
              </a:endParaRPr>
            </a:p>
          </p:txBody>
        </p:sp>
      </p:grpSp>
      <p:sp>
        <p:nvSpPr>
          <p:cNvPr id="39" name="TextBox 39">
            <a:extLst>
              <a:ext uri="{FF2B5EF4-FFF2-40B4-BE49-F238E27FC236}">
                <a16:creationId xmlns:a16="http://schemas.microsoft.com/office/drawing/2014/main" id="{BB172FBF-1459-4CD9-B7F3-EB3E8CF8FF16}"/>
              </a:ext>
            </a:extLst>
          </p:cNvPr>
          <p:cNvSpPr txBox="1"/>
          <p:nvPr/>
        </p:nvSpPr>
        <p:spPr>
          <a:xfrm>
            <a:off x="1557612" y="5295389"/>
            <a:ext cx="556563" cy="338554"/>
          </a:xfrm>
          <a:prstGeom prst="rect">
            <a:avLst/>
          </a:prstGeom>
          <a:noFill/>
        </p:spPr>
        <p:txBody>
          <a:bodyPr wrap="none" rtlCol="0" anchor="ctr" anchorCtr="0">
            <a:spAutoFit/>
          </a:bodyPr>
          <a:lstStyle/>
          <a:p>
            <a:r>
              <a:rPr lang="en-US" sz="1600" b="1" dirty="0">
                <a:solidFill>
                  <a:schemeClr val="accent1"/>
                </a:solidFill>
                <a:latin typeface="Segoe UI Light" panose="020B0502040204020203" pitchFamily="34" charset="0"/>
                <a:ea typeface="League Spartan" charset="0"/>
                <a:cs typeface="Poppins" pitchFamily="2" charset="77"/>
              </a:rPr>
              <a:t>23%</a:t>
            </a:r>
          </a:p>
        </p:txBody>
      </p:sp>
      <p:sp>
        <p:nvSpPr>
          <p:cNvPr id="40" name="Subtitle 2">
            <a:extLst>
              <a:ext uri="{FF2B5EF4-FFF2-40B4-BE49-F238E27FC236}">
                <a16:creationId xmlns:a16="http://schemas.microsoft.com/office/drawing/2014/main" id="{DFB6FB59-FF52-4AB8-8217-CABBD0093F9F}"/>
              </a:ext>
            </a:extLst>
          </p:cNvPr>
          <p:cNvSpPr txBox="1">
            <a:spLocks/>
          </p:cNvSpPr>
          <p:nvPr/>
        </p:nvSpPr>
        <p:spPr>
          <a:xfrm>
            <a:off x="1557612" y="5626611"/>
            <a:ext cx="1962092" cy="60420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500"/>
              </a:lnSpc>
            </a:pPr>
            <a:r>
              <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 Aenean commodo ligula eget dolor.</a:t>
            </a:r>
          </a:p>
        </p:txBody>
      </p:sp>
      <p:sp>
        <p:nvSpPr>
          <p:cNvPr id="41" name="TextBox 43">
            <a:extLst>
              <a:ext uri="{FF2B5EF4-FFF2-40B4-BE49-F238E27FC236}">
                <a16:creationId xmlns:a16="http://schemas.microsoft.com/office/drawing/2014/main" id="{743E10EF-1436-46A3-9556-08DB5C9927DC}"/>
              </a:ext>
            </a:extLst>
          </p:cNvPr>
          <p:cNvSpPr txBox="1"/>
          <p:nvPr/>
        </p:nvSpPr>
        <p:spPr>
          <a:xfrm>
            <a:off x="4771472" y="5295389"/>
            <a:ext cx="559769" cy="338554"/>
          </a:xfrm>
          <a:prstGeom prst="rect">
            <a:avLst/>
          </a:prstGeom>
          <a:noFill/>
        </p:spPr>
        <p:txBody>
          <a:bodyPr wrap="none" rtlCol="0" anchor="ctr" anchorCtr="0">
            <a:spAutoFit/>
          </a:bodyPr>
          <a:lstStyle/>
          <a:p>
            <a:r>
              <a:rPr lang="en-US" sz="1600" b="1" dirty="0">
                <a:solidFill>
                  <a:schemeClr val="accent3"/>
                </a:solidFill>
                <a:latin typeface="Segoe UI Light" panose="020B0502040204020203" pitchFamily="34" charset="0"/>
                <a:ea typeface="League Spartan" charset="0"/>
                <a:cs typeface="Poppins" pitchFamily="2" charset="77"/>
              </a:rPr>
              <a:t>48%</a:t>
            </a:r>
          </a:p>
        </p:txBody>
      </p:sp>
      <p:sp>
        <p:nvSpPr>
          <p:cNvPr id="42" name="Subtitle 2">
            <a:extLst>
              <a:ext uri="{FF2B5EF4-FFF2-40B4-BE49-F238E27FC236}">
                <a16:creationId xmlns:a16="http://schemas.microsoft.com/office/drawing/2014/main" id="{FC49957F-0E91-42D6-957C-2463932E2639}"/>
              </a:ext>
            </a:extLst>
          </p:cNvPr>
          <p:cNvSpPr txBox="1">
            <a:spLocks/>
          </p:cNvSpPr>
          <p:nvPr/>
        </p:nvSpPr>
        <p:spPr>
          <a:xfrm>
            <a:off x="4771472" y="5626611"/>
            <a:ext cx="1962092" cy="60420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500"/>
              </a:lnSpc>
            </a:pPr>
            <a:r>
              <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elit. Aenean commodo ligula eget dolor.</a:t>
            </a:r>
          </a:p>
        </p:txBody>
      </p:sp>
      <p:sp>
        <p:nvSpPr>
          <p:cNvPr id="43" name="TextBox 46">
            <a:extLst>
              <a:ext uri="{FF2B5EF4-FFF2-40B4-BE49-F238E27FC236}">
                <a16:creationId xmlns:a16="http://schemas.microsoft.com/office/drawing/2014/main" id="{6ECC90C7-95A0-4691-8BA0-57A3E7B1DA48}"/>
              </a:ext>
            </a:extLst>
          </p:cNvPr>
          <p:cNvSpPr txBox="1"/>
          <p:nvPr/>
        </p:nvSpPr>
        <p:spPr>
          <a:xfrm>
            <a:off x="8498935" y="5295389"/>
            <a:ext cx="524503" cy="338554"/>
          </a:xfrm>
          <a:prstGeom prst="rect">
            <a:avLst/>
          </a:prstGeom>
          <a:noFill/>
        </p:spPr>
        <p:txBody>
          <a:bodyPr wrap="none" rtlCol="0" anchor="ctr" anchorCtr="0">
            <a:spAutoFit/>
          </a:bodyPr>
          <a:lstStyle/>
          <a:p>
            <a:r>
              <a:rPr lang="en-US" sz="1600" b="1" dirty="0">
                <a:solidFill>
                  <a:schemeClr val="accent5"/>
                </a:solidFill>
                <a:latin typeface="Segoe UI Light" panose="020B0502040204020203" pitchFamily="34" charset="0"/>
                <a:ea typeface="League Spartan" charset="0"/>
                <a:cs typeface="Poppins" pitchFamily="2" charset="77"/>
              </a:rPr>
              <a:t>61%</a:t>
            </a:r>
          </a:p>
        </p:txBody>
      </p:sp>
      <p:sp>
        <p:nvSpPr>
          <p:cNvPr id="44" name="Subtitle 2">
            <a:extLst>
              <a:ext uri="{FF2B5EF4-FFF2-40B4-BE49-F238E27FC236}">
                <a16:creationId xmlns:a16="http://schemas.microsoft.com/office/drawing/2014/main" id="{D96605AF-644D-457E-9E22-8F25DCD3E1C6}"/>
              </a:ext>
            </a:extLst>
          </p:cNvPr>
          <p:cNvSpPr txBox="1">
            <a:spLocks/>
          </p:cNvSpPr>
          <p:nvPr/>
        </p:nvSpPr>
        <p:spPr>
          <a:xfrm>
            <a:off x="8498935" y="5626611"/>
            <a:ext cx="1962092" cy="60420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500"/>
              </a:lnSpc>
            </a:pPr>
            <a:r>
              <a:rPr lang="en-US" sz="10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a:t>
            </a:r>
            <a:endPar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endParaRPr>
          </a:p>
        </p:txBody>
      </p:sp>
      <p:sp>
        <p:nvSpPr>
          <p:cNvPr id="45" name="TextBox 49">
            <a:extLst>
              <a:ext uri="{FF2B5EF4-FFF2-40B4-BE49-F238E27FC236}">
                <a16:creationId xmlns:a16="http://schemas.microsoft.com/office/drawing/2014/main" id="{8256B667-7E72-4B28-8A05-E861FBB83EA1}"/>
              </a:ext>
            </a:extLst>
          </p:cNvPr>
          <p:cNvSpPr txBox="1"/>
          <p:nvPr/>
        </p:nvSpPr>
        <p:spPr>
          <a:xfrm>
            <a:off x="2477465" y="1606232"/>
            <a:ext cx="556563" cy="338554"/>
          </a:xfrm>
          <a:prstGeom prst="rect">
            <a:avLst/>
          </a:prstGeom>
          <a:noFill/>
        </p:spPr>
        <p:txBody>
          <a:bodyPr wrap="none" rtlCol="0" anchor="ctr" anchorCtr="0">
            <a:spAutoFit/>
          </a:bodyPr>
          <a:lstStyle/>
          <a:p>
            <a:pPr algn="r"/>
            <a:r>
              <a:rPr lang="en-US" sz="1600" b="1" dirty="0">
                <a:solidFill>
                  <a:schemeClr val="accent2"/>
                </a:solidFill>
                <a:latin typeface="Segoe UI Light" panose="020B0502040204020203" pitchFamily="34" charset="0"/>
                <a:ea typeface="League Spartan" charset="0"/>
                <a:cs typeface="Poppins" pitchFamily="2" charset="77"/>
              </a:rPr>
              <a:t>35%</a:t>
            </a:r>
          </a:p>
        </p:txBody>
      </p:sp>
      <p:sp>
        <p:nvSpPr>
          <p:cNvPr id="46" name="Subtitle 2">
            <a:extLst>
              <a:ext uri="{FF2B5EF4-FFF2-40B4-BE49-F238E27FC236}">
                <a16:creationId xmlns:a16="http://schemas.microsoft.com/office/drawing/2014/main" id="{F584FC35-9F16-4F03-81C8-5400B26BB54F}"/>
              </a:ext>
            </a:extLst>
          </p:cNvPr>
          <p:cNvSpPr txBox="1">
            <a:spLocks/>
          </p:cNvSpPr>
          <p:nvPr/>
        </p:nvSpPr>
        <p:spPr>
          <a:xfrm>
            <a:off x="1071936" y="1937454"/>
            <a:ext cx="1962092" cy="60420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500"/>
              </a:lnSpc>
            </a:pPr>
            <a:r>
              <a:rPr lang="en-US" sz="10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a:t>
            </a:r>
            <a:endPar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endParaRPr>
          </a:p>
        </p:txBody>
      </p:sp>
      <p:sp>
        <p:nvSpPr>
          <p:cNvPr id="47" name="TextBox 52">
            <a:extLst>
              <a:ext uri="{FF2B5EF4-FFF2-40B4-BE49-F238E27FC236}">
                <a16:creationId xmlns:a16="http://schemas.microsoft.com/office/drawing/2014/main" id="{8D24BC5A-8951-4346-880F-1DAFF97F5D9B}"/>
              </a:ext>
            </a:extLst>
          </p:cNvPr>
          <p:cNvSpPr txBox="1"/>
          <p:nvPr/>
        </p:nvSpPr>
        <p:spPr>
          <a:xfrm>
            <a:off x="6574894" y="1606232"/>
            <a:ext cx="556563" cy="338554"/>
          </a:xfrm>
          <a:prstGeom prst="rect">
            <a:avLst/>
          </a:prstGeom>
          <a:noFill/>
        </p:spPr>
        <p:txBody>
          <a:bodyPr wrap="none" rtlCol="0" anchor="ctr" anchorCtr="0">
            <a:spAutoFit/>
          </a:bodyPr>
          <a:lstStyle/>
          <a:p>
            <a:pPr algn="r"/>
            <a:r>
              <a:rPr lang="en-US" sz="1600" b="1" dirty="0">
                <a:solidFill>
                  <a:schemeClr val="accent4"/>
                </a:solidFill>
                <a:latin typeface="Segoe UI Light" panose="020B0502040204020203" pitchFamily="34" charset="0"/>
                <a:ea typeface="League Spartan" charset="0"/>
                <a:cs typeface="Poppins" pitchFamily="2" charset="77"/>
              </a:rPr>
              <a:t>59%</a:t>
            </a:r>
          </a:p>
        </p:txBody>
      </p:sp>
      <p:sp>
        <p:nvSpPr>
          <p:cNvPr id="48" name="Subtitle 2">
            <a:extLst>
              <a:ext uri="{FF2B5EF4-FFF2-40B4-BE49-F238E27FC236}">
                <a16:creationId xmlns:a16="http://schemas.microsoft.com/office/drawing/2014/main" id="{86C911C7-09FB-4E1F-A412-05ADB244BC2C}"/>
              </a:ext>
            </a:extLst>
          </p:cNvPr>
          <p:cNvSpPr txBox="1">
            <a:spLocks/>
          </p:cNvSpPr>
          <p:nvPr/>
        </p:nvSpPr>
        <p:spPr>
          <a:xfrm>
            <a:off x="5169365" y="1937454"/>
            <a:ext cx="1962092" cy="60420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500"/>
              </a:lnSpc>
            </a:pPr>
            <a:r>
              <a:rPr lang="en-US" sz="10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a:t>
            </a:r>
            <a:endPar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endParaRPr>
          </a:p>
        </p:txBody>
      </p:sp>
      <p:sp>
        <p:nvSpPr>
          <p:cNvPr id="49" name="TextBox 55">
            <a:extLst>
              <a:ext uri="{FF2B5EF4-FFF2-40B4-BE49-F238E27FC236}">
                <a16:creationId xmlns:a16="http://schemas.microsoft.com/office/drawing/2014/main" id="{0938883C-C213-450A-A8C6-8C8BC9790834}"/>
              </a:ext>
            </a:extLst>
          </p:cNvPr>
          <p:cNvSpPr txBox="1"/>
          <p:nvPr/>
        </p:nvSpPr>
        <p:spPr>
          <a:xfrm>
            <a:off x="10142808" y="1606232"/>
            <a:ext cx="553357" cy="338554"/>
          </a:xfrm>
          <a:prstGeom prst="rect">
            <a:avLst/>
          </a:prstGeom>
          <a:noFill/>
        </p:spPr>
        <p:txBody>
          <a:bodyPr wrap="none" rtlCol="0" anchor="ctr" anchorCtr="0">
            <a:spAutoFit/>
          </a:bodyPr>
          <a:lstStyle/>
          <a:p>
            <a:pPr algn="r"/>
            <a:r>
              <a:rPr lang="en-US" sz="1600" b="1" dirty="0">
                <a:solidFill>
                  <a:schemeClr val="accent6">
                    <a:lumMod val="75000"/>
                  </a:schemeClr>
                </a:solidFill>
                <a:latin typeface="Segoe UI Light" panose="020B0502040204020203" pitchFamily="34" charset="0"/>
                <a:ea typeface="League Spartan" charset="0"/>
                <a:cs typeface="Poppins" pitchFamily="2" charset="77"/>
              </a:rPr>
              <a:t>76%</a:t>
            </a:r>
          </a:p>
        </p:txBody>
      </p:sp>
      <p:sp>
        <p:nvSpPr>
          <p:cNvPr id="50" name="Subtitle 2">
            <a:extLst>
              <a:ext uri="{FF2B5EF4-FFF2-40B4-BE49-F238E27FC236}">
                <a16:creationId xmlns:a16="http://schemas.microsoft.com/office/drawing/2014/main" id="{07112B39-050D-4EED-8409-995D3E9D8632}"/>
              </a:ext>
            </a:extLst>
          </p:cNvPr>
          <p:cNvSpPr txBox="1">
            <a:spLocks/>
          </p:cNvSpPr>
          <p:nvPr/>
        </p:nvSpPr>
        <p:spPr>
          <a:xfrm>
            <a:off x="8734073" y="1937454"/>
            <a:ext cx="1962092" cy="60420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500"/>
              </a:lnSpc>
            </a:pPr>
            <a:r>
              <a:rPr lang="en-US" sz="10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a:t>
            </a:r>
            <a:endPar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endParaRPr>
          </a:p>
        </p:txBody>
      </p:sp>
    </p:spTree>
    <p:custDataLst>
      <p:tags r:id="rId1"/>
    </p:custDataLst>
    <p:extLst>
      <p:ext uri="{BB962C8B-B14F-4D97-AF65-F5344CB8AC3E}">
        <p14:creationId xmlns:p14="http://schemas.microsoft.com/office/powerpoint/2010/main" val="2062884766"/>
      </p:ext>
    </p:extLst>
  </p:cSld>
  <p:clrMapOvr>
    <a:masterClrMapping/>
  </p:clrMapOvr>
  <mc:AlternateContent xmlns:mc="http://schemas.openxmlformats.org/markup-compatibility/2006" xmlns:p14="http://schemas.microsoft.com/office/powerpoint/2010/main">
    <mc:Choice Requires="p14">
      <p:transition spd="med">
        <p14:pan/>
      </p:transition>
    </mc:Choice>
    <mc:Fallback xmlns:c="http://schemas.openxmlformats.org/drawingml/2006/chart" xmlns:a16="http://schemas.microsoft.com/office/drawing/2014/main"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10F0EBA7-A0D4-B74B-95EC-8E34A3B2FE8A}"/>
              </a:ext>
            </a:extLst>
          </p:cNvPr>
          <p:cNvGraphicFramePr/>
          <p:nvPr/>
        </p:nvGraphicFramePr>
        <p:xfrm>
          <a:off x="755565" y="1499833"/>
          <a:ext cx="2121571" cy="2109029"/>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29644DA6-382B-DD43-9279-0A3CC5ECC7D8}"/>
              </a:ext>
            </a:extLst>
          </p:cNvPr>
          <p:cNvSpPr txBox="1"/>
          <p:nvPr/>
        </p:nvSpPr>
        <p:spPr>
          <a:xfrm>
            <a:off x="3074343" y="1876970"/>
            <a:ext cx="1439433"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1</a:t>
            </a:r>
          </a:p>
        </p:txBody>
      </p:sp>
      <p:sp>
        <p:nvSpPr>
          <p:cNvPr id="6" name="Subtitle 2">
            <a:extLst>
              <a:ext uri="{FF2B5EF4-FFF2-40B4-BE49-F238E27FC236}">
                <a16:creationId xmlns:a16="http://schemas.microsoft.com/office/drawing/2014/main" id="{F2453822-B285-6C4A-82DB-8F293502FADD}"/>
              </a:ext>
            </a:extLst>
          </p:cNvPr>
          <p:cNvSpPr txBox="1">
            <a:spLocks/>
          </p:cNvSpPr>
          <p:nvPr/>
        </p:nvSpPr>
        <p:spPr>
          <a:xfrm>
            <a:off x="3074343" y="2265049"/>
            <a:ext cx="2729273" cy="946606"/>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buSzPct val="100000"/>
            </a:pPr>
            <a:r>
              <a:rPr lang="en-US" sz="1200" dirty="0">
                <a:solidFill>
                  <a:schemeClr val="tx1"/>
                </a:solidFill>
                <a:latin typeface="Segoe UI Light" panose="020B0502040204020203" pitchFamily="34" charset="0"/>
                <a:ea typeface="Lato Light" panose="020F0502020204030203" pitchFamily="34" charset="0"/>
              </a:rPr>
              <a:t>Lorem ipsum dolor sit amet, consectetuer adipiscing elit. Aenean commodo ligula eget dolor. Aenean massa. </a:t>
            </a:r>
          </a:p>
        </p:txBody>
      </p:sp>
      <p:sp>
        <p:nvSpPr>
          <p:cNvPr id="8" name="TextBox 7">
            <a:extLst>
              <a:ext uri="{FF2B5EF4-FFF2-40B4-BE49-F238E27FC236}">
                <a16:creationId xmlns:a16="http://schemas.microsoft.com/office/drawing/2014/main" id="{C88A6B0D-E50B-F245-AF62-2B7551D26E61}"/>
              </a:ext>
            </a:extLst>
          </p:cNvPr>
          <p:cNvSpPr txBox="1"/>
          <p:nvPr/>
        </p:nvSpPr>
        <p:spPr>
          <a:xfrm>
            <a:off x="1420298" y="2319710"/>
            <a:ext cx="877163" cy="553998"/>
          </a:xfrm>
          <a:prstGeom prst="rect">
            <a:avLst/>
          </a:prstGeom>
          <a:noFill/>
        </p:spPr>
        <p:txBody>
          <a:bodyPr wrap="none" rtlCol="0" anchor="ctr" anchorCtr="0">
            <a:spAutoFit/>
          </a:bodyPr>
          <a:lstStyle/>
          <a:p>
            <a:pPr algn="ctr"/>
            <a:r>
              <a:rPr lang="en-US" sz="3000" b="1" dirty="0">
                <a:solidFill>
                  <a:schemeClr val="accent1"/>
                </a:solidFill>
                <a:latin typeface="Segoe UI Light" panose="020B0502040204020203" pitchFamily="34" charset="0"/>
                <a:ea typeface="League Spartan" charset="0"/>
                <a:cs typeface="Poppins" pitchFamily="2" charset="77"/>
              </a:rPr>
              <a:t>72%</a:t>
            </a:r>
          </a:p>
        </p:txBody>
      </p:sp>
      <p:graphicFrame>
        <p:nvGraphicFramePr>
          <p:cNvPr id="11" name="Chart 10">
            <a:extLst>
              <a:ext uri="{FF2B5EF4-FFF2-40B4-BE49-F238E27FC236}">
                <a16:creationId xmlns:a16="http://schemas.microsoft.com/office/drawing/2014/main" id="{DDC9F6E5-F7B8-5742-B28D-FB928CBFD6D6}"/>
              </a:ext>
            </a:extLst>
          </p:cNvPr>
          <p:cNvGraphicFramePr/>
          <p:nvPr/>
        </p:nvGraphicFramePr>
        <p:xfrm>
          <a:off x="755565" y="4086622"/>
          <a:ext cx="2121571" cy="2109029"/>
        </p:xfrm>
        <a:graphic>
          <a:graphicData uri="http://schemas.openxmlformats.org/drawingml/2006/chart">
            <c:chart xmlns:c="http://schemas.openxmlformats.org/drawingml/2006/chart" xmlns:r="http://schemas.openxmlformats.org/officeDocument/2006/relationships" r:id="rId5"/>
          </a:graphicData>
        </a:graphic>
      </p:graphicFrame>
      <p:sp>
        <p:nvSpPr>
          <p:cNvPr id="14" name="TextBox 13">
            <a:extLst>
              <a:ext uri="{FF2B5EF4-FFF2-40B4-BE49-F238E27FC236}">
                <a16:creationId xmlns:a16="http://schemas.microsoft.com/office/drawing/2014/main" id="{B38E95F6-E97F-D746-83D6-458B8181EC4A}"/>
              </a:ext>
            </a:extLst>
          </p:cNvPr>
          <p:cNvSpPr txBox="1"/>
          <p:nvPr/>
        </p:nvSpPr>
        <p:spPr>
          <a:xfrm>
            <a:off x="3074343" y="4463759"/>
            <a:ext cx="1471493"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3</a:t>
            </a:r>
          </a:p>
        </p:txBody>
      </p:sp>
      <p:sp>
        <p:nvSpPr>
          <p:cNvPr id="15" name="Subtitle 2">
            <a:extLst>
              <a:ext uri="{FF2B5EF4-FFF2-40B4-BE49-F238E27FC236}">
                <a16:creationId xmlns:a16="http://schemas.microsoft.com/office/drawing/2014/main" id="{914E3C68-B0B4-BE46-A72E-DA8DBDAEBDAF}"/>
              </a:ext>
            </a:extLst>
          </p:cNvPr>
          <p:cNvSpPr txBox="1">
            <a:spLocks/>
          </p:cNvSpPr>
          <p:nvPr/>
        </p:nvSpPr>
        <p:spPr>
          <a:xfrm>
            <a:off x="3074343" y="4851838"/>
            <a:ext cx="2729273" cy="946606"/>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 </a:t>
            </a:r>
          </a:p>
        </p:txBody>
      </p:sp>
      <p:sp>
        <p:nvSpPr>
          <p:cNvPr id="13" name="TextBox 12">
            <a:extLst>
              <a:ext uri="{FF2B5EF4-FFF2-40B4-BE49-F238E27FC236}">
                <a16:creationId xmlns:a16="http://schemas.microsoft.com/office/drawing/2014/main" id="{9D7F1A0E-1D30-1A4E-B79E-46CDFB4FD752}"/>
              </a:ext>
            </a:extLst>
          </p:cNvPr>
          <p:cNvSpPr txBox="1"/>
          <p:nvPr/>
        </p:nvSpPr>
        <p:spPr>
          <a:xfrm>
            <a:off x="1395827" y="4917300"/>
            <a:ext cx="883575" cy="553998"/>
          </a:xfrm>
          <a:prstGeom prst="rect">
            <a:avLst/>
          </a:prstGeom>
          <a:noFill/>
        </p:spPr>
        <p:txBody>
          <a:bodyPr wrap="none" rtlCol="0" anchor="ctr" anchorCtr="0">
            <a:spAutoFit/>
          </a:bodyPr>
          <a:lstStyle/>
          <a:p>
            <a:pPr algn="ctr"/>
            <a:r>
              <a:rPr lang="en-US" sz="3000" b="1" dirty="0">
                <a:solidFill>
                  <a:schemeClr val="accent3"/>
                </a:solidFill>
                <a:latin typeface="Segoe UI Light" panose="020B0502040204020203" pitchFamily="34" charset="0"/>
                <a:ea typeface="League Spartan" charset="0"/>
                <a:cs typeface="Poppins" pitchFamily="2" charset="77"/>
              </a:rPr>
              <a:t>56%</a:t>
            </a:r>
          </a:p>
        </p:txBody>
      </p:sp>
      <p:graphicFrame>
        <p:nvGraphicFramePr>
          <p:cNvPr id="17" name="Chart 16">
            <a:extLst>
              <a:ext uri="{FF2B5EF4-FFF2-40B4-BE49-F238E27FC236}">
                <a16:creationId xmlns:a16="http://schemas.microsoft.com/office/drawing/2014/main" id="{34511CE3-AC4F-5348-8E6C-0C21A5A33277}"/>
              </a:ext>
            </a:extLst>
          </p:cNvPr>
          <p:cNvGraphicFramePr/>
          <p:nvPr/>
        </p:nvGraphicFramePr>
        <p:xfrm>
          <a:off x="6381949" y="1499833"/>
          <a:ext cx="2121571" cy="2109029"/>
        </p:xfrm>
        <a:graphic>
          <a:graphicData uri="http://schemas.openxmlformats.org/drawingml/2006/chart">
            <c:chart xmlns:c="http://schemas.openxmlformats.org/drawingml/2006/chart" xmlns:r="http://schemas.openxmlformats.org/officeDocument/2006/relationships" r:id="rId6"/>
          </a:graphicData>
        </a:graphic>
      </p:graphicFrame>
      <p:sp>
        <p:nvSpPr>
          <p:cNvPr id="20" name="TextBox 19">
            <a:extLst>
              <a:ext uri="{FF2B5EF4-FFF2-40B4-BE49-F238E27FC236}">
                <a16:creationId xmlns:a16="http://schemas.microsoft.com/office/drawing/2014/main" id="{3D38CE85-7822-714C-B155-E213DDBE3FEC}"/>
              </a:ext>
            </a:extLst>
          </p:cNvPr>
          <p:cNvSpPr txBox="1"/>
          <p:nvPr/>
        </p:nvSpPr>
        <p:spPr>
          <a:xfrm>
            <a:off x="8700727" y="1876970"/>
            <a:ext cx="1471493"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2</a:t>
            </a:r>
          </a:p>
        </p:txBody>
      </p:sp>
      <p:sp>
        <p:nvSpPr>
          <p:cNvPr id="21" name="Subtitle 2">
            <a:extLst>
              <a:ext uri="{FF2B5EF4-FFF2-40B4-BE49-F238E27FC236}">
                <a16:creationId xmlns:a16="http://schemas.microsoft.com/office/drawing/2014/main" id="{FC818402-CE6B-C745-BDAD-9A9BCA0ED107}"/>
              </a:ext>
            </a:extLst>
          </p:cNvPr>
          <p:cNvSpPr txBox="1">
            <a:spLocks/>
          </p:cNvSpPr>
          <p:nvPr/>
        </p:nvSpPr>
        <p:spPr>
          <a:xfrm>
            <a:off x="8700727" y="2265049"/>
            <a:ext cx="2729273" cy="946606"/>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buSzPct val="100000"/>
            </a:pPr>
            <a:r>
              <a:rPr lang="en-US" sz="1200" dirty="0">
                <a:solidFill>
                  <a:schemeClr val="tx1"/>
                </a:solidFill>
                <a:latin typeface="Segoe UI Light" panose="020B0502040204020203" pitchFamily="34" charset="0"/>
                <a:ea typeface="Lato Light" panose="020F0502020204030203" pitchFamily="34" charset="0"/>
              </a:rPr>
              <a:t>Lorem ipsum dolor sit amet, consectetuer adipiscing elit. Aenean commodo ligula eget dolor. Aenean massa. </a:t>
            </a:r>
          </a:p>
        </p:txBody>
      </p:sp>
      <p:sp>
        <p:nvSpPr>
          <p:cNvPr id="19" name="TextBox 18">
            <a:extLst>
              <a:ext uri="{FF2B5EF4-FFF2-40B4-BE49-F238E27FC236}">
                <a16:creationId xmlns:a16="http://schemas.microsoft.com/office/drawing/2014/main" id="{45F6C97F-ECC8-7247-8B9A-99AB25F80F32}"/>
              </a:ext>
            </a:extLst>
          </p:cNvPr>
          <p:cNvSpPr txBox="1"/>
          <p:nvPr/>
        </p:nvSpPr>
        <p:spPr>
          <a:xfrm>
            <a:off x="7043477" y="2319710"/>
            <a:ext cx="883575" cy="553998"/>
          </a:xfrm>
          <a:prstGeom prst="rect">
            <a:avLst/>
          </a:prstGeom>
          <a:noFill/>
        </p:spPr>
        <p:txBody>
          <a:bodyPr wrap="none" rtlCol="0" anchor="ctr" anchorCtr="0">
            <a:spAutoFit/>
          </a:bodyPr>
          <a:lstStyle/>
          <a:p>
            <a:pPr algn="ctr"/>
            <a:r>
              <a:rPr lang="en-US" sz="3000" b="1" dirty="0">
                <a:solidFill>
                  <a:schemeClr val="accent2"/>
                </a:solidFill>
                <a:latin typeface="Segoe UI Light" panose="020B0502040204020203" pitchFamily="34" charset="0"/>
                <a:ea typeface="League Spartan" charset="0"/>
                <a:cs typeface="Poppins" pitchFamily="2" charset="77"/>
              </a:rPr>
              <a:t>68%</a:t>
            </a:r>
          </a:p>
        </p:txBody>
      </p:sp>
      <p:graphicFrame>
        <p:nvGraphicFramePr>
          <p:cNvPr id="23" name="Chart 22">
            <a:extLst>
              <a:ext uri="{FF2B5EF4-FFF2-40B4-BE49-F238E27FC236}">
                <a16:creationId xmlns:a16="http://schemas.microsoft.com/office/drawing/2014/main" id="{C73F2C8D-A693-8B4D-868F-FDF5C6943B43}"/>
              </a:ext>
            </a:extLst>
          </p:cNvPr>
          <p:cNvGraphicFramePr/>
          <p:nvPr/>
        </p:nvGraphicFramePr>
        <p:xfrm>
          <a:off x="6381949" y="4086622"/>
          <a:ext cx="2121571" cy="2109029"/>
        </p:xfrm>
        <a:graphic>
          <a:graphicData uri="http://schemas.openxmlformats.org/drawingml/2006/chart">
            <c:chart xmlns:c="http://schemas.openxmlformats.org/drawingml/2006/chart" xmlns:r="http://schemas.openxmlformats.org/officeDocument/2006/relationships" r:id="rId7"/>
          </a:graphicData>
        </a:graphic>
      </p:graphicFrame>
      <p:sp>
        <p:nvSpPr>
          <p:cNvPr id="26" name="TextBox 25">
            <a:extLst>
              <a:ext uri="{FF2B5EF4-FFF2-40B4-BE49-F238E27FC236}">
                <a16:creationId xmlns:a16="http://schemas.microsoft.com/office/drawing/2014/main" id="{1FFAEC84-70DC-7B4E-98EF-06B8CDD43910}"/>
              </a:ext>
            </a:extLst>
          </p:cNvPr>
          <p:cNvSpPr txBox="1"/>
          <p:nvPr/>
        </p:nvSpPr>
        <p:spPr>
          <a:xfrm>
            <a:off x="8700727" y="4463759"/>
            <a:ext cx="1474699" cy="338554"/>
          </a:xfrm>
          <a:prstGeom prst="rect">
            <a:avLst/>
          </a:prstGeom>
          <a:noFill/>
        </p:spPr>
        <p:txBody>
          <a:bodyPr wrap="none" rtlCol="0" anchor="b"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 04</a:t>
            </a:r>
          </a:p>
        </p:txBody>
      </p:sp>
      <p:sp>
        <p:nvSpPr>
          <p:cNvPr id="27" name="Subtitle 2">
            <a:extLst>
              <a:ext uri="{FF2B5EF4-FFF2-40B4-BE49-F238E27FC236}">
                <a16:creationId xmlns:a16="http://schemas.microsoft.com/office/drawing/2014/main" id="{2F2FE16C-1AD7-2F4A-AD29-D0A12F7969A4}"/>
              </a:ext>
            </a:extLst>
          </p:cNvPr>
          <p:cNvSpPr txBox="1">
            <a:spLocks/>
          </p:cNvSpPr>
          <p:nvPr/>
        </p:nvSpPr>
        <p:spPr>
          <a:xfrm>
            <a:off x="8700727" y="4851838"/>
            <a:ext cx="2729273" cy="946606"/>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buSzPct val="100000"/>
            </a:pPr>
            <a:r>
              <a:rPr lang="en-US" sz="1200" dirty="0">
                <a:solidFill>
                  <a:schemeClr val="tx1"/>
                </a:solidFill>
                <a:latin typeface="Segoe UI Light" panose="020B0502040204020203" pitchFamily="34" charset="0"/>
                <a:ea typeface="Lato Light" panose="020F0502020204030203" pitchFamily="34" charset="0"/>
              </a:rPr>
              <a:t>Lorem ipsum dolor sit amet, consectetuer adipiscing elit. Aenean commodo ligula eget dolor. Aenean massa. </a:t>
            </a:r>
          </a:p>
        </p:txBody>
      </p:sp>
      <p:sp>
        <p:nvSpPr>
          <p:cNvPr id="25" name="TextBox 24">
            <a:extLst>
              <a:ext uri="{FF2B5EF4-FFF2-40B4-BE49-F238E27FC236}">
                <a16:creationId xmlns:a16="http://schemas.microsoft.com/office/drawing/2014/main" id="{B167D590-936B-9843-8458-75A0F0BE6AFC}"/>
              </a:ext>
            </a:extLst>
          </p:cNvPr>
          <p:cNvSpPr txBox="1"/>
          <p:nvPr/>
        </p:nvSpPr>
        <p:spPr>
          <a:xfrm>
            <a:off x="7015800" y="4917300"/>
            <a:ext cx="896399" cy="553998"/>
          </a:xfrm>
          <a:prstGeom prst="rect">
            <a:avLst/>
          </a:prstGeom>
          <a:noFill/>
        </p:spPr>
        <p:txBody>
          <a:bodyPr wrap="none" rtlCol="0" anchor="ctr" anchorCtr="0">
            <a:spAutoFit/>
          </a:bodyPr>
          <a:lstStyle/>
          <a:p>
            <a:pPr algn="ctr"/>
            <a:r>
              <a:rPr lang="en-US" sz="3000" b="1" dirty="0">
                <a:solidFill>
                  <a:schemeClr val="accent4"/>
                </a:solidFill>
                <a:latin typeface="Segoe UI Light" panose="020B0502040204020203" pitchFamily="34" charset="0"/>
                <a:ea typeface="League Spartan" charset="0"/>
                <a:cs typeface="Poppins" pitchFamily="2" charset="77"/>
              </a:rPr>
              <a:t>44%</a:t>
            </a:r>
          </a:p>
        </p:txBody>
      </p:sp>
      <p:sp>
        <p:nvSpPr>
          <p:cNvPr id="7" name="Title 6">
            <a:extLst>
              <a:ext uri="{FF2B5EF4-FFF2-40B4-BE49-F238E27FC236}">
                <a16:creationId xmlns:a16="http://schemas.microsoft.com/office/drawing/2014/main" id="{D536923B-0418-485A-AB4D-D027AF409C0F}"/>
              </a:ext>
            </a:extLst>
          </p:cNvPr>
          <p:cNvSpPr>
            <a:spLocks noGrp="1"/>
          </p:cNvSpPr>
          <p:nvPr>
            <p:ph type="title"/>
          </p:nvPr>
        </p:nvSpPr>
        <p:spPr/>
        <p:txBody>
          <a:bodyPr/>
          <a:lstStyle/>
          <a:p>
            <a:r>
              <a:rPr lang="en-US" sz="3000" dirty="0"/>
              <a:t>Budget slide</a:t>
            </a:r>
          </a:p>
        </p:txBody>
      </p:sp>
    </p:spTree>
    <p:custDataLst>
      <p:tags r:id="rId1"/>
    </p:custDataLst>
    <p:extLst>
      <p:ext uri="{BB962C8B-B14F-4D97-AF65-F5344CB8AC3E}">
        <p14:creationId xmlns:p14="http://schemas.microsoft.com/office/powerpoint/2010/main" val="951553653"/>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2F2621-B3F3-487E-8C20-522F9DB4FE2B}"/>
              </a:ext>
            </a:extLst>
          </p:cNvPr>
          <p:cNvSpPr>
            <a:spLocks noGrp="1"/>
          </p:cNvSpPr>
          <p:nvPr>
            <p:ph type="title"/>
          </p:nvPr>
        </p:nvSpPr>
        <p:spPr/>
        <p:txBody>
          <a:bodyPr/>
          <a:lstStyle/>
          <a:p>
            <a:r>
              <a:rPr lang="en-US" sz="3000" dirty="0"/>
              <a:t>One hundred people</a:t>
            </a:r>
          </a:p>
        </p:txBody>
      </p:sp>
      <p:sp>
        <p:nvSpPr>
          <p:cNvPr id="311" name="MIO_SHADOWBOX">
            <a:extLst>
              <a:ext uri="{FF2B5EF4-FFF2-40B4-BE49-F238E27FC236}">
                <a16:creationId xmlns:a16="http://schemas.microsoft.com/office/drawing/2014/main" id="{A8AA012D-4F5E-4D85-86B0-946A667F19FD}"/>
              </a:ext>
            </a:extLst>
          </p:cNvPr>
          <p:cNvSpPr/>
          <p:nvPr/>
        </p:nvSpPr>
        <p:spPr>
          <a:xfrm>
            <a:off x="6360262" y="4185768"/>
            <a:ext cx="5373338" cy="2256428"/>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309" name="MIO_SHADOWBOX">
            <a:extLst>
              <a:ext uri="{FF2B5EF4-FFF2-40B4-BE49-F238E27FC236}">
                <a16:creationId xmlns:a16="http://schemas.microsoft.com/office/drawing/2014/main" id="{444F7A78-1A80-4394-B283-41AF6B4AAF46}"/>
              </a:ext>
            </a:extLst>
          </p:cNvPr>
          <p:cNvSpPr/>
          <p:nvPr/>
        </p:nvSpPr>
        <p:spPr>
          <a:xfrm>
            <a:off x="6360262" y="1387799"/>
            <a:ext cx="5373337" cy="2256429"/>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sp>
        <p:nvSpPr>
          <p:cNvPr id="304" name="MIO_SHADOWBOX">
            <a:extLst>
              <a:ext uri="{FF2B5EF4-FFF2-40B4-BE49-F238E27FC236}">
                <a16:creationId xmlns:a16="http://schemas.microsoft.com/office/drawing/2014/main" id="{04B540D9-A457-4E4F-898E-5FCAC86314B0}"/>
              </a:ext>
            </a:extLst>
          </p:cNvPr>
          <p:cNvSpPr/>
          <p:nvPr/>
        </p:nvSpPr>
        <p:spPr>
          <a:xfrm>
            <a:off x="458400" y="1387799"/>
            <a:ext cx="5373338" cy="5054400"/>
          </a:xfrm>
          <a:prstGeom prst="rect">
            <a:avLst/>
          </a:prstGeom>
          <a:solidFill>
            <a:schemeClr val="bg1"/>
          </a:solidFill>
          <a:effectLst>
            <a:outerShdw blurRad="76200" sx="101000" sy="101000" algn="ctr" rotWithShape="0">
              <a:schemeClr val="tx1">
                <a:alpha val="10000"/>
              </a:schemeClr>
            </a:outerShdw>
          </a:effectLst>
        </p:spPr>
        <p:txBody>
          <a:bodyPr vert="horz" lIns="360000" tIns="180000" rIns="360000" bIns="180000" rtlCol="0" anchor="ctr">
            <a:noAutofit/>
          </a:bodyPr>
          <a:lstStyle/>
          <a:p>
            <a:pPr algn="ctr">
              <a:lnSpc>
                <a:spcPct val="120000"/>
              </a:lnSpc>
              <a:spcBef>
                <a:spcPts val="1200"/>
              </a:spcBef>
              <a:spcAft>
                <a:spcPts val="300"/>
              </a:spcAft>
              <a:buClr>
                <a:srgbClr val="123F6E"/>
              </a:buClr>
            </a:pPr>
            <a:endParaRPr lang="en-US" sz="1600" dirty="0">
              <a:solidFill>
                <a:prstClr val="black"/>
              </a:solidFill>
              <a:ea typeface="+mj-ea"/>
              <a:cs typeface="Segoe UI Semibold"/>
            </a:endParaRPr>
          </a:p>
        </p:txBody>
      </p:sp>
      <p:pic>
        <p:nvPicPr>
          <p:cNvPr id="3" name="MIO_OBJECT1" descr="Mann">
            <a:extLst>
              <a:ext uri="{FF2B5EF4-FFF2-40B4-BE49-F238E27FC236}">
                <a16:creationId xmlns:a16="http://schemas.microsoft.com/office/drawing/2014/main" id="{73BD7137-390E-47D1-BF26-21580E7ACE0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8790" y="1777339"/>
            <a:ext cx="385543" cy="395039"/>
          </a:xfrm>
          <a:prstGeom prst="rect">
            <a:avLst/>
          </a:prstGeom>
        </p:spPr>
      </p:pic>
      <p:pic>
        <p:nvPicPr>
          <p:cNvPr id="202" name="MIO_OBJECT1" descr="Mann">
            <a:extLst>
              <a:ext uri="{FF2B5EF4-FFF2-40B4-BE49-F238E27FC236}">
                <a16:creationId xmlns:a16="http://schemas.microsoft.com/office/drawing/2014/main" id="{C53BB34B-EA05-4268-961B-6F7A981C2634}"/>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479570" y="1777339"/>
            <a:ext cx="385543" cy="395039"/>
          </a:xfrm>
          <a:prstGeom prst="rect">
            <a:avLst/>
          </a:prstGeom>
        </p:spPr>
      </p:pic>
      <p:pic>
        <p:nvPicPr>
          <p:cNvPr id="203" name="MIO_OBJECT1" descr="Mann">
            <a:extLst>
              <a:ext uri="{FF2B5EF4-FFF2-40B4-BE49-F238E27FC236}">
                <a16:creationId xmlns:a16="http://schemas.microsoft.com/office/drawing/2014/main" id="{DF806132-46BD-4503-A0A9-57BD1D08292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900349" y="1777339"/>
            <a:ext cx="385543" cy="395039"/>
          </a:xfrm>
          <a:prstGeom prst="rect">
            <a:avLst/>
          </a:prstGeom>
        </p:spPr>
      </p:pic>
      <p:pic>
        <p:nvPicPr>
          <p:cNvPr id="204" name="MIO_OBJECT1" descr="Mann">
            <a:extLst>
              <a:ext uri="{FF2B5EF4-FFF2-40B4-BE49-F238E27FC236}">
                <a16:creationId xmlns:a16="http://schemas.microsoft.com/office/drawing/2014/main" id="{7782F13B-BB4B-4BCF-9FC9-858AE4A8555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21128" y="1777339"/>
            <a:ext cx="385543" cy="395039"/>
          </a:xfrm>
          <a:prstGeom prst="rect">
            <a:avLst/>
          </a:prstGeom>
        </p:spPr>
      </p:pic>
      <p:pic>
        <p:nvPicPr>
          <p:cNvPr id="205" name="MIO_OBJECT1" descr="Mann">
            <a:extLst>
              <a:ext uri="{FF2B5EF4-FFF2-40B4-BE49-F238E27FC236}">
                <a16:creationId xmlns:a16="http://schemas.microsoft.com/office/drawing/2014/main" id="{E50BF5AB-2F30-4990-B40A-9F06F62E5259}"/>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741907" y="1777339"/>
            <a:ext cx="385543" cy="395039"/>
          </a:xfrm>
          <a:prstGeom prst="rect">
            <a:avLst/>
          </a:prstGeom>
        </p:spPr>
      </p:pic>
      <p:pic>
        <p:nvPicPr>
          <p:cNvPr id="206" name="MIO_OBJECT1" descr="Mann">
            <a:extLst>
              <a:ext uri="{FF2B5EF4-FFF2-40B4-BE49-F238E27FC236}">
                <a16:creationId xmlns:a16="http://schemas.microsoft.com/office/drawing/2014/main" id="{360480E8-1047-471D-BA94-0732005E88B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162686" y="1777339"/>
            <a:ext cx="385543" cy="395039"/>
          </a:xfrm>
          <a:prstGeom prst="rect">
            <a:avLst/>
          </a:prstGeom>
        </p:spPr>
      </p:pic>
      <p:pic>
        <p:nvPicPr>
          <p:cNvPr id="207" name="MIO_OBJECT1" descr="Mann">
            <a:extLst>
              <a:ext uri="{FF2B5EF4-FFF2-40B4-BE49-F238E27FC236}">
                <a16:creationId xmlns:a16="http://schemas.microsoft.com/office/drawing/2014/main" id="{6DEEC27E-DBF3-4275-AEA5-97CEEAC5A5F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583466" y="1777339"/>
            <a:ext cx="385543" cy="395039"/>
          </a:xfrm>
          <a:prstGeom prst="rect">
            <a:avLst/>
          </a:prstGeom>
        </p:spPr>
      </p:pic>
      <p:pic>
        <p:nvPicPr>
          <p:cNvPr id="208" name="MIO_OBJECT1" descr="Mann">
            <a:extLst>
              <a:ext uri="{FF2B5EF4-FFF2-40B4-BE49-F238E27FC236}">
                <a16:creationId xmlns:a16="http://schemas.microsoft.com/office/drawing/2014/main" id="{696D66C4-1C0D-48FA-811F-92D139DDA90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004244" y="1777339"/>
            <a:ext cx="385543" cy="395039"/>
          </a:xfrm>
          <a:prstGeom prst="rect">
            <a:avLst/>
          </a:prstGeom>
        </p:spPr>
      </p:pic>
      <p:pic>
        <p:nvPicPr>
          <p:cNvPr id="209" name="MIO_OBJECT1" descr="Mann">
            <a:extLst>
              <a:ext uri="{FF2B5EF4-FFF2-40B4-BE49-F238E27FC236}">
                <a16:creationId xmlns:a16="http://schemas.microsoft.com/office/drawing/2014/main" id="{0BFD0D09-FAEE-4C99-8F9E-72AEB9E1D56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425021" y="1777339"/>
            <a:ext cx="385543" cy="395039"/>
          </a:xfrm>
          <a:prstGeom prst="rect">
            <a:avLst/>
          </a:prstGeom>
        </p:spPr>
      </p:pic>
      <p:pic>
        <p:nvPicPr>
          <p:cNvPr id="210" name="MIO_OBJECT1" descr="Mann">
            <a:extLst>
              <a:ext uri="{FF2B5EF4-FFF2-40B4-BE49-F238E27FC236}">
                <a16:creationId xmlns:a16="http://schemas.microsoft.com/office/drawing/2014/main" id="{0A917497-D89D-41F7-A8CD-9636A01406F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845802" y="1777339"/>
            <a:ext cx="385543" cy="395039"/>
          </a:xfrm>
          <a:prstGeom prst="rect">
            <a:avLst/>
          </a:prstGeom>
        </p:spPr>
      </p:pic>
      <p:pic>
        <p:nvPicPr>
          <p:cNvPr id="211" name="MIO_OBJECT1" descr="Mann">
            <a:extLst>
              <a:ext uri="{FF2B5EF4-FFF2-40B4-BE49-F238E27FC236}">
                <a16:creationId xmlns:a16="http://schemas.microsoft.com/office/drawing/2014/main" id="{0AD4B671-4CB3-4DEE-A7A9-015C34F4CC8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8790" y="2208481"/>
            <a:ext cx="385543" cy="395039"/>
          </a:xfrm>
          <a:prstGeom prst="rect">
            <a:avLst/>
          </a:prstGeom>
        </p:spPr>
      </p:pic>
      <p:pic>
        <p:nvPicPr>
          <p:cNvPr id="212" name="MIO_OBJECT1" descr="Mann">
            <a:extLst>
              <a:ext uri="{FF2B5EF4-FFF2-40B4-BE49-F238E27FC236}">
                <a16:creationId xmlns:a16="http://schemas.microsoft.com/office/drawing/2014/main" id="{48C1BB98-5E3C-4FD3-A3F8-9EC843C5208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479570" y="2208481"/>
            <a:ext cx="385543" cy="395039"/>
          </a:xfrm>
          <a:prstGeom prst="rect">
            <a:avLst/>
          </a:prstGeom>
        </p:spPr>
      </p:pic>
      <p:pic>
        <p:nvPicPr>
          <p:cNvPr id="213" name="MIO_OBJECT1" descr="Mann">
            <a:extLst>
              <a:ext uri="{FF2B5EF4-FFF2-40B4-BE49-F238E27FC236}">
                <a16:creationId xmlns:a16="http://schemas.microsoft.com/office/drawing/2014/main" id="{3FA986CE-A9DB-42E2-85F0-C9477447946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900349" y="2208481"/>
            <a:ext cx="385543" cy="395039"/>
          </a:xfrm>
          <a:prstGeom prst="rect">
            <a:avLst/>
          </a:prstGeom>
        </p:spPr>
      </p:pic>
      <p:pic>
        <p:nvPicPr>
          <p:cNvPr id="214" name="MIO_OBJECT1" descr="Mann">
            <a:extLst>
              <a:ext uri="{FF2B5EF4-FFF2-40B4-BE49-F238E27FC236}">
                <a16:creationId xmlns:a16="http://schemas.microsoft.com/office/drawing/2014/main" id="{A01CD6F5-22A0-462A-A7CD-8592B78272A9}"/>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21128" y="2208481"/>
            <a:ext cx="385543" cy="395039"/>
          </a:xfrm>
          <a:prstGeom prst="rect">
            <a:avLst/>
          </a:prstGeom>
        </p:spPr>
      </p:pic>
      <p:pic>
        <p:nvPicPr>
          <p:cNvPr id="215" name="MIO_OBJECT1" descr="Mann">
            <a:extLst>
              <a:ext uri="{FF2B5EF4-FFF2-40B4-BE49-F238E27FC236}">
                <a16:creationId xmlns:a16="http://schemas.microsoft.com/office/drawing/2014/main" id="{ADE1B08B-7E32-47A2-860C-5E852FD375C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741907" y="2208481"/>
            <a:ext cx="385543" cy="395039"/>
          </a:xfrm>
          <a:prstGeom prst="rect">
            <a:avLst/>
          </a:prstGeom>
        </p:spPr>
      </p:pic>
      <p:pic>
        <p:nvPicPr>
          <p:cNvPr id="216" name="MIO_OBJECT1" descr="Mann">
            <a:extLst>
              <a:ext uri="{FF2B5EF4-FFF2-40B4-BE49-F238E27FC236}">
                <a16:creationId xmlns:a16="http://schemas.microsoft.com/office/drawing/2014/main" id="{A89BB158-7399-4BC4-8805-F0A9920E4494}"/>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162686" y="2208481"/>
            <a:ext cx="385543" cy="395039"/>
          </a:xfrm>
          <a:prstGeom prst="rect">
            <a:avLst/>
          </a:prstGeom>
        </p:spPr>
      </p:pic>
      <p:pic>
        <p:nvPicPr>
          <p:cNvPr id="217" name="MIO_OBJECT1" descr="Mann">
            <a:extLst>
              <a:ext uri="{FF2B5EF4-FFF2-40B4-BE49-F238E27FC236}">
                <a16:creationId xmlns:a16="http://schemas.microsoft.com/office/drawing/2014/main" id="{F3BE1CF8-5401-494E-8B3D-EE2B5DAA6F36}"/>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583466" y="2208481"/>
            <a:ext cx="385543" cy="395039"/>
          </a:xfrm>
          <a:prstGeom prst="rect">
            <a:avLst/>
          </a:prstGeom>
        </p:spPr>
      </p:pic>
      <p:pic>
        <p:nvPicPr>
          <p:cNvPr id="218" name="MIO_OBJECT1" descr="Mann">
            <a:extLst>
              <a:ext uri="{FF2B5EF4-FFF2-40B4-BE49-F238E27FC236}">
                <a16:creationId xmlns:a16="http://schemas.microsoft.com/office/drawing/2014/main" id="{F70C5D61-D35F-44DB-82F5-981800B38A9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004244" y="2208481"/>
            <a:ext cx="385543" cy="395039"/>
          </a:xfrm>
          <a:prstGeom prst="rect">
            <a:avLst/>
          </a:prstGeom>
        </p:spPr>
      </p:pic>
      <p:pic>
        <p:nvPicPr>
          <p:cNvPr id="219" name="MIO_OBJECT1" descr="Mann">
            <a:extLst>
              <a:ext uri="{FF2B5EF4-FFF2-40B4-BE49-F238E27FC236}">
                <a16:creationId xmlns:a16="http://schemas.microsoft.com/office/drawing/2014/main" id="{249269D0-201A-416F-AC0C-A778E3BE24D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425021" y="2208481"/>
            <a:ext cx="385543" cy="395039"/>
          </a:xfrm>
          <a:prstGeom prst="rect">
            <a:avLst/>
          </a:prstGeom>
        </p:spPr>
      </p:pic>
      <p:pic>
        <p:nvPicPr>
          <p:cNvPr id="220" name="MIO_OBJECT1" descr="Mann">
            <a:extLst>
              <a:ext uri="{FF2B5EF4-FFF2-40B4-BE49-F238E27FC236}">
                <a16:creationId xmlns:a16="http://schemas.microsoft.com/office/drawing/2014/main" id="{25E83BA2-707B-45B0-A3D7-6C441FB6F9B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845802" y="2208481"/>
            <a:ext cx="385543" cy="395039"/>
          </a:xfrm>
          <a:prstGeom prst="rect">
            <a:avLst/>
          </a:prstGeom>
        </p:spPr>
      </p:pic>
      <p:pic>
        <p:nvPicPr>
          <p:cNvPr id="221" name="MIO_OBJECT1" descr="Mann">
            <a:extLst>
              <a:ext uri="{FF2B5EF4-FFF2-40B4-BE49-F238E27FC236}">
                <a16:creationId xmlns:a16="http://schemas.microsoft.com/office/drawing/2014/main" id="{E23D8CA1-9EAE-4F96-95B9-5C5EC0881FF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8790" y="2639622"/>
            <a:ext cx="385543" cy="395039"/>
          </a:xfrm>
          <a:prstGeom prst="rect">
            <a:avLst/>
          </a:prstGeom>
        </p:spPr>
      </p:pic>
      <p:pic>
        <p:nvPicPr>
          <p:cNvPr id="222" name="MIO_OBJECT1" descr="Mann">
            <a:extLst>
              <a:ext uri="{FF2B5EF4-FFF2-40B4-BE49-F238E27FC236}">
                <a16:creationId xmlns:a16="http://schemas.microsoft.com/office/drawing/2014/main" id="{37F012D4-5AF7-44A3-980E-E95E59F0B26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479570" y="2639622"/>
            <a:ext cx="385543" cy="395039"/>
          </a:xfrm>
          <a:prstGeom prst="rect">
            <a:avLst/>
          </a:prstGeom>
        </p:spPr>
      </p:pic>
      <p:pic>
        <p:nvPicPr>
          <p:cNvPr id="223" name="MIO_OBJECT1" descr="Mann">
            <a:extLst>
              <a:ext uri="{FF2B5EF4-FFF2-40B4-BE49-F238E27FC236}">
                <a16:creationId xmlns:a16="http://schemas.microsoft.com/office/drawing/2014/main" id="{D7C70F53-910B-49A0-B3EC-9E8BA2863299}"/>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900349" y="2639622"/>
            <a:ext cx="385543" cy="395039"/>
          </a:xfrm>
          <a:prstGeom prst="rect">
            <a:avLst/>
          </a:prstGeom>
        </p:spPr>
      </p:pic>
      <p:pic>
        <p:nvPicPr>
          <p:cNvPr id="224" name="MIO_OBJECT1" descr="Mann">
            <a:extLst>
              <a:ext uri="{FF2B5EF4-FFF2-40B4-BE49-F238E27FC236}">
                <a16:creationId xmlns:a16="http://schemas.microsoft.com/office/drawing/2014/main" id="{1463E315-29D0-438A-8C18-31D0D2F65D6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21128" y="2639622"/>
            <a:ext cx="385543" cy="395039"/>
          </a:xfrm>
          <a:prstGeom prst="rect">
            <a:avLst/>
          </a:prstGeom>
        </p:spPr>
      </p:pic>
      <p:pic>
        <p:nvPicPr>
          <p:cNvPr id="225" name="MIO_OBJECT1" descr="Mann">
            <a:extLst>
              <a:ext uri="{FF2B5EF4-FFF2-40B4-BE49-F238E27FC236}">
                <a16:creationId xmlns:a16="http://schemas.microsoft.com/office/drawing/2014/main" id="{BDF25686-96C2-4B30-8C1A-27CB0F1339B4}"/>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741907" y="2639622"/>
            <a:ext cx="385543" cy="395039"/>
          </a:xfrm>
          <a:prstGeom prst="rect">
            <a:avLst/>
          </a:prstGeom>
        </p:spPr>
      </p:pic>
      <p:pic>
        <p:nvPicPr>
          <p:cNvPr id="226" name="MIO_OBJECT1" descr="Mann">
            <a:extLst>
              <a:ext uri="{FF2B5EF4-FFF2-40B4-BE49-F238E27FC236}">
                <a16:creationId xmlns:a16="http://schemas.microsoft.com/office/drawing/2014/main" id="{E834958C-A666-4D5A-8A48-0AD93E79B606}"/>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162686" y="2639622"/>
            <a:ext cx="385543" cy="395039"/>
          </a:xfrm>
          <a:prstGeom prst="rect">
            <a:avLst/>
          </a:prstGeom>
        </p:spPr>
      </p:pic>
      <p:pic>
        <p:nvPicPr>
          <p:cNvPr id="227" name="MIO_OBJECT1" descr="Mann">
            <a:extLst>
              <a:ext uri="{FF2B5EF4-FFF2-40B4-BE49-F238E27FC236}">
                <a16:creationId xmlns:a16="http://schemas.microsoft.com/office/drawing/2014/main" id="{1F6BF439-8570-4446-AE67-75712C2BBD8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583466" y="2639622"/>
            <a:ext cx="385543" cy="395039"/>
          </a:xfrm>
          <a:prstGeom prst="rect">
            <a:avLst/>
          </a:prstGeom>
        </p:spPr>
      </p:pic>
      <p:pic>
        <p:nvPicPr>
          <p:cNvPr id="228" name="MIO_OBJECT1" descr="Mann">
            <a:extLst>
              <a:ext uri="{FF2B5EF4-FFF2-40B4-BE49-F238E27FC236}">
                <a16:creationId xmlns:a16="http://schemas.microsoft.com/office/drawing/2014/main" id="{63E56F0C-ACC6-4D59-B8EE-786BDEE150A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004244" y="2639622"/>
            <a:ext cx="385543" cy="395039"/>
          </a:xfrm>
          <a:prstGeom prst="rect">
            <a:avLst/>
          </a:prstGeom>
        </p:spPr>
      </p:pic>
      <p:pic>
        <p:nvPicPr>
          <p:cNvPr id="229" name="MIO_OBJECT1" descr="Mann">
            <a:extLst>
              <a:ext uri="{FF2B5EF4-FFF2-40B4-BE49-F238E27FC236}">
                <a16:creationId xmlns:a16="http://schemas.microsoft.com/office/drawing/2014/main" id="{FEFBF10E-707D-4338-A0BC-E01C83542A1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425021" y="2639622"/>
            <a:ext cx="385543" cy="395039"/>
          </a:xfrm>
          <a:prstGeom prst="rect">
            <a:avLst/>
          </a:prstGeom>
        </p:spPr>
      </p:pic>
      <p:pic>
        <p:nvPicPr>
          <p:cNvPr id="230" name="MIO_OBJECT1" descr="Mann">
            <a:extLst>
              <a:ext uri="{FF2B5EF4-FFF2-40B4-BE49-F238E27FC236}">
                <a16:creationId xmlns:a16="http://schemas.microsoft.com/office/drawing/2014/main" id="{F1EB73CA-FA5B-40EC-8672-BD36986AF4A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845802" y="2639622"/>
            <a:ext cx="385543" cy="395039"/>
          </a:xfrm>
          <a:prstGeom prst="rect">
            <a:avLst/>
          </a:prstGeom>
        </p:spPr>
      </p:pic>
      <p:pic>
        <p:nvPicPr>
          <p:cNvPr id="231" name="MIO_OBJECT1" descr="Mann">
            <a:extLst>
              <a:ext uri="{FF2B5EF4-FFF2-40B4-BE49-F238E27FC236}">
                <a16:creationId xmlns:a16="http://schemas.microsoft.com/office/drawing/2014/main" id="{79434B3A-C45B-422B-AAA8-7913535276A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8790" y="3070765"/>
            <a:ext cx="385543" cy="395039"/>
          </a:xfrm>
          <a:prstGeom prst="rect">
            <a:avLst/>
          </a:prstGeom>
        </p:spPr>
      </p:pic>
      <p:pic>
        <p:nvPicPr>
          <p:cNvPr id="232" name="MIO_OBJECT1" descr="Mann">
            <a:extLst>
              <a:ext uri="{FF2B5EF4-FFF2-40B4-BE49-F238E27FC236}">
                <a16:creationId xmlns:a16="http://schemas.microsoft.com/office/drawing/2014/main" id="{988B1509-ECC5-49B3-B465-73BF35D5266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479570" y="3070765"/>
            <a:ext cx="385543" cy="395039"/>
          </a:xfrm>
          <a:prstGeom prst="rect">
            <a:avLst/>
          </a:prstGeom>
        </p:spPr>
      </p:pic>
      <p:pic>
        <p:nvPicPr>
          <p:cNvPr id="233" name="MIO_OBJECT1" descr="Mann">
            <a:extLst>
              <a:ext uri="{FF2B5EF4-FFF2-40B4-BE49-F238E27FC236}">
                <a16:creationId xmlns:a16="http://schemas.microsoft.com/office/drawing/2014/main" id="{2565D73E-955F-4DFA-8705-672288FFE54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900349" y="3070765"/>
            <a:ext cx="385543" cy="395039"/>
          </a:xfrm>
          <a:prstGeom prst="rect">
            <a:avLst/>
          </a:prstGeom>
        </p:spPr>
      </p:pic>
      <p:pic>
        <p:nvPicPr>
          <p:cNvPr id="234" name="MIO_OBJECT1" descr="Mann">
            <a:extLst>
              <a:ext uri="{FF2B5EF4-FFF2-40B4-BE49-F238E27FC236}">
                <a16:creationId xmlns:a16="http://schemas.microsoft.com/office/drawing/2014/main" id="{C75DCD3C-9BDE-4750-BD71-BCECCC3C5FD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21128" y="3070765"/>
            <a:ext cx="385543" cy="395039"/>
          </a:xfrm>
          <a:prstGeom prst="rect">
            <a:avLst/>
          </a:prstGeom>
        </p:spPr>
      </p:pic>
      <p:pic>
        <p:nvPicPr>
          <p:cNvPr id="235" name="MIO_OBJECT1" descr="Mann">
            <a:extLst>
              <a:ext uri="{FF2B5EF4-FFF2-40B4-BE49-F238E27FC236}">
                <a16:creationId xmlns:a16="http://schemas.microsoft.com/office/drawing/2014/main" id="{C58F5D5B-E507-46DF-9520-393BCD81CA9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741907" y="3070765"/>
            <a:ext cx="385543" cy="395039"/>
          </a:xfrm>
          <a:prstGeom prst="rect">
            <a:avLst/>
          </a:prstGeom>
        </p:spPr>
      </p:pic>
      <p:pic>
        <p:nvPicPr>
          <p:cNvPr id="236" name="MIO_OBJECT1" descr="Mann">
            <a:extLst>
              <a:ext uri="{FF2B5EF4-FFF2-40B4-BE49-F238E27FC236}">
                <a16:creationId xmlns:a16="http://schemas.microsoft.com/office/drawing/2014/main" id="{72EEC6AC-0F96-4203-B5C6-A0911DA5151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162686" y="3070765"/>
            <a:ext cx="385543" cy="395039"/>
          </a:xfrm>
          <a:prstGeom prst="rect">
            <a:avLst/>
          </a:prstGeom>
        </p:spPr>
      </p:pic>
      <p:pic>
        <p:nvPicPr>
          <p:cNvPr id="237" name="MIO_OBJECT1" descr="Mann">
            <a:extLst>
              <a:ext uri="{FF2B5EF4-FFF2-40B4-BE49-F238E27FC236}">
                <a16:creationId xmlns:a16="http://schemas.microsoft.com/office/drawing/2014/main" id="{C9155523-EB03-461E-960E-B3A9CFB6BB0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583466" y="3070765"/>
            <a:ext cx="385543" cy="395039"/>
          </a:xfrm>
          <a:prstGeom prst="rect">
            <a:avLst/>
          </a:prstGeom>
        </p:spPr>
      </p:pic>
      <p:pic>
        <p:nvPicPr>
          <p:cNvPr id="238" name="MIO_OBJECT1" descr="Mann">
            <a:extLst>
              <a:ext uri="{FF2B5EF4-FFF2-40B4-BE49-F238E27FC236}">
                <a16:creationId xmlns:a16="http://schemas.microsoft.com/office/drawing/2014/main" id="{A11E422C-32DC-416D-9363-FF4BC3BDA7BF}"/>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004244" y="3070765"/>
            <a:ext cx="385543" cy="395039"/>
          </a:xfrm>
          <a:prstGeom prst="rect">
            <a:avLst/>
          </a:prstGeom>
        </p:spPr>
      </p:pic>
      <p:pic>
        <p:nvPicPr>
          <p:cNvPr id="239" name="MIO_OBJECT1" descr="Mann">
            <a:extLst>
              <a:ext uri="{FF2B5EF4-FFF2-40B4-BE49-F238E27FC236}">
                <a16:creationId xmlns:a16="http://schemas.microsoft.com/office/drawing/2014/main" id="{A4AF0FDC-A24F-44F3-8D1C-483BF58A4DB9}"/>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425021" y="3070765"/>
            <a:ext cx="385543" cy="395039"/>
          </a:xfrm>
          <a:prstGeom prst="rect">
            <a:avLst/>
          </a:prstGeom>
        </p:spPr>
      </p:pic>
      <p:pic>
        <p:nvPicPr>
          <p:cNvPr id="240" name="MIO_OBJECT1" descr="Mann">
            <a:extLst>
              <a:ext uri="{FF2B5EF4-FFF2-40B4-BE49-F238E27FC236}">
                <a16:creationId xmlns:a16="http://schemas.microsoft.com/office/drawing/2014/main" id="{5BF3BBDA-1654-44FC-9001-9D4E069953B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845802" y="3070765"/>
            <a:ext cx="385543" cy="395039"/>
          </a:xfrm>
          <a:prstGeom prst="rect">
            <a:avLst/>
          </a:prstGeom>
        </p:spPr>
      </p:pic>
      <p:pic>
        <p:nvPicPr>
          <p:cNvPr id="241" name="MIO_OBJECT1" descr="Mann">
            <a:extLst>
              <a:ext uri="{FF2B5EF4-FFF2-40B4-BE49-F238E27FC236}">
                <a16:creationId xmlns:a16="http://schemas.microsoft.com/office/drawing/2014/main" id="{3454433F-0DAB-44E6-9C6C-8A9766F51DC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8790" y="3501909"/>
            <a:ext cx="385543" cy="395039"/>
          </a:xfrm>
          <a:prstGeom prst="rect">
            <a:avLst/>
          </a:prstGeom>
        </p:spPr>
      </p:pic>
      <p:pic>
        <p:nvPicPr>
          <p:cNvPr id="242" name="MIO_OBJECT1" descr="Mann">
            <a:extLst>
              <a:ext uri="{FF2B5EF4-FFF2-40B4-BE49-F238E27FC236}">
                <a16:creationId xmlns:a16="http://schemas.microsoft.com/office/drawing/2014/main" id="{6B76C31C-9F75-44F4-8A62-98F7D469D5B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479570" y="3501909"/>
            <a:ext cx="385543" cy="395039"/>
          </a:xfrm>
          <a:prstGeom prst="rect">
            <a:avLst/>
          </a:prstGeom>
        </p:spPr>
      </p:pic>
      <p:pic>
        <p:nvPicPr>
          <p:cNvPr id="243" name="MIO_OBJECT1" descr="Mann">
            <a:extLst>
              <a:ext uri="{FF2B5EF4-FFF2-40B4-BE49-F238E27FC236}">
                <a16:creationId xmlns:a16="http://schemas.microsoft.com/office/drawing/2014/main" id="{B47A2457-79A6-460F-8066-485DE8BC83B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900349" y="3501909"/>
            <a:ext cx="385543" cy="395039"/>
          </a:xfrm>
          <a:prstGeom prst="rect">
            <a:avLst/>
          </a:prstGeom>
        </p:spPr>
      </p:pic>
      <p:pic>
        <p:nvPicPr>
          <p:cNvPr id="244" name="MIO_OBJECT1" descr="Mann">
            <a:extLst>
              <a:ext uri="{FF2B5EF4-FFF2-40B4-BE49-F238E27FC236}">
                <a16:creationId xmlns:a16="http://schemas.microsoft.com/office/drawing/2014/main" id="{E06A8418-51A8-45D8-AEC0-9A103338E89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21128" y="3501909"/>
            <a:ext cx="385543" cy="395039"/>
          </a:xfrm>
          <a:prstGeom prst="rect">
            <a:avLst/>
          </a:prstGeom>
        </p:spPr>
      </p:pic>
      <p:pic>
        <p:nvPicPr>
          <p:cNvPr id="245" name="MIO_OBJECT1" descr="Mann">
            <a:extLst>
              <a:ext uri="{FF2B5EF4-FFF2-40B4-BE49-F238E27FC236}">
                <a16:creationId xmlns:a16="http://schemas.microsoft.com/office/drawing/2014/main" id="{7409D329-C4B4-4489-9B57-C2FE24D3451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741907" y="3501909"/>
            <a:ext cx="385543" cy="395039"/>
          </a:xfrm>
          <a:prstGeom prst="rect">
            <a:avLst/>
          </a:prstGeom>
        </p:spPr>
      </p:pic>
      <p:pic>
        <p:nvPicPr>
          <p:cNvPr id="246" name="MIO_OBJECT1" descr="Mann">
            <a:extLst>
              <a:ext uri="{FF2B5EF4-FFF2-40B4-BE49-F238E27FC236}">
                <a16:creationId xmlns:a16="http://schemas.microsoft.com/office/drawing/2014/main" id="{7B1ACE66-6A5B-4AFF-9591-2B7B2D93A50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162686" y="3501909"/>
            <a:ext cx="385543" cy="395039"/>
          </a:xfrm>
          <a:prstGeom prst="rect">
            <a:avLst/>
          </a:prstGeom>
        </p:spPr>
      </p:pic>
      <p:pic>
        <p:nvPicPr>
          <p:cNvPr id="247" name="MIO_OBJECT1" descr="Mann">
            <a:extLst>
              <a:ext uri="{FF2B5EF4-FFF2-40B4-BE49-F238E27FC236}">
                <a16:creationId xmlns:a16="http://schemas.microsoft.com/office/drawing/2014/main" id="{2F631646-6712-4F70-811C-AB78F6049AE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583466" y="3501909"/>
            <a:ext cx="385543" cy="395039"/>
          </a:xfrm>
          <a:prstGeom prst="rect">
            <a:avLst/>
          </a:prstGeom>
        </p:spPr>
      </p:pic>
      <p:pic>
        <p:nvPicPr>
          <p:cNvPr id="248" name="MIO_OBJECT1" descr="Mann">
            <a:extLst>
              <a:ext uri="{FF2B5EF4-FFF2-40B4-BE49-F238E27FC236}">
                <a16:creationId xmlns:a16="http://schemas.microsoft.com/office/drawing/2014/main" id="{B41257C5-E056-4711-B1AD-23DF168B6E6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004244" y="3501909"/>
            <a:ext cx="385543" cy="395039"/>
          </a:xfrm>
          <a:prstGeom prst="rect">
            <a:avLst/>
          </a:prstGeom>
        </p:spPr>
      </p:pic>
      <p:pic>
        <p:nvPicPr>
          <p:cNvPr id="249" name="MIO_OBJECT1" descr="Mann">
            <a:extLst>
              <a:ext uri="{FF2B5EF4-FFF2-40B4-BE49-F238E27FC236}">
                <a16:creationId xmlns:a16="http://schemas.microsoft.com/office/drawing/2014/main" id="{7636FB09-8C68-4CA3-AE51-EB3A235280D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425021" y="3501909"/>
            <a:ext cx="385543" cy="395039"/>
          </a:xfrm>
          <a:prstGeom prst="rect">
            <a:avLst/>
          </a:prstGeom>
        </p:spPr>
      </p:pic>
      <p:pic>
        <p:nvPicPr>
          <p:cNvPr id="250" name="MIO_OBJECT1" descr="Mann">
            <a:extLst>
              <a:ext uri="{FF2B5EF4-FFF2-40B4-BE49-F238E27FC236}">
                <a16:creationId xmlns:a16="http://schemas.microsoft.com/office/drawing/2014/main" id="{EBD50265-9885-4FF1-9C7D-C1B03A8520A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845802" y="3501909"/>
            <a:ext cx="385543" cy="395039"/>
          </a:xfrm>
          <a:prstGeom prst="rect">
            <a:avLst/>
          </a:prstGeom>
        </p:spPr>
      </p:pic>
      <p:pic>
        <p:nvPicPr>
          <p:cNvPr id="251" name="MIO_OBJECT1" descr="Mann">
            <a:extLst>
              <a:ext uri="{FF2B5EF4-FFF2-40B4-BE49-F238E27FC236}">
                <a16:creationId xmlns:a16="http://schemas.microsoft.com/office/drawing/2014/main" id="{7E1E750B-62F6-422F-A6F4-04964DC6C53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8790" y="3933052"/>
            <a:ext cx="385543" cy="395039"/>
          </a:xfrm>
          <a:prstGeom prst="rect">
            <a:avLst/>
          </a:prstGeom>
        </p:spPr>
      </p:pic>
      <p:pic>
        <p:nvPicPr>
          <p:cNvPr id="252" name="MIO_OBJECT1" descr="Mann">
            <a:extLst>
              <a:ext uri="{FF2B5EF4-FFF2-40B4-BE49-F238E27FC236}">
                <a16:creationId xmlns:a16="http://schemas.microsoft.com/office/drawing/2014/main" id="{AFE09421-AACB-43EC-A045-016585DF1229}"/>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479570" y="3933052"/>
            <a:ext cx="385543" cy="395039"/>
          </a:xfrm>
          <a:prstGeom prst="rect">
            <a:avLst/>
          </a:prstGeom>
        </p:spPr>
      </p:pic>
      <p:pic>
        <p:nvPicPr>
          <p:cNvPr id="253" name="MIO_OBJECT1" descr="Mann">
            <a:extLst>
              <a:ext uri="{FF2B5EF4-FFF2-40B4-BE49-F238E27FC236}">
                <a16:creationId xmlns:a16="http://schemas.microsoft.com/office/drawing/2014/main" id="{3A3986D7-AAA8-48AD-8015-8C5895A92C9F}"/>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900349" y="3933052"/>
            <a:ext cx="385543" cy="395039"/>
          </a:xfrm>
          <a:prstGeom prst="rect">
            <a:avLst/>
          </a:prstGeom>
        </p:spPr>
      </p:pic>
      <p:pic>
        <p:nvPicPr>
          <p:cNvPr id="254" name="MIO_OBJECT1" descr="Mann">
            <a:extLst>
              <a:ext uri="{FF2B5EF4-FFF2-40B4-BE49-F238E27FC236}">
                <a16:creationId xmlns:a16="http://schemas.microsoft.com/office/drawing/2014/main" id="{066A74AE-D665-45A9-A779-79D2CFFCAE3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21128" y="3933052"/>
            <a:ext cx="385543" cy="395039"/>
          </a:xfrm>
          <a:prstGeom prst="rect">
            <a:avLst/>
          </a:prstGeom>
        </p:spPr>
      </p:pic>
      <p:pic>
        <p:nvPicPr>
          <p:cNvPr id="255" name="MIO_OBJECT1" descr="Mann">
            <a:extLst>
              <a:ext uri="{FF2B5EF4-FFF2-40B4-BE49-F238E27FC236}">
                <a16:creationId xmlns:a16="http://schemas.microsoft.com/office/drawing/2014/main" id="{A8F30BE8-20A5-41A0-9CD2-AFD346A5312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741907" y="3933052"/>
            <a:ext cx="385543" cy="395039"/>
          </a:xfrm>
          <a:prstGeom prst="rect">
            <a:avLst/>
          </a:prstGeom>
        </p:spPr>
      </p:pic>
      <p:pic>
        <p:nvPicPr>
          <p:cNvPr id="256" name="MIO_OBJECT1" descr="Mann">
            <a:extLst>
              <a:ext uri="{FF2B5EF4-FFF2-40B4-BE49-F238E27FC236}">
                <a16:creationId xmlns:a16="http://schemas.microsoft.com/office/drawing/2014/main" id="{57D93872-1A82-43AC-97F9-81FDD559661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162686" y="3933052"/>
            <a:ext cx="385543" cy="395039"/>
          </a:xfrm>
          <a:prstGeom prst="rect">
            <a:avLst/>
          </a:prstGeom>
        </p:spPr>
      </p:pic>
      <p:pic>
        <p:nvPicPr>
          <p:cNvPr id="257" name="MIO_OBJECT1" descr="Mann">
            <a:extLst>
              <a:ext uri="{FF2B5EF4-FFF2-40B4-BE49-F238E27FC236}">
                <a16:creationId xmlns:a16="http://schemas.microsoft.com/office/drawing/2014/main" id="{25A60667-B02A-434F-ACB4-FCD8BF27B64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583466" y="3933052"/>
            <a:ext cx="385543" cy="395039"/>
          </a:xfrm>
          <a:prstGeom prst="rect">
            <a:avLst/>
          </a:prstGeom>
        </p:spPr>
      </p:pic>
      <p:pic>
        <p:nvPicPr>
          <p:cNvPr id="258" name="MIO_OBJECT1" descr="Mann">
            <a:extLst>
              <a:ext uri="{FF2B5EF4-FFF2-40B4-BE49-F238E27FC236}">
                <a16:creationId xmlns:a16="http://schemas.microsoft.com/office/drawing/2014/main" id="{FD962660-3F37-4AFB-9B82-1763C90ED73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004244" y="3933052"/>
            <a:ext cx="385543" cy="395039"/>
          </a:xfrm>
          <a:prstGeom prst="rect">
            <a:avLst/>
          </a:prstGeom>
        </p:spPr>
      </p:pic>
      <p:pic>
        <p:nvPicPr>
          <p:cNvPr id="259" name="MIO_OBJECT1" descr="Mann">
            <a:extLst>
              <a:ext uri="{FF2B5EF4-FFF2-40B4-BE49-F238E27FC236}">
                <a16:creationId xmlns:a16="http://schemas.microsoft.com/office/drawing/2014/main" id="{6E079D66-3ACC-4217-8210-FD090DE84F7F}"/>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425021" y="3933052"/>
            <a:ext cx="385543" cy="395039"/>
          </a:xfrm>
          <a:prstGeom prst="rect">
            <a:avLst/>
          </a:prstGeom>
        </p:spPr>
      </p:pic>
      <p:pic>
        <p:nvPicPr>
          <p:cNvPr id="260" name="MIO_OBJECT1" descr="Mann">
            <a:extLst>
              <a:ext uri="{FF2B5EF4-FFF2-40B4-BE49-F238E27FC236}">
                <a16:creationId xmlns:a16="http://schemas.microsoft.com/office/drawing/2014/main" id="{3FAFA2BE-1D1D-4167-92E7-5E0C4D86036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845802" y="3933052"/>
            <a:ext cx="385543" cy="395039"/>
          </a:xfrm>
          <a:prstGeom prst="rect">
            <a:avLst/>
          </a:prstGeom>
        </p:spPr>
      </p:pic>
      <p:pic>
        <p:nvPicPr>
          <p:cNvPr id="261" name="MIO_OBJECT1" descr="Mann">
            <a:extLst>
              <a:ext uri="{FF2B5EF4-FFF2-40B4-BE49-F238E27FC236}">
                <a16:creationId xmlns:a16="http://schemas.microsoft.com/office/drawing/2014/main" id="{58EB1782-4C2B-48E4-8A65-93D7CE62998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8790" y="4364194"/>
            <a:ext cx="385543" cy="395039"/>
          </a:xfrm>
          <a:prstGeom prst="rect">
            <a:avLst/>
          </a:prstGeom>
        </p:spPr>
      </p:pic>
      <p:pic>
        <p:nvPicPr>
          <p:cNvPr id="262" name="MIO_OBJECT1" descr="Mann">
            <a:extLst>
              <a:ext uri="{FF2B5EF4-FFF2-40B4-BE49-F238E27FC236}">
                <a16:creationId xmlns:a16="http://schemas.microsoft.com/office/drawing/2014/main" id="{23D9A0CF-9408-45DB-8711-1C38A2A81D5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479570" y="4364194"/>
            <a:ext cx="385543" cy="395039"/>
          </a:xfrm>
          <a:prstGeom prst="rect">
            <a:avLst/>
          </a:prstGeom>
        </p:spPr>
      </p:pic>
      <p:pic>
        <p:nvPicPr>
          <p:cNvPr id="263" name="MIO_OBJECT1" descr="Mann">
            <a:extLst>
              <a:ext uri="{FF2B5EF4-FFF2-40B4-BE49-F238E27FC236}">
                <a16:creationId xmlns:a16="http://schemas.microsoft.com/office/drawing/2014/main" id="{BA2C0722-5528-4460-9B65-DB9B41BFE8AF}"/>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900349" y="4364194"/>
            <a:ext cx="385543" cy="395039"/>
          </a:xfrm>
          <a:prstGeom prst="rect">
            <a:avLst/>
          </a:prstGeom>
        </p:spPr>
      </p:pic>
      <p:pic>
        <p:nvPicPr>
          <p:cNvPr id="264" name="MIO_OBJECT1" descr="Mann">
            <a:extLst>
              <a:ext uri="{FF2B5EF4-FFF2-40B4-BE49-F238E27FC236}">
                <a16:creationId xmlns:a16="http://schemas.microsoft.com/office/drawing/2014/main" id="{9A685B21-0F5C-450B-B79B-7BFAD530AAF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21128" y="4364194"/>
            <a:ext cx="385543" cy="395039"/>
          </a:xfrm>
          <a:prstGeom prst="rect">
            <a:avLst/>
          </a:prstGeom>
        </p:spPr>
      </p:pic>
      <p:pic>
        <p:nvPicPr>
          <p:cNvPr id="265" name="MIO_OBJECT1" descr="Mann">
            <a:extLst>
              <a:ext uri="{FF2B5EF4-FFF2-40B4-BE49-F238E27FC236}">
                <a16:creationId xmlns:a16="http://schemas.microsoft.com/office/drawing/2014/main" id="{56B33CC0-14B9-49F3-B3EE-8E08927F211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741907" y="4364194"/>
            <a:ext cx="385543" cy="395039"/>
          </a:xfrm>
          <a:prstGeom prst="rect">
            <a:avLst/>
          </a:prstGeom>
        </p:spPr>
      </p:pic>
      <p:pic>
        <p:nvPicPr>
          <p:cNvPr id="266" name="MIO_OBJECT1" descr="Mann">
            <a:extLst>
              <a:ext uri="{FF2B5EF4-FFF2-40B4-BE49-F238E27FC236}">
                <a16:creationId xmlns:a16="http://schemas.microsoft.com/office/drawing/2014/main" id="{688FDA83-2127-45D9-B345-987368948E8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162686" y="4364194"/>
            <a:ext cx="385543" cy="395039"/>
          </a:xfrm>
          <a:prstGeom prst="rect">
            <a:avLst/>
          </a:prstGeom>
        </p:spPr>
      </p:pic>
      <p:pic>
        <p:nvPicPr>
          <p:cNvPr id="267" name="MIO_OBJECT2" descr="Mann">
            <a:extLst>
              <a:ext uri="{FF2B5EF4-FFF2-40B4-BE49-F238E27FC236}">
                <a16:creationId xmlns:a16="http://schemas.microsoft.com/office/drawing/2014/main" id="{21A47A2F-3584-443E-86A1-365471614BD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83466" y="4364194"/>
            <a:ext cx="385543" cy="395039"/>
          </a:xfrm>
          <a:prstGeom prst="rect">
            <a:avLst/>
          </a:prstGeom>
        </p:spPr>
      </p:pic>
      <p:pic>
        <p:nvPicPr>
          <p:cNvPr id="268" name="MIO_OBJECT2" descr="Mann">
            <a:extLst>
              <a:ext uri="{FF2B5EF4-FFF2-40B4-BE49-F238E27FC236}">
                <a16:creationId xmlns:a16="http://schemas.microsoft.com/office/drawing/2014/main" id="{913E6386-B551-4E2B-A965-012D4973B5D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004244" y="4364194"/>
            <a:ext cx="385543" cy="395039"/>
          </a:xfrm>
          <a:prstGeom prst="rect">
            <a:avLst/>
          </a:prstGeom>
        </p:spPr>
      </p:pic>
      <p:pic>
        <p:nvPicPr>
          <p:cNvPr id="269" name="MIO_OBJECT2" descr="Mann">
            <a:extLst>
              <a:ext uri="{FF2B5EF4-FFF2-40B4-BE49-F238E27FC236}">
                <a16:creationId xmlns:a16="http://schemas.microsoft.com/office/drawing/2014/main" id="{5D444B94-37CF-4408-A18A-DC79F943075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425021" y="4364194"/>
            <a:ext cx="385543" cy="395039"/>
          </a:xfrm>
          <a:prstGeom prst="rect">
            <a:avLst/>
          </a:prstGeom>
        </p:spPr>
      </p:pic>
      <p:pic>
        <p:nvPicPr>
          <p:cNvPr id="270" name="MIO_OBJECT2" descr="Mann">
            <a:extLst>
              <a:ext uri="{FF2B5EF4-FFF2-40B4-BE49-F238E27FC236}">
                <a16:creationId xmlns:a16="http://schemas.microsoft.com/office/drawing/2014/main" id="{1896E920-4A04-4FAD-A2B3-1C6D319ED1CC}"/>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45802" y="4364194"/>
            <a:ext cx="385543" cy="395039"/>
          </a:xfrm>
          <a:prstGeom prst="rect">
            <a:avLst/>
          </a:prstGeom>
        </p:spPr>
      </p:pic>
      <p:pic>
        <p:nvPicPr>
          <p:cNvPr id="271" name="MIO_OBJECT2" descr="Mann">
            <a:extLst>
              <a:ext uri="{FF2B5EF4-FFF2-40B4-BE49-F238E27FC236}">
                <a16:creationId xmlns:a16="http://schemas.microsoft.com/office/drawing/2014/main" id="{B3BF9A4C-A423-4284-BC6B-8019C54F7B1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58790" y="4795336"/>
            <a:ext cx="385543" cy="395039"/>
          </a:xfrm>
          <a:prstGeom prst="rect">
            <a:avLst/>
          </a:prstGeom>
        </p:spPr>
      </p:pic>
      <p:pic>
        <p:nvPicPr>
          <p:cNvPr id="272" name="MIO_OBJECT2" descr="Mann">
            <a:extLst>
              <a:ext uri="{FF2B5EF4-FFF2-40B4-BE49-F238E27FC236}">
                <a16:creationId xmlns:a16="http://schemas.microsoft.com/office/drawing/2014/main" id="{78D437D3-EE14-479F-B6F5-8B3331DD1B9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479570" y="4795336"/>
            <a:ext cx="385543" cy="395039"/>
          </a:xfrm>
          <a:prstGeom prst="rect">
            <a:avLst/>
          </a:prstGeom>
        </p:spPr>
      </p:pic>
      <p:pic>
        <p:nvPicPr>
          <p:cNvPr id="273" name="MIO_OBJECT2" descr="Mann">
            <a:extLst>
              <a:ext uri="{FF2B5EF4-FFF2-40B4-BE49-F238E27FC236}">
                <a16:creationId xmlns:a16="http://schemas.microsoft.com/office/drawing/2014/main" id="{B37C7844-FB63-4056-8E34-1F3F234B9DB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900349" y="4795336"/>
            <a:ext cx="385543" cy="395039"/>
          </a:xfrm>
          <a:prstGeom prst="rect">
            <a:avLst/>
          </a:prstGeom>
        </p:spPr>
      </p:pic>
      <p:pic>
        <p:nvPicPr>
          <p:cNvPr id="274" name="MIO_OBJECT2" descr="Mann">
            <a:extLst>
              <a:ext uri="{FF2B5EF4-FFF2-40B4-BE49-F238E27FC236}">
                <a16:creationId xmlns:a16="http://schemas.microsoft.com/office/drawing/2014/main" id="{2D4E4E8C-C922-4DF9-8D3E-F254C6FA98A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321128" y="4795336"/>
            <a:ext cx="385543" cy="395039"/>
          </a:xfrm>
          <a:prstGeom prst="rect">
            <a:avLst/>
          </a:prstGeom>
        </p:spPr>
      </p:pic>
      <p:pic>
        <p:nvPicPr>
          <p:cNvPr id="275" name="MIO_OBJECT2" descr="Mann">
            <a:extLst>
              <a:ext uri="{FF2B5EF4-FFF2-40B4-BE49-F238E27FC236}">
                <a16:creationId xmlns:a16="http://schemas.microsoft.com/office/drawing/2014/main" id="{4AEF5ACC-BA8C-4F7A-B831-4347D680312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741907" y="4795336"/>
            <a:ext cx="385543" cy="395039"/>
          </a:xfrm>
          <a:prstGeom prst="rect">
            <a:avLst/>
          </a:prstGeom>
        </p:spPr>
      </p:pic>
      <p:pic>
        <p:nvPicPr>
          <p:cNvPr id="276" name="MIO_OBJECT2" descr="Mann">
            <a:extLst>
              <a:ext uri="{FF2B5EF4-FFF2-40B4-BE49-F238E27FC236}">
                <a16:creationId xmlns:a16="http://schemas.microsoft.com/office/drawing/2014/main" id="{E76F1B2B-51C5-47AF-A0F3-BBC509B769D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162686" y="4795336"/>
            <a:ext cx="385543" cy="395039"/>
          </a:xfrm>
          <a:prstGeom prst="rect">
            <a:avLst/>
          </a:prstGeom>
        </p:spPr>
      </p:pic>
      <p:pic>
        <p:nvPicPr>
          <p:cNvPr id="277" name="MIO_OBJECT2" descr="Mann">
            <a:extLst>
              <a:ext uri="{FF2B5EF4-FFF2-40B4-BE49-F238E27FC236}">
                <a16:creationId xmlns:a16="http://schemas.microsoft.com/office/drawing/2014/main" id="{C5976D41-1F67-4DA9-9F36-C0523E0457C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83466" y="4795336"/>
            <a:ext cx="385543" cy="395039"/>
          </a:xfrm>
          <a:prstGeom prst="rect">
            <a:avLst/>
          </a:prstGeom>
        </p:spPr>
      </p:pic>
      <p:pic>
        <p:nvPicPr>
          <p:cNvPr id="278" name="MIO_OBJECT2" descr="Mann">
            <a:extLst>
              <a:ext uri="{FF2B5EF4-FFF2-40B4-BE49-F238E27FC236}">
                <a16:creationId xmlns:a16="http://schemas.microsoft.com/office/drawing/2014/main" id="{8869EDF2-590C-445B-8D88-5547F041547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004244" y="4795336"/>
            <a:ext cx="385543" cy="395039"/>
          </a:xfrm>
          <a:prstGeom prst="rect">
            <a:avLst/>
          </a:prstGeom>
        </p:spPr>
      </p:pic>
      <p:pic>
        <p:nvPicPr>
          <p:cNvPr id="279" name="MIO_OBJECT2" descr="Mann">
            <a:extLst>
              <a:ext uri="{FF2B5EF4-FFF2-40B4-BE49-F238E27FC236}">
                <a16:creationId xmlns:a16="http://schemas.microsoft.com/office/drawing/2014/main" id="{00E1A765-CC18-4B62-BE5E-047286453A23}"/>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425021" y="4795336"/>
            <a:ext cx="385543" cy="395039"/>
          </a:xfrm>
          <a:prstGeom prst="rect">
            <a:avLst/>
          </a:prstGeom>
        </p:spPr>
      </p:pic>
      <p:pic>
        <p:nvPicPr>
          <p:cNvPr id="280" name="MIO_OBJECT2" descr="Mann">
            <a:extLst>
              <a:ext uri="{FF2B5EF4-FFF2-40B4-BE49-F238E27FC236}">
                <a16:creationId xmlns:a16="http://schemas.microsoft.com/office/drawing/2014/main" id="{8CEFD9D4-B239-41BF-B566-057F6617A6C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45802" y="4795336"/>
            <a:ext cx="385543" cy="395039"/>
          </a:xfrm>
          <a:prstGeom prst="rect">
            <a:avLst/>
          </a:prstGeom>
        </p:spPr>
      </p:pic>
      <p:pic>
        <p:nvPicPr>
          <p:cNvPr id="281" name="MIO_OBJECT2" descr="Mann">
            <a:extLst>
              <a:ext uri="{FF2B5EF4-FFF2-40B4-BE49-F238E27FC236}">
                <a16:creationId xmlns:a16="http://schemas.microsoft.com/office/drawing/2014/main" id="{38A00082-DE93-4686-9D48-1A4ACF59967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58790" y="5226478"/>
            <a:ext cx="385543" cy="395039"/>
          </a:xfrm>
          <a:prstGeom prst="rect">
            <a:avLst/>
          </a:prstGeom>
        </p:spPr>
      </p:pic>
      <p:pic>
        <p:nvPicPr>
          <p:cNvPr id="282" name="MIO_OBJECT2" descr="Mann">
            <a:extLst>
              <a:ext uri="{FF2B5EF4-FFF2-40B4-BE49-F238E27FC236}">
                <a16:creationId xmlns:a16="http://schemas.microsoft.com/office/drawing/2014/main" id="{D69F0C50-DDC9-4810-803F-C4EFDCAC2000}"/>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479570" y="5226478"/>
            <a:ext cx="385543" cy="395039"/>
          </a:xfrm>
          <a:prstGeom prst="rect">
            <a:avLst/>
          </a:prstGeom>
        </p:spPr>
      </p:pic>
      <p:pic>
        <p:nvPicPr>
          <p:cNvPr id="283" name="MIO_OBJECT2" descr="Mann">
            <a:extLst>
              <a:ext uri="{FF2B5EF4-FFF2-40B4-BE49-F238E27FC236}">
                <a16:creationId xmlns:a16="http://schemas.microsoft.com/office/drawing/2014/main" id="{0FD42979-0104-4B03-9761-D60AF25CCD6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900349" y="5226478"/>
            <a:ext cx="385543" cy="395039"/>
          </a:xfrm>
          <a:prstGeom prst="rect">
            <a:avLst/>
          </a:prstGeom>
        </p:spPr>
      </p:pic>
      <p:pic>
        <p:nvPicPr>
          <p:cNvPr id="284" name="MIO_OBJECT2" descr="Mann">
            <a:extLst>
              <a:ext uri="{FF2B5EF4-FFF2-40B4-BE49-F238E27FC236}">
                <a16:creationId xmlns:a16="http://schemas.microsoft.com/office/drawing/2014/main" id="{AC1E8892-56AC-4FDD-B922-E5418ED174B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321128" y="5226478"/>
            <a:ext cx="385543" cy="395039"/>
          </a:xfrm>
          <a:prstGeom prst="rect">
            <a:avLst/>
          </a:prstGeom>
        </p:spPr>
      </p:pic>
      <p:pic>
        <p:nvPicPr>
          <p:cNvPr id="285" name="MIO_OBJECT2" descr="Mann">
            <a:extLst>
              <a:ext uri="{FF2B5EF4-FFF2-40B4-BE49-F238E27FC236}">
                <a16:creationId xmlns:a16="http://schemas.microsoft.com/office/drawing/2014/main" id="{670C9C39-EBC4-44FB-92F0-DF8EF9DE2AD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741907" y="5226478"/>
            <a:ext cx="385543" cy="395039"/>
          </a:xfrm>
          <a:prstGeom prst="rect">
            <a:avLst/>
          </a:prstGeom>
        </p:spPr>
      </p:pic>
      <p:pic>
        <p:nvPicPr>
          <p:cNvPr id="286" name="MIO_OBJECT2" descr="Mann">
            <a:extLst>
              <a:ext uri="{FF2B5EF4-FFF2-40B4-BE49-F238E27FC236}">
                <a16:creationId xmlns:a16="http://schemas.microsoft.com/office/drawing/2014/main" id="{EFCABF6F-07EB-4C8C-BC66-1E7CE1D5FDE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162686" y="5226478"/>
            <a:ext cx="385543" cy="395039"/>
          </a:xfrm>
          <a:prstGeom prst="rect">
            <a:avLst/>
          </a:prstGeom>
        </p:spPr>
      </p:pic>
      <p:pic>
        <p:nvPicPr>
          <p:cNvPr id="287" name="MIO_OBJECT2" descr="Mann">
            <a:extLst>
              <a:ext uri="{FF2B5EF4-FFF2-40B4-BE49-F238E27FC236}">
                <a16:creationId xmlns:a16="http://schemas.microsoft.com/office/drawing/2014/main" id="{16151E69-92B7-4E07-BAF3-F86AC864682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83466" y="5226478"/>
            <a:ext cx="385543" cy="395039"/>
          </a:xfrm>
          <a:prstGeom prst="rect">
            <a:avLst/>
          </a:prstGeom>
        </p:spPr>
      </p:pic>
      <p:pic>
        <p:nvPicPr>
          <p:cNvPr id="288" name="MIO_OBJECT2" descr="Mann">
            <a:extLst>
              <a:ext uri="{FF2B5EF4-FFF2-40B4-BE49-F238E27FC236}">
                <a16:creationId xmlns:a16="http://schemas.microsoft.com/office/drawing/2014/main" id="{73D9006E-A9A9-4F8A-BF03-E5278B20C86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004244" y="5226478"/>
            <a:ext cx="385543" cy="395039"/>
          </a:xfrm>
          <a:prstGeom prst="rect">
            <a:avLst/>
          </a:prstGeom>
        </p:spPr>
      </p:pic>
      <p:pic>
        <p:nvPicPr>
          <p:cNvPr id="289" name="MIO_OBJECT2" descr="Mann">
            <a:extLst>
              <a:ext uri="{FF2B5EF4-FFF2-40B4-BE49-F238E27FC236}">
                <a16:creationId xmlns:a16="http://schemas.microsoft.com/office/drawing/2014/main" id="{C0A699AF-A44D-4A8E-A1EC-155664A70CF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425021" y="5226478"/>
            <a:ext cx="385543" cy="395039"/>
          </a:xfrm>
          <a:prstGeom prst="rect">
            <a:avLst/>
          </a:prstGeom>
        </p:spPr>
      </p:pic>
      <p:pic>
        <p:nvPicPr>
          <p:cNvPr id="290" name="MIO_OBJECT2" descr="Mann">
            <a:extLst>
              <a:ext uri="{FF2B5EF4-FFF2-40B4-BE49-F238E27FC236}">
                <a16:creationId xmlns:a16="http://schemas.microsoft.com/office/drawing/2014/main" id="{D1FF7F9C-6049-45B2-87AB-59C5604CB2C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45802" y="5226478"/>
            <a:ext cx="385543" cy="395039"/>
          </a:xfrm>
          <a:prstGeom prst="rect">
            <a:avLst/>
          </a:prstGeom>
        </p:spPr>
      </p:pic>
      <p:pic>
        <p:nvPicPr>
          <p:cNvPr id="291" name="MIO_OBJECT2" descr="Mann">
            <a:extLst>
              <a:ext uri="{FF2B5EF4-FFF2-40B4-BE49-F238E27FC236}">
                <a16:creationId xmlns:a16="http://schemas.microsoft.com/office/drawing/2014/main" id="{29948522-22B6-4E39-AD83-24C3AA19C6E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58790" y="5657622"/>
            <a:ext cx="385543" cy="395039"/>
          </a:xfrm>
          <a:prstGeom prst="rect">
            <a:avLst/>
          </a:prstGeom>
        </p:spPr>
      </p:pic>
      <p:pic>
        <p:nvPicPr>
          <p:cNvPr id="292" name="MIO_OBJECT2" descr="Mann">
            <a:extLst>
              <a:ext uri="{FF2B5EF4-FFF2-40B4-BE49-F238E27FC236}">
                <a16:creationId xmlns:a16="http://schemas.microsoft.com/office/drawing/2014/main" id="{83469692-0DA0-41E7-89DF-422C83B4DBC3}"/>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479570" y="5657622"/>
            <a:ext cx="385543" cy="395039"/>
          </a:xfrm>
          <a:prstGeom prst="rect">
            <a:avLst/>
          </a:prstGeom>
        </p:spPr>
      </p:pic>
      <p:pic>
        <p:nvPicPr>
          <p:cNvPr id="293" name="MIO_OBJECT2" descr="Mann">
            <a:extLst>
              <a:ext uri="{FF2B5EF4-FFF2-40B4-BE49-F238E27FC236}">
                <a16:creationId xmlns:a16="http://schemas.microsoft.com/office/drawing/2014/main" id="{056BE75E-23F8-450A-B986-9AFBA84B871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900349" y="5657622"/>
            <a:ext cx="385543" cy="395039"/>
          </a:xfrm>
          <a:prstGeom prst="rect">
            <a:avLst/>
          </a:prstGeom>
        </p:spPr>
      </p:pic>
      <p:pic>
        <p:nvPicPr>
          <p:cNvPr id="294" name="MIO_OBJECT2" descr="Mann">
            <a:extLst>
              <a:ext uri="{FF2B5EF4-FFF2-40B4-BE49-F238E27FC236}">
                <a16:creationId xmlns:a16="http://schemas.microsoft.com/office/drawing/2014/main" id="{FA1268B3-4CB3-4472-A6FE-EFC1BE1AC373}"/>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321128" y="5657622"/>
            <a:ext cx="385543" cy="395039"/>
          </a:xfrm>
          <a:prstGeom prst="rect">
            <a:avLst/>
          </a:prstGeom>
        </p:spPr>
      </p:pic>
      <p:pic>
        <p:nvPicPr>
          <p:cNvPr id="295" name="MIO_OBJECT2" descr="Mann">
            <a:extLst>
              <a:ext uri="{FF2B5EF4-FFF2-40B4-BE49-F238E27FC236}">
                <a16:creationId xmlns:a16="http://schemas.microsoft.com/office/drawing/2014/main" id="{EAC06BEA-8226-4F47-A5A3-4441BA38D1A3}"/>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741907" y="5657622"/>
            <a:ext cx="385543" cy="395039"/>
          </a:xfrm>
          <a:prstGeom prst="rect">
            <a:avLst/>
          </a:prstGeom>
        </p:spPr>
      </p:pic>
      <p:pic>
        <p:nvPicPr>
          <p:cNvPr id="296" name="MIO_OBJECT2" descr="Mann">
            <a:extLst>
              <a:ext uri="{FF2B5EF4-FFF2-40B4-BE49-F238E27FC236}">
                <a16:creationId xmlns:a16="http://schemas.microsoft.com/office/drawing/2014/main" id="{D4A34DEE-6BEB-4468-9E6F-D33A729847DC}"/>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162686" y="5657622"/>
            <a:ext cx="385543" cy="395039"/>
          </a:xfrm>
          <a:prstGeom prst="rect">
            <a:avLst/>
          </a:prstGeom>
        </p:spPr>
      </p:pic>
      <p:pic>
        <p:nvPicPr>
          <p:cNvPr id="297" name="MIO_OBJECT2" descr="Mann">
            <a:extLst>
              <a:ext uri="{FF2B5EF4-FFF2-40B4-BE49-F238E27FC236}">
                <a16:creationId xmlns:a16="http://schemas.microsoft.com/office/drawing/2014/main" id="{F92CBB26-F239-4C19-A63D-7DC7B9F3966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83466" y="5657622"/>
            <a:ext cx="385543" cy="395039"/>
          </a:xfrm>
          <a:prstGeom prst="rect">
            <a:avLst/>
          </a:prstGeom>
        </p:spPr>
      </p:pic>
      <p:pic>
        <p:nvPicPr>
          <p:cNvPr id="298" name="MIO_OBJECT2" descr="Mann">
            <a:extLst>
              <a:ext uri="{FF2B5EF4-FFF2-40B4-BE49-F238E27FC236}">
                <a16:creationId xmlns:a16="http://schemas.microsoft.com/office/drawing/2014/main" id="{CCCEDA4D-CAC4-4345-A3E4-299BD4BC2340}"/>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004244" y="5657622"/>
            <a:ext cx="385543" cy="395039"/>
          </a:xfrm>
          <a:prstGeom prst="rect">
            <a:avLst/>
          </a:prstGeom>
        </p:spPr>
      </p:pic>
      <p:pic>
        <p:nvPicPr>
          <p:cNvPr id="299" name="MIO_OBJECT2" descr="Mann">
            <a:extLst>
              <a:ext uri="{FF2B5EF4-FFF2-40B4-BE49-F238E27FC236}">
                <a16:creationId xmlns:a16="http://schemas.microsoft.com/office/drawing/2014/main" id="{0DC6E5CA-C18E-4344-8D8B-103F27E4166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425021" y="5657622"/>
            <a:ext cx="385543" cy="395039"/>
          </a:xfrm>
          <a:prstGeom prst="rect">
            <a:avLst/>
          </a:prstGeom>
        </p:spPr>
      </p:pic>
      <p:pic>
        <p:nvPicPr>
          <p:cNvPr id="300" name="MIO_OBJECT2" descr="Mann">
            <a:extLst>
              <a:ext uri="{FF2B5EF4-FFF2-40B4-BE49-F238E27FC236}">
                <a16:creationId xmlns:a16="http://schemas.microsoft.com/office/drawing/2014/main" id="{49B9E06F-441E-455F-A42E-D3EBC4BC377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45802" y="5657622"/>
            <a:ext cx="385543" cy="395039"/>
          </a:xfrm>
          <a:prstGeom prst="rect">
            <a:avLst/>
          </a:prstGeom>
        </p:spPr>
      </p:pic>
      <p:sp>
        <p:nvSpPr>
          <p:cNvPr id="312" name="MIO_TEXTBOX_BODY">
            <a:extLst>
              <a:ext uri="{FF2B5EF4-FFF2-40B4-BE49-F238E27FC236}">
                <a16:creationId xmlns:a16="http://schemas.microsoft.com/office/drawing/2014/main" id="{2C7CB247-CA5C-4B66-B200-E40BE7AF70FB}"/>
              </a:ext>
            </a:extLst>
          </p:cNvPr>
          <p:cNvSpPr txBox="1"/>
          <p:nvPr/>
        </p:nvSpPr>
        <p:spPr>
          <a:xfrm>
            <a:off x="6711438" y="4992664"/>
            <a:ext cx="4668637" cy="1270820"/>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dirty="0"/>
              <a:t>Lorem ipsum dolor sit amet, consectetuer adipiscing elit. Aenean commodo ligula eget dolor. Aenean massa. Cum sociis natoque penatibus et magnis dis parturient montes, nascetur ridiculus mus. </a:t>
            </a:r>
          </a:p>
        </p:txBody>
      </p:sp>
      <p:sp>
        <p:nvSpPr>
          <p:cNvPr id="110" name="MIO_TEXTBOX_HEADER">
            <a:extLst>
              <a:ext uri="{FF2B5EF4-FFF2-40B4-BE49-F238E27FC236}">
                <a16:creationId xmlns:a16="http://schemas.microsoft.com/office/drawing/2014/main" id="{C8AAE523-71E1-48DD-B6CF-596B05415587}"/>
              </a:ext>
            </a:extLst>
          </p:cNvPr>
          <p:cNvSpPr txBox="1"/>
          <p:nvPr/>
        </p:nvSpPr>
        <p:spPr>
          <a:xfrm>
            <a:off x="6711438" y="4548600"/>
            <a:ext cx="4668637" cy="336049"/>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800" dirty="0">
                <a:solidFill>
                  <a:schemeClr val="dk1"/>
                </a:solidFill>
              </a:rPr>
              <a:t>Lorem ipsum dolor sit amet</a:t>
            </a:r>
          </a:p>
        </p:txBody>
      </p:sp>
      <p:pic>
        <p:nvPicPr>
          <p:cNvPr id="319" name="MIO_PICTOGRAM_PART1" descr="Aufwärtstrend">
            <a:extLst>
              <a:ext uri="{FF2B5EF4-FFF2-40B4-BE49-F238E27FC236}">
                <a16:creationId xmlns:a16="http://schemas.microsoft.com/office/drawing/2014/main" id="{1C8B64A0-45A1-4D64-A034-C7EC1393DECE}"/>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711438" y="1713240"/>
            <a:ext cx="1713263" cy="1755460"/>
          </a:xfrm>
          <a:prstGeom prst="rect">
            <a:avLst/>
          </a:prstGeom>
        </p:spPr>
      </p:pic>
      <p:sp>
        <p:nvSpPr>
          <p:cNvPr id="314" name="Textfeld">
            <a:extLst>
              <a:ext uri="{FF2B5EF4-FFF2-40B4-BE49-F238E27FC236}">
                <a16:creationId xmlns:a16="http://schemas.microsoft.com/office/drawing/2014/main" id="{D928D06C-8C63-449B-9CB4-25C68A1C704A}"/>
              </a:ext>
            </a:extLst>
          </p:cNvPr>
          <p:cNvSpPr txBox="1"/>
          <p:nvPr>
            <p:custDataLst>
              <p:tags r:id="rId2"/>
            </p:custDataLst>
          </p:nvPr>
        </p:nvSpPr>
        <p:spPr>
          <a:xfrm>
            <a:off x="8561274" y="1777338"/>
            <a:ext cx="2818801" cy="1478525"/>
          </a:xfrm>
          <a:prstGeom prst="rect">
            <a:avLst/>
          </a:prstGeom>
          <a:noFill/>
          <a:ln>
            <a:solidFill>
              <a:schemeClr val="lt1"/>
            </a:solidFill>
          </a:ln>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r"/>
            <a:r>
              <a:rPr lang="en-US" sz="8800" dirty="0">
                <a:solidFill>
                  <a:schemeClr val="accent2"/>
                </a:solidFill>
              </a:rPr>
              <a:t>66%</a:t>
            </a:r>
          </a:p>
        </p:txBody>
      </p:sp>
    </p:spTree>
    <p:custDataLst>
      <p:tags r:id="rId1"/>
    </p:custDataLst>
    <p:extLst>
      <p:ext uri="{BB962C8B-B14F-4D97-AF65-F5344CB8AC3E}">
        <p14:creationId xmlns:p14="http://schemas.microsoft.com/office/powerpoint/2010/main" val="4161503495"/>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ffice man">
            <a:extLst>
              <a:ext uri="{FF2B5EF4-FFF2-40B4-BE49-F238E27FC236}">
                <a16:creationId xmlns:a16="http://schemas.microsoft.com/office/drawing/2014/main" id="{DED10EA7-D00C-47BC-AE38-EABC48220D93}"/>
              </a:ext>
            </a:extLst>
          </p:cNvPr>
          <p:cNvPicPr>
            <a:picLocks noGrp="1" noChangeAspect="1"/>
          </p:cNvPicPr>
          <p:nvPr>
            <p:ph type="pic" sz="quarter" idx="13"/>
            <p:custDataLst>
              <p:tags r:id="rId1"/>
            </p:custDataLst>
          </p:nvPr>
        </p:nvPicPr>
        <p:blipFill>
          <a:blip r:embed="rId3" cstate="screen">
            <a:extLst>
              <a:ext uri="{28A0092B-C50C-407E-A947-70E740481C1C}">
                <a14:useLocalDpi xmlns:a14="http://schemas.microsoft.com/office/drawing/2010/main"/>
              </a:ext>
            </a:extLst>
          </a:blip>
          <a:srcRect t="8369" b="8369"/>
          <a:stretch>
            <a:fillRect/>
          </a:stretch>
        </p:blipFill>
        <p:spPr>
          <a:xfrm>
            <a:off x="1" y="96839"/>
            <a:ext cx="12191345" cy="6760799"/>
          </a:xfrm>
          <a:prstGeom prst="rect">
            <a:avLst/>
          </a:prstGeom>
        </p:spPr>
      </p:pic>
      <p:sp>
        <p:nvSpPr>
          <p:cNvPr id="4" name="Text Placeholder 3">
            <a:extLst>
              <a:ext uri="{FF2B5EF4-FFF2-40B4-BE49-F238E27FC236}">
                <a16:creationId xmlns:a16="http://schemas.microsoft.com/office/drawing/2014/main" id="{8D671D46-5A2F-4393-8D25-A92174F8987A}"/>
              </a:ext>
            </a:extLst>
          </p:cNvPr>
          <p:cNvSpPr>
            <a:spLocks noGrp="1"/>
          </p:cNvSpPr>
          <p:nvPr>
            <p:ph type="body" sz="quarter" idx="14"/>
          </p:nvPr>
        </p:nvSpPr>
        <p:spPr>
          <a:xfrm>
            <a:off x="0" y="3914775"/>
            <a:ext cx="7268208" cy="738664"/>
          </a:xfrm>
        </p:spPr>
        <p:txBody>
          <a:bodyPr/>
          <a:lstStyle/>
          <a:p>
            <a:r>
              <a:rPr lang="de-DE" dirty="0"/>
              <a:t>Company presentation</a:t>
            </a:r>
            <a:endParaRPr lang="en-US" dirty="0"/>
          </a:p>
        </p:txBody>
      </p:sp>
    </p:spTree>
    <p:extLst>
      <p:ext uri="{BB962C8B-B14F-4D97-AF65-F5344CB8AC3E}">
        <p14:creationId xmlns:p14="http://schemas.microsoft.com/office/powerpoint/2010/main" val="1528870417"/>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Фигура">
            <a:extLst>
              <a:ext uri="{FF2B5EF4-FFF2-40B4-BE49-F238E27FC236}">
                <a16:creationId xmlns:a16="http://schemas.microsoft.com/office/drawing/2014/main" id="{ECAA75E6-05E1-A540-AF9A-9AB5DD45068A}"/>
              </a:ext>
            </a:extLst>
          </p:cNvPr>
          <p:cNvSpPr>
            <a:spLocks/>
          </p:cNvSpPr>
          <p:nvPr/>
        </p:nvSpPr>
        <p:spPr bwMode="auto">
          <a:xfrm>
            <a:off x="3369195" y="1500626"/>
            <a:ext cx="2320886" cy="2704491"/>
          </a:xfrm>
          <a:custGeom>
            <a:avLst/>
            <a:gdLst>
              <a:gd name="T0" fmla="*/ 2320946 w 21600"/>
              <a:gd name="T1" fmla="*/ 2704549 h 21572"/>
              <a:gd name="T2" fmla="*/ 2320946 w 21600"/>
              <a:gd name="T3" fmla="*/ 2704549 h 21572"/>
              <a:gd name="T4" fmla="*/ 2320946 w 21600"/>
              <a:gd name="T5" fmla="*/ 2704549 h 21572"/>
              <a:gd name="T6" fmla="*/ 2320946 w 21600"/>
              <a:gd name="T7" fmla="*/ 2704549 h 21572"/>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572" extrusionOk="0">
                <a:moveTo>
                  <a:pt x="9470" y="18330"/>
                </a:moveTo>
                <a:cubicBezTo>
                  <a:pt x="9428" y="16437"/>
                  <a:pt x="8607" y="14617"/>
                  <a:pt x="7152" y="13192"/>
                </a:cubicBezTo>
                <a:cubicBezTo>
                  <a:pt x="5390" y="11466"/>
                  <a:pt x="2856" y="10460"/>
                  <a:pt x="180" y="10424"/>
                </a:cubicBezTo>
                <a:lnTo>
                  <a:pt x="3884" y="5192"/>
                </a:lnTo>
                <a:lnTo>
                  <a:pt x="0" y="0"/>
                </a:lnTo>
                <a:cubicBezTo>
                  <a:pt x="6148" y="-28"/>
                  <a:pt x="12016" y="2198"/>
                  <a:pt x="16125" y="6117"/>
                </a:cubicBezTo>
                <a:cubicBezTo>
                  <a:pt x="19645" y="9473"/>
                  <a:pt x="21594" y="13824"/>
                  <a:pt x="21600" y="18337"/>
                </a:cubicBezTo>
                <a:lnTo>
                  <a:pt x="15657" y="21572"/>
                </a:lnTo>
                <a:lnTo>
                  <a:pt x="9470" y="18330"/>
                </a:lnTo>
                <a:close/>
              </a:path>
            </a:pathLst>
          </a:custGeom>
          <a:solidFill>
            <a:schemeClr val="accent2"/>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US" sz="900" dirty="0">
              <a:latin typeface="Lato Light" panose="020F0502020204030203" pitchFamily="34" charset="0"/>
            </a:endParaRPr>
          </a:p>
        </p:txBody>
      </p:sp>
      <p:sp>
        <p:nvSpPr>
          <p:cNvPr id="6" name="Фигура">
            <a:extLst>
              <a:ext uri="{FF2B5EF4-FFF2-40B4-BE49-F238E27FC236}">
                <a16:creationId xmlns:a16="http://schemas.microsoft.com/office/drawing/2014/main" id="{4862C5BB-4916-8649-B3D8-31E682818AA1}"/>
              </a:ext>
            </a:extLst>
          </p:cNvPr>
          <p:cNvSpPr>
            <a:spLocks/>
          </p:cNvSpPr>
          <p:nvPr/>
        </p:nvSpPr>
        <p:spPr bwMode="auto">
          <a:xfrm>
            <a:off x="1076480" y="1499833"/>
            <a:ext cx="2711363" cy="2315376"/>
          </a:xfrm>
          <a:custGeom>
            <a:avLst/>
            <a:gdLst>
              <a:gd name="T0" fmla="*/ 2711433 w 21600"/>
              <a:gd name="T1" fmla="*/ 2315425 h 21600"/>
              <a:gd name="T2" fmla="*/ 2711433 w 21600"/>
              <a:gd name="T3" fmla="*/ 2315425 h 21600"/>
              <a:gd name="T4" fmla="*/ 2711433 w 21600"/>
              <a:gd name="T5" fmla="*/ 2315425 h 21600"/>
              <a:gd name="T6" fmla="*/ 2711433 w 21600"/>
              <a:gd name="T7" fmla="*/ 2315425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0" y="21519"/>
                </a:moveTo>
                <a:lnTo>
                  <a:pt x="5053" y="17605"/>
                </a:lnTo>
                <a:lnTo>
                  <a:pt x="10380" y="21600"/>
                </a:lnTo>
                <a:cubicBezTo>
                  <a:pt x="10370" y="19054"/>
                  <a:pt x="11247" y="16613"/>
                  <a:pt x="12810" y="14841"/>
                </a:cubicBezTo>
                <a:cubicBezTo>
                  <a:pt x="14321" y="13127"/>
                  <a:pt x="16351" y="12183"/>
                  <a:pt x="18455" y="12215"/>
                </a:cubicBezTo>
                <a:lnTo>
                  <a:pt x="21600" y="6079"/>
                </a:lnTo>
                <a:lnTo>
                  <a:pt x="18340" y="0"/>
                </a:lnTo>
                <a:cubicBezTo>
                  <a:pt x="13534" y="22"/>
                  <a:pt x="8925" y="2244"/>
                  <a:pt x="5500" y="6193"/>
                </a:cubicBezTo>
                <a:cubicBezTo>
                  <a:pt x="1992" y="10236"/>
                  <a:pt x="12" y="15755"/>
                  <a:pt x="0" y="21519"/>
                </a:cubicBezTo>
                <a:close/>
              </a:path>
            </a:pathLst>
          </a:custGeom>
          <a:solidFill>
            <a:schemeClr val="accent1"/>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US" sz="900" dirty="0">
              <a:latin typeface="Lato Light" panose="020F0502020204030203" pitchFamily="34" charset="0"/>
            </a:endParaRPr>
          </a:p>
        </p:txBody>
      </p:sp>
      <p:sp>
        <p:nvSpPr>
          <p:cNvPr id="7" name="Фигура">
            <a:extLst>
              <a:ext uri="{FF2B5EF4-FFF2-40B4-BE49-F238E27FC236}">
                <a16:creationId xmlns:a16="http://schemas.microsoft.com/office/drawing/2014/main" id="{4AD37391-00B5-774C-A5C5-40A5F25315E4}"/>
              </a:ext>
            </a:extLst>
          </p:cNvPr>
          <p:cNvSpPr/>
          <p:nvPr/>
        </p:nvSpPr>
        <p:spPr bwMode="auto">
          <a:xfrm>
            <a:off x="1077274" y="3383402"/>
            <a:ext cx="2318544" cy="2731294"/>
          </a:xfrm>
          <a:custGeom>
            <a:avLst/>
            <a:gdLst/>
            <a:ahLst/>
            <a:cxnLst>
              <a:cxn ang="0">
                <a:pos x="wd2" y="hd2"/>
              </a:cxn>
              <a:cxn ang="5400000">
                <a:pos x="wd2" y="hd2"/>
              </a:cxn>
              <a:cxn ang="10800000">
                <a:pos x="wd2" y="hd2"/>
              </a:cxn>
              <a:cxn ang="16200000">
                <a:pos x="wd2" y="hd2"/>
              </a:cxn>
            </a:cxnLst>
            <a:rect l="0" t="0" r="r" b="b"/>
            <a:pathLst>
              <a:path w="21545" h="21550" extrusionOk="0">
                <a:moveTo>
                  <a:pt x="21545" y="11259"/>
                </a:moveTo>
                <a:lnTo>
                  <a:pt x="17527" y="16446"/>
                </a:lnTo>
                <a:lnTo>
                  <a:pt x="21517" y="21549"/>
                </a:lnTo>
                <a:cubicBezTo>
                  <a:pt x="15436" y="21600"/>
                  <a:pt x="9618" y="19445"/>
                  <a:pt x="5525" y="15626"/>
                </a:cubicBezTo>
                <a:cubicBezTo>
                  <a:pt x="1918" y="12261"/>
                  <a:pt x="-55" y="7862"/>
                  <a:pt x="1" y="3312"/>
                </a:cubicBezTo>
                <a:lnTo>
                  <a:pt x="5911" y="0"/>
                </a:lnTo>
                <a:lnTo>
                  <a:pt x="12110" y="3399"/>
                </a:lnTo>
                <a:cubicBezTo>
                  <a:pt x="12107" y="5137"/>
                  <a:pt x="12788" y="6827"/>
                  <a:pt x="14045" y="8199"/>
                </a:cubicBezTo>
                <a:cubicBezTo>
                  <a:pt x="15842" y="10161"/>
                  <a:pt x="18618" y="11294"/>
                  <a:pt x="21545" y="11259"/>
                </a:cubicBezTo>
                <a:close/>
              </a:path>
            </a:pathLst>
          </a:custGeom>
          <a:solidFill>
            <a:schemeClr val="accent4"/>
          </a:solidFill>
          <a:ln w="12700" cap="flat">
            <a:noFill/>
            <a:miter lim="400000"/>
          </a:ln>
          <a:effectLst/>
        </p:spPr>
        <p:txBody>
          <a:bodyPr lIns="25400" tIns="25400" rIns="25400" bIns="25400" anchor="ctr"/>
          <a:lstStyle/>
          <a:p>
            <a:pPr algn="ctr">
              <a:defRPr sz="3200">
                <a:solidFill>
                  <a:srgbClr val="000000"/>
                </a:solidFill>
                <a:latin typeface="Helvetica Light"/>
                <a:ea typeface="Helvetica Light"/>
                <a:cs typeface="Helvetica Light"/>
                <a:sym typeface="Helvetica Light"/>
              </a:defRPr>
            </a:pPr>
            <a:endParaRPr lang="en-US" sz="1600" kern="0" dirty="0">
              <a:solidFill>
                <a:srgbClr val="000000"/>
              </a:solidFill>
              <a:latin typeface="Lato Light" panose="020F0502020204030203" pitchFamily="34" charset="0"/>
              <a:ea typeface="Lato Light" panose="020F0502020204030203" pitchFamily="34" charset="0"/>
              <a:cs typeface="Lato Light" panose="020F0502020204030203" pitchFamily="34" charset="0"/>
              <a:sym typeface="Helvetica Light"/>
            </a:endParaRPr>
          </a:p>
        </p:txBody>
      </p:sp>
      <p:sp>
        <p:nvSpPr>
          <p:cNvPr id="8" name="Фигура">
            <a:extLst>
              <a:ext uri="{FF2B5EF4-FFF2-40B4-BE49-F238E27FC236}">
                <a16:creationId xmlns:a16="http://schemas.microsoft.com/office/drawing/2014/main" id="{7072AE22-0A7F-4F41-AF76-41B3642CF323}"/>
              </a:ext>
            </a:extLst>
          </p:cNvPr>
          <p:cNvSpPr/>
          <p:nvPr/>
        </p:nvSpPr>
        <p:spPr bwMode="auto">
          <a:xfrm>
            <a:off x="2956080" y="3786627"/>
            <a:ext cx="2732088" cy="2329656"/>
          </a:xfrm>
          <a:custGeom>
            <a:avLst/>
            <a:gdLst/>
            <a:ahLst/>
            <a:cxnLst>
              <a:cxn ang="0">
                <a:pos x="wd2" y="hd2"/>
              </a:cxn>
              <a:cxn ang="5400000">
                <a:pos x="wd2" y="hd2"/>
              </a:cxn>
              <a:cxn ang="10800000">
                <a:pos x="wd2" y="hd2"/>
              </a:cxn>
              <a:cxn ang="16200000">
                <a:pos x="wd2" y="hd2"/>
              </a:cxn>
            </a:cxnLst>
            <a:rect l="0" t="0" r="r" b="b"/>
            <a:pathLst>
              <a:path w="21568" h="21600" extrusionOk="0">
                <a:moveTo>
                  <a:pt x="11277" y="0"/>
                </a:moveTo>
                <a:cubicBezTo>
                  <a:pt x="11322" y="2609"/>
                  <a:pt x="10436" y="5122"/>
                  <a:pt x="8833" y="6928"/>
                </a:cubicBezTo>
                <a:cubicBezTo>
                  <a:pt x="7369" y="8579"/>
                  <a:pt x="5420" y="9505"/>
                  <a:pt x="3390" y="9515"/>
                </a:cubicBezTo>
                <a:lnTo>
                  <a:pt x="0" y="15568"/>
                </a:lnTo>
                <a:lnTo>
                  <a:pt x="3403" y="21600"/>
                </a:lnTo>
                <a:cubicBezTo>
                  <a:pt x="8282" y="21588"/>
                  <a:pt x="12954" y="19275"/>
                  <a:pt x="16369" y="15180"/>
                </a:cubicBezTo>
                <a:cubicBezTo>
                  <a:pt x="19731" y="11148"/>
                  <a:pt x="21600" y="5717"/>
                  <a:pt x="21567" y="73"/>
                </a:cubicBezTo>
                <a:lnTo>
                  <a:pt x="16511" y="3864"/>
                </a:lnTo>
                <a:lnTo>
                  <a:pt x="11277" y="0"/>
                </a:lnTo>
                <a:close/>
              </a:path>
            </a:pathLst>
          </a:custGeom>
          <a:solidFill>
            <a:schemeClr val="accent3"/>
          </a:solidFill>
          <a:ln w="12700" cap="flat">
            <a:noFill/>
            <a:miter lim="400000"/>
          </a:ln>
          <a:effectLst/>
        </p:spPr>
        <p:txBody>
          <a:bodyPr lIns="25400" tIns="25400" rIns="25400" bIns="25400" anchor="ctr"/>
          <a:lstStyle/>
          <a:p>
            <a:pPr algn="ctr">
              <a:defRPr sz="3200">
                <a:solidFill>
                  <a:srgbClr val="000000"/>
                </a:solidFill>
                <a:latin typeface="Helvetica Light"/>
                <a:ea typeface="Helvetica Light"/>
                <a:cs typeface="Helvetica Light"/>
                <a:sym typeface="Helvetica Light"/>
              </a:defRPr>
            </a:pPr>
            <a:endParaRPr lang="en-US" sz="1600" kern="0" dirty="0">
              <a:solidFill>
                <a:srgbClr val="000000"/>
              </a:solidFill>
              <a:latin typeface="Lato Light" panose="020F0502020204030203" pitchFamily="34" charset="0"/>
              <a:ea typeface="Lato Light" panose="020F0502020204030203" pitchFamily="34" charset="0"/>
              <a:cs typeface="Lato Light" panose="020F0502020204030203" pitchFamily="34" charset="0"/>
              <a:sym typeface="Helvetica Light"/>
            </a:endParaRPr>
          </a:p>
        </p:txBody>
      </p:sp>
      <p:sp>
        <p:nvSpPr>
          <p:cNvPr id="19" name="Subtitle 2">
            <a:extLst>
              <a:ext uri="{FF2B5EF4-FFF2-40B4-BE49-F238E27FC236}">
                <a16:creationId xmlns:a16="http://schemas.microsoft.com/office/drawing/2014/main" id="{00C36D46-A40A-5647-B785-881C2E1B5C44}"/>
              </a:ext>
            </a:extLst>
          </p:cNvPr>
          <p:cNvSpPr txBox="1">
            <a:spLocks/>
          </p:cNvSpPr>
          <p:nvPr/>
        </p:nvSpPr>
        <p:spPr>
          <a:xfrm>
            <a:off x="1604450" y="2152113"/>
            <a:ext cx="1366777" cy="946606"/>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bg1"/>
                </a:solidFill>
                <a:latin typeface="Segoe UI Light" panose="020B0502040204020203" pitchFamily="34" charset="0"/>
                <a:ea typeface="Lato" panose="020F0502020204030203" pitchFamily="34" charset="0"/>
                <a:cs typeface="Lato" panose="020F0502020204030203" pitchFamily="34" charset="0"/>
              </a:rPr>
              <a:t>Lorem ipsum dolor sit amet, consectetuer adipiscing elit.</a:t>
            </a:r>
          </a:p>
        </p:txBody>
      </p:sp>
      <p:sp>
        <p:nvSpPr>
          <p:cNvPr id="20" name="Subtitle 2">
            <a:extLst>
              <a:ext uri="{FF2B5EF4-FFF2-40B4-BE49-F238E27FC236}">
                <a16:creationId xmlns:a16="http://schemas.microsoft.com/office/drawing/2014/main" id="{9749639D-5A02-B645-969F-E2A4A33A7954}"/>
              </a:ext>
            </a:extLst>
          </p:cNvPr>
          <p:cNvSpPr txBox="1">
            <a:spLocks/>
          </p:cNvSpPr>
          <p:nvPr/>
        </p:nvSpPr>
        <p:spPr>
          <a:xfrm>
            <a:off x="4185810" y="2344612"/>
            <a:ext cx="1193754" cy="946606"/>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bg1"/>
                </a:solidFill>
                <a:latin typeface="Segoe UI Light" panose="020B0502040204020203" pitchFamily="34" charset="0"/>
                <a:ea typeface="Lato" panose="020F0502020204030203" pitchFamily="34" charset="0"/>
                <a:cs typeface="Lato" panose="020F0502020204030203" pitchFamily="34" charset="0"/>
              </a:rPr>
              <a:t>Lorem ipsum dolor sit amet, consectetuer adipiscing elit.</a:t>
            </a:r>
          </a:p>
        </p:txBody>
      </p:sp>
      <p:sp>
        <p:nvSpPr>
          <p:cNvPr id="21" name="Subtitle 2">
            <a:extLst>
              <a:ext uri="{FF2B5EF4-FFF2-40B4-BE49-F238E27FC236}">
                <a16:creationId xmlns:a16="http://schemas.microsoft.com/office/drawing/2014/main" id="{0CDFE5EC-EAA1-5443-BA80-CA4896985A36}"/>
              </a:ext>
            </a:extLst>
          </p:cNvPr>
          <p:cNvSpPr txBox="1">
            <a:spLocks/>
          </p:cNvSpPr>
          <p:nvPr/>
        </p:nvSpPr>
        <p:spPr>
          <a:xfrm>
            <a:off x="3718937" y="4674268"/>
            <a:ext cx="1206374" cy="946606"/>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bg1"/>
                </a:solidFill>
                <a:latin typeface="Segoe UI Light" panose="020B0502040204020203" pitchFamily="34" charset="0"/>
                <a:ea typeface="Lato" panose="020F0502020204030203" pitchFamily="34" charset="0"/>
                <a:cs typeface="Lato" panose="020F0502020204030203" pitchFamily="34" charset="0"/>
              </a:rPr>
              <a:t>Lorem ipsum dolor sit amet, consectetuer adipiscing elit.</a:t>
            </a:r>
          </a:p>
        </p:txBody>
      </p:sp>
      <p:sp>
        <p:nvSpPr>
          <p:cNvPr id="22" name="Subtitle 2">
            <a:extLst>
              <a:ext uri="{FF2B5EF4-FFF2-40B4-BE49-F238E27FC236}">
                <a16:creationId xmlns:a16="http://schemas.microsoft.com/office/drawing/2014/main" id="{70056A33-2735-3C4A-A142-50AD614EC4F5}"/>
              </a:ext>
            </a:extLst>
          </p:cNvPr>
          <p:cNvSpPr txBox="1">
            <a:spLocks/>
          </p:cNvSpPr>
          <p:nvPr/>
        </p:nvSpPr>
        <p:spPr>
          <a:xfrm>
            <a:off x="1604450" y="4375765"/>
            <a:ext cx="1168600" cy="946606"/>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bg1"/>
                </a:solidFill>
                <a:latin typeface="Segoe UI Light" panose="020B0502040204020203" pitchFamily="34" charset="0"/>
                <a:ea typeface="Lato" panose="020F0502020204030203" pitchFamily="34" charset="0"/>
                <a:cs typeface="Lato" panose="020F0502020204030203" pitchFamily="34" charset="0"/>
              </a:rPr>
              <a:t>Lorem ipsum dolor sit amet, consectetuer adipiscing elit.</a:t>
            </a:r>
          </a:p>
        </p:txBody>
      </p:sp>
      <p:sp>
        <p:nvSpPr>
          <p:cNvPr id="24" name="Rectangle 23">
            <a:extLst>
              <a:ext uri="{FF2B5EF4-FFF2-40B4-BE49-F238E27FC236}">
                <a16:creationId xmlns:a16="http://schemas.microsoft.com/office/drawing/2014/main" id="{7FBE8E68-836B-DA4D-96AD-8775AB60F33F}"/>
              </a:ext>
            </a:extLst>
          </p:cNvPr>
          <p:cNvSpPr/>
          <p:nvPr/>
        </p:nvSpPr>
        <p:spPr>
          <a:xfrm>
            <a:off x="7112026" y="1970315"/>
            <a:ext cx="346841" cy="34684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5" name="Rectangle 24">
            <a:extLst>
              <a:ext uri="{FF2B5EF4-FFF2-40B4-BE49-F238E27FC236}">
                <a16:creationId xmlns:a16="http://schemas.microsoft.com/office/drawing/2014/main" id="{71DB63B2-BDBA-7342-8D56-DC23C7B42EC5}"/>
              </a:ext>
            </a:extLst>
          </p:cNvPr>
          <p:cNvSpPr/>
          <p:nvPr/>
        </p:nvSpPr>
        <p:spPr>
          <a:xfrm>
            <a:off x="7112026" y="3179380"/>
            <a:ext cx="346841" cy="346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6" name="Rectangle 25">
            <a:extLst>
              <a:ext uri="{FF2B5EF4-FFF2-40B4-BE49-F238E27FC236}">
                <a16:creationId xmlns:a16="http://schemas.microsoft.com/office/drawing/2014/main" id="{1ABD7DA1-8D08-4347-969D-3535D14D752B}"/>
              </a:ext>
            </a:extLst>
          </p:cNvPr>
          <p:cNvSpPr/>
          <p:nvPr/>
        </p:nvSpPr>
        <p:spPr>
          <a:xfrm>
            <a:off x="7112026" y="4388445"/>
            <a:ext cx="346841" cy="346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7" name="Rectangle 26">
            <a:extLst>
              <a:ext uri="{FF2B5EF4-FFF2-40B4-BE49-F238E27FC236}">
                <a16:creationId xmlns:a16="http://schemas.microsoft.com/office/drawing/2014/main" id="{7346CFEB-25EF-C14F-87A2-C0DDB96EAC4F}"/>
              </a:ext>
            </a:extLst>
          </p:cNvPr>
          <p:cNvSpPr/>
          <p:nvPr/>
        </p:nvSpPr>
        <p:spPr>
          <a:xfrm>
            <a:off x="7112026" y="5597510"/>
            <a:ext cx="346841" cy="3468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8" name="Subtitle 2">
            <a:extLst>
              <a:ext uri="{FF2B5EF4-FFF2-40B4-BE49-F238E27FC236}">
                <a16:creationId xmlns:a16="http://schemas.microsoft.com/office/drawing/2014/main" id="{4731EE37-7BDF-4147-AA63-BC0F2B1911F7}"/>
              </a:ext>
            </a:extLst>
          </p:cNvPr>
          <p:cNvSpPr txBox="1">
            <a:spLocks/>
          </p:cNvSpPr>
          <p:nvPr/>
        </p:nvSpPr>
        <p:spPr>
          <a:xfrm>
            <a:off x="7730569" y="2055016"/>
            <a:ext cx="3384158" cy="48494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buSzPct val="100000"/>
            </a:pPr>
            <a:r>
              <a:rPr lang="en-US" sz="1200" dirty="0">
                <a:solidFill>
                  <a:schemeClr val="tx1"/>
                </a:solidFill>
                <a:latin typeface="Segoe UI Light" panose="020B0502040204020203" pitchFamily="34" charset="0"/>
                <a:ea typeface="Lato Light" panose="020F0502020204030203" pitchFamily="34" charset="0"/>
              </a:rPr>
              <a:t>Lorem ipsum dolor sit amet, consectetuer adipiscing elit. Aenean commodo ligula eget dolor. </a:t>
            </a:r>
          </a:p>
        </p:txBody>
      </p:sp>
      <p:sp>
        <p:nvSpPr>
          <p:cNvPr id="29" name="TextBox 28">
            <a:extLst>
              <a:ext uri="{FF2B5EF4-FFF2-40B4-BE49-F238E27FC236}">
                <a16:creationId xmlns:a16="http://schemas.microsoft.com/office/drawing/2014/main" id="{DC6982FC-B595-BE4E-A51D-AAFBA83B705E}"/>
              </a:ext>
            </a:extLst>
          </p:cNvPr>
          <p:cNvSpPr txBox="1"/>
          <p:nvPr/>
        </p:nvSpPr>
        <p:spPr>
          <a:xfrm>
            <a:off x="7730569" y="1736828"/>
            <a:ext cx="730969" cy="338554"/>
          </a:xfrm>
          <a:prstGeom prst="rect">
            <a:avLst/>
          </a:prstGeom>
          <a:noFill/>
        </p:spPr>
        <p:txBody>
          <a:bodyPr wrap="none" rtlCol="0" anchor="ctr"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UNITY</a:t>
            </a:r>
          </a:p>
        </p:txBody>
      </p:sp>
      <p:sp>
        <p:nvSpPr>
          <p:cNvPr id="30" name="Subtitle 2">
            <a:extLst>
              <a:ext uri="{FF2B5EF4-FFF2-40B4-BE49-F238E27FC236}">
                <a16:creationId xmlns:a16="http://schemas.microsoft.com/office/drawing/2014/main" id="{55BA2393-EA58-AE44-B130-BDA6E1EEBC28}"/>
              </a:ext>
            </a:extLst>
          </p:cNvPr>
          <p:cNvSpPr txBox="1">
            <a:spLocks/>
          </p:cNvSpPr>
          <p:nvPr/>
        </p:nvSpPr>
        <p:spPr>
          <a:xfrm>
            <a:off x="7730569" y="3264519"/>
            <a:ext cx="3384158" cy="48494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buSzPct val="100000"/>
            </a:pPr>
            <a:r>
              <a:rPr lang="en-US" sz="1200" dirty="0">
                <a:solidFill>
                  <a:schemeClr val="tx1"/>
                </a:solidFill>
                <a:latin typeface="Segoe UI Light" panose="020B0502040204020203" pitchFamily="34" charset="0"/>
                <a:ea typeface="Lato Light" panose="020F0502020204030203" pitchFamily="34" charset="0"/>
              </a:rPr>
              <a:t>Lorem ipsum dolor sit amet, consectetuer adipiscing elit. Aenean commodo ligula eget dolor. </a:t>
            </a:r>
          </a:p>
        </p:txBody>
      </p:sp>
      <p:sp>
        <p:nvSpPr>
          <p:cNvPr id="31" name="TextBox 30">
            <a:extLst>
              <a:ext uri="{FF2B5EF4-FFF2-40B4-BE49-F238E27FC236}">
                <a16:creationId xmlns:a16="http://schemas.microsoft.com/office/drawing/2014/main" id="{FE80E53B-E525-E84F-A945-80647BB45DA3}"/>
              </a:ext>
            </a:extLst>
          </p:cNvPr>
          <p:cNvSpPr txBox="1"/>
          <p:nvPr/>
        </p:nvSpPr>
        <p:spPr>
          <a:xfrm>
            <a:off x="7730569" y="2946330"/>
            <a:ext cx="1154162" cy="338554"/>
          </a:xfrm>
          <a:prstGeom prst="rect">
            <a:avLst/>
          </a:prstGeom>
          <a:noFill/>
        </p:spPr>
        <p:txBody>
          <a:bodyPr wrap="none" rtlCol="0" anchor="ctr"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SIMPLICITY</a:t>
            </a:r>
          </a:p>
        </p:txBody>
      </p:sp>
      <p:sp>
        <p:nvSpPr>
          <p:cNvPr id="32" name="Subtitle 2">
            <a:extLst>
              <a:ext uri="{FF2B5EF4-FFF2-40B4-BE49-F238E27FC236}">
                <a16:creationId xmlns:a16="http://schemas.microsoft.com/office/drawing/2014/main" id="{0B7C0FF9-D1B6-EC4E-A448-3FA27D13F876}"/>
              </a:ext>
            </a:extLst>
          </p:cNvPr>
          <p:cNvSpPr txBox="1">
            <a:spLocks/>
          </p:cNvSpPr>
          <p:nvPr/>
        </p:nvSpPr>
        <p:spPr>
          <a:xfrm>
            <a:off x="7730569" y="4473584"/>
            <a:ext cx="3384158" cy="48494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buSzPct val="100000"/>
            </a:pPr>
            <a:r>
              <a:rPr lang="en-US" sz="1200" dirty="0">
                <a:solidFill>
                  <a:schemeClr val="tx1"/>
                </a:solidFill>
                <a:latin typeface="Segoe UI Light" panose="020B0502040204020203" pitchFamily="34" charset="0"/>
                <a:ea typeface="Lato Light" panose="020F0502020204030203" pitchFamily="34" charset="0"/>
              </a:rPr>
              <a:t>Lorem ipsum dolor sit amet, consectetuer adipiscing elit. Aenean commodo ligula eget dolor. </a:t>
            </a:r>
          </a:p>
        </p:txBody>
      </p:sp>
      <p:sp>
        <p:nvSpPr>
          <p:cNvPr id="33" name="TextBox 32">
            <a:extLst>
              <a:ext uri="{FF2B5EF4-FFF2-40B4-BE49-F238E27FC236}">
                <a16:creationId xmlns:a16="http://schemas.microsoft.com/office/drawing/2014/main" id="{87236A67-2B27-914C-9ED4-3FAA68A85A4B}"/>
              </a:ext>
            </a:extLst>
          </p:cNvPr>
          <p:cNvSpPr txBox="1"/>
          <p:nvPr/>
        </p:nvSpPr>
        <p:spPr>
          <a:xfrm>
            <a:off x="7730569" y="4155396"/>
            <a:ext cx="1601721" cy="338554"/>
          </a:xfrm>
          <a:prstGeom prst="rect">
            <a:avLst/>
          </a:prstGeom>
          <a:noFill/>
        </p:spPr>
        <p:txBody>
          <a:bodyPr wrap="none" rtlCol="0" anchor="ctr"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TRANSPARENCY</a:t>
            </a:r>
          </a:p>
        </p:txBody>
      </p:sp>
      <p:sp>
        <p:nvSpPr>
          <p:cNvPr id="34" name="Subtitle 2">
            <a:extLst>
              <a:ext uri="{FF2B5EF4-FFF2-40B4-BE49-F238E27FC236}">
                <a16:creationId xmlns:a16="http://schemas.microsoft.com/office/drawing/2014/main" id="{9AC31FBE-0BA4-5C41-90F5-E80C2697346D}"/>
              </a:ext>
            </a:extLst>
          </p:cNvPr>
          <p:cNvSpPr txBox="1">
            <a:spLocks/>
          </p:cNvSpPr>
          <p:nvPr/>
        </p:nvSpPr>
        <p:spPr>
          <a:xfrm>
            <a:off x="7730569" y="5682649"/>
            <a:ext cx="3384158" cy="48494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buSzPct val="100000"/>
            </a:pPr>
            <a:r>
              <a:rPr lang="en-US" sz="1200" dirty="0">
                <a:solidFill>
                  <a:schemeClr val="tx1"/>
                </a:solidFill>
                <a:latin typeface="Segoe UI Light" panose="020B0502040204020203" pitchFamily="34" charset="0"/>
                <a:ea typeface="Lato Light" panose="020F0502020204030203" pitchFamily="34" charset="0"/>
              </a:rPr>
              <a:t>Lorem ipsum dolor sit amet, consectetuer adipiscing elit. Aenean commodo ligula eget dolor. </a:t>
            </a:r>
          </a:p>
        </p:txBody>
      </p:sp>
      <p:sp>
        <p:nvSpPr>
          <p:cNvPr id="35" name="TextBox 34">
            <a:extLst>
              <a:ext uri="{FF2B5EF4-FFF2-40B4-BE49-F238E27FC236}">
                <a16:creationId xmlns:a16="http://schemas.microsoft.com/office/drawing/2014/main" id="{7A94258B-E264-6242-A937-9C46A288F449}"/>
              </a:ext>
            </a:extLst>
          </p:cNvPr>
          <p:cNvSpPr txBox="1"/>
          <p:nvPr/>
        </p:nvSpPr>
        <p:spPr>
          <a:xfrm>
            <a:off x="7730569" y="5364460"/>
            <a:ext cx="1422441" cy="338554"/>
          </a:xfrm>
          <a:prstGeom prst="rect">
            <a:avLst/>
          </a:prstGeom>
          <a:noFill/>
        </p:spPr>
        <p:txBody>
          <a:bodyPr wrap="none" rtlCol="0" anchor="ctr"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ADAPTABILITY</a:t>
            </a:r>
          </a:p>
        </p:txBody>
      </p:sp>
      <p:sp>
        <p:nvSpPr>
          <p:cNvPr id="36" name="Titel 1">
            <a:extLst>
              <a:ext uri="{FF2B5EF4-FFF2-40B4-BE49-F238E27FC236}">
                <a16:creationId xmlns:a16="http://schemas.microsoft.com/office/drawing/2014/main" id="{82410E52-5100-4492-9D7F-F3E5452888BB}"/>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Agile core values</a:t>
            </a:r>
          </a:p>
        </p:txBody>
      </p:sp>
    </p:spTree>
    <p:custDataLst>
      <p:tags r:id="rId1"/>
    </p:custDataLst>
    <p:extLst>
      <p:ext uri="{BB962C8B-B14F-4D97-AF65-F5344CB8AC3E}">
        <p14:creationId xmlns:p14="http://schemas.microsoft.com/office/powerpoint/2010/main" val="542832198"/>
      </p:ext>
    </p:extLst>
  </p:cSld>
  <p:clrMapOvr>
    <a:masterClrMapping/>
  </p:clrMapOvr>
  <mc:AlternateContent xmlns:mc="http://schemas.openxmlformats.org/markup-compatibility/2006" xmlns:p14="http://schemas.microsoft.com/office/powerpoint/2010/main">
    <mc:Choice Requires="p14">
      <p:transition spd="med">
        <p14:pan/>
      </p:transition>
    </mc:Choice>
    <mc:Fallback xmlns:a14="http://schemas.microsoft.com/office/drawing/2010/main" xmlns:a16="http://schemas.microsoft.com/office/drawing/2014/main"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кругленный прямоугольник 11">
            <a:extLst>
              <a:ext uri="{FF2B5EF4-FFF2-40B4-BE49-F238E27FC236}">
                <a16:creationId xmlns:a16="http://schemas.microsoft.com/office/drawing/2014/main" id="{E42405C7-24F4-DF42-A73A-6872B32402A0}"/>
              </a:ext>
            </a:extLst>
          </p:cNvPr>
          <p:cNvSpPr/>
          <p:nvPr/>
        </p:nvSpPr>
        <p:spPr bwMode="auto">
          <a:xfrm>
            <a:off x="4800194" y="1572100"/>
            <a:ext cx="2591613" cy="1151828"/>
          </a:xfrm>
          <a:prstGeom prst="roundRect">
            <a:avLst>
              <a:gd name="adj" fmla="val 5329"/>
            </a:avLst>
          </a:prstGeom>
          <a:solidFill>
            <a:schemeClr val="accent1"/>
          </a:solidFill>
          <a:ln w="12700" cap="flat" cmpd="sng" algn="ctr">
            <a:noFill/>
            <a:prstDash val="solid"/>
            <a:miter lim="400000"/>
            <a:headEnd type="none" w="med" len="med"/>
            <a:tailEnd type="none" w="med" len="med"/>
          </a:ln>
          <a:effectLst/>
        </p:spPr>
        <p:txBody>
          <a:bodyPr vert="horz" wrap="square" lIns="19045" tIns="19045" rIns="19045" bIns="19045" numCol="1" rtlCol="0" anchor="ctr" anchorCtr="0" compatLnSpc="1">
            <a:prstTxWarp prst="textNoShape">
              <a:avLst/>
            </a:prstTxWarp>
            <a:noAutofit/>
          </a:bodyPr>
          <a:lstStyle/>
          <a:p>
            <a:pPr defTabSz="412626" fontAlgn="base" hangingPunct="0">
              <a:spcBef>
                <a:spcPct val="0"/>
              </a:spcBef>
              <a:spcAft>
                <a:spcPct val="0"/>
              </a:spcAft>
            </a:pPr>
            <a:endParaRPr lang="en-US" sz="999" dirty="0">
              <a:solidFill>
                <a:srgbClr val="74808C"/>
              </a:solidFill>
              <a:latin typeface="Poppins" charset="0"/>
              <a:ea typeface="Poppins" charset="0"/>
              <a:cs typeface="Poppins" charset="0"/>
              <a:sym typeface="Poppins" charset="0"/>
            </a:endParaRPr>
          </a:p>
        </p:txBody>
      </p:sp>
      <p:sp>
        <p:nvSpPr>
          <p:cNvPr id="5" name="Скругленный прямоугольник 7">
            <a:extLst>
              <a:ext uri="{FF2B5EF4-FFF2-40B4-BE49-F238E27FC236}">
                <a16:creationId xmlns:a16="http://schemas.microsoft.com/office/drawing/2014/main" id="{52A2F41D-EB47-CB49-8120-DCB1D0D8FF46}"/>
              </a:ext>
            </a:extLst>
          </p:cNvPr>
          <p:cNvSpPr/>
          <p:nvPr/>
        </p:nvSpPr>
        <p:spPr bwMode="auto">
          <a:xfrm>
            <a:off x="883307" y="3281891"/>
            <a:ext cx="2123447" cy="827784"/>
          </a:xfrm>
          <a:prstGeom prst="roundRect">
            <a:avLst>
              <a:gd name="adj" fmla="val 5329"/>
            </a:avLst>
          </a:prstGeom>
          <a:solidFill>
            <a:schemeClr val="accent2"/>
          </a:solidFill>
          <a:ln w="12700" cap="flat" cmpd="sng" algn="ctr">
            <a:noFill/>
            <a:prstDash val="solid"/>
            <a:miter lim="400000"/>
            <a:headEnd type="none" w="med" len="med"/>
            <a:tailEnd type="none" w="med" len="med"/>
          </a:ln>
          <a:effectLst/>
        </p:spPr>
        <p:txBody>
          <a:bodyPr vert="horz" wrap="square" lIns="19045" tIns="19045" rIns="19045" bIns="19045" numCol="1" rtlCol="0" anchor="ctr" anchorCtr="0" compatLnSpc="1">
            <a:prstTxWarp prst="textNoShape">
              <a:avLst/>
            </a:prstTxWarp>
            <a:noAutofit/>
          </a:bodyPr>
          <a:lstStyle/>
          <a:p>
            <a:pPr defTabSz="412626" fontAlgn="base" hangingPunct="0">
              <a:spcBef>
                <a:spcPct val="0"/>
              </a:spcBef>
              <a:spcAft>
                <a:spcPct val="0"/>
              </a:spcAft>
            </a:pPr>
            <a:endParaRPr lang="en-US" sz="999" dirty="0">
              <a:solidFill>
                <a:srgbClr val="74808C"/>
              </a:solidFill>
              <a:latin typeface="Poppins" charset="0"/>
              <a:ea typeface="Poppins" charset="0"/>
              <a:cs typeface="Poppins" charset="0"/>
              <a:sym typeface="Poppins" charset="0"/>
            </a:endParaRPr>
          </a:p>
        </p:txBody>
      </p:sp>
      <p:sp>
        <p:nvSpPr>
          <p:cNvPr id="8" name="Скругленный прямоугольник 28">
            <a:extLst>
              <a:ext uri="{FF2B5EF4-FFF2-40B4-BE49-F238E27FC236}">
                <a16:creationId xmlns:a16="http://schemas.microsoft.com/office/drawing/2014/main" id="{22D9553E-9830-0A4D-9225-C68E1F56DB3A}"/>
              </a:ext>
            </a:extLst>
          </p:cNvPr>
          <p:cNvSpPr/>
          <p:nvPr/>
        </p:nvSpPr>
        <p:spPr bwMode="auto">
          <a:xfrm>
            <a:off x="3644300" y="3281891"/>
            <a:ext cx="2123447" cy="827784"/>
          </a:xfrm>
          <a:prstGeom prst="roundRect">
            <a:avLst>
              <a:gd name="adj" fmla="val 5329"/>
            </a:avLst>
          </a:prstGeom>
          <a:solidFill>
            <a:schemeClr val="accent2"/>
          </a:solidFill>
          <a:ln w="12700" cap="flat" cmpd="sng" algn="ctr">
            <a:noFill/>
            <a:prstDash val="solid"/>
            <a:miter lim="400000"/>
            <a:headEnd type="none" w="med" len="med"/>
            <a:tailEnd type="none" w="med" len="med"/>
          </a:ln>
          <a:effectLst/>
        </p:spPr>
        <p:txBody>
          <a:bodyPr vert="horz" wrap="square" lIns="19045" tIns="19045" rIns="19045" bIns="19045" numCol="1" rtlCol="0" anchor="ctr" anchorCtr="0" compatLnSpc="1">
            <a:prstTxWarp prst="textNoShape">
              <a:avLst/>
            </a:prstTxWarp>
            <a:noAutofit/>
          </a:bodyPr>
          <a:lstStyle/>
          <a:p>
            <a:pPr defTabSz="412626" fontAlgn="base" hangingPunct="0">
              <a:spcBef>
                <a:spcPct val="0"/>
              </a:spcBef>
              <a:spcAft>
                <a:spcPct val="0"/>
              </a:spcAft>
            </a:pPr>
            <a:endParaRPr lang="en-US" sz="999" dirty="0">
              <a:solidFill>
                <a:srgbClr val="74808C"/>
              </a:solidFill>
              <a:latin typeface="Poppins" charset="0"/>
              <a:ea typeface="Poppins" charset="0"/>
              <a:cs typeface="Poppins" charset="0"/>
              <a:sym typeface="Poppins" charset="0"/>
            </a:endParaRPr>
          </a:p>
        </p:txBody>
      </p:sp>
      <p:sp>
        <p:nvSpPr>
          <p:cNvPr id="11" name="Скругленный прямоугольник 36">
            <a:extLst>
              <a:ext uri="{FF2B5EF4-FFF2-40B4-BE49-F238E27FC236}">
                <a16:creationId xmlns:a16="http://schemas.microsoft.com/office/drawing/2014/main" id="{0189B60D-53B3-1840-B587-5E370C881458}"/>
              </a:ext>
            </a:extLst>
          </p:cNvPr>
          <p:cNvSpPr/>
          <p:nvPr/>
        </p:nvSpPr>
        <p:spPr bwMode="auto">
          <a:xfrm>
            <a:off x="6403140" y="3281891"/>
            <a:ext cx="2123447" cy="827784"/>
          </a:xfrm>
          <a:prstGeom prst="roundRect">
            <a:avLst>
              <a:gd name="adj" fmla="val 5329"/>
            </a:avLst>
          </a:prstGeom>
          <a:solidFill>
            <a:schemeClr val="accent2"/>
          </a:solidFill>
          <a:ln w="12700" cap="flat" cmpd="sng" algn="ctr">
            <a:noFill/>
            <a:prstDash val="solid"/>
            <a:miter lim="400000"/>
            <a:headEnd type="none" w="med" len="med"/>
            <a:tailEnd type="none" w="med" len="med"/>
          </a:ln>
          <a:effectLst/>
        </p:spPr>
        <p:txBody>
          <a:bodyPr vert="horz" wrap="square" lIns="19045" tIns="19045" rIns="19045" bIns="19045" numCol="1" rtlCol="0" anchor="ctr" anchorCtr="0" compatLnSpc="1">
            <a:prstTxWarp prst="textNoShape">
              <a:avLst/>
            </a:prstTxWarp>
            <a:noAutofit/>
          </a:bodyPr>
          <a:lstStyle/>
          <a:p>
            <a:pPr defTabSz="412626" fontAlgn="base" hangingPunct="0">
              <a:spcBef>
                <a:spcPct val="0"/>
              </a:spcBef>
              <a:spcAft>
                <a:spcPct val="0"/>
              </a:spcAft>
            </a:pPr>
            <a:endParaRPr lang="en-US" sz="999" dirty="0">
              <a:solidFill>
                <a:srgbClr val="74808C"/>
              </a:solidFill>
              <a:latin typeface="Poppins" charset="0"/>
              <a:ea typeface="Poppins" charset="0"/>
              <a:cs typeface="Poppins" charset="0"/>
              <a:sym typeface="Poppins" charset="0"/>
            </a:endParaRPr>
          </a:p>
        </p:txBody>
      </p:sp>
      <p:sp>
        <p:nvSpPr>
          <p:cNvPr id="14" name="Скругленный прямоугольник 40">
            <a:extLst>
              <a:ext uri="{FF2B5EF4-FFF2-40B4-BE49-F238E27FC236}">
                <a16:creationId xmlns:a16="http://schemas.microsoft.com/office/drawing/2014/main" id="{44B4615B-3703-FE4E-89AF-E196A9A0A441}"/>
              </a:ext>
            </a:extLst>
          </p:cNvPr>
          <p:cNvSpPr/>
          <p:nvPr/>
        </p:nvSpPr>
        <p:spPr bwMode="auto">
          <a:xfrm>
            <a:off x="9128484" y="3281891"/>
            <a:ext cx="2123447" cy="827784"/>
          </a:xfrm>
          <a:prstGeom prst="roundRect">
            <a:avLst>
              <a:gd name="adj" fmla="val 5329"/>
            </a:avLst>
          </a:prstGeom>
          <a:solidFill>
            <a:schemeClr val="accent2"/>
          </a:solidFill>
          <a:ln w="12700" cap="flat" cmpd="sng" algn="ctr">
            <a:noFill/>
            <a:prstDash val="solid"/>
            <a:miter lim="400000"/>
            <a:headEnd type="none" w="med" len="med"/>
            <a:tailEnd type="none" w="med" len="med"/>
          </a:ln>
          <a:effectLst/>
        </p:spPr>
        <p:txBody>
          <a:bodyPr vert="horz" wrap="square" lIns="19045" tIns="19045" rIns="19045" bIns="19045" numCol="1" rtlCol="0" anchor="ctr" anchorCtr="0" compatLnSpc="1">
            <a:prstTxWarp prst="textNoShape">
              <a:avLst/>
            </a:prstTxWarp>
            <a:noAutofit/>
          </a:bodyPr>
          <a:lstStyle/>
          <a:p>
            <a:pPr defTabSz="412626" fontAlgn="base" hangingPunct="0">
              <a:spcBef>
                <a:spcPct val="0"/>
              </a:spcBef>
              <a:spcAft>
                <a:spcPct val="0"/>
              </a:spcAft>
            </a:pPr>
            <a:endParaRPr lang="en-US" sz="999" dirty="0">
              <a:solidFill>
                <a:srgbClr val="74808C"/>
              </a:solidFill>
              <a:latin typeface="Poppins" charset="0"/>
              <a:ea typeface="Poppins" charset="0"/>
              <a:cs typeface="Poppins" charset="0"/>
              <a:sym typeface="Poppins" charset="0"/>
            </a:endParaRPr>
          </a:p>
        </p:txBody>
      </p:sp>
      <p:sp>
        <p:nvSpPr>
          <p:cNvPr id="17" name="Скругленный прямоугольник 31">
            <a:extLst>
              <a:ext uri="{FF2B5EF4-FFF2-40B4-BE49-F238E27FC236}">
                <a16:creationId xmlns:a16="http://schemas.microsoft.com/office/drawing/2014/main" id="{2EAC0989-88B6-3440-8CFF-AEA695C56CD0}"/>
              </a:ext>
            </a:extLst>
          </p:cNvPr>
          <p:cNvSpPr/>
          <p:nvPr/>
        </p:nvSpPr>
        <p:spPr bwMode="auto">
          <a:xfrm>
            <a:off x="667339" y="4487753"/>
            <a:ext cx="1147492" cy="755803"/>
          </a:xfrm>
          <a:prstGeom prst="roundRect">
            <a:avLst>
              <a:gd name="adj" fmla="val 5329"/>
            </a:avLst>
          </a:prstGeom>
          <a:solidFill>
            <a:schemeClr val="accent3"/>
          </a:solidFill>
          <a:ln w="12700" cap="flat" cmpd="sng" algn="ctr">
            <a:noFill/>
            <a:prstDash val="solid"/>
            <a:miter lim="400000"/>
            <a:headEnd type="none" w="med" len="med"/>
            <a:tailEnd type="none" w="med" len="med"/>
          </a:ln>
          <a:effectLst/>
        </p:spPr>
        <p:txBody>
          <a:bodyPr vert="horz" wrap="square" lIns="19045" tIns="19045" rIns="19045" bIns="19045" numCol="1" rtlCol="0" anchor="ctr" anchorCtr="0" compatLnSpc="1">
            <a:prstTxWarp prst="textNoShape">
              <a:avLst/>
            </a:prstTxWarp>
            <a:noAutofit/>
          </a:bodyPr>
          <a:lstStyle/>
          <a:p>
            <a:pPr defTabSz="412626" fontAlgn="base" hangingPunct="0">
              <a:spcBef>
                <a:spcPct val="0"/>
              </a:spcBef>
              <a:spcAft>
                <a:spcPct val="0"/>
              </a:spcAft>
            </a:pPr>
            <a:endParaRPr lang="en-US" sz="999" dirty="0">
              <a:solidFill>
                <a:srgbClr val="74808C"/>
              </a:solidFill>
              <a:latin typeface="Poppins" charset="0"/>
              <a:ea typeface="Poppins" charset="0"/>
              <a:cs typeface="Poppins" charset="0"/>
              <a:sym typeface="Poppins" charset="0"/>
            </a:endParaRPr>
          </a:p>
        </p:txBody>
      </p:sp>
      <p:sp>
        <p:nvSpPr>
          <p:cNvPr id="19" name="Скругленный прямоугольник 78">
            <a:extLst>
              <a:ext uri="{FF2B5EF4-FFF2-40B4-BE49-F238E27FC236}">
                <a16:creationId xmlns:a16="http://schemas.microsoft.com/office/drawing/2014/main" id="{A48DB3B5-CB01-B540-AE20-2F927B3E7D94}"/>
              </a:ext>
            </a:extLst>
          </p:cNvPr>
          <p:cNvSpPr/>
          <p:nvPr/>
        </p:nvSpPr>
        <p:spPr bwMode="auto">
          <a:xfrm>
            <a:off x="2075466" y="4487753"/>
            <a:ext cx="1147492" cy="755803"/>
          </a:xfrm>
          <a:prstGeom prst="roundRect">
            <a:avLst>
              <a:gd name="adj" fmla="val 5329"/>
            </a:avLst>
          </a:prstGeom>
          <a:solidFill>
            <a:schemeClr val="accent3"/>
          </a:solidFill>
          <a:ln w="12700" cap="flat" cmpd="sng" algn="ctr">
            <a:noFill/>
            <a:prstDash val="solid"/>
            <a:miter lim="400000"/>
            <a:headEnd type="none" w="med" len="med"/>
            <a:tailEnd type="none" w="med" len="med"/>
          </a:ln>
          <a:effectLst/>
        </p:spPr>
        <p:txBody>
          <a:bodyPr vert="horz" wrap="square" lIns="19045" tIns="19045" rIns="19045" bIns="19045" numCol="1" rtlCol="0" anchor="ctr" anchorCtr="0" compatLnSpc="1">
            <a:prstTxWarp prst="textNoShape">
              <a:avLst/>
            </a:prstTxWarp>
            <a:noAutofit/>
          </a:bodyPr>
          <a:lstStyle/>
          <a:p>
            <a:pPr defTabSz="412626" fontAlgn="base" hangingPunct="0">
              <a:spcBef>
                <a:spcPct val="0"/>
              </a:spcBef>
              <a:spcAft>
                <a:spcPct val="0"/>
              </a:spcAft>
            </a:pPr>
            <a:endParaRPr lang="en-US" sz="999" dirty="0">
              <a:solidFill>
                <a:srgbClr val="74808C"/>
              </a:solidFill>
              <a:latin typeface="Poppins" charset="0"/>
              <a:ea typeface="Poppins" charset="0"/>
              <a:cs typeface="Poppins" charset="0"/>
              <a:sym typeface="Poppins" charset="0"/>
            </a:endParaRPr>
          </a:p>
        </p:txBody>
      </p:sp>
      <p:sp>
        <p:nvSpPr>
          <p:cNvPr id="21" name="Скругленный прямоугольник 87">
            <a:extLst>
              <a:ext uri="{FF2B5EF4-FFF2-40B4-BE49-F238E27FC236}">
                <a16:creationId xmlns:a16="http://schemas.microsoft.com/office/drawing/2014/main" id="{2C601B68-CBFD-4E4D-904D-ABD32DB40EA3}"/>
              </a:ext>
            </a:extLst>
          </p:cNvPr>
          <p:cNvSpPr/>
          <p:nvPr/>
        </p:nvSpPr>
        <p:spPr bwMode="auto">
          <a:xfrm>
            <a:off x="3436472" y="4487753"/>
            <a:ext cx="1147492" cy="755803"/>
          </a:xfrm>
          <a:prstGeom prst="roundRect">
            <a:avLst>
              <a:gd name="adj" fmla="val 5329"/>
            </a:avLst>
          </a:prstGeom>
          <a:solidFill>
            <a:schemeClr val="accent3"/>
          </a:solidFill>
          <a:ln w="12700" cap="flat" cmpd="sng" algn="ctr">
            <a:noFill/>
            <a:prstDash val="solid"/>
            <a:miter lim="400000"/>
            <a:headEnd type="none" w="med" len="med"/>
            <a:tailEnd type="none" w="med" len="med"/>
          </a:ln>
          <a:effectLst/>
        </p:spPr>
        <p:txBody>
          <a:bodyPr vert="horz" wrap="square" lIns="19045" tIns="19045" rIns="19045" bIns="19045" numCol="1" rtlCol="0" anchor="ctr" anchorCtr="0" compatLnSpc="1">
            <a:prstTxWarp prst="textNoShape">
              <a:avLst/>
            </a:prstTxWarp>
            <a:noAutofit/>
          </a:bodyPr>
          <a:lstStyle/>
          <a:p>
            <a:pPr defTabSz="412626" fontAlgn="base" hangingPunct="0">
              <a:spcBef>
                <a:spcPct val="0"/>
              </a:spcBef>
              <a:spcAft>
                <a:spcPct val="0"/>
              </a:spcAft>
            </a:pPr>
            <a:endParaRPr lang="en-US" sz="999" dirty="0">
              <a:solidFill>
                <a:srgbClr val="74808C"/>
              </a:solidFill>
              <a:latin typeface="Poppins" charset="0"/>
              <a:ea typeface="Poppins" charset="0"/>
              <a:cs typeface="Poppins" charset="0"/>
              <a:sym typeface="Poppins" charset="0"/>
            </a:endParaRPr>
          </a:p>
        </p:txBody>
      </p:sp>
      <p:sp>
        <p:nvSpPr>
          <p:cNvPr id="23" name="Скругленный прямоугольник 84">
            <a:extLst>
              <a:ext uri="{FF2B5EF4-FFF2-40B4-BE49-F238E27FC236}">
                <a16:creationId xmlns:a16="http://schemas.microsoft.com/office/drawing/2014/main" id="{BF4947C6-EA21-5F4C-83C8-154D1B77ECEB}"/>
              </a:ext>
            </a:extLst>
          </p:cNvPr>
          <p:cNvSpPr/>
          <p:nvPr/>
        </p:nvSpPr>
        <p:spPr bwMode="auto">
          <a:xfrm>
            <a:off x="4844599" y="4487753"/>
            <a:ext cx="1147492" cy="755803"/>
          </a:xfrm>
          <a:prstGeom prst="roundRect">
            <a:avLst>
              <a:gd name="adj" fmla="val 5329"/>
            </a:avLst>
          </a:prstGeom>
          <a:solidFill>
            <a:schemeClr val="accent3"/>
          </a:solidFill>
          <a:ln w="12700" cap="flat" cmpd="sng" algn="ctr">
            <a:noFill/>
            <a:prstDash val="solid"/>
            <a:miter lim="400000"/>
            <a:headEnd type="none" w="med" len="med"/>
            <a:tailEnd type="none" w="med" len="med"/>
          </a:ln>
          <a:effectLst/>
        </p:spPr>
        <p:txBody>
          <a:bodyPr vert="horz" wrap="square" lIns="19045" tIns="19045" rIns="19045" bIns="19045" numCol="1" rtlCol="0" anchor="ctr" anchorCtr="0" compatLnSpc="1">
            <a:prstTxWarp prst="textNoShape">
              <a:avLst/>
            </a:prstTxWarp>
            <a:noAutofit/>
          </a:bodyPr>
          <a:lstStyle/>
          <a:p>
            <a:pPr defTabSz="412626" fontAlgn="base" hangingPunct="0">
              <a:spcBef>
                <a:spcPct val="0"/>
              </a:spcBef>
              <a:spcAft>
                <a:spcPct val="0"/>
              </a:spcAft>
            </a:pPr>
            <a:endParaRPr lang="en-US" sz="999" dirty="0">
              <a:solidFill>
                <a:srgbClr val="74808C"/>
              </a:solidFill>
              <a:latin typeface="Poppins" charset="0"/>
              <a:ea typeface="Poppins" charset="0"/>
              <a:cs typeface="Poppins" charset="0"/>
              <a:sym typeface="Poppins" charset="0"/>
            </a:endParaRPr>
          </a:p>
        </p:txBody>
      </p:sp>
      <p:sp>
        <p:nvSpPr>
          <p:cNvPr id="25" name="Скругленный прямоугольник 96">
            <a:extLst>
              <a:ext uri="{FF2B5EF4-FFF2-40B4-BE49-F238E27FC236}">
                <a16:creationId xmlns:a16="http://schemas.microsoft.com/office/drawing/2014/main" id="{8F08A673-3C0C-B146-8A52-31469A5CC137}"/>
              </a:ext>
            </a:extLst>
          </p:cNvPr>
          <p:cNvSpPr/>
          <p:nvPr/>
        </p:nvSpPr>
        <p:spPr bwMode="auto">
          <a:xfrm>
            <a:off x="6203452" y="4487753"/>
            <a:ext cx="1147492" cy="755803"/>
          </a:xfrm>
          <a:prstGeom prst="roundRect">
            <a:avLst>
              <a:gd name="adj" fmla="val 5329"/>
            </a:avLst>
          </a:prstGeom>
          <a:solidFill>
            <a:schemeClr val="accent3"/>
          </a:solidFill>
          <a:ln w="12700" cap="flat" cmpd="sng" algn="ctr">
            <a:noFill/>
            <a:prstDash val="solid"/>
            <a:miter lim="400000"/>
            <a:headEnd type="none" w="med" len="med"/>
            <a:tailEnd type="none" w="med" len="med"/>
          </a:ln>
          <a:effectLst/>
        </p:spPr>
        <p:txBody>
          <a:bodyPr vert="horz" wrap="square" lIns="19045" tIns="19045" rIns="19045" bIns="19045" numCol="1" rtlCol="0" anchor="ctr" anchorCtr="0" compatLnSpc="1">
            <a:prstTxWarp prst="textNoShape">
              <a:avLst/>
            </a:prstTxWarp>
            <a:noAutofit/>
          </a:bodyPr>
          <a:lstStyle/>
          <a:p>
            <a:pPr defTabSz="412626" fontAlgn="base" hangingPunct="0">
              <a:spcBef>
                <a:spcPct val="0"/>
              </a:spcBef>
              <a:spcAft>
                <a:spcPct val="0"/>
              </a:spcAft>
            </a:pPr>
            <a:endParaRPr lang="en-US" sz="999" dirty="0">
              <a:solidFill>
                <a:srgbClr val="74808C"/>
              </a:solidFill>
              <a:latin typeface="Poppins" charset="0"/>
              <a:ea typeface="Poppins" charset="0"/>
              <a:cs typeface="Poppins" charset="0"/>
              <a:sym typeface="Poppins" charset="0"/>
            </a:endParaRPr>
          </a:p>
        </p:txBody>
      </p:sp>
      <p:sp>
        <p:nvSpPr>
          <p:cNvPr id="27" name="Скругленный прямоугольник 93">
            <a:extLst>
              <a:ext uri="{FF2B5EF4-FFF2-40B4-BE49-F238E27FC236}">
                <a16:creationId xmlns:a16="http://schemas.microsoft.com/office/drawing/2014/main" id="{C32DF5E3-289E-9546-8AB5-BB090C5317EA}"/>
              </a:ext>
            </a:extLst>
          </p:cNvPr>
          <p:cNvSpPr/>
          <p:nvPr/>
        </p:nvSpPr>
        <p:spPr bwMode="auto">
          <a:xfrm>
            <a:off x="7575584" y="4487753"/>
            <a:ext cx="1147492" cy="755803"/>
          </a:xfrm>
          <a:prstGeom prst="roundRect">
            <a:avLst>
              <a:gd name="adj" fmla="val 5329"/>
            </a:avLst>
          </a:prstGeom>
          <a:solidFill>
            <a:schemeClr val="accent3"/>
          </a:solidFill>
          <a:ln w="12700" cap="flat" cmpd="sng" algn="ctr">
            <a:noFill/>
            <a:prstDash val="solid"/>
            <a:miter lim="400000"/>
            <a:headEnd type="none" w="med" len="med"/>
            <a:tailEnd type="none" w="med" len="med"/>
          </a:ln>
          <a:effectLst/>
        </p:spPr>
        <p:txBody>
          <a:bodyPr vert="horz" wrap="square" lIns="19045" tIns="19045" rIns="19045" bIns="19045" numCol="1" rtlCol="0" anchor="ctr" anchorCtr="0" compatLnSpc="1">
            <a:prstTxWarp prst="textNoShape">
              <a:avLst/>
            </a:prstTxWarp>
            <a:noAutofit/>
          </a:bodyPr>
          <a:lstStyle/>
          <a:p>
            <a:pPr defTabSz="412626" fontAlgn="base" hangingPunct="0">
              <a:spcBef>
                <a:spcPct val="0"/>
              </a:spcBef>
              <a:spcAft>
                <a:spcPct val="0"/>
              </a:spcAft>
            </a:pPr>
            <a:endParaRPr lang="en-US" sz="999" dirty="0">
              <a:solidFill>
                <a:srgbClr val="74808C"/>
              </a:solidFill>
              <a:latin typeface="Poppins" charset="0"/>
              <a:ea typeface="Poppins" charset="0"/>
              <a:cs typeface="Poppins" charset="0"/>
              <a:sym typeface="Poppins" charset="0"/>
            </a:endParaRPr>
          </a:p>
        </p:txBody>
      </p:sp>
      <p:sp>
        <p:nvSpPr>
          <p:cNvPr id="29" name="Скругленный прямоугольник 104">
            <a:extLst>
              <a:ext uri="{FF2B5EF4-FFF2-40B4-BE49-F238E27FC236}">
                <a16:creationId xmlns:a16="http://schemas.microsoft.com/office/drawing/2014/main" id="{5042A5E2-4CCE-694E-8347-640140E62780}"/>
              </a:ext>
            </a:extLst>
          </p:cNvPr>
          <p:cNvSpPr/>
          <p:nvPr/>
        </p:nvSpPr>
        <p:spPr bwMode="auto">
          <a:xfrm>
            <a:off x="8937636" y="4487753"/>
            <a:ext cx="1147492" cy="755803"/>
          </a:xfrm>
          <a:prstGeom prst="roundRect">
            <a:avLst>
              <a:gd name="adj" fmla="val 5329"/>
            </a:avLst>
          </a:prstGeom>
          <a:solidFill>
            <a:schemeClr val="accent3"/>
          </a:solidFill>
          <a:ln w="12700" cap="flat" cmpd="sng" algn="ctr">
            <a:noFill/>
            <a:prstDash val="solid"/>
            <a:miter lim="400000"/>
            <a:headEnd type="none" w="med" len="med"/>
            <a:tailEnd type="none" w="med" len="med"/>
          </a:ln>
          <a:effectLst/>
        </p:spPr>
        <p:txBody>
          <a:bodyPr vert="horz" wrap="square" lIns="19045" tIns="19045" rIns="19045" bIns="19045" numCol="1" rtlCol="0" anchor="ctr" anchorCtr="0" compatLnSpc="1">
            <a:prstTxWarp prst="textNoShape">
              <a:avLst/>
            </a:prstTxWarp>
            <a:noAutofit/>
          </a:bodyPr>
          <a:lstStyle/>
          <a:p>
            <a:pPr defTabSz="412626" fontAlgn="base" hangingPunct="0">
              <a:spcBef>
                <a:spcPct val="0"/>
              </a:spcBef>
              <a:spcAft>
                <a:spcPct val="0"/>
              </a:spcAft>
            </a:pPr>
            <a:endParaRPr lang="en-US" sz="999" dirty="0">
              <a:solidFill>
                <a:srgbClr val="74808C"/>
              </a:solidFill>
              <a:latin typeface="Poppins" charset="0"/>
              <a:ea typeface="Poppins" charset="0"/>
              <a:cs typeface="Poppins" charset="0"/>
              <a:sym typeface="Poppins" charset="0"/>
            </a:endParaRPr>
          </a:p>
        </p:txBody>
      </p:sp>
      <p:sp>
        <p:nvSpPr>
          <p:cNvPr id="31" name="Скругленный прямоугольник 102">
            <a:extLst>
              <a:ext uri="{FF2B5EF4-FFF2-40B4-BE49-F238E27FC236}">
                <a16:creationId xmlns:a16="http://schemas.microsoft.com/office/drawing/2014/main" id="{873F9FBB-6650-9E4E-A452-73FA89112235}"/>
              </a:ext>
            </a:extLst>
          </p:cNvPr>
          <p:cNvSpPr/>
          <p:nvPr/>
        </p:nvSpPr>
        <p:spPr bwMode="auto">
          <a:xfrm>
            <a:off x="10309768" y="4487753"/>
            <a:ext cx="1147492" cy="755803"/>
          </a:xfrm>
          <a:prstGeom prst="roundRect">
            <a:avLst>
              <a:gd name="adj" fmla="val 5329"/>
            </a:avLst>
          </a:prstGeom>
          <a:solidFill>
            <a:schemeClr val="accent3"/>
          </a:solidFill>
          <a:ln w="12700" cap="flat" cmpd="sng" algn="ctr">
            <a:noFill/>
            <a:prstDash val="solid"/>
            <a:miter lim="400000"/>
            <a:headEnd type="none" w="med" len="med"/>
            <a:tailEnd type="none" w="med" len="med"/>
          </a:ln>
          <a:effectLst/>
        </p:spPr>
        <p:txBody>
          <a:bodyPr vert="horz" wrap="square" lIns="19045" tIns="19045" rIns="19045" bIns="19045" numCol="1" rtlCol="0" anchor="ctr" anchorCtr="0" compatLnSpc="1">
            <a:prstTxWarp prst="textNoShape">
              <a:avLst/>
            </a:prstTxWarp>
            <a:noAutofit/>
          </a:bodyPr>
          <a:lstStyle/>
          <a:p>
            <a:pPr defTabSz="412626" fontAlgn="base" hangingPunct="0">
              <a:spcBef>
                <a:spcPct val="0"/>
              </a:spcBef>
              <a:spcAft>
                <a:spcPct val="0"/>
              </a:spcAft>
            </a:pPr>
            <a:endParaRPr lang="en-US" sz="999" dirty="0">
              <a:solidFill>
                <a:srgbClr val="74808C"/>
              </a:solidFill>
              <a:latin typeface="Poppins" charset="0"/>
              <a:ea typeface="Poppins" charset="0"/>
              <a:cs typeface="Poppins" charset="0"/>
              <a:sym typeface="Poppins" charset="0"/>
            </a:endParaRPr>
          </a:p>
        </p:txBody>
      </p:sp>
      <p:cxnSp>
        <p:nvCxnSpPr>
          <p:cNvPr id="33" name="Прямая со стрелкой 16">
            <a:extLst>
              <a:ext uri="{FF2B5EF4-FFF2-40B4-BE49-F238E27FC236}">
                <a16:creationId xmlns:a16="http://schemas.microsoft.com/office/drawing/2014/main" id="{5DD8AE0C-28BE-6E45-BB2A-D48341DCB64E}"/>
              </a:ext>
            </a:extLst>
          </p:cNvPr>
          <p:cNvCxnSpPr>
            <a:cxnSpLocks/>
            <a:stCxn id="2" idx="2"/>
            <a:endCxn id="5" idx="0"/>
          </p:cNvCxnSpPr>
          <p:nvPr/>
        </p:nvCxnSpPr>
        <p:spPr bwMode="auto">
          <a:xfrm flipH="1">
            <a:off x="1945030" y="2723928"/>
            <a:ext cx="4150970" cy="557963"/>
          </a:xfrm>
          <a:prstGeom prst="straightConnector1">
            <a:avLst/>
          </a:prstGeom>
          <a:blipFill dpi="0" rotWithShape="0">
            <a:blip r:embed="rId4"/>
            <a:srcRect/>
            <a:tile tx="0" ty="0" sx="100000" sy="100000" flip="none" algn="tl"/>
          </a:blipFill>
          <a:ln w="38100" cap="flat" cmpd="sng" algn="ctr">
            <a:solidFill>
              <a:schemeClr val="bg1">
                <a:lumMod val="75000"/>
              </a:schemeClr>
            </a:solidFill>
            <a:prstDash val="solid"/>
            <a:miter lim="400000"/>
            <a:headEnd type="none" w="med" len="med"/>
            <a:tailEnd type="triangle"/>
          </a:ln>
          <a:effectLst/>
        </p:spPr>
      </p:cxnSp>
      <p:cxnSp>
        <p:nvCxnSpPr>
          <p:cNvPr id="34" name="Прямая со стрелкой 18">
            <a:extLst>
              <a:ext uri="{FF2B5EF4-FFF2-40B4-BE49-F238E27FC236}">
                <a16:creationId xmlns:a16="http://schemas.microsoft.com/office/drawing/2014/main" id="{841F9E6C-EB9E-5D4E-BB13-91365F71689C}"/>
              </a:ext>
            </a:extLst>
          </p:cNvPr>
          <p:cNvCxnSpPr>
            <a:stCxn id="2" idx="2"/>
            <a:endCxn id="11" idx="0"/>
          </p:cNvCxnSpPr>
          <p:nvPr/>
        </p:nvCxnSpPr>
        <p:spPr bwMode="auto">
          <a:xfrm>
            <a:off x="6096000" y="2723928"/>
            <a:ext cx="1368863" cy="557963"/>
          </a:xfrm>
          <a:prstGeom prst="straightConnector1">
            <a:avLst/>
          </a:prstGeom>
          <a:blipFill dpi="0" rotWithShape="0">
            <a:blip r:embed="rId4"/>
            <a:srcRect/>
            <a:tile tx="0" ty="0" sx="100000" sy="100000" flip="none" algn="tl"/>
          </a:blipFill>
          <a:ln w="38100" cap="flat" cmpd="sng" algn="ctr">
            <a:solidFill>
              <a:schemeClr val="bg1">
                <a:lumMod val="75000"/>
              </a:schemeClr>
            </a:solidFill>
            <a:prstDash val="solid"/>
            <a:miter lim="400000"/>
            <a:headEnd type="none" w="med" len="med"/>
            <a:tailEnd type="triangle"/>
          </a:ln>
          <a:effectLst/>
        </p:spPr>
      </p:cxnSp>
      <p:cxnSp>
        <p:nvCxnSpPr>
          <p:cNvPr id="35" name="Прямая со стрелкой 20">
            <a:extLst>
              <a:ext uri="{FF2B5EF4-FFF2-40B4-BE49-F238E27FC236}">
                <a16:creationId xmlns:a16="http://schemas.microsoft.com/office/drawing/2014/main" id="{95D07D9A-BFBB-3D4B-AF13-71B98BD4C38B}"/>
              </a:ext>
            </a:extLst>
          </p:cNvPr>
          <p:cNvCxnSpPr>
            <a:cxnSpLocks/>
            <a:stCxn id="2" idx="2"/>
            <a:endCxn id="14" idx="0"/>
          </p:cNvCxnSpPr>
          <p:nvPr/>
        </p:nvCxnSpPr>
        <p:spPr bwMode="auto">
          <a:xfrm>
            <a:off x="6096000" y="2723928"/>
            <a:ext cx="4094207" cy="557963"/>
          </a:xfrm>
          <a:prstGeom prst="straightConnector1">
            <a:avLst/>
          </a:prstGeom>
          <a:blipFill dpi="0" rotWithShape="0">
            <a:blip r:embed="rId4"/>
            <a:srcRect/>
            <a:tile tx="0" ty="0" sx="100000" sy="100000" flip="none" algn="tl"/>
          </a:blipFill>
          <a:ln w="38100" cap="flat" cmpd="sng" algn="ctr">
            <a:solidFill>
              <a:schemeClr val="bg1">
                <a:lumMod val="75000"/>
              </a:schemeClr>
            </a:solidFill>
            <a:prstDash val="solid"/>
            <a:miter lim="400000"/>
            <a:headEnd type="none" w="med" len="med"/>
            <a:tailEnd type="triangle"/>
          </a:ln>
          <a:effectLst/>
        </p:spPr>
      </p:cxnSp>
      <p:cxnSp>
        <p:nvCxnSpPr>
          <p:cNvPr id="36" name="Прямая со стрелкой 24">
            <a:extLst>
              <a:ext uri="{FF2B5EF4-FFF2-40B4-BE49-F238E27FC236}">
                <a16:creationId xmlns:a16="http://schemas.microsoft.com/office/drawing/2014/main" id="{ECDFC3F6-49EE-0447-9455-9DB264D73B9C}"/>
              </a:ext>
            </a:extLst>
          </p:cNvPr>
          <p:cNvCxnSpPr>
            <a:cxnSpLocks/>
            <a:stCxn id="2" idx="2"/>
            <a:endCxn id="8" idx="0"/>
          </p:cNvCxnSpPr>
          <p:nvPr/>
        </p:nvCxnSpPr>
        <p:spPr bwMode="auto">
          <a:xfrm flipH="1">
            <a:off x="4706023" y="2723928"/>
            <a:ext cx="1389977" cy="557963"/>
          </a:xfrm>
          <a:prstGeom prst="straightConnector1">
            <a:avLst/>
          </a:prstGeom>
          <a:blipFill dpi="0" rotWithShape="0">
            <a:blip r:embed="rId4"/>
            <a:srcRect/>
            <a:tile tx="0" ty="0" sx="100000" sy="100000" flip="none" algn="tl"/>
          </a:blipFill>
          <a:ln w="38100" cap="flat" cmpd="sng" algn="ctr">
            <a:solidFill>
              <a:schemeClr val="bg1">
                <a:lumMod val="75000"/>
              </a:schemeClr>
            </a:solidFill>
            <a:prstDash val="solid"/>
            <a:miter lim="400000"/>
            <a:headEnd type="none" w="med" len="med"/>
            <a:tailEnd type="triangle"/>
          </a:ln>
          <a:effectLst/>
        </p:spPr>
      </p:cxnSp>
      <p:cxnSp>
        <p:nvCxnSpPr>
          <p:cNvPr id="37" name="Прямая со стрелкой 39">
            <a:extLst>
              <a:ext uri="{FF2B5EF4-FFF2-40B4-BE49-F238E27FC236}">
                <a16:creationId xmlns:a16="http://schemas.microsoft.com/office/drawing/2014/main" id="{DD9AE49E-2FA2-9C4B-80DA-DE823D6B6DEA}"/>
              </a:ext>
            </a:extLst>
          </p:cNvPr>
          <p:cNvCxnSpPr>
            <a:stCxn id="5" idx="2"/>
            <a:endCxn id="17" idx="0"/>
          </p:cNvCxnSpPr>
          <p:nvPr/>
        </p:nvCxnSpPr>
        <p:spPr bwMode="auto">
          <a:xfrm flipH="1">
            <a:off x="1241085" y="4109675"/>
            <a:ext cx="703945" cy="378078"/>
          </a:xfrm>
          <a:prstGeom prst="straightConnector1">
            <a:avLst/>
          </a:prstGeom>
          <a:blipFill dpi="0" rotWithShape="0">
            <a:blip r:embed="rId4"/>
            <a:srcRect/>
            <a:tile tx="0" ty="0" sx="100000" sy="100000" flip="none" algn="tl"/>
          </a:blipFill>
          <a:ln w="38100" cap="flat" cmpd="sng" algn="ctr">
            <a:solidFill>
              <a:schemeClr val="bg1">
                <a:lumMod val="75000"/>
              </a:schemeClr>
            </a:solidFill>
            <a:prstDash val="solid"/>
            <a:miter lim="400000"/>
            <a:headEnd type="none" w="med" len="med"/>
            <a:tailEnd type="triangle"/>
          </a:ln>
          <a:effectLst/>
        </p:spPr>
      </p:cxnSp>
      <p:cxnSp>
        <p:nvCxnSpPr>
          <p:cNvPr id="38" name="Прямая со стрелкой 51">
            <a:extLst>
              <a:ext uri="{FF2B5EF4-FFF2-40B4-BE49-F238E27FC236}">
                <a16:creationId xmlns:a16="http://schemas.microsoft.com/office/drawing/2014/main" id="{AC0B3AD3-6C99-244B-9C72-553DC9D1BE19}"/>
              </a:ext>
            </a:extLst>
          </p:cNvPr>
          <p:cNvCxnSpPr>
            <a:stCxn id="8" idx="2"/>
            <a:endCxn id="21" idx="0"/>
          </p:cNvCxnSpPr>
          <p:nvPr/>
        </p:nvCxnSpPr>
        <p:spPr bwMode="auto">
          <a:xfrm flipH="1">
            <a:off x="4010218" y="4109675"/>
            <a:ext cx="695806" cy="378078"/>
          </a:xfrm>
          <a:prstGeom prst="straightConnector1">
            <a:avLst/>
          </a:prstGeom>
          <a:blipFill dpi="0" rotWithShape="0">
            <a:blip r:embed="rId4"/>
            <a:srcRect/>
            <a:tile tx="0" ty="0" sx="100000" sy="100000" flip="none" algn="tl"/>
          </a:blipFill>
          <a:ln w="38100" cap="flat" cmpd="sng" algn="ctr">
            <a:solidFill>
              <a:schemeClr val="bg1">
                <a:lumMod val="75000"/>
              </a:schemeClr>
            </a:solidFill>
            <a:prstDash val="solid"/>
            <a:miter lim="400000"/>
            <a:headEnd type="none" w="med" len="med"/>
            <a:tailEnd type="triangle"/>
          </a:ln>
          <a:effectLst/>
        </p:spPr>
      </p:cxnSp>
      <p:cxnSp>
        <p:nvCxnSpPr>
          <p:cNvPr id="39" name="Прямая со стрелкой 53">
            <a:extLst>
              <a:ext uri="{FF2B5EF4-FFF2-40B4-BE49-F238E27FC236}">
                <a16:creationId xmlns:a16="http://schemas.microsoft.com/office/drawing/2014/main" id="{850D142C-6F3B-2E40-AC3B-33CA9B331CF8}"/>
              </a:ext>
            </a:extLst>
          </p:cNvPr>
          <p:cNvCxnSpPr>
            <a:cxnSpLocks/>
            <a:stCxn id="11" idx="2"/>
            <a:endCxn id="25" idx="0"/>
          </p:cNvCxnSpPr>
          <p:nvPr/>
        </p:nvCxnSpPr>
        <p:spPr bwMode="auto">
          <a:xfrm flipH="1">
            <a:off x="6777198" y="4109675"/>
            <a:ext cx="687665" cy="378078"/>
          </a:xfrm>
          <a:prstGeom prst="straightConnector1">
            <a:avLst/>
          </a:prstGeom>
          <a:blipFill dpi="0" rotWithShape="0">
            <a:blip r:embed="rId4"/>
            <a:srcRect/>
            <a:tile tx="0" ty="0" sx="100000" sy="100000" flip="none" algn="tl"/>
          </a:blipFill>
          <a:ln w="38100" cap="flat" cmpd="sng" algn="ctr">
            <a:solidFill>
              <a:schemeClr val="bg1">
                <a:lumMod val="75000"/>
              </a:schemeClr>
            </a:solidFill>
            <a:prstDash val="solid"/>
            <a:miter lim="400000"/>
            <a:headEnd type="none" w="med" len="med"/>
            <a:tailEnd type="triangle"/>
          </a:ln>
          <a:effectLst/>
        </p:spPr>
      </p:cxnSp>
      <p:cxnSp>
        <p:nvCxnSpPr>
          <p:cNvPr id="40" name="Прямая со стрелкой 107">
            <a:extLst>
              <a:ext uri="{FF2B5EF4-FFF2-40B4-BE49-F238E27FC236}">
                <a16:creationId xmlns:a16="http://schemas.microsoft.com/office/drawing/2014/main" id="{F71EA88F-4ED6-694A-A3C4-45B60BA77969}"/>
              </a:ext>
            </a:extLst>
          </p:cNvPr>
          <p:cNvCxnSpPr>
            <a:stCxn id="14" idx="2"/>
            <a:endCxn id="29" idx="0"/>
          </p:cNvCxnSpPr>
          <p:nvPr/>
        </p:nvCxnSpPr>
        <p:spPr bwMode="auto">
          <a:xfrm flipH="1">
            <a:off x="9511382" y="4109675"/>
            <a:ext cx="678825" cy="378078"/>
          </a:xfrm>
          <a:prstGeom prst="straightConnector1">
            <a:avLst/>
          </a:prstGeom>
          <a:blipFill dpi="0" rotWithShape="0">
            <a:blip r:embed="rId4"/>
            <a:srcRect/>
            <a:tile tx="0" ty="0" sx="100000" sy="100000" flip="none" algn="tl"/>
          </a:blipFill>
          <a:ln w="38100" cap="flat" cmpd="sng" algn="ctr">
            <a:solidFill>
              <a:schemeClr val="bg1">
                <a:lumMod val="75000"/>
              </a:schemeClr>
            </a:solidFill>
            <a:prstDash val="solid"/>
            <a:miter lim="400000"/>
            <a:headEnd type="none" w="med" len="med"/>
            <a:tailEnd type="triangle"/>
          </a:ln>
          <a:effectLst/>
        </p:spPr>
      </p:cxnSp>
      <p:cxnSp>
        <p:nvCxnSpPr>
          <p:cNvPr id="41" name="Прямая со стрелкой 109">
            <a:extLst>
              <a:ext uri="{FF2B5EF4-FFF2-40B4-BE49-F238E27FC236}">
                <a16:creationId xmlns:a16="http://schemas.microsoft.com/office/drawing/2014/main" id="{BF545686-5794-A64A-8891-12B4C586E91B}"/>
              </a:ext>
            </a:extLst>
          </p:cNvPr>
          <p:cNvCxnSpPr>
            <a:cxnSpLocks/>
            <a:stCxn id="5" idx="2"/>
            <a:endCxn id="19" idx="0"/>
          </p:cNvCxnSpPr>
          <p:nvPr/>
        </p:nvCxnSpPr>
        <p:spPr bwMode="auto">
          <a:xfrm>
            <a:off x="1945030" y="4109675"/>
            <a:ext cx="704182" cy="378078"/>
          </a:xfrm>
          <a:prstGeom prst="straightConnector1">
            <a:avLst/>
          </a:prstGeom>
          <a:blipFill dpi="0" rotWithShape="0">
            <a:blip r:embed="rId4"/>
            <a:srcRect/>
            <a:tile tx="0" ty="0" sx="100000" sy="100000" flip="none" algn="tl"/>
          </a:blipFill>
          <a:ln w="38100" cap="flat" cmpd="sng" algn="ctr">
            <a:solidFill>
              <a:schemeClr val="bg1">
                <a:lumMod val="75000"/>
              </a:schemeClr>
            </a:solidFill>
            <a:prstDash val="solid"/>
            <a:miter lim="400000"/>
            <a:headEnd type="none" w="med" len="med"/>
            <a:tailEnd type="triangle"/>
          </a:ln>
          <a:effectLst/>
        </p:spPr>
      </p:cxnSp>
      <p:cxnSp>
        <p:nvCxnSpPr>
          <p:cNvPr id="42" name="Прямая со стрелкой 111">
            <a:extLst>
              <a:ext uri="{FF2B5EF4-FFF2-40B4-BE49-F238E27FC236}">
                <a16:creationId xmlns:a16="http://schemas.microsoft.com/office/drawing/2014/main" id="{E3F2DD3B-BC32-A24F-9F49-61BB16EC4305}"/>
              </a:ext>
            </a:extLst>
          </p:cNvPr>
          <p:cNvCxnSpPr>
            <a:stCxn id="8" idx="2"/>
            <a:endCxn id="23" idx="0"/>
          </p:cNvCxnSpPr>
          <p:nvPr/>
        </p:nvCxnSpPr>
        <p:spPr bwMode="auto">
          <a:xfrm>
            <a:off x="4706023" y="4109675"/>
            <a:ext cx="712322" cy="378078"/>
          </a:xfrm>
          <a:prstGeom prst="straightConnector1">
            <a:avLst/>
          </a:prstGeom>
          <a:blipFill dpi="0" rotWithShape="0">
            <a:blip r:embed="rId4"/>
            <a:srcRect/>
            <a:tile tx="0" ty="0" sx="100000" sy="100000" flip="none" algn="tl"/>
          </a:blipFill>
          <a:ln w="38100" cap="flat" cmpd="sng" algn="ctr">
            <a:solidFill>
              <a:schemeClr val="bg1">
                <a:lumMod val="75000"/>
              </a:schemeClr>
            </a:solidFill>
            <a:prstDash val="solid"/>
            <a:miter lim="400000"/>
            <a:headEnd type="none" w="med" len="med"/>
            <a:tailEnd type="triangle"/>
          </a:ln>
          <a:effectLst/>
        </p:spPr>
      </p:cxnSp>
      <p:cxnSp>
        <p:nvCxnSpPr>
          <p:cNvPr id="43" name="Прямая со стрелкой 113">
            <a:extLst>
              <a:ext uri="{FF2B5EF4-FFF2-40B4-BE49-F238E27FC236}">
                <a16:creationId xmlns:a16="http://schemas.microsoft.com/office/drawing/2014/main" id="{43827C1B-BEB0-AB40-9A4B-5E07BACC7775}"/>
              </a:ext>
            </a:extLst>
          </p:cNvPr>
          <p:cNvCxnSpPr>
            <a:cxnSpLocks/>
            <a:stCxn id="11" idx="2"/>
            <a:endCxn id="27" idx="0"/>
          </p:cNvCxnSpPr>
          <p:nvPr/>
        </p:nvCxnSpPr>
        <p:spPr bwMode="auto">
          <a:xfrm>
            <a:off x="7464863" y="4109675"/>
            <a:ext cx="684467" cy="378078"/>
          </a:xfrm>
          <a:prstGeom prst="straightConnector1">
            <a:avLst/>
          </a:prstGeom>
          <a:blipFill dpi="0" rotWithShape="0">
            <a:blip r:embed="rId4"/>
            <a:srcRect/>
            <a:tile tx="0" ty="0" sx="100000" sy="100000" flip="none" algn="tl"/>
          </a:blipFill>
          <a:ln w="38100" cap="flat" cmpd="sng" algn="ctr">
            <a:solidFill>
              <a:schemeClr val="bg1">
                <a:lumMod val="75000"/>
              </a:schemeClr>
            </a:solidFill>
            <a:prstDash val="solid"/>
            <a:miter lim="400000"/>
            <a:headEnd type="none" w="med" len="med"/>
            <a:tailEnd type="triangle"/>
          </a:ln>
          <a:effectLst/>
        </p:spPr>
      </p:cxnSp>
      <p:cxnSp>
        <p:nvCxnSpPr>
          <p:cNvPr id="44" name="Прямая со стрелкой 116">
            <a:extLst>
              <a:ext uri="{FF2B5EF4-FFF2-40B4-BE49-F238E27FC236}">
                <a16:creationId xmlns:a16="http://schemas.microsoft.com/office/drawing/2014/main" id="{FD502D75-79FE-AB49-BA9A-779B64A2B338}"/>
              </a:ext>
            </a:extLst>
          </p:cNvPr>
          <p:cNvCxnSpPr>
            <a:cxnSpLocks/>
            <a:stCxn id="14" idx="2"/>
            <a:endCxn id="31" idx="0"/>
          </p:cNvCxnSpPr>
          <p:nvPr/>
        </p:nvCxnSpPr>
        <p:spPr bwMode="auto">
          <a:xfrm>
            <a:off x="10190207" y="4109675"/>
            <a:ext cx="693307" cy="378078"/>
          </a:xfrm>
          <a:prstGeom prst="straightConnector1">
            <a:avLst/>
          </a:prstGeom>
          <a:blipFill dpi="0" rotWithShape="0">
            <a:blip r:embed="rId4"/>
            <a:srcRect/>
            <a:tile tx="0" ty="0" sx="100000" sy="100000" flip="none" algn="tl"/>
          </a:blipFill>
          <a:ln w="38100" cap="flat" cmpd="sng" algn="ctr">
            <a:solidFill>
              <a:schemeClr val="bg1">
                <a:lumMod val="75000"/>
              </a:schemeClr>
            </a:solidFill>
            <a:prstDash val="solid"/>
            <a:miter lim="400000"/>
            <a:headEnd type="none" w="med" len="med"/>
            <a:tailEnd type="triangle"/>
          </a:ln>
          <a:effectLst/>
        </p:spPr>
      </p:cxnSp>
      <p:sp>
        <p:nvSpPr>
          <p:cNvPr id="45" name="Скругленный прямоугольник 61">
            <a:extLst>
              <a:ext uri="{FF2B5EF4-FFF2-40B4-BE49-F238E27FC236}">
                <a16:creationId xmlns:a16="http://schemas.microsoft.com/office/drawing/2014/main" id="{34AD8DBE-DFC4-F944-AA20-DA4F19296392}"/>
              </a:ext>
            </a:extLst>
          </p:cNvPr>
          <p:cNvSpPr/>
          <p:nvPr/>
        </p:nvSpPr>
        <p:spPr bwMode="auto">
          <a:xfrm>
            <a:off x="1371284" y="5443569"/>
            <a:ext cx="1147492" cy="755803"/>
          </a:xfrm>
          <a:prstGeom prst="roundRect">
            <a:avLst>
              <a:gd name="adj" fmla="val 5329"/>
            </a:avLst>
          </a:prstGeom>
          <a:solidFill>
            <a:schemeClr val="accent3"/>
          </a:solidFill>
          <a:ln w="12700" cap="flat" cmpd="sng" algn="ctr">
            <a:noFill/>
            <a:prstDash val="solid"/>
            <a:miter lim="400000"/>
            <a:headEnd type="none" w="med" len="med"/>
            <a:tailEnd type="none" w="med" len="med"/>
          </a:ln>
          <a:effectLst/>
        </p:spPr>
        <p:txBody>
          <a:bodyPr vert="horz" wrap="square" lIns="19045" tIns="19045" rIns="19045" bIns="19045" numCol="1" rtlCol="0" anchor="ctr" anchorCtr="0" compatLnSpc="1">
            <a:prstTxWarp prst="textNoShape">
              <a:avLst/>
            </a:prstTxWarp>
            <a:noAutofit/>
          </a:bodyPr>
          <a:lstStyle/>
          <a:p>
            <a:pPr defTabSz="412626" fontAlgn="base" hangingPunct="0">
              <a:spcBef>
                <a:spcPct val="0"/>
              </a:spcBef>
              <a:spcAft>
                <a:spcPct val="0"/>
              </a:spcAft>
            </a:pPr>
            <a:endParaRPr lang="en-US" sz="999" dirty="0">
              <a:solidFill>
                <a:srgbClr val="74808C"/>
              </a:solidFill>
              <a:latin typeface="Poppins" charset="0"/>
              <a:ea typeface="Poppins" charset="0"/>
              <a:cs typeface="Poppins" charset="0"/>
              <a:sym typeface="Poppins" charset="0"/>
            </a:endParaRPr>
          </a:p>
        </p:txBody>
      </p:sp>
      <p:sp>
        <p:nvSpPr>
          <p:cNvPr id="47" name="Скругленный прямоугольник 64">
            <a:extLst>
              <a:ext uri="{FF2B5EF4-FFF2-40B4-BE49-F238E27FC236}">
                <a16:creationId xmlns:a16="http://schemas.microsoft.com/office/drawing/2014/main" id="{BCB7EC9F-DC4B-3240-A2DC-33BE1E2EDAF8}"/>
              </a:ext>
            </a:extLst>
          </p:cNvPr>
          <p:cNvSpPr/>
          <p:nvPr/>
        </p:nvSpPr>
        <p:spPr bwMode="auto">
          <a:xfrm>
            <a:off x="4122601" y="5443569"/>
            <a:ext cx="1147492" cy="755803"/>
          </a:xfrm>
          <a:prstGeom prst="roundRect">
            <a:avLst>
              <a:gd name="adj" fmla="val 5329"/>
            </a:avLst>
          </a:prstGeom>
          <a:solidFill>
            <a:schemeClr val="accent3"/>
          </a:solidFill>
          <a:ln w="12700" cap="flat" cmpd="sng" algn="ctr">
            <a:noFill/>
            <a:prstDash val="solid"/>
            <a:miter lim="400000"/>
            <a:headEnd type="none" w="med" len="med"/>
            <a:tailEnd type="none" w="med" len="med"/>
          </a:ln>
          <a:effectLst/>
        </p:spPr>
        <p:txBody>
          <a:bodyPr vert="horz" wrap="square" lIns="19045" tIns="19045" rIns="19045" bIns="19045" numCol="1" rtlCol="0" anchor="ctr" anchorCtr="0" compatLnSpc="1">
            <a:prstTxWarp prst="textNoShape">
              <a:avLst/>
            </a:prstTxWarp>
            <a:noAutofit/>
          </a:bodyPr>
          <a:lstStyle/>
          <a:p>
            <a:pPr defTabSz="412626" fontAlgn="base" hangingPunct="0">
              <a:spcBef>
                <a:spcPct val="0"/>
              </a:spcBef>
              <a:spcAft>
                <a:spcPct val="0"/>
              </a:spcAft>
            </a:pPr>
            <a:endParaRPr lang="en-US" sz="999" dirty="0">
              <a:solidFill>
                <a:srgbClr val="74808C"/>
              </a:solidFill>
              <a:latin typeface="Poppins" charset="0"/>
              <a:ea typeface="Poppins" charset="0"/>
              <a:cs typeface="Poppins" charset="0"/>
              <a:sym typeface="Poppins" charset="0"/>
            </a:endParaRPr>
          </a:p>
        </p:txBody>
      </p:sp>
      <p:sp>
        <p:nvSpPr>
          <p:cNvPr id="49" name="Скругленный прямоугольник 67">
            <a:extLst>
              <a:ext uri="{FF2B5EF4-FFF2-40B4-BE49-F238E27FC236}">
                <a16:creationId xmlns:a16="http://schemas.microsoft.com/office/drawing/2014/main" id="{247E6E93-1524-0C4D-A58E-60C037F2C211}"/>
              </a:ext>
            </a:extLst>
          </p:cNvPr>
          <p:cNvSpPr/>
          <p:nvPr/>
        </p:nvSpPr>
        <p:spPr bwMode="auto">
          <a:xfrm>
            <a:off x="6902000" y="5443569"/>
            <a:ext cx="1147492" cy="755803"/>
          </a:xfrm>
          <a:prstGeom prst="roundRect">
            <a:avLst>
              <a:gd name="adj" fmla="val 5329"/>
            </a:avLst>
          </a:prstGeom>
          <a:solidFill>
            <a:schemeClr val="accent3"/>
          </a:solidFill>
          <a:ln w="12700" cap="flat" cmpd="sng" algn="ctr">
            <a:noFill/>
            <a:prstDash val="solid"/>
            <a:miter lim="400000"/>
            <a:headEnd type="none" w="med" len="med"/>
            <a:tailEnd type="none" w="med" len="med"/>
          </a:ln>
          <a:effectLst/>
        </p:spPr>
        <p:txBody>
          <a:bodyPr vert="horz" wrap="square" lIns="19045" tIns="19045" rIns="19045" bIns="19045" numCol="1" rtlCol="0" anchor="ctr" anchorCtr="0" compatLnSpc="1">
            <a:prstTxWarp prst="textNoShape">
              <a:avLst/>
            </a:prstTxWarp>
            <a:noAutofit/>
          </a:bodyPr>
          <a:lstStyle/>
          <a:p>
            <a:pPr defTabSz="412626" fontAlgn="base" hangingPunct="0">
              <a:spcBef>
                <a:spcPct val="0"/>
              </a:spcBef>
              <a:spcAft>
                <a:spcPct val="0"/>
              </a:spcAft>
            </a:pPr>
            <a:endParaRPr lang="en-US" sz="999" dirty="0">
              <a:solidFill>
                <a:srgbClr val="74808C"/>
              </a:solidFill>
              <a:latin typeface="Poppins" charset="0"/>
              <a:ea typeface="Poppins" charset="0"/>
              <a:cs typeface="Poppins" charset="0"/>
              <a:sym typeface="Poppins" charset="0"/>
            </a:endParaRPr>
          </a:p>
        </p:txBody>
      </p:sp>
      <p:sp>
        <p:nvSpPr>
          <p:cNvPr id="51" name="Скругленный прямоугольник 70">
            <a:extLst>
              <a:ext uri="{FF2B5EF4-FFF2-40B4-BE49-F238E27FC236}">
                <a16:creationId xmlns:a16="http://schemas.microsoft.com/office/drawing/2014/main" id="{78183F24-8A48-C541-86CF-2EF8172457E4}"/>
              </a:ext>
            </a:extLst>
          </p:cNvPr>
          <p:cNvSpPr/>
          <p:nvPr/>
        </p:nvSpPr>
        <p:spPr bwMode="auto">
          <a:xfrm>
            <a:off x="9617162" y="5443569"/>
            <a:ext cx="1147492" cy="755803"/>
          </a:xfrm>
          <a:prstGeom prst="roundRect">
            <a:avLst>
              <a:gd name="adj" fmla="val 5329"/>
            </a:avLst>
          </a:prstGeom>
          <a:solidFill>
            <a:schemeClr val="accent3"/>
          </a:solidFill>
          <a:ln w="12700" cap="flat" cmpd="sng" algn="ctr">
            <a:noFill/>
            <a:prstDash val="solid"/>
            <a:miter lim="400000"/>
            <a:headEnd type="none" w="med" len="med"/>
            <a:tailEnd type="none" w="med" len="med"/>
          </a:ln>
          <a:effectLst/>
        </p:spPr>
        <p:txBody>
          <a:bodyPr vert="horz" wrap="square" lIns="19045" tIns="19045" rIns="19045" bIns="19045" numCol="1" rtlCol="0" anchor="ctr" anchorCtr="0" compatLnSpc="1">
            <a:prstTxWarp prst="textNoShape">
              <a:avLst/>
            </a:prstTxWarp>
            <a:noAutofit/>
          </a:bodyPr>
          <a:lstStyle/>
          <a:p>
            <a:pPr defTabSz="412626" fontAlgn="base" hangingPunct="0">
              <a:spcBef>
                <a:spcPct val="0"/>
              </a:spcBef>
              <a:spcAft>
                <a:spcPct val="0"/>
              </a:spcAft>
            </a:pPr>
            <a:endParaRPr lang="en-US" sz="999" dirty="0">
              <a:solidFill>
                <a:srgbClr val="74808C"/>
              </a:solidFill>
              <a:latin typeface="Poppins" charset="0"/>
              <a:ea typeface="Poppins" charset="0"/>
              <a:cs typeface="Poppins" charset="0"/>
              <a:sym typeface="Poppins" charset="0"/>
            </a:endParaRPr>
          </a:p>
        </p:txBody>
      </p:sp>
      <p:cxnSp>
        <p:nvCxnSpPr>
          <p:cNvPr id="53" name="Прямая со стрелкой 19">
            <a:extLst>
              <a:ext uri="{FF2B5EF4-FFF2-40B4-BE49-F238E27FC236}">
                <a16:creationId xmlns:a16="http://schemas.microsoft.com/office/drawing/2014/main" id="{50771140-A1D3-B746-B784-81DB4F17DCAA}"/>
              </a:ext>
            </a:extLst>
          </p:cNvPr>
          <p:cNvCxnSpPr>
            <a:stCxn id="14" idx="2"/>
            <a:endCxn id="51" idx="0"/>
          </p:cNvCxnSpPr>
          <p:nvPr/>
        </p:nvCxnSpPr>
        <p:spPr bwMode="auto">
          <a:xfrm>
            <a:off x="10190207" y="4109675"/>
            <a:ext cx="701" cy="1333894"/>
          </a:xfrm>
          <a:prstGeom prst="straightConnector1">
            <a:avLst/>
          </a:prstGeom>
          <a:blipFill dpi="0" rotWithShape="0">
            <a:blip r:embed="rId4"/>
            <a:srcRect/>
            <a:tile tx="0" ty="0" sx="100000" sy="100000" flip="none" algn="tl"/>
          </a:blipFill>
          <a:ln w="38100" cap="flat" cmpd="sng" algn="ctr">
            <a:solidFill>
              <a:schemeClr val="bg1">
                <a:lumMod val="75000"/>
              </a:schemeClr>
            </a:solidFill>
            <a:prstDash val="solid"/>
            <a:miter lim="400000"/>
            <a:headEnd type="none" w="med" len="med"/>
            <a:tailEnd type="triangle"/>
          </a:ln>
          <a:effectLst/>
        </p:spPr>
      </p:cxnSp>
      <p:cxnSp>
        <p:nvCxnSpPr>
          <p:cNvPr id="54" name="Прямая со стрелкой 22">
            <a:extLst>
              <a:ext uri="{FF2B5EF4-FFF2-40B4-BE49-F238E27FC236}">
                <a16:creationId xmlns:a16="http://schemas.microsoft.com/office/drawing/2014/main" id="{F3FE07FF-098A-DA4D-B05D-AAB3581756F5}"/>
              </a:ext>
            </a:extLst>
          </p:cNvPr>
          <p:cNvCxnSpPr>
            <a:stCxn id="11" idx="2"/>
            <a:endCxn id="49" idx="0"/>
          </p:cNvCxnSpPr>
          <p:nvPr/>
        </p:nvCxnSpPr>
        <p:spPr bwMode="auto">
          <a:xfrm>
            <a:off x="7464863" y="4109675"/>
            <a:ext cx="10883" cy="1333894"/>
          </a:xfrm>
          <a:prstGeom prst="straightConnector1">
            <a:avLst/>
          </a:prstGeom>
          <a:blipFill dpi="0" rotWithShape="0">
            <a:blip r:embed="rId4"/>
            <a:srcRect/>
            <a:tile tx="0" ty="0" sx="100000" sy="100000" flip="none" algn="tl"/>
          </a:blipFill>
          <a:ln w="38100" cap="flat" cmpd="sng" algn="ctr">
            <a:solidFill>
              <a:schemeClr val="bg1">
                <a:lumMod val="75000"/>
              </a:schemeClr>
            </a:solidFill>
            <a:prstDash val="solid"/>
            <a:miter lim="400000"/>
            <a:headEnd type="none" w="med" len="med"/>
            <a:tailEnd type="triangle"/>
          </a:ln>
          <a:effectLst/>
        </p:spPr>
      </p:cxnSp>
      <p:cxnSp>
        <p:nvCxnSpPr>
          <p:cNvPr id="55" name="Прямая со стрелкой 25">
            <a:extLst>
              <a:ext uri="{FF2B5EF4-FFF2-40B4-BE49-F238E27FC236}">
                <a16:creationId xmlns:a16="http://schemas.microsoft.com/office/drawing/2014/main" id="{B7C5DD59-63B6-2A4D-ADCD-02F02DADE88E}"/>
              </a:ext>
            </a:extLst>
          </p:cNvPr>
          <p:cNvCxnSpPr>
            <a:cxnSpLocks/>
            <a:stCxn id="8" idx="2"/>
            <a:endCxn id="47" idx="0"/>
          </p:cNvCxnSpPr>
          <p:nvPr/>
        </p:nvCxnSpPr>
        <p:spPr bwMode="auto">
          <a:xfrm flipH="1">
            <a:off x="4696347" y="4109675"/>
            <a:ext cx="9677" cy="1333894"/>
          </a:xfrm>
          <a:prstGeom prst="straightConnector1">
            <a:avLst/>
          </a:prstGeom>
          <a:blipFill dpi="0" rotWithShape="0">
            <a:blip r:embed="rId4"/>
            <a:srcRect/>
            <a:tile tx="0" ty="0" sx="100000" sy="100000" flip="none" algn="tl"/>
          </a:blipFill>
          <a:ln w="38100" cap="flat" cmpd="sng" algn="ctr">
            <a:solidFill>
              <a:schemeClr val="bg1">
                <a:lumMod val="75000"/>
              </a:schemeClr>
            </a:solidFill>
            <a:prstDash val="solid"/>
            <a:miter lim="400000"/>
            <a:headEnd type="none" w="med" len="med"/>
            <a:tailEnd type="triangle"/>
          </a:ln>
          <a:effectLst/>
        </p:spPr>
      </p:cxnSp>
      <p:cxnSp>
        <p:nvCxnSpPr>
          <p:cNvPr id="56" name="Прямая со стрелкой 30">
            <a:extLst>
              <a:ext uri="{FF2B5EF4-FFF2-40B4-BE49-F238E27FC236}">
                <a16:creationId xmlns:a16="http://schemas.microsoft.com/office/drawing/2014/main" id="{D6566A45-B254-0D4A-A8D7-50EE8FF16AD1}"/>
              </a:ext>
            </a:extLst>
          </p:cNvPr>
          <p:cNvCxnSpPr>
            <a:cxnSpLocks/>
            <a:stCxn id="5" idx="2"/>
            <a:endCxn id="45" idx="0"/>
          </p:cNvCxnSpPr>
          <p:nvPr/>
        </p:nvCxnSpPr>
        <p:spPr bwMode="auto">
          <a:xfrm>
            <a:off x="1945030" y="4109675"/>
            <a:ext cx="0" cy="1333894"/>
          </a:xfrm>
          <a:prstGeom prst="straightConnector1">
            <a:avLst/>
          </a:prstGeom>
          <a:blipFill dpi="0" rotWithShape="0">
            <a:blip r:embed="rId4"/>
            <a:srcRect/>
            <a:tile tx="0" ty="0" sx="100000" sy="100000" flip="none" algn="tl"/>
          </a:blipFill>
          <a:ln w="38100" cap="flat" cmpd="sng" algn="ctr">
            <a:solidFill>
              <a:schemeClr val="bg1">
                <a:lumMod val="75000"/>
              </a:schemeClr>
            </a:solidFill>
            <a:prstDash val="solid"/>
            <a:miter lim="400000"/>
            <a:headEnd type="none" w="med" len="med"/>
            <a:tailEnd type="triangle"/>
          </a:ln>
          <a:effectLst/>
        </p:spPr>
      </p:cxnSp>
      <p:sp>
        <p:nvSpPr>
          <p:cNvPr id="90" name="TextBox 89">
            <a:extLst>
              <a:ext uri="{FF2B5EF4-FFF2-40B4-BE49-F238E27FC236}">
                <a16:creationId xmlns:a16="http://schemas.microsoft.com/office/drawing/2014/main" id="{EE86A3FF-5F9E-D543-BE58-15832BD6FE90}"/>
              </a:ext>
            </a:extLst>
          </p:cNvPr>
          <p:cNvSpPr txBox="1"/>
          <p:nvPr/>
        </p:nvSpPr>
        <p:spPr>
          <a:xfrm>
            <a:off x="5401708" y="1840524"/>
            <a:ext cx="1388585" cy="338554"/>
          </a:xfrm>
          <a:prstGeom prst="rect">
            <a:avLst/>
          </a:prstGeom>
          <a:noFill/>
        </p:spPr>
        <p:txBody>
          <a:bodyPr wrap="none" rtlCol="0" anchor="ctr"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JOHN WAYNE</a:t>
            </a:r>
          </a:p>
        </p:txBody>
      </p:sp>
      <p:sp>
        <p:nvSpPr>
          <p:cNvPr id="91" name="Subtitle 2">
            <a:extLst>
              <a:ext uri="{FF2B5EF4-FFF2-40B4-BE49-F238E27FC236}">
                <a16:creationId xmlns:a16="http://schemas.microsoft.com/office/drawing/2014/main" id="{12B083A8-5F1F-F045-969D-B7953B2FA611}"/>
              </a:ext>
            </a:extLst>
          </p:cNvPr>
          <p:cNvSpPr txBox="1">
            <a:spLocks/>
          </p:cNvSpPr>
          <p:nvPr/>
        </p:nvSpPr>
        <p:spPr>
          <a:xfrm>
            <a:off x="5703777" y="2165435"/>
            <a:ext cx="784446" cy="261610"/>
          </a:xfrm>
          <a:prstGeom prst="rect">
            <a:avLst/>
          </a:prstGeom>
        </p:spPr>
        <p:txBody>
          <a:bodyPr vert="horz" wrap="non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4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President</a:t>
            </a:r>
          </a:p>
        </p:txBody>
      </p:sp>
      <p:sp>
        <p:nvSpPr>
          <p:cNvPr id="92" name="TextBox 91">
            <a:extLst>
              <a:ext uri="{FF2B5EF4-FFF2-40B4-BE49-F238E27FC236}">
                <a16:creationId xmlns:a16="http://schemas.microsoft.com/office/drawing/2014/main" id="{5493CC4A-6F63-394D-99F7-CD24617915BB}"/>
              </a:ext>
            </a:extLst>
          </p:cNvPr>
          <p:cNvSpPr txBox="1"/>
          <p:nvPr/>
        </p:nvSpPr>
        <p:spPr>
          <a:xfrm>
            <a:off x="1170673" y="3388699"/>
            <a:ext cx="1556516" cy="338554"/>
          </a:xfrm>
          <a:prstGeom prst="rect">
            <a:avLst/>
          </a:prstGeom>
          <a:noFill/>
        </p:spPr>
        <p:txBody>
          <a:bodyPr wrap="none" rtlCol="0" anchor="ctr"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KEN DAVIDSON</a:t>
            </a:r>
          </a:p>
        </p:txBody>
      </p:sp>
      <p:sp>
        <p:nvSpPr>
          <p:cNvPr id="93" name="Subtitle 2">
            <a:extLst>
              <a:ext uri="{FF2B5EF4-FFF2-40B4-BE49-F238E27FC236}">
                <a16:creationId xmlns:a16="http://schemas.microsoft.com/office/drawing/2014/main" id="{2B742790-3E8D-0A4F-B37F-38C691CACD65}"/>
              </a:ext>
            </a:extLst>
          </p:cNvPr>
          <p:cNvSpPr txBox="1">
            <a:spLocks/>
          </p:cNvSpPr>
          <p:nvPr/>
        </p:nvSpPr>
        <p:spPr>
          <a:xfrm>
            <a:off x="1566133" y="3713610"/>
            <a:ext cx="765594" cy="261610"/>
          </a:xfrm>
          <a:prstGeom prst="rect">
            <a:avLst/>
          </a:prstGeom>
        </p:spPr>
        <p:txBody>
          <a:bodyPr vert="horz" wrap="non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4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Manager</a:t>
            </a:r>
          </a:p>
        </p:txBody>
      </p:sp>
      <p:sp>
        <p:nvSpPr>
          <p:cNvPr id="94" name="TextBox 93">
            <a:extLst>
              <a:ext uri="{FF2B5EF4-FFF2-40B4-BE49-F238E27FC236}">
                <a16:creationId xmlns:a16="http://schemas.microsoft.com/office/drawing/2014/main" id="{CD615086-3204-9049-A0D9-CB1A3ED4036A}"/>
              </a:ext>
            </a:extLst>
          </p:cNvPr>
          <p:cNvSpPr txBox="1"/>
          <p:nvPr/>
        </p:nvSpPr>
        <p:spPr>
          <a:xfrm>
            <a:off x="3857337" y="3393012"/>
            <a:ext cx="1695272" cy="338554"/>
          </a:xfrm>
          <a:prstGeom prst="rect">
            <a:avLst/>
          </a:prstGeom>
          <a:noFill/>
        </p:spPr>
        <p:txBody>
          <a:bodyPr wrap="none" rtlCol="0" anchor="ctr"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SUSAN FLOWERS</a:t>
            </a:r>
          </a:p>
        </p:txBody>
      </p:sp>
      <p:sp>
        <p:nvSpPr>
          <p:cNvPr id="95" name="Subtitle 2">
            <a:extLst>
              <a:ext uri="{FF2B5EF4-FFF2-40B4-BE49-F238E27FC236}">
                <a16:creationId xmlns:a16="http://schemas.microsoft.com/office/drawing/2014/main" id="{597C54F4-ABD4-7643-B229-3543B859010C}"/>
              </a:ext>
            </a:extLst>
          </p:cNvPr>
          <p:cNvSpPr txBox="1">
            <a:spLocks/>
          </p:cNvSpPr>
          <p:nvPr/>
        </p:nvSpPr>
        <p:spPr>
          <a:xfrm>
            <a:off x="4322173" y="3717923"/>
            <a:ext cx="765594" cy="261610"/>
          </a:xfrm>
          <a:prstGeom prst="rect">
            <a:avLst/>
          </a:prstGeom>
        </p:spPr>
        <p:txBody>
          <a:bodyPr vert="horz" wrap="non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4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Manager</a:t>
            </a:r>
          </a:p>
        </p:txBody>
      </p:sp>
      <p:sp>
        <p:nvSpPr>
          <p:cNvPr id="96" name="TextBox 95">
            <a:extLst>
              <a:ext uri="{FF2B5EF4-FFF2-40B4-BE49-F238E27FC236}">
                <a16:creationId xmlns:a16="http://schemas.microsoft.com/office/drawing/2014/main" id="{1177A851-9743-7F4C-B6AC-83D6B46CAF62}"/>
              </a:ext>
            </a:extLst>
          </p:cNvPr>
          <p:cNvSpPr txBox="1"/>
          <p:nvPr/>
        </p:nvSpPr>
        <p:spPr>
          <a:xfrm>
            <a:off x="6530278" y="3388292"/>
            <a:ext cx="1853905" cy="338554"/>
          </a:xfrm>
          <a:prstGeom prst="rect">
            <a:avLst/>
          </a:prstGeom>
          <a:noFill/>
        </p:spPr>
        <p:txBody>
          <a:bodyPr wrap="none" rtlCol="0" anchor="ctr"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OTIS RICHARDSON</a:t>
            </a:r>
          </a:p>
        </p:txBody>
      </p:sp>
      <p:sp>
        <p:nvSpPr>
          <p:cNvPr id="97" name="Subtitle 2">
            <a:extLst>
              <a:ext uri="{FF2B5EF4-FFF2-40B4-BE49-F238E27FC236}">
                <a16:creationId xmlns:a16="http://schemas.microsoft.com/office/drawing/2014/main" id="{F7FE75D1-A049-D140-AEB6-85C5E02C19F6}"/>
              </a:ext>
            </a:extLst>
          </p:cNvPr>
          <p:cNvSpPr txBox="1">
            <a:spLocks/>
          </p:cNvSpPr>
          <p:nvPr/>
        </p:nvSpPr>
        <p:spPr>
          <a:xfrm>
            <a:off x="7074432" y="3713203"/>
            <a:ext cx="765594" cy="261610"/>
          </a:xfrm>
          <a:prstGeom prst="rect">
            <a:avLst/>
          </a:prstGeom>
        </p:spPr>
        <p:txBody>
          <a:bodyPr vert="horz" wrap="non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4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Manager</a:t>
            </a:r>
          </a:p>
        </p:txBody>
      </p:sp>
      <p:sp>
        <p:nvSpPr>
          <p:cNvPr id="98" name="TextBox 97">
            <a:extLst>
              <a:ext uri="{FF2B5EF4-FFF2-40B4-BE49-F238E27FC236}">
                <a16:creationId xmlns:a16="http://schemas.microsoft.com/office/drawing/2014/main" id="{2B325D6D-574D-9A48-AA3A-3D47379B6C88}"/>
              </a:ext>
            </a:extLst>
          </p:cNvPr>
          <p:cNvSpPr txBox="1"/>
          <p:nvPr/>
        </p:nvSpPr>
        <p:spPr>
          <a:xfrm>
            <a:off x="9361192" y="3393012"/>
            <a:ext cx="1659429" cy="338554"/>
          </a:xfrm>
          <a:prstGeom prst="rect">
            <a:avLst/>
          </a:prstGeom>
          <a:noFill/>
        </p:spPr>
        <p:txBody>
          <a:bodyPr wrap="none" rtlCol="0" anchor="ctr"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BRIAN WILLIAMS</a:t>
            </a:r>
          </a:p>
        </p:txBody>
      </p:sp>
      <p:sp>
        <p:nvSpPr>
          <p:cNvPr id="99" name="Subtitle 2">
            <a:extLst>
              <a:ext uri="{FF2B5EF4-FFF2-40B4-BE49-F238E27FC236}">
                <a16:creationId xmlns:a16="http://schemas.microsoft.com/office/drawing/2014/main" id="{C8F028FD-0007-8742-A663-8430177DC4B7}"/>
              </a:ext>
            </a:extLst>
          </p:cNvPr>
          <p:cNvSpPr txBox="1">
            <a:spLocks/>
          </p:cNvSpPr>
          <p:nvPr/>
        </p:nvSpPr>
        <p:spPr>
          <a:xfrm>
            <a:off x="9808108" y="3717923"/>
            <a:ext cx="765594" cy="261610"/>
          </a:xfrm>
          <a:prstGeom prst="rect">
            <a:avLst/>
          </a:prstGeom>
        </p:spPr>
        <p:txBody>
          <a:bodyPr vert="horz" wrap="non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4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Manager</a:t>
            </a:r>
          </a:p>
        </p:txBody>
      </p:sp>
      <p:sp>
        <p:nvSpPr>
          <p:cNvPr id="109" name="Subtitle 2">
            <a:extLst>
              <a:ext uri="{FF2B5EF4-FFF2-40B4-BE49-F238E27FC236}">
                <a16:creationId xmlns:a16="http://schemas.microsoft.com/office/drawing/2014/main" id="{E1CDA17C-E7ED-C148-B733-F1CB8F5FE339}"/>
              </a:ext>
            </a:extLst>
          </p:cNvPr>
          <p:cNvSpPr txBox="1">
            <a:spLocks/>
          </p:cNvSpPr>
          <p:nvPr/>
        </p:nvSpPr>
        <p:spPr>
          <a:xfrm>
            <a:off x="704747" y="4516907"/>
            <a:ext cx="1071497" cy="69749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250"/>
              </a:lnSpc>
            </a:pPr>
            <a:r>
              <a:rPr lang="en-US" sz="9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110" name="Subtitle 2">
            <a:extLst>
              <a:ext uri="{FF2B5EF4-FFF2-40B4-BE49-F238E27FC236}">
                <a16:creationId xmlns:a16="http://schemas.microsoft.com/office/drawing/2014/main" id="{708CFE2B-E8AB-BE4D-9D96-13C16CE8F133}"/>
              </a:ext>
            </a:extLst>
          </p:cNvPr>
          <p:cNvSpPr txBox="1">
            <a:spLocks/>
          </p:cNvSpPr>
          <p:nvPr/>
        </p:nvSpPr>
        <p:spPr>
          <a:xfrm>
            <a:off x="2113058" y="4516907"/>
            <a:ext cx="1071497" cy="69749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250"/>
              </a:lnSpc>
            </a:pPr>
            <a:r>
              <a:rPr lang="en-US" sz="9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111" name="Subtitle 2">
            <a:extLst>
              <a:ext uri="{FF2B5EF4-FFF2-40B4-BE49-F238E27FC236}">
                <a16:creationId xmlns:a16="http://schemas.microsoft.com/office/drawing/2014/main" id="{E9D337D6-9029-3E44-ADA2-257C693E06C2}"/>
              </a:ext>
            </a:extLst>
          </p:cNvPr>
          <p:cNvSpPr txBox="1">
            <a:spLocks/>
          </p:cNvSpPr>
          <p:nvPr/>
        </p:nvSpPr>
        <p:spPr>
          <a:xfrm>
            <a:off x="3467992" y="4516907"/>
            <a:ext cx="1071497" cy="69749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250"/>
              </a:lnSpc>
            </a:pPr>
            <a:r>
              <a:rPr lang="en-US" sz="9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112" name="Subtitle 2">
            <a:extLst>
              <a:ext uri="{FF2B5EF4-FFF2-40B4-BE49-F238E27FC236}">
                <a16:creationId xmlns:a16="http://schemas.microsoft.com/office/drawing/2014/main" id="{AEBA50D4-413B-8241-BE0F-516029277490}"/>
              </a:ext>
            </a:extLst>
          </p:cNvPr>
          <p:cNvSpPr txBox="1">
            <a:spLocks/>
          </p:cNvSpPr>
          <p:nvPr/>
        </p:nvSpPr>
        <p:spPr>
          <a:xfrm>
            <a:off x="4881980" y="4516907"/>
            <a:ext cx="1071497" cy="69749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250"/>
              </a:lnSpc>
            </a:pPr>
            <a:r>
              <a:rPr lang="en-US" sz="9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113" name="Subtitle 2">
            <a:extLst>
              <a:ext uri="{FF2B5EF4-FFF2-40B4-BE49-F238E27FC236}">
                <a16:creationId xmlns:a16="http://schemas.microsoft.com/office/drawing/2014/main" id="{DE33195D-F25D-8B4F-B7A7-73C5B2354A33}"/>
              </a:ext>
            </a:extLst>
          </p:cNvPr>
          <p:cNvSpPr txBox="1">
            <a:spLocks/>
          </p:cNvSpPr>
          <p:nvPr/>
        </p:nvSpPr>
        <p:spPr>
          <a:xfrm>
            <a:off x="6241449" y="4516907"/>
            <a:ext cx="1071497" cy="69749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250"/>
              </a:lnSpc>
            </a:pPr>
            <a:r>
              <a:rPr lang="en-US" sz="9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114" name="Subtitle 2">
            <a:extLst>
              <a:ext uri="{FF2B5EF4-FFF2-40B4-BE49-F238E27FC236}">
                <a16:creationId xmlns:a16="http://schemas.microsoft.com/office/drawing/2014/main" id="{A7B284BC-A7FA-7942-965A-789175C02DA0}"/>
              </a:ext>
            </a:extLst>
          </p:cNvPr>
          <p:cNvSpPr txBox="1">
            <a:spLocks/>
          </p:cNvSpPr>
          <p:nvPr/>
        </p:nvSpPr>
        <p:spPr>
          <a:xfrm>
            <a:off x="7612499" y="4516907"/>
            <a:ext cx="1071497" cy="69749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250"/>
              </a:lnSpc>
            </a:pPr>
            <a:r>
              <a:rPr lang="en-US" sz="9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115" name="Subtitle 2">
            <a:extLst>
              <a:ext uri="{FF2B5EF4-FFF2-40B4-BE49-F238E27FC236}">
                <a16:creationId xmlns:a16="http://schemas.microsoft.com/office/drawing/2014/main" id="{16C77D74-6E76-234E-B7A5-B661DCE337C4}"/>
              </a:ext>
            </a:extLst>
          </p:cNvPr>
          <p:cNvSpPr txBox="1">
            <a:spLocks/>
          </p:cNvSpPr>
          <p:nvPr/>
        </p:nvSpPr>
        <p:spPr>
          <a:xfrm>
            <a:off x="8971969" y="4516907"/>
            <a:ext cx="1071497" cy="69749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250"/>
              </a:lnSpc>
            </a:pPr>
            <a:r>
              <a:rPr lang="en-US" sz="9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116" name="Subtitle 2">
            <a:extLst>
              <a:ext uri="{FF2B5EF4-FFF2-40B4-BE49-F238E27FC236}">
                <a16:creationId xmlns:a16="http://schemas.microsoft.com/office/drawing/2014/main" id="{03CE0FD4-B877-3A41-A804-2AF34EE5D324}"/>
              </a:ext>
            </a:extLst>
          </p:cNvPr>
          <p:cNvSpPr txBox="1">
            <a:spLocks/>
          </p:cNvSpPr>
          <p:nvPr/>
        </p:nvSpPr>
        <p:spPr>
          <a:xfrm>
            <a:off x="10347765" y="4516907"/>
            <a:ext cx="1071497" cy="69749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250"/>
              </a:lnSpc>
            </a:pPr>
            <a:r>
              <a:rPr lang="en-US" sz="9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117" name="Subtitle 2">
            <a:extLst>
              <a:ext uri="{FF2B5EF4-FFF2-40B4-BE49-F238E27FC236}">
                <a16:creationId xmlns:a16="http://schemas.microsoft.com/office/drawing/2014/main" id="{01A81885-43F8-0A4E-944C-F309B5B58213}"/>
              </a:ext>
            </a:extLst>
          </p:cNvPr>
          <p:cNvSpPr txBox="1">
            <a:spLocks/>
          </p:cNvSpPr>
          <p:nvPr/>
        </p:nvSpPr>
        <p:spPr>
          <a:xfrm>
            <a:off x="9654459" y="5472722"/>
            <a:ext cx="1071497" cy="69749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250"/>
              </a:lnSpc>
            </a:pPr>
            <a:r>
              <a:rPr lang="en-US" sz="9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118" name="Subtitle 2">
            <a:extLst>
              <a:ext uri="{FF2B5EF4-FFF2-40B4-BE49-F238E27FC236}">
                <a16:creationId xmlns:a16="http://schemas.microsoft.com/office/drawing/2014/main" id="{399C52AA-6823-0746-8DED-BFE7D328B2EF}"/>
              </a:ext>
            </a:extLst>
          </p:cNvPr>
          <p:cNvSpPr txBox="1">
            <a:spLocks/>
          </p:cNvSpPr>
          <p:nvPr/>
        </p:nvSpPr>
        <p:spPr>
          <a:xfrm>
            <a:off x="6939997" y="5472722"/>
            <a:ext cx="1071497" cy="69749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250"/>
              </a:lnSpc>
            </a:pPr>
            <a:r>
              <a:rPr lang="en-US" sz="9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119" name="Subtitle 2">
            <a:extLst>
              <a:ext uri="{FF2B5EF4-FFF2-40B4-BE49-F238E27FC236}">
                <a16:creationId xmlns:a16="http://schemas.microsoft.com/office/drawing/2014/main" id="{9905ED56-DFB2-054D-AF68-52C416820C23}"/>
              </a:ext>
            </a:extLst>
          </p:cNvPr>
          <p:cNvSpPr txBox="1">
            <a:spLocks/>
          </p:cNvSpPr>
          <p:nvPr/>
        </p:nvSpPr>
        <p:spPr>
          <a:xfrm>
            <a:off x="4160598" y="5472722"/>
            <a:ext cx="1071497" cy="69749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250"/>
              </a:lnSpc>
            </a:pPr>
            <a:r>
              <a:rPr lang="en-US" sz="9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120" name="Subtitle 2">
            <a:extLst>
              <a:ext uri="{FF2B5EF4-FFF2-40B4-BE49-F238E27FC236}">
                <a16:creationId xmlns:a16="http://schemas.microsoft.com/office/drawing/2014/main" id="{14B250EE-D954-E746-B592-02D47E89EC6A}"/>
              </a:ext>
            </a:extLst>
          </p:cNvPr>
          <p:cNvSpPr txBox="1">
            <a:spLocks/>
          </p:cNvSpPr>
          <p:nvPr/>
        </p:nvSpPr>
        <p:spPr>
          <a:xfrm>
            <a:off x="1409281" y="5472722"/>
            <a:ext cx="1071497" cy="69749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250"/>
              </a:lnSpc>
            </a:pPr>
            <a:r>
              <a:rPr lang="en-US" sz="9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59" name="Titel 1">
            <a:extLst>
              <a:ext uri="{FF2B5EF4-FFF2-40B4-BE49-F238E27FC236}">
                <a16:creationId xmlns:a16="http://schemas.microsoft.com/office/drawing/2014/main" id="{1262B32B-4458-49CF-A77F-57CFC4D86213}"/>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Organizational chart</a:t>
            </a:r>
          </a:p>
        </p:txBody>
      </p:sp>
    </p:spTree>
    <p:custDataLst>
      <p:tags r:id="rId1"/>
    </p:custDataLst>
    <p:extLst>
      <p:ext uri="{BB962C8B-B14F-4D97-AF65-F5344CB8AC3E}">
        <p14:creationId xmlns:p14="http://schemas.microsoft.com/office/powerpoint/2010/main" val="238708531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Shape 10879">
            <a:extLst>
              <a:ext uri="{FF2B5EF4-FFF2-40B4-BE49-F238E27FC236}">
                <a16:creationId xmlns:a16="http://schemas.microsoft.com/office/drawing/2014/main" id="{D63EA594-45A1-724A-93CE-1A99585FA728}"/>
              </a:ext>
            </a:extLst>
          </p:cNvPr>
          <p:cNvSpPr/>
          <p:nvPr/>
        </p:nvSpPr>
        <p:spPr>
          <a:xfrm>
            <a:off x="1588" y="2743490"/>
            <a:ext cx="12188825" cy="1371600"/>
          </a:xfrm>
          <a:prstGeom prst="rect">
            <a:avLst/>
          </a:prstGeom>
          <a:solidFill>
            <a:schemeClr val="accent1"/>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30" name="Shape 10880">
            <a:extLst>
              <a:ext uri="{FF2B5EF4-FFF2-40B4-BE49-F238E27FC236}">
                <a16:creationId xmlns:a16="http://schemas.microsoft.com/office/drawing/2014/main" id="{FEE16843-5D00-1048-93C9-7471825F19BE}"/>
              </a:ext>
            </a:extLst>
          </p:cNvPr>
          <p:cNvSpPr/>
          <p:nvPr/>
        </p:nvSpPr>
        <p:spPr>
          <a:xfrm>
            <a:off x="7337205" y="2453695"/>
            <a:ext cx="2834640" cy="892969"/>
          </a:xfrm>
          <a:prstGeom prst="roundRect">
            <a:avLst>
              <a:gd name="adj" fmla="val 29910"/>
            </a:avLst>
          </a:prstGeom>
          <a:solidFill>
            <a:schemeClr val="accent1"/>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34" name="Shape 10881">
            <a:extLst>
              <a:ext uri="{FF2B5EF4-FFF2-40B4-BE49-F238E27FC236}">
                <a16:creationId xmlns:a16="http://schemas.microsoft.com/office/drawing/2014/main" id="{89BBE42E-5341-B445-BE36-2F9B7FA69903}"/>
              </a:ext>
            </a:extLst>
          </p:cNvPr>
          <p:cNvSpPr/>
          <p:nvPr/>
        </p:nvSpPr>
        <p:spPr>
          <a:xfrm>
            <a:off x="7514100" y="2632289"/>
            <a:ext cx="535782" cy="535782"/>
          </a:xfrm>
          <a:prstGeom prst="ellipse">
            <a:avLst/>
          </a:prstGeom>
          <a:solidFill>
            <a:schemeClr val="accent1">
              <a:lumMod val="75000"/>
            </a:schemeClr>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17" name="Shape 10890">
            <a:extLst>
              <a:ext uri="{FF2B5EF4-FFF2-40B4-BE49-F238E27FC236}">
                <a16:creationId xmlns:a16="http://schemas.microsoft.com/office/drawing/2014/main" id="{7629FC77-98AB-9347-A79B-40CE83ADCE88}"/>
              </a:ext>
            </a:extLst>
          </p:cNvPr>
          <p:cNvSpPr/>
          <p:nvPr/>
        </p:nvSpPr>
        <p:spPr>
          <a:xfrm>
            <a:off x="1588" y="4114801"/>
            <a:ext cx="12188825" cy="1371600"/>
          </a:xfrm>
          <a:prstGeom prst="rect">
            <a:avLst/>
          </a:prstGeom>
          <a:solidFill>
            <a:schemeClr val="accent2"/>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8" name="Shape 10900">
            <a:extLst>
              <a:ext uri="{FF2B5EF4-FFF2-40B4-BE49-F238E27FC236}">
                <a16:creationId xmlns:a16="http://schemas.microsoft.com/office/drawing/2014/main" id="{9630C757-4E9E-FD45-8966-889C85803571}"/>
              </a:ext>
            </a:extLst>
          </p:cNvPr>
          <p:cNvSpPr/>
          <p:nvPr/>
        </p:nvSpPr>
        <p:spPr>
          <a:xfrm>
            <a:off x="1588" y="5486400"/>
            <a:ext cx="12188825" cy="1371600"/>
          </a:xfrm>
          <a:prstGeom prst="rect">
            <a:avLst/>
          </a:prstGeom>
          <a:solidFill>
            <a:schemeClr val="accent3"/>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12" name="Shape 10901">
            <a:extLst>
              <a:ext uri="{FF2B5EF4-FFF2-40B4-BE49-F238E27FC236}">
                <a16:creationId xmlns:a16="http://schemas.microsoft.com/office/drawing/2014/main" id="{B1CCBD94-978F-4348-96A7-3C5EA58D5434}"/>
              </a:ext>
            </a:extLst>
          </p:cNvPr>
          <p:cNvSpPr/>
          <p:nvPr/>
        </p:nvSpPr>
        <p:spPr>
          <a:xfrm>
            <a:off x="7337052" y="5196605"/>
            <a:ext cx="2834640" cy="892969"/>
          </a:xfrm>
          <a:prstGeom prst="roundRect">
            <a:avLst>
              <a:gd name="adj" fmla="val 29910"/>
            </a:avLst>
          </a:prstGeom>
          <a:solidFill>
            <a:schemeClr val="accent3"/>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15" name="Shape 10903">
            <a:extLst>
              <a:ext uri="{FF2B5EF4-FFF2-40B4-BE49-F238E27FC236}">
                <a16:creationId xmlns:a16="http://schemas.microsoft.com/office/drawing/2014/main" id="{2FA5FAC4-932B-1143-AD93-765ADAE00FAC}"/>
              </a:ext>
            </a:extLst>
          </p:cNvPr>
          <p:cNvSpPr/>
          <p:nvPr/>
        </p:nvSpPr>
        <p:spPr>
          <a:xfrm>
            <a:off x="7514023" y="5375199"/>
            <a:ext cx="535782" cy="535782"/>
          </a:xfrm>
          <a:prstGeom prst="ellipse">
            <a:avLst/>
          </a:prstGeom>
          <a:solidFill>
            <a:schemeClr val="accent3">
              <a:lumMod val="75000"/>
            </a:schemeClr>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38" name="Subtitle 2">
            <a:extLst>
              <a:ext uri="{FF2B5EF4-FFF2-40B4-BE49-F238E27FC236}">
                <a16:creationId xmlns:a16="http://schemas.microsoft.com/office/drawing/2014/main" id="{1EAD1682-F91D-114B-850A-001B4FAF6C07}"/>
              </a:ext>
            </a:extLst>
          </p:cNvPr>
          <p:cNvSpPr txBox="1">
            <a:spLocks/>
          </p:cNvSpPr>
          <p:nvPr/>
        </p:nvSpPr>
        <p:spPr>
          <a:xfrm>
            <a:off x="762000" y="1531562"/>
            <a:ext cx="10668000" cy="665760"/>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ts val="1500"/>
              </a:lnSpc>
            </a:pPr>
            <a:r>
              <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 Cum sociis natoque penatibus et magnis dis parturient montes, nascetur ridiculus mus. </a:t>
            </a:r>
          </a:p>
          <a:p>
            <a:pPr algn="just">
              <a:lnSpc>
                <a:spcPts val="1500"/>
              </a:lnSpc>
            </a:pPr>
            <a:r>
              <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Donec quam felis, ultricies nec, pellentesque eu, pretium quis, sem. Nulla consequat massa quis enim. Donec pede justo, fringilla vel, aliquet nec, vulputate eget, arcu. </a:t>
            </a:r>
          </a:p>
          <a:p>
            <a:pPr algn="just">
              <a:lnSpc>
                <a:spcPts val="1500"/>
              </a:lnSpc>
            </a:pPr>
            <a:r>
              <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 </a:t>
            </a:r>
          </a:p>
        </p:txBody>
      </p:sp>
      <p:sp>
        <p:nvSpPr>
          <p:cNvPr id="39" name="TextBox 38">
            <a:extLst>
              <a:ext uri="{FF2B5EF4-FFF2-40B4-BE49-F238E27FC236}">
                <a16:creationId xmlns:a16="http://schemas.microsoft.com/office/drawing/2014/main" id="{C5918659-74E9-AF4D-BEB2-BE4120FBAF0E}"/>
              </a:ext>
            </a:extLst>
          </p:cNvPr>
          <p:cNvSpPr txBox="1"/>
          <p:nvPr/>
        </p:nvSpPr>
        <p:spPr>
          <a:xfrm>
            <a:off x="762000" y="3044280"/>
            <a:ext cx="678391" cy="769441"/>
          </a:xfrm>
          <a:prstGeom prst="rect">
            <a:avLst/>
          </a:prstGeom>
          <a:noFill/>
        </p:spPr>
        <p:txBody>
          <a:bodyPr wrap="none" rtlCol="0" anchor="ctr">
            <a:spAutoFit/>
          </a:bodyPr>
          <a:lstStyle/>
          <a:p>
            <a:r>
              <a:rPr lang="en-US" sz="4400" b="1" dirty="0">
                <a:solidFill>
                  <a:schemeClr val="bg1"/>
                </a:solidFill>
                <a:latin typeface="Segoe UI Light" panose="020B0502040204020203" pitchFamily="34" charset="0"/>
                <a:cs typeface="Poppins" pitchFamily="2" charset="77"/>
              </a:rPr>
              <a:t>01</a:t>
            </a:r>
          </a:p>
        </p:txBody>
      </p:sp>
      <p:sp>
        <p:nvSpPr>
          <p:cNvPr id="40" name="TextBox 39">
            <a:extLst>
              <a:ext uri="{FF2B5EF4-FFF2-40B4-BE49-F238E27FC236}">
                <a16:creationId xmlns:a16="http://schemas.microsoft.com/office/drawing/2014/main" id="{CCA54265-4375-5744-94A2-94A65F902959}"/>
              </a:ext>
            </a:extLst>
          </p:cNvPr>
          <p:cNvSpPr txBox="1"/>
          <p:nvPr/>
        </p:nvSpPr>
        <p:spPr>
          <a:xfrm>
            <a:off x="762000" y="4415880"/>
            <a:ext cx="768159" cy="769441"/>
          </a:xfrm>
          <a:prstGeom prst="rect">
            <a:avLst/>
          </a:prstGeom>
          <a:noFill/>
        </p:spPr>
        <p:txBody>
          <a:bodyPr wrap="none" rtlCol="0" anchor="ctr">
            <a:spAutoFit/>
          </a:bodyPr>
          <a:lstStyle/>
          <a:p>
            <a:r>
              <a:rPr lang="en-US" sz="4400" b="1" dirty="0">
                <a:solidFill>
                  <a:schemeClr val="bg1"/>
                </a:solidFill>
                <a:latin typeface="Segoe UI Light" panose="020B0502040204020203" pitchFamily="34" charset="0"/>
                <a:cs typeface="Poppins" pitchFamily="2" charset="77"/>
              </a:rPr>
              <a:t>02</a:t>
            </a:r>
          </a:p>
        </p:txBody>
      </p:sp>
      <p:sp>
        <p:nvSpPr>
          <p:cNvPr id="41" name="TextBox 40">
            <a:extLst>
              <a:ext uri="{FF2B5EF4-FFF2-40B4-BE49-F238E27FC236}">
                <a16:creationId xmlns:a16="http://schemas.microsoft.com/office/drawing/2014/main" id="{C00AEFD9-3CB5-1740-8F57-A8ECF171F92B}"/>
              </a:ext>
            </a:extLst>
          </p:cNvPr>
          <p:cNvSpPr txBox="1"/>
          <p:nvPr/>
        </p:nvSpPr>
        <p:spPr>
          <a:xfrm>
            <a:off x="762000" y="5789784"/>
            <a:ext cx="768159" cy="769441"/>
          </a:xfrm>
          <a:prstGeom prst="rect">
            <a:avLst/>
          </a:prstGeom>
          <a:noFill/>
        </p:spPr>
        <p:txBody>
          <a:bodyPr wrap="none" rtlCol="0" anchor="ctr">
            <a:spAutoFit/>
          </a:bodyPr>
          <a:lstStyle/>
          <a:p>
            <a:r>
              <a:rPr lang="en-US" sz="4400" b="1" dirty="0">
                <a:solidFill>
                  <a:schemeClr val="bg1"/>
                </a:solidFill>
                <a:latin typeface="Segoe UI Light" panose="020B0502040204020203" pitchFamily="34" charset="0"/>
                <a:cs typeface="Poppins" pitchFamily="2" charset="77"/>
              </a:rPr>
              <a:t>03</a:t>
            </a:r>
          </a:p>
        </p:txBody>
      </p:sp>
      <p:sp>
        <p:nvSpPr>
          <p:cNvPr id="21" name="Shape 10891">
            <a:extLst>
              <a:ext uri="{FF2B5EF4-FFF2-40B4-BE49-F238E27FC236}">
                <a16:creationId xmlns:a16="http://schemas.microsoft.com/office/drawing/2014/main" id="{99016A17-B978-7844-B37B-2E4BA43435C9}"/>
              </a:ext>
            </a:extLst>
          </p:cNvPr>
          <p:cNvSpPr/>
          <p:nvPr/>
        </p:nvSpPr>
        <p:spPr>
          <a:xfrm>
            <a:off x="1928020" y="3816075"/>
            <a:ext cx="2834640" cy="892969"/>
          </a:xfrm>
          <a:prstGeom prst="roundRect">
            <a:avLst>
              <a:gd name="adj" fmla="val 29910"/>
            </a:avLst>
          </a:prstGeom>
          <a:solidFill>
            <a:schemeClr val="accent2"/>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24" name="Shape 10893">
            <a:extLst>
              <a:ext uri="{FF2B5EF4-FFF2-40B4-BE49-F238E27FC236}">
                <a16:creationId xmlns:a16="http://schemas.microsoft.com/office/drawing/2014/main" id="{6A128965-BC38-C948-A4ED-5F2DF1282B7C}"/>
              </a:ext>
            </a:extLst>
          </p:cNvPr>
          <p:cNvSpPr/>
          <p:nvPr/>
        </p:nvSpPr>
        <p:spPr>
          <a:xfrm>
            <a:off x="2105069" y="3994669"/>
            <a:ext cx="535783" cy="535782"/>
          </a:xfrm>
          <a:prstGeom prst="ellipse">
            <a:avLst/>
          </a:prstGeom>
          <a:solidFill>
            <a:schemeClr val="accent2">
              <a:lumMod val="75000"/>
            </a:schemeClr>
          </a:solidFill>
          <a:ln w="12700" cap="flat">
            <a:noFill/>
            <a:miter lim="400000"/>
          </a:ln>
          <a:effectLst/>
        </p:spPr>
        <p:txBody>
          <a:bodyPr wrap="square" lIns="0" tIns="0" rIns="0" bIns="0" numCol="1" anchor="t">
            <a:noAutofit/>
          </a:bodyPr>
          <a:lstStyle/>
          <a:p>
            <a:endParaRPr lang="en-US" sz="2532" dirty="0">
              <a:latin typeface="Lato Light" panose="020F0502020204030203" pitchFamily="34" charset="0"/>
            </a:endParaRPr>
          </a:p>
        </p:txBody>
      </p:sp>
      <p:sp>
        <p:nvSpPr>
          <p:cNvPr id="42" name="TextBox 41">
            <a:extLst>
              <a:ext uri="{FF2B5EF4-FFF2-40B4-BE49-F238E27FC236}">
                <a16:creationId xmlns:a16="http://schemas.microsoft.com/office/drawing/2014/main" id="{502DFE4A-1A68-7B4A-B272-EEE2337A4543}"/>
              </a:ext>
            </a:extLst>
          </p:cNvPr>
          <p:cNvSpPr txBox="1"/>
          <p:nvPr/>
        </p:nvSpPr>
        <p:spPr>
          <a:xfrm>
            <a:off x="2817900" y="3973486"/>
            <a:ext cx="1674855" cy="584775"/>
          </a:xfrm>
          <a:prstGeom prst="rect">
            <a:avLst/>
          </a:prstGeom>
          <a:noFill/>
        </p:spPr>
        <p:txBody>
          <a:bodyPr wrap="square" rtlCol="0" anchor="ctr" anchorCtr="0">
            <a:spAutoFit/>
          </a:bodyPr>
          <a:lstStyle/>
          <a:p>
            <a:r>
              <a:rPr lang="en-US" sz="1600" b="1" dirty="0">
                <a:solidFill>
                  <a:schemeClr val="bg1"/>
                </a:solidFill>
                <a:latin typeface="Segoe UI Light" panose="020B0502040204020203" pitchFamily="34" charset="0"/>
                <a:ea typeface="League Spartan" charset="0"/>
                <a:cs typeface="Poppins" pitchFamily="2" charset="77"/>
              </a:rPr>
              <a:t>YOUR TITLE GOES HERE</a:t>
            </a:r>
          </a:p>
        </p:txBody>
      </p:sp>
      <p:sp>
        <p:nvSpPr>
          <p:cNvPr id="46" name="TextBox 45">
            <a:extLst>
              <a:ext uri="{FF2B5EF4-FFF2-40B4-BE49-F238E27FC236}">
                <a16:creationId xmlns:a16="http://schemas.microsoft.com/office/drawing/2014/main" id="{12D3A7DB-2CD4-9344-9043-2B20787344C8}"/>
              </a:ext>
            </a:extLst>
          </p:cNvPr>
          <p:cNvSpPr txBox="1"/>
          <p:nvPr/>
        </p:nvSpPr>
        <p:spPr>
          <a:xfrm>
            <a:off x="8226777" y="5352116"/>
            <a:ext cx="1674855" cy="584775"/>
          </a:xfrm>
          <a:prstGeom prst="rect">
            <a:avLst/>
          </a:prstGeom>
          <a:noFill/>
        </p:spPr>
        <p:txBody>
          <a:bodyPr wrap="square" rtlCol="0" anchor="ctr" anchorCtr="0">
            <a:spAutoFit/>
          </a:bodyPr>
          <a:lstStyle/>
          <a:p>
            <a:r>
              <a:rPr lang="en-US" sz="1600" b="1" dirty="0">
                <a:solidFill>
                  <a:schemeClr val="bg1"/>
                </a:solidFill>
                <a:latin typeface="Segoe UI Light" panose="020B0502040204020203" pitchFamily="34" charset="0"/>
                <a:ea typeface="League Spartan" charset="0"/>
                <a:cs typeface="Poppins" pitchFamily="2" charset="77"/>
              </a:rPr>
              <a:t>YOUR TITLE GOES HERE</a:t>
            </a:r>
          </a:p>
        </p:txBody>
      </p:sp>
      <p:sp>
        <p:nvSpPr>
          <p:cNvPr id="47" name="TextBox 46">
            <a:extLst>
              <a:ext uri="{FF2B5EF4-FFF2-40B4-BE49-F238E27FC236}">
                <a16:creationId xmlns:a16="http://schemas.microsoft.com/office/drawing/2014/main" id="{1C2F6C05-3C21-724E-9C43-CF09610C7939}"/>
              </a:ext>
            </a:extLst>
          </p:cNvPr>
          <p:cNvSpPr txBox="1"/>
          <p:nvPr/>
        </p:nvSpPr>
        <p:spPr>
          <a:xfrm>
            <a:off x="8226777" y="2609206"/>
            <a:ext cx="1674855" cy="584775"/>
          </a:xfrm>
          <a:prstGeom prst="rect">
            <a:avLst/>
          </a:prstGeom>
          <a:noFill/>
        </p:spPr>
        <p:txBody>
          <a:bodyPr wrap="square" rtlCol="0" anchor="ctr" anchorCtr="0">
            <a:spAutoFit/>
          </a:bodyPr>
          <a:lstStyle/>
          <a:p>
            <a:r>
              <a:rPr lang="en-US" sz="1600" b="1" dirty="0">
                <a:solidFill>
                  <a:schemeClr val="bg1"/>
                </a:solidFill>
                <a:latin typeface="Segoe UI Light" panose="020B0502040204020203" pitchFamily="34" charset="0"/>
                <a:ea typeface="League Spartan" charset="0"/>
                <a:cs typeface="Poppins" pitchFamily="2" charset="77"/>
              </a:rPr>
              <a:t>YOUR TITLE GOES HERE</a:t>
            </a:r>
          </a:p>
        </p:txBody>
      </p:sp>
      <p:sp>
        <p:nvSpPr>
          <p:cNvPr id="48" name="Subtitle 2">
            <a:extLst>
              <a:ext uri="{FF2B5EF4-FFF2-40B4-BE49-F238E27FC236}">
                <a16:creationId xmlns:a16="http://schemas.microsoft.com/office/drawing/2014/main" id="{45DDE64E-AA99-ED43-9C2E-19A2A430C975}"/>
              </a:ext>
            </a:extLst>
          </p:cNvPr>
          <p:cNvSpPr txBox="1">
            <a:spLocks/>
          </p:cNvSpPr>
          <p:nvPr/>
        </p:nvSpPr>
        <p:spPr>
          <a:xfrm>
            <a:off x="1727536" y="3127920"/>
            <a:ext cx="5360652" cy="604204"/>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ts val="1500"/>
              </a:lnSpc>
            </a:pPr>
            <a:r>
              <a:rPr lang="en-US" sz="10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 Cum sociis natoque penatibus et magnis dis parturient montes, nascetur ridiculus mus.</a:t>
            </a:r>
          </a:p>
        </p:txBody>
      </p:sp>
      <p:sp>
        <p:nvSpPr>
          <p:cNvPr id="49" name="Subtitle 2">
            <a:extLst>
              <a:ext uri="{FF2B5EF4-FFF2-40B4-BE49-F238E27FC236}">
                <a16:creationId xmlns:a16="http://schemas.microsoft.com/office/drawing/2014/main" id="{0F1FA952-AB39-CB4C-9CD5-68B7661C8156}"/>
              </a:ext>
            </a:extLst>
          </p:cNvPr>
          <p:cNvSpPr txBox="1">
            <a:spLocks/>
          </p:cNvSpPr>
          <p:nvPr/>
        </p:nvSpPr>
        <p:spPr>
          <a:xfrm>
            <a:off x="4932265" y="4406942"/>
            <a:ext cx="5360652" cy="604204"/>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ts val="1500"/>
              </a:lnSpc>
            </a:pPr>
            <a:r>
              <a:rPr lang="en-US" sz="10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 Cum sociis natoque penatibus et magnis dis parturient montes, nascetur ridiculus mus.</a:t>
            </a:r>
          </a:p>
        </p:txBody>
      </p:sp>
      <p:sp>
        <p:nvSpPr>
          <p:cNvPr id="50" name="Subtitle 2">
            <a:extLst>
              <a:ext uri="{FF2B5EF4-FFF2-40B4-BE49-F238E27FC236}">
                <a16:creationId xmlns:a16="http://schemas.microsoft.com/office/drawing/2014/main" id="{3A754E32-9D23-1041-A48C-4C56623CB715}"/>
              </a:ext>
            </a:extLst>
          </p:cNvPr>
          <p:cNvSpPr txBox="1">
            <a:spLocks/>
          </p:cNvSpPr>
          <p:nvPr/>
        </p:nvSpPr>
        <p:spPr>
          <a:xfrm>
            <a:off x="1812429" y="5867141"/>
            <a:ext cx="5360652" cy="604204"/>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ts val="1500"/>
              </a:lnSpc>
            </a:pPr>
            <a:r>
              <a:rPr lang="en-US" sz="10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 Cum sociis natoque penatibus et magnis dis parturient montes, nascetur ridiculus mus.</a:t>
            </a:r>
          </a:p>
        </p:txBody>
      </p:sp>
      <p:sp>
        <p:nvSpPr>
          <p:cNvPr id="51" name="Freeform 924">
            <a:extLst>
              <a:ext uri="{FF2B5EF4-FFF2-40B4-BE49-F238E27FC236}">
                <a16:creationId xmlns:a16="http://schemas.microsoft.com/office/drawing/2014/main" id="{692723B2-71D5-4842-A7E5-2AD5EE512C9F}"/>
              </a:ext>
            </a:extLst>
          </p:cNvPr>
          <p:cNvSpPr>
            <a:spLocks noChangeArrowheads="1"/>
          </p:cNvSpPr>
          <p:nvPr/>
        </p:nvSpPr>
        <p:spPr bwMode="auto">
          <a:xfrm>
            <a:off x="7634598" y="2732543"/>
            <a:ext cx="294632" cy="294632"/>
          </a:xfrm>
          <a:custGeom>
            <a:avLst/>
            <a:gdLst>
              <a:gd name="T0" fmla="*/ 1174904 w 295914"/>
              <a:gd name="T1" fmla="*/ 2577433 h 296053"/>
              <a:gd name="T2" fmla="*/ 1073027 w 295914"/>
              <a:gd name="T3" fmla="*/ 2577433 h 296053"/>
              <a:gd name="T4" fmla="*/ 2231390 w 295914"/>
              <a:gd name="T5" fmla="*/ 2423417 h 296053"/>
              <a:gd name="T6" fmla="*/ 2599376 w 295914"/>
              <a:gd name="T7" fmla="*/ 2791885 h 296053"/>
              <a:gd name="T8" fmla="*/ 2231390 w 295914"/>
              <a:gd name="T9" fmla="*/ 2423417 h 296053"/>
              <a:gd name="T10" fmla="*/ 1767423 w 295914"/>
              <a:gd name="T11" fmla="*/ 2791885 h 296053"/>
              <a:gd name="T12" fmla="*/ 2135407 w 295914"/>
              <a:gd name="T13" fmla="*/ 2423417 h 296053"/>
              <a:gd name="T14" fmla="*/ 2231390 w 295914"/>
              <a:gd name="T15" fmla="*/ 1958821 h 296053"/>
              <a:gd name="T16" fmla="*/ 2599376 w 295914"/>
              <a:gd name="T17" fmla="*/ 2327299 h 296053"/>
              <a:gd name="T18" fmla="*/ 2231390 w 295914"/>
              <a:gd name="T19" fmla="*/ 1958821 h 296053"/>
              <a:gd name="T20" fmla="*/ 1767423 w 295914"/>
              <a:gd name="T21" fmla="*/ 2327299 h 296053"/>
              <a:gd name="T22" fmla="*/ 2135407 w 295914"/>
              <a:gd name="T23" fmla="*/ 1958821 h 296053"/>
              <a:gd name="T24" fmla="*/ 699519 w 295914"/>
              <a:gd name="T25" fmla="*/ 1955727 h 296053"/>
              <a:gd name="T26" fmla="*/ 1263133 w 295914"/>
              <a:gd name="T27" fmla="*/ 3183195 h 296053"/>
              <a:gd name="T28" fmla="*/ 699519 w 295914"/>
              <a:gd name="T29" fmla="*/ 1955727 h 296053"/>
              <a:gd name="T30" fmla="*/ 2647370 w 295914"/>
              <a:gd name="T31" fmla="*/ 1858684 h 296053"/>
              <a:gd name="T32" fmla="*/ 2699363 w 295914"/>
              <a:gd name="T33" fmla="*/ 2791885 h 296053"/>
              <a:gd name="T34" fmla="*/ 2799370 w 295914"/>
              <a:gd name="T35" fmla="*/ 2839934 h 296053"/>
              <a:gd name="T36" fmla="*/ 1619407 w 295914"/>
              <a:gd name="T37" fmla="*/ 2891994 h 296053"/>
              <a:gd name="T38" fmla="*/ 1619407 w 295914"/>
              <a:gd name="T39" fmla="*/ 2791885 h 296053"/>
              <a:gd name="T40" fmla="*/ 1667414 w 295914"/>
              <a:gd name="T41" fmla="*/ 1910751 h 296053"/>
              <a:gd name="T42" fmla="*/ 303793 w 295914"/>
              <a:gd name="T43" fmla="*/ 1557235 h 296053"/>
              <a:gd name="T44" fmla="*/ 599590 w 295914"/>
              <a:gd name="T45" fmla="*/ 3183195 h 296053"/>
              <a:gd name="T46" fmla="*/ 551625 w 295914"/>
              <a:gd name="T47" fmla="*/ 1955727 h 296053"/>
              <a:gd name="T48" fmla="*/ 551625 w 295914"/>
              <a:gd name="T49" fmla="*/ 1856121 h 296053"/>
              <a:gd name="T50" fmla="*/ 1462997 w 295914"/>
              <a:gd name="T51" fmla="*/ 1907921 h 296053"/>
              <a:gd name="T52" fmla="*/ 1363068 w 295914"/>
              <a:gd name="T53" fmla="*/ 1955727 h 296053"/>
              <a:gd name="T54" fmla="*/ 2993949 w 295914"/>
              <a:gd name="T55" fmla="*/ 3183195 h 296053"/>
              <a:gd name="T56" fmla="*/ 303793 w 295914"/>
              <a:gd name="T57" fmla="*/ 1557235 h 296053"/>
              <a:gd name="T58" fmla="*/ 1653681 w 295914"/>
              <a:gd name="T59" fmla="*/ 1156419 h 296053"/>
              <a:gd name="T60" fmla="*/ 1407508 w 295914"/>
              <a:gd name="T61" fmla="*/ 959509 h 296053"/>
              <a:gd name="T62" fmla="*/ 1407508 w 295914"/>
              <a:gd name="T63" fmla="*/ 859038 h 296053"/>
              <a:gd name="T64" fmla="*/ 1653681 w 295914"/>
              <a:gd name="T65" fmla="*/ 658092 h 296053"/>
              <a:gd name="T66" fmla="*/ 2004796 w 295914"/>
              <a:gd name="T67" fmla="*/ 907271 h 296053"/>
              <a:gd name="T68" fmla="*/ 1302574 w 295914"/>
              <a:gd name="T69" fmla="*/ 907271 h 296053"/>
              <a:gd name="T70" fmla="*/ 1646872 w 295914"/>
              <a:gd name="T71" fmla="*/ 118560 h 296053"/>
              <a:gd name="T72" fmla="*/ 3113877 w 295914"/>
              <a:gd name="T73" fmla="*/ 1457585 h 296053"/>
              <a:gd name="T74" fmla="*/ 1610883 w 295914"/>
              <a:gd name="T75" fmla="*/ 14955 h 296053"/>
              <a:gd name="T76" fmla="*/ 3273756 w 295914"/>
              <a:gd name="T77" fmla="*/ 1469550 h 296053"/>
              <a:gd name="T78" fmla="*/ 3241793 w 295914"/>
              <a:gd name="T79" fmla="*/ 1557235 h 296053"/>
              <a:gd name="T80" fmla="*/ 3089895 w 295914"/>
              <a:gd name="T81" fmla="*/ 3183195 h 296053"/>
              <a:gd name="T82" fmla="*/ 3289758 w 295914"/>
              <a:gd name="T83" fmla="*/ 3231012 h 296053"/>
              <a:gd name="T84" fmla="*/ 51957 w 295914"/>
              <a:gd name="T85" fmla="*/ 3278832 h 296053"/>
              <a:gd name="T86" fmla="*/ 51957 w 295914"/>
              <a:gd name="T87" fmla="*/ 3183195 h 296053"/>
              <a:gd name="T88" fmla="*/ 199863 w 295914"/>
              <a:gd name="T89" fmla="*/ 1557235 h 296053"/>
              <a:gd name="T90" fmla="*/ 7980 w 295914"/>
              <a:gd name="T91" fmla="*/ 1529330 h 296053"/>
              <a:gd name="T92" fmla="*/ 1610883 w 295914"/>
              <a:gd name="T93" fmla="*/ 14955 h 29605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95914" h="296053">
                <a:moveTo>
                  <a:pt x="101241" y="228150"/>
                </a:moveTo>
                <a:cubicBezTo>
                  <a:pt x="103806" y="228150"/>
                  <a:pt x="105637" y="230055"/>
                  <a:pt x="105637" y="232722"/>
                </a:cubicBezTo>
                <a:cubicBezTo>
                  <a:pt x="105637" y="235389"/>
                  <a:pt x="103806" y="237294"/>
                  <a:pt x="101241" y="237294"/>
                </a:cubicBezTo>
                <a:cubicBezTo>
                  <a:pt x="98677" y="237294"/>
                  <a:pt x="96479" y="235389"/>
                  <a:pt x="96479" y="232722"/>
                </a:cubicBezTo>
                <a:cubicBezTo>
                  <a:pt x="96479" y="230055"/>
                  <a:pt x="98677" y="228150"/>
                  <a:pt x="101241" y="228150"/>
                </a:cubicBezTo>
                <a:close/>
                <a:moveTo>
                  <a:pt x="200627" y="218815"/>
                </a:moveTo>
                <a:lnTo>
                  <a:pt x="200627" y="252086"/>
                </a:lnTo>
                <a:lnTo>
                  <a:pt x="233713" y="252086"/>
                </a:lnTo>
                <a:lnTo>
                  <a:pt x="233713" y="218815"/>
                </a:lnTo>
                <a:lnTo>
                  <a:pt x="200627" y="218815"/>
                </a:lnTo>
                <a:close/>
                <a:moveTo>
                  <a:pt x="158911" y="218815"/>
                </a:moveTo>
                <a:lnTo>
                  <a:pt x="158911" y="252086"/>
                </a:lnTo>
                <a:lnTo>
                  <a:pt x="191996" y="252086"/>
                </a:lnTo>
                <a:lnTo>
                  <a:pt x="191996" y="218815"/>
                </a:lnTo>
                <a:lnTo>
                  <a:pt x="158911" y="218815"/>
                </a:lnTo>
                <a:close/>
                <a:moveTo>
                  <a:pt x="200627" y="176866"/>
                </a:moveTo>
                <a:lnTo>
                  <a:pt x="200627" y="210136"/>
                </a:lnTo>
                <a:lnTo>
                  <a:pt x="233713" y="210136"/>
                </a:lnTo>
                <a:lnTo>
                  <a:pt x="233713" y="176866"/>
                </a:lnTo>
                <a:lnTo>
                  <a:pt x="200627" y="176866"/>
                </a:lnTo>
                <a:close/>
                <a:moveTo>
                  <a:pt x="158911" y="176866"/>
                </a:moveTo>
                <a:lnTo>
                  <a:pt x="158911" y="210136"/>
                </a:lnTo>
                <a:lnTo>
                  <a:pt x="191996" y="210136"/>
                </a:lnTo>
                <a:lnTo>
                  <a:pt x="191996" y="176866"/>
                </a:lnTo>
                <a:lnTo>
                  <a:pt x="158911" y="176866"/>
                </a:lnTo>
                <a:close/>
                <a:moveTo>
                  <a:pt x="62895" y="176588"/>
                </a:moveTo>
                <a:lnTo>
                  <a:pt x="62895" y="287417"/>
                </a:lnTo>
                <a:lnTo>
                  <a:pt x="113570" y="287417"/>
                </a:lnTo>
                <a:lnTo>
                  <a:pt x="113570" y="176588"/>
                </a:lnTo>
                <a:lnTo>
                  <a:pt x="62895" y="176588"/>
                </a:lnTo>
                <a:close/>
                <a:moveTo>
                  <a:pt x="154595" y="167825"/>
                </a:moveTo>
                <a:lnTo>
                  <a:pt x="238029" y="167825"/>
                </a:lnTo>
                <a:cubicBezTo>
                  <a:pt x="240546" y="167825"/>
                  <a:pt x="242704" y="169995"/>
                  <a:pt x="242704" y="172526"/>
                </a:cubicBezTo>
                <a:lnTo>
                  <a:pt x="242704" y="252086"/>
                </a:lnTo>
                <a:lnTo>
                  <a:pt x="247019" y="252086"/>
                </a:lnTo>
                <a:cubicBezTo>
                  <a:pt x="249896" y="252086"/>
                  <a:pt x="251695" y="254255"/>
                  <a:pt x="251695" y="256425"/>
                </a:cubicBezTo>
                <a:cubicBezTo>
                  <a:pt x="251695" y="258957"/>
                  <a:pt x="249896" y="261126"/>
                  <a:pt x="247019" y="261126"/>
                </a:cubicBezTo>
                <a:lnTo>
                  <a:pt x="145604" y="261126"/>
                </a:lnTo>
                <a:cubicBezTo>
                  <a:pt x="143087" y="261126"/>
                  <a:pt x="140929" y="258957"/>
                  <a:pt x="140929" y="256425"/>
                </a:cubicBezTo>
                <a:cubicBezTo>
                  <a:pt x="140929" y="254255"/>
                  <a:pt x="143087" y="252086"/>
                  <a:pt x="145604" y="252086"/>
                </a:cubicBezTo>
                <a:lnTo>
                  <a:pt x="149920" y="252086"/>
                </a:lnTo>
                <a:lnTo>
                  <a:pt x="149920" y="172526"/>
                </a:lnTo>
                <a:cubicBezTo>
                  <a:pt x="149920" y="169995"/>
                  <a:pt x="152078" y="167825"/>
                  <a:pt x="154595" y="167825"/>
                </a:cubicBezTo>
                <a:close/>
                <a:moveTo>
                  <a:pt x="27314" y="140605"/>
                </a:moveTo>
                <a:lnTo>
                  <a:pt x="27314" y="287417"/>
                </a:lnTo>
                <a:lnTo>
                  <a:pt x="53910" y="287417"/>
                </a:lnTo>
                <a:lnTo>
                  <a:pt x="53910" y="176588"/>
                </a:lnTo>
                <a:lnTo>
                  <a:pt x="49597" y="176588"/>
                </a:lnTo>
                <a:cubicBezTo>
                  <a:pt x="47081" y="176588"/>
                  <a:pt x="44925" y="174789"/>
                  <a:pt x="44925" y="172270"/>
                </a:cubicBezTo>
                <a:cubicBezTo>
                  <a:pt x="44925" y="169751"/>
                  <a:pt x="47081" y="167592"/>
                  <a:pt x="49597" y="167592"/>
                </a:cubicBezTo>
                <a:lnTo>
                  <a:pt x="127228" y="167592"/>
                </a:lnTo>
                <a:cubicBezTo>
                  <a:pt x="129743" y="167592"/>
                  <a:pt x="131540" y="169751"/>
                  <a:pt x="131540" y="172270"/>
                </a:cubicBezTo>
                <a:cubicBezTo>
                  <a:pt x="131540" y="174789"/>
                  <a:pt x="129743" y="176588"/>
                  <a:pt x="127228" y="176588"/>
                </a:cubicBezTo>
                <a:lnTo>
                  <a:pt x="122555" y="176588"/>
                </a:lnTo>
                <a:lnTo>
                  <a:pt x="122555" y="287417"/>
                </a:lnTo>
                <a:lnTo>
                  <a:pt x="269190" y="287417"/>
                </a:lnTo>
                <a:lnTo>
                  <a:pt x="269190" y="140605"/>
                </a:lnTo>
                <a:lnTo>
                  <a:pt x="27314" y="140605"/>
                </a:lnTo>
                <a:close/>
                <a:moveTo>
                  <a:pt x="126551" y="86636"/>
                </a:moveTo>
                <a:cubicBezTo>
                  <a:pt x="128728" y="96796"/>
                  <a:pt x="137799" y="104416"/>
                  <a:pt x="148685" y="104416"/>
                </a:cubicBezTo>
                <a:cubicBezTo>
                  <a:pt x="159571" y="104416"/>
                  <a:pt x="168642" y="96796"/>
                  <a:pt x="170819" y="86636"/>
                </a:cubicBezTo>
                <a:lnTo>
                  <a:pt x="126551" y="86636"/>
                </a:lnTo>
                <a:close/>
                <a:moveTo>
                  <a:pt x="148685" y="59421"/>
                </a:moveTo>
                <a:cubicBezTo>
                  <a:pt x="137799" y="59421"/>
                  <a:pt x="128728" y="67404"/>
                  <a:pt x="126551" y="77564"/>
                </a:cubicBezTo>
                <a:lnTo>
                  <a:pt x="170819" y="77564"/>
                </a:lnTo>
                <a:cubicBezTo>
                  <a:pt x="168642" y="67404"/>
                  <a:pt x="159571" y="59421"/>
                  <a:pt x="148685" y="59421"/>
                </a:cubicBezTo>
                <a:close/>
                <a:moveTo>
                  <a:pt x="148685" y="50350"/>
                </a:moveTo>
                <a:cubicBezTo>
                  <a:pt x="166102" y="50350"/>
                  <a:pt x="180253" y="64501"/>
                  <a:pt x="180253" y="81919"/>
                </a:cubicBezTo>
                <a:cubicBezTo>
                  <a:pt x="180253" y="99336"/>
                  <a:pt x="166102" y="113487"/>
                  <a:pt x="148685" y="113487"/>
                </a:cubicBezTo>
                <a:cubicBezTo>
                  <a:pt x="131268" y="113487"/>
                  <a:pt x="117116" y="99336"/>
                  <a:pt x="117116" y="81919"/>
                </a:cubicBezTo>
                <a:cubicBezTo>
                  <a:pt x="117116" y="64501"/>
                  <a:pt x="131268" y="50350"/>
                  <a:pt x="148685" y="50350"/>
                </a:cubicBezTo>
                <a:close/>
                <a:moveTo>
                  <a:pt x="148073" y="10705"/>
                </a:moveTo>
                <a:lnTo>
                  <a:pt x="16173" y="131609"/>
                </a:lnTo>
                <a:lnTo>
                  <a:pt x="279972" y="131609"/>
                </a:lnTo>
                <a:lnTo>
                  <a:pt x="148073" y="10705"/>
                </a:lnTo>
                <a:close/>
                <a:moveTo>
                  <a:pt x="144838" y="1349"/>
                </a:moveTo>
                <a:cubicBezTo>
                  <a:pt x="146635" y="-450"/>
                  <a:pt x="149510" y="-450"/>
                  <a:pt x="150948" y="1349"/>
                </a:cubicBezTo>
                <a:lnTo>
                  <a:pt x="294348" y="132689"/>
                </a:lnTo>
                <a:cubicBezTo>
                  <a:pt x="295785" y="134128"/>
                  <a:pt x="296145" y="136287"/>
                  <a:pt x="295785" y="138086"/>
                </a:cubicBezTo>
                <a:cubicBezTo>
                  <a:pt x="295067" y="139525"/>
                  <a:pt x="293270" y="140605"/>
                  <a:pt x="291473" y="140605"/>
                </a:cubicBezTo>
                <a:lnTo>
                  <a:pt x="277816" y="140605"/>
                </a:lnTo>
                <a:lnTo>
                  <a:pt x="277816" y="287417"/>
                </a:lnTo>
                <a:lnTo>
                  <a:pt x="291473" y="287417"/>
                </a:lnTo>
                <a:cubicBezTo>
                  <a:pt x="293988" y="287417"/>
                  <a:pt x="295785" y="289216"/>
                  <a:pt x="295785" y="291735"/>
                </a:cubicBezTo>
                <a:cubicBezTo>
                  <a:pt x="295785" y="294254"/>
                  <a:pt x="293988" y="296053"/>
                  <a:pt x="291473" y="296053"/>
                </a:cubicBezTo>
                <a:lnTo>
                  <a:pt x="4672" y="296053"/>
                </a:lnTo>
                <a:cubicBezTo>
                  <a:pt x="2157" y="296053"/>
                  <a:pt x="0" y="294254"/>
                  <a:pt x="0" y="291735"/>
                </a:cubicBezTo>
                <a:cubicBezTo>
                  <a:pt x="0" y="289216"/>
                  <a:pt x="2157" y="287417"/>
                  <a:pt x="4672" y="287417"/>
                </a:cubicBezTo>
                <a:lnTo>
                  <a:pt x="17970" y="287417"/>
                </a:lnTo>
                <a:lnTo>
                  <a:pt x="17970" y="140605"/>
                </a:lnTo>
                <a:lnTo>
                  <a:pt x="4672" y="140605"/>
                </a:lnTo>
                <a:cubicBezTo>
                  <a:pt x="2875" y="140605"/>
                  <a:pt x="1078" y="139525"/>
                  <a:pt x="719" y="138086"/>
                </a:cubicBezTo>
                <a:cubicBezTo>
                  <a:pt x="-359" y="136287"/>
                  <a:pt x="360" y="134128"/>
                  <a:pt x="1797" y="132689"/>
                </a:cubicBezTo>
                <a:lnTo>
                  <a:pt x="144838" y="1349"/>
                </a:ln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52" name="Freeform 925">
            <a:extLst>
              <a:ext uri="{FF2B5EF4-FFF2-40B4-BE49-F238E27FC236}">
                <a16:creationId xmlns:a16="http://schemas.microsoft.com/office/drawing/2014/main" id="{C6D20E4C-BD30-B147-835B-44FB56FB0249}"/>
              </a:ext>
            </a:extLst>
          </p:cNvPr>
          <p:cNvSpPr>
            <a:spLocks noChangeArrowheads="1"/>
          </p:cNvSpPr>
          <p:nvPr/>
        </p:nvSpPr>
        <p:spPr bwMode="auto">
          <a:xfrm>
            <a:off x="2225644" y="4115244"/>
            <a:ext cx="294633" cy="294632"/>
          </a:xfrm>
          <a:custGeom>
            <a:avLst/>
            <a:gdLst>
              <a:gd name="T0" fmla="*/ 3007814 w 296468"/>
              <a:gd name="T1" fmla="*/ 2671164 h 296502"/>
              <a:gd name="T2" fmla="*/ 2672307 w 296468"/>
              <a:gd name="T3" fmla="*/ 3002582 h 296502"/>
              <a:gd name="T4" fmla="*/ 2794662 w 296468"/>
              <a:gd name="T5" fmla="*/ 3124909 h 296502"/>
              <a:gd name="T6" fmla="*/ 2909135 w 296468"/>
              <a:gd name="T7" fmla="*/ 3124909 h 296502"/>
              <a:gd name="T8" fmla="*/ 3126228 w 296468"/>
              <a:gd name="T9" fmla="*/ 2907897 h 296502"/>
              <a:gd name="T10" fmla="*/ 3145972 w 296468"/>
              <a:gd name="T11" fmla="*/ 2848704 h 296502"/>
              <a:gd name="T12" fmla="*/ 3126228 w 296468"/>
              <a:gd name="T13" fmla="*/ 2789524 h 296502"/>
              <a:gd name="T14" fmla="*/ 2545989 w 296468"/>
              <a:gd name="T15" fmla="*/ 2213474 h 296502"/>
              <a:gd name="T16" fmla="*/ 2210469 w 296468"/>
              <a:gd name="T17" fmla="*/ 2544908 h 296502"/>
              <a:gd name="T18" fmla="*/ 2601251 w 296468"/>
              <a:gd name="T19" fmla="*/ 2935524 h 296502"/>
              <a:gd name="T20" fmla="*/ 2936777 w 296468"/>
              <a:gd name="T21" fmla="*/ 2604098 h 296502"/>
              <a:gd name="T22" fmla="*/ 1230706 w 296468"/>
              <a:gd name="T23" fmla="*/ 729311 h 296502"/>
              <a:gd name="T24" fmla="*/ 1282486 w 296468"/>
              <a:gd name="T25" fmla="*/ 777079 h 296502"/>
              <a:gd name="T26" fmla="*/ 1230706 w 296468"/>
              <a:gd name="T27" fmla="*/ 828802 h 296502"/>
              <a:gd name="T28" fmla="*/ 808397 w 296468"/>
              <a:gd name="T29" fmla="*/ 1250635 h 296502"/>
              <a:gd name="T30" fmla="*/ 760604 w 296468"/>
              <a:gd name="T31" fmla="*/ 1298386 h 296502"/>
              <a:gd name="T32" fmla="*/ 712783 w 296468"/>
              <a:gd name="T33" fmla="*/ 1250635 h 296502"/>
              <a:gd name="T34" fmla="*/ 1230706 w 296468"/>
              <a:gd name="T35" fmla="*/ 729311 h 296502"/>
              <a:gd name="T36" fmla="*/ 1230357 w 296468"/>
              <a:gd name="T37" fmla="*/ 498344 h 296502"/>
              <a:gd name="T38" fmla="*/ 481533 w 296468"/>
              <a:gd name="T39" fmla="*/ 1250279 h 296502"/>
              <a:gd name="T40" fmla="*/ 1230357 w 296468"/>
              <a:gd name="T41" fmla="*/ 1998248 h 296502"/>
              <a:gd name="T42" fmla="*/ 1983162 w 296468"/>
              <a:gd name="T43" fmla="*/ 1250279 h 296502"/>
              <a:gd name="T44" fmla="*/ 1230357 w 296468"/>
              <a:gd name="T45" fmla="*/ 498344 h 296502"/>
              <a:gd name="T46" fmla="*/ 1230357 w 296468"/>
              <a:gd name="T47" fmla="*/ 399412 h 296502"/>
              <a:gd name="T48" fmla="*/ 2082209 w 296468"/>
              <a:gd name="T49" fmla="*/ 1250279 h 296502"/>
              <a:gd name="T50" fmla="*/ 1230357 w 296468"/>
              <a:gd name="T51" fmla="*/ 2097186 h 296502"/>
              <a:gd name="T52" fmla="*/ 382486 w 296468"/>
              <a:gd name="T53" fmla="*/ 1250279 h 296502"/>
              <a:gd name="T54" fmla="*/ 1230357 w 296468"/>
              <a:gd name="T55" fmla="*/ 399412 h 296502"/>
              <a:gd name="T56" fmla="*/ 1235498 w 296468"/>
              <a:gd name="T57" fmla="*/ 98644 h 296502"/>
              <a:gd name="T58" fmla="*/ 94765 w 296468"/>
              <a:gd name="T59" fmla="*/ 1238910 h 296502"/>
              <a:gd name="T60" fmla="*/ 1235498 w 296468"/>
              <a:gd name="T61" fmla="*/ 2379179 h 296502"/>
              <a:gd name="T62" fmla="*/ 1898644 w 296468"/>
              <a:gd name="T63" fmla="*/ 2166126 h 296502"/>
              <a:gd name="T64" fmla="*/ 1926269 w 296468"/>
              <a:gd name="T65" fmla="*/ 2158246 h 296502"/>
              <a:gd name="T66" fmla="*/ 1961790 w 296468"/>
              <a:gd name="T67" fmla="*/ 2174006 h 296502"/>
              <a:gd name="T68" fmla="*/ 2202580 w 296468"/>
              <a:gd name="T69" fmla="*/ 2414696 h 296502"/>
              <a:gd name="T70" fmla="*/ 2411779 w 296468"/>
              <a:gd name="T71" fmla="*/ 2201639 h 296502"/>
              <a:gd name="T72" fmla="*/ 2171001 w 296468"/>
              <a:gd name="T73" fmla="*/ 1964913 h 296502"/>
              <a:gd name="T74" fmla="*/ 2167056 w 296468"/>
              <a:gd name="T75" fmla="*/ 1897828 h 296502"/>
              <a:gd name="T76" fmla="*/ 2380217 w 296468"/>
              <a:gd name="T77" fmla="*/ 1238910 h 296502"/>
              <a:gd name="T78" fmla="*/ 1235498 w 296468"/>
              <a:gd name="T79" fmla="*/ 98644 h 296502"/>
              <a:gd name="T80" fmla="*/ 1235498 w 296468"/>
              <a:gd name="T81" fmla="*/ 0 h 296502"/>
              <a:gd name="T82" fmla="*/ 2478894 w 296468"/>
              <a:gd name="T83" fmla="*/ 1238910 h 296502"/>
              <a:gd name="T84" fmla="*/ 2269686 w 296468"/>
              <a:gd name="T85" fmla="*/ 1921498 h 296502"/>
              <a:gd name="T86" fmla="*/ 2482824 w 296468"/>
              <a:gd name="T87" fmla="*/ 2134559 h 296502"/>
              <a:gd name="T88" fmla="*/ 2510454 w 296468"/>
              <a:gd name="T89" fmla="*/ 2106949 h 296502"/>
              <a:gd name="T90" fmla="*/ 2577573 w 296468"/>
              <a:gd name="T91" fmla="*/ 2106949 h 296502"/>
              <a:gd name="T92" fmla="*/ 3193359 w 296468"/>
              <a:gd name="T93" fmla="*/ 2722461 h 296502"/>
              <a:gd name="T94" fmla="*/ 3193359 w 296468"/>
              <a:gd name="T95" fmla="*/ 2974970 h 296502"/>
              <a:gd name="T96" fmla="*/ 2976254 w 296468"/>
              <a:gd name="T97" fmla="*/ 3191972 h 296502"/>
              <a:gd name="T98" fmla="*/ 2849938 w 296468"/>
              <a:gd name="T99" fmla="*/ 3243260 h 296502"/>
              <a:gd name="T100" fmla="*/ 2723626 w 296468"/>
              <a:gd name="T101" fmla="*/ 3191972 h 296502"/>
              <a:gd name="T102" fmla="*/ 2107835 w 296468"/>
              <a:gd name="T103" fmla="*/ 2576475 h 296502"/>
              <a:gd name="T104" fmla="*/ 2092063 w 296468"/>
              <a:gd name="T105" fmla="*/ 2544908 h 296502"/>
              <a:gd name="T106" fmla="*/ 2107835 w 296468"/>
              <a:gd name="T107" fmla="*/ 2509399 h 296502"/>
              <a:gd name="T108" fmla="*/ 2135485 w 296468"/>
              <a:gd name="T109" fmla="*/ 2481785 h 296502"/>
              <a:gd name="T110" fmla="*/ 1922324 w 296468"/>
              <a:gd name="T111" fmla="*/ 2272662 h 296502"/>
              <a:gd name="T112" fmla="*/ 1235498 w 296468"/>
              <a:gd name="T113" fmla="*/ 2477819 h 296502"/>
              <a:gd name="T114" fmla="*/ 0 w 296468"/>
              <a:gd name="T115" fmla="*/ 1238910 h 296502"/>
              <a:gd name="T116" fmla="*/ 1235498 w 296468"/>
              <a:gd name="T117" fmla="*/ 0 h 2965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6468" h="296502">
                <a:moveTo>
                  <a:pt x="274661" y="244200"/>
                </a:moveTo>
                <a:lnTo>
                  <a:pt x="244023" y="274499"/>
                </a:lnTo>
                <a:lnTo>
                  <a:pt x="255197" y="285681"/>
                </a:lnTo>
                <a:cubicBezTo>
                  <a:pt x="257720" y="288206"/>
                  <a:pt x="262766" y="288206"/>
                  <a:pt x="265650" y="285681"/>
                </a:cubicBezTo>
                <a:lnTo>
                  <a:pt x="285474" y="265842"/>
                </a:lnTo>
                <a:cubicBezTo>
                  <a:pt x="286555" y="264399"/>
                  <a:pt x="287276" y="262596"/>
                  <a:pt x="287276" y="260431"/>
                </a:cubicBezTo>
                <a:cubicBezTo>
                  <a:pt x="287276" y="258628"/>
                  <a:pt x="286555" y="256464"/>
                  <a:pt x="285474" y="255021"/>
                </a:cubicBezTo>
                <a:lnTo>
                  <a:pt x="274661" y="244200"/>
                </a:lnTo>
                <a:close/>
                <a:moveTo>
                  <a:pt x="232488" y="202357"/>
                </a:moveTo>
                <a:lnTo>
                  <a:pt x="201850" y="232657"/>
                </a:lnTo>
                <a:lnTo>
                  <a:pt x="237535" y="268367"/>
                </a:lnTo>
                <a:lnTo>
                  <a:pt x="268173" y="238068"/>
                </a:lnTo>
                <a:lnTo>
                  <a:pt x="232488" y="202357"/>
                </a:lnTo>
                <a:close/>
                <a:moveTo>
                  <a:pt x="112382" y="66675"/>
                </a:moveTo>
                <a:cubicBezTo>
                  <a:pt x="114929" y="66675"/>
                  <a:pt x="117111" y="68494"/>
                  <a:pt x="117111" y="71041"/>
                </a:cubicBezTo>
                <a:cubicBezTo>
                  <a:pt x="117111" y="73587"/>
                  <a:pt x="114929" y="75770"/>
                  <a:pt x="112382" y="75770"/>
                </a:cubicBezTo>
                <a:cubicBezTo>
                  <a:pt x="91282" y="75770"/>
                  <a:pt x="73819" y="92869"/>
                  <a:pt x="73819" y="114334"/>
                </a:cubicBezTo>
                <a:cubicBezTo>
                  <a:pt x="73819" y="116880"/>
                  <a:pt x="72000" y="118699"/>
                  <a:pt x="69454" y="118699"/>
                </a:cubicBezTo>
                <a:cubicBezTo>
                  <a:pt x="66907" y="118699"/>
                  <a:pt x="65088" y="116880"/>
                  <a:pt x="65088" y="114334"/>
                </a:cubicBezTo>
                <a:cubicBezTo>
                  <a:pt x="65088" y="88140"/>
                  <a:pt x="86189" y="66675"/>
                  <a:pt x="112382" y="66675"/>
                </a:cubicBezTo>
                <a:close/>
                <a:moveTo>
                  <a:pt x="112351" y="45558"/>
                </a:moveTo>
                <a:cubicBezTo>
                  <a:pt x="74724" y="45558"/>
                  <a:pt x="43970" y="76311"/>
                  <a:pt x="43970" y="114301"/>
                </a:cubicBezTo>
                <a:cubicBezTo>
                  <a:pt x="43970" y="151928"/>
                  <a:pt x="74724" y="182681"/>
                  <a:pt x="112351" y="182681"/>
                </a:cubicBezTo>
                <a:cubicBezTo>
                  <a:pt x="150340" y="182681"/>
                  <a:pt x="181093" y="151928"/>
                  <a:pt x="181093" y="114301"/>
                </a:cubicBezTo>
                <a:cubicBezTo>
                  <a:pt x="181093" y="76311"/>
                  <a:pt x="150340" y="45558"/>
                  <a:pt x="112351" y="45558"/>
                </a:cubicBezTo>
                <a:close/>
                <a:moveTo>
                  <a:pt x="112351" y="36513"/>
                </a:moveTo>
                <a:cubicBezTo>
                  <a:pt x="155405" y="36513"/>
                  <a:pt x="190138" y="71608"/>
                  <a:pt x="190138" y="114301"/>
                </a:cubicBezTo>
                <a:cubicBezTo>
                  <a:pt x="190138" y="156993"/>
                  <a:pt x="155405" y="191726"/>
                  <a:pt x="112351" y="191726"/>
                </a:cubicBezTo>
                <a:cubicBezTo>
                  <a:pt x="69658" y="191726"/>
                  <a:pt x="34925" y="156993"/>
                  <a:pt x="34925" y="114301"/>
                </a:cubicBezTo>
                <a:cubicBezTo>
                  <a:pt x="34925" y="71608"/>
                  <a:pt x="69658" y="36513"/>
                  <a:pt x="112351" y="36513"/>
                </a:cubicBezTo>
                <a:close/>
                <a:moveTo>
                  <a:pt x="112820" y="9018"/>
                </a:moveTo>
                <a:cubicBezTo>
                  <a:pt x="55509" y="9018"/>
                  <a:pt x="8651" y="55910"/>
                  <a:pt x="8651" y="113262"/>
                </a:cubicBezTo>
                <a:cubicBezTo>
                  <a:pt x="8651" y="170615"/>
                  <a:pt x="55509" y="217507"/>
                  <a:pt x="112820" y="217507"/>
                </a:cubicBezTo>
                <a:cubicBezTo>
                  <a:pt x="134807" y="217507"/>
                  <a:pt x="155713" y="211014"/>
                  <a:pt x="173375" y="198029"/>
                </a:cubicBezTo>
                <a:cubicBezTo>
                  <a:pt x="174096" y="197308"/>
                  <a:pt x="175177" y="197308"/>
                  <a:pt x="175898" y="197308"/>
                </a:cubicBezTo>
                <a:cubicBezTo>
                  <a:pt x="176980" y="197308"/>
                  <a:pt x="178421" y="197668"/>
                  <a:pt x="179142" y="198750"/>
                </a:cubicBezTo>
                <a:lnTo>
                  <a:pt x="201130" y="220754"/>
                </a:lnTo>
                <a:lnTo>
                  <a:pt x="220233" y="201275"/>
                </a:lnTo>
                <a:lnTo>
                  <a:pt x="198246" y="179633"/>
                </a:lnTo>
                <a:cubicBezTo>
                  <a:pt x="196804" y="177829"/>
                  <a:pt x="196444" y="175304"/>
                  <a:pt x="197886" y="173501"/>
                </a:cubicBezTo>
                <a:cubicBezTo>
                  <a:pt x="210501" y="155826"/>
                  <a:pt x="217350" y="134905"/>
                  <a:pt x="217350" y="113262"/>
                </a:cubicBezTo>
                <a:cubicBezTo>
                  <a:pt x="217350" y="55910"/>
                  <a:pt x="170492" y="9018"/>
                  <a:pt x="112820" y="9018"/>
                </a:cubicBezTo>
                <a:close/>
                <a:moveTo>
                  <a:pt x="112820" y="0"/>
                </a:moveTo>
                <a:cubicBezTo>
                  <a:pt x="175538" y="0"/>
                  <a:pt x="226361" y="50860"/>
                  <a:pt x="226361" y="113262"/>
                </a:cubicBezTo>
                <a:cubicBezTo>
                  <a:pt x="226361" y="135626"/>
                  <a:pt x="219512" y="156908"/>
                  <a:pt x="207257" y="175665"/>
                </a:cubicBezTo>
                <a:lnTo>
                  <a:pt x="226721" y="195143"/>
                </a:lnTo>
                <a:lnTo>
                  <a:pt x="229244" y="192618"/>
                </a:lnTo>
                <a:cubicBezTo>
                  <a:pt x="231047" y="190815"/>
                  <a:pt x="233570" y="190815"/>
                  <a:pt x="235372" y="192618"/>
                </a:cubicBezTo>
                <a:lnTo>
                  <a:pt x="291602" y="248889"/>
                </a:lnTo>
                <a:cubicBezTo>
                  <a:pt x="298090" y="255021"/>
                  <a:pt x="298090" y="265842"/>
                  <a:pt x="291602" y="271974"/>
                </a:cubicBezTo>
                <a:lnTo>
                  <a:pt x="271777" y="291813"/>
                </a:lnTo>
                <a:cubicBezTo>
                  <a:pt x="268533" y="295060"/>
                  <a:pt x="264568" y="296502"/>
                  <a:pt x="260243" y="296502"/>
                </a:cubicBezTo>
                <a:cubicBezTo>
                  <a:pt x="255918" y="296502"/>
                  <a:pt x="251953" y="295060"/>
                  <a:pt x="248709" y="291813"/>
                </a:cubicBezTo>
                <a:lnTo>
                  <a:pt x="192479" y="235543"/>
                </a:lnTo>
                <a:cubicBezTo>
                  <a:pt x="191398" y="234821"/>
                  <a:pt x="191037" y="233739"/>
                  <a:pt x="191037" y="232657"/>
                </a:cubicBezTo>
                <a:cubicBezTo>
                  <a:pt x="191037" y="231575"/>
                  <a:pt x="191398" y="230132"/>
                  <a:pt x="192479" y="229411"/>
                </a:cubicBezTo>
                <a:lnTo>
                  <a:pt x="195002" y="226886"/>
                </a:lnTo>
                <a:lnTo>
                  <a:pt x="175538" y="207768"/>
                </a:lnTo>
                <a:cubicBezTo>
                  <a:pt x="157155" y="220032"/>
                  <a:pt x="135528" y="226525"/>
                  <a:pt x="112820" y="226525"/>
                </a:cubicBezTo>
                <a:cubicBezTo>
                  <a:pt x="50823" y="226525"/>
                  <a:pt x="0" y="175665"/>
                  <a:pt x="0" y="113262"/>
                </a:cubicBezTo>
                <a:cubicBezTo>
                  <a:pt x="0" y="50860"/>
                  <a:pt x="50823" y="0"/>
                  <a:pt x="112820"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53" name="Freeform 926">
            <a:extLst>
              <a:ext uri="{FF2B5EF4-FFF2-40B4-BE49-F238E27FC236}">
                <a16:creationId xmlns:a16="http://schemas.microsoft.com/office/drawing/2014/main" id="{2CE9F44A-1D78-A543-839E-D99936647DAB}"/>
              </a:ext>
            </a:extLst>
          </p:cNvPr>
          <p:cNvSpPr>
            <a:spLocks noChangeArrowheads="1"/>
          </p:cNvSpPr>
          <p:nvPr/>
        </p:nvSpPr>
        <p:spPr bwMode="auto">
          <a:xfrm>
            <a:off x="7634598" y="5497387"/>
            <a:ext cx="294632" cy="294632"/>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27" name="Titel 1">
            <a:extLst>
              <a:ext uri="{FF2B5EF4-FFF2-40B4-BE49-F238E27FC236}">
                <a16:creationId xmlns:a16="http://schemas.microsoft.com/office/drawing/2014/main" id="{5129D834-E284-43BF-84E1-BC94D1D0ED8A}"/>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Business infographic</a:t>
            </a:r>
          </a:p>
        </p:txBody>
      </p:sp>
    </p:spTree>
    <p:custDataLst>
      <p:tags r:id="rId1"/>
    </p:custDataLst>
    <p:extLst>
      <p:ext uri="{BB962C8B-B14F-4D97-AF65-F5344CB8AC3E}">
        <p14:creationId xmlns:p14="http://schemas.microsoft.com/office/powerpoint/2010/main" val="1473632921"/>
      </p:ext>
    </p:extLst>
  </p:cSld>
  <p:clrMapOvr>
    <a:masterClrMapping/>
  </p:clrMapOvr>
  <mc:AlternateContent xmlns:mc="http://schemas.openxmlformats.org/markup-compatibility/2006" xmlns:p14="http://schemas.microsoft.com/office/powerpoint/2010/main">
    <mc:Choice Requires="p14">
      <p:transition spd="med">
        <p14:pan/>
      </p:transition>
    </mc:Choice>
    <mc:Fallback xmlns:a16="http://schemas.microsoft.com/office/drawing/2014/main"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54073">
            <a:extLst>
              <a:ext uri="{FF2B5EF4-FFF2-40B4-BE49-F238E27FC236}">
                <a16:creationId xmlns:a16="http://schemas.microsoft.com/office/drawing/2014/main" id="{174D91EF-3FC5-8640-956D-4BBC57477933}"/>
              </a:ext>
            </a:extLst>
          </p:cNvPr>
          <p:cNvGrpSpPr/>
          <p:nvPr/>
        </p:nvGrpSpPr>
        <p:grpSpPr>
          <a:xfrm>
            <a:off x="4715758" y="4892202"/>
            <a:ext cx="2760486" cy="1965799"/>
            <a:chOff x="0" y="0"/>
            <a:chExt cx="3926022" cy="2795801"/>
          </a:xfrm>
        </p:grpSpPr>
        <p:grpSp>
          <p:nvGrpSpPr>
            <p:cNvPr id="5" name="Group 54064">
              <a:extLst>
                <a:ext uri="{FF2B5EF4-FFF2-40B4-BE49-F238E27FC236}">
                  <a16:creationId xmlns:a16="http://schemas.microsoft.com/office/drawing/2014/main" id="{6CD65F54-FDBD-7046-B5A3-6823B54FE61F}"/>
                </a:ext>
              </a:extLst>
            </p:cNvPr>
            <p:cNvGrpSpPr/>
            <p:nvPr/>
          </p:nvGrpSpPr>
          <p:grpSpPr>
            <a:xfrm>
              <a:off x="0" y="0"/>
              <a:ext cx="1233710" cy="2795802"/>
              <a:chOff x="0" y="0"/>
              <a:chExt cx="1233709" cy="2795801"/>
            </a:xfrm>
          </p:grpSpPr>
          <p:grpSp>
            <p:nvGrpSpPr>
              <p:cNvPr id="14" name="Group 54060">
                <a:extLst>
                  <a:ext uri="{FF2B5EF4-FFF2-40B4-BE49-F238E27FC236}">
                    <a16:creationId xmlns:a16="http://schemas.microsoft.com/office/drawing/2014/main" id="{3448070F-B018-D846-A1DE-0A93804CDDC3}"/>
                  </a:ext>
                </a:extLst>
              </p:cNvPr>
              <p:cNvGrpSpPr/>
              <p:nvPr/>
            </p:nvGrpSpPr>
            <p:grpSpPr>
              <a:xfrm>
                <a:off x="132610" y="0"/>
                <a:ext cx="981299" cy="1900107"/>
                <a:chOff x="0" y="0"/>
                <a:chExt cx="981297" cy="1900106"/>
              </a:xfrm>
            </p:grpSpPr>
            <p:sp>
              <p:nvSpPr>
                <p:cNvPr id="18" name="Shape 54057">
                  <a:extLst>
                    <a:ext uri="{FF2B5EF4-FFF2-40B4-BE49-F238E27FC236}">
                      <a16:creationId xmlns:a16="http://schemas.microsoft.com/office/drawing/2014/main" id="{DBDB6714-8341-1D46-8ED9-58260338B3AB}"/>
                    </a:ext>
                  </a:extLst>
                </p:cNvPr>
                <p:cNvSpPr/>
                <p:nvPr/>
              </p:nvSpPr>
              <p:spPr>
                <a:xfrm>
                  <a:off x="0" y="0"/>
                  <a:ext cx="981298" cy="1900107"/>
                </a:xfrm>
                <a:custGeom>
                  <a:avLst/>
                  <a:gdLst/>
                  <a:ahLst/>
                  <a:cxnLst>
                    <a:cxn ang="0">
                      <a:pos x="wd2" y="hd2"/>
                    </a:cxn>
                    <a:cxn ang="5400000">
                      <a:pos x="wd2" y="hd2"/>
                    </a:cxn>
                    <a:cxn ang="10800000">
                      <a:pos x="wd2" y="hd2"/>
                    </a:cxn>
                    <a:cxn ang="16200000">
                      <a:pos x="wd2" y="hd2"/>
                    </a:cxn>
                  </a:cxnLst>
                  <a:rect l="0" t="0" r="r" b="b"/>
                  <a:pathLst>
                    <a:path w="19908" h="18982" extrusionOk="0">
                      <a:moveTo>
                        <a:pt x="4976" y="17957"/>
                      </a:moveTo>
                      <a:cubicBezTo>
                        <a:pt x="4976" y="17957"/>
                        <a:pt x="-1056" y="11664"/>
                        <a:pt x="163" y="7585"/>
                      </a:cubicBezTo>
                      <a:cubicBezTo>
                        <a:pt x="1380" y="3505"/>
                        <a:pt x="2357" y="627"/>
                        <a:pt x="7345" y="64"/>
                      </a:cubicBezTo>
                      <a:cubicBezTo>
                        <a:pt x="12334" y="-498"/>
                        <a:pt x="14987" y="2777"/>
                        <a:pt x="16154" y="4143"/>
                      </a:cubicBezTo>
                      <a:cubicBezTo>
                        <a:pt x="17321" y="5510"/>
                        <a:pt x="20544" y="11646"/>
                        <a:pt x="19797" y="16374"/>
                      </a:cubicBezTo>
                      <a:cubicBezTo>
                        <a:pt x="19051" y="21102"/>
                        <a:pt x="4976" y="17957"/>
                        <a:pt x="4976" y="17957"/>
                      </a:cubicBezTo>
                      <a:close/>
                    </a:path>
                  </a:pathLst>
                </a:custGeom>
                <a:solidFill>
                  <a:schemeClr val="bg1">
                    <a:lumMod val="50000"/>
                  </a:schemeClr>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sp>
              <p:nvSpPr>
                <p:cNvPr id="19" name="Shape 54058">
                  <a:extLst>
                    <a:ext uri="{FF2B5EF4-FFF2-40B4-BE49-F238E27FC236}">
                      <a16:creationId xmlns:a16="http://schemas.microsoft.com/office/drawing/2014/main" id="{ACF06422-6CE8-614A-8E63-D5A3E48CAA32}"/>
                    </a:ext>
                  </a:extLst>
                </p:cNvPr>
                <p:cNvSpPr/>
                <p:nvPr/>
              </p:nvSpPr>
              <p:spPr>
                <a:xfrm>
                  <a:off x="44203" y="66305"/>
                  <a:ext cx="915497" cy="1772640"/>
                </a:xfrm>
                <a:custGeom>
                  <a:avLst/>
                  <a:gdLst/>
                  <a:ahLst/>
                  <a:cxnLst>
                    <a:cxn ang="0">
                      <a:pos x="wd2" y="hd2"/>
                    </a:cxn>
                    <a:cxn ang="5400000">
                      <a:pos x="wd2" y="hd2"/>
                    </a:cxn>
                    <a:cxn ang="10800000">
                      <a:pos x="wd2" y="hd2"/>
                    </a:cxn>
                    <a:cxn ang="16200000">
                      <a:pos x="wd2" y="hd2"/>
                    </a:cxn>
                  </a:cxnLst>
                  <a:rect l="0" t="0" r="r" b="b"/>
                  <a:pathLst>
                    <a:path w="19909" h="18982" extrusionOk="0">
                      <a:moveTo>
                        <a:pt x="4976" y="17957"/>
                      </a:moveTo>
                      <a:cubicBezTo>
                        <a:pt x="4976" y="17957"/>
                        <a:pt x="-1056" y="11664"/>
                        <a:pt x="162" y="7584"/>
                      </a:cubicBezTo>
                      <a:cubicBezTo>
                        <a:pt x="1380" y="3505"/>
                        <a:pt x="2357" y="626"/>
                        <a:pt x="7345" y="64"/>
                      </a:cubicBezTo>
                      <a:cubicBezTo>
                        <a:pt x="12333" y="-498"/>
                        <a:pt x="14986" y="2777"/>
                        <a:pt x="16154" y="4144"/>
                      </a:cubicBezTo>
                      <a:cubicBezTo>
                        <a:pt x="17321" y="5510"/>
                        <a:pt x="20544" y="11647"/>
                        <a:pt x="19797" y="16374"/>
                      </a:cubicBezTo>
                      <a:cubicBezTo>
                        <a:pt x="19051" y="21102"/>
                        <a:pt x="4976" y="17957"/>
                        <a:pt x="4976" y="17957"/>
                      </a:cubicBezTo>
                      <a:close/>
                    </a:path>
                  </a:pathLst>
                </a:custGeom>
                <a:solidFill>
                  <a:schemeClr val="bg1">
                    <a:lumMod val="65000"/>
                  </a:schemeClr>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sp>
              <p:nvSpPr>
                <p:cNvPr id="20" name="Shape 54059">
                  <a:extLst>
                    <a:ext uri="{FF2B5EF4-FFF2-40B4-BE49-F238E27FC236}">
                      <a16:creationId xmlns:a16="http://schemas.microsoft.com/office/drawing/2014/main" id="{EFD82D14-F828-FB45-9E47-B9DD4664A6B7}"/>
                    </a:ext>
                  </a:extLst>
                </p:cNvPr>
                <p:cNvSpPr/>
                <p:nvPr/>
              </p:nvSpPr>
              <p:spPr>
                <a:xfrm>
                  <a:off x="309424" y="740408"/>
                  <a:ext cx="420308" cy="514430"/>
                </a:xfrm>
                <a:custGeom>
                  <a:avLst/>
                  <a:gdLst/>
                  <a:ahLst/>
                  <a:cxnLst>
                    <a:cxn ang="0">
                      <a:pos x="wd2" y="hd2"/>
                    </a:cxn>
                    <a:cxn ang="5400000">
                      <a:pos x="wd2" y="hd2"/>
                    </a:cxn>
                    <a:cxn ang="10800000">
                      <a:pos x="wd2" y="hd2"/>
                    </a:cxn>
                    <a:cxn ang="16200000">
                      <a:pos x="wd2" y="hd2"/>
                    </a:cxn>
                  </a:cxnLst>
                  <a:rect l="0" t="0" r="r" b="b"/>
                  <a:pathLst>
                    <a:path w="21321" h="21505" extrusionOk="0">
                      <a:moveTo>
                        <a:pt x="5073" y="11772"/>
                      </a:moveTo>
                      <a:lnTo>
                        <a:pt x="9784" y="7488"/>
                      </a:lnTo>
                      <a:lnTo>
                        <a:pt x="16246" y="9733"/>
                      </a:lnTo>
                      <a:lnTo>
                        <a:pt x="11537" y="14017"/>
                      </a:lnTo>
                      <a:cubicBezTo>
                        <a:pt x="11537" y="14017"/>
                        <a:pt x="5073" y="11772"/>
                        <a:pt x="5073" y="11772"/>
                      </a:cubicBezTo>
                      <a:close/>
                      <a:moveTo>
                        <a:pt x="20689" y="17198"/>
                      </a:moveTo>
                      <a:lnTo>
                        <a:pt x="13552" y="14718"/>
                      </a:lnTo>
                      <a:lnTo>
                        <a:pt x="18753" y="9987"/>
                      </a:lnTo>
                      <a:cubicBezTo>
                        <a:pt x="18816" y="9929"/>
                        <a:pt x="18851" y="9859"/>
                        <a:pt x="18893" y="9793"/>
                      </a:cubicBezTo>
                      <a:cubicBezTo>
                        <a:pt x="18905" y="9774"/>
                        <a:pt x="18930" y="9766"/>
                        <a:pt x="18940" y="9746"/>
                      </a:cubicBezTo>
                      <a:cubicBezTo>
                        <a:pt x="18945" y="9736"/>
                        <a:pt x="18943" y="9726"/>
                        <a:pt x="18947" y="9718"/>
                      </a:cubicBezTo>
                      <a:cubicBezTo>
                        <a:pt x="18972" y="9663"/>
                        <a:pt x="18977" y="9608"/>
                        <a:pt x="18988" y="9552"/>
                      </a:cubicBezTo>
                      <a:cubicBezTo>
                        <a:pt x="18999" y="9497"/>
                        <a:pt x="19018" y="9446"/>
                        <a:pt x="19016" y="9392"/>
                      </a:cubicBezTo>
                      <a:cubicBezTo>
                        <a:pt x="19014" y="9343"/>
                        <a:pt x="18994" y="9296"/>
                        <a:pt x="18982" y="9246"/>
                      </a:cubicBezTo>
                      <a:cubicBezTo>
                        <a:pt x="18966" y="9190"/>
                        <a:pt x="18959" y="9130"/>
                        <a:pt x="18930" y="9077"/>
                      </a:cubicBezTo>
                      <a:cubicBezTo>
                        <a:pt x="18909" y="9037"/>
                        <a:pt x="18872" y="9004"/>
                        <a:pt x="18844" y="8967"/>
                      </a:cubicBezTo>
                      <a:cubicBezTo>
                        <a:pt x="18799" y="8909"/>
                        <a:pt x="18758" y="8853"/>
                        <a:pt x="18699" y="8805"/>
                      </a:cubicBezTo>
                      <a:cubicBezTo>
                        <a:pt x="18692" y="8800"/>
                        <a:pt x="18688" y="8792"/>
                        <a:pt x="18681" y="8787"/>
                      </a:cubicBezTo>
                      <a:cubicBezTo>
                        <a:pt x="18641" y="8756"/>
                        <a:pt x="18592" y="8745"/>
                        <a:pt x="18549" y="8722"/>
                      </a:cubicBezTo>
                      <a:cubicBezTo>
                        <a:pt x="18495" y="8692"/>
                        <a:pt x="18452" y="8653"/>
                        <a:pt x="18390" y="8632"/>
                      </a:cubicBezTo>
                      <a:lnTo>
                        <a:pt x="11253" y="6151"/>
                      </a:lnTo>
                      <a:lnTo>
                        <a:pt x="16454" y="1421"/>
                      </a:lnTo>
                      <a:cubicBezTo>
                        <a:pt x="16837" y="1073"/>
                        <a:pt x="16805" y="534"/>
                        <a:pt x="16383" y="220"/>
                      </a:cubicBezTo>
                      <a:cubicBezTo>
                        <a:pt x="15961" y="-95"/>
                        <a:pt x="15308" y="-68"/>
                        <a:pt x="14925" y="279"/>
                      </a:cubicBezTo>
                      <a:lnTo>
                        <a:pt x="9237" y="5451"/>
                      </a:lnTo>
                      <a:lnTo>
                        <a:pt x="1433" y="2739"/>
                      </a:lnTo>
                      <a:cubicBezTo>
                        <a:pt x="911" y="2562"/>
                        <a:pt x="302" y="2759"/>
                        <a:pt x="81" y="3192"/>
                      </a:cubicBezTo>
                      <a:cubicBezTo>
                        <a:pt x="-140" y="3626"/>
                        <a:pt x="106" y="4124"/>
                        <a:pt x="631" y="4307"/>
                      </a:cubicBezTo>
                      <a:lnTo>
                        <a:pt x="7768" y="6788"/>
                      </a:lnTo>
                      <a:lnTo>
                        <a:pt x="2567" y="11518"/>
                      </a:lnTo>
                      <a:cubicBezTo>
                        <a:pt x="2528" y="11554"/>
                        <a:pt x="2512" y="11598"/>
                        <a:pt x="2481" y="11637"/>
                      </a:cubicBezTo>
                      <a:cubicBezTo>
                        <a:pt x="2448" y="11679"/>
                        <a:pt x="2405" y="11712"/>
                        <a:pt x="2381" y="11759"/>
                      </a:cubicBezTo>
                      <a:cubicBezTo>
                        <a:pt x="2377" y="11767"/>
                        <a:pt x="2379" y="11777"/>
                        <a:pt x="2375" y="11785"/>
                      </a:cubicBezTo>
                      <a:cubicBezTo>
                        <a:pt x="2346" y="11845"/>
                        <a:pt x="2340" y="11906"/>
                        <a:pt x="2329" y="11968"/>
                      </a:cubicBezTo>
                      <a:cubicBezTo>
                        <a:pt x="2321" y="12016"/>
                        <a:pt x="2303" y="12062"/>
                        <a:pt x="2305" y="12111"/>
                      </a:cubicBezTo>
                      <a:cubicBezTo>
                        <a:pt x="2306" y="12167"/>
                        <a:pt x="2328" y="12218"/>
                        <a:pt x="2344" y="12275"/>
                      </a:cubicBezTo>
                      <a:cubicBezTo>
                        <a:pt x="2357" y="12327"/>
                        <a:pt x="2363" y="12378"/>
                        <a:pt x="2390" y="12426"/>
                      </a:cubicBezTo>
                      <a:cubicBezTo>
                        <a:pt x="2412" y="12471"/>
                        <a:pt x="2452" y="12507"/>
                        <a:pt x="2485" y="12547"/>
                      </a:cubicBezTo>
                      <a:cubicBezTo>
                        <a:pt x="2528" y="12600"/>
                        <a:pt x="2565" y="12653"/>
                        <a:pt x="2621" y="12698"/>
                      </a:cubicBezTo>
                      <a:cubicBezTo>
                        <a:pt x="2628" y="12705"/>
                        <a:pt x="2631" y="12713"/>
                        <a:pt x="2639" y="12718"/>
                      </a:cubicBezTo>
                      <a:cubicBezTo>
                        <a:pt x="2691" y="12758"/>
                        <a:pt x="2754" y="12778"/>
                        <a:pt x="2814" y="12806"/>
                      </a:cubicBezTo>
                      <a:cubicBezTo>
                        <a:pt x="2855" y="12828"/>
                        <a:pt x="2886" y="12856"/>
                        <a:pt x="2931" y="12872"/>
                      </a:cubicBezTo>
                      <a:lnTo>
                        <a:pt x="10068" y="15353"/>
                      </a:lnTo>
                      <a:lnTo>
                        <a:pt x="4867" y="20083"/>
                      </a:lnTo>
                      <a:cubicBezTo>
                        <a:pt x="4484" y="20433"/>
                        <a:pt x="4516" y="20970"/>
                        <a:pt x="4939" y="21284"/>
                      </a:cubicBezTo>
                      <a:cubicBezTo>
                        <a:pt x="5136" y="21432"/>
                        <a:pt x="5384" y="21505"/>
                        <a:pt x="5632" y="21505"/>
                      </a:cubicBezTo>
                      <a:cubicBezTo>
                        <a:pt x="5913" y="21505"/>
                        <a:pt x="6193" y="21410"/>
                        <a:pt x="6396" y="21226"/>
                      </a:cubicBezTo>
                      <a:lnTo>
                        <a:pt x="12083" y="16054"/>
                      </a:lnTo>
                      <a:lnTo>
                        <a:pt x="19887" y="18765"/>
                      </a:lnTo>
                      <a:cubicBezTo>
                        <a:pt x="20018" y="18810"/>
                        <a:pt x="20154" y="18832"/>
                        <a:pt x="20288" y="18832"/>
                      </a:cubicBezTo>
                      <a:cubicBezTo>
                        <a:pt x="20690" y="18832"/>
                        <a:pt x="21073" y="18638"/>
                        <a:pt x="21239" y="18312"/>
                      </a:cubicBezTo>
                      <a:cubicBezTo>
                        <a:pt x="21460" y="17879"/>
                        <a:pt x="21214" y="17381"/>
                        <a:pt x="20689" y="17198"/>
                      </a:cubicBezTo>
                      <a:close/>
                    </a:path>
                  </a:pathLst>
                </a:custGeom>
                <a:solidFill>
                  <a:schemeClr val="bg1">
                    <a:lumMod val="50000"/>
                  </a:schemeClr>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grpSp>
          <p:grpSp>
            <p:nvGrpSpPr>
              <p:cNvPr id="15" name="Group 54063">
                <a:extLst>
                  <a:ext uri="{FF2B5EF4-FFF2-40B4-BE49-F238E27FC236}">
                    <a16:creationId xmlns:a16="http://schemas.microsoft.com/office/drawing/2014/main" id="{EAAE92F6-FCEC-7747-8962-C4B235E39EE9}"/>
                  </a:ext>
                </a:extLst>
              </p:cNvPr>
              <p:cNvGrpSpPr/>
              <p:nvPr/>
            </p:nvGrpSpPr>
            <p:grpSpPr>
              <a:xfrm>
                <a:off x="0" y="1337154"/>
                <a:ext cx="1233710" cy="1458648"/>
                <a:chOff x="0" y="0"/>
                <a:chExt cx="1233709" cy="1458646"/>
              </a:xfrm>
            </p:grpSpPr>
            <p:sp>
              <p:nvSpPr>
                <p:cNvPr id="16" name="Shape 54061">
                  <a:extLst>
                    <a:ext uri="{FF2B5EF4-FFF2-40B4-BE49-F238E27FC236}">
                      <a16:creationId xmlns:a16="http://schemas.microsoft.com/office/drawing/2014/main" id="{1C61BCA0-BAF4-4549-A71E-C3FBB60109E4}"/>
                    </a:ext>
                  </a:extLst>
                </p:cNvPr>
                <p:cNvSpPr/>
                <p:nvPr/>
              </p:nvSpPr>
              <p:spPr>
                <a:xfrm>
                  <a:off x="0" y="0"/>
                  <a:ext cx="1233710" cy="1458647"/>
                </a:xfrm>
                <a:custGeom>
                  <a:avLst/>
                  <a:gdLst/>
                  <a:ahLst/>
                  <a:cxnLst>
                    <a:cxn ang="0">
                      <a:pos x="wd2" y="hd2"/>
                    </a:cxn>
                    <a:cxn ang="5400000">
                      <a:pos x="wd2" y="hd2"/>
                    </a:cxn>
                    <a:cxn ang="10800000">
                      <a:pos x="wd2" y="hd2"/>
                    </a:cxn>
                    <a:cxn ang="16200000">
                      <a:pos x="wd2" y="hd2"/>
                    </a:cxn>
                  </a:cxnLst>
                  <a:rect l="0" t="0" r="r" b="b"/>
                  <a:pathLst>
                    <a:path w="21600" h="21072" extrusionOk="0">
                      <a:moveTo>
                        <a:pt x="0" y="21072"/>
                      </a:moveTo>
                      <a:lnTo>
                        <a:pt x="6527" y="2621"/>
                      </a:lnTo>
                      <a:cubicBezTo>
                        <a:pt x="6527" y="2621"/>
                        <a:pt x="7278" y="565"/>
                        <a:pt x="10838" y="76"/>
                      </a:cubicBezTo>
                      <a:cubicBezTo>
                        <a:pt x="15228" y="-528"/>
                        <a:pt x="19583" y="2523"/>
                        <a:pt x="20413" y="8399"/>
                      </a:cubicBezTo>
                      <a:cubicBezTo>
                        <a:pt x="21244" y="14274"/>
                        <a:pt x="21600" y="21072"/>
                        <a:pt x="21600" y="21072"/>
                      </a:cubicBezTo>
                      <a:cubicBezTo>
                        <a:pt x="21600" y="21072"/>
                        <a:pt x="0" y="21072"/>
                        <a:pt x="0" y="21072"/>
                      </a:cubicBezTo>
                      <a:close/>
                    </a:path>
                  </a:pathLst>
                </a:custGeom>
                <a:solidFill>
                  <a:schemeClr val="accent4"/>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sp>
              <p:nvSpPr>
                <p:cNvPr id="17" name="Shape 54062">
                  <a:extLst>
                    <a:ext uri="{FF2B5EF4-FFF2-40B4-BE49-F238E27FC236}">
                      <a16:creationId xmlns:a16="http://schemas.microsoft.com/office/drawing/2014/main" id="{AA851D5E-9515-6F4B-A1E0-CBD31FDDB767}"/>
                    </a:ext>
                  </a:extLst>
                </p:cNvPr>
                <p:cNvSpPr/>
                <p:nvPr/>
              </p:nvSpPr>
              <p:spPr>
                <a:xfrm>
                  <a:off x="0" y="0"/>
                  <a:ext cx="695962" cy="1458028"/>
                </a:xfrm>
                <a:custGeom>
                  <a:avLst/>
                  <a:gdLst/>
                  <a:ahLst/>
                  <a:cxnLst>
                    <a:cxn ang="0">
                      <a:pos x="wd2" y="hd2"/>
                    </a:cxn>
                    <a:cxn ang="5400000">
                      <a:pos x="wd2" y="hd2"/>
                    </a:cxn>
                    <a:cxn ang="10800000">
                      <a:pos x="wd2" y="hd2"/>
                    </a:cxn>
                    <a:cxn ang="16200000">
                      <a:pos x="wd2" y="hd2"/>
                    </a:cxn>
                  </a:cxnLst>
                  <a:rect l="0" t="0" r="r" b="b"/>
                  <a:pathLst>
                    <a:path w="21600" h="21591" extrusionOk="0">
                      <a:moveTo>
                        <a:pt x="18385" y="21591"/>
                      </a:moveTo>
                      <a:lnTo>
                        <a:pt x="21600" y="4"/>
                      </a:lnTo>
                      <a:cubicBezTo>
                        <a:pt x="20798" y="-9"/>
                        <a:pt x="19998" y="5"/>
                        <a:pt x="19212" y="68"/>
                      </a:cubicBezTo>
                      <a:cubicBezTo>
                        <a:pt x="12901" y="569"/>
                        <a:pt x="11571" y="2677"/>
                        <a:pt x="11571" y="2677"/>
                      </a:cubicBezTo>
                      <a:lnTo>
                        <a:pt x="0" y="21591"/>
                      </a:lnTo>
                      <a:cubicBezTo>
                        <a:pt x="0" y="21591"/>
                        <a:pt x="18385" y="21591"/>
                        <a:pt x="18385" y="21591"/>
                      </a:cubicBezTo>
                      <a:close/>
                    </a:path>
                  </a:pathLst>
                </a:custGeom>
                <a:solidFill>
                  <a:schemeClr val="accent4">
                    <a:lumMod val="75000"/>
                  </a:schemeClr>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grpSp>
        </p:grpSp>
        <p:grpSp>
          <p:nvGrpSpPr>
            <p:cNvPr id="6" name="Group 54072">
              <a:extLst>
                <a:ext uri="{FF2B5EF4-FFF2-40B4-BE49-F238E27FC236}">
                  <a16:creationId xmlns:a16="http://schemas.microsoft.com/office/drawing/2014/main" id="{D190B9A0-F9C9-7B4D-AF01-9E7F71FFA76E}"/>
                </a:ext>
              </a:extLst>
            </p:cNvPr>
            <p:cNvGrpSpPr/>
            <p:nvPr/>
          </p:nvGrpSpPr>
          <p:grpSpPr>
            <a:xfrm>
              <a:off x="2688573" y="0"/>
              <a:ext cx="1237450" cy="2795802"/>
              <a:chOff x="0" y="0"/>
              <a:chExt cx="1237448" cy="2795801"/>
            </a:xfrm>
          </p:grpSpPr>
          <p:grpSp>
            <p:nvGrpSpPr>
              <p:cNvPr id="7" name="Group 54068">
                <a:extLst>
                  <a:ext uri="{FF2B5EF4-FFF2-40B4-BE49-F238E27FC236}">
                    <a16:creationId xmlns:a16="http://schemas.microsoft.com/office/drawing/2014/main" id="{8ECA8951-90F1-3649-B1AF-1F2070794FB4}"/>
                  </a:ext>
                </a:extLst>
              </p:cNvPr>
              <p:cNvGrpSpPr/>
              <p:nvPr/>
            </p:nvGrpSpPr>
            <p:grpSpPr>
              <a:xfrm>
                <a:off x="121560" y="0"/>
                <a:ext cx="981280" cy="1900107"/>
                <a:chOff x="0" y="0"/>
                <a:chExt cx="981279" cy="1900106"/>
              </a:xfrm>
            </p:grpSpPr>
            <p:sp>
              <p:nvSpPr>
                <p:cNvPr id="11" name="Shape 54065">
                  <a:extLst>
                    <a:ext uri="{FF2B5EF4-FFF2-40B4-BE49-F238E27FC236}">
                      <a16:creationId xmlns:a16="http://schemas.microsoft.com/office/drawing/2014/main" id="{945AE9D3-1A62-E148-8523-9E51AE2CEB0B}"/>
                    </a:ext>
                  </a:extLst>
                </p:cNvPr>
                <p:cNvSpPr/>
                <p:nvPr/>
              </p:nvSpPr>
              <p:spPr>
                <a:xfrm>
                  <a:off x="0" y="0"/>
                  <a:ext cx="981280" cy="1900107"/>
                </a:xfrm>
                <a:custGeom>
                  <a:avLst/>
                  <a:gdLst/>
                  <a:ahLst/>
                  <a:cxnLst>
                    <a:cxn ang="0">
                      <a:pos x="wd2" y="hd2"/>
                    </a:cxn>
                    <a:cxn ang="5400000">
                      <a:pos x="wd2" y="hd2"/>
                    </a:cxn>
                    <a:cxn ang="10800000">
                      <a:pos x="wd2" y="hd2"/>
                    </a:cxn>
                    <a:cxn ang="16200000">
                      <a:pos x="wd2" y="hd2"/>
                    </a:cxn>
                  </a:cxnLst>
                  <a:rect l="0" t="0" r="r" b="b"/>
                  <a:pathLst>
                    <a:path w="19908" h="18982" extrusionOk="0">
                      <a:moveTo>
                        <a:pt x="14932" y="17957"/>
                      </a:moveTo>
                      <a:cubicBezTo>
                        <a:pt x="14932" y="17957"/>
                        <a:pt x="20964" y="11664"/>
                        <a:pt x="19746" y="7585"/>
                      </a:cubicBezTo>
                      <a:cubicBezTo>
                        <a:pt x="18528" y="3505"/>
                        <a:pt x="17550" y="627"/>
                        <a:pt x="12562" y="64"/>
                      </a:cubicBezTo>
                      <a:cubicBezTo>
                        <a:pt x="7574" y="-498"/>
                        <a:pt x="4922" y="2777"/>
                        <a:pt x="3754" y="4143"/>
                      </a:cubicBezTo>
                      <a:cubicBezTo>
                        <a:pt x="2586" y="5510"/>
                        <a:pt x="-636" y="11646"/>
                        <a:pt x="111" y="16374"/>
                      </a:cubicBezTo>
                      <a:cubicBezTo>
                        <a:pt x="857" y="21102"/>
                        <a:pt x="14932" y="17957"/>
                        <a:pt x="14932" y="17957"/>
                      </a:cubicBezTo>
                      <a:close/>
                    </a:path>
                  </a:pathLst>
                </a:custGeom>
                <a:solidFill>
                  <a:schemeClr val="bg1">
                    <a:lumMod val="50000"/>
                  </a:schemeClr>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sp>
              <p:nvSpPr>
                <p:cNvPr id="12" name="Shape 54066">
                  <a:extLst>
                    <a:ext uri="{FF2B5EF4-FFF2-40B4-BE49-F238E27FC236}">
                      <a16:creationId xmlns:a16="http://schemas.microsoft.com/office/drawing/2014/main" id="{C620C769-CFF5-2B47-940A-DA4EF159EE94}"/>
                    </a:ext>
                  </a:extLst>
                </p:cNvPr>
                <p:cNvSpPr/>
                <p:nvPr/>
              </p:nvSpPr>
              <p:spPr>
                <a:xfrm>
                  <a:off x="22101" y="66305"/>
                  <a:ext cx="915510" cy="1772640"/>
                </a:xfrm>
                <a:custGeom>
                  <a:avLst/>
                  <a:gdLst/>
                  <a:ahLst/>
                  <a:cxnLst>
                    <a:cxn ang="0">
                      <a:pos x="wd2" y="hd2"/>
                    </a:cxn>
                    <a:cxn ang="5400000">
                      <a:pos x="wd2" y="hd2"/>
                    </a:cxn>
                    <a:cxn ang="10800000">
                      <a:pos x="wd2" y="hd2"/>
                    </a:cxn>
                    <a:cxn ang="16200000">
                      <a:pos x="wd2" y="hd2"/>
                    </a:cxn>
                  </a:cxnLst>
                  <a:rect l="0" t="0" r="r" b="b"/>
                  <a:pathLst>
                    <a:path w="19908" h="18982" extrusionOk="0">
                      <a:moveTo>
                        <a:pt x="14932" y="17957"/>
                      </a:moveTo>
                      <a:cubicBezTo>
                        <a:pt x="14932" y="17957"/>
                        <a:pt x="20964" y="11664"/>
                        <a:pt x="19746" y="7584"/>
                      </a:cubicBezTo>
                      <a:cubicBezTo>
                        <a:pt x="18528" y="3505"/>
                        <a:pt x="17551" y="626"/>
                        <a:pt x="12563" y="64"/>
                      </a:cubicBezTo>
                      <a:cubicBezTo>
                        <a:pt x="7574" y="-498"/>
                        <a:pt x="4922" y="2777"/>
                        <a:pt x="3755" y="4144"/>
                      </a:cubicBezTo>
                      <a:cubicBezTo>
                        <a:pt x="2587" y="5510"/>
                        <a:pt x="-636" y="11647"/>
                        <a:pt x="111" y="16374"/>
                      </a:cubicBezTo>
                      <a:cubicBezTo>
                        <a:pt x="857" y="21102"/>
                        <a:pt x="14932" y="17957"/>
                        <a:pt x="14932" y="17957"/>
                      </a:cubicBezTo>
                      <a:close/>
                    </a:path>
                  </a:pathLst>
                </a:custGeom>
                <a:solidFill>
                  <a:schemeClr val="bg1">
                    <a:lumMod val="65000"/>
                  </a:schemeClr>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sp>
              <p:nvSpPr>
                <p:cNvPr id="13" name="Shape 54067">
                  <a:extLst>
                    <a:ext uri="{FF2B5EF4-FFF2-40B4-BE49-F238E27FC236}">
                      <a16:creationId xmlns:a16="http://schemas.microsoft.com/office/drawing/2014/main" id="{08556608-0D7D-7A49-972F-85BA436DCC95}"/>
                    </a:ext>
                  </a:extLst>
                </p:cNvPr>
                <p:cNvSpPr/>
                <p:nvPr/>
              </p:nvSpPr>
              <p:spPr>
                <a:xfrm>
                  <a:off x="243119" y="740408"/>
                  <a:ext cx="420323" cy="514430"/>
                </a:xfrm>
                <a:custGeom>
                  <a:avLst/>
                  <a:gdLst/>
                  <a:ahLst/>
                  <a:cxnLst>
                    <a:cxn ang="0">
                      <a:pos x="wd2" y="hd2"/>
                    </a:cxn>
                    <a:cxn ang="5400000">
                      <a:pos x="wd2" y="hd2"/>
                    </a:cxn>
                    <a:cxn ang="10800000">
                      <a:pos x="wd2" y="hd2"/>
                    </a:cxn>
                    <a:cxn ang="16200000">
                      <a:pos x="wd2" y="hd2"/>
                    </a:cxn>
                  </a:cxnLst>
                  <a:rect l="0" t="0" r="r" b="b"/>
                  <a:pathLst>
                    <a:path w="21321" h="21505" extrusionOk="0">
                      <a:moveTo>
                        <a:pt x="9783" y="14017"/>
                      </a:moveTo>
                      <a:lnTo>
                        <a:pt x="5074" y="9733"/>
                      </a:lnTo>
                      <a:lnTo>
                        <a:pt x="11536" y="7488"/>
                      </a:lnTo>
                      <a:lnTo>
                        <a:pt x="16247" y="11772"/>
                      </a:lnTo>
                      <a:cubicBezTo>
                        <a:pt x="16247" y="11772"/>
                        <a:pt x="9783" y="14017"/>
                        <a:pt x="9783" y="14017"/>
                      </a:cubicBezTo>
                      <a:close/>
                      <a:moveTo>
                        <a:pt x="81" y="18312"/>
                      </a:moveTo>
                      <a:cubicBezTo>
                        <a:pt x="248" y="18638"/>
                        <a:pt x="631" y="18832"/>
                        <a:pt x="1031" y="18832"/>
                      </a:cubicBezTo>
                      <a:cubicBezTo>
                        <a:pt x="1167" y="18832"/>
                        <a:pt x="1302" y="18810"/>
                        <a:pt x="1434" y="18765"/>
                      </a:cubicBezTo>
                      <a:lnTo>
                        <a:pt x="9238" y="16054"/>
                      </a:lnTo>
                      <a:lnTo>
                        <a:pt x="14925" y="21226"/>
                      </a:lnTo>
                      <a:cubicBezTo>
                        <a:pt x="15127" y="21410"/>
                        <a:pt x="15409" y="21505"/>
                        <a:pt x="15689" y="21505"/>
                      </a:cubicBezTo>
                      <a:cubicBezTo>
                        <a:pt x="15936" y="21505"/>
                        <a:pt x="16184" y="21432"/>
                        <a:pt x="16382" y="21284"/>
                      </a:cubicBezTo>
                      <a:cubicBezTo>
                        <a:pt x="16803" y="20970"/>
                        <a:pt x="16835" y="20433"/>
                        <a:pt x="16453" y="20083"/>
                      </a:cubicBezTo>
                      <a:lnTo>
                        <a:pt x="11253" y="15353"/>
                      </a:lnTo>
                      <a:lnTo>
                        <a:pt x="18391" y="12872"/>
                      </a:lnTo>
                      <a:cubicBezTo>
                        <a:pt x="18435" y="12856"/>
                        <a:pt x="18466" y="12828"/>
                        <a:pt x="18508" y="12806"/>
                      </a:cubicBezTo>
                      <a:cubicBezTo>
                        <a:pt x="18566" y="12778"/>
                        <a:pt x="18629" y="12758"/>
                        <a:pt x="18681" y="12718"/>
                      </a:cubicBezTo>
                      <a:cubicBezTo>
                        <a:pt x="18689" y="12713"/>
                        <a:pt x="18693" y="12705"/>
                        <a:pt x="18701" y="12698"/>
                      </a:cubicBezTo>
                      <a:cubicBezTo>
                        <a:pt x="18756" y="12653"/>
                        <a:pt x="18793" y="12600"/>
                        <a:pt x="18834" y="12547"/>
                      </a:cubicBezTo>
                      <a:cubicBezTo>
                        <a:pt x="18868" y="12507"/>
                        <a:pt x="18908" y="12471"/>
                        <a:pt x="18931" y="12426"/>
                      </a:cubicBezTo>
                      <a:cubicBezTo>
                        <a:pt x="18957" y="12378"/>
                        <a:pt x="18963" y="12327"/>
                        <a:pt x="18977" y="12275"/>
                      </a:cubicBezTo>
                      <a:cubicBezTo>
                        <a:pt x="18991" y="12218"/>
                        <a:pt x="19015" y="12167"/>
                        <a:pt x="19015" y="12111"/>
                      </a:cubicBezTo>
                      <a:cubicBezTo>
                        <a:pt x="19017" y="12062"/>
                        <a:pt x="18999" y="12016"/>
                        <a:pt x="18991" y="11968"/>
                      </a:cubicBezTo>
                      <a:cubicBezTo>
                        <a:pt x="18979" y="11906"/>
                        <a:pt x="18975" y="11845"/>
                        <a:pt x="18947" y="11785"/>
                      </a:cubicBezTo>
                      <a:cubicBezTo>
                        <a:pt x="18943" y="11777"/>
                        <a:pt x="18943" y="11767"/>
                        <a:pt x="18938" y="11759"/>
                      </a:cubicBezTo>
                      <a:cubicBezTo>
                        <a:pt x="18914" y="11712"/>
                        <a:pt x="18872" y="11679"/>
                        <a:pt x="18840" y="11637"/>
                      </a:cubicBezTo>
                      <a:cubicBezTo>
                        <a:pt x="18810" y="11598"/>
                        <a:pt x="18793" y="11554"/>
                        <a:pt x="18753" y="11518"/>
                      </a:cubicBezTo>
                      <a:lnTo>
                        <a:pt x="13551" y="6788"/>
                      </a:lnTo>
                      <a:lnTo>
                        <a:pt x="20690" y="4307"/>
                      </a:lnTo>
                      <a:cubicBezTo>
                        <a:pt x="21215" y="4124"/>
                        <a:pt x="21461" y="3626"/>
                        <a:pt x="21240" y="3192"/>
                      </a:cubicBezTo>
                      <a:cubicBezTo>
                        <a:pt x="21018" y="2759"/>
                        <a:pt x="20409" y="2562"/>
                        <a:pt x="19888" y="2739"/>
                      </a:cubicBezTo>
                      <a:lnTo>
                        <a:pt x="12085" y="5451"/>
                      </a:lnTo>
                      <a:lnTo>
                        <a:pt x="6395" y="279"/>
                      </a:lnTo>
                      <a:cubicBezTo>
                        <a:pt x="6012" y="-68"/>
                        <a:pt x="5359" y="-95"/>
                        <a:pt x="4938" y="220"/>
                      </a:cubicBezTo>
                      <a:cubicBezTo>
                        <a:pt x="4517" y="534"/>
                        <a:pt x="4485" y="1073"/>
                        <a:pt x="4868" y="1421"/>
                      </a:cubicBezTo>
                      <a:lnTo>
                        <a:pt x="10068" y="6151"/>
                      </a:lnTo>
                      <a:lnTo>
                        <a:pt x="2930" y="8632"/>
                      </a:lnTo>
                      <a:cubicBezTo>
                        <a:pt x="2869" y="8653"/>
                        <a:pt x="2825" y="8692"/>
                        <a:pt x="2772" y="8722"/>
                      </a:cubicBezTo>
                      <a:cubicBezTo>
                        <a:pt x="2728" y="8745"/>
                        <a:pt x="2680" y="8756"/>
                        <a:pt x="2640" y="8787"/>
                      </a:cubicBezTo>
                      <a:cubicBezTo>
                        <a:pt x="2631" y="8792"/>
                        <a:pt x="2629" y="8800"/>
                        <a:pt x="2623" y="8805"/>
                      </a:cubicBezTo>
                      <a:cubicBezTo>
                        <a:pt x="2563" y="8853"/>
                        <a:pt x="2523" y="8909"/>
                        <a:pt x="2478" y="8967"/>
                      </a:cubicBezTo>
                      <a:cubicBezTo>
                        <a:pt x="2450" y="9004"/>
                        <a:pt x="2412" y="9037"/>
                        <a:pt x="2390" y="9077"/>
                      </a:cubicBezTo>
                      <a:cubicBezTo>
                        <a:pt x="2362" y="9130"/>
                        <a:pt x="2353" y="9190"/>
                        <a:pt x="2339" y="9246"/>
                      </a:cubicBezTo>
                      <a:cubicBezTo>
                        <a:pt x="2327" y="9296"/>
                        <a:pt x="2307" y="9343"/>
                        <a:pt x="2305" y="9392"/>
                      </a:cubicBezTo>
                      <a:cubicBezTo>
                        <a:pt x="2303" y="9446"/>
                        <a:pt x="2321" y="9497"/>
                        <a:pt x="2333" y="9552"/>
                      </a:cubicBezTo>
                      <a:cubicBezTo>
                        <a:pt x="2345" y="9608"/>
                        <a:pt x="2350" y="9663"/>
                        <a:pt x="2374" y="9718"/>
                      </a:cubicBezTo>
                      <a:cubicBezTo>
                        <a:pt x="2377" y="9726"/>
                        <a:pt x="2375" y="9736"/>
                        <a:pt x="2381" y="9746"/>
                      </a:cubicBezTo>
                      <a:cubicBezTo>
                        <a:pt x="2390" y="9766"/>
                        <a:pt x="2416" y="9774"/>
                        <a:pt x="2428" y="9793"/>
                      </a:cubicBezTo>
                      <a:cubicBezTo>
                        <a:pt x="2470" y="9859"/>
                        <a:pt x="2504" y="9929"/>
                        <a:pt x="2567" y="9987"/>
                      </a:cubicBezTo>
                      <a:lnTo>
                        <a:pt x="7769" y="14718"/>
                      </a:lnTo>
                      <a:lnTo>
                        <a:pt x="633" y="17198"/>
                      </a:lnTo>
                      <a:cubicBezTo>
                        <a:pt x="107" y="17381"/>
                        <a:pt x="-139" y="17879"/>
                        <a:pt x="81" y="18312"/>
                      </a:cubicBezTo>
                      <a:close/>
                    </a:path>
                  </a:pathLst>
                </a:custGeom>
                <a:solidFill>
                  <a:schemeClr val="bg1">
                    <a:lumMod val="50000"/>
                  </a:schemeClr>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grpSp>
          <p:grpSp>
            <p:nvGrpSpPr>
              <p:cNvPr id="8" name="Group 54071">
                <a:extLst>
                  <a:ext uri="{FF2B5EF4-FFF2-40B4-BE49-F238E27FC236}">
                    <a16:creationId xmlns:a16="http://schemas.microsoft.com/office/drawing/2014/main" id="{3A9D5C89-0515-724B-95A3-D8F46F604332}"/>
                  </a:ext>
                </a:extLst>
              </p:cNvPr>
              <p:cNvGrpSpPr/>
              <p:nvPr/>
            </p:nvGrpSpPr>
            <p:grpSpPr>
              <a:xfrm>
                <a:off x="-1" y="1337154"/>
                <a:ext cx="1237450" cy="1458648"/>
                <a:chOff x="0" y="0"/>
                <a:chExt cx="1237448" cy="1458646"/>
              </a:xfrm>
            </p:grpSpPr>
            <p:sp>
              <p:nvSpPr>
                <p:cNvPr id="9" name="Shape 54069">
                  <a:extLst>
                    <a:ext uri="{FF2B5EF4-FFF2-40B4-BE49-F238E27FC236}">
                      <a16:creationId xmlns:a16="http://schemas.microsoft.com/office/drawing/2014/main" id="{15210EB7-12B9-4640-BC96-ECE795B8F811}"/>
                    </a:ext>
                  </a:extLst>
                </p:cNvPr>
                <p:cNvSpPr/>
                <p:nvPr/>
              </p:nvSpPr>
              <p:spPr>
                <a:xfrm>
                  <a:off x="0" y="0"/>
                  <a:ext cx="1233705" cy="1458647"/>
                </a:xfrm>
                <a:custGeom>
                  <a:avLst/>
                  <a:gdLst/>
                  <a:ahLst/>
                  <a:cxnLst>
                    <a:cxn ang="0">
                      <a:pos x="wd2" y="hd2"/>
                    </a:cxn>
                    <a:cxn ang="5400000">
                      <a:pos x="wd2" y="hd2"/>
                    </a:cxn>
                    <a:cxn ang="10800000">
                      <a:pos x="wd2" y="hd2"/>
                    </a:cxn>
                    <a:cxn ang="16200000">
                      <a:pos x="wd2" y="hd2"/>
                    </a:cxn>
                  </a:cxnLst>
                  <a:rect l="0" t="0" r="r" b="b"/>
                  <a:pathLst>
                    <a:path w="21600" h="21072" extrusionOk="0">
                      <a:moveTo>
                        <a:pt x="21600" y="21072"/>
                      </a:moveTo>
                      <a:lnTo>
                        <a:pt x="15072" y="2621"/>
                      </a:lnTo>
                      <a:cubicBezTo>
                        <a:pt x="15072" y="2621"/>
                        <a:pt x="14323" y="565"/>
                        <a:pt x="10762" y="76"/>
                      </a:cubicBezTo>
                      <a:cubicBezTo>
                        <a:pt x="6371" y="-528"/>
                        <a:pt x="2017" y="2523"/>
                        <a:pt x="1186" y="8399"/>
                      </a:cubicBezTo>
                      <a:cubicBezTo>
                        <a:pt x="356" y="14274"/>
                        <a:pt x="0" y="21072"/>
                        <a:pt x="0" y="21072"/>
                      </a:cubicBezTo>
                      <a:cubicBezTo>
                        <a:pt x="0" y="21072"/>
                        <a:pt x="21600" y="21072"/>
                        <a:pt x="21600" y="21072"/>
                      </a:cubicBezTo>
                      <a:close/>
                    </a:path>
                  </a:pathLst>
                </a:custGeom>
                <a:solidFill>
                  <a:schemeClr val="accent4">
                    <a:lumMod val="75000"/>
                  </a:schemeClr>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sp>
              <p:nvSpPr>
                <p:cNvPr id="10" name="Shape 54070">
                  <a:extLst>
                    <a:ext uri="{FF2B5EF4-FFF2-40B4-BE49-F238E27FC236}">
                      <a16:creationId xmlns:a16="http://schemas.microsoft.com/office/drawing/2014/main" id="{AC483EDD-CB4C-2A44-B507-7725B9590D53}"/>
                    </a:ext>
                  </a:extLst>
                </p:cNvPr>
                <p:cNvSpPr/>
                <p:nvPr/>
              </p:nvSpPr>
              <p:spPr>
                <a:xfrm>
                  <a:off x="541492" y="0"/>
                  <a:ext cx="695957" cy="1458028"/>
                </a:xfrm>
                <a:custGeom>
                  <a:avLst/>
                  <a:gdLst/>
                  <a:ahLst/>
                  <a:cxnLst>
                    <a:cxn ang="0">
                      <a:pos x="wd2" y="hd2"/>
                    </a:cxn>
                    <a:cxn ang="5400000">
                      <a:pos x="wd2" y="hd2"/>
                    </a:cxn>
                    <a:cxn ang="10800000">
                      <a:pos x="wd2" y="hd2"/>
                    </a:cxn>
                    <a:cxn ang="16200000">
                      <a:pos x="wd2" y="hd2"/>
                    </a:cxn>
                  </a:cxnLst>
                  <a:rect l="0" t="0" r="r" b="b"/>
                  <a:pathLst>
                    <a:path w="21600" h="21591" extrusionOk="0">
                      <a:moveTo>
                        <a:pt x="3215" y="21591"/>
                      </a:moveTo>
                      <a:lnTo>
                        <a:pt x="0" y="4"/>
                      </a:lnTo>
                      <a:cubicBezTo>
                        <a:pt x="803" y="-9"/>
                        <a:pt x="1601" y="5"/>
                        <a:pt x="2388" y="68"/>
                      </a:cubicBezTo>
                      <a:cubicBezTo>
                        <a:pt x="8699" y="569"/>
                        <a:pt x="10028" y="2677"/>
                        <a:pt x="10028" y="2677"/>
                      </a:cubicBezTo>
                      <a:lnTo>
                        <a:pt x="21600" y="21591"/>
                      </a:lnTo>
                      <a:cubicBezTo>
                        <a:pt x="21600" y="21591"/>
                        <a:pt x="3215" y="21591"/>
                        <a:pt x="3215" y="21591"/>
                      </a:cubicBezTo>
                      <a:close/>
                    </a:path>
                  </a:pathLst>
                </a:custGeom>
                <a:solidFill>
                  <a:schemeClr val="accent4"/>
                </a:solidFill>
                <a:ln w="12700" cap="flat">
                  <a:noFill/>
                  <a:miter lim="400000"/>
                </a:ln>
                <a:effectLst/>
              </p:spPr>
              <p:txBody>
                <a:bodyPr wrap="square" lIns="26789" tIns="26789" rIns="26789" bIns="26789" numCol="1" anchor="ctr">
                  <a:noAutofit/>
                </a:bodyPr>
                <a:lstStyle/>
                <a:p>
                  <a:endParaRPr lang="en-US" sz="2532" dirty="0">
                    <a:latin typeface="Lato Light" panose="020F0502020204030203" pitchFamily="34" charset="0"/>
                  </a:endParaRPr>
                </a:p>
              </p:txBody>
            </p:sp>
          </p:grpSp>
        </p:grpSp>
      </p:grpSp>
      <p:grpSp>
        <p:nvGrpSpPr>
          <p:cNvPr id="38" name="Group 37">
            <a:extLst>
              <a:ext uri="{FF2B5EF4-FFF2-40B4-BE49-F238E27FC236}">
                <a16:creationId xmlns:a16="http://schemas.microsoft.com/office/drawing/2014/main" id="{881BCF84-8856-7A49-B94C-2537C472CF68}"/>
              </a:ext>
            </a:extLst>
          </p:cNvPr>
          <p:cNvGrpSpPr/>
          <p:nvPr/>
        </p:nvGrpSpPr>
        <p:grpSpPr>
          <a:xfrm>
            <a:off x="4022751" y="2474614"/>
            <a:ext cx="4142183" cy="2760509"/>
            <a:chOff x="8116468" y="4028303"/>
            <a:chExt cx="8284366" cy="5521017"/>
          </a:xfrm>
        </p:grpSpPr>
        <p:sp>
          <p:nvSpPr>
            <p:cNvPr id="36" name="Bent Arrow 35">
              <a:extLst>
                <a:ext uri="{FF2B5EF4-FFF2-40B4-BE49-F238E27FC236}">
                  <a16:creationId xmlns:a16="http://schemas.microsoft.com/office/drawing/2014/main" id="{866DB66B-E1D9-F847-BACC-2EE4275D579B}"/>
                </a:ext>
              </a:extLst>
            </p:cNvPr>
            <p:cNvSpPr/>
            <p:nvPr/>
          </p:nvSpPr>
          <p:spPr>
            <a:xfrm flipH="1">
              <a:off x="8116468" y="5413247"/>
              <a:ext cx="4581144" cy="4136073"/>
            </a:xfrm>
            <a:prstGeom prst="bentArrow">
              <a:avLst>
                <a:gd name="adj1" fmla="val 21434"/>
                <a:gd name="adj2" fmla="val 25000"/>
                <a:gd name="adj3" fmla="val 26783"/>
                <a:gd name="adj4" fmla="val 8405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Lato Light" panose="020F0502020204030203" pitchFamily="34" charset="0"/>
              </a:endParaRPr>
            </a:p>
          </p:txBody>
        </p:sp>
        <p:sp>
          <p:nvSpPr>
            <p:cNvPr id="37" name="Up Arrow 36">
              <a:extLst>
                <a:ext uri="{FF2B5EF4-FFF2-40B4-BE49-F238E27FC236}">
                  <a16:creationId xmlns:a16="http://schemas.microsoft.com/office/drawing/2014/main" id="{A149D7CE-F73E-EB44-BABA-E4DEBDCB7AB4}"/>
                </a:ext>
              </a:extLst>
            </p:cNvPr>
            <p:cNvSpPr/>
            <p:nvPr/>
          </p:nvSpPr>
          <p:spPr>
            <a:xfrm>
              <a:off x="11415252" y="4028303"/>
              <a:ext cx="1681316" cy="5521017"/>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5" name="Bent Arrow 34">
              <a:extLst>
                <a:ext uri="{FF2B5EF4-FFF2-40B4-BE49-F238E27FC236}">
                  <a16:creationId xmlns:a16="http://schemas.microsoft.com/office/drawing/2014/main" id="{E1390687-E5B2-4F4C-BDC2-717926E50A40}"/>
                </a:ext>
              </a:extLst>
            </p:cNvPr>
            <p:cNvSpPr/>
            <p:nvPr/>
          </p:nvSpPr>
          <p:spPr>
            <a:xfrm>
              <a:off x="11816666" y="5413247"/>
              <a:ext cx="4584168" cy="4136073"/>
            </a:xfrm>
            <a:prstGeom prst="bentArrow">
              <a:avLst>
                <a:gd name="adj1" fmla="val 21434"/>
                <a:gd name="adj2" fmla="val 25000"/>
                <a:gd name="adj3" fmla="val 26783"/>
                <a:gd name="adj4" fmla="val 8405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Lato Light" panose="020F0502020204030203" pitchFamily="34" charset="0"/>
              </a:endParaRPr>
            </a:p>
          </p:txBody>
        </p:sp>
      </p:grpSp>
      <p:sp>
        <p:nvSpPr>
          <p:cNvPr id="41" name="TextBox 40">
            <a:extLst>
              <a:ext uri="{FF2B5EF4-FFF2-40B4-BE49-F238E27FC236}">
                <a16:creationId xmlns:a16="http://schemas.microsoft.com/office/drawing/2014/main" id="{1EAA6BC1-B588-9649-ADD8-6D41F3E4BBE4}"/>
              </a:ext>
            </a:extLst>
          </p:cNvPr>
          <p:cNvSpPr txBox="1"/>
          <p:nvPr/>
        </p:nvSpPr>
        <p:spPr>
          <a:xfrm>
            <a:off x="8442083" y="3215123"/>
            <a:ext cx="1203791" cy="338554"/>
          </a:xfrm>
          <a:prstGeom prst="rect">
            <a:avLst/>
          </a:prstGeom>
          <a:noFill/>
        </p:spPr>
        <p:txBody>
          <a:bodyPr wrap="none" rtlCol="0" anchor="ctr"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a:t>
            </a:r>
          </a:p>
        </p:txBody>
      </p:sp>
      <p:sp>
        <p:nvSpPr>
          <p:cNvPr id="42" name="Subtitle 2">
            <a:extLst>
              <a:ext uri="{FF2B5EF4-FFF2-40B4-BE49-F238E27FC236}">
                <a16:creationId xmlns:a16="http://schemas.microsoft.com/office/drawing/2014/main" id="{D5910698-CD3D-424D-B017-1E9F9397B055}"/>
              </a:ext>
            </a:extLst>
          </p:cNvPr>
          <p:cNvSpPr txBox="1">
            <a:spLocks/>
          </p:cNvSpPr>
          <p:nvPr/>
        </p:nvSpPr>
        <p:spPr>
          <a:xfrm>
            <a:off x="8442083" y="3546345"/>
            <a:ext cx="2826945" cy="60420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500"/>
              </a:lnSpc>
            </a:pPr>
            <a:r>
              <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a:t>
            </a:r>
          </a:p>
        </p:txBody>
      </p:sp>
      <p:sp>
        <p:nvSpPr>
          <p:cNvPr id="45" name="TextBox 44">
            <a:extLst>
              <a:ext uri="{FF2B5EF4-FFF2-40B4-BE49-F238E27FC236}">
                <a16:creationId xmlns:a16="http://schemas.microsoft.com/office/drawing/2014/main" id="{2F92ED0A-C1D0-674C-97F7-6D1B2697A2AF}"/>
              </a:ext>
            </a:extLst>
          </p:cNvPr>
          <p:cNvSpPr txBox="1"/>
          <p:nvPr/>
        </p:nvSpPr>
        <p:spPr>
          <a:xfrm>
            <a:off x="2541810" y="3215123"/>
            <a:ext cx="1203791" cy="338554"/>
          </a:xfrm>
          <a:prstGeom prst="rect">
            <a:avLst/>
          </a:prstGeom>
          <a:noFill/>
        </p:spPr>
        <p:txBody>
          <a:bodyPr wrap="none" rtlCol="0" anchor="ctr" anchorCtr="0">
            <a:spAutoFit/>
          </a:bodyPr>
          <a:lstStyle/>
          <a:p>
            <a:pPr algn="r"/>
            <a:r>
              <a:rPr lang="en-US" sz="1600" b="1" dirty="0">
                <a:solidFill>
                  <a:schemeClr val="tx2"/>
                </a:solidFill>
                <a:latin typeface="Segoe UI Light" panose="020B0502040204020203" pitchFamily="34" charset="0"/>
                <a:ea typeface="League Spartan" charset="0"/>
                <a:cs typeface="Poppins" pitchFamily="2" charset="77"/>
              </a:rPr>
              <a:t>YOUR TITLE</a:t>
            </a:r>
          </a:p>
        </p:txBody>
      </p:sp>
      <p:sp>
        <p:nvSpPr>
          <p:cNvPr id="46" name="Subtitle 2">
            <a:extLst>
              <a:ext uri="{FF2B5EF4-FFF2-40B4-BE49-F238E27FC236}">
                <a16:creationId xmlns:a16="http://schemas.microsoft.com/office/drawing/2014/main" id="{28BCDD72-4566-0E44-8067-1B8DD11F95DC}"/>
              </a:ext>
            </a:extLst>
          </p:cNvPr>
          <p:cNvSpPr txBox="1">
            <a:spLocks/>
          </p:cNvSpPr>
          <p:nvPr/>
        </p:nvSpPr>
        <p:spPr>
          <a:xfrm>
            <a:off x="918657" y="3546345"/>
            <a:ext cx="2826945" cy="60420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500"/>
              </a:lnSpc>
            </a:pPr>
            <a:r>
              <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a:t>
            </a:r>
          </a:p>
        </p:txBody>
      </p:sp>
      <p:sp>
        <p:nvSpPr>
          <p:cNvPr id="48" name="TextBox 47">
            <a:extLst>
              <a:ext uri="{FF2B5EF4-FFF2-40B4-BE49-F238E27FC236}">
                <a16:creationId xmlns:a16="http://schemas.microsoft.com/office/drawing/2014/main" id="{4430AFF4-8754-F448-BEC1-655161D7E917}"/>
              </a:ext>
            </a:extLst>
          </p:cNvPr>
          <p:cNvSpPr txBox="1"/>
          <p:nvPr/>
        </p:nvSpPr>
        <p:spPr>
          <a:xfrm>
            <a:off x="4682528" y="1366439"/>
            <a:ext cx="1203791" cy="338554"/>
          </a:xfrm>
          <a:prstGeom prst="rect">
            <a:avLst/>
          </a:prstGeom>
          <a:noFill/>
        </p:spPr>
        <p:txBody>
          <a:bodyPr wrap="none" rtlCol="0" anchor="ctr"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a:t>
            </a:r>
          </a:p>
        </p:txBody>
      </p:sp>
      <p:sp>
        <p:nvSpPr>
          <p:cNvPr id="49" name="Subtitle 2">
            <a:extLst>
              <a:ext uri="{FF2B5EF4-FFF2-40B4-BE49-F238E27FC236}">
                <a16:creationId xmlns:a16="http://schemas.microsoft.com/office/drawing/2014/main" id="{902C4810-8042-3C4F-9999-642F941D48BB}"/>
              </a:ext>
            </a:extLst>
          </p:cNvPr>
          <p:cNvSpPr txBox="1">
            <a:spLocks/>
          </p:cNvSpPr>
          <p:nvPr/>
        </p:nvSpPr>
        <p:spPr>
          <a:xfrm>
            <a:off x="4682528" y="1697661"/>
            <a:ext cx="2826945" cy="60420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500"/>
              </a:lnSpc>
            </a:pPr>
            <a:r>
              <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 Aenean commodo ligula eget dolor. Aenean massa.</a:t>
            </a:r>
          </a:p>
        </p:txBody>
      </p:sp>
      <p:sp>
        <p:nvSpPr>
          <p:cNvPr id="31" name="Titel 1">
            <a:extLst>
              <a:ext uri="{FF2B5EF4-FFF2-40B4-BE49-F238E27FC236}">
                <a16:creationId xmlns:a16="http://schemas.microsoft.com/office/drawing/2014/main" id="{8EA7EB3B-A32B-436F-8BD3-C0E4BDA7ADE1}"/>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Business infographic</a:t>
            </a:r>
          </a:p>
        </p:txBody>
      </p:sp>
    </p:spTree>
    <p:custDataLst>
      <p:tags r:id="rId1"/>
    </p:custDataLst>
    <p:extLst>
      <p:ext uri="{BB962C8B-B14F-4D97-AF65-F5344CB8AC3E}">
        <p14:creationId xmlns:p14="http://schemas.microsoft.com/office/powerpoint/2010/main" val="2919467556"/>
      </p:ext>
    </p:extLst>
  </p:cSld>
  <p:clrMapOvr>
    <a:masterClrMapping/>
  </p:clrMapOvr>
  <mc:AlternateContent xmlns:mc="http://schemas.openxmlformats.org/markup-compatibility/2006" xmlns:p14="http://schemas.microsoft.com/office/powerpoint/2010/main">
    <mc:Choice Requires="p14">
      <p:transition spd="med">
        <p14:pan/>
      </p:transition>
    </mc:Choice>
    <mc:Fallback xmlns:a16="http://schemas.microsoft.com/office/drawing/2014/main"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9">
            <a:extLst>
              <a:ext uri="{FF2B5EF4-FFF2-40B4-BE49-F238E27FC236}">
                <a16:creationId xmlns:a16="http://schemas.microsoft.com/office/drawing/2014/main" id="{3AB6FA01-12FF-5342-B15F-8002AB1188A7}"/>
              </a:ext>
            </a:extLst>
          </p:cNvPr>
          <p:cNvSpPr>
            <a:spLocks/>
          </p:cNvSpPr>
          <p:nvPr/>
        </p:nvSpPr>
        <p:spPr bwMode="auto">
          <a:xfrm>
            <a:off x="6165092" y="5288758"/>
            <a:ext cx="414828" cy="513516"/>
          </a:xfrm>
          <a:custGeom>
            <a:avLst/>
            <a:gdLst>
              <a:gd name="T0" fmla="*/ 87 w 513"/>
              <a:gd name="T1" fmla="*/ 334 h 636"/>
              <a:gd name="T2" fmla="*/ 87 w 513"/>
              <a:gd name="T3" fmla="*/ 513 h 636"/>
              <a:gd name="T4" fmla="*/ 122 w 513"/>
              <a:gd name="T5" fmla="*/ 549 h 636"/>
              <a:gd name="T6" fmla="*/ 513 w 513"/>
              <a:gd name="T7" fmla="*/ 549 h 636"/>
              <a:gd name="T8" fmla="*/ 513 w 513"/>
              <a:gd name="T9" fmla="*/ 636 h 636"/>
              <a:gd name="T10" fmla="*/ 194 w 513"/>
              <a:gd name="T11" fmla="*/ 636 h 636"/>
              <a:gd name="T12" fmla="*/ 166 w 513"/>
              <a:gd name="T13" fmla="*/ 636 h 636"/>
              <a:gd name="T14" fmla="*/ 122 w 513"/>
              <a:gd name="T15" fmla="*/ 636 h 636"/>
              <a:gd name="T16" fmla="*/ 0 w 513"/>
              <a:gd name="T17" fmla="*/ 513 h 636"/>
              <a:gd name="T18" fmla="*/ 0 w 513"/>
              <a:gd name="T19" fmla="*/ 334 h 636"/>
              <a:gd name="T20" fmla="*/ 0 w 513"/>
              <a:gd name="T21" fmla="*/ 320 h 636"/>
              <a:gd name="T22" fmla="*/ 0 w 513"/>
              <a:gd name="T23" fmla="*/ 0 h 636"/>
              <a:gd name="T24" fmla="*/ 87 w 513"/>
              <a:gd name="T25" fmla="*/ 0 h 636"/>
              <a:gd name="T26" fmla="*/ 87 w 513"/>
              <a:gd name="T27" fmla="*/ 320 h 636"/>
              <a:gd name="T28" fmla="*/ 87 w 513"/>
              <a:gd name="T29" fmla="*/ 334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3" h="636">
                <a:moveTo>
                  <a:pt x="87" y="334"/>
                </a:moveTo>
                <a:cubicBezTo>
                  <a:pt x="87" y="513"/>
                  <a:pt x="87" y="513"/>
                  <a:pt x="87" y="513"/>
                </a:cubicBezTo>
                <a:cubicBezTo>
                  <a:pt x="87" y="533"/>
                  <a:pt x="103" y="549"/>
                  <a:pt x="122" y="549"/>
                </a:cubicBezTo>
                <a:cubicBezTo>
                  <a:pt x="513" y="549"/>
                  <a:pt x="513" y="549"/>
                  <a:pt x="513" y="549"/>
                </a:cubicBezTo>
                <a:cubicBezTo>
                  <a:pt x="513" y="636"/>
                  <a:pt x="513" y="636"/>
                  <a:pt x="513" y="636"/>
                </a:cubicBezTo>
                <a:cubicBezTo>
                  <a:pt x="194" y="636"/>
                  <a:pt x="194" y="636"/>
                  <a:pt x="194" y="636"/>
                </a:cubicBezTo>
                <a:cubicBezTo>
                  <a:pt x="166" y="636"/>
                  <a:pt x="166" y="636"/>
                  <a:pt x="166" y="636"/>
                </a:cubicBezTo>
                <a:cubicBezTo>
                  <a:pt x="122" y="636"/>
                  <a:pt x="122" y="636"/>
                  <a:pt x="122" y="636"/>
                </a:cubicBezTo>
                <a:cubicBezTo>
                  <a:pt x="55" y="636"/>
                  <a:pt x="0" y="581"/>
                  <a:pt x="0" y="513"/>
                </a:cubicBezTo>
                <a:cubicBezTo>
                  <a:pt x="0" y="334"/>
                  <a:pt x="0" y="334"/>
                  <a:pt x="0" y="334"/>
                </a:cubicBezTo>
                <a:cubicBezTo>
                  <a:pt x="0" y="320"/>
                  <a:pt x="0" y="320"/>
                  <a:pt x="0" y="320"/>
                </a:cubicBezTo>
                <a:cubicBezTo>
                  <a:pt x="0" y="0"/>
                  <a:pt x="0" y="0"/>
                  <a:pt x="0" y="0"/>
                </a:cubicBezTo>
                <a:cubicBezTo>
                  <a:pt x="87" y="0"/>
                  <a:pt x="87" y="0"/>
                  <a:pt x="87" y="0"/>
                </a:cubicBezTo>
                <a:cubicBezTo>
                  <a:pt x="87" y="320"/>
                  <a:pt x="87" y="320"/>
                  <a:pt x="87" y="320"/>
                </a:cubicBezTo>
                <a:lnTo>
                  <a:pt x="87" y="334"/>
                </a:lnTo>
                <a:close/>
              </a:path>
            </a:pathLst>
          </a:custGeom>
          <a:solidFill>
            <a:schemeClr val="accent4"/>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3" name="Freeform 13">
            <a:extLst>
              <a:ext uri="{FF2B5EF4-FFF2-40B4-BE49-F238E27FC236}">
                <a16:creationId xmlns:a16="http://schemas.microsoft.com/office/drawing/2014/main" id="{DF146973-695D-E948-BD83-612927D733B7}"/>
              </a:ext>
            </a:extLst>
          </p:cNvPr>
          <p:cNvSpPr>
            <a:spLocks/>
          </p:cNvSpPr>
          <p:nvPr/>
        </p:nvSpPr>
        <p:spPr bwMode="auto">
          <a:xfrm>
            <a:off x="5623831" y="5290682"/>
            <a:ext cx="414828" cy="513856"/>
          </a:xfrm>
          <a:custGeom>
            <a:avLst/>
            <a:gdLst>
              <a:gd name="T0" fmla="*/ 426 w 513"/>
              <a:gd name="T1" fmla="*/ 334 h 636"/>
              <a:gd name="T2" fmla="*/ 426 w 513"/>
              <a:gd name="T3" fmla="*/ 514 h 636"/>
              <a:gd name="T4" fmla="*/ 391 w 513"/>
              <a:gd name="T5" fmla="*/ 549 h 636"/>
              <a:gd name="T6" fmla="*/ 0 w 513"/>
              <a:gd name="T7" fmla="*/ 550 h 636"/>
              <a:gd name="T8" fmla="*/ 0 w 513"/>
              <a:gd name="T9" fmla="*/ 636 h 636"/>
              <a:gd name="T10" fmla="*/ 319 w 513"/>
              <a:gd name="T11" fmla="*/ 636 h 636"/>
              <a:gd name="T12" fmla="*/ 347 w 513"/>
              <a:gd name="T13" fmla="*/ 636 h 636"/>
              <a:gd name="T14" fmla="*/ 391 w 513"/>
              <a:gd name="T15" fmla="*/ 636 h 636"/>
              <a:gd name="T16" fmla="*/ 513 w 513"/>
              <a:gd name="T17" fmla="*/ 514 h 636"/>
              <a:gd name="T18" fmla="*/ 513 w 513"/>
              <a:gd name="T19" fmla="*/ 334 h 636"/>
              <a:gd name="T20" fmla="*/ 513 w 513"/>
              <a:gd name="T21" fmla="*/ 321 h 636"/>
              <a:gd name="T22" fmla="*/ 513 w 513"/>
              <a:gd name="T23" fmla="*/ 0 h 636"/>
              <a:gd name="T24" fmla="*/ 426 w 513"/>
              <a:gd name="T25" fmla="*/ 0 h 636"/>
              <a:gd name="T26" fmla="*/ 426 w 513"/>
              <a:gd name="T27" fmla="*/ 321 h 636"/>
              <a:gd name="T28" fmla="*/ 426 w 513"/>
              <a:gd name="T29" fmla="*/ 334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3" h="636">
                <a:moveTo>
                  <a:pt x="426" y="334"/>
                </a:moveTo>
                <a:cubicBezTo>
                  <a:pt x="426" y="514"/>
                  <a:pt x="426" y="514"/>
                  <a:pt x="426" y="514"/>
                </a:cubicBezTo>
                <a:cubicBezTo>
                  <a:pt x="426" y="533"/>
                  <a:pt x="410" y="549"/>
                  <a:pt x="391" y="549"/>
                </a:cubicBezTo>
                <a:cubicBezTo>
                  <a:pt x="0" y="550"/>
                  <a:pt x="0" y="550"/>
                  <a:pt x="0" y="550"/>
                </a:cubicBezTo>
                <a:cubicBezTo>
                  <a:pt x="0" y="636"/>
                  <a:pt x="0" y="636"/>
                  <a:pt x="0" y="636"/>
                </a:cubicBezTo>
                <a:cubicBezTo>
                  <a:pt x="319" y="636"/>
                  <a:pt x="319" y="636"/>
                  <a:pt x="319" y="636"/>
                </a:cubicBezTo>
                <a:cubicBezTo>
                  <a:pt x="347" y="636"/>
                  <a:pt x="347" y="636"/>
                  <a:pt x="347" y="636"/>
                </a:cubicBezTo>
                <a:cubicBezTo>
                  <a:pt x="391" y="636"/>
                  <a:pt x="391" y="636"/>
                  <a:pt x="391" y="636"/>
                </a:cubicBezTo>
                <a:cubicBezTo>
                  <a:pt x="458" y="636"/>
                  <a:pt x="513" y="581"/>
                  <a:pt x="513" y="514"/>
                </a:cubicBezTo>
                <a:cubicBezTo>
                  <a:pt x="513" y="334"/>
                  <a:pt x="513" y="334"/>
                  <a:pt x="513" y="334"/>
                </a:cubicBezTo>
                <a:cubicBezTo>
                  <a:pt x="513" y="321"/>
                  <a:pt x="513" y="321"/>
                  <a:pt x="513" y="321"/>
                </a:cubicBezTo>
                <a:cubicBezTo>
                  <a:pt x="513" y="0"/>
                  <a:pt x="513" y="0"/>
                  <a:pt x="513" y="0"/>
                </a:cubicBezTo>
                <a:cubicBezTo>
                  <a:pt x="426" y="0"/>
                  <a:pt x="426" y="0"/>
                  <a:pt x="426" y="0"/>
                </a:cubicBezTo>
                <a:cubicBezTo>
                  <a:pt x="426" y="321"/>
                  <a:pt x="426" y="321"/>
                  <a:pt x="426" y="321"/>
                </a:cubicBezTo>
                <a:lnTo>
                  <a:pt x="426" y="334"/>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8" name="Freeform: Shape 288">
            <a:extLst>
              <a:ext uri="{FF2B5EF4-FFF2-40B4-BE49-F238E27FC236}">
                <a16:creationId xmlns:a16="http://schemas.microsoft.com/office/drawing/2014/main" id="{56A2D0D4-71A6-7440-91F6-FC2BC2239A61}"/>
              </a:ext>
            </a:extLst>
          </p:cNvPr>
          <p:cNvSpPr>
            <a:spLocks/>
          </p:cNvSpPr>
          <p:nvPr/>
        </p:nvSpPr>
        <p:spPr bwMode="auto">
          <a:xfrm>
            <a:off x="6366674" y="1654667"/>
            <a:ext cx="1813867" cy="863271"/>
          </a:xfrm>
          <a:custGeom>
            <a:avLst/>
            <a:gdLst>
              <a:gd name="connsiteX0" fmla="*/ 960854 w 1814339"/>
              <a:gd name="connsiteY0" fmla="*/ 0 h 863496"/>
              <a:gd name="connsiteX1" fmla="*/ 1814339 w 1814339"/>
              <a:gd name="connsiteY1" fmla="*/ 0 h 863496"/>
              <a:gd name="connsiteX2" fmla="*/ 1814339 w 1814339"/>
              <a:gd name="connsiteY2" fmla="*/ 304945 h 863496"/>
              <a:gd name="connsiteX3" fmla="*/ 985884 w 1814339"/>
              <a:gd name="connsiteY3" fmla="*/ 304945 h 863496"/>
              <a:gd name="connsiteX4" fmla="*/ 985884 w 1814339"/>
              <a:gd name="connsiteY4" fmla="*/ 304959 h 863496"/>
              <a:gd name="connsiteX5" fmla="*/ 684806 w 1814339"/>
              <a:gd name="connsiteY5" fmla="*/ 306926 h 863496"/>
              <a:gd name="connsiteX6" fmla="*/ 430956 w 1814339"/>
              <a:gd name="connsiteY6" fmla="*/ 306926 h 863496"/>
              <a:gd name="connsiteX7" fmla="*/ 306982 w 1814339"/>
              <a:gd name="connsiteY7" fmla="*/ 432793 h 863496"/>
              <a:gd name="connsiteX8" fmla="*/ 306982 w 1814339"/>
              <a:gd name="connsiteY8" fmla="*/ 863496 h 863496"/>
              <a:gd name="connsiteX9" fmla="*/ 0 w 1814339"/>
              <a:gd name="connsiteY9" fmla="*/ 863496 h 863496"/>
              <a:gd name="connsiteX10" fmla="*/ 0 w 1814339"/>
              <a:gd name="connsiteY10" fmla="*/ 432793 h 863496"/>
              <a:gd name="connsiteX11" fmla="*/ 430956 w 1814339"/>
              <a:gd name="connsiteY11" fmla="*/ 124 h 863496"/>
              <a:gd name="connsiteX12" fmla="*/ 588382 w 1814339"/>
              <a:gd name="connsiteY12" fmla="*/ 124 h 863496"/>
              <a:gd name="connsiteX13" fmla="*/ 684806 w 1814339"/>
              <a:gd name="connsiteY13" fmla="*/ 124 h 863496"/>
              <a:gd name="connsiteX14" fmla="*/ 886505 w 1814339"/>
              <a:gd name="connsiteY14" fmla="*/ 124 h 863496"/>
              <a:gd name="connsiteX15" fmla="*/ 960854 w 1814339"/>
              <a:gd name="connsiteY15" fmla="*/ 124 h 863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14339" h="863496">
                <a:moveTo>
                  <a:pt x="960854" y="0"/>
                </a:moveTo>
                <a:lnTo>
                  <a:pt x="1814339" y="0"/>
                </a:lnTo>
                <a:lnTo>
                  <a:pt x="1814339" y="304945"/>
                </a:lnTo>
                <a:lnTo>
                  <a:pt x="985884" y="304945"/>
                </a:lnTo>
                <a:lnTo>
                  <a:pt x="985884" y="304959"/>
                </a:lnTo>
                <a:cubicBezTo>
                  <a:pt x="985884" y="304959"/>
                  <a:pt x="985884" y="304959"/>
                  <a:pt x="684806" y="306926"/>
                </a:cubicBezTo>
                <a:cubicBezTo>
                  <a:pt x="684806" y="306926"/>
                  <a:pt x="684806" y="306926"/>
                  <a:pt x="430956" y="306926"/>
                </a:cubicBezTo>
                <a:cubicBezTo>
                  <a:pt x="362081" y="306926"/>
                  <a:pt x="306982" y="363960"/>
                  <a:pt x="306982" y="432793"/>
                </a:cubicBezTo>
                <a:lnTo>
                  <a:pt x="306982" y="863496"/>
                </a:lnTo>
                <a:cubicBezTo>
                  <a:pt x="306982" y="863496"/>
                  <a:pt x="306982" y="863496"/>
                  <a:pt x="0" y="863496"/>
                </a:cubicBezTo>
                <a:cubicBezTo>
                  <a:pt x="0" y="863496"/>
                  <a:pt x="0" y="863496"/>
                  <a:pt x="0" y="432793"/>
                </a:cubicBezTo>
                <a:cubicBezTo>
                  <a:pt x="0" y="192859"/>
                  <a:pt x="192848" y="124"/>
                  <a:pt x="430956" y="124"/>
                </a:cubicBezTo>
                <a:cubicBezTo>
                  <a:pt x="430956" y="124"/>
                  <a:pt x="430956" y="124"/>
                  <a:pt x="588382" y="124"/>
                </a:cubicBezTo>
                <a:cubicBezTo>
                  <a:pt x="588382" y="124"/>
                  <a:pt x="588382" y="124"/>
                  <a:pt x="684806" y="124"/>
                </a:cubicBezTo>
                <a:cubicBezTo>
                  <a:pt x="684806" y="124"/>
                  <a:pt x="684806" y="124"/>
                  <a:pt x="886505" y="124"/>
                </a:cubicBezTo>
                <a:lnTo>
                  <a:pt x="960854" y="124"/>
                </a:lnTo>
                <a:close/>
              </a:path>
            </a:pathLst>
          </a:custGeom>
          <a:solidFill>
            <a:schemeClr val="accent4"/>
          </a:solidFill>
          <a:ln>
            <a:noFill/>
          </a:ln>
        </p:spPr>
        <p:txBody>
          <a:bodyPr vert="horz" wrap="square" lIns="91416" tIns="45708" rIns="91416" bIns="45708" numCol="1" anchor="t" anchorCtr="0" compatLnSpc="1">
            <a:prstTxWarp prst="textNoShape">
              <a:avLst/>
            </a:prstTxWarp>
            <a:noAutofit/>
          </a:bodyPr>
          <a:lstStyle/>
          <a:p>
            <a:endParaRPr lang="en-US" sz="3599" dirty="0"/>
          </a:p>
        </p:txBody>
      </p:sp>
      <p:sp>
        <p:nvSpPr>
          <p:cNvPr id="9" name="Freeform: Shape 289">
            <a:extLst>
              <a:ext uri="{FF2B5EF4-FFF2-40B4-BE49-F238E27FC236}">
                <a16:creationId xmlns:a16="http://schemas.microsoft.com/office/drawing/2014/main" id="{867516EB-033B-464B-8226-DC6B7BB64A82}"/>
              </a:ext>
            </a:extLst>
          </p:cNvPr>
          <p:cNvSpPr>
            <a:spLocks/>
          </p:cNvSpPr>
          <p:nvPr/>
        </p:nvSpPr>
        <p:spPr bwMode="auto">
          <a:xfrm flipH="1">
            <a:off x="4011461" y="1652693"/>
            <a:ext cx="1813867" cy="863271"/>
          </a:xfrm>
          <a:custGeom>
            <a:avLst/>
            <a:gdLst>
              <a:gd name="connsiteX0" fmla="*/ 960854 w 1814339"/>
              <a:gd name="connsiteY0" fmla="*/ 0 h 863496"/>
              <a:gd name="connsiteX1" fmla="*/ 1814339 w 1814339"/>
              <a:gd name="connsiteY1" fmla="*/ 0 h 863496"/>
              <a:gd name="connsiteX2" fmla="*/ 1814339 w 1814339"/>
              <a:gd name="connsiteY2" fmla="*/ 304945 h 863496"/>
              <a:gd name="connsiteX3" fmla="*/ 985884 w 1814339"/>
              <a:gd name="connsiteY3" fmla="*/ 304945 h 863496"/>
              <a:gd name="connsiteX4" fmla="*/ 985884 w 1814339"/>
              <a:gd name="connsiteY4" fmla="*/ 304959 h 863496"/>
              <a:gd name="connsiteX5" fmla="*/ 684806 w 1814339"/>
              <a:gd name="connsiteY5" fmla="*/ 306926 h 863496"/>
              <a:gd name="connsiteX6" fmla="*/ 430956 w 1814339"/>
              <a:gd name="connsiteY6" fmla="*/ 306926 h 863496"/>
              <a:gd name="connsiteX7" fmla="*/ 306982 w 1814339"/>
              <a:gd name="connsiteY7" fmla="*/ 432793 h 863496"/>
              <a:gd name="connsiteX8" fmla="*/ 306982 w 1814339"/>
              <a:gd name="connsiteY8" fmla="*/ 863496 h 863496"/>
              <a:gd name="connsiteX9" fmla="*/ 0 w 1814339"/>
              <a:gd name="connsiteY9" fmla="*/ 863496 h 863496"/>
              <a:gd name="connsiteX10" fmla="*/ 0 w 1814339"/>
              <a:gd name="connsiteY10" fmla="*/ 432793 h 863496"/>
              <a:gd name="connsiteX11" fmla="*/ 430956 w 1814339"/>
              <a:gd name="connsiteY11" fmla="*/ 124 h 863496"/>
              <a:gd name="connsiteX12" fmla="*/ 588382 w 1814339"/>
              <a:gd name="connsiteY12" fmla="*/ 124 h 863496"/>
              <a:gd name="connsiteX13" fmla="*/ 684806 w 1814339"/>
              <a:gd name="connsiteY13" fmla="*/ 124 h 863496"/>
              <a:gd name="connsiteX14" fmla="*/ 886505 w 1814339"/>
              <a:gd name="connsiteY14" fmla="*/ 124 h 863496"/>
              <a:gd name="connsiteX15" fmla="*/ 960854 w 1814339"/>
              <a:gd name="connsiteY15" fmla="*/ 124 h 863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14339" h="863496">
                <a:moveTo>
                  <a:pt x="960854" y="0"/>
                </a:moveTo>
                <a:lnTo>
                  <a:pt x="1814339" y="0"/>
                </a:lnTo>
                <a:lnTo>
                  <a:pt x="1814339" y="304945"/>
                </a:lnTo>
                <a:lnTo>
                  <a:pt x="985884" y="304945"/>
                </a:lnTo>
                <a:lnTo>
                  <a:pt x="985884" y="304959"/>
                </a:lnTo>
                <a:cubicBezTo>
                  <a:pt x="985884" y="304959"/>
                  <a:pt x="985884" y="304959"/>
                  <a:pt x="684806" y="306926"/>
                </a:cubicBezTo>
                <a:cubicBezTo>
                  <a:pt x="684806" y="306926"/>
                  <a:pt x="684806" y="306926"/>
                  <a:pt x="430956" y="306926"/>
                </a:cubicBezTo>
                <a:cubicBezTo>
                  <a:pt x="362081" y="306926"/>
                  <a:pt x="306982" y="363960"/>
                  <a:pt x="306982" y="432793"/>
                </a:cubicBezTo>
                <a:lnTo>
                  <a:pt x="306982" y="863496"/>
                </a:lnTo>
                <a:cubicBezTo>
                  <a:pt x="306982" y="863496"/>
                  <a:pt x="306982" y="863496"/>
                  <a:pt x="0" y="863496"/>
                </a:cubicBezTo>
                <a:cubicBezTo>
                  <a:pt x="0" y="863496"/>
                  <a:pt x="0" y="863496"/>
                  <a:pt x="0" y="432793"/>
                </a:cubicBezTo>
                <a:cubicBezTo>
                  <a:pt x="0" y="192859"/>
                  <a:pt x="192848" y="124"/>
                  <a:pt x="430956" y="124"/>
                </a:cubicBezTo>
                <a:cubicBezTo>
                  <a:pt x="430956" y="124"/>
                  <a:pt x="430956" y="124"/>
                  <a:pt x="588382" y="124"/>
                </a:cubicBezTo>
                <a:cubicBezTo>
                  <a:pt x="588382" y="124"/>
                  <a:pt x="588382" y="124"/>
                  <a:pt x="684806" y="124"/>
                </a:cubicBezTo>
                <a:cubicBezTo>
                  <a:pt x="684806" y="124"/>
                  <a:pt x="684806" y="124"/>
                  <a:pt x="886505" y="124"/>
                </a:cubicBezTo>
                <a:lnTo>
                  <a:pt x="960854" y="124"/>
                </a:lnTo>
                <a:close/>
              </a:path>
            </a:pathLst>
          </a:custGeom>
          <a:solidFill>
            <a:schemeClr val="accent1"/>
          </a:solidFill>
          <a:ln>
            <a:noFill/>
          </a:ln>
        </p:spPr>
        <p:txBody>
          <a:bodyPr vert="horz" wrap="square" lIns="91416" tIns="45708" rIns="91416" bIns="45708" numCol="1" anchor="t" anchorCtr="0" compatLnSpc="1">
            <a:prstTxWarp prst="textNoShape">
              <a:avLst/>
            </a:prstTxWarp>
            <a:noAutofit/>
          </a:bodyPr>
          <a:lstStyle/>
          <a:p>
            <a:endParaRPr lang="en-US" sz="3599" dirty="0"/>
          </a:p>
        </p:txBody>
      </p:sp>
      <p:sp>
        <p:nvSpPr>
          <p:cNvPr id="7" name="Arrow: Right 5">
            <a:extLst>
              <a:ext uri="{FF2B5EF4-FFF2-40B4-BE49-F238E27FC236}">
                <a16:creationId xmlns:a16="http://schemas.microsoft.com/office/drawing/2014/main" id="{0602AEBF-2E98-9245-BF86-994B51130D71}"/>
              </a:ext>
            </a:extLst>
          </p:cNvPr>
          <p:cNvSpPr/>
          <p:nvPr/>
        </p:nvSpPr>
        <p:spPr>
          <a:xfrm rot="5400000">
            <a:off x="5801449" y="1575456"/>
            <a:ext cx="594887" cy="502308"/>
          </a:xfrm>
          <a:prstGeom prst="rightArrow">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p>
        </p:txBody>
      </p:sp>
      <p:grpSp>
        <p:nvGrpSpPr>
          <p:cNvPr id="4" name="Group 3">
            <a:extLst>
              <a:ext uri="{FF2B5EF4-FFF2-40B4-BE49-F238E27FC236}">
                <a16:creationId xmlns:a16="http://schemas.microsoft.com/office/drawing/2014/main" id="{3F77192C-6F76-9B45-9763-3B5E2B45C55B}"/>
              </a:ext>
            </a:extLst>
          </p:cNvPr>
          <p:cNvGrpSpPr/>
          <p:nvPr/>
        </p:nvGrpSpPr>
        <p:grpSpPr>
          <a:xfrm>
            <a:off x="4500626" y="2512690"/>
            <a:ext cx="3197658" cy="2775944"/>
            <a:chOff x="4487216" y="2694503"/>
            <a:chExt cx="3198491" cy="2265839"/>
          </a:xfrm>
        </p:grpSpPr>
        <p:sp>
          <p:nvSpPr>
            <p:cNvPr id="5" name="Freeform 4">
              <a:extLst>
                <a:ext uri="{FF2B5EF4-FFF2-40B4-BE49-F238E27FC236}">
                  <a16:creationId xmlns:a16="http://schemas.microsoft.com/office/drawing/2014/main" id="{0588905B-3899-4041-AC6F-22A0B24D90E9}"/>
                </a:ext>
              </a:extLst>
            </p:cNvPr>
            <p:cNvSpPr>
              <a:spLocks/>
            </p:cNvSpPr>
            <p:nvPr/>
          </p:nvSpPr>
          <p:spPr bwMode="auto">
            <a:xfrm>
              <a:off x="4487216" y="2694503"/>
              <a:ext cx="1599245" cy="2265839"/>
            </a:xfrm>
            <a:custGeom>
              <a:avLst/>
              <a:gdLst>
                <a:gd name="T0" fmla="*/ 0 w 1106"/>
                <a:gd name="T1" fmla="*/ 0 h 1567"/>
                <a:gd name="T2" fmla="*/ 555 w 1106"/>
                <a:gd name="T3" fmla="*/ 588 h 1567"/>
                <a:gd name="T4" fmla="*/ 907 w 1106"/>
                <a:gd name="T5" fmla="*/ 963 h 1567"/>
                <a:gd name="T6" fmla="*/ 963 w 1106"/>
                <a:gd name="T7" fmla="*/ 1567 h 1567"/>
                <a:gd name="T8" fmla="*/ 1106 w 1106"/>
                <a:gd name="T9" fmla="*/ 1567 h 1567"/>
                <a:gd name="T10" fmla="*/ 1106 w 1106"/>
                <a:gd name="T11" fmla="*/ 0 h 1567"/>
                <a:gd name="T12" fmla="*/ 0 w 1106"/>
                <a:gd name="T13" fmla="*/ 0 h 1567"/>
              </a:gdLst>
              <a:ahLst/>
              <a:cxnLst>
                <a:cxn ang="0">
                  <a:pos x="T0" y="T1"/>
                </a:cxn>
                <a:cxn ang="0">
                  <a:pos x="T2" y="T3"/>
                </a:cxn>
                <a:cxn ang="0">
                  <a:pos x="T4" y="T5"/>
                </a:cxn>
                <a:cxn ang="0">
                  <a:pos x="T6" y="T7"/>
                </a:cxn>
                <a:cxn ang="0">
                  <a:pos x="T8" y="T9"/>
                </a:cxn>
                <a:cxn ang="0">
                  <a:pos x="T10" y="T11"/>
                </a:cxn>
                <a:cxn ang="0">
                  <a:pos x="T12" y="T13"/>
                </a:cxn>
              </a:cxnLst>
              <a:rect l="0" t="0" r="r" b="b"/>
              <a:pathLst>
                <a:path w="1106" h="1567">
                  <a:moveTo>
                    <a:pt x="0" y="0"/>
                  </a:moveTo>
                  <a:lnTo>
                    <a:pt x="555" y="588"/>
                  </a:lnTo>
                  <a:lnTo>
                    <a:pt x="907" y="963"/>
                  </a:lnTo>
                  <a:lnTo>
                    <a:pt x="963" y="1567"/>
                  </a:lnTo>
                  <a:lnTo>
                    <a:pt x="1106" y="1567"/>
                  </a:lnTo>
                  <a:lnTo>
                    <a:pt x="1106" y="0"/>
                  </a:lnTo>
                  <a:lnTo>
                    <a:pt x="0" y="0"/>
                  </a:lnTo>
                  <a:close/>
                </a:path>
              </a:pathLst>
            </a:custGeom>
            <a:solidFill>
              <a:schemeClr val="bg1">
                <a:lumMod val="50000"/>
              </a:schemeClr>
            </a:solidFill>
            <a:ln w="14288" cap="flat">
              <a:noFill/>
              <a:prstDash val="solid"/>
              <a:miter lim="800000"/>
              <a:headEnd/>
              <a:tailEnd/>
            </a:ln>
          </p:spPr>
          <p:txBody>
            <a:bodyPr vert="horz" wrap="square" lIns="91416" tIns="45708" rIns="91416" bIns="45708" numCol="1" anchor="t" anchorCtr="0" compatLnSpc="1">
              <a:prstTxWarp prst="textNoShape">
                <a:avLst/>
              </a:prstTxWarp>
            </a:bodyPr>
            <a:lstStyle/>
            <a:p>
              <a:endParaRPr lang="en-US" sz="3599" dirty="0"/>
            </a:p>
          </p:txBody>
        </p:sp>
        <p:sp>
          <p:nvSpPr>
            <p:cNvPr id="6" name="Freeform 5">
              <a:extLst>
                <a:ext uri="{FF2B5EF4-FFF2-40B4-BE49-F238E27FC236}">
                  <a16:creationId xmlns:a16="http://schemas.microsoft.com/office/drawing/2014/main" id="{0ACD52C2-FC22-E34B-BD94-74EF5E222E6A}"/>
                </a:ext>
              </a:extLst>
            </p:cNvPr>
            <p:cNvSpPr>
              <a:spLocks/>
            </p:cNvSpPr>
            <p:nvPr/>
          </p:nvSpPr>
          <p:spPr bwMode="auto">
            <a:xfrm>
              <a:off x="6086462" y="2694503"/>
              <a:ext cx="1599245" cy="2265839"/>
            </a:xfrm>
            <a:custGeom>
              <a:avLst/>
              <a:gdLst>
                <a:gd name="T0" fmla="*/ 0 w 1106"/>
                <a:gd name="T1" fmla="*/ 0 h 1567"/>
                <a:gd name="T2" fmla="*/ 0 w 1106"/>
                <a:gd name="T3" fmla="*/ 1567 h 1567"/>
                <a:gd name="T4" fmla="*/ 25 w 1106"/>
                <a:gd name="T5" fmla="*/ 1567 h 1567"/>
                <a:gd name="T6" fmla="*/ 86 w 1106"/>
                <a:gd name="T7" fmla="*/ 1567 h 1567"/>
                <a:gd name="T8" fmla="*/ 144 w 1106"/>
                <a:gd name="T9" fmla="*/ 1567 h 1567"/>
                <a:gd name="T10" fmla="*/ 200 w 1106"/>
                <a:gd name="T11" fmla="*/ 963 h 1567"/>
                <a:gd name="T12" fmla="*/ 554 w 1106"/>
                <a:gd name="T13" fmla="*/ 588 h 1567"/>
                <a:gd name="T14" fmla="*/ 1106 w 1106"/>
                <a:gd name="T15" fmla="*/ 0 h 1567"/>
                <a:gd name="T16" fmla="*/ 0 w 1106"/>
                <a:gd name="T17" fmla="*/ 0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6" h="1567">
                  <a:moveTo>
                    <a:pt x="0" y="0"/>
                  </a:moveTo>
                  <a:lnTo>
                    <a:pt x="0" y="1567"/>
                  </a:lnTo>
                  <a:lnTo>
                    <a:pt x="25" y="1567"/>
                  </a:lnTo>
                  <a:lnTo>
                    <a:pt x="86" y="1567"/>
                  </a:lnTo>
                  <a:lnTo>
                    <a:pt x="144" y="1567"/>
                  </a:lnTo>
                  <a:lnTo>
                    <a:pt x="200" y="963"/>
                  </a:lnTo>
                  <a:lnTo>
                    <a:pt x="554" y="588"/>
                  </a:lnTo>
                  <a:lnTo>
                    <a:pt x="1106" y="0"/>
                  </a:lnTo>
                  <a:lnTo>
                    <a:pt x="0" y="0"/>
                  </a:lnTo>
                  <a:close/>
                </a:path>
              </a:pathLst>
            </a:custGeom>
            <a:solidFill>
              <a:schemeClr val="bg1">
                <a:lumMod val="65000"/>
              </a:schemeClr>
            </a:solidFill>
            <a:ln w="14288" cap="flat">
              <a:noFill/>
              <a:prstDash val="solid"/>
              <a:miter lim="800000"/>
              <a:headEnd/>
              <a:tailEnd/>
            </a:ln>
          </p:spPr>
          <p:txBody>
            <a:bodyPr vert="horz" wrap="square" lIns="91416" tIns="45708" rIns="91416" bIns="45708" numCol="1" anchor="t" anchorCtr="0" compatLnSpc="1">
              <a:prstTxWarp prst="textNoShape">
                <a:avLst/>
              </a:prstTxWarp>
            </a:bodyPr>
            <a:lstStyle/>
            <a:p>
              <a:endParaRPr lang="en-US" sz="3599" dirty="0"/>
            </a:p>
          </p:txBody>
        </p:sp>
      </p:grpSp>
      <p:sp>
        <p:nvSpPr>
          <p:cNvPr id="10" name="Freeform 1047">
            <a:extLst>
              <a:ext uri="{FF2B5EF4-FFF2-40B4-BE49-F238E27FC236}">
                <a16:creationId xmlns:a16="http://schemas.microsoft.com/office/drawing/2014/main" id="{2D06E6B3-23B1-AE49-9F8E-C2E270958F1D}"/>
              </a:ext>
            </a:extLst>
          </p:cNvPr>
          <p:cNvSpPr>
            <a:spLocks noChangeAspect="1" noChangeArrowheads="1"/>
          </p:cNvSpPr>
          <p:nvPr/>
        </p:nvSpPr>
        <p:spPr bwMode="auto">
          <a:xfrm>
            <a:off x="838970" y="1585219"/>
            <a:ext cx="445519" cy="443058"/>
          </a:xfrm>
          <a:custGeom>
            <a:avLst/>
            <a:gdLst>
              <a:gd name="T0" fmla="*/ 229384 w 286977"/>
              <a:gd name="T1" fmla="*/ 251968 h 285393"/>
              <a:gd name="T2" fmla="*/ 224597 w 286977"/>
              <a:gd name="T3" fmla="*/ 286823 h 285393"/>
              <a:gd name="T4" fmla="*/ 220180 w 286977"/>
              <a:gd name="T5" fmla="*/ 251968 h 285393"/>
              <a:gd name="T6" fmla="*/ 63245 w 286977"/>
              <a:gd name="T7" fmla="*/ 247297 h 285393"/>
              <a:gd name="T8" fmla="*/ 68224 w 286977"/>
              <a:gd name="T9" fmla="*/ 282512 h 285393"/>
              <a:gd name="T10" fmla="*/ 59034 w 286977"/>
              <a:gd name="T11" fmla="*/ 282512 h 285393"/>
              <a:gd name="T12" fmla="*/ 63245 w 286977"/>
              <a:gd name="T13" fmla="*/ 247297 h 285393"/>
              <a:gd name="T14" fmla="*/ 151287 w 286977"/>
              <a:gd name="T15" fmla="*/ 193983 h 285393"/>
              <a:gd name="T16" fmla="*/ 200264 w 286977"/>
              <a:gd name="T17" fmla="*/ 182424 h 285393"/>
              <a:gd name="T18" fmla="*/ 103397 w 286977"/>
              <a:gd name="T19" fmla="*/ 171948 h 285393"/>
              <a:gd name="T20" fmla="*/ 111015 w 286977"/>
              <a:gd name="T21" fmla="*/ 217103 h 285393"/>
              <a:gd name="T22" fmla="*/ 103397 w 286977"/>
              <a:gd name="T23" fmla="*/ 171948 h 285393"/>
              <a:gd name="T24" fmla="*/ 111015 w 286977"/>
              <a:gd name="T25" fmla="*/ 158221 h 285393"/>
              <a:gd name="T26" fmla="*/ 144030 w 286977"/>
              <a:gd name="T27" fmla="*/ 188204 h 285393"/>
              <a:gd name="T28" fmla="*/ 177045 w 286977"/>
              <a:gd name="T29" fmla="*/ 158221 h 285393"/>
              <a:gd name="T30" fmla="*/ 144030 w 286977"/>
              <a:gd name="T31" fmla="*/ 156776 h 285393"/>
              <a:gd name="T32" fmla="*/ 167250 w 286977"/>
              <a:gd name="T33" fmla="*/ 38651 h 285393"/>
              <a:gd name="T34" fmla="*/ 164347 w 286977"/>
              <a:gd name="T35" fmla="*/ 52741 h 285393"/>
              <a:gd name="T36" fmla="*/ 87071 w 286977"/>
              <a:gd name="T37" fmla="*/ 44794 h 285393"/>
              <a:gd name="T38" fmla="*/ 144030 w 286977"/>
              <a:gd name="T39" fmla="*/ 148107 h 285393"/>
              <a:gd name="T40" fmla="*/ 198450 w 286977"/>
              <a:gd name="T41" fmla="*/ 39015 h 285393"/>
              <a:gd name="T42" fmla="*/ 179585 w 286977"/>
              <a:gd name="T43" fmla="*/ 46239 h 285393"/>
              <a:gd name="T44" fmla="*/ 144030 w 286977"/>
              <a:gd name="T45" fmla="*/ 9030 h 285393"/>
              <a:gd name="T46" fmla="*/ 158542 w 286977"/>
              <a:gd name="T47" fmla="*/ 45153 h 285393"/>
              <a:gd name="T48" fmla="*/ 160719 w 286977"/>
              <a:gd name="T49" fmla="*/ 27093 h 285393"/>
              <a:gd name="T50" fmla="*/ 182487 w 286977"/>
              <a:gd name="T51" fmla="*/ 37569 h 285393"/>
              <a:gd name="T52" fmla="*/ 144030 w 286977"/>
              <a:gd name="T53" fmla="*/ 9030 h 285393"/>
              <a:gd name="T54" fmla="*/ 214776 w 286977"/>
              <a:gd name="T55" fmla="*/ 72247 h 285393"/>
              <a:gd name="T56" fmla="*/ 185751 w 286977"/>
              <a:gd name="T57" fmla="*/ 155693 h 285393"/>
              <a:gd name="T58" fmla="*/ 245977 w 286977"/>
              <a:gd name="T59" fmla="*/ 182062 h 285393"/>
              <a:gd name="T60" fmla="*/ 288423 w 286977"/>
              <a:gd name="T61" fmla="*/ 282487 h 285393"/>
              <a:gd name="T62" fmla="*/ 279355 w 286977"/>
              <a:gd name="T63" fmla="*/ 282487 h 285393"/>
              <a:gd name="T64" fmla="*/ 244163 w 286977"/>
              <a:gd name="T65" fmla="*/ 190732 h 285393"/>
              <a:gd name="T66" fmla="*/ 181399 w 286977"/>
              <a:gd name="T67" fmla="*/ 225772 h 285393"/>
              <a:gd name="T68" fmla="*/ 178134 w 286977"/>
              <a:gd name="T69" fmla="*/ 227578 h 285393"/>
              <a:gd name="T70" fmla="*/ 148384 w 286977"/>
              <a:gd name="T71" fmla="*/ 203015 h 285393"/>
              <a:gd name="T72" fmla="*/ 144030 w 286977"/>
              <a:gd name="T73" fmla="*/ 286821 h 285393"/>
              <a:gd name="T74" fmla="*/ 139676 w 286977"/>
              <a:gd name="T75" fmla="*/ 203015 h 285393"/>
              <a:gd name="T76" fmla="*/ 109928 w 286977"/>
              <a:gd name="T77" fmla="*/ 227578 h 285393"/>
              <a:gd name="T78" fmla="*/ 106299 w 286977"/>
              <a:gd name="T79" fmla="*/ 225772 h 285393"/>
              <a:gd name="T80" fmla="*/ 43898 w 286977"/>
              <a:gd name="T81" fmla="*/ 190732 h 285393"/>
              <a:gd name="T82" fmla="*/ 8707 w 286977"/>
              <a:gd name="T83" fmla="*/ 282487 h 285393"/>
              <a:gd name="T84" fmla="*/ 0 w 286977"/>
              <a:gd name="T85" fmla="*/ 282487 h 285393"/>
              <a:gd name="T86" fmla="*/ 42446 w 286977"/>
              <a:gd name="T87" fmla="*/ 182062 h 285393"/>
              <a:gd name="T88" fmla="*/ 102309 w 286977"/>
              <a:gd name="T89" fmla="*/ 155693 h 285393"/>
              <a:gd name="T90" fmla="*/ 73647 w 286977"/>
              <a:gd name="T91" fmla="*/ 72247 h 2853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6977" h="285393">
                <a:moveTo>
                  <a:pt x="223471" y="246063"/>
                </a:moveTo>
                <a:cubicBezTo>
                  <a:pt x="226036" y="246063"/>
                  <a:pt x="228234" y="248208"/>
                  <a:pt x="228234" y="250711"/>
                </a:cubicBezTo>
                <a:lnTo>
                  <a:pt x="228234" y="281102"/>
                </a:lnTo>
                <a:cubicBezTo>
                  <a:pt x="228234" y="283247"/>
                  <a:pt x="226036" y="285393"/>
                  <a:pt x="223471" y="285393"/>
                </a:cubicBezTo>
                <a:cubicBezTo>
                  <a:pt x="221273" y="285393"/>
                  <a:pt x="219075" y="283247"/>
                  <a:pt x="219075" y="281102"/>
                </a:cubicBezTo>
                <a:lnTo>
                  <a:pt x="219075" y="250711"/>
                </a:lnTo>
                <a:cubicBezTo>
                  <a:pt x="219075" y="248208"/>
                  <a:pt x="221273" y="246063"/>
                  <a:pt x="223471" y="246063"/>
                </a:cubicBezTo>
                <a:close/>
                <a:moveTo>
                  <a:pt x="62929" y="246063"/>
                </a:moveTo>
                <a:cubicBezTo>
                  <a:pt x="65596" y="246063"/>
                  <a:pt x="67882" y="248208"/>
                  <a:pt x="67882" y="250711"/>
                </a:cubicBezTo>
                <a:lnTo>
                  <a:pt x="67882" y="281102"/>
                </a:lnTo>
                <a:cubicBezTo>
                  <a:pt x="67882" y="283247"/>
                  <a:pt x="65596" y="285393"/>
                  <a:pt x="62929" y="285393"/>
                </a:cubicBezTo>
                <a:cubicBezTo>
                  <a:pt x="61024" y="285393"/>
                  <a:pt x="58738" y="283247"/>
                  <a:pt x="58738" y="281102"/>
                </a:cubicBezTo>
                <a:lnTo>
                  <a:pt x="58738" y="250711"/>
                </a:lnTo>
                <a:cubicBezTo>
                  <a:pt x="58738" y="248208"/>
                  <a:pt x="61024" y="246063"/>
                  <a:pt x="62929" y="246063"/>
                </a:cubicBezTo>
                <a:close/>
                <a:moveTo>
                  <a:pt x="183376" y="171090"/>
                </a:moveTo>
                <a:lnTo>
                  <a:pt x="150528" y="193016"/>
                </a:lnTo>
                <a:lnTo>
                  <a:pt x="176518" y="216020"/>
                </a:lnTo>
                <a:lnTo>
                  <a:pt x="199259" y="181514"/>
                </a:lnTo>
                <a:cubicBezTo>
                  <a:pt x="193123" y="180076"/>
                  <a:pt x="188069" y="176122"/>
                  <a:pt x="183376" y="171090"/>
                </a:cubicBezTo>
                <a:close/>
                <a:moveTo>
                  <a:pt x="102878" y="171090"/>
                </a:moveTo>
                <a:cubicBezTo>
                  <a:pt x="98908" y="176122"/>
                  <a:pt x="93132" y="180076"/>
                  <a:pt x="86995" y="181514"/>
                </a:cubicBezTo>
                <a:lnTo>
                  <a:pt x="110459" y="216020"/>
                </a:lnTo>
                <a:lnTo>
                  <a:pt x="136088" y="193016"/>
                </a:lnTo>
                <a:lnTo>
                  <a:pt x="102878" y="171090"/>
                </a:lnTo>
                <a:close/>
                <a:moveTo>
                  <a:pt x="112986" y="147368"/>
                </a:moveTo>
                <a:lnTo>
                  <a:pt x="110459" y="157432"/>
                </a:lnTo>
                <a:cubicBezTo>
                  <a:pt x="110098" y="159588"/>
                  <a:pt x="108654" y="161745"/>
                  <a:pt x="107932" y="163902"/>
                </a:cubicBezTo>
                <a:lnTo>
                  <a:pt x="143308" y="187265"/>
                </a:lnTo>
                <a:lnTo>
                  <a:pt x="179045" y="163902"/>
                </a:lnTo>
                <a:cubicBezTo>
                  <a:pt x="177601" y="161745"/>
                  <a:pt x="176879" y="159588"/>
                  <a:pt x="176157" y="157432"/>
                </a:cubicBezTo>
                <a:lnTo>
                  <a:pt x="173630" y="147368"/>
                </a:lnTo>
                <a:cubicBezTo>
                  <a:pt x="164245" y="152759"/>
                  <a:pt x="154137" y="155994"/>
                  <a:pt x="143308" y="155994"/>
                </a:cubicBezTo>
                <a:cubicBezTo>
                  <a:pt x="132479" y="155994"/>
                  <a:pt x="122371" y="152759"/>
                  <a:pt x="112986" y="147368"/>
                </a:cubicBezTo>
                <a:close/>
                <a:moveTo>
                  <a:pt x="166411" y="38459"/>
                </a:moveTo>
                <a:lnTo>
                  <a:pt x="166411" y="48164"/>
                </a:lnTo>
                <a:cubicBezTo>
                  <a:pt x="166411" y="50321"/>
                  <a:pt x="164967" y="52118"/>
                  <a:pt x="163523" y="52477"/>
                </a:cubicBezTo>
                <a:cubicBezTo>
                  <a:pt x="151249" y="56071"/>
                  <a:pt x="140420" y="57509"/>
                  <a:pt x="130674" y="57509"/>
                </a:cubicBezTo>
                <a:cubicBezTo>
                  <a:pt x="108654" y="57509"/>
                  <a:pt x="93493" y="49961"/>
                  <a:pt x="86635" y="44570"/>
                </a:cubicBezTo>
                <a:cubicBezTo>
                  <a:pt x="83386" y="52837"/>
                  <a:pt x="81942" y="61822"/>
                  <a:pt x="81942" y="71887"/>
                </a:cubicBezTo>
                <a:cubicBezTo>
                  <a:pt x="81942" y="113221"/>
                  <a:pt x="109376" y="147368"/>
                  <a:pt x="143308" y="147368"/>
                </a:cubicBezTo>
                <a:cubicBezTo>
                  <a:pt x="177240" y="147368"/>
                  <a:pt x="205035" y="113221"/>
                  <a:pt x="205035" y="71887"/>
                </a:cubicBezTo>
                <a:cubicBezTo>
                  <a:pt x="205035" y="59306"/>
                  <a:pt x="202147" y="48164"/>
                  <a:pt x="197455" y="38819"/>
                </a:cubicBezTo>
                <a:cubicBezTo>
                  <a:pt x="191318" y="43132"/>
                  <a:pt x="182654" y="46007"/>
                  <a:pt x="182294" y="46367"/>
                </a:cubicBezTo>
                <a:cubicBezTo>
                  <a:pt x="180850" y="46726"/>
                  <a:pt x="179767" y="46367"/>
                  <a:pt x="178684" y="46007"/>
                </a:cubicBezTo>
                <a:lnTo>
                  <a:pt x="166411" y="38459"/>
                </a:lnTo>
                <a:close/>
                <a:moveTo>
                  <a:pt x="143308" y="8986"/>
                </a:moveTo>
                <a:cubicBezTo>
                  <a:pt x="118761" y="8986"/>
                  <a:pt x="100713" y="19050"/>
                  <a:pt x="89883" y="37021"/>
                </a:cubicBezTo>
                <a:cubicBezTo>
                  <a:pt x="97825" y="42054"/>
                  <a:pt x="120927" y="55712"/>
                  <a:pt x="157747" y="44929"/>
                </a:cubicBezTo>
                <a:lnTo>
                  <a:pt x="157747" y="30911"/>
                </a:lnTo>
                <a:cubicBezTo>
                  <a:pt x="157747" y="29114"/>
                  <a:pt x="158469" y="27676"/>
                  <a:pt x="159913" y="26957"/>
                </a:cubicBezTo>
                <a:cubicBezTo>
                  <a:pt x="161357" y="26238"/>
                  <a:pt x="163162" y="26238"/>
                  <a:pt x="164245" y="26957"/>
                </a:cubicBezTo>
                <a:lnTo>
                  <a:pt x="181572" y="37381"/>
                </a:lnTo>
                <a:cubicBezTo>
                  <a:pt x="184459" y="35943"/>
                  <a:pt x="189152" y="34146"/>
                  <a:pt x="192762" y="31630"/>
                </a:cubicBezTo>
                <a:cubicBezTo>
                  <a:pt x="182654" y="16893"/>
                  <a:pt x="164967" y="8986"/>
                  <a:pt x="143308" y="8986"/>
                </a:cubicBezTo>
                <a:close/>
                <a:moveTo>
                  <a:pt x="143308" y="0"/>
                </a:moveTo>
                <a:cubicBezTo>
                  <a:pt x="185542" y="0"/>
                  <a:pt x="213699" y="28754"/>
                  <a:pt x="213699" y="71887"/>
                </a:cubicBezTo>
                <a:cubicBezTo>
                  <a:pt x="213699" y="101001"/>
                  <a:pt x="200703" y="127239"/>
                  <a:pt x="181572" y="142336"/>
                </a:cubicBezTo>
                <a:lnTo>
                  <a:pt x="184820" y="154916"/>
                </a:lnTo>
                <a:cubicBezTo>
                  <a:pt x="186986" y="164980"/>
                  <a:pt x="195650" y="173247"/>
                  <a:pt x="206118" y="174685"/>
                </a:cubicBezTo>
                <a:lnTo>
                  <a:pt x="244743" y="181154"/>
                </a:lnTo>
                <a:cubicBezTo>
                  <a:pt x="268928" y="185468"/>
                  <a:pt x="286977" y="206674"/>
                  <a:pt x="286977" y="230756"/>
                </a:cubicBezTo>
                <a:lnTo>
                  <a:pt x="286977" y="281078"/>
                </a:lnTo>
                <a:cubicBezTo>
                  <a:pt x="286977" y="283234"/>
                  <a:pt x="284811" y="285391"/>
                  <a:pt x="282284" y="285391"/>
                </a:cubicBezTo>
                <a:cubicBezTo>
                  <a:pt x="279758" y="285391"/>
                  <a:pt x="277953" y="283234"/>
                  <a:pt x="277953" y="281078"/>
                </a:cubicBezTo>
                <a:lnTo>
                  <a:pt x="277953" y="230756"/>
                </a:lnTo>
                <a:cubicBezTo>
                  <a:pt x="277953" y="210628"/>
                  <a:pt x="263153" y="193375"/>
                  <a:pt x="242938" y="189781"/>
                </a:cubicBezTo>
                <a:lnTo>
                  <a:pt x="208645" y="184030"/>
                </a:lnTo>
                <a:lnTo>
                  <a:pt x="180489" y="224646"/>
                </a:lnTo>
                <a:cubicBezTo>
                  <a:pt x="180128" y="225724"/>
                  <a:pt x="179045" y="226443"/>
                  <a:pt x="177601" y="226443"/>
                </a:cubicBezTo>
                <a:cubicBezTo>
                  <a:pt x="177240" y="226443"/>
                  <a:pt x="177240" y="226443"/>
                  <a:pt x="177240" y="226443"/>
                </a:cubicBezTo>
                <a:cubicBezTo>
                  <a:pt x="176157" y="226443"/>
                  <a:pt x="175435" y="226443"/>
                  <a:pt x="174352" y="225724"/>
                </a:cubicBezTo>
                <a:lnTo>
                  <a:pt x="147640" y="202002"/>
                </a:lnTo>
                <a:lnTo>
                  <a:pt x="147640" y="281078"/>
                </a:lnTo>
                <a:cubicBezTo>
                  <a:pt x="147640" y="283234"/>
                  <a:pt x="145835" y="285391"/>
                  <a:pt x="143308" y="285391"/>
                </a:cubicBezTo>
                <a:cubicBezTo>
                  <a:pt x="141142" y="285391"/>
                  <a:pt x="138976" y="283234"/>
                  <a:pt x="138976" y="281078"/>
                </a:cubicBezTo>
                <a:lnTo>
                  <a:pt x="138976" y="202002"/>
                </a:lnTo>
                <a:lnTo>
                  <a:pt x="112264" y="225724"/>
                </a:lnTo>
                <a:cubicBezTo>
                  <a:pt x="111542" y="226443"/>
                  <a:pt x="110459" y="226443"/>
                  <a:pt x="109376" y="226443"/>
                </a:cubicBezTo>
                <a:cubicBezTo>
                  <a:pt x="109015" y="226443"/>
                  <a:pt x="109015" y="226443"/>
                  <a:pt x="108654" y="226443"/>
                </a:cubicBezTo>
                <a:cubicBezTo>
                  <a:pt x="107571" y="226443"/>
                  <a:pt x="106127" y="225724"/>
                  <a:pt x="105766" y="224646"/>
                </a:cubicBezTo>
                <a:lnTo>
                  <a:pt x="77610" y="184030"/>
                </a:lnTo>
                <a:lnTo>
                  <a:pt x="43678" y="189781"/>
                </a:lnTo>
                <a:cubicBezTo>
                  <a:pt x="23463" y="193375"/>
                  <a:pt x="8663" y="210628"/>
                  <a:pt x="8663" y="230756"/>
                </a:cubicBezTo>
                <a:lnTo>
                  <a:pt x="8663" y="281078"/>
                </a:lnTo>
                <a:cubicBezTo>
                  <a:pt x="8663" y="283234"/>
                  <a:pt x="6859" y="285391"/>
                  <a:pt x="4693" y="285391"/>
                </a:cubicBezTo>
                <a:cubicBezTo>
                  <a:pt x="2166" y="285391"/>
                  <a:pt x="0" y="283234"/>
                  <a:pt x="0" y="281078"/>
                </a:cubicBezTo>
                <a:lnTo>
                  <a:pt x="0" y="230756"/>
                </a:lnTo>
                <a:cubicBezTo>
                  <a:pt x="0" y="206674"/>
                  <a:pt x="17688" y="185468"/>
                  <a:pt x="42234" y="181154"/>
                </a:cubicBezTo>
                <a:lnTo>
                  <a:pt x="80498" y="174685"/>
                </a:lnTo>
                <a:cubicBezTo>
                  <a:pt x="90605" y="173247"/>
                  <a:pt x="99269" y="164980"/>
                  <a:pt x="101796" y="154916"/>
                </a:cubicBezTo>
                <a:lnTo>
                  <a:pt x="105044" y="142336"/>
                </a:lnTo>
                <a:cubicBezTo>
                  <a:pt x="85913" y="127239"/>
                  <a:pt x="73278" y="101001"/>
                  <a:pt x="73278" y="71887"/>
                </a:cubicBezTo>
                <a:cubicBezTo>
                  <a:pt x="73278" y="28754"/>
                  <a:pt x="101435" y="0"/>
                  <a:pt x="143308" y="0"/>
                </a:cubicBezTo>
                <a:close/>
              </a:path>
            </a:pathLst>
          </a:custGeom>
          <a:solidFill>
            <a:srgbClr val="1A171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en-US" sz="900" dirty="0"/>
          </a:p>
        </p:txBody>
      </p:sp>
      <p:sp>
        <p:nvSpPr>
          <p:cNvPr id="11" name="Freeform 1048">
            <a:extLst>
              <a:ext uri="{FF2B5EF4-FFF2-40B4-BE49-F238E27FC236}">
                <a16:creationId xmlns:a16="http://schemas.microsoft.com/office/drawing/2014/main" id="{1502F4E0-2D39-FB4E-8EDB-7408C13B2B4E}"/>
              </a:ext>
            </a:extLst>
          </p:cNvPr>
          <p:cNvSpPr>
            <a:spLocks noChangeAspect="1" noChangeArrowheads="1"/>
          </p:cNvSpPr>
          <p:nvPr/>
        </p:nvSpPr>
        <p:spPr bwMode="auto">
          <a:xfrm>
            <a:off x="8496479" y="1585219"/>
            <a:ext cx="433213" cy="443058"/>
          </a:xfrm>
          <a:custGeom>
            <a:avLst/>
            <a:gdLst>
              <a:gd name="T0" fmla="*/ 232587 w 279041"/>
              <a:gd name="T1" fmla="*/ 257945 h 285396"/>
              <a:gd name="T2" fmla="*/ 227992 w 279041"/>
              <a:gd name="T3" fmla="*/ 286814 h 285396"/>
              <a:gd name="T4" fmla="*/ 223396 w 279041"/>
              <a:gd name="T5" fmla="*/ 257945 h 285396"/>
              <a:gd name="T6" fmla="*/ 53885 w 279041"/>
              <a:gd name="T7" fmla="*/ 253667 h 285396"/>
              <a:gd name="T8" fmla="*/ 58672 w 279041"/>
              <a:gd name="T9" fmla="*/ 282538 h 285396"/>
              <a:gd name="T10" fmla="*/ 49466 w 279041"/>
              <a:gd name="T11" fmla="*/ 282538 h 285396"/>
              <a:gd name="T12" fmla="*/ 53885 w 279041"/>
              <a:gd name="T13" fmla="*/ 253667 h 285396"/>
              <a:gd name="T14" fmla="*/ 110098 w 279041"/>
              <a:gd name="T15" fmla="*/ 180972 h 285396"/>
              <a:gd name="T16" fmla="*/ 140059 w 279041"/>
              <a:gd name="T17" fmla="*/ 247075 h 285396"/>
              <a:gd name="T18" fmla="*/ 170743 w 279041"/>
              <a:gd name="T19" fmla="*/ 180972 h 285396"/>
              <a:gd name="T20" fmla="*/ 140059 w 279041"/>
              <a:gd name="T21" fmla="*/ 188558 h 285396"/>
              <a:gd name="T22" fmla="*/ 169434 w 279041"/>
              <a:gd name="T23" fmla="*/ 78791 h 285396"/>
              <a:gd name="T24" fmla="*/ 84108 w 279041"/>
              <a:gd name="T25" fmla="*/ 89221 h 285396"/>
              <a:gd name="T26" fmla="*/ 140059 w 279041"/>
              <a:gd name="T27" fmla="*/ 180249 h 285396"/>
              <a:gd name="T28" fmla="*/ 196372 w 279041"/>
              <a:gd name="T29" fmla="*/ 87777 h 285396"/>
              <a:gd name="T30" fmla="*/ 140059 w 279041"/>
              <a:gd name="T31" fmla="*/ 9030 h 285396"/>
              <a:gd name="T32" fmla="*/ 63532 w 279041"/>
              <a:gd name="T33" fmla="*/ 201923 h 285396"/>
              <a:gd name="T34" fmla="*/ 102157 w 279041"/>
              <a:gd name="T35" fmla="*/ 178805 h 285396"/>
              <a:gd name="T36" fmla="*/ 72918 w 279041"/>
              <a:gd name="T37" fmla="*/ 107644 h 285396"/>
              <a:gd name="T38" fmla="*/ 80138 w 279041"/>
              <a:gd name="T39" fmla="*/ 78746 h 285396"/>
              <a:gd name="T40" fmla="*/ 137532 w 279041"/>
              <a:gd name="T41" fmla="*/ 79468 h 285396"/>
              <a:gd name="T42" fmla="*/ 204314 w 279041"/>
              <a:gd name="T43" fmla="*/ 83804 h 285396"/>
              <a:gd name="T44" fmla="*/ 177962 w 279041"/>
              <a:gd name="T45" fmla="*/ 175192 h 285396"/>
              <a:gd name="T46" fmla="*/ 199982 w 279041"/>
              <a:gd name="T47" fmla="*/ 199033 h 285396"/>
              <a:gd name="T48" fmla="*/ 237523 w 279041"/>
              <a:gd name="T49" fmla="*/ 120287 h 285396"/>
              <a:gd name="T50" fmla="*/ 140059 w 279041"/>
              <a:gd name="T51" fmla="*/ 0 h 285396"/>
              <a:gd name="T52" fmla="*/ 226333 w 279041"/>
              <a:gd name="T53" fmla="*/ 203368 h 285396"/>
              <a:gd name="T54" fmla="*/ 280479 w 279041"/>
              <a:gd name="T55" fmla="*/ 265136 h 285396"/>
              <a:gd name="T56" fmla="*/ 276148 w 279041"/>
              <a:gd name="T57" fmla="*/ 286809 h 285396"/>
              <a:gd name="T58" fmla="*/ 272177 w 279041"/>
              <a:gd name="T59" fmla="*/ 265136 h 285396"/>
              <a:gd name="T60" fmla="*/ 205757 w 279041"/>
              <a:gd name="T61" fmla="*/ 208786 h 285396"/>
              <a:gd name="T62" fmla="*/ 144392 w 279041"/>
              <a:gd name="T63" fmla="*/ 282476 h 285396"/>
              <a:gd name="T64" fmla="*/ 136089 w 279041"/>
              <a:gd name="T65" fmla="*/ 282476 h 285396"/>
              <a:gd name="T66" fmla="*/ 74723 w 279041"/>
              <a:gd name="T67" fmla="*/ 208786 h 285396"/>
              <a:gd name="T68" fmla="*/ 9026 w 279041"/>
              <a:gd name="T69" fmla="*/ 265136 h 285396"/>
              <a:gd name="T70" fmla="*/ 4334 w 279041"/>
              <a:gd name="T71" fmla="*/ 286809 h 285396"/>
              <a:gd name="T72" fmla="*/ 0 w 279041"/>
              <a:gd name="T73" fmla="*/ 265136 h 285396"/>
              <a:gd name="T74" fmla="*/ 54146 w 279041"/>
              <a:gd name="T75" fmla="*/ 203368 h 285396"/>
              <a:gd name="T76" fmla="*/ 140059 w 279041"/>
              <a:gd name="T77" fmla="*/ 0 h 285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9041" h="285396">
                <a:moveTo>
                  <a:pt x="226822" y="252413"/>
                </a:moveTo>
                <a:cubicBezTo>
                  <a:pt x="229489" y="252413"/>
                  <a:pt x="231394" y="254186"/>
                  <a:pt x="231394" y="256669"/>
                </a:cubicBezTo>
                <a:lnTo>
                  <a:pt x="231394" y="281140"/>
                </a:lnTo>
                <a:cubicBezTo>
                  <a:pt x="231394" y="283268"/>
                  <a:pt x="229489" y="285396"/>
                  <a:pt x="226822" y="285396"/>
                </a:cubicBezTo>
                <a:cubicBezTo>
                  <a:pt x="224155" y="285396"/>
                  <a:pt x="222250" y="283268"/>
                  <a:pt x="222250" y="281140"/>
                </a:cubicBezTo>
                <a:lnTo>
                  <a:pt x="222250" y="256669"/>
                </a:lnTo>
                <a:cubicBezTo>
                  <a:pt x="222250" y="254186"/>
                  <a:pt x="224155" y="252413"/>
                  <a:pt x="226822" y="252413"/>
                </a:cubicBezTo>
                <a:close/>
                <a:moveTo>
                  <a:pt x="53609" y="252413"/>
                </a:moveTo>
                <a:cubicBezTo>
                  <a:pt x="56174" y="252413"/>
                  <a:pt x="58372" y="254186"/>
                  <a:pt x="58372" y="256669"/>
                </a:cubicBezTo>
                <a:lnTo>
                  <a:pt x="58372" y="281140"/>
                </a:lnTo>
                <a:cubicBezTo>
                  <a:pt x="58372" y="283268"/>
                  <a:pt x="56174" y="285396"/>
                  <a:pt x="53609" y="285396"/>
                </a:cubicBezTo>
                <a:cubicBezTo>
                  <a:pt x="51045" y="285396"/>
                  <a:pt x="49213" y="283268"/>
                  <a:pt x="49213" y="281140"/>
                </a:cubicBezTo>
                <a:lnTo>
                  <a:pt x="49213" y="256669"/>
                </a:lnTo>
                <a:cubicBezTo>
                  <a:pt x="49213" y="254186"/>
                  <a:pt x="51045" y="252413"/>
                  <a:pt x="53609" y="252413"/>
                </a:cubicBezTo>
                <a:close/>
                <a:moveTo>
                  <a:pt x="110252" y="179358"/>
                </a:moveTo>
                <a:lnTo>
                  <a:pt x="109534" y="180077"/>
                </a:lnTo>
                <a:cubicBezTo>
                  <a:pt x="106301" y="193376"/>
                  <a:pt x="95887" y="203080"/>
                  <a:pt x="82958" y="205956"/>
                </a:cubicBezTo>
                <a:cubicBezTo>
                  <a:pt x="86909" y="223928"/>
                  <a:pt x="123539" y="240102"/>
                  <a:pt x="139341" y="245853"/>
                </a:cubicBezTo>
                <a:cubicBezTo>
                  <a:pt x="155502" y="240102"/>
                  <a:pt x="192133" y="223928"/>
                  <a:pt x="196801" y="205956"/>
                </a:cubicBezTo>
                <a:cubicBezTo>
                  <a:pt x="183514" y="203080"/>
                  <a:pt x="173099" y="193376"/>
                  <a:pt x="169867" y="180077"/>
                </a:cubicBezTo>
                <a:lnTo>
                  <a:pt x="169508" y="179358"/>
                </a:lnTo>
                <a:cubicBezTo>
                  <a:pt x="160529" y="185109"/>
                  <a:pt x="150474" y="187625"/>
                  <a:pt x="139341" y="187625"/>
                </a:cubicBezTo>
                <a:cubicBezTo>
                  <a:pt x="129285" y="187625"/>
                  <a:pt x="118512" y="185109"/>
                  <a:pt x="110252" y="179358"/>
                </a:cubicBezTo>
                <a:close/>
                <a:moveTo>
                  <a:pt x="168565" y="78402"/>
                </a:moveTo>
                <a:cubicBezTo>
                  <a:pt x="159721" y="78357"/>
                  <a:pt x="150833" y="81232"/>
                  <a:pt x="141496" y="86983"/>
                </a:cubicBezTo>
                <a:cubicBezTo>
                  <a:pt x="118871" y="100282"/>
                  <a:pt x="96246" y="95610"/>
                  <a:pt x="83676" y="88780"/>
                </a:cubicBezTo>
                <a:cubicBezTo>
                  <a:pt x="81881" y="94531"/>
                  <a:pt x="81163" y="100642"/>
                  <a:pt x="81163" y="107112"/>
                </a:cubicBezTo>
                <a:cubicBezTo>
                  <a:pt x="81163" y="146649"/>
                  <a:pt x="107738" y="179358"/>
                  <a:pt x="139341" y="179358"/>
                </a:cubicBezTo>
                <a:cubicBezTo>
                  <a:pt x="172021" y="179358"/>
                  <a:pt x="197879" y="146649"/>
                  <a:pt x="197879" y="107112"/>
                </a:cubicBezTo>
                <a:cubicBezTo>
                  <a:pt x="197879" y="99923"/>
                  <a:pt x="197160" y="93453"/>
                  <a:pt x="195365" y="87343"/>
                </a:cubicBezTo>
                <a:cubicBezTo>
                  <a:pt x="186207" y="81412"/>
                  <a:pt x="177408" y="78447"/>
                  <a:pt x="168565" y="78402"/>
                </a:cubicBezTo>
                <a:close/>
                <a:moveTo>
                  <a:pt x="139341" y="8986"/>
                </a:moveTo>
                <a:cubicBezTo>
                  <a:pt x="81163" y="8986"/>
                  <a:pt x="43095" y="52118"/>
                  <a:pt x="43095" y="119692"/>
                </a:cubicBezTo>
                <a:cubicBezTo>
                  <a:pt x="43095" y="152041"/>
                  <a:pt x="50996" y="184030"/>
                  <a:pt x="63206" y="200924"/>
                </a:cubicBezTo>
                <a:lnTo>
                  <a:pt x="80085" y="198048"/>
                </a:lnTo>
                <a:cubicBezTo>
                  <a:pt x="90141" y="195892"/>
                  <a:pt x="98760" y="188344"/>
                  <a:pt x="101633" y="177920"/>
                </a:cubicBezTo>
                <a:lnTo>
                  <a:pt x="102351" y="174326"/>
                </a:lnTo>
                <a:cubicBezTo>
                  <a:pt x="84395" y="159589"/>
                  <a:pt x="72544" y="135147"/>
                  <a:pt x="72544" y="107112"/>
                </a:cubicBezTo>
                <a:cubicBezTo>
                  <a:pt x="72544" y="97766"/>
                  <a:pt x="74339" y="88780"/>
                  <a:pt x="76853" y="80873"/>
                </a:cubicBezTo>
                <a:cubicBezTo>
                  <a:pt x="77212" y="80154"/>
                  <a:pt x="78290" y="78716"/>
                  <a:pt x="79726" y="78357"/>
                </a:cubicBezTo>
                <a:cubicBezTo>
                  <a:pt x="80803" y="77997"/>
                  <a:pt x="82599" y="78357"/>
                  <a:pt x="83317" y="78716"/>
                </a:cubicBezTo>
                <a:cubicBezTo>
                  <a:pt x="92296" y="84827"/>
                  <a:pt x="114920" y="92734"/>
                  <a:pt x="136827" y="79076"/>
                </a:cubicBezTo>
                <a:cubicBezTo>
                  <a:pt x="158734" y="66136"/>
                  <a:pt x="179922" y="66496"/>
                  <a:pt x="200752" y="80873"/>
                </a:cubicBezTo>
                <a:cubicBezTo>
                  <a:pt x="201829" y="81232"/>
                  <a:pt x="202906" y="81951"/>
                  <a:pt x="203265" y="83389"/>
                </a:cubicBezTo>
                <a:cubicBezTo>
                  <a:pt x="205420" y="90937"/>
                  <a:pt x="206857" y="98845"/>
                  <a:pt x="206857" y="107112"/>
                </a:cubicBezTo>
                <a:cubicBezTo>
                  <a:pt x="206857" y="135147"/>
                  <a:pt x="194646" y="159589"/>
                  <a:pt x="177049" y="174326"/>
                </a:cubicBezTo>
                <a:lnTo>
                  <a:pt x="178127" y="177920"/>
                </a:lnTo>
                <a:cubicBezTo>
                  <a:pt x="180281" y="188344"/>
                  <a:pt x="188541" y="195892"/>
                  <a:pt x="198956" y="198048"/>
                </a:cubicBezTo>
                <a:lnTo>
                  <a:pt x="216194" y="200924"/>
                </a:lnTo>
                <a:cubicBezTo>
                  <a:pt x="228404" y="184030"/>
                  <a:pt x="236305" y="152041"/>
                  <a:pt x="236305" y="119692"/>
                </a:cubicBezTo>
                <a:cubicBezTo>
                  <a:pt x="236305" y="52118"/>
                  <a:pt x="198238" y="8986"/>
                  <a:pt x="139341" y="8986"/>
                </a:cubicBezTo>
                <a:close/>
                <a:moveTo>
                  <a:pt x="139341" y="0"/>
                </a:moveTo>
                <a:cubicBezTo>
                  <a:pt x="203625" y="0"/>
                  <a:pt x="244924" y="46727"/>
                  <a:pt x="244924" y="119692"/>
                </a:cubicBezTo>
                <a:cubicBezTo>
                  <a:pt x="244924" y="152400"/>
                  <a:pt x="237382" y="183312"/>
                  <a:pt x="225172" y="202362"/>
                </a:cubicBezTo>
                <a:lnTo>
                  <a:pt x="228045" y="202721"/>
                </a:lnTo>
                <a:cubicBezTo>
                  <a:pt x="257493" y="207753"/>
                  <a:pt x="279041" y="233632"/>
                  <a:pt x="279041" y="263825"/>
                </a:cubicBezTo>
                <a:lnTo>
                  <a:pt x="279041" y="281078"/>
                </a:lnTo>
                <a:cubicBezTo>
                  <a:pt x="279041" y="283234"/>
                  <a:pt x="277605" y="285391"/>
                  <a:pt x="274732" y="285391"/>
                </a:cubicBezTo>
                <a:cubicBezTo>
                  <a:pt x="272577" y="285391"/>
                  <a:pt x="270781" y="283234"/>
                  <a:pt x="270781" y="281078"/>
                </a:cubicBezTo>
                <a:lnTo>
                  <a:pt x="270781" y="263825"/>
                </a:lnTo>
                <a:cubicBezTo>
                  <a:pt x="270781" y="237946"/>
                  <a:pt x="251747" y="216020"/>
                  <a:pt x="226249" y="211347"/>
                </a:cubicBezTo>
                <a:lnTo>
                  <a:pt x="204702" y="207753"/>
                </a:lnTo>
                <a:cubicBezTo>
                  <a:pt x="199315" y="231835"/>
                  <a:pt x="156579" y="248729"/>
                  <a:pt x="143651" y="253401"/>
                </a:cubicBezTo>
                <a:lnTo>
                  <a:pt x="143651" y="281078"/>
                </a:lnTo>
                <a:cubicBezTo>
                  <a:pt x="143651" y="283234"/>
                  <a:pt x="141855" y="285391"/>
                  <a:pt x="139341" y="285391"/>
                </a:cubicBezTo>
                <a:cubicBezTo>
                  <a:pt x="137186" y="285391"/>
                  <a:pt x="135391" y="283234"/>
                  <a:pt x="135391" y="281078"/>
                </a:cubicBezTo>
                <a:lnTo>
                  <a:pt x="135391" y="253401"/>
                </a:lnTo>
                <a:cubicBezTo>
                  <a:pt x="122821" y="248729"/>
                  <a:pt x="79726" y="231835"/>
                  <a:pt x="74339" y="207753"/>
                </a:cubicBezTo>
                <a:lnTo>
                  <a:pt x="52792" y="211347"/>
                </a:lnTo>
                <a:cubicBezTo>
                  <a:pt x="27294" y="216020"/>
                  <a:pt x="8978" y="237946"/>
                  <a:pt x="8978" y="263825"/>
                </a:cubicBezTo>
                <a:lnTo>
                  <a:pt x="8978" y="281078"/>
                </a:lnTo>
                <a:cubicBezTo>
                  <a:pt x="8978" y="283234"/>
                  <a:pt x="6464" y="285391"/>
                  <a:pt x="4310" y="285391"/>
                </a:cubicBezTo>
                <a:cubicBezTo>
                  <a:pt x="2155" y="285391"/>
                  <a:pt x="0" y="283234"/>
                  <a:pt x="0" y="281078"/>
                </a:cubicBezTo>
                <a:lnTo>
                  <a:pt x="0" y="263825"/>
                </a:lnTo>
                <a:cubicBezTo>
                  <a:pt x="0" y="233632"/>
                  <a:pt x="21907" y="207753"/>
                  <a:pt x="51714" y="202721"/>
                </a:cubicBezTo>
                <a:lnTo>
                  <a:pt x="53869" y="202362"/>
                </a:lnTo>
                <a:cubicBezTo>
                  <a:pt x="41659" y="183312"/>
                  <a:pt x="34476" y="152400"/>
                  <a:pt x="34476" y="119692"/>
                </a:cubicBezTo>
                <a:cubicBezTo>
                  <a:pt x="34476" y="47805"/>
                  <a:pt x="76853" y="0"/>
                  <a:pt x="139341" y="0"/>
                </a:cubicBezTo>
                <a:close/>
              </a:path>
            </a:pathLst>
          </a:custGeom>
          <a:solidFill>
            <a:srgbClr val="1A171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en-US" sz="900" dirty="0"/>
          </a:p>
        </p:txBody>
      </p:sp>
      <p:sp>
        <p:nvSpPr>
          <p:cNvPr id="12" name="Freeform 1048">
            <a:extLst>
              <a:ext uri="{FF2B5EF4-FFF2-40B4-BE49-F238E27FC236}">
                <a16:creationId xmlns:a16="http://schemas.microsoft.com/office/drawing/2014/main" id="{13579271-30CB-D64A-845F-27188DB287B4}"/>
              </a:ext>
            </a:extLst>
          </p:cNvPr>
          <p:cNvSpPr>
            <a:spLocks noChangeAspect="1" noChangeArrowheads="1"/>
          </p:cNvSpPr>
          <p:nvPr/>
        </p:nvSpPr>
        <p:spPr bwMode="auto">
          <a:xfrm>
            <a:off x="8975784" y="1585219"/>
            <a:ext cx="433213" cy="443058"/>
          </a:xfrm>
          <a:custGeom>
            <a:avLst/>
            <a:gdLst>
              <a:gd name="T0" fmla="*/ 232587 w 279041"/>
              <a:gd name="T1" fmla="*/ 257945 h 285396"/>
              <a:gd name="T2" fmla="*/ 227992 w 279041"/>
              <a:gd name="T3" fmla="*/ 286814 h 285396"/>
              <a:gd name="T4" fmla="*/ 223396 w 279041"/>
              <a:gd name="T5" fmla="*/ 257945 h 285396"/>
              <a:gd name="T6" fmla="*/ 53885 w 279041"/>
              <a:gd name="T7" fmla="*/ 253667 h 285396"/>
              <a:gd name="T8" fmla="*/ 58672 w 279041"/>
              <a:gd name="T9" fmla="*/ 282538 h 285396"/>
              <a:gd name="T10" fmla="*/ 49466 w 279041"/>
              <a:gd name="T11" fmla="*/ 282538 h 285396"/>
              <a:gd name="T12" fmla="*/ 53885 w 279041"/>
              <a:gd name="T13" fmla="*/ 253667 h 285396"/>
              <a:gd name="T14" fmla="*/ 110098 w 279041"/>
              <a:gd name="T15" fmla="*/ 180972 h 285396"/>
              <a:gd name="T16" fmla="*/ 140059 w 279041"/>
              <a:gd name="T17" fmla="*/ 247075 h 285396"/>
              <a:gd name="T18" fmla="*/ 170743 w 279041"/>
              <a:gd name="T19" fmla="*/ 180972 h 285396"/>
              <a:gd name="T20" fmla="*/ 140059 w 279041"/>
              <a:gd name="T21" fmla="*/ 188558 h 285396"/>
              <a:gd name="T22" fmla="*/ 169434 w 279041"/>
              <a:gd name="T23" fmla="*/ 78791 h 285396"/>
              <a:gd name="T24" fmla="*/ 84108 w 279041"/>
              <a:gd name="T25" fmla="*/ 89221 h 285396"/>
              <a:gd name="T26" fmla="*/ 140059 w 279041"/>
              <a:gd name="T27" fmla="*/ 180249 h 285396"/>
              <a:gd name="T28" fmla="*/ 196372 w 279041"/>
              <a:gd name="T29" fmla="*/ 87777 h 285396"/>
              <a:gd name="T30" fmla="*/ 140059 w 279041"/>
              <a:gd name="T31" fmla="*/ 9030 h 285396"/>
              <a:gd name="T32" fmla="*/ 63532 w 279041"/>
              <a:gd name="T33" fmla="*/ 201923 h 285396"/>
              <a:gd name="T34" fmla="*/ 102157 w 279041"/>
              <a:gd name="T35" fmla="*/ 178805 h 285396"/>
              <a:gd name="T36" fmla="*/ 72918 w 279041"/>
              <a:gd name="T37" fmla="*/ 107644 h 285396"/>
              <a:gd name="T38" fmla="*/ 80138 w 279041"/>
              <a:gd name="T39" fmla="*/ 78746 h 285396"/>
              <a:gd name="T40" fmla="*/ 137532 w 279041"/>
              <a:gd name="T41" fmla="*/ 79468 h 285396"/>
              <a:gd name="T42" fmla="*/ 204314 w 279041"/>
              <a:gd name="T43" fmla="*/ 83804 h 285396"/>
              <a:gd name="T44" fmla="*/ 177962 w 279041"/>
              <a:gd name="T45" fmla="*/ 175192 h 285396"/>
              <a:gd name="T46" fmla="*/ 199982 w 279041"/>
              <a:gd name="T47" fmla="*/ 199033 h 285396"/>
              <a:gd name="T48" fmla="*/ 237523 w 279041"/>
              <a:gd name="T49" fmla="*/ 120287 h 285396"/>
              <a:gd name="T50" fmla="*/ 140059 w 279041"/>
              <a:gd name="T51" fmla="*/ 0 h 285396"/>
              <a:gd name="T52" fmla="*/ 226333 w 279041"/>
              <a:gd name="T53" fmla="*/ 203368 h 285396"/>
              <a:gd name="T54" fmla="*/ 280479 w 279041"/>
              <a:gd name="T55" fmla="*/ 265136 h 285396"/>
              <a:gd name="T56" fmla="*/ 276148 w 279041"/>
              <a:gd name="T57" fmla="*/ 286809 h 285396"/>
              <a:gd name="T58" fmla="*/ 272177 w 279041"/>
              <a:gd name="T59" fmla="*/ 265136 h 285396"/>
              <a:gd name="T60" fmla="*/ 205757 w 279041"/>
              <a:gd name="T61" fmla="*/ 208786 h 285396"/>
              <a:gd name="T62" fmla="*/ 144392 w 279041"/>
              <a:gd name="T63" fmla="*/ 282476 h 285396"/>
              <a:gd name="T64" fmla="*/ 136089 w 279041"/>
              <a:gd name="T65" fmla="*/ 282476 h 285396"/>
              <a:gd name="T66" fmla="*/ 74723 w 279041"/>
              <a:gd name="T67" fmla="*/ 208786 h 285396"/>
              <a:gd name="T68" fmla="*/ 9026 w 279041"/>
              <a:gd name="T69" fmla="*/ 265136 h 285396"/>
              <a:gd name="T70" fmla="*/ 4334 w 279041"/>
              <a:gd name="T71" fmla="*/ 286809 h 285396"/>
              <a:gd name="T72" fmla="*/ 0 w 279041"/>
              <a:gd name="T73" fmla="*/ 265136 h 285396"/>
              <a:gd name="T74" fmla="*/ 54146 w 279041"/>
              <a:gd name="T75" fmla="*/ 203368 h 285396"/>
              <a:gd name="T76" fmla="*/ 140059 w 279041"/>
              <a:gd name="T77" fmla="*/ 0 h 285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9041" h="285396">
                <a:moveTo>
                  <a:pt x="226822" y="252413"/>
                </a:moveTo>
                <a:cubicBezTo>
                  <a:pt x="229489" y="252413"/>
                  <a:pt x="231394" y="254186"/>
                  <a:pt x="231394" y="256669"/>
                </a:cubicBezTo>
                <a:lnTo>
                  <a:pt x="231394" y="281140"/>
                </a:lnTo>
                <a:cubicBezTo>
                  <a:pt x="231394" y="283268"/>
                  <a:pt x="229489" y="285396"/>
                  <a:pt x="226822" y="285396"/>
                </a:cubicBezTo>
                <a:cubicBezTo>
                  <a:pt x="224155" y="285396"/>
                  <a:pt x="222250" y="283268"/>
                  <a:pt x="222250" y="281140"/>
                </a:cubicBezTo>
                <a:lnTo>
                  <a:pt x="222250" y="256669"/>
                </a:lnTo>
                <a:cubicBezTo>
                  <a:pt x="222250" y="254186"/>
                  <a:pt x="224155" y="252413"/>
                  <a:pt x="226822" y="252413"/>
                </a:cubicBezTo>
                <a:close/>
                <a:moveTo>
                  <a:pt x="53609" y="252413"/>
                </a:moveTo>
                <a:cubicBezTo>
                  <a:pt x="56174" y="252413"/>
                  <a:pt x="58372" y="254186"/>
                  <a:pt x="58372" y="256669"/>
                </a:cubicBezTo>
                <a:lnTo>
                  <a:pt x="58372" y="281140"/>
                </a:lnTo>
                <a:cubicBezTo>
                  <a:pt x="58372" y="283268"/>
                  <a:pt x="56174" y="285396"/>
                  <a:pt x="53609" y="285396"/>
                </a:cubicBezTo>
                <a:cubicBezTo>
                  <a:pt x="51045" y="285396"/>
                  <a:pt x="49213" y="283268"/>
                  <a:pt x="49213" y="281140"/>
                </a:cubicBezTo>
                <a:lnTo>
                  <a:pt x="49213" y="256669"/>
                </a:lnTo>
                <a:cubicBezTo>
                  <a:pt x="49213" y="254186"/>
                  <a:pt x="51045" y="252413"/>
                  <a:pt x="53609" y="252413"/>
                </a:cubicBezTo>
                <a:close/>
                <a:moveTo>
                  <a:pt x="110252" y="179358"/>
                </a:moveTo>
                <a:lnTo>
                  <a:pt x="109534" y="180077"/>
                </a:lnTo>
                <a:cubicBezTo>
                  <a:pt x="106301" y="193376"/>
                  <a:pt x="95887" y="203080"/>
                  <a:pt x="82958" y="205956"/>
                </a:cubicBezTo>
                <a:cubicBezTo>
                  <a:pt x="86909" y="223928"/>
                  <a:pt x="123539" y="240102"/>
                  <a:pt x="139341" y="245853"/>
                </a:cubicBezTo>
                <a:cubicBezTo>
                  <a:pt x="155502" y="240102"/>
                  <a:pt x="192133" y="223928"/>
                  <a:pt x="196801" y="205956"/>
                </a:cubicBezTo>
                <a:cubicBezTo>
                  <a:pt x="183514" y="203080"/>
                  <a:pt x="173099" y="193376"/>
                  <a:pt x="169867" y="180077"/>
                </a:cubicBezTo>
                <a:lnTo>
                  <a:pt x="169508" y="179358"/>
                </a:lnTo>
                <a:cubicBezTo>
                  <a:pt x="160529" y="185109"/>
                  <a:pt x="150474" y="187625"/>
                  <a:pt x="139341" y="187625"/>
                </a:cubicBezTo>
                <a:cubicBezTo>
                  <a:pt x="129285" y="187625"/>
                  <a:pt x="118512" y="185109"/>
                  <a:pt x="110252" y="179358"/>
                </a:cubicBezTo>
                <a:close/>
                <a:moveTo>
                  <a:pt x="168565" y="78402"/>
                </a:moveTo>
                <a:cubicBezTo>
                  <a:pt x="159721" y="78357"/>
                  <a:pt x="150833" y="81232"/>
                  <a:pt x="141496" y="86983"/>
                </a:cubicBezTo>
                <a:cubicBezTo>
                  <a:pt x="118871" y="100282"/>
                  <a:pt x="96246" y="95610"/>
                  <a:pt x="83676" y="88780"/>
                </a:cubicBezTo>
                <a:cubicBezTo>
                  <a:pt x="81881" y="94531"/>
                  <a:pt x="81163" y="100642"/>
                  <a:pt x="81163" y="107112"/>
                </a:cubicBezTo>
                <a:cubicBezTo>
                  <a:pt x="81163" y="146649"/>
                  <a:pt x="107738" y="179358"/>
                  <a:pt x="139341" y="179358"/>
                </a:cubicBezTo>
                <a:cubicBezTo>
                  <a:pt x="172021" y="179358"/>
                  <a:pt x="197879" y="146649"/>
                  <a:pt x="197879" y="107112"/>
                </a:cubicBezTo>
                <a:cubicBezTo>
                  <a:pt x="197879" y="99923"/>
                  <a:pt x="197160" y="93453"/>
                  <a:pt x="195365" y="87343"/>
                </a:cubicBezTo>
                <a:cubicBezTo>
                  <a:pt x="186207" y="81412"/>
                  <a:pt x="177408" y="78447"/>
                  <a:pt x="168565" y="78402"/>
                </a:cubicBezTo>
                <a:close/>
                <a:moveTo>
                  <a:pt x="139341" y="8986"/>
                </a:moveTo>
                <a:cubicBezTo>
                  <a:pt x="81163" y="8986"/>
                  <a:pt x="43095" y="52118"/>
                  <a:pt x="43095" y="119692"/>
                </a:cubicBezTo>
                <a:cubicBezTo>
                  <a:pt x="43095" y="152041"/>
                  <a:pt x="50996" y="184030"/>
                  <a:pt x="63206" y="200924"/>
                </a:cubicBezTo>
                <a:lnTo>
                  <a:pt x="80085" y="198048"/>
                </a:lnTo>
                <a:cubicBezTo>
                  <a:pt x="90141" y="195892"/>
                  <a:pt x="98760" y="188344"/>
                  <a:pt x="101633" y="177920"/>
                </a:cubicBezTo>
                <a:lnTo>
                  <a:pt x="102351" y="174326"/>
                </a:lnTo>
                <a:cubicBezTo>
                  <a:pt x="84395" y="159589"/>
                  <a:pt x="72544" y="135147"/>
                  <a:pt x="72544" y="107112"/>
                </a:cubicBezTo>
                <a:cubicBezTo>
                  <a:pt x="72544" y="97766"/>
                  <a:pt x="74339" y="88780"/>
                  <a:pt x="76853" y="80873"/>
                </a:cubicBezTo>
                <a:cubicBezTo>
                  <a:pt x="77212" y="80154"/>
                  <a:pt x="78290" y="78716"/>
                  <a:pt x="79726" y="78357"/>
                </a:cubicBezTo>
                <a:cubicBezTo>
                  <a:pt x="80803" y="77997"/>
                  <a:pt x="82599" y="78357"/>
                  <a:pt x="83317" y="78716"/>
                </a:cubicBezTo>
                <a:cubicBezTo>
                  <a:pt x="92296" y="84827"/>
                  <a:pt x="114920" y="92734"/>
                  <a:pt x="136827" y="79076"/>
                </a:cubicBezTo>
                <a:cubicBezTo>
                  <a:pt x="158734" y="66136"/>
                  <a:pt x="179922" y="66496"/>
                  <a:pt x="200752" y="80873"/>
                </a:cubicBezTo>
                <a:cubicBezTo>
                  <a:pt x="201829" y="81232"/>
                  <a:pt x="202906" y="81951"/>
                  <a:pt x="203265" y="83389"/>
                </a:cubicBezTo>
                <a:cubicBezTo>
                  <a:pt x="205420" y="90937"/>
                  <a:pt x="206857" y="98845"/>
                  <a:pt x="206857" y="107112"/>
                </a:cubicBezTo>
                <a:cubicBezTo>
                  <a:pt x="206857" y="135147"/>
                  <a:pt x="194646" y="159589"/>
                  <a:pt x="177049" y="174326"/>
                </a:cubicBezTo>
                <a:lnTo>
                  <a:pt x="178127" y="177920"/>
                </a:lnTo>
                <a:cubicBezTo>
                  <a:pt x="180281" y="188344"/>
                  <a:pt x="188541" y="195892"/>
                  <a:pt x="198956" y="198048"/>
                </a:cubicBezTo>
                <a:lnTo>
                  <a:pt x="216194" y="200924"/>
                </a:lnTo>
                <a:cubicBezTo>
                  <a:pt x="228404" y="184030"/>
                  <a:pt x="236305" y="152041"/>
                  <a:pt x="236305" y="119692"/>
                </a:cubicBezTo>
                <a:cubicBezTo>
                  <a:pt x="236305" y="52118"/>
                  <a:pt x="198238" y="8986"/>
                  <a:pt x="139341" y="8986"/>
                </a:cubicBezTo>
                <a:close/>
                <a:moveTo>
                  <a:pt x="139341" y="0"/>
                </a:moveTo>
                <a:cubicBezTo>
                  <a:pt x="203625" y="0"/>
                  <a:pt x="244924" y="46727"/>
                  <a:pt x="244924" y="119692"/>
                </a:cubicBezTo>
                <a:cubicBezTo>
                  <a:pt x="244924" y="152400"/>
                  <a:pt x="237382" y="183312"/>
                  <a:pt x="225172" y="202362"/>
                </a:cubicBezTo>
                <a:lnTo>
                  <a:pt x="228045" y="202721"/>
                </a:lnTo>
                <a:cubicBezTo>
                  <a:pt x="257493" y="207753"/>
                  <a:pt x="279041" y="233632"/>
                  <a:pt x="279041" y="263825"/>
                </a:cubicBezTo>
                <a:lnTo>
                  <a:pt x="279041" y="281078"/>
                </a:lnTo>
                <a:cubicBezTo>
                  <a:pt x="279041" y="283234"/>
                  <a:pt x="277605" y="285391"/>
                  <a:pt x="274732" y="285391"/>
                </a:cubicBezTo>
                <a:cubicBezTo>
                  <a:pt x="272577" y="285391"/>
                  <a:pt x="270781" y="283234"/>
                  <a:pt x="270781" y="281078"/>
                </a:cubicBezTo>
                <a:lnTo>
                  <a:pt x="270781" y="263825"/>
                </a:lnTo>
                <a:cubicBezTo>
                  <a:pt x="270781" y="237946"/>
                  <a:pt x="251747" y="216020"/>
                  <a:pt x="226249" y="211347"/>
                </a:cubicBezTo>
                <a:lnTo>
                  <a:pt x="204702" y="207753"/>
                </a:lnTo>
                <a:cubicBezTo>
                  <a:pt x="199315" y="231835"/>
                  <a:pt x="156579" y="248729"/>
                  <a:pt x="143651" y="253401"/>
                </a:cubicBezTo>
                <a:lnTo>
                  <a:pt x="143651" y="281078"/>
                </a:lnTo>
                <a:cubicBezTo>
                  <a:pt x="143651" y="283234"/>
                  <a:pt x="141855" y="285391"/>
                  <a:pt x="139341" y="285391"/>
                </a:cubicBezTo>
                <a:cubicBezTo>
                  <a:pt x="137186" y="285391"/>
                  <a:pt x="135391" y="283234"/>
                  <a:pt x="135391" y="281078"/>
                </a:cubicBezTo>
                <a:lnTo>
                  <a:pt x="135391" y="253401"/>
                </a:lnTo>
                <a:cubicBezTo>
                  <a:pt x="122821" y="248729"/>
                  <a:pt x="79726" y="231835"/>
                  <a:pt x="74339" y="207753"/>
                </a:cubicBezTo>
                <a:lnTo>
                  <a:pt x="52792" y="211347"/>
                </a:lnTo>
                <a:cubicBezTo>
                  <a:pt x="27294" y="216020"/>
                  <a:pt x="8978" y="237946"/>
                  <a:pt x="8978" y="263825"/>
                </a:cubicBezTo>
                <a:lnTo>
                  <a:pt x="8978" y="281078"/>
                </a:lnTo>
                <a:cubicBezTo>
                  <a:pt x="8978" y="283234"/>
                  <a:pt x="6464" y="285391"/>
                  <a:pt x="4310" y="285391"/>
                </a:cubicBezTo>
                <a:cubicBezTo>
                  <a:pt x="2155" y="285391"/>
                  <a:pt x="0" y="283234"/>
                  <a:pt x="0" y="281078"/>
                </a:cubicBezTo>
                <a:lnTo>
                  <a:pt x="0" y="263825"/>
                </a:lnTo>
                <a:cubicBezTo>
                  <a:pt x="0" y="233632"/>
                  <a:pt x="21907" y="207753"/>
                  <a:pt x="51714" y="202721"/>
                </a:cubicBezTo>
                <a:lnTo>
                  <a:pt x="53869" y="202362"/>
                </a:lnTo>
                <a:cubicBezTo>
                  <a:pt x="41659" y="183312"/>
                  <a:pt x="34476" y="152400"/>
                  <a:pt x="34476" y="119692"/>
                </a:cubicBezTo>
                <a:cubicBezTo>
                  <a:pt x="34476" y="47805"/>
                  <a:pt x="76853" y="0"/>
                  <a:pt x="139341" y="0"/>
                </a:cubicBezTo>
                <a:close/>
              </a:path>
            </a:pathLst>
          </a:custGeom>
          <a:solidFill>
            <a:srgbClr val="1A171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en-US" sz="900" dirty="0"/>
          </a:p>
        </p:txBody>
      </p:sp>
      <p:sp>
        <p:nvSpPr>
          <p:cNvPr id="13" name="Freeform 1048">
            <a:extLst>
              <a:ext uri="{FF2B5EF4-FFF2-40B4-BE49-F238E27FC236}">
                <a16:creationId xmlns:a16="http://schemas.microsoft.com/office/drawing/2014/main" id="{2A8FD868-7FC8-3E4C-B13B-3B5F977F0367}"/>
              </a:ext>
            </a:extLst>
          </p:cNvPr>
          <p:cNvSpPr>
            <a:spLocks noChangeAspect="1" noChangeArrowheads="1"/>
          </p:cNvSpPr>
          <p:nvPr/>
        </p:nvSpPr>
        <p:spPr bwMode="auto">
          <a:xfrm>
            <a:off x="9455089" y="1585219"/>
            <a:ext cx="433213" cy="443058"/>
          </a:xfrm>
          <a:custGeom>
            <a:avLst/>
            <a:gdLst>
              <a:gd name="T0" fmla="*/ 232587 w 279041"/>
              <a:gd name="T1" fmla="*/ 257945 h 285396"/>
              <a:gd name="T2" fmla="*/ 227992 w 279041"/>
              <a:gd name="T3" fmla="*/ 286814 h 285396"/>
              <a:gd name="T4" fmla="*/ 223396 w 279041"/>
              <a:gd name="T5" fmla="*/ 257945 h 285396"/>
              <a:gd name="T6" fmla="*/ 53885 w 279041"/>
              <a:gd name="T7" fmla="*/ 253667 h 285396"/>
              <a:gd name="T8" fmla="*/ 58672 w 279041"/>
              <a:gd name="T9" fmla="*/ 282538 h 285396"/>
              <a:gd name="T10" fmla="*/ 49466 w 279041"/>
              <a:gd name="T11" fmla="*/ 282538 h 285396"/>
              <a:gd name="T12" fmla="*/ 53885 w 279041"/>
              <a:gd name="T13" fmla="*/ 253667 h 285396"/>
              <a:gd name="T14" fmla="*/ 110098 w 279041"/>
              <a:gd name="T15" fmla="*/ 180972 h 285396"/>
              <a:gd name="T16" fmla="*/ 140059 w 279041"/>
              <a:gd name="T17" fmla="*/ 247075 h 285396"/>
              <a:gd name="T18" fmla="*/ 170743 w 279041"/>
              <a:gd name="T19" fmla="*/ 180972 h 285396"/>
              <a:gd name="T20" fmla="*/ 140059 w 279041"/>
              <a:gd name="T21" fmla="*/ 188558 h 285396"/>
              <a:gd name="T22" fmla="*/ 169434 w 279041"/>
              <a:gd name="T23" fmla="*/ 78791 h 285396"/>
              <a:gd name="T24" fmla="*/ 84108 w 279041"/>
              <a:gd name="T25" fmla="*/ 89221 h 285396"/>
              <a:gd name="T26" fmla="*/ 140059 w 279041"/>
              <a:gd name="T27" fmla="*/ 180249 h 285396"/>
              <a:gd name="T28" fmla="*/ 196372 w 279041"/>
              <a:gd name="T29" fmla="*/ 87777 h 285396"/>
              <a:gd name="T30" fmla="*/ 140059 w 279041"/>
              <a:gd name="T31" fmla="*/ 9030 h 285396"/>
              <a:gd name="T32" fmla="*/ 63532 w 279041"/>
              <a:gd name="T33" fmla="*/ 201923 h 285396"/>
              <a:gd name="T34" fmla="*/ 102157 w 279041"/>
              <a:gd name="T35" fmla="*/ 178805 h 285396"/>
              <a:gd name="T36" fmla="*/ 72918 w 279041"/>
              <a:gd name="T37" fmla="*/ 107644 h 285396"/>
              <a:gd name="T38" fmla="*/ 80138 w 279041"/>
              <a:gd name="T39" fmla="*/ 78746 h 285396"/>
              <a:gd name="T40" fmla="*/ 137532 w 279041"/>
              <a:gd name="T41" fmla="*/ 79468 h 285396"/>
              <a:gd name="T42" fmla="*/ 204314 w 279041"/>
              <a:gd name="T43" fmla="*/ 83804 h 285396"/>
              <a:gd name="T44" fmla="*/ 177962 w 279041"/>
              <a:gd name="T45" fmla="*/ 175192 h 285396"/>
              <a:gd name="T46" fmla="*/ 199982 w 279041"/>
              <a:gd name="T47" fmla="*/ 199033 h 285396"/>
              <a:gd name="T48" fmla="*/ 237523 w 279041"/>
              <a:gd name="T49" fmla="*/ 120287 h 285396"/>
              <a:gd name="T50" fmla="*/ 140059 w 279041"/>
              <a:gd name="T51" fmla="*/ 0 h 285396"/>
              <a:gd name="T52" fmla="*/ 226333 w 279041"/>
              <a:gd name="T53" fmla="*/ 203368 h 285396"/>
              <a:gd name="T54" fmla="*/ 280479 w 279041"/>
              <a:gd name="T55" fmla="*/ 265136 h 285396"/>
              <a:gd name="T56" fmla="*/ 276148 w 279041"/>
              <a:gd name="T57" fmla="*/ 286809 h 285396"/>
              <a:gd name="T58" fmla="*/ 272177 w 279041"/>
              <a:gd name="T59" fmla="*/ 265136 h 285396"/>
              <a:gd name="T60" fmla="*/ 205757 w 279041"/>
              <a:gd name="T61" fmla="*/ 208786 h 285396"/>
              <a:gd name="T62" fmla="*/ 144392 w 279041"/>
              <a:gd name="T63" fmla="*/ 282476 h 285396"/>
              <a:gd name="T64" fmla="*/ 136089 w 279041"/>
              <a:gd name="T65" fmla="*/ 282476 h 285396"/>
              <a:gd name="T66" fmla="*/ 74723 w 279041"/>
              <a:gd name="T67" fmla="*/ 208786 h 285396"/>
              <a:gd name="T68" fmla="*/ 9026 w 279041"/>
              <a:gd name="T69" fmla="*/ 265136 h 285396"/>
              <a:gd name="T70" fmla="*/ 4334 w 279041"/>
              <a:gd name="T71" fmla="*/ 286809 h 285396"/>
              <a:gd name="T72" fmla="*/ 0 w 279041"/>
              <a:gd name="T73" fmla="*/ 265136 h 285396"/>
              <a:gd name="T74" fmla="*/ 54146 w 279041"/>
              <a:gd name="T75" fmla="*/ 203368 h 285396"/>
              <a:gd name="T76" fmla="*/ 140059 w 279041"/>
              <a:gd name="T77" fmla="*/ 0 h 285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9041" h="285396">
                <a:moveTo>
                  <a:pt x="226822" y="252413"/>
                </a:moveTo>
                <a:cubicBezTo>
                  <a:pt x="229489" y="252413"/>
                  <a:pt x="231394" y="254186"/>
                  <a:pt x="231394" y="256669"/>
                </a:cubicBezTo>
                <a:lnTo>
                  <a:pt x="231394" y="281140"/>
                </a:lnTo>
                <a:cubicBezTo>
                  <a:pt x="231394" y="283268"/>
                  <a:pt x="229489" y="285396"/>
                  <a:pt x="226822" y="285396"/>
                </a:cubicBezTo>
                <a:cubicBezTo>
                  <a:pt x="224155" y="285396"/>
                  <a:pt x="222250" y="283268"/>
                  <a:pt x="222250" y="281140"/>
                </a:cubicBezTo>
                <a:lnTo>
                  <a:pt x="222250" y="256669"/>
                </a:lnTo>
                <a:cubicBezTo>
                  <a:pt x="222250" y="254186"/>
                  <a:pt x="224155" y="252413"/>
                  <a:pt x="226822" y="252413"/>
                </a:cubicBezTo>
                <a:close/>
                <a:moveTo>
                  <a:pt x="53609" y="252413"/>
                </a:moveTo>
                <a:cubicBezTo>
                  <a:pt x="56174" y="252413"/>
                  <a:pt x="58372" y="254186"/>
                  <a:pt x="58372" y="256669"/>
                </a:cubicBezTo>
                <a:lnTo>
                  <a:pt x="58372" y="281140"/>
                </a:lnTo>
                <a:cubicBezTo>
                  <a:pt x="58372" y="283268"/>
                  <a:pt x="56174" y="285396"/>
                  <a:pt x="53609" y="285396"/>
                </a:cubicBezTo>
                <a:cubicBezTo>
                  <a:pt x="51045" y="285396"/>
                  <a:pt x="49213" y="283268"/>
                  <a:pt x="49213" y="281140"/>
                </a:cubicBezTo>
                <a:lnTo>
                  <a:pt x="49213" y="256669"/>
                </a:lnTo>
                <a:cubicBezTo>
                  <a:pt x="49213" y="254186"/>
                  <a:pt x="51045" y="252413"/>
                  <a:pt x="53609" y="252413"/>
                </a:cubicBezTo>
                <a:close/>
                <a:moveTo>
                  <a:pt x="110252" y="179358"/>
                </a:moveTo>
                <a:lnTo>
                  <a:pt x="109534" y="180077"/>
                </a:lnTo>
                <a:cubicBezTo>
                  <a:pt x="106301" y="193376"/>
                  <a:pt x="95887" y="203080"/>
                  <a:pt x="82958" y="205956"/>
                </a:cubicBezTo>
                <a:cubicBezTo>
                  <a:pt x="86909" y="223928"/>
                  <a:pt x="123539" y="240102"/>
                  <a:pt x="139341" y="245853"/>
                </a:cubicBezTo>
                <a:cubicBezTo>
                  <a:pt x="155502" y="240102"/>
                  <a:pt x="192133" y="223928"/>
                  <a:pt x="196801" y="205956"/>
                </a:cubicBezTo>
                <a:cubicBezTo>
                  <a:pt x="183514" y="203080"/>
                  <a:pt x="173099" y="193376"/>
                  <a:pt x="169867" y="180077"/>
                </a:cubicBezTo>
                <a:lnTo>
                  <a:pt x="169508" y="179358"/>
                </a:lnTo>
                <a:cubicBezTo>
                  <a:pt x="160529" y="185109"/>
                  <a:pt x="150474" y="187625"/>
                  <a:pt x="139341" y="187625"/>
                </a:cubicBezTo>
                <a:cubicBezTo>
                  <a:pt x="129285" y="187625"/>
                  <a:pt x="118512" y="185109"/>
                  <a:pt x="110252" y="179358"/>
                </a:cubicBezTo>
                <a:close/>
                <a:moveTo>
                  <a:pt x="168565" y="78402"/>
                </a:moveTo>
                <a:cubicBezTo>
                  <a:pt x="159721" y="78357"/>
                  <a:pt x="150833" y="81232"/>
                  <a:pt x="141496" y="86983"/>
                </a:cubicBezTo>
                <a:cubicBezTo>
                  <a:pt x="118871" y="100282"/>
                  <a:pt x="96246" y="95610"/>
                  <a:pt x="83676" y="88780"/>
                </a:cubicBezTo>
                <a:cubicBezTo>
                  <a:pt x="81881" y="94531"/>
                  <a:pt x="81163" y="100642"/>
                  <a:pt x="81163" y="107112"/>
                </a:cubicBezTo>
                <a:cubicBezTo>
                  <a:pt x="81163" y="146649"/>
                  <a:pt x="107738" y="179358"/>
                  <a:pt x="139341" y="179358"/>
                </a:cubicBezTo>
                <a:cubicBezTo>
                  <a:pt x="172021" y="179358"/>
                  <a:pt x="197879" y="146649"/>
                  <a:pt x="197879" y="107112"/>
                </a:cubicBezTo>
                <a:cubicBezTo>
                  <a:pt x="197879" y="99923"/>
                  <a:pt x="197160" y="93453"/>
                  <a:pt x="195365" y="87343"/>
                </a:cubicBezTo>
                <a:cubicBezTo>
                  <a:pt x="186207" y="81412"/>
                  <a:pt x="177408" y="78447"/>
                  <a:pt x="168565" y="78402"/>
                </a:cubicBezTo>
                <a:close/>
                <a:moveTo>
                  <a:pt x="139341" y="8986"/>
                </a:moveTo>
                <a:cubicBezTo>
                  <a:pt x="81163" y="8986"/>
                  <a:pt x="43095" y="52118"/>
                  <a:pt x="43095" y="119692"/>
                </a:cubicBezTo>
                <a:cubicBezTo>
                  <a:pt x="43095" y="152041"/>
                  <a:pt x="50996" y="184030"/>
                  <a:pt x="63206" y="200924"/>
                </a:cubicBezTo>
                <a:lnTo>
                  <a:pt x="80085" y="198048"/>
                </a:lnTo>
                <a:cubicBezTo>
                  <a:pt x="90141" y="195892"/>
                  <a:pt x="98760" y="188344"/>
                  <a:pt x="101633" y="177920"/>
                </a:cubicBezTo>
                <a:lnTo>
                  <a:pt x="102351" y="174326"/>
                </a:lnTo>
                <a:cubicBezTo>
                  <a:pt x="84395" y="159589"/>
                  <a:pt x="72544" y="135147"/>
                  <a:pt x="72544" y="107112"/>
                </a:cubicBezTo>
                <a:cubicBezTo>
                  <a:pt x="72544" y="97766"/>
                  <a:pt x="74339" y="88780"/>
                  <a:pt x="76853" y="80873"/>
                </a:cubicBezTo>
                <a:cubicBezTo>
                  <a:pt x="77212" y="80154"/>
                  <a:pt x="78290" y="78716"/>
                  <a:pt x="79726" y="78357"/>
                </a:cubicBezTo>
                <a:cubicBezTo>
                  <a:pt x="80803" y="77997"/>
                  <a:pt x="82599" y="78357"/>
                  <a:pt x="83317" y="78716"/>
                </a:cubicBezTo>
                <a:cubicBezTo>
                  <a:pt x="92296" y="84827"/>
                  <a:pt x="114920" y="92734"/>
                  <a:pt x="136827" y="79076"/>
                </a:cubicBezTo>
                <a:cubicBezTo>
                  <a:pt x="158734" y="66136"/>
                  <a:pt x="179922" y="66496"/>
                  <a:pt x="200752" y="80873"/>
                </a:cubicBezTo>
                <a:cubicBezTo>
                  <a:pt x="201829" y="81232"/>
                  <a:pt x="202906" y="81951"/>
                  <a:pt x="203265" y="83389"/>
                </a:cubicBezTo>
                <a:cubicBezTo>
                  <a:pt x="205420" y="90937"/>
                  <a:pt x="206857" y="98845"/>
                  <a:pt x="206857" y="107112"/>
                </a:cubicBezTo>
                <a:cubicBezTo>
                  <a:pt x="206857" y="135147"/>
                  <a:pt x="194646" y="159589"/>
                  <a:pt x="177049" y="174326"/>
                </a:cubicBezTo>
                <a:lnTo>
                  <a:pt x="178127" y="177920"/>
                </a:lnTo>
                <a:cubicBezTo>
                  <a:pt x="180281" y="188344"/>
                  <a:pt x="188541" y="195892"/>
                  <a:pt x="198956" y="198048"/>
                </a:cubicBezTo>
                <a:lnTo>
                  <a:pt x="216194" y="200924"/>
                </a:lnTo>
                <a:cubicBezTo>
                  <a:pt x="228404" y="184030"/>
                  <a:pt x="236305" y="152041"/>
                  <a:pt x="236305" y="119692"/>
                </a:cubicBezTo>
                <a:cubicBezTo>
                  <a:pt x="236305" y="52118"/>
                  <a:pt x="198238" y="8986"/>
                  <a:pt x="139341" y="8986"/>
                </a:cubicBezTo>
                <a:close/>
                <a:moveTo>
                  <a:pt x="139341" y="0"/>
                </a:moveTo>
                <a:cubicBezTo>
                  <a:pt x="203625" y="0"/>
                  <a:pt x="244924" y="46727"/>
                  <a:pt x="244924" y="119692"/>
                </a:cubicBezTo>
                <a:cubicBezTo>
                  <a:pt x="244924" y="152400"/>
                  <a:pt x="237382" y="183312"/>
                  <a:pt x="225172" y="202362"/>
                </a:cubicBezTo>
                <a:lnTo>
                  <a:pt x="228045" y="202721"/>
                </a:lnTo>
                <a:cubicBezTo>
                  <a:pt x="257493" y="207753"/>
                  <a:pt x="279041" y="233632"/>
                  <a:pt x="279041" y="263825"/>
                </a:cubicBezTo>
                <a:lnTo>
                  <a:pt x="279041" y="281078"/>
                </a:lnTo>
                <a:cubicBezTo>
                  <a:pt x="279041" y="283234"/>
                  <a:pt x="277605" y="285391"/>
                  <a:pt x="274732" y="285391"/>
                </a:cubicBezTo>
                <a:cubicBezTo>
                  <a:pt x="272577" y="285391"/>
                  <a:pt x="270781" y="283234"/>
                  <a:pt x="270781" y="281078"/>
                </a:cubicBezTo>
                <a:lnTo>
                  <a:pt x="270781" y="263825"/>
                </a:lnTo>
                <a:cubicBezTo>
                  <a:pt x="270781" y="237946"/>
                  <a:pt x="251747" y="216020"/>
                  <a:pt x="226249" y="211347"/>
                </a:cubicBezTo>
                <a:lnTo>
                  <a:pt x="204702" y="207753"/>
                </a:lnTo>
                <a:cubicBezTo>
                  <a:pt x="199315" y="231835"/>
                  <a:pt x="156579" y="248729"/>
                  <a:pt x="143651" y="253401"/>
                </a:cubicBezTo>
                <a:lnTo>
                  <a:pt x="143651" y="281078"/>
                </a:lnTo>
                <a:cubicBezTo>
                  <a:pt x="143651" y="283234"/>
                  <a:pt x="141855" y="285391"/>
                  <a:pt x="139341" y="285391"/>
                </a:cubicBezTo>
                <a:cubicBezTo>
                  <a:pt x="137186" y="285391"/>
                  <a:pt x="135391" y="283234"/>
                  <a:pt x="135391" y="281078"/>
                </a:cubicBezTo>
                <a:lnTo>
                  <a:pt x="135391" y="253401"/>
                </a:lnTo>
                <a:cubicBezTo>
                  <a:pt x="122821" y="248729"/>
                  <a:pt x="79726" y="231835"/>
                  <a:pt x="74339" y="207753"/>
                </a:cubicBezTo>
                <a:lnTo>
                  <a:pt x="52792" y="211347"/>
                </a:lnTo>
                <a:cubicBezTo>
                  <a:pt x="27294" y="216020"/>
                  <a:pt x="8978" y="237946"/>
                  <a:pt x="8978" y="263825"/>
                </a:cubicBezTo>
                <a:lnTo>
                  <a:pt x="8978" y="281078"/>
                </a:lnTo>
                <a:cubicBezTo>
                  <a:pt x="8978" y="283234"/>
                  <a:pt x="6464" y="285391"/>
                  <a:pt x="4310" y="285391"/>
                </a:cubicBezTo>
                <a:cubicBezTo>
                  <a:pt x="2155" y="285391"/>
                  <a:pt x="0" y="283234"/>
                  <a:pt x="0" y="281078"/>
                </a:cubicBezTo>
                <a:lnTo>
                  <a:pt x="0" y="263825"/>
                </a:lnTo>
                <a:cubicBezTo>
                  <a:pt x="0" y="233632"/>
                  <a:pt x="21907" y="207753"/>
                  <a:pt x="51714" y="202721"/>
                </a:cubicBezTo>
                <a:lnTo>
                  <a:pt x="53869" y="202362"/>
                </a:lnTo>
                <a:cubicBezTo>
                  <a:pt x="41659" y="183312"/>
                  <a:pt x="34476" y="152400"/>
                  <a:pt x="34476" y="119692"/>
                </a:cubicBezTo>
                <a:cubicBezTo>
                  <a:pt x="34476" y="47805"/>
                  <a:pt x="76853" y="0"/>
                  <a:pt x="139341" y="0"/>
                </a:cubicBezTo>
                <a:close/>
              </a:path>
            </a:pathLst>
          </a:custGeom>
          <a:solidFill>
            <a:srgbClr val="1A171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en-US" sz="900" dirty="0"/>
          </a:p>
        </p:txBody>
      </p:sp>
      <p:sp>
        <p:nvSpPr>
          <p:cNvPr id="14" name="Freeform 1048">
            <a:extLst>
              <a:ext uri="{FF2B5EF4-FFF2-40B4-BE49-F238E27FC236}">
                <a16:creationId xmlns:a16="http://schemas.microsoft.com/office/drawing/2014/main" id="{C6F55C1A-E1D6-B94A-99FD-F632991831FB}"/>
              </a:ext>
            </a:extLst>
          </p:cNvPr>
          <p:cNvSpPr>
            <a:spLocks noChangeAspect="1" noChangeArrowheads="1"/>
          </p:cNvSpPr>
          <p:nvPr/>
        </p:nvSpPr>
        <p:spPr bwMode="auto">
          <a:xfrm>
            <a:off x="9934394" y="1585219"/>
            <a:ext cx="433213" cy="443058"/>
          </a:xfrm>
          <a:custGeom>
            <a:avLst/>
            <a:gdLst>
              <a:gd name="T0" fmla="*/ 232587 w 279041"/>
              <a:gd name="T1" fmla="*/ 257945 h 285396"/>
              <a:gd name="T2" fmla="*/ 227992 w 279041"/>
              <a:gd name="T3" fmla="*/ 286814 h 285396"/>
              <a:gd name="T4" fmla="*/ 223396 w 279041"/>
              <a:gd name="T5" fmla="*/ 257945 h 285396"/>
              <a:gd name="T6" fmla="*/ 53885 w 279041"/>
              <a:gd name="T7" fmla="*/ 253667 h 285396"/>
              <a:gd name="T8" fmla="*/ 58672 w 279041"/>
              <a:gd name="T9" fmla="*/ 282538 h 285396"/>
              <a:gd name="T10" fmla="*/ 49466 w 279041"/>
              <a:gd name="T11" fmla="*/ 282538 h 285396"/>
              <a:gd name="T12" fmla="*/ 53885 w 279041"/>
              <a:gd name="T13" fmla="*/ 253667 h 285396"/>
              <a:gd name="T14" fmla="*/ 110098 w 279041"/>
              <a:gd name="T15" fmla="*/ 180972 h 285396"/>
              <a:gd name="T16" fmla="*/ 140059 w 279041"/>
              <a:gd name="T17" fmla="*/ 247075 h 285396"/>
              <a:gd name="T18" fmla="*/ 170743 w 279041"/>
              <a:gd name="T19" fmla="*/ 180972 h 285396"/>
              <a:gd name="T20" fmla="*/ 140059 w 279041"/>
              <a:gd name="T21" fmla="*/ 188558 h 285396"/>
              <a:gd name="T22" fmla="*/ 169434 w 279041"/>
              <a:gd name="T23" fmla="*/ 78791 h 285396"/>
              <a:gd name="T24" fmla="*/ 84108 w 279041"/>
              <a:gd name="T25" fmla="*/ 89221 h 285396"/>
              <a:gd name="T26" fmla="*/ 140059 w 279041"/>
              <a:gd name="T27" fmla="*/ 180249 h 285396"/>
              <a:gd name="T28" fmla="*/ 196372 w 279041"/>
              <a:gd name="T29" fmla="*/ 87777 h 285396"/>
              <a:gd name="T30" fmla="*/ 140059 w 279041"/>
              <a:gd name="T31" fmla="*/ 9030 h 285396"/>
              <a:gd name="T32" fmla="*/ 63532 w 279041"/>
              <a:gd name="T33" fmla="*/ 201923 h 285396"/>
              <a:gd name="T34" fmla="*/ 102157 w 279041"/>
              <a:gd name="T35" fmla="*/ 178805 h 285396"/>
              <a:gd name="T36" fmla="*/ 72918 w 279041"/>
              <a:gd name="T37" fmla="*/ 107644 h 285396"/>
              <a:gd name="T38" fmla="*/ 80138 w 279041"/>
              <a:gd name="T39" fmla="*/ 78746 h 285396"/>
              <a:gd name="T40" fmla="*/ 137532 w 279041"/>
              <a:gd name="T41" fmla="*/ 79468 h 285396"/>
              <a:gd name="T42" fmla="*/ 204314 w 279041"/>
              <a:gd name="T43" fmla="*/ 83804 h 285396"/>
              <a:gd name="T44" fmla="*/ 177962 w 279041"/>
              <a:gd name="T45" fmla="*/ 175192 h 285396"/>
              <a:gd name="T46" fmla="*/ 199982 w 279041"/>
              <a:gd name="T47" fmla="*/ 199033 h 285396"/>
              <a:gd name="T48" fmla="*/ 237523 w 279041"/>
              <a:gd name="T49" fmla="*/ 120287 h 285396"/>
              <a:gd name="T50" fmla="*/ 140059 w 279041"/>
              <a:gd name="T51" fmla="*/ 0 h 285396"/>
              <a:gd name="T52" fmla="*/ 226333 w 279041"/>
              <a:gd name="T53" fmla="*/ 203368 h 285396"/>
              <a:gd name="T54" fmla="*/ 280479 w 279041"/>
              <a:gd name="T55" fmla="*/ 265136 h 285396"/>
              <a:gd name="T56" fmla="*/ 276148 w 279041"/>
              <a:gd name="T57" fmla="*/ 286809 h 285396"/>
              <a:gd name="T58" fmla="*/ 272177 w 279041"/>
              <a:gd name="T59" fmla="*/ 265136 h 285396"/>
              <a:gd name="T60" fmla="*/ 205757 w 279041"/>
              <a:gd name="T61" fmla="*/ 208786 h 285396"/>
              <a:gd name="T62" fmla="*/ 144392 w 279041"/>
              <a:gd name="T63" fmla="*/ 282476 h 285396"/>
              <a:gd name="T64" fmla="*/ 136089 w 279041"/>
              <a:gd name="T65" fmla="*/ 282476 h 285396"/>
              <a:gd name="T66" fmla="*/ 74723 w 279041"/>
              <a:gd name="T67" fmla="*/ 208786 h 285396"/>
              <a:gd name="T68" fmla="*/ 9026 w 279041"/>
              <a:gd name="T69" fmla="*/ 265136 h 285396"/>
              <a:gd name="T70" fmla="*/ 4334 w 279041"/>
              <a:gd name="T71" fmla="*/ 286809 h 285396"/>
              <a:gd name="T72" fmla="*/ 0 w 279041"/>
              <a:gd name="T73" fmla="*/ 265136 h 285396"/>
              <a:gd name="T74" fmla="*/ 54146 w 279041"/>
              <a:gd name="T75" fmla="*/ 203368 h 285396"/>
              <a:gd name="T76" fmla="*/ 140059 w 279041"/>
              <a:gd name="T77" fmla="*/ 0 h 285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9041" h="285396">
                <a:moveTo>
                  <a:pt x="226822" y="252413"/>
                </a:moveTo>
                <a:cubicBezTo>
                  <a:pt x="229489" y="252413"/>
                  <a:pt x="231394" y="254186"/>
                  <a:pt x="231394" y="256669"/>
                </a:cubicBezTo>
                <a:lnTo>
                  <a:pt x="231394" y="281140"/>
                </a:lnTo>
                <a:cubicBezTo>
                  <a:pt x="231394" y="283268"/>
                  <a:pt x="229489" y="285396"/>
                  <a:pt x="226822" y="285396"/>
                </a:cubicBezTo>
                <a:cubicBezTo>
                  <a:pt x="224155" y="285396"/>
                  <a:pt x="222250" y="283268"/>
                  <a:pt x="222250" y="281140"/>
                </a:cubicBezTo>
                <a:lnTo>
                  <a:pt x="222250" y="256669"/>
                </a:lnTo>
                <a:cubicBezTo>
                  <a:pt x="222250" y="254186"/>
                  <a:pt x="224155" y="252413"/>
                  <a:pt x="226822" y="252413"/>
                </a:cubicBezTo>
                <a:close/>
                <a:moveTo>
                  <a:pt x="53609" y="252413"/>
                </a:moveTo>
                <a:cubicBezTo>
                  <a:pt x="56174" y="252413"/>
                  <a:pt x="58372" y="254186"/>
                  <a:pt x="58372" y="256669"/>
                </a:cubicBezTo>
                <a:lnTo>
                  <a:pt x="58372" y="281140"/>
                </a:lnTo>
                <a:cubicBezTo>
                  <a:pt x="58372" y="283268"/>
                  <a:pt x="56174" y="285396"/>
                  <a:pt x="53609" y="285396"/>
                </a:cubicBezTo>
                <a:cubicBezTo>
                  <a:pt x="51045" y="285396"/>
                  <a:pt x="49213" y="283268"/>
                  <a:pt x="49213" y="281140"/>
                </a:cubicBezTo>
                <a:lnTo>
                  <a:pt x="49213" y="256669"/>
                </a:lnTo>
                <a:cubicBezTo>
                  <a:pt x="49213" y="254186"/>
                  <a:pt x="51045" y="252413"/>
                  <a:pt x="53609" y="252413"/>
                </a:cubicBezTo>
                <a:close/>
                <a:moveTo>
                  <a:pt x="110252" y="179358"/>
                </a:moveTo>
                <a:lnTo>
                  <a:pt x="109534" y="180077"/>
                </a:lnTo>
                <a:cubicBezTo>
                  <a:pt x="106301" y="193376"/>
                  <a:pt x="95887" y="203080"/>
                  <a:pt x="82958" y="205956"/>
                </a:cubicBezTo>
                <a:cubicBezTo>
                  <a:pt x="86909" y="223928"/>
                  <a:pt x="123539" y="240102"/>
                  <a:pt x="139341" y="245853"/>
                </a:cubicBezTo>
                <a:cubicBezTo>
                  <a:pt x="155502" y="240102"/>
                  <a:pt x="192133" y="223928"/>
                  <a:pt x="196801" y="205956"/>
                </a:cubicBezTo>
                <a:cubicBezTo>
                  <a:pt x="183514" y="203080"/>
                  <a:pt x="173099" y="193376"/>
                  <a:pt x="169867" y="180077"/>
                </a:cubicBezTo>
                <a:lnTo>
                  <a:pt x="169508" y="179358"/>
                </a:lnTo>
                <a:cubicBezTo>
                  <a:pt x="160529" y="185109"/>
                  <a:pt x="150474" y="187625"/>
                  <a:pt x="139341" y="187625"/>
                </a:cubicBezTo>
                <a:cubicBezTo>
                  <a:pt x="129285" y="187625"/>
                  <a:pt x="118512" y="185109"/>
                  <a:pt x="110252" y="179358"/>
                </a:cubicBezTo>
                <a:close/>
                <a:moveTo>
                  <a:pt x="168565" y="78402"/>
                </a:moveTo>
                <a:cubicBezTo>
                  <a:pt x="159721" y="78357"/>
                  <a:pt x="150833" y="81232"/>
                  <a:pt x="141496" y="86983"/>
                </a:cubicBezTo>
                <a:cubicBezTo>
                  <a:pt x="118871" y="100282"/>
                  <a:pt x="96246" y="95610"/>
                  <a:pt x="83676" y="88780"/>
                </a:cubicBezTo>
                <a:cubicBezTo>
                  <a:pt x="81881" y="94531"/>
                  <a:pt x="81163" y="100642"/>
                  <a:pt x="81163" y="107112"/>
                </a:cubicBezTo>
                <a:cubicBezTo>
                  <a:pt x="81163" y="146649"/>
                  <a:pt x="107738" y="179358"/>
                  <a:pt x="139341" y="179358"/>
                </a:cubicBezTo>
                <a:cubicBezTo>
                  <a:pt x="172021" y="179358"/>
                  <a:pt x="197879" y="146649"/>
                  <a:pt x="197879" y="107112"/>
                </a:cubicBezTo>
                <a:cubicBezTo>
                  <a:pt x="197879" y="99923"/>
                  <a:pt x="197160" y="93453"/>
                  <a:pt x="195365" y="87343"/>
                </a:cubicBezTo>
                <a:cubicBezTo>
                  <a:pt x="186207" y="81412"/>
                  <a:pt x="177408" y="78447"/>
                  <a:pt x="168565" y="78402"/>
                </a:cubicBezTo>
                <a:close/>
                <a:moveTo>
                  <a:pt x="139341" y="8986"/>
                </a:moveTo>
                <a:cubicBezTo>
                  <a:pt x="81163" y="8986"/>
                  <a:pt x="43095" y="52118"/>
                  <a:pt x="43095" y="119692"/>
                </a:cubicBezTo>
                <a:cubicBezTo>
                  <a:pt x="43095" y="152041"/>
                  <a:pt x="50996" y="184030"/>
                  <a:pt x="63206" y="200924"/>
                </a:cubicBezTo>
                <a:lnTo>
                  <a:pt x="80085" y="198048"/>
                </a:lnTo>
                <a:cubicBezTo>
                  <a:pt x="90141" y="195892"/>
                  <a:pt x="98760" y="188344"/>
                  <a:pt x="101633" y="177920"/>
                </a:cubicBezTo>
                <a:lnTo>
                  <a:pt x="102351" y="174326"/>
                </a:lnTo>
                <a:cubicBezTo>
                  <a:pt x="84395" y="159589"/>
                  <a:pt x="72544" y="135147"/>
                  <a:pt x="72544" y="107112"/>
                </a:cubicBezTo>
                <a:cubicBezTo>
                  <a:pt x="72544" y="97766"/>
                  <a:pt x="74339" y="88780"/>
                  <a:pt x="76853" y="80873"/>
                </a:cubicBezTo>
                <a:cubicBezTo>
                  <a:pt x="77212" y="80154"/>
                  <a:pt x="78290" y="78716"/>
                  <a:pt x="79726" y="78357"/>
                </a:cubicBezTo>
                <a:cubicBezTo>
                  <a:pt x="80803" y="77997"/>
                  <a:pt x="82599" y="78357"/>
                  <a:pt x="83317" y="78716"/>
                </a:cubicBezTo>
                <a:cubicBezTo>
                  <a:pt x="92296" y="84827"/>
                  <a:pt x="114920" y="92734"/>
                  <a:pt x="136827" y="79076"/>
                </a:cubicBezTo>
                <a:cubicBezTo>
                  <a:pt x="158734" y="66136"/>
                  <a:pt x="179922" y="66496"/>
                  <a:pt x="200752" y="80873"/>
                </a:cubicBezTo>
                <a:cubicBezTo>
                  <a:pt x="201829" y="81232"/>
                  <a:pt x="202906" y="81951"/>
                  <a:pt x="203265" y="83389"/>
                </a:cubicBezTo>
                <a:cubicBezTo>
                  <a:pt x="205420" y="90937"/>
                  <a:pt x="206857" y="98845"/>
                  <a:pt x="206857" y="107112"/>
                </a:cubicBezTo>
                <a:cubicBezTo>
                  <a:pt x="206857" y="135147"/>
                  <a:pt x="194646" y="159589"/>
                  <a:pt x="177049" y="174326"/>
                </a:cubicBezTo>
                <a:lnTo>
                  <a:pt x="178127" y="177920"/>
                </a:lnTo>
                <a:cubicBezTo>
                  <a:pt x="180281" y="188344"/>
                  <a:pt x="188541" y="195892"/>
                  <a:pt x="198956" y="198048"/>
                </a:cubicBezTo>
                <a:lnTo>
                  <a:pt x="216194" y="200924"/>
                </a:lnTo>
                <a:cubicBezTo>
                  <a:pt x="228404" y="184030"/>
                  <a:pt x="236305" y="152041"/>
                  <a:pt x="236305" y="119692"/>
                </a:cubicBezTo>
                <a:cubicBezTo>
                  <a:pt x="236305" y="52118"/>
                  <a:pt x="198238" y="8986"/>
                  <a:pt x="139341" y="8986"/>
                </a:cubicBezTo>
                <a:close/>
                <a:moveTo>
                  <a:pt x="139341" y="0"/>
                </a:moveTo>
                <a:cubicBezTo>
                  <a:pt x="203625" y="0"/>
                  <a:pt x="244924" y="46727"/>
                  <a:pt x="244924" y="119692"/>
                </a:cubicBezTo>
                <a:cubicBezTo>
                  <a:pt x="244924" y="152400"/>
                  <a:pt x="237382" y="183312"/>
                  <a:pt x="225172" y="202362"/>
                </a:cubicBezTo>
                <a:lnTo>
                  <a:pt x="228045" y="202721"/>
                </a:lnTo>
                <a:cubicBezTo>
                  <a:pt x="257493" y="207753"/>
                  <a:pt x="279041" y="233632"/>
                  <a:pt x="279041" y="263825"/>
                </a:cubicBezTo>
                <a:lnTo>
                  <a:pt x="279041" y="281078"/>
                </a:lnTo>
                <a:cubicBezTo>
                  <a:pt x="279041" y="283234"/>
                  <a:pt x="277605" y="285391"/>
                  <a:pt x="274732" y="285391"/>
                </a:cubicBezTo>
                <a:cubicBezTo>
                  <a:pt x="272577" y="285391"/>
                  <a:pt x="270781" y="283234"/>
                  <a:pt x="270781" y="281078"/>
                </a:cubicBezTo>
                <a:lnTo>
                  <a:pt x="270781" y="263825"/>
                </a:lnTo>
                <a:cubicBezTo>
                  <a:pt x="270781" y="237946"/>
                  <a:pt x="251747" y="216020"/>
                  <a:pt x="226249" y="211347"/>
                </a:cubicBezTo>
                <a:lnTo>
                  <a:pt x="204702" y="207753"/>
                </a:lnTo>
                <a:cubicBezTo>
                  <a:pt x="199315" y="231835"/>
                  <a:pt x="156579" y="248729"/>
                  <a:pt x="143651" y="253401"/>
                </a:cubicBezTo>
                <a:lnTo>
                  <a:pt x="143651" y="281078"/>
                </a:lnTo>
                <a:cubicBezTo>
                  <a:pt x="143651" y="283234"/>
                  <a:pt x="141855" y="285391"/>
                  <a:pt x="139341" y="285391"/>
                </a:cubicBezTo>
                <a:cubicBezTo>
                  <a:pt x="137186" y="285391"/>
                  <a:pt x="135391" y="283234"/>
                  <a:pt x="135391" y="281078"/>
                </a:cubicBezTo>
                <a:lnTo>
                  <a:pt x="135391" y="253401"/>
                </a:lnTo>
                <a:cubicBezTo>
                  <a:pt x="122821" y="248729"/>
                  <a:pt x="79726" y="231835"/>
                  <a:pt x="74339" y="207753"/>
                </a:cubicBezTo>
                <a:lnTo>
                  <a:pt x="52792" y="211347"/>
                </a:lnTo>
                <a:cubicBezTo>
                  <a:pt x="27294" y="216020"/>
                  <a:pt x="8978" y="237946"/>
                  <a:pt x="8978" y="263825"/>
                </a:cubicBezTo>
                <a:lnTo>
                  <a:pt x="8978" y="281078"/>
                </a:lnTo>
                <a:cubicBezTo>
                  <a:pt x="8978" y="283234"/>
                  <a:pt x="6464" y="285391"/>
                  <a:pt x="4310" y="285391"/>
                </a:cubicBezTo>
                <a:cubicBezTo>
                  <a:pt x="2155" y="285391"/>
                  <a:pt x="0" y="283234"/>
                  <a:pt x="0" y="281078"/>
                </a:cubicBezTo>
                <a:lnTo>
                  <a:pt x="0" y="263825"/>
                </a:lnTo>
                <a:cubicBezTo>
                  <a:pt x="0" y="233632"/>
                  <a:pt x="21907" y="207753"/>
                  <a:pt x="51714" y="202721"/>
                </a:cubicBezTo>
                <a:lnTo>
                  <a:pt x="53869" y="202362"/>
                </a:lnTo>
                <a:cubicBezTo>
                  <a:pt x="41659" y="183312"/>
                  <a:pt x="34476" y="152400"/>
                  <a:pt x="34476" y="119692"/>
                </a:cubicBezTo>
                <a:cubicBezTo>
                  <a:pt x="34476" y="47805"/>
                  <a:pt x="76853" y="0"/>
                  <a:pt x="139341" y="0"/>
                </a:cubicBezTo>
                <a:close/>
              </a:path>
            </a:pathLst>
          </a:custGeom>
          <a:solidFill>
            <a:srgbClr val="1A171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en-US" sz="900" dirty="0"/>
          </a:p>
        </p:txBody>
      </p:sp>
      <p:sp>
        <p:nvSpPr>
          <p:cNvPr id="15" name="Freeform 1048">
            <a:extLst>
              <a:ext uri="{FF2B5EF4-FFF2-40B4-BE49-F238E27FC236}">
                <a16:creationId xmlns:a16="http://schemas.microsoft.com/office/drawing/2014/main" id="{BCE3F2A5-8B17-E94F-80F6-BF383311211F}"/>
              </a:ext>
            </a:extLst>
          </p:cNvPr>
          <p:cNvSpPr>
            <a:spLocks noChangeAspect="1" noChangeArrowheads="1"/>
          </p:cNvSpPr>
          <p:nvPr/>
        </p:nvSpPr>
        <p:spPr bwMode="auto">
          <a:xfrm>
            <a:off x="10413699" y="1585219"/>
            <a:ext cx="433213" cy="443058"/>
          </a:xfrm>
          <a:custGeom>
            <a:avLst/>
            <a:gdLst>
              <a:gd name="T0" fmla="*/ 232587 w 279041"/>
              <a:gd name="T1" fmla="*/ 257945 h 285396"/>
              <a:gd name="T2" fmla="*/ 227992 w 279041"/>
              <a:gd name="T3" fmla="*/ 286814 h 285396"/>
              <a:gd name="T4" fmla="*/ 223396 w 279041"/>
              <a:gd name="T5" fmla="*/ 257945 h 285396"/>
              <a:gd name="T6" fmla="*/ 53885 w 279041"/>
              <a:gd name="T7" fmla="*/ 253667 h 285396"/>
              <a:gd name="T8" fmla="*/ 58672 w 279041"/>
              <a:gd name="T9" fmla="*/ 282538 h 285396"/>
              <a:gd name="T10" fmla="*/ 49466 w 279041"/>
              <a:gd name="T11" fmla="*/ 282538 h 285396"/>
              <a:gd name="T12" fmla="*/ 53885 w 279041"/>
              <a:gd name="T13" fmla="*/ 253667 h 285396"/>
              <a:gd name="T14" fmla="*/ 110098 w 279041"/>
              <a:gd name="T15" fmla="*/ 180972 h 285396"/>
              <a:gd name="T16" fmla="*/ 140059 w 279041"/>
              <a:gd name="T17" fmla="*/ 247075 h 285396"/>
              <a:gd name="T18" fmla="*/ 170743 w 279041"/>
              <a:gd name="T19" fmla="*/ 180972 h 285396"/>
              <a:gd name="T20" fmla="*/ 140059 w 279041"/>
              <a:gd name="T21" fmla="*/ 188558 h 285396"/>
              <a:gd name="T22" fmla="*/ 169434 w 279041"/>
              <a:gd name="T23" fmla="*/ 78791 h 285396"/>
              <a:gd name="T24" fmla="*/ 84108 w 279041"/>
              <a:gd name="T25" fmla="*/ 89221 h 285396"/>
              <a:gd name="T26" fmla="*/ 140059 w 279041"/>
              <a:gd name="T27" fmla="*/ 180249 h 285396"/>
              <a:gd name="T28" fmla="*/ 196372 w 279041"/>
              <a:gd name="T29" fmla="*/ 87777 h 285396"/>
              <a:gd name="T30" fmla="*/ 140059 w 279041"/>
              <a:gd name="T31" fmla="*/ 9030 h 285396"/>
              <a:gd name="T32" fmla="*/ 63532 w 279041"/>
              <a:gd name="T33" fmla="*/ 201923 h 285396"/>
              <a:gd name="T34" fmla="*/ 102157 w 279041"/>
              <a:gd name="T35" fmla="*/ 178805 h 285396"/>
              <a:gd name="T36" fmla="*/ 72918 w 279041"/>
              <a:gd name="T37" fmla="*/ 107644 h 285396"/>
              <a:gd name="T38" fmla="*/ 80138 w 279041"/>
              <a:gd name="T39" fmla="*/ 78746 h 285396"/>
              <a:gd name="T40" fmla="*/ 137532 w 279041"/>
              <a:gd name="T41" fmla="*/ 79468 h 285396"/>
              <a:gd name="T42" fmla="*/ 204314 w 279041"/>
              <a:gd name="T43" fmla="*/ 83804 h 285396"/>
              <a:gd name="T44" fmla="*/ 177962 w 279041"/>
              <a:gd name="T45" fmla="*/ 175192 h 285396"/>
              <a:gd name="T46" fmla="*/ 199982 w 279041"/>
              <a:gd name="T47" fmla="*/ 199033 h 285396"/>
              <a:gd name="T48" fmla="*/ 237523 w 279041"/>
              <a:gd name="T49" fmla="*/ 120287 h 285396"/>
              <a:gd name="T50" fmla="*/ 140059 w 279041"/>
              <a:gd name="T51" fmla="*/ 0 h 285396"/>
              <a:gd name="T52" fmla="*/ 226333 w 279041"/>
              <a:gd name="T53" fmla="*/ 203368 h 285396"/>
              <a:gd name="T54" fmla="*/ 280479 w 279041"/>
              <a:gd name="T55" fmla="*/ 265136 h 285396"/>
              <a:gd name="T56" fmla="*/ 276148 w 279041"/>
              <a:gd name="T57" fmla="*/ 286809 h 285396"/>
              <a:gd name="T58" fmla="*/ 272177 w 279041"/>
              <a:gd name="T59" fmla="*/ 265136 h 285396"/>
              <a:gd name="T60" fmla="*/ 205757 w 279041"/>
              <a:gd name="T61" fmla="*/ 208786 h 285396"/>
              <a:gd name="T62" fmla="*/ 144392 w 279041"/>
              <a:gd name="T63" fmla="*/ 282476 h 285396"/>
              <a:gd name="T64" fmla="*/ 136089 w 279041"/>
              <a:gd name="T65" fmla="*/ 282476 h 285396"/>
              <a:gd name="T66" fmla="*/ 74723 w 279041"/>
              <a:gd name="T67" fmla="*/ 208786 h 285396"/>
              <a:gd name="T68" fmla="*/ 9026 w 279041"/>
              <a:gd name="T69" fmla="*/ 265136 h 285396"/>
              <a:gd name="T70" fmla="*/ 4334 w 279041"/>
              <a:gd name="T71" fmla="*/ 286809 h 285396"/>
              <a:gd name="T72" fmla="*/ 0 w 279041"/>
              <a:gd name="T73" fmla="*/ 265136 h 285396"/>
              <a:gd name="T74" fmla="*/ 54146 w 279041"/>
              <a:gd name="T75" fmla="*/ 203368 h 285396"/>
              <a:gd name="T76" fmla="*/ 140059 w 279041"/>
              <a:gd name="T77" fmla="*/ 0 h 285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9041" h="285396">
                <a:moveTo>
                  <a:pt x="226822" y="252413"/>
                </a:moveTo>
                <a:cubicBezTo>
                  <a:pt x="229489" y="252413"/>
                  <a:pt x="231394" y="254186"/>
                  <a:pt x="231394" y="256669"/>
                </a:cubicBezTo>
                <a:lnTo>
                  <a:pt x="231394" y="281140"/>
                </a:lnTo>
                <a:cubicBezTo>
                  <a:pt x="231394" y="283268"/>
                  <a:pt x="229489" y="285396"/>
                  <a:pt x="226822" y="285396"/>
                </a:cubicBezTo>
                <a:cubicBezTo>
                  <a:pt x="224155" y="285396"/>
                  <a:pt x="222250" y="283268"/>
                  <a:pt x="222250" y="281140"/>
                </a:cubicBezTo>
                <a:lnTo>
                  <a:pt x="222250" y="256669"/>
                </a:lnTo>
                <a:cubicBezTo>
                  <a:pt x="222250" y="254186"/>
                  <a:pt x="224155" y="252413"/>
                  <a:pt x="226822" y="252413"/>
                </a:cubicBezTo>
                <a:close/>
                <a:moveTo>
                  <a:pt x="53609" y="252413"/>
                </a:moveTo>
                <a:cubicBezTo>
                  <a:pt x="56174" y="252413"/>
                  <a:pt x="58372" y="254186"/>
                  <a:pt x="58372" y="256669"/>
                </a:cubicBezTo>
                <a:lnTo>
                  <a:pt x="58372" y="281140"/>
                </a:lnTo>
                <a:cubicBezTo>
                  <a:pt x="58372" y="283268"/>
                  <a:pt x="56174" y="285396"/>
                  <a:pt x="53609" y="285396"/>
                </a:cubicBezTo>
                <a:cubicBezTo>
                  <a:pt x="51045" y="285396"/>
                  <a:pt x="49213" y="283268"/>
                  <a:pt x="49213" y="281140"/>
                </a:cubicBezTo>
                <a:lnTo>
                  <a:pt x="49213" y="256669"/>
                </a:lnTo>
                <a:cubicBezTo>
                  <a:pt x="49213" y="254186"/>
                  <a:pt x="51045" y="252413"/>
                  <a:pt x="53609" y="252413"/>
                </a:cubicBezTo>
                <a:close/>
                <a:moveTo>
                  <a:pt x="110252" y="179358"/>
                </a:moveTo>
                <a:lnTo>
                  <a:pt x="109534" y="180077"/>
                </a:lnTo>
                <a:cubicBezTo>
                  <a:pt x="106301" y="193376"/>
                  <a:pt x="95887" y="203080"/>
                  <a:pt x="82958" y="205956"/>
                </a:cubicBezTo>
                <a:cubicBezTo>
                  <a:pt x="86909" y="223928"/>
                  <a:pt x="123539" y="240102"/>
                  <a:pt x="139341" y="245853"/>
                </a:cubicBezTo>
                <a:cubicBezTo>
                  <a:pt x="155502" y="240102"/>
                  <a:pt x="192133" y="223928"/>
                  <a:pt x="196801" y="205956"/>
                </a:cubicBezTo>
                <a:cubicBezTo>
                  <a:pt x="183514" y="203080"/>
                  <a:pt x="173099" y="193376"/>
                  <a:pt x="169867" y="180077"/>
                </a:cubicBezTo>
                <a:lnTo>
                  <a:pt x="169508" y="179358"/>
                </a:lnTo>
                <a:cubicBezTo>
                  <a:pt x="160529" y="185109"/>
                  <a:pt x="150474" y="187625"/>
                  <a:pt x="139341" y="187625"/>
                </a:cubicBezTo>
                <a:cubicBezTo>
                  <a:pt x="129285" y="187625"/>
                  <a:pt x="118512" y="185109"/>
                  <a:pt x="110252" y="179358"/>
                </a:cubicBezTo>
                <a:close/>
                <a:moveTo>
                  <a:pt x="168565" y="78402"/>
                </a:moveTo>
                <a:cubicBezTo>
                  <a:pt x="159721" y="78357"/>
                  <a:pt x="150833" y="81232"/>
                  <a:pt x="141496" y="86983"/>
                </a:cubicBezTo>
                <a:cubicBezTo>
                  <a:pt x="118871" y="100282"/>
                  <a:pt x="96246" y="95610"/>
                  <a:pt x="83676" y="88780"/>
                </a:cubicBezTo>
                <a:cubicBezTo>
                  <a:pt x="81881" y="94531"/>
                  <a:pt x="81163" y="100642"/>
                  <a:pt x="81163" y="107112"/>
                </a:cubicBezTo>
                <a:cubicBezTo>
                  <a:pt x="81163" y="146649"/>
                  <a:pt x="107738" y="179358"/>
                  <a:pt x="139341" y="179358"/>
                </a:cubicBezTo>
                <a:cubicBezTo>
                  <a:pt x="172021" y="179358"/>
                  <a:pt x="197879" y="146649"/>
                  <a:pt x="197879" y="107112"/>
                </a:cubicBezTo>
                <a:cubicBezTo>
                  <a:pt x="197879" y="99923"/>
                  <a:pt x="197160" y="93453"/>
                  <a:pt x="195365" y="87343"/>
                </a:cubicBezTo>
                <a:cubicBezTo>
                  <a:pt x="186207" y="81412"/>
                  <a:pt x="177408" y="78447"/>
                  <a:pt x="168565" y="78402"/>
                </a:cubicBezTo>
                <a:close/>
                <a:moveTo>
                  <a:pt x="139341" y="8986"/>
                </a:moveTo>
                <a:cubicBezTo>
                  <a:pt x="81163" y="8986"/>
                  <a:pt x="43095" y="52118"/>
                  <a:pt x="43095" y="119692"/>
                </a:cubicBezTo>
                <a:cubicBezTo>
                  <a:pt x="43095" y="152041"/>
                  <a:pt x="50996" y="184030"/>
                  <a:pt x="63206" y="200924"/>
                </a:cubicBezTo>
                <a:lnTo>
                  <a:pt x="80085" y="198048"/>
                </a:lnTo>
                <a:cubicBezTo>
                  <a:pt x="90141" y="195892"/>
                  <a:pt x="98760" y="188344"/>
                  <a:pt x="101633" y="177920"/>
                </a:cubicBezTo>
                <a:lnTo>
                  <a:pt x="102351" y="174326"/>
                </a:lnTo>
                <a:cubicBezTo>
                  <a:pt x="84395" y="159589"/>
                  <a:pt x="72544" y="135147"/>
                  <a:pt x="72544" y="107112"/>
                </a:cubicBezTo>
                <a:cubicBezTo>
                  <a:pt x="72544" y="97766"/>
                  <a:pt x="74339" y="88780"/>
                  <a:pt x="76853" y="80873"/>
                </a:cubicBezTo>
                <a:cubicBezTo>
                  <a:pt x="77212" y="80154"/>
                  <a:pt x="78290" y="78716"/>
                  <a:pt x="79726" y="78357"/>
                </a:cubicBezTo>
                <a:cubicBezTo>
                  <a:pt x="80803" y="77997"/>
                  <a:pt x="82599" y="78357"/>
                  <a:pt x="83317" y="78716"/>
                </a:cubicBezTo>
                <a:cubicBezTo>
                  <a:pt x="92296" y="84827"/>
                  <a:pt x="114920" y="92734"/>
                  <a:pt x="136827" y="79076"/>
                </a:cubicBezTo>
                <a:cubicBezTo>
                  <a:pt x="158734" y="66136"/>
                  <a:pt x="179922" y="66496"/>
                  <a:pt x="200752" y="80873"/>
                </a:cubicBezTo>
                <a:cubicBezTo>
                  <a:pt x="201829" y="81232"/>
                  <a:pt x="202906" y="81951"/>
                  <a:pt x="203265" y="83389"/>
                </a:cubicBezTo>
                <a:cubicBezTo>
                  <a:pt x="205420" y="90937"/>
                  <a:pt x="206857" y="98845"/>
                  <a:pt x="206857" y="107112"/>
                </a:cubicBezTo>
                <a:cubicBezTo>
                  <a:pt x="206857" y="135147"/>
                  <a:pt x="194646" y="159589"/>
                  <a:pt x="177049" y="174326"/>
                </a:cubicBezTo>
                <a:lnTo>
                  <a:pt x="178127" y="177920"/>
                </a:lnTo>
                <a:cubicBezTo>
                  <a:pt x="180281" y="188344"/>
                  <a:pt x="188541" y="195892"/>
                  <a:pt x="198956" y="198048"/>
                </a:cubicBezTo>
                <a:lnTo>
                  <a:pt x="216194" y="200924"/>
                </a:lnTo>
                <a:cubicBezTo>
                  <a:pt x="228404" y="184030"/>
                  <a:pt x="236305" y="152041"/>
                  <a:pt x="236305" y="119692"/>
                </a:cubicBezTo>
                <a:cubicBezTo>
                  <a:pt x="236305" y="52118"/>
                  <a:pt x="198238" y="8986"/>
                  <a:pt x="139341" y="8986"/>
                </a:cubicBezTo>
                <a:close/>
                <a:moveTo>
                  <a:pt x="139341" y="0"/>
                </a:moveTo>
                <a:cubicBezTo>
                  <a:pt x="203625" y="0"/>
                  <a:pt x="244924" y="46727"/>
                  <a:pt x="244924" y="119692"/>
                </a:cubicBezTo>
                <a:cubicBezTo>
                  <a:pt x="244924" y="152400"/>
                  <a:pt x="237382" y="183312"/>
                  <a:pt x="225172" y="202362"/>
                </a:cubicBezTo>
                <a:lnTo>
                  <a:pt x="228045" y="202721"/>
                </a:lnTo>
                <a:cubicBezTo>
                  <a:pt x="257493" y="207753"/>
                  <a:pt x="279041" y="233632"/>
                  <a:pt x="279041" y="263825"/>
                </a:cubicBezTo>
                <a:lnTo>
                  <a:pt x="279041" y="281078"/>
                </a:lnTo>
                <a:cubicBezTo>
                  <a:pt x="279041" y="283234"/>
                  <a:pt x="277605" y="285391"/>
                  <a:pt x="274732" y="285391"/>
                </a:cubicBezTo>
                <a:cubicBezTo>
                  <a:pt x="272577" y="285391"/>
                  <a:pt x="270781" y="283234"/>
                  <a:pt x="270781" y="281078"/>
                </a:cubicBezTo>
                <a:lnTo>
                  <a:pt x="270781" y="263825"/>
                </a:lnTo>
                <a:cubicBezTo>
                  <a:pt x="270781" y="237946"/>
                  <a:pt x="251747" y="216020"/>
                  <a:pt x="226249" y="211347"/>
                </a:cubicBezTo>
                <a:lnTo>
                  <a:pt x="204702" y="207753"/>
                </a:lnTo>
                <a:cubicBezTo>
                  <a:pt x="199315" y="231835"/>
                  <a:pt x="156579" y="248729"/>
                  <a:pt x="143651" y="253401"/>
                </a:cubicBezTo>
                <a:lnTo>
                  <a:pt x="143651" y="281078"/>
                </a:lnTo>
                <a:cubicBezTo>
                  <a:pt x="143651" y="283234"/>
                  <a:pt x="141855" y="285391"/>
                  <a:pt x="139341" y="285391"/>
                </a:cubicBezTo>
                <a:cubicBezTo>
                  <a:pt x="137186" y="285391"/>
                  <a:pt x="135391" y="283234"/>
                  <a:pt x="135391" y="281078"/>
                </a:cubicBezTo>
                <a:lnTo>
                  <a:pt x="135391" y="253401"/>
                </a:lnTo>
                <a:cubicBezTo>
                  <a:pt x="122821" y="248729"/>
                  <a:pt x="79726" y="231835"/>
                  <a:pt x="74339" y="207753"/>
                </a:cubicBezTo>
                <a:lnTo>
                  <a:pt x="52792" y="211347"/>
                </a:lnTo>
                <a:cubicBezTo>
                  <a:pt x="27294" y="216020"/>
                  <a:pt x="8978" y="237946"/>
                  <a:pt x="8978" y="263825"/>
                </a:cubicBezTo>
                <a:lnTo>
                  <a:pt x="8978" y="281078"/>
                </a:lnTo>
                <a:cubicBezTo>
                  <a:pt x="8978" y="283234"/>
                  <a:pt x="6464" y="285391"/>
                  <a:pt x="4310" y="285391"/>
                </a:cubicBezTo>
                <a:cubicBezTo>
                  <a:pt x="2155" y="285391"/>
                  <a:pt x="0" y="283234"/>
                  <a:pt x="0" y="281078"/>
                </a:cubicBezTo>
                <a:lnTo>
                  <a:pt x="0" y="263825"/>
                </a:lnTo>
                <a:cubicBezTo>
                  <a:pt x="0" y="233632"/>
                  <a:pt x="21907" y="207753"/>
                  <a:pt x="51714" y="202721"/>
                </a:cubicBezTo>
                <a:lnTo>
                  <a:pt x="53869" y="202362"/>
                </a:lnTo>
                <a:cubicBezTo>
                  <a:pt x="41659" y="183312"/>
                  <a:pt x="34476" y="152400"/>
                  <a:pt x="34476" y="119692"/>
                </a:cubicBezTo>
                <a:cubicBezTo>
                  <a:pt x="34476" y="47805"/>
                  <a:pt x="76853" y="0"/>
                  <a:pt x="139341" y="0"/>
                </a:cubicBezTo>
                <a:close/>
              </a:path>
            </a:pathLst>
          </a:custGeom>
          <a:solidFill>
            <a:srgbClr val="1A171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en-US" sz="900" dirty="0"/>
          </a:p>
        </p:txBody>
      </p:sp>
      <p:sp>
        <p:nvSpPr>
          <p:cNvPr id="16" name="Freeform 1048">
            <a:extLst>
              <a:ext uri="{FF2B5EF4-FFF2-40B4-BE49-F238E27FC236}">
                <a16:creationId xmlns:a16="http://schemas.microsoft.com/office/drawing/2014/main" id="{1BABF809-32AE-E84C-B583-0347F3671E5D}"/>
              </a:ext>
            </a:extLst>
          </p:cNvPr>
          <p:cNvSpPr>
            <a:spLocks noChangeAspect="1" noChangeArrowheads="1"/>
          </p:cNvSpPr>
          <p:nvPr/>
        </p:nvSpPr>
        <p:spPr bwMode="auto">
          <a:xfrm>
            <a:off x="10893004" y="1585219"/>
            <a:ext cx="433213" cy="443058"/>
          </a:xfrm>
          <a:custGeom>
            <a:avLst/>
            <a:gdLst>
              <a:gd name="T0" fmla="*/ 232587 w 279041"/>
              <a:gd name="T1" fmla="*/ 257945 h 285396"/>
              <a:gd name="T2" fmla="*/ 227992 w 279041"/>
              <a:gd name="T3" fmla="*/ 286814 h 285396"/>
              <a:gd name="T4" fmla="*/ 223396 w 279041"/>
              <a:gd name="T5" fmla="*/ 257945 h 285396"/>
              <a:gd name="T6" fmla="*/ 53885 w 279041"/>
              <a:gd name="T7" fmla="*/ 253667 h 285396"/>
              <a:gd name="T8" fmla="*/ 58672 w 279041"/>
              <a:gd name="T9" fmla="*/ 282538 h 285396"/>
              <a:gd name="T10" fmla="*/ 49466 w 279041"/>
              <a:gd name="T11" fmla="*/ 282538 h 285396"/>
              <a:gd name="T12" fmla="*/ 53885 w 279041"/>
              <a:gd name="T13" fmla="*/ 253667 h 285396"/>
              <a:gd name="T14" fmla="*/ 110098 w 279041"/>
              <a:gd name="T15" fmla="*/ 180972 h 285396"/>
              <a:gd name="T16" fmla="*/ 140059 w 279041"/>
              <a:gd name="T17" fmla="*/ 247075 h 285396"/>
              <a:gd name="T18" fmla="*/ 170743 w 279041"/>
              <a:gd name="T19" fmla="*/ 180972 h 285396"/>
              <a:gd name="T20" fmla="*/ 140059 w 279041"/>
              <a:gd name="T21" fmla="*/ 188558 h 285396"/>
              <a:gd name="T22" fmla="*/ 169434 w 279041"/>
              <a:gd name="T23" fmla="*/ 78791 h 285396"/>
              <a:gd name="T24" fmla="*/ 84108 w 279041"/>
              <a:gd name="T25" fmla="*/ 89221 h 285396"/>
              <a:gd name="T26" fmla="*/ 140059 w 279041"/>
              <a:gd name="T27" fmla="*/ 180249 h 285396"/>
              <a:gd name="T28" fmla="*/ 196372 w 279041"/>
              <a:gd name="T29" fmla="*/ 87777 h 285396"/>
              <a:gd name="T30" fmla="*/ 140059 w 279041"/>
              <a:gd name="T31" fmla="*/ 9030 h 285396"/>
              <a:gd name="T32" fmla="*/ 63532 w 279041"/>
              <a:gd name="T33" fmla="*/ 201923 h 285396"/>
              <a:gd name="T34" fmla="*/ 102157 w 279041"/>
              <a:gd name="T35" fmla="*/ 178805 h 285396"/>
              <a:gd name="T36" fmla="*/ 72918 w 279041"/>
              <a:gd name="T37" fmla="*/ 107644 h 285396"/>
              <a:gd name="T38" fmla="*/ 80138 w 279041"/>
              <a:gd name="T39" fmla="*/ 78746 h 285396"/>
              <a:gd name="T40" fmla="*/ 137532 w 279041"/>
              <a:gd name="T41" fmla="*/ 79468 h 285396"/>
              <a:gd name="T42" fmla="*/ 204314 w 279041"/>
              <a:gd name="T43" fmla="*/ 83804 h 285396"/>
              <a:gd name="T44" fmla="*/ 177962 w 279041"/>
              <a:gd name="T45" fmla="*/ 175192 h 285396"/>
              <a:gd name="T46" fmla="*/ 199982 w 279041"/>
              <a:gd name="T47" fmla="*/ 199033 h 285396"/>
              <a:gd name="T48" fmla="*/ 237523 w 279041"/>
              <a:gd name="T49" fmla="*/ 120287 h 285396"/>
              <a:gd name="T50" fmla="*/ 140059 w 279041"/>
              <a:gd name="T51" fmla="*/ 0 h 285396"/>
              <a:gd name="T52" fmla="*/ 226333 w 279041"/>
              <a:gd name="T53" fmla="*/ 203368 h 285396"/>
              <a:gd name="T54" fmla="*/ 280479 w 279041"/>
              <a:gd name="T55" fmla="*/ 265136 h 285396"/>
              <a:gd name="T56" fmla="*/ 276148 w 279041"/>
              <a:gd name="T57" fmla="*/ 286809 h 285396"/>
              <a:gd name="T58" fmla="*/ 272177 w 279041"/>
              <a:gd name="T59" fmla="*/ 265136 h 285396"/>
              <a:gd name="T60" fmla="*/ 205757 w 279041"/>
              <a:gd name="T61" fmla="*/ 208786 h 285396"/>
              <a:gd name="T62" fmla="*/ 144392 w 279041"/>
              <a:gd name="T63" fmla="*/ 282476 h 285396"/>
              <a:gd name="T64" fmla="*/ 136089 w 279041"/>
              <a:gd name="T65" fmla="*/ 282476 h 285396"/>
              <a:gd name="T66" fmla="*/ 74723 w 279041"/>
              <a:gd name="T67" fmla="*/ 208786 h 285396"/>
              <a:gd name="T68" fmla="*/ 9026 w 279041"/>
              <a:gd name="T69" fmla="*/ 265136 h 285396"/>
              <a:gd name="T70" fmla="*/ 4334 w 279041"/>
              <a:gd name="T71" fmla="*/ 286809 h 285396"/>
              <a:gd name="T72" fmla="*/ 0 w 279041"/>
              <a:gd name="T73" fmla="*/ 265136 h 285396"/>
              <a:gd name="T74" fmla="*/ 54146 w 279041"/>
              <a:gd name="T75" fmla="*/ 203368 h 285396"/>
              <a:gd name="T76" fmla="*/ 140059 w 279041"/>
              <a:gd name="T77" fmla="*/ 0 h 285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9041" h="285396">
                <a:moveTo>
                  <a:pt x="226822" y="252413"/>
                </a:moveTo>
                <a:cubicBezTo>
                  <a:pt x="229489" y="252413"/>
                  <a:pt x="231394" y="254186"/>
                  <a:pt x="231394" y="256669"/>
                </a:cubicBezTo>
                <a:lnTo>
                  <a:pt x="231394" y="281140"/>
                </a:lnTo>
                <a:cubicBezTo>
                  <a:pt x="231394" y="283268"/>
                  <a:pt x="229489" y="285396"/>
                  <a:pt x="226822" y="285396"/>
                </a:cubicBezTo>
                <a:cubicBezTo>
                  <a:pt x="224155" y="285396"/>
                  <a:pt x="222250" y="283268"/>
                  <a:pt x="222250" y="281140"/>
                </a:cubicBezTo>
                <a:lnTo>
                  <a:pt x="222250" y="256669"/>
                </a:lnTo>
                <a:cubicBezTo>
                  <a:pt x="222250" y="254186"/>
                  <a:pt x="224155" y="252413"/>
                  <a:pt x="226822" y="252413"/>
                </a:cubicBezTo>
                <a:close/>
                <a:moveTo>
                  <a:pt x="53609" y="252413"/>
                </a:moveTo>
                <a:cubicBezTo>
                  <a:pt x="56174" y="252413"/>
                  <a:pt x="58372" y="254186"/>
                  <a:pt x="58372" y="256669"/>
                </a:cubicBezTo>
                <a:lnTo>
                  <a:pt x="58372" y="281140"/>
                </a:lnTo>
                <a:cubicBezTo>
                  <a:pt x="58372" y="283268"/>
                  <a:pt x="56174" y="285396"/>
                  <a:pt x="53609" y="285396"/>
                </a:cubicBezTo>
                <a:cubicBezTo>
                  <a:pt x="51045" y="285396"/>
                  <a:pt x="49213" y="283268"/>
                  <a:pt x="49213" y="281140"/>
                </a:cubicBezTo>
                <a:lnTo>
                  <a:pt x="49213" y="256669"/>
                </a:lnTo>
                <a:cubicBezTo>
                  <a:pt x="49213" y="254186"/>
                  <a:pt x="51045" y="252413"/>
                  <a:pt x="53609" y="252413"/>
                </a:cubicBezTo>
                <a:close/>
                <a:moveTo>
                  <a:pt x="110252" y="179358"/>
                </a:moveTo>
                <a:lnTo>
                  <a:pt x="109534" y="180077"/>
                </a:lnTo>
                <a:cubicBezTo>
                  <a:pt x="106301" y="193376"/>
                  <a:pt x="95887" y="203080"/>
                  <a:pt x="82958" y="205956"/>
                </a:cubicBezTo>
                <a:cubicBezTo>
                  <a:pt x="86909" y="223928"/>
                  <a:pt x="123539" y="240102"/>
                  <a:pt x="139341" y="245853"/>
                </a:cubicBezTo>
                <a:cubicBezTo>
                  <a:pt x="155502" y="240102"/>
                  <a:pt x="192133" y="223928"/>
                  <a:pt x="196801" y="205956"/>
                </a:cubicBezTo>
                <a:cubicBezTo>
                  <a:pt x="183514" y="203080"/>
                  <a:pt x="173099" y="193376"/>
                  <a:pt x="169867" y="180077"/>
                </a:cubicBezTo>
                <a:lnTo>
                  <a:pt x="169508" y="179358"/>
                </a:lnTo>
                <a:cubicBezTo>
                  <a:pt x="160529" y="185109"/>
                  <a:pt x="150474" y="187625"/>
                  <a:pt x="139341" y="187625"/>
                </a:cubicBezTo>
                <a:cubicBezTo>
                  <a:pt x="129285" y="187625"/>
                  <a:pt x="118512" y="185109"/>
                  <a:pt x="110252" y="179358"/>
                </a:cubicBezTo>
                <a:close/>
                <a:moveTo>
                  <a:pt x="168565" y="78402"/>
                </a:moveTo>
                <a:cubicBezTo>
                  <a:pt x="159721" y="78357"/>
                  <a:pt x="150833" y="81232"/>
                  <a:pt x="141496" y="86983"/>
                </a:cubicBezTo>
                <a:cubicBezTo>
                  <a:pt x="118871" y="100282"/>
                  <a:pt x="96246" y="95610"/>
                  <a:pt x="83676" y="88780"/>
                </a:cubicBezTo>
                <a:cubicBezTo>
                  <a:pt x="81881" y="94531"/>
                  <a:pt x="81163" y="100642"/>
                  <a:pt x="81163" y="107112"/>
                </a:cubicBezTo>
                <a:cubicBezTo>
                  <a:pt x="81163" y="146649"/>
                  <a:pt x="107738" y="179358"/>
                  <a:pt x="139341" y="179358"/>
                </a:cubicBezTo>
                <a:cubicBezTo>
                  <a:pt x="172021" y="179358"/>
                  <a:pt x="197879" y="146649"/>
                  <a:pt x="197879" y="107112"/>
                </a:cubicBezTo>
                <a:cubicBezTo>
                  <a:pt x="197879" y="99923"/>
                  <a:pt x="197160" y="93453"/>
                  <a:pt x="195365" y="87343"/>
                </a:cubicBezTo>
                <a:cubicBezTo>
                  <a:pt x="186207" y="81412"/>
                  <a:pt x="177408" y="78447"/>
                  <a:pt x="168565" y="78402"/>
                </a:cubicBezTo>
                <a:close/>
                <a:moveTo>
                  <a:pt x="139341" y="8986"/>
                </a:moveTo>
                <a:cubicBezTo>
                  <a:pt x="81163" y="8986"/>
                  <a:pt x="43095" y="52118"/>
                  <a:pt x="43095" y="119692"/>
                </a:cubicBezTo>
                <a:cubicBezTo>
                  <a:pt x="43095" y="152041"/>
                  <a:pt x="50996" y="184030"/>
                  <a:pt x="63206" y="200924"/>
                </a:cubicBezTo>
                <a:lnTo>
                  <a:pt x="80085" y="198048"/>
                </a:lnTo>
                <a:cubicBezTo>
                  <a:pt x="90141" y="195892"/>
                  <a:pt x="98760" y="188344"/>
                  <a:pt x="101633" y="177920"/>
                </a:cubicBezTo>
                <a:lnTo>
                  <a:pt x="102351" y="174326"/>
                </a:lnTo>
                <a:cubicBezTo>
                  <a:pt x="84395" y="159589"/>
                  <a:pt x="72544" y="135147"/>
                  <a:pt x="72544" y="107112"/>
                </a:cubicBezTo>
                <a:cubicBezTo>
                  <a:pt x="72544" y="97766"/>
                  <a:pt x="74339" y="88780"/>
                  <a:pt x="76853" y="80873"/>
                </a:cubicBezTo>
                <a:cubicBezTo>
                  <a:pt x="77212" y="80154"/>
                  <a:pt x="78290" y="78716"/>
                  <a:pt x="79726" y="78357"/>
                </a:cubicBezTo>
                <a:cubicBezTo>
                  <a:pt x="80803" y="77997"/>
                  <a:pt x="82599" y="78357"/>
                  <a:pt x="83317" y="78716"/>
                </a:cubicBezTo>
                <a:cubicBezTo>
                  <a:pt x="92296" y="84827"/>
                  <a:pt x="114920" y="92734"/>
                  <a:pt x="136827" y="79076"/>
                </a:cubicBezTo>
                <a:cubicBezTo>
                  <a:pt x="158734" y="66136"/>
                  <a:pt x="179922" y="66496"/>
                  <a:pt x="200752" y="80873"/>
                </a:cubicBezTo>
                <a:cubicBezTo>
                  <a:pt x="201829" y="81232"/>
                  <a:pt x="202906" y="81951"/>
                  <a:pt x="203265" y="83389"/>
                </a:cubicBezTo>
                <a:cubicBezTo>
                  <a:pt x="205420" y="90937"/>
                  <a:pt x="206857" y="98845"/>
                  <a:pt x="206857" y="107112"/>
                </a:cubicBezTo>
                <a:cubicBezTo>
                  <a:pt x="206857" y="135147"/>
                  <a:pt x="194646" y="159589"/>
                  <a:pt x="177049" y="174326"/>
                </a:cubicBezTo>
                <a:lnTo>
                  <a:pt x="178127" y="177920"/>
                </a:lnTo>
                <a:cubicBezTo>
                  <a:pt x="180281" y="188344"/>
                  <a:pt x="188541" y="195892"/>
                  <a:pt x="198956" y="198048"/>
                </a:cubicBezTo>
                <a:lnTo>
                  <a:pt x="216194" y="200924"/>
                </a:lnTo>
                <a:cubicBezTo>
                  <a:pt x="228404" y="184030"/>
                  <a:pt x="236305" y="152041"/>
                  <a:pt x="236305" y="119692"/>
                </a:cubicBezTo>
                <a:cubicBezTo>
                  <a:pt x="236305" y="52118"/>
                  <a:pt x="198238" y="8986"/>
                  <a:pt x="139341" y="8986"/>
                </a:cubicBezTo>
                <a:close/>
                <a:moveTo>
                  <a:pt x="139341" y="0"/>
                </a:moveTo>
                <a:cubicBezTo>
                  <a:pt x="203625" y="0"/>
                  <a:pt x="244924" y="46727"/>
                  <a:pt x="244924" y="119692"/>
                </a:cubicBezTo>
                <a:cubicBezTo>
                  <a:pt x="244924" y="152400"/>
                  <a:pt x="237382" y="183312"/>
                  <a:pt x="225172" y="202362"/>
                </a:cubicBezTo>
                <a:lnTo>
                  <a:pt x="228045" y="202721"/>
                </a:lnTo>
                <a:cubicBezTo>
                  <a:pt x="257493" y="207753"/>
                  <a:pt x="279041" y="233632"/>
                  <a:pt x="279041" y="263825"/>
                </a:cubicBezTo>
                <a:lnTo>
                  <a:pt x="279041" y="281078"/>
                </a:lnTo>
                <a:cubicBezTo>
                  <a:pt x="279041" y="283234"/>
                  <a:pt x="277605" y="285391"/>
                  <a:pt x="274732" y="285391"/>
                </a:cubicBezTo>
                <a:cubicBezTo>
                  <a:pt x="272577" y="285391"/>
                  <a:pt x="270781" y="283234"/>
                  <a:pt x="270781" y="281078"/>
                </a:cubicBezTo>
                <a:lnTo>
                  <a:pt x="270781" y="263825"/>
                </a:lnTo>
                <a:cubicBezTo>
                  <a:pt x="270781" y="237946"/>
                  <a:pt x="251747" y="216020"/>
                  <a:pt x="226249" y="211347"/>
                </a:cubicBezTo>
                <a:lnTo>
                  <a:pt x="204702" y="207753"/>
                </a:lnTo>
                <a:cubicBezTo>
                  <a:pt x="199315" y="231835"/>
                  <a:pt x="156579" y="248729"/>
                  <a:pt x="143651" y="253401"/>
                </a:cubicBezTo>
                <a:lnTo>
                  <a:pt x="143651" y="281078"/>
                </a:lnTo>
                <a:cubicBezTo>
                  <a:pt x="143651" y="283234"/>
                  <a:pt x="141855" y="285391"/>
                  <a:pt x="139341" y="285391"/>
                </a:cubicBezTo>
                <a:cubicBezTo>
                  <a:pt x="137186" y="285391"/>
                  <a:pt x="135391" y="283234"/>
                  <a:pt x="135391" y="281078"/>
                </a:cubicBezTo>
                <a:lnTo>
                  <a:pt x="135391" y="253401"/>
                </a:lnTo>
                <a:cubicBezTo>
                  <a:pt x="122821" y="248729"/>
                  <a:pt x="79726" y="231835"/>
                  <a:pt x="74339" y="207753"/>
                </a:cubicBezTo>
                <a:lnTo>
                  <a:pt x="52792" y="211347"/>
                </a:lnTo>
                <a:cubicBezTo>
                  <a:pt x="27294" y="216020"/>
                  <a:pt x="8978" y="237946"/>
                  <a:pt x="8978" y="263825"/>
                </a:cubicBezTo>
                <a:lnTo>
                  <a:pt x="8978" y="281078"/>
                </a:lnTo>
                <a:cubicBezTo>
                  <a:pt x="8978" y="283234"/>
                  <a:pt x="6464" y="285391"/>
                  <a:pt x="4310" y="285391"/>
                </a:cubicBezTo>
                <a:cubicBezTo>
                  <a:pt x="2155" y="285391"/>
                  <a:pt x="0" y="283234"/>
                  <a:pt x="0" y="281078"/>
                </a:cubicBezTo>
                <a:lnTo>
                  <a:pt x="0" y="263825"/>
                </a:lnTo>
                <a:cubicBezTo>
                  <a:pt x="0" y="233632"/>
                  <a:pt x="21907" y="207753"/>
                  <a:pt x="51714" y="202721"/>
                </a:cubicBezTo>
                <a:lnTo>
                  <a:pt x="53869" y="202362"/>
                </a:lnTo>
                <a:cubicBezTo>
                  <a:pt x="41659" y="183312"/>
                  <a:pt x="34476" y="152400"/>
                  <a:pt x="34476" y="119692"/>
                </a:cubicBezTo>
                <a:cubicBezTo>
                  <a:pt x="34476" y="47805"/>
                  <a:pt x="76853" y="0"/>
                  <a:pt x="139341" y="0"/>
                </a:cubicBezTo>
                <a:close/>
              </a:path>
            </a:pathLst>
          </a:custGeom>
          <a:solidFill>
            <a:srgbClr val="1A171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en-US" sz="900" dirty="0"/>
          </a:p>
        </p:txBody>
      </p:sp>
      <p:sp>
        <p:nvSpPr>
          <p:cNvPr id="17" name="Freeform 1047">
            <a:extLst>
              <a:ext uri="{FF2B5EF4-FFF2-40B4-BE49-F238E27FC236}">
                <a16:creationId xmlns:a16="http://schemas.microsoft.com/office/drawing/2014/main" id="{5115B28C-D08E-2B47-93D5-6703A2DE8885}"/>
              </a:ext>
            </a:extLst>
          </p:cNvPr>
          <p:cNvSpPr>
            <a:spLocks noChangeAspect="1" noChangeArrowheads="1"/>
          </p:cNvSpPr>
          <p:nvPr/>
        </p:nvSpPr>
        <p:spPr bwMode="auto">
          <a:xfrm>
            <a:off x="1330581" y="1585219"/>
            <a:ext cx="445519" cy="443058"/>
          </a:xfrm>
          <a:custGeom>
            <a:avLst/>
            <a:gdLst>
              <a:gd name="T0" fmla="*/ 229384 w 286977"/>
              <a:gd name="T1" fmla="*/ 251968 h 285393"/>
              <a:gd name="T2" fmla="*/ 224597 w 286977"/>
              <a:gd name="T3" fmla="*/ 286823 h 285393"/>
              <a:gd name="T4" fmla="*/ 220180 w 286977"/>
              <a:gd name="T5" fmla="*/ 251968 h 285393"/>
              <a:gd name="T6" fmla="*/ 63245 w 286977"/>
              <a:gd name="T7" fmla="*/ 247297 h 285393"/>
              <a:gd name="T8" fmla="*/ 68224 w 286977"/>
              <a:gd name="T9" fmla="*/ 282512 h 285393"/>
              <a:gd name="T10" fmla="*/ 59034 w 286977"/>
              <a:gd name="T11" fmla="*/ 282512 h 285393"/>
              <a:gd name="T12" fmla="*/ 63245 w 286977"/>
              <a:gd name="T13" fmla="*/ 247297 h 285393"/>
              <a:gd name="T14" fmla="*/ 151287 w 286977"/>
              <a:gd name="T15" fmla="*/ 193983 h 285393"/>
              <a:gd name="T16" fmla="*/ 200264 w 286977"/>
              <a:gd name="T17" fmla="*/ 182424 h 285393"/>
              <a:gd name="T18" fmla="*/ 103397 w 286977"/>
              <a:gd name="T19" fmla="*/ 171948 h 285393"/>
              <a:gd name="T20" fmla="*/ 111015 w 286977"/>
              <a:gd name="T21" fmla="*/ 217103 h 285393"/>
              <a:gd name="T22" fmla="*/ 103397 w 286977"/>
              <a:gd name="T23" fmla="*/ 171948 h 285393"/>
              <a:gd name="T24" fmla="*/ 111015 w 286977"/>
              <a:gd name="T25" fmla="*/ 158221 h 285393"/>
              <a:gd name="T26" fmla="*/ 144030 w 286977"/>
              <a:gd name="T27" fmla="*/ 188204 h 285393"/>
              <a:gd name="T28" fmla="*/ 177045 w 286977"/>
              <a:gd name="T29" fmla="*/ 158221 h 285393"/>
              <a:gd name="T30" fmla="*/ 144030 w 286977"/>
              <a:gd name="T31" fmla="*/ 156776 h 285393"/>
              <a:gd name="T32" fmla="*/ 167250 w 286977"/>
              <a:gd name="T33" fmla="*/ 38651 h 285393"/>
              <a:gd name="T34" fmla="*/ 164347 w 286977"/>
              <a:gd name="T35" fmla="*/ 52741 h 285393"/>
              <a:gd name="T36" fmla="*/ 87071 w 286977"/>
              <a:gd name="T37" fmla="*/ 44794 h 285393"/>
              <a:gd name="T38" fmla="*/ 144030 w 286977"/>
              <a:gd name="T39" fmla="*/ 148107 h 285393"/>
              <a:gd name="T40" fmla="*/ 198450 w 286977"/>
              <a:gd name="T41" fmla="*/ 39015 h 285393"/>
              <a:gd name="T42" fmla="*/ 179585 w 286977"/>
              <a:gd name="T43" fmla="*/ 46239 h 285393"/>
              <a:gd name="T44" fmla="*/ 144030 w 286977"/>
              <a:gd name="T45" fmla="*/ 9030 h 285393"/>
              <a:gd name="T46" fmla="*/ 158542 w 286977"/>
              <a:gd name="T47" fmla="*/ 45153 h 285393"/>
              <a:gd name="T48" fmla="*/ 160719 w 286977"/>
              <a:gd name="T49" fmla="*/ 27093 h 285393"/>
              <a:gd name="T50" fmla="*/ 182487 w 286977"/>
              <a:gd name="T51" fmla="*/ 37569 h 285393"/>
              <a:gd name="T52" fmla="*/ 144030 w 286977"/>
              <a:gd name="T53" fmla="*/ 9030 h 285393"/>
              <a:gd name="T54" fmla="*/ 214776 w 286977"/>
              <a:gd name="T55" fmla="*/ 72247 h 285393"/>
              <a:gd name="T56" fmla="*/ 185751 w 286977"/>
              <a:gd name="T57" fmla="*/ 155693 h 285393"/>
              <a:gd name="T58" fmla="*/ 245977 w 286977"/>
              <a:gd name="T59" fmla="*/ 182062 h 285393"/>
              <a:gd name="T60" fmla="*/ 288423 w 286977"/>
              <a:gd name="T61" fmla="*/ 282487 h 285393"/>
              <a:gd name="T62" fmla="*/ 279355 w 286977"/>
              <a:gd name="T63" fmla="*/ 282487 h 285393"/>
              <a:gd name="T64" fmla="*/ 244163 w 286977"/>
              <a:gd name="T65" fmla="*/ 190732 h 285393"/>
              <a:gd name="T66" fmla="*/ 181399 w 286977"/>
              <a:gd name="T67" fmla="*/ 225772 h 285393"/>
              <a:gd name="T68" fmla="*/ 178134 w 286977"/>
              <a:gd name="T69" fmla="*/ 227578 h 285393"/>
              <a:gd name="T70" fmla="*/ 148384 w 286977"/>
              <a:gd name="T71" fmla="*/ 203015 h 285393"/>
              <a:gd name="T72" fmla="*/ 144030 w 286977"/>
              <a:gd name="T73" fmla="*/ 286821 h 285393"/>
              <a:gd name="T74" fmla="*/ 139676 w 286977"/>
              <a:gd name="T75" fmla="*/ 203015 h 285393"/>
              <a:gd name="T76" fmla="*/ 109928 w 286977"/>
              <a:gd name="T77" fmla="*/ 227578 h 285393"/>
              <a:gd name="T78" fmla="*/ 106299 w 286977"/>
              <a:gd name="T79" fmla="*/ 225772 h 285393"/>
              <a:gd name="T80" fmla="*/ 43898 w 286977"/>
              <a:gd name="T81" fmla="*/ 190732 h 285393"/>
              <a:gd name="T82" fmla="*/ 8707 w 286977"/>
              <a:gd name="T83" fmla="*/ 282487 h 285393"/>
              <a:gd name="T84" fmla="*/ 0 w 286977"/>
              <a:gd name="T85" fmla="*/ 282487 h 285393"/>
              <a:gd name="T86" fmla="*/ 42446 w 286977"/>
              <a:gd name="T87" fmla="*/ 182062 h 285393"/>
              <a:gd name="T88" fmla="*/ 102309 w 286977"/>
              <a:gd name="T89" fmla="*/ 155693 h 285393"/>
              <a:gd name="T90" fmla="*/ 73647 w 286977"/>
              <a:gd name="T91" fmla="*/ 72247 h 2853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6977" h="285393">
                <a:moveTo>
                  <a:pt x="223471" y="246063"/>
                </a:moveTo>
                <a:cubicBezTo>
                  <a:pt x="226036" y="246063"/>
                  <a:pt x="228234" y="248208"/>
                  <a:pt x="228234" y="250711"/>
                </a:cubicBezTo>
                <a:lnTo>
                  <a:pt x="228234" y="281102"/>
                </a:lnTo>
                <a:cubicBezTo>
                  <a:pt x="228234" y="283247"/>
                  <a:pt x="226036" y="285393"/>
                  <a:pt x="223471" y="285393"/>
                </a:cubicBezTo>
                <a:cubicBezTo>
                  <a:pt x="221273" y="285393"/>
                  <a:pt x="219075" y="283247"/>
                  <a:pt x="219075" y="281102"/>
                </a:cubicBezTo>
                <a:lnTo>
                  <a:pt x="219075" y="250711"/>
                </a:lnTo>
                <a:cubicBezTo>
                  <a:pt x="219075" y="248208"/>
                  <a:pt x="221273" y="246063"/>
                  <a:pt x="223471" y="246063"/>
                </a:cubicBezTo>
                <a:close/>
                <a:moveTo>
                  <a:pt x="62929" y="246063"/>
                </a:moveTo>
                <a:cubicBezTo>
                  <a:pt x="65596" y="246063"/>
                  <a:pt x="67882" y="248208"/>
                  <a:pt x="67882" y="250711"/>
                </a:cubicBezTo>
                <a:lnTo>
                  <a:pt x="67882" y="281102"/>
                </a:lnTo>
                <a:cubicBezTo>
                  <a:pt x="67882" y="283247"/>
                  <a:pt x="65596" y="285393"/>
                  <a:pt x="62929" y="285393"/>
                </a:cubicBezTo>
                <a:cubicBezTo>
                  <a:pt x="61024" y="285393"/>
                  <a:pt x="58738" y="283247"/>
                  <a:pt x="58738" y="281102"/>
                </a:cubicBezTo>
                <a:lnTo>
                  <a:pt x="58738" y="250711"/>
                </a:lnTo>
                <a:cubicBezTo>
                  <a:pt x="58738" y="248208"/>
                  <a:pt x="61024" y="246063"/>
                  <a:pt x="62929" y="246063"/>
                </a:cubicBezTo>
                <a:close/>
                <a:moveTo>
                  <a:pt x="183376" y="171090"/>
                </a:moveTo>
                <a:lnTo>
                  <a:pt x="150528" y="193016"/>
                </a:lnTo>
                <a:lnTo>
                  <a:pt x="176518" y="216020"/>
                </a:lnTo>
                <a:lnTo>
                  <a:pt x="199259" y="181514"/>
                </a:lnTo>
                <a:cubicBezTo>
                  <a:pt x="193123" y="180076"/>
                  <a:pt x="188069" y="176122"/>
                  <a:pt x="183376" y="171090"/>
                </a:cubicBezTo>
                <a:close/>
                <a:moveTo>
                  <a:pt x="102878" y="171090"/>
                </a:moveTo>
                <a:cubicBezTo>
                  <a:pt x="98908" y="176122"/>
                  <a:pt x="93132" y="180076"/>
                  <a:pt x="86995" y="181514"/>
                </a:cubicBezTo>
                <a:lnTo>
                  <a:pt x="110459" y="216020"/>
                </a:lnTo>
                <a:lnTo>
                  <a:pt x="136088" y="193016"/>
                </a:lnTo>
                <a:lnTo>
                  <a:pt x="102878" y="171090"/>
                </a:lnTo>
                <a:close/>
                <a:moveTo>
                  <a:pt x="112986" y="147368"/>
                </a:moveTo>
                <a:lnTo>
                  <a:pt x="110459" y="157432"/>
                </a:lnTo>
                <a:cubicBezTo>
                  <a:pt x="110098" y="159588"/>
                  <a:pt x="108654" y="161745"/>
                  <a:pt x="107932" y="163902"/>
                </a:cubicBezTo>
                <a:lnTo>
                  <a:pt x="143308" y="187265"/>
                </a:lnTo>
                <a:lnTo>
                  <a:pt x="179045" y="163902"/>
                </a:lnTo>
                <a:cubicBezTo>
                  <a:pt x="177601" y="161745"/>
                  <a:pt x="176879" y="159588"/>
                  <a:pt x="176157" y="157432"/>
                </a:cubicBezTo>
                <a:lnTo>
                  <a:pt x="173630" y="147368"/>
                </a:lnTo>
                <a:cubicBezTo>
                  <a:pt x="164245" y="152759"/>
                  <a:pt x="154137" y="155994"/>
                  <a:pt x="143308" y="155994"/>
                </a:cubicBezTo>
                <a:cubicBezTo>
                  <a:pt x="132479" y="155994"/>
                  <a:pt x="122371" y="152759"/>
                  <a:pt x="112986" y="147368"/>
                </a:cubicBezTo>
                <a:close/>
                <a:moveTo>
                  <a:pt x="166411" y="38459"/>
                </a:moveTo>
                <a:lnTo>
                  <a:pt x="166411" y="48164"/>
                </a:lnTo>
                <a:cubicBezTo>
                  <a:pt x="166411" y="50321"/>
                  <a:pt x="164967" y="52118"/>
                  <a:pt x="163523" y="52477"/>
                </a:cubicBezTo>
                <a:cubicBezTo>
                  <a:pt x="151249" y="56071"/>
                  <a:pt x="140420" y="57509"/>
                  <a:pt x="130674" y="57509"/>
                </a:cubicBezTo>
                <a:cubicBezTo>
                  <a:pt x="108654" y="57509"/>
                  <a:pt x="93493" y="49961"/>
                  <a:pt x="86635" y="44570"/>
                </a:cubicBezTo>
                <a:cubicBezTo>
                  <a:pt x="83386" y="52837"/>
                  <a:pt x="81942" y="61822"/>
                  <a:pt x="81942" y="71887"/>
                </a:cubicBezTo>
                <a:cubicBezTo>
                  <a:pt x="81942" y="113221"/>
                  <a:pt x="109376" y="147368"/>
                  <a:pt x="143308" y="147368"/>
                </a:cubicBezTo>
                <a:cubicBezTo>
                  <a:pt x="177240" y="147368"/>
                  <a:pt x="205035" y="113221"/>
                  <a:pt x="205035" y="71887"/>
                </a:cubicBezTo>
                <a:cubicBezTo>
                  <a:pt x="205035" y="59306"/>
                  <a:pt x="202147" y="48164"/>
                  <a:pt x="197455" y="38819"/>
                </a:cubicBezTo>
                <a:cubicBezTo>
                  <a:pt x="191318" y="43132"/>
                  <a:pt x="182654" y="46007"/>
                  <a:pt x="182294" y="46367"/>
                </a:cubicBezTo>
                <a:cubicBezTo>
                  <a:pt x="180850" y="46726"/>
                  <a:pt x="179767" y="46367"/>
                  <a:pt x="178684" y="46007"/>
                </a:cubicBezTo>
                <a:lnTo>
                  <a:pt x="166411" y="38459"/>
                </a:lnTo>
                <a:close/>
                <a:moveTo>
                  <a:pt x="143308" y="8986"/>
                </a:moveTo>
                <a:cubicBezTo>
                  <a:pt x="118761" y="8986"/>
                  <a:pt x="100713" y="19050"/>
                  <a:pt x="89883" y="37021"/>
                </a:cubicBezTo>
                <a:cubicBezTo>
                  <a:pt x="97825" y="42054"/>
                  <a:pt x="120927" y="55712"/>
                  <a:pt x="157747" y="44929"/>
                </a:cubicBezTo>
                <a:lnTo>
                  <a:pt x="157747" y="30911"/>
                </a:lnTo>
                <a:cubicBezTo>
                  <a:pt x="157747" y="29114"/>
                  <a:pt x="158469" y="27676"/>
                  <a:pt x="159913" y="26957"/>
                </a:cubicBezTo>
                <a:cubicBezTo>
                  <a:pt x="161357" y="26238"/>
                  <a:pt x="163162" y="26238"/>
                  <a:pt x="164245" y="26957"/>
                </a:cubicBezTo>
                <a:lnTo>
                  <a:pt x="181572" y="37381"/>
                </a:lnTo>
                <a:cubicBezTo>
                  <a:pt x="184459" y="35943"/>
                  <a:pt x="189152" y="34146"/>
                  <a:pt x="192762" y="31630"/>
                </a:cubicBezTo>
                <a:cubicBezTo>
                  <a:pt x="182654" y="16893"/>
                  <a:pt x="164967" y="8986"/>
                  <a:pt x="143308" y="8986"/>
                </a:cubicBezTo>
                <a:close/>
                <a:moveTo>
                  <a:pt x="143308" y="0"/>
                </a:moveTo>
                <a:cubicBezTo>
                  <a:pt x="185542" y="0"/>
                  <a:pt x="213699" y="28754"/>
                  <a:pt x="213699" y="71887"/>
                </a:cubicBezTo>
                <a:cubicBezTo>
                  <a:pt x="213699" y="101001"/>
                  <a:pt x="200703" y="127239"/>
                  <a:pt x="181572" y="142336"/>
                </a:cubicBezTo>
                <a:lnTo>
                  <a:pt x="184820" y="154916"/>
                </a:lnTo>
                <a:cubicBezTo>
                  <a:pt x="186986" y="164980"/>
                  <a:pt x="195650" y="173247"/>
                  <a:pt x="206118" y="174685"/>
                </a:cubicBezTo>
                <a:lnTo>
                  <a:pt x="244743" y="181154"/>
                </a:lnTo>
                <a:cubicBezTo>
                  <a:pt x="268928" y="185468"/>
                  <a:pt x="286977" y="206674"/>
                  <a:pt x="286977" y="230756"/>
                </a:cubicBezTo>
                <a:lnTo>
                  <a:pt x="286977" y="281078"/>
                </a:lnTo>
                <a:cubicBezTo>
                  <a:pt x="286977" y="283234"/>
                  <a:pt x="284811" y="285391"/>
                  <a:pt x="282284" y="285391"/>
                </a:cubicBezTo>
                <a:cubicBezTo>
                  <a:pt x="279758" y="285391"/>
                  <a:pt x="277953" y="283234"/>
                  <a:pt x="277953" y="281078"/>
                </a:cubicBezTo>
                <a:lnTo>
                  <a:pt x="277953" y="230756"/>
                </a:lnTo>
                <a:cubicBezTo>
                  <a:pt x="277953" y="210628"/>
                  <a:pt x="263153" y="193375"/>
                  <a:pt x="242938" y="189781"/>
                </a:cubicBezTo>
                <a:lnTo>
                  <a:pt x="208645" y="184030"/>
                </a:lnTo>
                <a:lnTo>
                  <a:pt x="180489" y="224646"/>
                </a:lnTo>
                <a:cubicBezTo>
                  <a:pt x="180128" y="225724"/>
                  <a:pt x="179045" y="226443"/>
                  <a:pt x="177601" y="226443"/>
                </a:cubicBezTo>
                <a:cubicBezTo>
                  <a:pt x="177240" y="226443"/>
                  <a:pt x="177240" y="226443"/>
                  <a:pt x="177240" y="226443"/>
                </a:cubicBezTo>
                <a:cubicBezTo>
                  <a:pt x="176157" y="226443"/>
                  <a:pt x="175435" y="226443"/>
                  <a:pt x="174352" y="225724"/>
                </a:cubicBezTo>
                <a:lnTo>
                  <a:pt x="147640" y="202002"/>
                </a:lnTo>
                <a:lnTo>
                  <a:pt x="147640" y="281078"/>
                </a:lnTo>
                <a:cubicBezTo>
                  <a:pt x="147640" y="283234"/>
                  <a:pt x="145835" y="285391"/>
                  <a:pt x="143308" y="285391"/>
                </a:cubicBezTo>
                <a:cubicBezTo>
                  <a:pt x="141142" y="285391"/>
                  <a:pt x="138976" y="283234"/>
                  <a:pt x="138976" y="281078"/>
                </a:cubicBezTo>
                <a:lnTo>
                  <a:pt x="138976" y="202002"/>
                </a:lnTo>
                <a:lnTo>
                  <a:pt x="112264" y="225724"/>
                </a:lnTo>
                <a:cubicBezTo>
                  <a:pt x="111542" y="226443"/>
                  <a:pt x="110459" y="226443"/>
                  <a:pt x="109376" y="226443"/>
                </a:cubicBezTo>
                <a:cubicBezTo>
                  <a:pt x="109015" y="226443"/>
                  <a:pt x="109015" y="226443"/>
                  <a:pt x="108654" y="226443"/>
                </a:cubicBezTo>
                <a:cubicBezTo>
                  <a:pt x="107571" y="226443"/>
                  <a:pt x="106127" y="225724"/>
                  <a:pt x="105766" y="224646"/>
                </a:cubicBezTo>
                <a:lnTo>
                  <a:pt x="77610" y="184030"/>
                </a:lnTo>
                <a:lnTo>
                  <a:pt x="43678" y="189781"/>
                </a:lnTo>
                <a:cubicBezTo>
                  <a:pt x="23463" y="193375"/>
                  <a:pt x="8663" y="210628"/>
                  <a:pt x="8663" y="230756"/>
                </a:cubicBezTo>
                <a:lnTo>
                  <a:pt x="8663" y="281078"/>
                </a:lnTo>
                <a:cubicBezTo>
                  <a:pt x="8663" y="283234"/>
                  <a:pt x="6859" y="285391"/>
                  <a:pt x="4693" y="285391"/>
                </a:cubicBezTo>
                <a:cubicBezTo>
                  <a:pt x="2166" y="285391"/>
                  <a:pt x="0" y="283234"/>
                  <a:pt x="0" y="281078"/>
                </a:cubicBezTo>
                <a:lnTo>
                  <a:pt x="0" y="230756"/>
                </a:lnTo>
                <a:cubicBezTo>
                  <a:pt x="0" y="206674"/>
                  <a:pt x="17688" y="185468"/>
                  <a:pt x="42234" y="181154"/>
                </a:cubicBezTo>
                <a:lnTo>
                  <a:pt x="80498" y="174685"/>
                </a:lnTo>
                <a:cubicBezTo>
                  <a:pt x="90605" y="173247"/>
                  <a:pt x="99269" y="164980"/>
                  <a:pt x="101796" y="154916"/>
                </a:cubicBezTo>
                <a:lnTo>
                  <a:pt x="105044" y="142336"/>
                </a:lnTo>
                <a:cubicBezTo>
                  <a:pt x="85913" y="127239"/>
                  <a:pt x="73278" y="101001"/>
                  <a:pt x="73278" y="71887"/>
                </a:cubicBezTo>
                <a:cubicBezTo>
                  <a:pt x="73278" y="28754"/>
                  <a:pt x="101435" y="0"/>
                  <a:pt x="143308" y="0"/>
                </a:cubicBezTo>
                <a:close/>
              </a:path>
            </a:pathLst>
          </a:custGeom>
          <a:solidFill>
            <a:srgbClr val="1A171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en-US" sz="900" dirty="0"/>
          </a:p>
        </p:txBody>
      </p:sp>
      <p:sp>
        <p:nvSpPr>
          <p:cNvPr id="18" name="Freeform 1047">
            <a:extLst>
              <a:ext uri="{FF2B5EF4-FFF2-40B4-BE49-F238E27FC236}">
                <a16:creationId xmlns:a16="http://schemas.microsoft.com/office/drawing/2014/main" id="{929B76CA-E657-7B4E-BC00-A62E9DBCEEA0}"/>
              </a:ext>
            </a:extLst>
          </p:cNvPr>
          <p:cNvSpPr>
            <a:spLocks noChangeAspect="1" noChangeArrowheads="1"/>
          </p:cNvSpPr>
          <p:nvPr/>
        </p:nvSpPr>
        <p:spPr bwMode="auto">
          <a:xfrm>
            <a:off x="1821786" y="1585219"/>
            <a:ext cx="445519" cy="443058"/>
          </a:xfrm>
          <a:custGeom>
            <a:avLst/>
            <a:gdLst>
              <a:gd name="T0" fmla="*/ 229384 w 286977"/>
              <a:gd name="T1" fmla="*/ 251968 h 285393"/>
              <a:gd name="T2" fmla="*/ 224597 w 286977"/>
              <a:gd name="T3" fmla="*/ 286823 h 285393"/>
              <a:gd name="T4" fmla="*/ 220180 w 286977"/>
              <a:gd name="T5" fmla="*/ 251968 h 285393"/>
              <a:gd name="T6" fmla="*/ 63245 w 286977"/>
              <a:gd name="T7" fmla="*/ 247297 h 285393"/>
              <a:gd name="T8" fmla="*/ 68224 w 286977"/>
              <a:gd name="T9" fmla="*/ 282512 h 285393"/>
              <a:gd name="T10" fmla="*/ 59034 w 286977"/>
              <a:gd name="T11" fmla="*/ 282512 h 285393"/>
              <a:gd name="T12" fmla="*/ 63245 w 286977"/>
              <a:gd name="T13" fmla="*/ 247297 h 285393"/>
              <a:gd name="T14" fmla="*/ 151287 w 286977"/>
              <a:gd name="T15" fmla="*/ 193983 h 285393"/>
              <a:gd name="T16" fmla="*/ 200264 w 286977"/>
              <a:gd name="T17" fmla="*/ 182424 h 285393"/>
              <a:gd name="T18" fmla="*/ 103397 w 286977"/>
              <a:gd name="T19" fmla="*/ 171948 h 285393"/>
              <a:gd name="T20" fmla="*/ 111015 w 286977"/>
              <a:gd name="T21" fmla="*/ 217103 h 285393"/>
              <a:gd name="T22" fmla="*/ 103397 w 286977"/>
              <a:gd name="T23" fmla="*/ 171948 h 285393"/>
              <a:gd name="T24" fmla="*/ 111015 w 286977"/>
              <a:gd name="T25" fmla="*/ 158221 h 285393"/>
              <a:gd name="T26" fmla="*/ 144030 w 286977"/>
              <a:gd name="T27" fmla="*/ 188204 h 285393"/>
              <a:gd name="T28" fmla="*/ 177045 w 286977"/>
              <a:gd name="T29" fmla="*/ 158221 h 285393"/>
              <a:gd name="T30" fmla="*/ 144030 w 286977"/>
              <a:gd name="T31" fmla="*/ 156776 h 285393"/>
              <a:gd name="T32" fmla="*/ 167250 w 286977"/>
              <a:gd name="T33" fmla="*/ 38651 h 285393"/>
              <a:gd name="T34" fmla="*/ 164347 w 286977"/>
              <a:gd name="T35" fmla="*/ 52741 h 285393"/>
              <a:gd name="T36" fmla="*/ 87071 w 286977"/>
              <a:gd name="T37" fmla="*/ 44794 h 285393"/>
              <a:gd name="T38" fmla="*/ 144030 w 286977"/>
              <a:gd name="T39" fmla="*/ 148107 h 285393"/>
              <a:gd name="T40" fmla="*/ 198450 w 286977"/>
              <a:gd name="T41" fmla="*/ 39015 h 285393"/>
              <a:gd name="T42" fmla="*/ 179585 w 286977"/>
              <a:gd name="T43" fmla="*/ 46239 h 285393"/>
              <a:gd name="T44" fmla="*/ 144030 w 286977"/>
              <a:gd name="T45" fmla="*/ 9030 h 285393"/>
              <a:gd name="T46" fmla="*/ 158542 w 286977"/>
              <a:gd name="T47" fmla="*/ 45153 h 285393"/>
              <a:gd name="T48" fmla="*/ 160719 w 286977"/>
              <a:gd name="T49" fmla="*/ 27093 h 285393"/>
              <a:gd name="T50" fmla="*/ 182487 w 286977"/>
              <a:gd name="T51" fmla="*/ 37569 h 285393"/>
              <a:gd name="T52" fmla="*/ 144030 w 286977"/>
              <a:gd name="T53" fmla="*/ 9030 h 285393"/>
              <a:gd name="T54" fmla="*/ 214776 w 286977"/>
              <a:gd name="T55" fmla="*/ 72247 h 285393"/>
              <a:gd name="T56" fmla="*/ 185751 w 286977"/>
              <a:gd name="T57" fmla="*/ 155693 h 285393"/>
              <a:gd name="T58" fmla="*/ 245977 w 286977"/>
              <a:gd name="T59" fmla="*/ 182062 h 285393"/>
              <a:gd name="T60" fmla="*/ 288423 w 286977"/>
              <a:gd name="T61" fmla="*/ 282487 h 285393"/>
              <a:gd name="T62" fmla="*/ 279355 w 286977"/>
              <a:gd name="T63" fmla="*/ 282487 h 285393"/>
              <a:gd name="T64" fmla="*/ 244163 w 286977"/>
              <a:gd name="T65" fmla="*/ 190732 h 285393"/>
              <a:gd name="T66" fmla="*/ 181399 w 286977"/>
              <a:gd name="T67" fmla="*/ 225772 h 285393"/>
              <a:gd name="T68" fmla="*/ 178134 w 286977"/>
              <a:gd name="T69" fmla="*/ 227578 h 285393"/>
              <a:gd name="T70" fmla="*/ 148384 w 286977"/>
              <a:gd name="T71" fmla="*/ 203015 h 285393"/>
              <a:gd name="T72" fmla="*/ 144030 w 286977"/>
              <a:gd name="T73" fmla="*/ 286821 h 285393"/>
              <a:gd name="T74" fmla="*/ 139676 w 286977"/>
              <a:gd name="T75" fmla="*/ 203015 h 285393"/>
              <a:gd name="T76" fmla="*/ 109928 w 286977"/>
              <a:gd name="T77" fmla="*/ 227578 h 285393"/>
              <a:gd name="T78" fmla="*/ 106299 w 286977"/>
              <a:gd name="T79" fmla="*/ 225772 h 285393"/>
              <a:gd name="T80" fmla="*/ 43898 w 286977"/>
              <a:gd name="T81" fmla="*/ 190732 h 285393"/>
              <a:gd name="T82" fmla="*/ 8707 w 286977"/>
              <a:gd name="T83" fmla="*/ 282487 h 285393"/>
              <a:gd name="T84" fmla="*/ 0 w 286977"/>
              <a:gd name="T85" fmla="*/ 282487 h 285393"/>
              <a:gd name="T86" fmla="*/ 42446 w 286977"/>
              <a:gd name="T87" fmla="*/ 182062 h 285393"/>
              <a:gd name="T88" fmla="*/ 102309 w 286977"/>
              <a:gd name="T89" fmla="*/ 155693 h 285393"/>
              <a:gd name="T90" fmla="*/ 73647 w 286977"/>
              <a:gd name="T91" fmla="*/ 72247 h 2853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6977" h="285393">
                <a:moveTo>
                  <a:pt x="223471" y="246063"/>
                </a:moveTo>
                <a:cubicBezTo>
                  <a:pt x="226036" y="246063"/>
                  <a:pt x="228234" y="248208"/>
                  <a:pt x="228234" y="250711"/>
                </a:cubicBezTo>
                <a:lnTo>
                  <a:pt x="228234" y="281102"/>
                </a:lnTo>
                <a:cubicBezTo>
                  <a:pt x="228234" y="283247"/>
                  <a:pt x="226036" y="285393"/>
                  <a:pt x="223471" y="285393"/>
                </a:cubicBezTo>
                <a:cubicBezTo>
                  <a:pt x="221273" y="285393"/>
                  <a:pt x="219075" y="283247"/>
                  <a:pt x="219075" y="281102"/>
                </a:cubicBezTo>
                <a:lnTo>
                  <a:pt x="219075" y="250711"/>
                </a:lnTo>
                <a:cubicBezTo>
                  <a:pt x="219075" y="248208"/>
                  <a:pt x="221273" y="246063"/>
                  <a:pt x="223471" y="246063"/>
                </a:cubicBezTo>
                <a:close/>
                <a:moveTo>
                  <a:pt x="62929" y="246063"/>
                </a:moveTo>
                <a:cubicBezTo>
                  <a:pt x="65596" y="246063"/>
                  <a:pt x="67882" y="248208"/>
                  <a:pt x="67882" y="250711"/>
                </a:cubicBezTo>
                <a:lnTo>
                  <a:pt x="67882" y="281102"/>
                </a:lnTo>
                <a:cubicBezTo>
                  <a:pt x="67882" y="283247"/>
                  <a:pt x="65596" y="285393"/>
                  <a:pt x="62929" y="285393"/>
                </a:cubicBezTo>
                <a:cubicBezTo>
                  <a:pt x="61024" y="285393"/>
                  <a:pt x="58738" y="283247"/>
                  <a:pt x="58738" y="281102"/>
                </a:cubicBezTo>
                <a:lnTo>
                  <a:pt x="58738" y="250711"/>
                </a:lnTo>
                <a:cubicBezTo>
                  <a:pt x="58738" y="248208"/>
                  <a:pt x="61024" y="246063"/>
                  <a:pt x="62929" y="246063"/>
                </a:cubicBezTo>
                <a:close/>
                <a:moveTo>
                  <a:pt x="183376" y="171090"/>
                </a:moveTo>
                <a:lnTo>
                  <a:pt x="150528" y="193016"/>
                </a:lnTo>
                <a:lnTo>
                  <a:pt x="176518" y="216020"/>
                </a:lnTo>
                <a:lnTo>
                  <a:pt x="199259" y="181514"/>
                </a:lnTo>
                <a:cubicBezTo>
                  <a:pt x="193123" y="180076"/>
                  <a:pt x="188069" y="176122"/>
                  <a:pt x="183376" y="171090"/>
                </a:cubicBezTo>
                <a:close/>
                <a:moveTo>
                  <a:pt x="102878" y="171090"/>
                </a:moveTo>
                <a:cubicBezTo>
                  <a:pt x="98908" y="176122"/>
                  <a:pt x="93132" y="180076"/>
                  <a:pt x="86995" y="181514"/>
                </a:cubicBezTo>
                <a:lnTo>
                  <a:pt x="110459" y="216020"/>
                </a:lnTo>
                <a:lnTo>
                  <a:pt x="136088" y="193016"/>
                </a:lnTo>
                <a:lnTo>
                  <a:pt x="102878" y="171090"/>
                </a:lnTo>
                <a:close/>
                <a:moveTo>
                  <a:pt x="112986" y="147368"/>
                </a:moveTo>
                <a:lnTo>
                  <a:pt x="110459" y="157432"/>
                </a:lnTo>
                <a:cubicBezTo>
                  <a:pt x="110098" y="159588"/>
                  <a:pt x="108654" y="161745"/>
                  <a:pt x="107932" y="163902"/>
                </a:cubicBezTo>
                <a:lnTo>
                  <a:pt x="143308" y="187265"/>
                </a:lnTo>
                <a:lnTo>
                  <a:pt x="179045" y="163902"/>
                </a:lnTo>
                <a:cubicBezTo>
                  <a:pt x="177601" y="161745"/>
                  <a:pt x="176879" y="159588"/>
                  <a:pt x="176157" y="157432"/>
                </a:cubicBezTo>
                <a:lnTo>
                  <a:pt x="173630" y="147368"/>
                </a:lnTo>
                <a:cubicBezTo>
                  <a:pt x="164245" y="152759"/>
                  <a:pt x="154137" y="155994"/>
                  <a:pt x="143308" y="155994"/>
                </a:cubicBezTo>
                <a:cubicBezTo>
                  <a:pt x="132479" y="155994"/>
                  <a:pt x="122371" y="152759"/>
                  <a:pt x="112986" y="147368"/>
                </a:cubicBezTo>
                <a:close/>
                <a:moveTo>
                  <a:pt x="166411" y="38459"/>
                </a:moveTo>
                <a:lnTo>
                  <a:pt x="166411" y="48164"/>
                </a:lnTo>
                <a:cubicBezTo>
                  <a:pt x="166411" y="50321"/>
                  <a:pt x="164967" y="52118"/>
                  <a:pt x="163523" y="52477"/>
                </a:cubicBezTo>
                <a:cubicBezTo>
                  <a:pt x="151249" y="56071"/>
                  <a:pt x="140420" y="57509"/>
                  <a:pt x="130674" y="57509"/>
                </a:cubicBezTo>
                <a:cubicBezTo>
                  <a:pt x="108654" y="57509"/>
                  <a:pt x="93493" y="49961"/>
                  <a:pt x="86635" y="44570"/>
                </a:cubicBezTo>
                <a:cubicBezTo>
                  <a:pt x="83386" y="52837"/>
                  <a:pt x="81942" y="61822"/>
                  <a:pt x="81942" y="71887"/>
                </a:cubicBezTo>
                <a:cubicBezTo>
                  <a:pt x="81942" y="113221"/>
                  <a:pt x="109376" y="147368"/>
                  <a:pt x="143308" y="147368"/>
                </a:cubicBezTo>
                <a:cubicBezTo>
                  <a:pt x="177240" y="147368"/>
                  <a:pt x="205035" y="113221"/>
                  <a:pt x="205035" y="71887"/>
                </a:cubicBezTo>
                <a:cubicBezTo>
                  <a:pt x="205035" y="59306"/>
                  <a:pt x="202147" y="48164"/>
                  <a:pt x="197455" y="38819"/>
                </a:cubicBezTo>
                <a:cubicBezTo>
                  <a:pt x="191318" y="43132"/>
                  <a:pt x="182654" y="46007"/>
                  <a:pt x="182294" y="46367"/>
                </a:cubicBezTo>
                <a:cubicBezTo>
                  <a:pt x="180850" y="46726"/>
                  <a:pt x="179767" y="46367"/>
                  <a:pt x="178684" y="46007"/>
                </a:cubicBezTo>
                <a:lnTo>
                  <a:pt x="166411" y="38459"/>
                </a:lnTo>
                <a:close/>
                <a:moveTo>
                  <a:pt x="143308" y="8986"/>
                </a:moveTo>
                <a:cubicBezTo>
                  <a:pt x="118761" y="8986"/>
                  <a:pt x="100713" y="19050"/>
                  <a:pt x="89883" y="37021"/>
                </a:cubicBezTo>
                <a:cubicBezTo>
                  <a:pt x="97825" y="42054"/>
                  <a:pt x="120927" y="55712"/>
                  <a:pt x="157747" y="44929"/>
                </a:cubicBezTo>
                <a:lnTo>
                  <a:pt x="157747" y="30911"/>
                </a:lnTo>
                <a:cubicBezTo>
                  <a:pt x="157747" y="29114"/>
                  <a:pt x="158469" y="27676"/>
                  <a:pt x="159913" y="26957"/>
                </a:cubicBezTo>
                <a:cubicBezTo>
                  <a:pt x="161357" y="26238"/>
                  <a:pt x="163162" y="26238"/>
                  <a:pt x="164245" y="26957"/>
                </a:cubicBezTo>
                <a:lnTo>
                  <a:pt x="181572" y="37381"/>
                </a:lnTo>
                <a:cubicBezTo>
                  <a:pt x="184459" y="35943"/>
                  <a:pt x="189152" y="34146"/>
                  <a:pt x="192762" y="31630"/>
                </a:cubicBezTo>
                <a:cubicBezTo>
                  <a:pt x="182654" y="16893"/>
                  <a:pt x="164967" y="8986"/>
                  <a:pt x="143308" y="8986"/>
                </a:cubicBezTo>
                <a:close/>
                <a:moveTo>
                  <a:pt x="143308" y="0"/>
                </a:moveTo>
                <a:cubicBezTo>
                  <a:pt x="185542" y="0"/>
                  <a:pt x="213699" y="28754"/>
                  <a:pt x="213699" y="71887"/>
                </a:cubicBezTo>
                <a:cubicBezTo>
                  <a:pt x="213699" y="101001"/>
                  <a:pt x="200703" y="127239"/>
                  <a:pt x="181572" y="142336"/>
                </a:cubicBezTo>
                <a:lnTo>
                  <a:pt x="184820" y="154916"/>
                </a:lnTo>
                <a:cubicBezTo>
                  <a:pt x="186986" y="164980"/>
                  <a:pt x="195650" y="173247"/>
                  <a:pt x="206118" y="174685"/>
                </a:cubicBezTo>
                <a:lnTo>
                  <a:pt x="244743" y="181154"/>
                </a:lnTo>
                <a:cubicBezTo>
                  <a:pt x="268928" y="185468"/>
                  <a:pt x="286977" y="206674"/>
                  <a:pt x="286977" y="230756"/>
                </a:cubicBezTo>
                <a:lnTo>
                  <a:pt x="286977" y="281078"/>
                </a:lnTo>
                <a:cubicBezTo>
                  <a:pt x="286977" y="283234"/>
                  <a:pt x="284811" y="285391"/>
                  <a:pt x="282284" y="285391"/>
                </a:cubicBezTo>
                <a:cubicBezTo>
                  <a:pt x="279758" y="285391"/>
                  <a:pt x="277953" y="283234"/>
                  <a:pt x="277953" y="281078"/>
                </a:cubicBezTo>
                <a:lnTo>
                  <a:pt x="277953" y="230756"/>
                </a:lnTo>
                <a:cubicBezTo>
                  <a:pt x="277953" y="210628"/>
                  <a:pt x="263153" y="193375"/>
                  <a:pt x="242938" y="189781"/>
                </a:cubicBezTo>
                <a:lnTo>
                  <a:pt x="208645" y="184030"/>
                </a:lnTo>
                <a:lnTo>
                  <a:pt x="180489" y="224646"/>
                </a:lnTo>
                <a:cubicBezTo>
                  <a:pt x="180128" y="225724"/>
                  <a:pt x="179045" y="226443"/>
                  <a:pt x="177601" y="226443"/>
                </a:cubicBezTo>
                <a:cubicBezTo>
                  <a:pt x="177240" y="226443"/>
                  <a:pt x="177240" y="226443"/>
                  <a:pt x="177240" y="226443"/>
                </a:cubicBezTo>
                <a:cubicBezTo>
                  <a:pt x="176157" y="226443"/>
                  <a:pt x="175435" y="226443"/>
                  <a:pt x="174352" y="225724"/>
                </a:cubicBezTo>
                <a:lnTo>
                  <a:pt x="147640" y="202002"/>
                </a:lnTo>
                <a:lnTo>
                  <a:pt x="147640" y="281078"/>
                </a:lnTo>
                <a:cubicBezTo>
                  <a:pt x="147640" y="283234"/>
                  <a:pt x="145835" y="285391"/>
                  <a:pt x="143308" y="285391"/>
                </a:cubicBezTo>
                <a:cubicBezTo>
                  <a:pt x="141142" y="285391"/>
                  <a:pt x="138976" y="283234"/>
                  <a:pt x="138976" y="281078"/>
                </a:cubicBezTo>
                <a:lnTo>
                  <a:pt x="138976" y="202002"/>
                </a:lnTo>
                <a:lnTo>
                  <a:pt x="112264" y="225724"/>
                </a:lnTo>
                <a:cubicBezTo>
                  <a:pt x="111542" y="226443"/>
                  <a:pt x="110459" y="226443"/>
                  <a:pt x="109376" y="226443"/>
                </a:cubicBezTo>
                <a:cubicBezTo>
                  <a:pt x="109015" y="226443"/>
                  <a:pt x="109015" y="226443"/>
                  <a:pt x="108654" y="226443"/>
                </a:cubicBezTo>
                <a:cubicBezTo>
                  <a:pt x="107571" y="226443"/>
                  <a:pt x="106127" y="225724"/>
                  <a:pt x="105766" y="224646"/>
                </a:cubicBezTo>
                <a:lnTo>
                  <a:pt x="77610" y="184030"/>
                </a:lnTo>
                <a:lnTo>
                  <a:pt x="43678" y="189781"/>
                </a:lnTo>
                <a:cubicBezTo>
                  <a:pt x="23463" y="193375"/>
                  <a:pt x="8663" y="210628"/>
                  <a:pt x="8663" y="230756"/>
                </a:cubicBezTo>
                <a:lnTo>
                  <a:pt x="8663" y="281078"/>
                </a:lnTo>
                <a:cubicBezTo>
                  <a:pt x="8663" y="283234"/>
                  <a:pt x="6859" y="285391"/>
                  <a:pt x="4693" y="285391"/>
                </a:cubicBezTo>
                <a:cubicBezTo>
                  <a:pt x="2166" y="285391"/>
                  <a:pt x="0" y="283234"/>
                  <a:pt x="0" y="281078"/>
                </a:cubicBezTo>
                <a:lnTo>
                  <a:pt x="0" y="230756"/>
                </a:lnTo>
                <a:cubicBezTo>
                  <a:pt x="0" y="206674"/>
                  <a:pt x="17688" y="185468"/>
                  <a:pt x="42234" y="181154"/>
                </a:cubicBezTo>
                <a:lnTo>
                  <a:pt x="80498" y="174685"/>
                </a:lnTo>
                <a:cubicBezTo>
                  <a:pt x="90605" y="173247"/>
                  <a:pt x="99269" y="164980"/>
                  <a:pt x="101796" y="154916"/>
                </a:cubicBezTo>
                <a:lnTo>
                  <a:pt x="105044" y="142336"/>
                </a:lnTo>
                <a:cubicBezTo>
                  <a:pt x="85913" y="127239"/>
                  <a:pt x="73278" y="101001"/>
                  <a:pt x="73278" y="71887"/>
                </a:cubicBezTo>
                <a:cubicBezTo>
                  <a:pt x="73278" y="28754"/>
                  <a:pt x="101435" y="0"/>
                  <a:pt x="143308" y="0"/>
                </a:cubicBezTo>
                <a:close/>
              </a:path>
            </a:pathLst>
          </a:custGeom>
          <a:solidFill>
            <a:srgbClr val="1A171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en-US" sz="900" dirty="0"/>
          </a:p>
        </p:txBody>
      </p:sp>
      <p:sp>
        <p:nvSpPr>
          <p:cNvPr id="19" name="Freeform 1047">
            <a:extLst>
              <a:ext uri="{FF2B5EF4-FFF2-40B4-BE49-F238E27FC236}">
                <a16:creationId xmlns:a16="http://schemas.microsoft.com/office/drawing/2014/main" id="{81A1DDA2-DF63-BA4C-B2EB-2D88B7683393}"/>
              </a:ext>
            </a:extLst>
          </p:cNvPr>
          <p:cNvSpPr>
            <a:spLocks noChangeAspect="1" noChangeArrowheads="1"/>
          </p:cNvSpPr>
          <p:nvPr/>
        </p:nvSpPr>
        <p:spPr bwMode="auto">
          <a:xfrm>
            <a:off x="2313397" y="1585219"/>
            <a:ext cx="445519" cy="443058"/>
          </a:xfrm>
          <a:custGeom>
            <a:avLst/>
            <a:gdLst>
              <a:gd name="T0" fmla="*/ 229384 w 286977"/>
              <a:gd name="T1" fmla="*/ 251968 h 285393"/>
              <a:gd name="T2" fmla="*/ 224597 w 286977"/>
              <a:gd name="T3" fmla="*/ 286823 h 285393"/>
              <a:gd name="T4" fmla="*/ 220180 w 286977"/>
              <a:gd name="T5" fmla="*/ 251968 h 285393"/>
              <a:gd name="T6" fmla="*/ 63245 w 286977"/>
              <a:gd name="T7" fmla="*/ 247297 h 285393"/>
              <a:gd name="T8" fmla="*/ 68224 w 286977"/>
              <a:gd name="T9" fmla="*/ 282512 h 285393"/>
              <a:gd name="T10" fmla="*/ 59034 w 286977"/>
              <a:gd name="T11" fmla="*/ 282512 h 285393"/>
              <a:gd name="T12" fmla="*/ 63245 w 286977"/>
              <a:gd name="T13" fmla="*/ 247297 h 285393"/>
              <a:gd name="T14" fmla="*/ 151287 w 286977"/>
              <a:gd name="T15" fmla="*/ 193983 h 285393"/>
              <a:gd name="T16" fmla="*/ 200264 w 286977"/>
              <a:gd name="T17" fmla="*/ 182424 h 285393"/>
              <a:gd name="T18" fmla="*/ 103397 w 286977"/>
              <a:gd name="T19" fmla="*/ 171948 h 285393"/>
              <a:gd name="T20" fmla="*/ 111015 w 286977"/>
              <a:gd name="T21" fmla="*/ 217103 h 285393"/>
              <a:gd name="T22" fmla="*/ 103397 w 286977"/>
              <a:gd name="T23" fmla="*/ 171948 h 285393"/>
              <a:gd name="T24" fmla="*/ 111015 w 286977"/>
              <a:gd name="T25" fmla="*/ 158221 h 285393"/>
              <a:gd name="T26" fmla="*/ 144030 w 286977"/>
              <a:gd name="T27" fmla="*/ 188204 h 285393"/>
              <a:gd name="T28" fmla="*/ 177045 w 286977"/>
              <a:gd name="T29" fmla="*/ 158221 h 285393"/>
              <a:gd name="T30" fmla="*/ 144030 w 286977"/>
              <a:gd name="T31" fmla="*/ 156776 h 285393"/>
              <a:gd name="T32" fmla="*/ 167250 w 286977"/>
              <a:gd name="T33" fmla="*/ 38651 h 285393"/>
              <a:gd name="T34" fmla="*/ 164347 w 286977"/>
              <a:gd name="T35" fmla="*/ 52741 h 285393"/>
              <a:gd name="T36" fmla="*/ 87071 w 286977"/>
              <a:gd name="T37" fmla="*/ 44794 h 285393"/>
              <a:gd name="T38" fmla="*/ 144030 w 286977"/>
              <a:gd name="T39" fmla="*/ 148107 h 285393"/>
              <a:gd name="T40" fmla="*/ 198450 w 286977"/>
              <a:gd name="T41" fmla="*/ 39015 h 285393"/>
              <a:gd name="T42" fmla="*/ 179585 w 286977"/>
              <a:gd name="T43" fmla="*/ 46239 h 285393"/>
              <a:gd name="T44" fmla="*/ 144030 w 286977"/>
              <a:gd name="T45" fmla="*/ 9030 h 285393"/>
              <a:gd name="T46" fmla="*/ 158542 w 286977"/>
              <a:gd name="T47" fmla="*/ 45153 h 285393"/>
              <a:gd name="T48" fmla="*/ 160719 w 286977"/>
              <a:gd name="T49" fmla="*/ 27093 h 285393"/>
              <a:gd name="T50" fmla="*/ 182487 w 286977"/>
              <a:gd name="T51" fmla="*/ 37569 h 285393"/>
              <a:gd name="T52" fmla="*/ 144030 w 286977"/>
              <a:gd name="T53" fmla="*/ 9030 h 285393"/>
              <a:gd name="T54" fmla="*/ 214776 w 286977"/>
              <a:gd name="T55" fmla="*/ 72247 h 285393"/>
              <a:gd name="T56" fmla="*/ 185751 w 286977"/>
              <a:gd name="T57" fmla="*/ 155693 h 285393"/>
              <a:gd name="T58" fmla="*/ 245977 w 286977"/>
              <a:gd name="T59" fmla="*/ 182062 h 285393"/>
              <a:gd name="T60" fmla="*/ 288423 w 286977"/>
              <a:gd name="T61" fmla="*/ 282487 h 285393"/>
              <a:gd name="T62" fmla="*/ 279355 w 286977"/>
              <a:gd name="T63" fmla="*/ 282487 h 285393"/>
              <a:gd name="T64" fmla="*/ 244163 w 286977"/>
              <a:gd name="T65" fmla="*/ 190732 h 285393"/>
              <a:gd name="T66" fmla="*/ 181399 w 286977"/>
              <a:gd name="T67" fmla="*/ 225772 h 285393"/>
              <a:gd name="T68" fmla="*/ 178134 w 286977"/>
              <a:gd name="T69" fmla="*/ 227578 h 285393"/>
              <a:gd name="T70" fmla="*/ 148384 w 286977"/>
              <a:gd name="T71" fmla="*/ 203015 h 285393"/>
              <a:gd name="T72" fmla="*/ 144030 w 286977"/>
              <a:gd name="T73" fmla="*/ 286821 h 285393"/>
              <a:gd name="T74" fmla="*/ 139676 w 286977"/>
              <a:gd name="T75" fmla="*/ 203015 h 285393"/>
              <a:gd name="T76" fmla="*/ 109928 w 286977"/>
              <a:gd name="T77" fmla="*/ 227578 h 285393"/>
              <a:gd name="T78" fmla="*/ 106299 w 286977"/>
              <a:gd name="T79" fmla="*/ 225772 h 285393"/>
              <a:gd name="T80" fmla="*/ 43898 w 286977"/>
              <a:gd name="T81" fmla="*/ 190732 h 285393"/>
              <a:gd name="T82" fmla="*/ 8707 w 286977"/>
              <a:gd name="T83" fmla="*/ 282487 h 285393"/>
              <a:gd name="T84" fmla="*/ 0 w 286977"/>
              <a:gd name="T85" fmla="*/ 282487 h 285393"/>
              <a:gd name="T86" fmla="*/ 42446 w 286977"/>
              <a:gd name="T87" fmla="*/ 182062 h 285393"/>
              <a:gd name="T88" fmla="*/ 102309 w 286977"/>
              <a:gd name="T89" fmla="*/ 155693 h 285393"/>
              <a:gd name="T90" fmla="*/ 73647 w 286977"/>
              <a:gd name="T91" fmla="*/ 72247 h 2853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6977" h="285393">
                <a:moveTo>
                  <a:pt x="223471" y="246063"/>
                </a:moveTo>
                <a:cubicBezTo>
                  <a:pt x="226036" y="246063"/>
                  <a:pt x="228234" y="248208"/>
                  <a:pt x="228234" y="250711"/>
                </a:cubicBezTo>
                <a:lnTo>
                  <a:pt x="228234" y="281102"/>
                </a:lnTo>
                <a:cubicBezTo>
                  <a:pt x="228234" y="283247"/>
                  <a:pt x="226036" y="285393"/>
                  <a:pt x="223471" y="285393"/>
                </a:cubicBezTo>
                <a:cubicBezTo>
                  <a:pt x="221273" y="285393"/>
                  <a:pt x="219075" y="283247"/>
                  <a:pt x="219075" y="281102"/>
                </a:cubicBezTo>
                <a:lnTo>
                  <a:pt x="219075" y="250711"/>
                </a:lnTo>
                <a:cubicBezTo>
                  <a:pt x="219075" y="248208"/>
                  <a:pt x="221273" y="246063"/>
                  <a:pt x="223471" y="246063"/>
                </a:cubicBezTo>
                <a:close/>
                <a:moveTo>
                  <a:pt x="62929" y="246063"/>
                </a:moveTo>
                <a:cubicBezTo>
                  <a:pt x="65596" y="246063"/>
                  <a:pt x="67882" y="248208"/>
                  <a:pt x="67882" y="250711"/>
                </a:cubicBezTo>
                <a:lnTo>
                  <a:pt x="67882" y="281102"/>
                </a:lnTo>
                <a:cubicBezTo>
                  <a:pt x="67882" y="283247"/>
                  <a:pt x="65596" y="285393"/>
                  <a:pt x="62929" y="285393"/>
                </a:cubicBezTo>
                <a:cubicBezTo>
                  <a:pt x="61024" y="285393"/>
                  <a:pt x="58738" y="283247"/>
                  <a:pt x="58738" y="281102"/>
                </a:cubicBezTo>
                <a:lnTo>
                  <a:pt x="58738" y="250711"/>
                </a:lnTo>
                <a:cubicBezTo>
                  <a:pt x="58738" y="248208"/>
                  <a:pt x="61024" y="246063"/>
                  <a:pt x="62929" y="246063"/>
                </a:cubicBezTo>
                <a:close/>
                <a:moveTo>
                  <a:pt x="183376" y="171090"/>
                </a:moveTo>
                <a:lnTo>
                  <a:pt x="150528" y="193016"/>
                </a:lnTo>
                <a:lnTo>
                  <a:pt x="176518" y="216020"/>
                </a:lnTo>
                <a:lnTo>
                  <a:pt x="199259" y="181514"/>
                </a:lnTo>
                <a:cubicBezTo>
                  <a:pt x="193123" y="180076"/>
                  <a:pt x="188069" y="176122"/>
                  <a:pt x="183376" y="171090"/>
                </a:cubicBezTo>
                <a:close/>
                <a:moveTo>
                  <a:pt x="102878" y="171090"/>
                </a:moveTo>
                <a:cubicBezTo>
                  <a:pt x="98908" y="176122"/>
                  <a:pt x="93132" y="180076"/>
                  <a:pt x="86995" y="181514"/>
                </a:cubicBezTo>
                <a:lnTo>
                  <a:pt x="110459" y="216020"/>
                </a:lnTo>
                <a:lnTo>
                  <a:pt x="136088" y="193016"/>
                </a:lnTo>
                <a:lnTo>
                  <a:pt x="102878" y="171090"/>
                </a:lnTo>
                <a:close/>
                <a:moveTo>
                  <a:pt x="112986" y="147368"/>
                </a:moveTo>
                <a:lnTo>
                  <a:pt x="110459" y="157432"/>
                </a:lnTo>
                <a:cubicBezTo>
                  <a:pt x="110098" y="159588"/>
                  <a:pt x="108654" y="161745"/>
                  <a:pt x="107932" y="163902"/>
                </a:cubicBezTo>
                <a:lnTo>
                  <a:pt x="143308" y="187265"/>
                </a:lnTo>
                <a:lnTo>
                  <a:pt x="179045" y="163902"/>
                </a:lnTo>
                <a:cubicBezTo>
                  <a:pt x="177601" y="161745"/>
                  <a:pt x="176879" y="159588"/>
                  <a:pt x="176157" y="157432"/>
                </a:cubicBezTo>
                <a:lnTo>
                  <a:pt x="173630" y="147368"/>
                </a:lnTo>
                <a:cubicBezTo>
                  <a:pt x="164245" y="152759"/>
                  <a:pt x="154137" y="155994"/>
                  <a:pt x="143308" y="155994"/>
                </a:cubicBezTo>
                <a:cubicBezTo>
                  <a:pt x="132479" y="155994"/>
                  <a:pt x="122371" y="152759"/>
                  <a:pt x="112986" y="147368"/>
                </a:cubicBezTo>
                <a:close/>
                <a:moveTo>
                  <a:pt x="166411" y="38459"/>
                </a:moveTo>
                <a:lnTo>
                  <a:pt x="166411" y="48164"/>
                </a:lnTo>
                <a:cubicBezTo>
                  <a:pt x="166411" y="50321"/>
                  <a:pt x="164967" y="52118"/>
                  <a:pt x="163523" y="52477"/>
                </a:cubicBezTo>
                <a:cubicBezTo>
                  <a:pt x="151249" y="56071"/>
                  <a:pt x="140420" y="57509"/>
                  <a:pt x="130674" y="57509"/>
                </a:cubicBezTo>
                <a:cubicBezTo>
                  <a:pt x="108654" y="57509"/>
                  <a:pt x="93493" y="49961"/>
                  <a:pt x="86635" y="44570"/>
                </a:cubicBezTo>
                <a:cubicBezTo>
                  <a:pt x="83386" y="52837"/>
                  <a:pt x="81942" y="61822"/>
                  <a:pt x="81942" y="71887"/>
                </a:cubicBezTo>
                <a:cubicBezTo>
                  <a:pt x="81942" y="113221"/>
                  <a:pt x="109376" y="147368"/>
                  <a:pt x="143308" y="147368"/>
                </a:cubicBezTo>
                <a:cubicBezTo>
                  <a:pt x="177240" y="147368"/>
                  <a:pt x="205035" y="113221"/>
                  <a:pt x="205035" y="71887"/>
                </a:cubicBezTo>
                <a:cubicBezTo>
                  <a:pt x="205035" y="59306"/>
                  <a:pt x="202147" y="48164"/>
                  <a:pt x="197455" y="38819"/>
                </a:cubicBezTo>
                <a:cubicBezTo>
                  <a:pt x="191318" y="43132"/>
                  <a:pt x="182654" y="46007"/>
                  <a:pt x="182294" y="46367"/>
                </a:cubicBezTo>
                <a:cubicBezTo>
                  <a:pt x="180850" y="46726"/>
                  <a:pt x="179767" y="46367"/>
                  <a:pt x="178684" y="46007"/>
                </a:cubicBezTo>
                <a:lnTo>
                  <a:pt x="166411" y="38459"/>
                </a:lnTo>
                <a:close/>
                <a:moveTo>
                  <a:pt x="143308" y="8986"/>
                </a:moveTo>
                <a:cubicBezTo>
                  <a:pt x="118761" y="8986"/>
                  <a:pt x="100713" y="19050"/>
                  <a:pt x="89883" y="37021"/>
                </a:cubicBezTo>
                <a:cubicBezTo>
                  <a:pt x="97825" y="42054"/>
                  <a:pt x="120927" y="55712"/>
                  <a:pt x="157747" y="44929"/>
                </a:cubicBezTo>
                <a:lnTo>
                  <a:pt x="157747" y="30911"/>
                </a:lnTo>
                <a:cubicBezTo>
                  <a:pt x="157747" y="29114"/>
                  <a:pt x="158469" y="27676"/>
                  <a:pt x="159913" y="26957"/>
                </a:cubicBezTo>
                <a:cubicBezTo>
                  <a:pt x="161357" y="26238"/>
                  <a:pt x="163162" y="26238"/>
                  <a:pt x="164245" y="26957"/>
                </a:cubicBezTo>
                <a:lnTo>
                  <a:pt x="181572" y="37381"/>
                </a:lnTo>
                <a:cubicBezTo>
                  <a:pt x="184459" y="35943"/>
                  <a:pt x="189152" y="34146"/>
                  <a:pt x="192762" y="31630"/>
                </a:cubicBezTo>
                <a:cubicBezTo>
                  <a:pt x="182654" y="16893"/>
                  <a:pt x="164967" y="8986"/>
                  <a:pt x="143308" y="8986"/>
                </a:cubicBezTo>
                <a:close/>
                <a:moveTo>
                  <a:pt x="143308" y="0"/>
                </a:moveTo>
                <a:cubicBezTo>
                  <a:pt x="185542" y="0"/>
                  <a:pt x="213699" y="28754"/>
                  <a:pt x="213699" y="71887"/>
                </a:cubicBezTo>
                <a:cubicBezTo>
                  <a:pt x="213699" y="101001"/>
                  <a:pt x="200703" y="127239"/>
                  <a:pt x="181572" y="142336"/>
                </a:cubicBezTo>
                <a:lnTo>
                  <a:pt x="184820" y="154916"/>
                </a:lnTo>
                <a:cubicBezTo>
                  <a:pt x="186986" y="164980"/>
                  <a:pt x="195650" y="173247"/>
                  <a:pt x="206118" y="174685"/>
                </a:cubicBezTo>
                <a:lnTo>
                  <a:pt x="244743" y="181154"/>
                </a:lnTo>
                <a:cubicBezTo>
                  <a:pt x="268928" y="185468"/>
                  <a:pt x="286977" y="206674"/>
                  <a:pt x="286977" y="230756"/>
                </a:cubicBezTo>
                <a:lnTo>
                  <a:pt x="286977" y="281078"/>
                </a:lnTo>
                <a:cubicBezTo>
                  <a:pt x="286977" y="283234"/>
                  <a:pt x="284811" y="285391"/>
                  <a:pt x="282284" y="285391"/>
                </a:cubicBezTo>
                <a:cubicBezTo>
                  <a:pt x="279758" y="285391"/>
                  <a:pt x="277953" y="283234"/>
                  <a:pt x="277953" y="281078"/>
                </a:cubicBezTo>
                <a:lnTo>
                  <a:pt x="277953" y="230756"/>
                </a:lnTo>
                <a:cubicBezTo>
                  <a:pt x="277953" y="210628"/>
                  <a:pt x="263153" y="193375"/>
                  <a:pt x="242938" y="189781"/>
                </a:cubicBezTo>
                <a:lnTo>
                  <a:pt x="208645" y="184030"/>
                </a:lnTo>
                <a:lnTo>
                  <a:pt x="180489" y="224646"/>
                </a:lnTo>
                <a:cubicBezTo>
                  <a:pt x="180128" y="225724"/>
                  <a:pt x="179045" y="226443"/>
                  <a:pt x="177601" y="226443"/>
                </a:cubicBezTo>
                <a:cubicBezTo>
                  <a:pt x="177240" y="226443"/>
                  <a:pt x="177240" y="226443"/>
                  <a:pt x="177240" y="226443"/>
                </a:cubicBezTo>
                <a:cubicBezTo>
                  <a:pt x="176157" y="226443"/>
                  <a:pt x="175435" y="226443"/>
                  <a:pt x="174352" y="225724"/>
                </a:cubicBezTo>
                <a:lnTo>
                  <a:pt x="147640" y="202002"/>
                </a:lnTo>
                <a:lnTo>
                  <a:pt x="147640" y="281078"/>
                </a:lnTo>
                <a:cubicBezTo>
                  <a:pt x="147640" y="283234"/>
                  <a:pt x="145835" y="285391"/>
                  <a:pt x="143308" y="285391"/>
                </a:cubicBezTo>
                <a:cubicBezTo>
                  <a:pt x="141142" y="285391"/>
                  <a:pt x="138976" y="283234"/>
                  <a:pt x="138976" y="281078"/>
                </a:cubicBezTo>
                <a:lnTo>
                  <a:pt x="138976" y="202002"/>
                </a:lnTo>
                <a:lnTo>
                  <a:pt x="112264" y="225724"/>
                </a:lnTo>
                <a:cubicBezTo>
                  <a:pt x="111542" y="226443"/>
                  <a:pt x="110459" y="226443"/>
                  <a:pt x="109376" y="226443"/>
                </a:cubicBezTo>
                <a:cubicBezTo>
                  <a:pt x="109015" y="226443"/>
                  <a:pt x="109015" y="226443"/>
                  <a:pt x="108654" y="226443"/>
                </a:cubicBezTo>
                <a:cubicBezTo>
                  <a:pt x="107571" y="226443"/>
                  <a:pt x="106127" y="225724"/>
                  <a:pt x="105766" y="224646"/>
                </a:cubicBezTo>
                <a:lnTo>
                  <a:pt x="77610" y="184030"/>
                </a:lnTo>
                <a:lnTo>
                  <a:pt x="43678" y="189781"/>
                </a:lnTo>
                <a:cubicBezTo>
                  <a:pt x="23463" y="193375"/>
                  <a:pt x="8663" y="210628"/>
                  <a:pt x="8663" y="230756"/>
                </a:cubicBezTo>
                <a:lnTo>
                  <a:pt x="8663" y="281078"/>
                </a:lnTo>
                <a:cubicBezTo>
                  <a:pt x="8663" y="283234"/>
                  <a:pt x="6859" y="285391"/>
                  <a:pt x="4693" y="285391"/>
                </a:cubicBezTo>
                <a:cubicBezTo>
                  <a:pt x="2166" y="285391"/>
                  <a:pt x="0" y="283234"/>
                  <a:pt x="0" y="281078"/>
                </a:cubicBezTo>
                <a:lnTo>
                  <a:pt x="0" y="230756"/>
                </a:lnTo>
                <a:cubicBezTo>
                  <a:pt x="0" y="206674"/>
                  <a:pt x="17688" y="185468"/>
                  <a:pt x="42234" y="181154"/>
                </a:cubicBezTo>
                <a:lnTo>
                  <a:pt x="80498" y="174685"/>
                </a:lnTo>
                <a:cubicBezTo>
                  <a:pt x="90605" y="173247"/>
                  <a:pt x="99269" y="164980"/>
                  <a:pt x="101796" y="154916"/>
                </a:cubicBezTo>
                <a:lnTo>
                  <a:pt x="105044" y="142336"/>
                </a:lnTo>
                <a:cubicBezTo>
                  <a:pt x="85913" y="127239"/>
                  <a:pt x="73278" y="101001"/>
                  <a:pt x="73278" y="71887"/>
                </a:cubicBezTo>
                <a:cubicBezTo>
                  <a:pt x="73278" y="28754"/>
                  <a:pt x="101435" y="0"/>
                  <a:pt x="143308" y="0"/>
                </a:cubicBezTo>
                <a:close/>
              </a:path>
            </a:pathLst>
          </a:custGeom>
          <a:solidFill>
            <a:srgbClr val="1A171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en-US" sz="900" dirty="0"/>
          </a:p>
        </p:txBody>
      </p:sp>
      <p:sp>
        <p:nvSpPr>
          <p:cNvPr id="20" name="Freeform 1047">
            <a:extLst>
              <a:ext uri="{FF2B5EF4-FFF2-40B4-BE49-F238E27FC236}">
                <a16:creationId xmlns:a16="http://schemas.microsoft.com/office/drawing/2014/main" id="{922A61FF-4954-0549-A27B-09EC3247F40E}"/>
              </a:ext>
            </a:extLst>
          </p:cNvPr>
          <p:cNvSpPr>
            <a:spLocks noChangeAspect="1" noChangeArrowheads="1"/>
          </p:cNvSpPr>
          <p:nvPr/>
        </p:nvSpPr>
        <p:spPr bwMode="auto">
          <a:xfrm>
            <a:off x="2806747" y="1585219"/>
            <a:ext cx="445519" cy="443058"/>
          </a:xfrm>
          <a:custGeom>
            <a:avLst/>
            <a:gdLst>
              <a:gd name="T0" fmla="*/ 229384 w 286977"/>
              <a:gd name="T1" fmla="*/ 251968 h 285393"/>
              <a:gd name="T2" fmla="*/ 224597 w 286977"/>
              <a:gd name="T3" fmla="*/ 286823 h 285393"/>
              <a:gd name="T4" fmla="*/ 220180 w 286977"/>
              <a:gd name="T5" fmla="*/ 251968 h 285393"/>
              <a:gd name="T6" fmla="*/ 63245 w 286977"/>
              <a:gd name="T7" fmla="*/ 247297 h 285393"/>
              <a:gd name="T8" fmla="*/ 68224 w 286977"/>
              <a:gd name="T9" fmla="*/ 282512 h 285393"/>
              <a:gd name="T10" fmla="*/ 59034 w 286977"/>
              <a:gd name="T11" fmla="*/ 282512 h 285393"/>
              <a:gd name="T12" fmla="*/ 63245 w 286977"/>
              <a:gd name="T13" fmla="*/ 247297 h 285393"/>
              <a:gd name="T14" fmla="*/ 151287 w 286977"/>
              <a:gd name="T15" fmla="*/ 193983 h 285393"/>
              <a:gd name="T16" fmla="*/ 200264 w 286977"/>
              <a:gd name="T17" fmla="*/ 182424 h 285393"/>
              <a:gd name="T18" fmla="*/ 103397 w 286977"/>
              <a:gd name="T19" fmla="*/ 171948 h 285393"/>
              <a:gd name="T20" fmla="*/ 111015 w 286977"/>
              <a:gd name="T21" fmla="*/ 217103 h 285393"/>
              <a:gd name="T22" fmla="*/ 103397 w 286977"/>
              <a:gd name="T23" fmla="*/ 171948 h 285393"/>
              <a:gd name="T24" fmla="*/ 111015 w 286977"/>
              <a:gd name="T25" fmla="*/ 158221 h 285393"/>
              <a:gd name="T26" fmla="*/ 144030 w 286977"/>
              <a:gd name="T27" fmla="*/ 188204 h 285393"/>
              <a:gd name="T28" fmla="*/ 177045 w 286977"/>
              <a:gd name="T29" fmla="*/ 158221 h 285393"/>
              <a:gd name="T30" fmla="*/ 144030 w 286977"/>
              <a:gd name="T31" fmla="*/ 156776 h 285393"/>
              <a:gd name="T32" fmla="*/ 167250 w 286977"/>
              <a:gd name="T33" fmla="*/ 38651 h 285393"/>
              <a:gd name="T34" fmla="*/ 164347 w 286977"/>
              <a:gd name="T35" fmla="*/ 52741 h 285393"/>
              <a:gd name="T36" fmla="*/ 87071 w 286977"/>
              <a:gd name="T37" fmla="*/ 44794 h 285393"/>
              <a:gd name="T38" fmla="*/ 144030 w 286977"/>
              <a:gd name="T39" fmla="*/ 148107 h 285393"/>
              <a:gd name="T40" fmla="*/ 198450 w 286977"/>
              <a:gd name="T41" fmla="*/ 39015 h 285393"/>
              <a:gd name="T42" fmla="*/ 179585 w 286977"/>
              <a:gd name="T43" fmla="*/ 46239 h 285393"/>
              <a:gd name="T44" fmla="*/ 144030 w 286977"/>
              <a:gd name="T45" fmla="*/ 9030 h 285393"/>
              <a:gd name="T46" fmla="*/ 158542 w 286977"/>
              <a:gd name="T47" fmla="*/ 45153 h 285393"/>
              <a:gd name="T48" fmla="*/ 160719 w 286977"/>
              <a:gd name="T49" fmla="*/ 27093 h 285393"/>
              <a:gd name="T50" fmla="*/ 182487 w 286977"/>
              <a:gd name="T51" fmla="*/ 37569 h 285393"/>
              <a:gd name="T52" fmla="*/ 144030 w 286977"/>
              <a:gd name="T53" fmla="*/ 9030 h 285393"/>
              <a:gd name="T54" fmla="*/ 214776 w 286977"/>
              <a:gd name="T55" fmla="*/ 72247 h 285393"/>
              <a:gd name="T56" fmla="*/ 185751 w 286977"/>
              <a:gd name="T57" fmla="*/ 155693 h 285393"/>
              <a:gd name="T58" fmla="*/ 245977 w 286977"/>
              <a:gd name="T59" fmla="*/ 182062 h 285393"/>
              <a:gd name="T60" fmla="*/ 288423 w 286977"/>
              <a:gd name="T61" fmla="*/ 282487 h 285393"/>
              <a:gd name="T62" fmla="*/ 279355 w 286977"/>
              <a:gd name="T63" fmla="*/ 282487 h 285393"/>
              <a:gd name="T64" fmla="*/ 244163 w 286977"/>
              <a:gd name="T65" fmla="*/ 190732 h 285393"/>
              <a:gd name="T66" fmla="*/ 181399 w 286977"/>
              <a:gd name="T67" fmla="*/ 225772 h 285393"/>
              <a:gd name="T68" fmla="*/ 178134 w 286977"/>
              <a:gd name="T69" fmla="*/ 227578 h 285393"/>
              <a:gd name="T70" fmla="*/ 148384 w 286977"/>
              <a:gd name="T71" fmla="*/ 203015 h 285393"/>
              <a:gd name="T72" fmla="*/ 144030 w 286977"/>
              <a:gd name="T73" fmla="*/ 286821 h 285393"/>
              <a:gd name="T74" fmla="*/ 139676 w 286977"/>
              <a:gd name="T75" fmla="*/ 203015 h 285393"/>
              <a:gd name="T76" fmla="*/ 109928 w 286977"/>
              <a:gd name="T77" fmla="*/ 227578 h 285393"/>
              <a:gd name="T78" fmla="*/ 106299 w 286977"/>
              <a:gd name="T79" fmla="*/ 225772 h 285393"/>
              <a:gd name="T80" fmla="*/ 43898 w 286977"/>
              <a:gd name="T81" fmla="*/ 190732 h 285393"/>
              <a:gd name="T82" fmla="*/ 8707 w 286977"/>
              <a:gd name="T83" fmla="*/ 282487 h 285393"/>
              <a:gd name="T84" fmla="*/ 0 w 286977"/>
              <a:gd name="T85" fmla="*/ 282487 h 285393"/>
              <a:gd name="T86" fmla="*/ 42446 w 286977"/>
              <a:gd name="T87" fmla="*/ 182062 h 285393"/>
              <a:gd name="T88" fmla="*/ 102309 w 286977"/>
              <a:gd name="T89" fmla="*/ 155693 h 285393"/>
              <a:gd name="T90" fmla="*/ 73647 w 286977"/>
              <a:gd name="T91" fmla="*/ 72247 h 2853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6977" h="285393">
                <a:moveTo>
                  <a:pt x="223471" y="246063"/>
                </a:moveTo>
                <a:cubicBezTo>
                  <a:pt x="226036" y="246063"/>
                  <a:pt x="228234" y="248208"/>
                  <a:pt x="228234" y="250711"/>
                </a:cubicBezTo>
                <a:lnTo>
                  <a:pt x="228234" y="281102"/>
                </a:lnTo>
                <a:cubicBezTo>
                  <a:pt x="228234" y="283247"/>
                  <a:pt x="226036" y="285393"/>
                  <a:pt x="223471" y="285393"/>
                </a:cubicBezTo>
                <a:cubicBezTo>
                  <a:pt x="221273" y="285393"/>
                  <a:pt x="219075" y="283247"/>
                  <a:pt x="219075" y="281102"/>
                </a:cubicBezTo>
                <a:lnTo>
                  <a:pt x="219075" y="250711"/>
                </a:lnTo>
                <a:cubicBezTo>
                  <a:pt x="219075" y="248208"/>
                  <a:pt x="221273" y="246063"/>
                  <a:pt x="223471" y="246063"/>
                </a:cubicBezTo>
                <a:close/>
                <a:moveTo>
                  <a:pt x="62929" y="246063"/>
                </a:moveTo>
                <a:cubicBezTo>
                  <a:pt x="65596" y="246063"/>
                  <a:pt x="67882" y="248208"/>
                  <a:pt x="67882" y="250711"/>
                </a:cubicBezTo>
                <a:lnTo>
                  <a:pt x="67882" y="281102"/>
                </a:lnTo>
                <a:cubicBezTo>
                  <a:pt x="67882" y="283247"/>
                  <a:pt x="65596" y="285393"/>
                  <a:pt x="62929" y="285393"/>
                </a:cubicBezTo>
                <a:cubicBezTo>
                  <a:pt x="61024" y="285393"/>
                  <a:pt x="58738" y="283247"/>
                  <a:pt x="58738" y="281102"/>
                </a:cubicBezTo>
                <a:lnTo>
                  <a:pt x="58738" y="250711"/>
                </a:lnTo>
                <a:cubicBezTo>
                  <a:pt x="58738" y="248208"/>
                  <a:pt x="61024" y="246063"/>
                  <a:pt x="62929" y="246063"/>
                </a:cubicBezTo>
                <a:close/>
                <a:moveTo>
                  <a:pt x="183376" y="171090"/>
                </a:moveTo>
                <a:lnTo>
                  <a:pt x="150528" y="193016"/>
                </a:lnTo>
                <a:lnTo>
                  <a:pt x="176518" y="216020"/>
                </a:lnTo>
                <a:lnTo>
                  <a:pt x="199259" y="181514"/>
                </a:lnTo>
                <a:cubicBezTo>
                  <a:pt x="193123" y="180076"/>
                  <a:pt x="188069" y="176122"/>
                  <a:pt x="183376" y="171090"/>
                </a:cubicBezTo>
                <a:close/>
                <a:moveTo>
                  <a:pt x="102878" y="171090"/>
                </a:moveTo>
                <a:cubicBezTo>
                  <a:pt x="98908" y="176122"/>
                  <a:pt x="93132" y="180076"/>
                  <a:pt x="86995" y="181514"/>
                </a:cubicBezTo>
                <a:lnTo>
                  <a:pt x="110459" y="216020"/>
                </a:lnTo>
                <a:lnTo>
                  <a:pt x="136088" y="193016"/>
                </a:lnTo>
                <a:lnTo>
                  <a:pt x="102878" y="171090"/>
                </a:lnTo>
                <a:close/>
                <a:moveTo>
                  <a:pt x="112986" y="147368"/>
                </a:moveTo>
                <a:lnTo>
                  <a:pt x="110459" y="157432"/>
                </a:lnTo>
                <a:cubicBezTo>
                  <a:pt x="110098" y="159588"/>
                  <a:pt x="108654" y="161745"/>
                  <a:pt x="107932" y="163902"/>
                </a:cubicBezTo>
                <a:lnTo>
                  <a:pt x="143308" y="187265"/>
                </a:lnTo>
                <a:lnTo>
                  <a:pt x="179045" y="163902"/>
                </a:lnTo>
                <a:cubicBezTo>
                  <a:pt x="177601" y="161745"/>
                  <a:pt x="176879" y="159588"/>
                  <a:pt x="176157" y="157432"/>
                </a:cubicBezTo>
                <a:lnTo>
                  <a:pt x="173630" y="147368"/>
                </a:lnTo>
                <a:cubicBezTo>
                  <a:pt x="164245" y="152759"/>
                  <a:pt x="154137" y="155994"/>
                  <a:pt x="143308" y="155994"/>
                </a:cubicBezTo>
                <a:cubicBezTo>
                  <a:pt x="132479" y="155994"/>
                  <a:pt x="122371" y="152759"/>
                  <a:pt x="112986" y="147368"/>
                </a:cubicBezTo>
                <a:close/>
                <a:moveTo>
                  <a:pt x="166411" y="38459"/>
                </a:moveTo>
                <a:lnTo>
                  <a:pt x="166411" y="48164"/>
                </a:lnTo>
                <a:cubicBezTo>
                  <a:pt x="166411" y="50321"/>
                  <a:pt x="164967" y="52118"/>
                  <a:pt x="163523" y="52477"/>
                </a:cubicBezTo>
                <a:cubicBezTo>
                  <a:pt x="151249" y="56071"/>
                  <a:pt x="140420" y="57509"/>
                  <a:pt x="130674" y="57509"/>
                </a:cubicBezTo>
                <a:cubicBezTo>
                  <a:pt x="108654" y="57509"/>
                  <a:pt x="93493" y="49961"/>
                  <a:pt x="86635" y="44570"/>
                </a:cubicBezTo>
                <a:cubicBezTo>
                  <a:pt x="83386" y="52837"/>
                  <a:pt x="81942" y="61822"/>
                  <a:pt x="81942" y="71887"/>
                </a:cubicBezTo>
                <a:cubicBezTo>
                  <a:pt x="81942" y="113221"/>
                  <a:pt x="109376" y="147368"/>
                  <a:pt x="143308" y="147368"/>
                </a:cubicBezTo>
                <a:cubicBezTo>
                  <a:pt x="177240" y="147368"/>
                  <a:pt x="205035" y="113221"/>
                  <a:pt x="205035" y="71887"/>
                </a:cubicBezTo>
                <a:cubicBezTo>
                  <a:pt x="205035" y="59306"/>
                  <a:pt x="202147" y="48164"/>
                  <a:pt x="197455" y="38819"/>
                </a:cubicBezTo>
                <a:cubicBezTo>
                  <a:pt x="191318" y="43132"/>
                  <a:pt x="182654" y="46007"/>
                  <a:pt x="182294" y="46367"/>
                </a:cubicBezTo>
                <a:cubicBezTo>
                  <a:pt x="180850" y="46726"/>
                  <a:pt x="179767" y="46367"/>
                  <a:pt x="178684" y="46007"/>
                </a:cubicBezTo>
                <a:lnTo>
                  <a:pt x="166411" y="38459"/>
                </a:lnTo>
                <a:close/>
                <a:moveTo>
                  <a:pt x="143308" y="8986"/>
                </a:moveTo>
                <a:cubicBezTo>
                  <a:pt x="118761" y="8986"/>
                  <a:pt x="100713" y="19050"/>
                  <a:pt x="89883" y="37021"/>
                </a:cubicBezTo>
                <a:cubicBezTo>
                  <a:pt x="97825" y="42054"/>
                  <a:pt x="120927" y="55712"/>
                  <a:pt x="157747" y="44929"/>
                </a:cubicBezTo>
                <a:lnTo>
                  <a:pt x="157747" y="30911"/>
                </a:lnTo>
                <a:cubicBezTo>
                  <a:pt x="157747" y="29114"/>
                  <a:pt x="158469" y="27676"/>
                  <a:pt x="159913" y="26957"/>
                </a:cubicBezTo>
                <a:cubicBezTo>
                  <a:pt x="161357" y="26238"/>
                  <a:pt x="163162" y="26238"/>
                  <a:pt x="164245" y="26957"/>
                </a:cubicBezTo>
                <a:lnTo>
                  <a:pt x="181572" y="37381"/>
                </a:lnTo>
                <a:cubicBezTo>
                  <a:pt x="184459" y="35943"/>
                  <a:pt x="189152" y="34146"/>
                  <a:pt x="192762" y="31630"/>
                </a:cubicBezTo>
                <a:cubicBezTo>
                  <a:pt x="182654" y="16893"/>
                  <a:pt x="164967" y="8986"/>
                  <a:pt x="143308" y="8986"/>
                </a:cubicBezTo>
                <a:close/>
                <a:moveTo>
                  <a:pt x="143308" y="0"/>
                </a:moveTo>
                <a:cubicBezTo>
                  <a:pt x="185542" y="0"/>
                  <a:pt x="213699" y="28754"/>
                  <a:pt x="213699" y="71887"/>
                </a:cubicBezTo>
                <a:cubicBezTo>
                  <a:pt x="213699" y="101001"/>
                  <a:pt x="200703" y="127239"/>
                  <a:pt x="181572" y="142336"/>
                </a:cubicBezTo>
                <a:lnTo>
                  <a:pt x="184820" y="154916"/>
                </a:lnTo>
                <a:cubicBezTo>
                  <a:pt x="186986" y="164980"/>
                  <a:pt x="195650" y="173247"/>
                  <a:pt x="206118" y="174685"/>
                </a:cubicBezTo>
                <a:lnTo>
                  <a:pt x="244743" y="181154"/>
                </a:lnTo>
                <a:cubicBezTo>
                  <a:pt x="268928" y="185468"/>
                  <a:pt x="286977" y="206674"/>
                  <a:pt x="286977" y="230756"/>
                </a:cubicBezTo>
                <a:lnTo>
                  <a:pt x="286977" y="281078"/>
                </a:lnTo>
                <a:cubicBezTo>
                  <a:pt x="286977" y="283234"/>
                  <a:pt x="284811" y="285391"/>
                  <a:pt x="282284" y="285391"/>
                </a:cubicBezTo>
                <a:cubicBezTo>
                  <a:pt x="279758" y="285391"/>
                  <a:pt x="277953" y="283234"/>
                  <a:pt x="277953" y="281078"/>
                </a:cubicBezTo>
                <a:lnTo>
                  <a:pt x="277953" y="230756"/>
                </a:lnTo>
                <a:cubicBezTo>
                  <a:pt x="277953" y="210628"/>
                  <a:pt x="263153" y="193375"/>
                  <a:pt x="242938" y="189781"/>
                </a:cubicBezTo>
                <a:lnTo>
                  <a:pt x="208645" y="184030"/>
                </a:lnTo>
                <a:lnTo>
                  <a:pt x="180489" y="224646"/>
                </a:lnTo>
                <a:cubicBezTo>
                  <a:pt x="180128" y="225724"/>
                  <a:pt x="179045" y="226443"/>
                  <a:pt x="177601" y="226443"/>
                </a:cubicBezTo>
                <a:cubicBezTo>
                  <a:pt x="177240" y="226443"/>
                  <a:pt x="177240" y="226443"/>
                  <a:pt x="177240" y="226443"/>
                </a:cubicBezTo>
                <a:cubicBezTo>
                  <a:pt x="176157" y="226443"/>
                  <a:pt x="175435" y="226443"/>
                  <a:pt x="174352" y="225724"/>
                </a:cubicBezTo>
                <a:lnTo>
                  <a:pt x="147640" y="202002"/>
                </a:lnTo>
                <a:lnTo>
                  <a:pt x="147640" y="281078"/>
                </a:lnTo>
                <a:cubicBezTo>
                  <a:pt x="147640" y="283234"/>
                  <a:pt x="145835" y="285391"/>
                  <a:pt x="143308" y="285391"/>
                </a:cubicBezTo>
                <a:cubicBezTo>
                  <a:pt x="141142" y="285391"/>
                  <a:pt x="138976" y="283234"/>
                  <a:pt x="138976" y="281078"/>
                </a:cubicBezTo>
                <a:lnTo>
                  <a:pt x="138976" y="202002"/>
                </a:lnTo>
                <a:lnTo>
                  <a:pt x="112264" y="225724"/>
                </a:lnTo>
                <a:cubicBezTo>
                  <a:pt x="111542" y="226443"/>
                  <a:pt x="110459" y="226443"/>
                  <a:pt x="109376" y="226443"/>
                </a:cubicBezTo>
                <a:cubicBezTo>
                  <a:pt x="109015" y="226443"/>
                  <a:pt x="109015" y="226443"/>
                  <a:pt x="108654" y="226443"/>
                </a:cubicBezTo>
                <a:cubicBezTo>
                  <a:pt x="107571" y="226443"/>
                  <a:pt x="106127" y="225724"/>
                  <a:pt x="105766" y="224646"/>
                </a:cubicBezTo>
                <a:lnTo>
                  <a:pt x="77610" y="184030"/>
                </a:lnTo>
                <a:lnTo>
                  <a:pt x="43678" y="189781"/>
                </a:lnTo>
                <a:cubicBezTo>
                  <a:pt x="23463" y="193375"/>
                  <a:pt x="8663" y="210628"/>
                  <a:pt x="8663" y="230756"/>
                </a:cubicBezTo>
                <a:lnTo>
                  <a:pt x="8663" y="281078"/>
                </a:lnTo>
                <a:cubicBezTo>
                  <a:pt x="8663" y="283234"/>
                  <a:pt x="6859" y="285391"/>
                  <a:pt x="4693" y="285391"/>
                </a:cubicBezTo>
                <a:cubicBezTo>
                  <a:pt x="2166" y="285391"/>
                  <a:pt x="0" y="283234"/>
                  <a:pt x="0" y="281078"/>
                </a:cubicBezTo>
                <a:lnTo>
                  <a:pt x="0" y="230756"/>
                </a:lnTo>
                <a:cubicBezTo>
                  <a:pt x="0" y="206674"/>
                  <a:pt x="17688" y="185468"/>
                  <a:pt x="42234" y="181154"/>
                </a:cubicBezTo>
                <a:lnTo>
                  <a:pt x="80498" y="174685"/>
                </a:lnTo>
                <a:cubicBezTo>
                  <a:pt x="90605" y="173247"/>
                  <a:pt x="99269" y="164980"/>
                  <a:pt x="101796" y="154916"/>
                </a:cubicBezTo>
                <a:lnTo>
                  <a:pt x="105044" y="142336"/>
                </a:lnTo>
                <a:cubicBezTo>
                  <a:pt x="85913" y="127239"/>
                  <a:pt x="73278" y="101001"/>
                  <a:pt x="73278" y="71887"/>
                </a:cubicBezTo>
                <a:cubicBezTo>
                  <a:pt x="73278" y="28754"/>
                  <a:pt x="101435" y="0"/>
                  <a:pt x="143308" y="0"/>
                </a:cubicBezTo>
                <a:close/>
              </a:path>
            </a:pathLst>
          </a:custGeom>
          <a:solidFill>
            <a:srgbClr val="1A171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en-US" sz="900" dirty="0"/>
          </a:p>
        </p:txBody>
      </p:sp>
      <p:sp>
        <p:nvSpPr>
          <p:cNvPr id="21" name="Freeform 1047">
            <a:extLst>
              <a:ext uri="{FF2B5EF4-FFF2-40B4-BE49-F238E27FC236}">
                <a16:creationId xmlns:a16="http://schemas.microsoft.com/office/drawing/2014/main" id="{E20CBC3D-B218-7F4E-9C1E-B0804D51631A}"/>
              </a:ext>
            </a:extLst>
          </p:cNvPr>
          <p:cNvSpPr>
            <a:spLocks noChangeAspect="1" noChangeArrowheads="1"/>
          </p:cNvSpPr>
          <p:nvPr/>
        </p:nvSpPr>
        <p:spPr bwMode="auto">
          <a:xfrm>
            <a:off x="3298358" y="1585219"/>
            <a:ext cx="445519" cy="443058"/>
          </a:xfrm>
          <a:custGeom>
            <a:avLst/>
            <a:gdLst>
              <a:gd name="T0" fmla="*/ 229384 w 286977"/>
              <a:gd name="T1" fmla="*/ 251968 h 285393"/>
              <a:gd name="T2" fmla="*/ 224597 w 286977"/>
              <a:gd name="T3" fmla="*/ 286823 h 285393"/>
              <a:gd name="T4" fmla="*/ 220180 w 286977"/>
              <a:gd name="T5" fmla="*/ 251968 h 285393"/>
              <a:gd name="T6" fmla="*/ 63245 w 286977"/>
              <a:gd name="T7" fmla="*/ 247297 h 285393"/>
              <a:gd name="T8" fmla="*/ 68224 w 286977"/>
              <a:gd name="T9" fmla="*/ 282512 h 285393"/>
              <a:gd name="T10" fmla="*/ 59034 w 286977"/>
              <a:gd name="T11" fmla="*/ 282512 h 285393"/>
              <a:gd name="T12" fmla="*/ 63245 w 286977"/>
              <a:gd name="T13" fmla="*/ 247297 h 285393"/>
              <a:gd name="T14" fmla="*/ 151287 w 286977"/>
              <a:gd name="T15" fmla="*/ 193983 h 285393"/>
              <a:gd name="T16" fmla="*/ 200264 w 286977"/>
              <a:gd name="T17" fmla="*/ 182424 h 285393"/>
              <a:gd name="T18" fmla="*/ 103397 w 286977"/>
              <a:gd name="T19" fmla="*/ 171948 h 285393"/>
              <a:gd name="T20" fmla="*/ 111015 w 286977"/>
              <a:gd name="T21" fmla="*/ 217103 h 285393"/>
              <a:gd name="T22" fmla="*/ 103397 w 286977"/>
              <a:gd name="T23" fmla="*/ 171948 h 285393"/>
              <a:gd name="T24" fmla="*/ 111015 w 286977"/>
              <a:gd name="T25" fmla="*/ 158221 h 285393"/>
              <a:gd name="T26" fmla="*/ 144030 w 286977"/>
              <a:gd name="T27" fmla="*/ 188204 h 285393"/>
              <a:gd name="T28" fmla="*/ 177045 w 286977"/>
              <a:gd name="T29" fmla="*/ 158221 h 285393"/>
              <a:gd name="T30" fmla="*/ 144030 w 286977"/>
              <a:gd name="T31" fmla="*/ 156776 h 285393"/>
              <a:gd name="T32" fmla="*/ 167250 w 286977"/>
              <a:gd name="T33" fmla="*/ 38651 h 285393"/>
              <a:gd name="T34" fmla="*/ 164347 w 286977"/>
              <a:gd name="T35" fmla="*/ 52741 h 285393"/>
              <a:gd name="T36" fmla="*/ 87071 w 286977"/>
              <a:gd name="T37" fmla="*/ 44794 h 285393"/>
              <a:gd name="T38" fmla="*/ 144030 w 286977"/>
              <a:gd name="T39" fmla="*/ 148107 h 285393"/>
              <a:gd name="T40" fmla="*/ 198450 w 286977"/>
              <a:gd name="T41" fmla="*/ 39015 h 285393"/>
              <a:gd name="T42" fmla="*/ 179585 w 286977"/>
              <a:gd name="T43" fmla="*/ 46239 h 285393"/>
              <a:gd name="T44" fmla="*/ 144030 w 286977"/>
              <a:gd name="T45" fmla="*/ 9030 h 285393"/>
              <a:gd name="T46" fmla="*/ 158542 w 286977"/>
              <a:gd name="T47" fmla="*/ 45153 h 285393"/>
              <a:gd name="T48" fmla="*/ 160719 w 286977"/>
              <a:gd name="T49" fmla="*/ 27093 h 285393"/>
              <a:gd name="T50" fmla="*/ 182487 w 286977"/>
              <a:gd name="T51" fmla="*/ 37569 h 285393"/>
              <a:gd name="T52" fmla="*/ 144030 w 286977"/>
              <a:gd name="T53" fmla="*/ 9030 h 285393"/>
              <a:gd name="T54" fmla="*/ 214776 w 286977"/>
              <a:gd name="T55" fmla="*/ 72247 h 285393"/>
              <a:gd name="T56" fmla="*/ 185751 w 286977"/>
              <a:gd name="T57" fmla="*/ 155693 h 285393"/>
              <a:gd name="T58" fmla="*/ 245977 w 286977"/>
              <a:gd name="T59" fmla="*/ 182062 h 285393"/>
              <a:gd name="T60" fmla="*/ 288423 w 286977"/>
              <a:gd name="T61" fmla="*/ 282487 h 285393"/>
              <a:gd name="T62" fmla="*/ 279355 w 286977"/>
              <a:gd name="T63" fmla="*/ 282487 h 285393"/>
              <a:gd name="T64" fmla="*/ 244163 w 286977"/>
              <a:gd name="T65" fmla="*/ 190732 h 285393"/>
              <a:gd name="T66" fmla="*/ 181399 w 286977"/>
              <a:gd name="T67" fmla="*/ 225772 h 285393"/>
              <a:gd name="T68" fmla="*/ 178134 w 286977"/>
              <a:gd name="T69" fmla="*/ 227578 h 285393"/>
              <a:gd name="T70" fmla="*/ 148384 w 286977"/>
              <a:gd name="T71" fmla="*/ 203015 h 285393"/>
              <a:gd name="T72" fmla="*/ 144030 w 286977"/>
              <a:gd name="T73" fmla="*/ 286821 h 285393"/>
              <a:gd name="T74" fmla="*/ 139676 w 286977"/>
              <a:gd name="T75" fmla="*/ 203015 h 285393"/>
              <a:gd name="T76" fmla="*/ 109928 w 286977"/>
              <a:gd name="T77" fmla="*/ 227578 h 285393"/>
              <a:gd name="T78" fmla="*/ 106299 w 286977"/>
              <a:gd name="T79" fmla="*/ 225772 h 285393"/>
              <a:gd name="T80" fmla="*/ 43898 w 286977"/>
              <a:gd name="T81" fmla="*/ 190732 h 285393"/>
              <a:gd name="T82" fmla="*/ 8707 w 286977"/>
              <a:gd name="T83" fmla="*/ 282487 h 285393"/>
              <a:gd name="T84" fmla="*/ 0 w 286977"/>
              <a:gd name="T85" fmla="*/ 282487 h 285393"/>
              <a:gd name="T86" fmla="*/ 42446 w 286977"/>
              <a:gd name="T87" fmla="*/ 182062 h 285393"/>
              <a:gd name="T88" fmla="*/ 102309 w 286977"/>
              <a:gd name="T89" fmla="*/ 155693 h 285393"/>
              <a:gd name="T90" fmla="*/ 73647 w 286977"/>
              <a:gd name="T91" fmla="*/ 72247 h 2853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6977" h="285393">
                <a:moveTo>
                  <a:pt x="223471" y="246063"/>
                </a:moveTo>
                <a:cubicBezTo>
                  <a:pt x="226036" y="246063"/>
                  <a:pt x="228234" y="248208"/>
                  <a:pt x="228234" y="250711"/>
                </a:cubicBezTo>
                <a:lnTo>
                  <a:pt x="228234" y="281102"/>
                </a:lnTo>
                <a:cubicBezTo>
                  <a:pt x="228234" y="283247"/>
                  <a:pt x="226036" y="285393"/>
                  <a:pt x="223471" y="285393"/>
                </a:cubicBezTo>
                <a:cubicBezTo>
                  <a:pt x="221273" y="285393"/>
                  <a:pt x="219075" y="283247"/>
                  <a:pt x="219075" y="281102"/>
                </a:cubicBezTo>
                <a:lnTo>
                  <a:pt x="219075" y="250711"/>
                </a:lnTo>
                <a:cubicBezTo>
                  <a:pt x="219075" y="248208"/>
                  <a:pt x="221273" y="246063"/>
                  <a:pt x="223471" y="246063"/>
                </a:cubicBezTo>
                <a:close/>
                <a:moveTo>
                  <a:pt x="62929" y="246063"/>
                </a:moveTo>
                <a:cubicBezTo>
                  <a:pt x="65596" y="246063"/>
                  <a:pt x="67882" y="248208"/>
                  <a:pt x="67882" y="250711"/>
                </a:cubicBezTo>
                <a:lnTo>
                  <a:pt x="67882" y="281102"/>
                </a:lnTo>
                <a:cubicBezTo>
                  <a:pt x="67882" y="283247"/>
                  <a:pt x="65596" y="285393"/>
                  <a:pt x="62929" y="285393"/>
                </a:cubicBezTo>
                <a:cubicBezTo>
                  <a:pt x="61024" y="285393"/>
                  <a:pt x="58738" y="283247"/>
                  <a:pt x="58738" y="281102"/>
                </a:cubicBezTo>
                <a:lnTo>
                  <a:pt x="58738" y="250711"/>
                </a:lnTo>
                <a:cubicBezTo>
                  <a:pt x="58738" y="248208"/>
                  <a:pt x="61024" y="246063"/>
                  <a:pt x="62929" y="246063"/>
                </a:cubicBezTo>
                <a:close/>
                <a:moveTo>
                  <a:pt x="183376" y="171090"/>
                </a:moveTo>
                <a:lnTo>
                  <a:pt x="150528" y="193016"/>
                </a:lnTo>
                <a:lnTo>
                  <a:pt x="176518" y="216020"/>
                </a:lnTo>
                <a:lnTo>
                  <a:pt x="199259" y="181514"/>
                </a:lnTo>
                <a:cubicBezTo>
                  <a:pt x="193123" y="180076"/>
                  <a:pt x="188069" y="176122"/>
                  <a:pt x="183376" y="171090"/>
                </a:cubicBezTo>
                <a:close/>
                <a:moveTo>
                  <a:pt x="102878" y="171090"/>
                </a:moveTo>
                <a:cubicBezTo>
                  <a:pt x="98908" y="176122"/>
                  <a:pt x="93132" y="180076"/>
                  <a:pt x="86995" y="181514"/>
                </a:cubicBezTo>
                <a:lnTo>
                  <a:pt x="110459" y="216020"/>
                </a:lnTo>
                <a:lnTo>
                  <a:pt x="136088" y="193016"/>
                </a:lnTo>
                <a:lnTo>
                  <a:pt x="102878" y="171090"/>
                </a:lnTo>
                <a:close/>
                <a:moveTo>
                  <a:pt x="112986" y="147368"/>
                </a:moveTo>
                <a:lnTo>
                  <a:pt x="110459" y="157432"/>
                </a:lnTo>
                <a:cubicBezTo>
                  <a:pt x="110098" y="159588"/>
                  <a:pt x="108654" y="161745"/>
                  <a:pt x="107932" y="163902"/>
                </a:cubicBezTo>
                <a:lnTo>
                  <a:pt x="143308" y="187265"/>
                </a:lnTo>
                <a:lnTo>
                  <a:pt x="179045" y="163902"/>
                </a:lnTo>
                <a:cubicBezTo>
                  <a:pt x="177601" y="161745"/>
                  <a:pt x="176879" y="159588"/>
                  <a:pt x="176157" y="157432"/>
                </a:cubicBezTo>
                <a:lnTo>
                  <a:pt x="173630" y="147368"/>
                </a:lnTo>
                <a:cubicBezTo>
                  <a:pt x="164245" y="152759"/>
                  <a:pt x="154137" y="155994"/>
                  <a:pt x="143308" y="155994"/>
                </a:cubicBezTo>
                <a:cubicBezTo>
                  <a:pt x="132479" y="155994"/>
                  <a:pt x="122371" y="152759"/>
                  <a:pt x="112986" y="147368"/>
                </a:cubicBezTo>
                <a:close/>
                <a:moveTo>
                  <a:pt x="166411" y="38459"/>
                </a:moveTo>
                <a:lnTo>
                  <a:pt x="166411" y="48164"/>
                </a:lnTo>
                <a:cubicBezTo>
                  <a:pt x="166411" y="50321"/>
                  <a:pt x="164967" y="52118"/>
                  <a:pt x="163523" y="52477"/>
                </a:cubicBezTo>
                <a:cubicBezTo>
                  <a:pt x="151249" y="56071"/>
                  <a:pt x="140420" y="57509"/>
                  <a:pt x="130674" y="57509"/>
                </a:cubicBezTo>
                <a:cubicBezTo>
                  <a:pt x="108654" y="57509"/>
                  <a:pt x="93493" y="49961"/>
                  <a:pt x="86635" y="44570"/>
                </a:cubicBezTo>
                <a:cubicBezTo>
                  <a:pt x="83386" y="52837"/>
                  <a:pt x="81942" y="61822"/>
                  <a:pt x="81942" y="71887"/>
                </a:cubicBezTo>
                <a:cubicBezTo>
                  <a:pt x="81942" y="113221"/>
                  <a:pt x="109376" y="147368"/>
                  <a:pt x="143308" y="147368"/>
                </a:cubicBezTo>
                <a:cubicBezTo>
                  <a:pt x="177240" y="147368"/>
                  <a:pt x="205035" y="113221"/>
                  <a:pt x="205035" y="71887"/>
                </a:cubicBezTo>
                <a:cubicBezTo>
                  <a:pt x="205035" y="59306"/>
                  <a:pt x="202147" y="48164"/>
                  <a:pt x="197455" y="38819"/>
                </a:cubicBezTo>
                <a:cubicBezTo>
                  <a:pt x="191318" y="43132"/>
                  <a:pt x="182654" y="46007"/>
                  <a:pt x="182294" y="46367"/>
                </a:cubicBezTo>
                <a:cubicBezTo>
                  <a:pt x="180850" y="46726"/>
                  <a:pt x="179767" y="46367"/>
                  <a:pt x="178684" y="46007"/>
                </a:cubicBezTo>
                <a:lnTo>
                  <a:pt x="166411" y="38459"/>
                </a:lnTo>
                <a:close/>
                <a:moveTo>
                  <a:pt x="143308" y="8986"/>
                </a:moveTo>
                <a:cubicBezTo>
                  <a:pt x="118761" y="8986"/>
                  <a:pt x="100713" y="19050"/>
                  <a:pt x="89883" y="37021"/>
                </a:cubicBezTo>
                <a:cubicBezTo>
                  <a:pt x="97825" y="42054"/>
                  <a:pt x="120927" y="55712"/>
                  <a:pt x="157747" y="44929"/>
                </a:cubicBezTo>
                <a:lnTo>
                  <a:pt x="157747" y="30911"/>
                </a:lnTo>
                <a:cubicBezTo>
                  <a:pt x="157747" y="29114"/>
                  <a:pt x="158469" y="27676"/>
                  <a:pt x="159913" y="26957"/>
                </a:cubicBezTo>
                <a:cubicBezTo>
                  <a:pt x="161357" y="26238"/>
                  <a:pt x="163162" y="26238"/>
                  <a:pt x="164245" y="26957"/>
                </a:cubicBezTo>
                <a:lnTo>
                  <a:pt x="181572" y="37381"/>
                </a:lnTo>
                <a:cubicBezTo>
                  <a:pt x="184459" y="35943"/>
                  <a:pt x="189152" y="34146"/>
                  <a:pt x="192762" y="31630"/>
                </a:cubicBezTo>
                <a:cubicBezTo>
                  <a:pt x="182654" y="16893"/>
                  <a:pt x="164967" y="8986"/>
                  <a:pt x="143308" y="8986"/>
                </a:cubicBezTo>
                <a:close/>
                <a:moveTo>
                  <a:pt x="143308" y="0"/>
                </a:moveTo>
                <a:cubicBezTo>
                  <a:pt x="185542" y="0"/>
                  <a:pt x="213699" y="28754"/>
                  <a:pt x="213699" y="71887"/>
                </a:cubicBezTo>
                <a:cubicBezTo>
                  <a:pt x="213699" y="101001"/>
                  <a:pt x="200703" y="127239"/>
                  <a:pt x="181572" y="142336"/>
                </a:cubicBezTo>
                <a:lnTo>
                  <a:pt x="184820" y="154916"/>
                </a:lnTo>
                <a:cubicBezTo>
                  <a:pt x="186986" y="164980"/>
                  <a:pt x="195650" y="173247"/>
                  <a:pt x="206118" y="174685"/>
                </a:cubicBezTo>
                <a:lnTo>
                  <a:pt x="244743" y="181154"/>
                </a:lnTo>
                <a:cubicBezTo>
                  <a:pt x="268928" y="185468"/>
                  <a:pt x="286977" y="206674"/>
                  <a:pt x="286977" y="230756"/>
                </a:cubicBezTo>
                <a:lnTo>
                  <a:pt x="286977" y="281078"/>
                </a:lnTo>
                <a:cubicBezTo>
                  <a:pt x="286977" y="283234"/>
                  <a:pt x="284811" y="285391"/>
                  <a:pt x="282284" y="285391"/>
                </a:cubicBezTo>
                <a:cubicBezTo>
                  <a:pt x="279758" y="285391"/>
                  <a:pt x="277953" y="283234"/>
                  <a:pt x="277953" y="281078"/>
                </a:cubicBezTo>
                <a:lnTo>
                  <a:pt x="277953" y="230756"/>
                </a:lnTo>
                <a:cubicBezTo>
                  <a:pt x="277953" y="210628"/>
                  <a:pt x="263153" y="193375"/>
                  <a:pt x="242938" y="189781"/>
                </a:cubicBezTo>
                <a:lnTo>
                  <a:pt x="208645" y="184030"/>
                </a:lnTo>
                <a:lnTo>
                  <a:pt x="180489" y="224646"/>
                </a:lnTo>
                <a:cubicBezTo>
                  <a:pt x="180128" y="225724"/>
                  <a:pt x="179045" y="226443"/>
                  <a:pt x="177601" y="226443"/>
                </a:cubicBezTo>
                <a:cubicBezTo>
                  <a:pt x="177240" y="226443"/>
                  <a:pt x="177240" y="226443"/>
                  <a:pt x="177240" y="226443"/>
                </a:cubicBezTo>
                <a:cubicBezTo>
                  <a:pt x="176157" y="226443"/>
                  <a:pt x="175435" y="226443"/>
                  <a:pt x="174352" y="225724"/>
                </a:cubicBezTo>
                <a:lnTo>
                  <a:pt x="147640" y="202002"/>
                </a:lnTo>
                <a:lnTo>
                  <a:pt x="147640" y="281078"/>
                </a:lnTo>
                <a:cubicBezTo>
                  <a:pt x="147640" y="283234"/>
                  <a:pt x="145835" y="285391"/>
                  <a:pt x="143308" y="285391"/>
                </a:cubicBezTo>
                <a:cubicBezTo>
                  <a:pt x="141142" y="285391"/>
                  <a:pt x="138976" y="283234"/>
                  <a:pt x="138976" y="281078"/>
                </a:cubicBezTo>
                <a:lnTo>
                  <a:pt x="138976" y="202002"/>
                </a:lnTo>
                <a:lnTo>
                  <a:pt x="112264" y="225724"/>
                </a:lnTo>
                <a:cubicBezTo>
                  <a:pt x="111542" y="226443"/>
                  <a:pt x="110459" y="226443"/>
                  <a:pt x="109376" y="226443"/>
                </a:cubicBezTo>
                <a:cubicBezTo>
                  <a:pt x="109015" y="226443"/>
                  <a:pt x="109015" y="226443"/>
                  <a:pt x="108654" y="226443"/>
                </a:cubicBezTo>
                <a:cubicBezTo>
                  <a:pt x="107571" y="226443"/>
                  <a:pt x="106127" y="225724"/>
                  <a:pt x="105766" y="224646"/>
                </a:cubicBezTo>
                <a:lnTo>
                  <a:pt x="77610" y="184030"/>
                </a:lnTo>
                <a:lnTo>
                  <a:pt x="43678" y="189781"/>
                </a:lnTo>
                <a:cubicBezTo>
                  <a:pt x="23463" y="193375"/>
                  <a:pt x="8663" y="210628"/>
                  <a:pt x="8663" y="230756"/>
                </a:cubicBezTo>
                <a:lnTo>
                  <a:pt x="8663" y="281078"/>
                </a:lnTo>
                <a:cubicBezTo>
                  <a:pt x="8663" y="283234"/>
                  <a:pt x="6859" y="285391"/>
                  <a:pt x="4693" y="285391"/>
                </a:cubicBezTo>
                <a:cubicBezTo>
                  <a:pt x="2166" y="285391"/>
                  <a:pt x="0" y="283234"/>
                  <a:pt x="0" y="281078"/>
                </a:cubicBezTo>
                <a:lnTo>
                  <a:pt x="0" y="230756"/>
                </a:lnTo>
                <a:cubicBezTo>
                  <a:pt x="0" y="206674"/>
                  <a:pt x="17688" y="185468"/>
                  <a:pt x="42234" y="181154"/>
                </a:cubicBezTo>
                <a:lnTo>
                  <a:pt x="80498" y="174685"/>
                </a:lnTo>
                <a:cubicBezTo>
                  <a:pt x="90605" y="173247"/>
                  <a:pt x="99269" y="164980"/>
                  <a:pt x="101796" y="154916"/>
                </a:cubicBezTo>
                <a:lnTo>
                  <a:pt x="105044" y="142336"/>
                </a:lnTo>
                <a:cubicBezTo>
                  <a:pt x="85913" y="127239"/>
                  <a:pt x="73278" y="101001"/>
                  <a:pt x="73278" y="71887"/>
                </a:cubicBezTo>
                <a:cubicBezTo>
                  <a:pt x="73278" y="28754"/>
                  <a:pt x="101435" y="0"/>
                  <a:pt x="143308" y="0"/>
                </a:cubicBezTo>
                <a:close/>
              </a:path>
            </a:pathLst>
          </a:custGeom>
          <a:solidFill>
            <a:srgbClr val="1A171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en-US" sz="900" dirty="0"/>
          </a:p>
        </p:txBody>
      </p:sp>
      <p:sp>
        <p:nvSpPr>
          <p:cNvPr id="22" name="TextBox 21">
            <a:extLst>
              <a:ext uri="{FF2B5EF4-FFF2-40B4-BE49-F238E27FC236}">
                <a16:creationId xmlns:a16="http://schemas.microsoft.com/office/drawing/2014/main" id="{1BA4934D-A24D-9F41-A9F3-D9A5DA5DE1B0}"/>
              </a:ext>
            </a:extLst>
          </p:cNvPr>
          <p:cNvSpPr txBox="1"/>
          <p:nvPr/>
        </p:nvSpPr>
        <p:spPr>
          <a:xfrm>
            <a:off x="7625752" y="3141341"/>
            <a:ext cx="1289135" cy="353943"/>
          </a:xfrm>
          <a:prstGeom prst="rect">
            <a:avLst/>
          </a:prstGeom>
          <a:noFill/>
        </p:spPr>
        <p:txBody>
          <a:bodyPr wrap="none" rtlCol="0" anchor="ctr" anchorCtr="0">
            <a:spAutoFit/>
          </a:bodyPr>
          <a:lstStyle/>
          <a:p>
            <a:r>
              <a:rPr lang="en-US" sz="1700" b="1" dirty="0">
                <a:solidFill>
                  <a:schemeClr val="tx2"/>
                </a:solidFill>
                <a:latin typeface="Segoe UI Light" panose="020B0502040204020203" pitchFamily="34" charset="0"/>
                <a:ea typeface="League Spartan" charset="0"/>
                <a:cs typeface="Poppins" pitchFamily="2" charset="77"/>
              </a:rPr>
              <a:t>STRUCTURE</a:t>
            </a:r>
          </a:p>
        </p:txBody>
      </p:sp>
      <p:sp>
        <p:nvSpPr>
          <p:cNvPr id="24" name="TextBox 23">
            <a:extLst>
              <a:ext uri="{FF2B5EF4-FFF2-40B4-BE49-F238E27FC236}">
                <a16:creationId xmlns:a16="http://schemas.microsoft.com/office/drawing/2014/main" id="{4B880B7D-7541-DA45-9CC6-6E1DD53E846B}"/>
              </a:ext>
            </a:extLst>
          </p:cNvPr>
          <p:cNvSpPr txBox="1"/>
          <p:nvPr/>
        </p:nvSpPr>
        <p:spPr>
          <a:xfrm>
            <a:off x="7625752" y="3555366"/>
            <a:ext cx="1938351" cy="553998"/>
          </a:xfrm>
          <a:prstGeom prst="rect">
            <a:avLst/>
          </a:prstGeom>
          <a:noFill/>
        </p:spPr>
        <p:txBody>
          <a:bodyPr wrap="none" rtlCol="0" anchor="ctr" anchorCtr="0">
            <a:spAutoFit/>
          </a:bodyPr>
          <a:lstStyle/>
          <a:p>
            <a:r>
              <a:rPr lang="en-US" sz="3000" b="1" dirty="0">
                <a:solidFill>
                  <a:schemeClr val="accent3"/>
                </a:solidFill>
                <a:latin typeface="Segoe UI Light" panose="020B0502040204020203" pitchFamily="34" charset="0"/>
                <a:ea typeface="League Spartan" charset="0"/>
                <a:cs typeface="Poppins" pitchFamily="2" charset="77"/>
              </a:rPr>
              <a:t>$70,000.00</a:t>
            </a:r>
          </a:p>
        </p:txBody>
      </p:sp>
      <p:sp>
        <p:nvSpPr>
          <p:cNvPr id="25" name="Subtitle 2">
            <a:extLst>
              <a:ext uri="{FF2B5EF4-FFF2-40B4-BE49-F238E27FC236}">
                <a16:creationId xmlns:a16="http://schemas.microsoft.com/office/drawing/2014/main" id="{E374222E-FB5D-AE42-BBAF-5323BACBC530}"/>
              </a:ext>
            </a:extLst>
          </p:cNvPr>
          <p:cNvSpPr txBox="1">
            <a:spLocks/>
          </p:cNvSpPr>
          <p:nvPr/>
        </p:nvSpPr>
        <p:spPr>
          <a:xfrm>
            <a:off x="7567604" y="4123257"/>
            <a:ext cx="3325400" cy="1019416"/>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3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 Cum sociis natoque penatibus et magnis dis parturient montes…</a:t>
            </a:r>
          </a:p>
        </p:txBody>
      </p:sp>
      <p:sp>
        <p:nvSpPr>
          <p:cNvPr id="26" name="TextBox 25">
            <a:extLst>
              <a:ext uri="{FF2B5EF4-FFF2-40B4-BE49-F238E27FC236}">
                <a16:creationId xmlns:a16="http://schemas.microsoft.com/office/drawing/2014/main" id="{E47DFB95-FC00-D84A-A92E-D88CC03EB72A}"/>
              </a:ext>
            </a:extLst>
          </p:cNvPr>
          <p:cNvSpPr txBox="1"/>
          <p:nvPr/>
        </p:nvSpPr>
        <p:spPr>
          <a:xfrm>
            <a:off x="3255064" y="3141341"/>
            <a:ext cx="1311576" cy="353943"/>
          </a:xfrm>
          <a:prstGeom prst="rect">
            <a:avLst/>
          </a:prstGeom>
          <a:noFill/>
        </p:spPr>
        <p:txBody>
          <a:bodyPr wrap="none" rtlCol="0" anchor="ctr" anchorCtr="0">
            <a:spAutoFit/>
          </a:bodyPr>
          <a:lstStyle/>
          <a:p>
            <a:pPr algn="r"/>
            <a:r>
              <a:rPr lang="en-US" sz="1700" b="1" dirty="0">
                <a:solidFill>
                  <a:schemeClr val="tx2"/>
                </a:solidFill>
                <a:latin typeface="Segoe UI Light" panose="020B0502040204020203" pitchFamily="34" charset="0"/>
                <a:ea typeface="League Spartan" charset="0"/>
                <a:cs typeface="Poppins" pitchFamily="2" charset="77"/>
              </a:rPr>
              <a:t>MARKETING</a:t>
            </a:r>
          </a:p>
        </p:txBody>
      </p:sp>
      <p:sp>
        <p:nvSpPr>
          <p:cNvPr id="27" name="TextBox 26">
            <a:extLst>
              <a:ext uri="{FF2B5EF4-FFF2-40B4-BE49-F238E27FC236}">
                <a16:creationId xmlns:a16="http://schemas.microsoft.com/office/drawing/2014/main" id="{9F54CB68-684B-C447-8B82-0DEE3E47C207}"/>
              </a:ext>
            </a:extLst>
          </p:cNvPr>
          <p:cNvSpPr txBox="1"/>
          <p:nvPr/>
        </p:nvSpPr>
        <p:spPr>
          <a:xfrm>
            <a:off x="2689310" y="3555366"/>
            <a:ext cx="1883849" cy="553998"/>
          </a:xfrm>
          <a:prstGeom prst="rect">
            <a:avLst/>
          </a:prstGeom>
          <a:noFill/>
        </p:spPr>
        <p:txBody>
          <a:bodyPr wrap="none" rtlCol="0" anchor="ctr" anchorCtr="0">
            <a:spAutoFit/>
          </a:bodyPr>
          <a:lstStyle/>
          <a:p>
            <a:pPr algn="r"/>
            <a:r>
              <a:rPr lang="en-US" sz="3000" b="1" dirty="0">
                <a:solidFill>
                  <a:schemeClr val="accent2"/>
                </a:solidFill>
                <a:latin typeface="Segoe UI Light" panose="020B0502040204020203" pitchFamily="34" charset="0"/>
                <a:ea typeface="League Spartan" charset="0"/>
                <a:cs typeface="Poppins" pitchFamily="2" charset="77"/>
              </a:rPr>
              <a:t>$61,000.00</a:t>
            </a:r>
          </a:p>
        </p:txBody>
      </p:sp>
      <p:sp>
        <p:nvSpPr>
          <p:cNvPr id="28" name="Subtitle 2">
            <a:extLst>
              <a:ext uri="{FF2B5EF4-FFF2-40B4-BE49-F238E27FC236}">
                <a16:creationId xmlns:a16="http://schemas.microsoft.com/office/drawing/2014/main" id="{7AD3DB64-476C-2D4B-876C-71ABAB16F6CD}"/>
              </a:ext>
            </a:extLst>
          </p:cNvPr>
          <p:cNvSpPr txBox="1">
            <a:spLocks/>
          </p:cNvSpPr>
          <p:nvPr/>
        </p:nvSpPr>
        <p:spPr>
          <a:xfrm>
            <a:off x="1297064" y="4123257"/>
            <a:ext cx="3325400" cy="1019416"/>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3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 Aenean commodo ligula eget dolor. Aenean massa. Cum sociis natoque penatibus et magnis dis parturient montes…</a:t>
            </a:r>
          </a:p>
        </p:txBody>
      </p:sp>
      <p:sp>
        <p:nvSpPr>
          <p:cNvPr id="31" name="Freeform 957">
            <a:extLst>
              <a:ext uri="{FF2B5EF4-FFF2-40B4-BE49-F238E27FC236}">
                <a16:creationId xmlns:a16="http://schemas.microsoft.com/office/drawing/2014/main" id="{D7FE3453-8F71-F342-927D-80117D3F5E41}"/>
              </a:ext>
            </a:extLst>
          </p:cNvPr>
          <p:cNvSpPr>
            <a:spLocks noChangeAspect="1" noChangeArrowheads="1"/>
          </p:cNvSpPr>
          <p:nvPr/>
        </p:nvSpPr>
        <p:spPr bwMode="auto">
          <a:xfrm>
            <a:off x="6780541" y="5569580"/>
            <a:ext cx="445519" cy="408799"/>
          </a:xfrm>
          <a:custGeom>
            <a:avLst/>
            <a:gdLst>
              <a:gd name="T0" fmla="*/ 226436 w 288440"/>
              <a:gd name="T1" fmla="*/ 234255 h 264755"/>
              <a:gd name="T2" fmla="*/ 217231 w 288440"/>
              <a:gd name="T3" fmla="*/ 234255 h 264755"/>
              <a:gd name="T4" fmla="*/ 69828 w 288440"/>
              <a:gd name="T5" fmla="*/ 229835 h 264755"/>
              <a:gd name="T6" fmla="*/ 69828 w 288440"/>
              <a:gd name="T7" fmla="*/ 239044 h 264755"/>
              <a:gd name="T8" fmla="*/ 69828 w 288440"/>
              <a:gd name="T9" fmla="*/ 229835 h 264755"/>
              <a:gd name="T10" fmla="*/ 196460 w 288440"/>
              <a:gd name="T11" fmla="*/ 232848 h 264755"/>
              <a:gd name="T12" fmla="*/ 246519 w 288440"/>
              <a:gd name="T13" fmla="*/ 232848 h 264755"/>
              <a:gd name="T14" fmla="*/ 68771 w 288440"/>
              <a:gd name="T15" fmla="*/ 208472 h 264755"/>
              <a:gd name="T16" fmla="*/ 68771 w 288440"/>
              <a:gd name="T17" fmla="*/ 257582 h 264755"/>
              <a:gd name="T18" fmla="*/ 68771 w 288440"/>
              <a:gd name="T19" fmla="*/ 208472 h 264755"/>
              <a:gd name="T20" fmla="*/ 102507 w 288440"/>
              <a:gd name="T21" fmla="*/ 228547 h 264755"/>
              <a:gd name="T22" fmla="*/ 221490 w 288440"/>
              <a:gd name="T23" fmla="*/ 199510 h 264755"/>
              <a:gd name="T24" fmla="*/ 221490 w 288440"/>
              <a:gd name="T25" fmla="*/ 266185 h 264755"/>
              <a:gd name="T26" fmla="*/ 102507 w 288440"/>
              <a:gd name="T27" fmla="*/ 237508 h 264755"/>
              <a:gd name="T28" fmla="*/ 35037 w 288440"/>
              <a:gd name="T29" fmla="*/ 232848 h 264755"/>
              <a:gd name="T30" fmla="*/ 94290 w 288440"/>
              <a:gd name="T31" fmla="*/ 146301 h 264755"/>
              <a:gd name="T32" fmla="*/ 38005 w 288440"/>
              <a:gd name="T33" fmla="*/ 159370 h 264755"/>
              <a:gd name="T34" fmla="*/ 99375 w 288440"/>
              <a:gd name="T35" fmla="*/ 176069 h 264755"/>
              <a:gd name="T36" fmla="*/ 172365 w 288440"/>
              <a:gd name="T37" fmla="*/ 141945 h 264755"/>
              <a:gd name="T38" fmla="*/ 108453 w 288440"/>
              <a:gd name="T39" fmla="*/ 176069 h 264755"/>
              <a:gd name="T40" fmla="*/ 172365 w 288440"/>
              <a:gd name="T41" fmla="*/ 141945 h 264755"/>
              <a:gd name="T42" fmla="*/ 181445 w 288440"/>
              <a:gd name="T43" fmla="*/ 141582 h 264755"/>
              <a:gd name="T44" fmla="*/ 221752 w 288440"/>
              <a:gd name="T45" fmla="*/ 176069 h 264755"/>
              <a:gd name="T46" fmla="*/ 246809 w 288440"/>
              <a:gd name="T47" fmla="*/ 138315 h 264755"/>
              <a:gd name="T48" fmla="*/ 22027 w 288440"/>
              <a:gd name="T49" fmla="*/ 113265 h 264755"/>
              <a:gd name="T50" fmla="*/ 93201 w 288440"/>
              <a:gd name="T51" fmla="*/ 137589 h 264755"/>
              <a:gd name="T52" fmla="*/ 168734 w 288440"/>
              <a:gd name="T53" fmla="*/ 98744 h 264755"/>
              <a:gd name="T54" fmla="*/ 101917 w 288440"/>
              <a:gd name="T55" fmla="*/ 136863 h 264755"/>
              <a:gd name="T56" fmla="*/ 168734 w 288440"/>
              <a:gd name="T57" fmla="*/ 98744 h 264755"/>
              <a:gd name="T58" fmla="*/ 177449 w 288440"/>
              <a:gd name="T59" fmla="*/ 98018 h 264755"/>
              <a:gd name="T60" fmla="*/ 246809 w 288440"/>
              <a:gd name="T61" fmla="*/ 129239 h 264755"/>
              <a:gd name="T62" fmla="*/ 81581 w 288440"/>
              <a:gd name="T63" fmla="*/ 68612 h 264755"/>
              <a:gd name="T64" fmla="*/ 19121 w 288440"/>
              <a:gd name="T65" fmla="*/ 104553 h 264755"/>
              <a:gd name="T66" fmla="*/ 81581 w 288440"/>
              <a:gd name="T67" fmla="*/ 68612 h 264755"/>
              <a:gd name="T68" fmla="*/ 90297 w 288440"/>
              <a:gd name="T69" fmla="*/ 67159 h 264755"/>
              <a:gd name="T70" fmla="*/ 168009 w 288440"/>
              <a:gd name="T71" fmla="*/ 90395 h 264755"/>
              <a:gd name="T72" fmla="*/ 246809 w 288440"/>
              <a:gd name="T73" fmla="*/ 44653 h 264755"/>
              <a:gd name="T74" fmla="*/ 176723 w 288440"/>
              <a:gd name="T75" fmla="*/ 89305 h 264755"/>
              <a:gd name="T76" fmla="*/ 246809 w 288440"/>
              <a:gd name="T77" fmla="*/ 44653 h 264755"/>
              <a:gd name="T78" fmla="*/ 290385 w 288440"/>
              <a:gd name="T79" fmla="*/ 4357 h 264755"/>
              <a:gd name="T80" fmla="*/ 255524 w 288440"/>
              <a:gd name="T81" fmla="*/ 39935 h 264755"/>
              <a:gd name="T82" fmla="*/ 221752 w 288440"/>
              <a:gd name="T83" fmla="*/ 184782 h 264755"/>
              <a:gd name="T84" fmla="*/ 30014 w 288440"/>
              <a:gd name="T85" fmla="*/ 162275 h 264755"/>
              <a:gd name="T86" fmla="*/ 601 w 288440"/>
              <a:gd name="T87" fmla="*/ 72607 h 264755"/>
              <a:gd name="T88" fmla="*/ 246809 w 288440"/>
              <a:gd name="T89" fmla="*/ 35578 h 26475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88440" h="264755">
                <a:moveTo>
                  <a:pt x="220348" y="228600"/>
                </a:moveTo>
                <a:cubicBezTo>
                  <a:pt x="223015" y="228600"/>
                  <a:pt x="224920" y="230432"/>
                  <a:pt x="224920" y="232996"/>
                </a:cubicBezTo>
                <a:cubicBezTo>
                  <a:pt x="224920" y="235561"/>
                  <a:pt x="223015" y="237759"/>
                  <a:pt x="220348" y="237759"/>
                </a:cubicBezTo>
                <a:cubicBezTo>
                  <a:pt x="217681" y="237759"/>
                  <a:pt x="215776" y="235561"/>
                  <a:pt x="215776" y="232996"/>
                </a:cubicBezTo>
                <a:cubicBezTo>
                  <a:pt x="215776" y="230432"/>
                  <a:pt x="217681" y="228600"/>
                  <a:pt x="220348" y="228600"/>
                </a:cubicBezTo>
                <a:close/>
                <a:moveTo>
                  <a:pt x="69360" y="228600"/>
                </a:moveTo>
                <a:cubicBezTo>
                  <a:pt x="71925" y="228600"/>
                  <a:pt x="74123" y="230432"/>
                  <a:pt x="74123" y="232996"/>
                </a:cubicBezTo>
                <a:cubicBezTo>
                  <a:pt x="74123" y="235561"/>
                  <a:pt x="71925" y="237759"/>
                  <a:pt x="69360" y="237759"/>
                </a:cubicBezTo>
                <a:cubicBezTo>
                  <a:pt x="66796" y="237759"/>
                  <a:pt x="64964" y="235561"/>
                  <a:pt x="64964" y="232996"/>
                </a:cubicBezTo>
                <a:cubicBezTo>
                  <a:pt x="64964" y="230432"/>
                  <a:pt x="66796" y="228600"/>
                  <a:pt x="69360" y="228600"/>
                </a:cubicBezTo>
                <a:close/>
                <a:moveTo>
                  <a:pt x="220006" y="207351"/>
                </a:moveTo>
                <a:cubicBezTo>
                  <a:pt x="206314" y="207351"/>
                  <a:pt x="195144" y="218047"/>
                  <a:pt x="195144" y="231596"/>
                </a:cubicBezTo>
                <a:cubicBezTo>
                  <a:pt x="195144" y="245145"/>
                  <a:pt x="206314" y="256198"/>
                  <a:pt x="220006" y="256198"/>
                </a:cubicBezTo>
                <a:cubicBezTo>
                  <a:pt x="233338" y="256198"/>
                  <a:pt x="244868" y="245145"/>
                  <a:pt x="244868" y="231596"/>
                </a:cubicBezTo>
                <a:cubicBezTo>
                  <a:pt x="244868" y="218047"/>
                  <a:pt x="233338" y="207351"/>
                  <a:pt x="220006" y="207351"/>
                </a:cubicBezTo>
                <a:close/>
                <a:moveTo>
                  <a:pt x="68311" y="207351"/>
                </a:moveTo>
                <a:cubicBezTo>
                  <a:pt x="54979" y="207351"/>
                  <a:pt x="43809" y="218047"/>
                  <a:pt x="43809" y="231596"/>
                </a:cubicBezTo>
                <a:cubicBezTo>
                  <a:pt x="43809" y="245145"/>
                  <a:pt x="54979" y="256198"/>
                  <a:pt x="68311" y="256198"/>
                </a:cubicBezTo>
                <a:cubicBezTo>
                  <a:pt x="82363" y="256198"/>
                  <a:pt x="93173" y="245145"/>
                  <a:pt x="93173" y="231596"/>
                </a:cubicBezTo>
                <a:cubicBezTo>
                  <a:pt x="93173" y="218047"/>
                  <a:pt x="82363" y="207351"/>
                  <a:pt x="68311" y="207351"/>
                </a:cubicBezTo>
                <a:close/>
                <a:moveTo>
                  <a:pt x="68311" y="198437"/>
                </a:moveTo>
                <a:cubicBezTo>
                  <a:pt x="85606" y="198437"/>
                  <a:pt x="99659" y="210916"/>
                  <a:pt x="101821" y="227318"/>
                </a:cubicBezTo>
                <a:lnTo>
                  <a:pt x="186856" y="227318"/>
                </a:lnTo>
                <a:cubicBezTo>
                  <a:pt x="189018" y="210916"/>
                  <a:pt x="203071" y="198437"/>
                  <a:pt x="220006" y="198437"/>
                </a:cubicBezTo>
                <a:cubicBezTo>
                  <a:pt x="238382" y="198437"/>
                  <a:pt x="253516" y="213412"/>
                  <a:pt x="253516" y="231596"/>
                </a:cubicBezTo>
                <a:cubicBezTo>
                  <a:pt x="253516" y="249424"/>
                  <a:pt x="238382" y="264755"/>
                  <a:pt x="220006" y="264755"/>
                </a:cubicBezTo>
                <a:cubicBezTo>
                  <a:pt x="203071" y="264755"/>
                  <a:pt x="189018" y="251920"/>
                  <a:pt x="186856" y="236231"/>
                </a:cubicBezTo>
                <a:lnTo>
                  <a:pt x="101821" y="236231"/>
                </a:lnTo>
                <a:cubicBezTo>
                  <a:pt x="99659" y="251920"/>
                  <a:pt x="85606" y="264755"/>
                  <a:pt x="68311" y="264755"/>
                </a:cubicBezTo>
                <a:cubicBezTo>
                  <a:pt x="49934" y="264755"/>
                  <a:pt x="34801" y="249424"/>
                  <a:pt x="34801" y="231596"/>
                </a:cubicBezTo>
                <a:cubicBezTo>
                  <a:pt x="34801" y="213412"/>
                  <a:pt x="49934" y="198437"/>
                  <a:pt x="68311" y="198437"/>
                </a:cubicBezTo>
                <a:close/>
                <a:moveTo>
                  <a:pt x="93659" y="145515"/>
                </a:moveTo>
                <a:lnTo>
                  <a:pt x="34143" y="148403"/>
                </a:lnTo>
                <a:lnTo>
                  <a:pt x="37750" y="158513"/>
                </a:lnTo>
                <a:cubicBezTo>
                  <a:pt x="40996" y="168624"/>
                  <a:pt x="50375" y="175123"/>
                  <a:pt x="61196" y="175123"/>
                </a:cubicBezTo>
                <a:lnTo>
                  <a:pt x="98709" y="175123"/>
                </a:lnTo>
                <a:lnTo>
                  <a:pt x="93659" y="145515"/>
                </a:lnTo>
                <a:close/>
                <a:moveTo>
                  <a:pt x="171211" y="141182"/>
                </a:moveTo>
                <a:lnTo>
                  <a:pt x="102677" y="144792"/>
                </a:lnTo>
                <a:lnTo>
                  <a:pt x="107727" y="175123"/>
                </a:lnTo>
                <a:lnTo>
                  <a:pt x="174457" y="175123"/>
                </a:lnTo>
                <a:lnTo>
                  <a:pt x="171211" y="141182"/>
                </a:lnTo>
                <a:close/>
                <a:moveTo>
                  <a:pt x="245156" y="137571"/>
                </a:moveTo>
                <a:lnTo>
                  <a:pt x="180229" y="140821"/>
                </a:lnTo>
                <a:lnTo>
                  <a:pt x="183475" y="175123"/>
                </a:lnTo>
                <a:lnTo>
                  <a:pt x="220267" y="175123"/>
                </a:lnTo>
                <a:cubicBezTo>
                  <a:pt x="233613" y="175123"/>
                  <a:pt x="245156" y="164291"/>
                  <a:pt x="245156" y="150570"/>
                </a:cubicBezTo>
                <a:lnTo>
                  <a:pt x="245156" y="137571"/>
                </a:lnTo>
                <a:close/>
                <a:moveTo>
                  <a:pt x="87167" y="106157"/>
                </a:moveTo>
                <a:lnTo>
                  <a:pt x="21879" y="112656"/>
                </a:lnTo>
                <a:lnTo>
                  <a:pt x="31257" y="139737"/>
                </a:lnTo>
                <a:lnTo>
                  <a:pt x="92577" y="136849"/>
                </a:lnTo>
                <a:lnTo>
                  <a:pt x="87167" y="106157"/>
                </a:lnTo>
                <a:close/>
                <a:moveTo>
                  <a:pt x="167604" y="98213"/>
                </a:moveTo>
                <a:lnTo>
                  <a:pt x="96184" y="105435"/>
                </a:lnTo>
                <a:lnTo>
                  <a:pt x="101234" y="136127"/>
                </a:lnTo>
                <a:lnTo>
                  <a:pt x="170850" y="132877"/>
                </a:lnTo>
                <a:lnTo>
                  <a:pt x="167604" y="98213"/>
                </a:lnTo>
                <a:close/>
                <a:moveTo>
                  <a:pt x="245156" y="90992"/>
                </a:moveTo>
                <a:lnTo>
                  <a:pt x="176261" y="97491"/>
                </a:lnTo>
                <a:lnTo>
                  <a:pt x="179507" y="131794"/>
                </a:lnTo>
                <a:lnTo>
                  <a:pt x="245156" y="128544"/>
                </a:lnTo>
                <a:lnTo>
                  <a:pt x="245156" y="90992"/>
                </a:lnTo>
                <a:close/>
                <a:moveTo>
                  <a:pt x="81035" y="68244"/>
                </a:moveTo>
                <a:lnTo>
                  <a:pt x="9976" y="77993"/>
                </a:lnTo>
                <a:lnTo>
                  <a:pt x="18993" y="103991"/>
                </a:lnTo>
                <a:lnTo>
                  <a:pt x="85724" y="97491"/>
                </a:lnTo>
                <a:lnTo>
                  <a:pt x="81035" y="68244"/>
                </a:lnTo>
                <a:close/>
                <a:moveTo>
                  <a:pt x="163636" y="56328"/>
                </a:moveTo>
                <a:lnTo>
                  <a:pt x="89692" y="66799"/>
                </a:lnTo>
                <a:lnTo>
                  <a:pt x="94741" y="96769"/>
                </a:lnTo>
                <a:lnTo>
                  <a:pt x="166883" y="89909"/>
                </a:lnTo>
                <a:lnTo>
                  <a:pt x="163636" y="56328"/>
                </a:lnTo>
                <a:close/>
                <a:moveTo>
                  <a:pt x="245156" y="44413"/>
                </a:moveTo>
                <a:lnTo>
                  <a:pt x="172293" y="55245"/>
                </a:lnTo>
                <a:lnTo>
                  <a:pt x="175539" y="88825"/>
                </a:lnTo>
                <a:lnTo>
                  <a:pt x="245156" y="81965"/>
                </a:lnTo>
                <a:lnTo>
                  <a:pt x="245156" y="44413"/>
                </a:lnTo>
                <a:close/>
                <a:moveTo>
                  <a:pt x="284473" y="0"/>
                </a:moveTo>
                <a:cubicBezTo>
                  <a:pt x="286637" y="0"/>
                  <a:pt x="288440" y="1805"/>
                  <a:pt x="288440" y="4333"/>
                </a:cubicBezTo>
                <a:cubicBezTo>
                  <a:pt x="288440" y="6860"/>
                  <a:pt x="286637" y="9027"/>
                  <a:pt x="284473" y="9027"/>
                </a:cubicBezTo>
                <a:cubicBezTo>
                  <a:pt x="267519" y="9027"/>
                  <a:pt x="253813" y="22748"/>
                  <a:pt x="253813" y="39719"/>
                </a:cubicBezTo>
                <a:lnTo>
                  <a:pt x="253813" y="150570"/>
                </a:lnTo>
                <a:cubicBezTo>
                  <a:pt x="253813" y="168985"/>
                  <a:pt x="238663" y="183789"/>
                  <a:pt x="220267" y="183789"/>
                </a:cubicBezTo>
                <a:lnTo>
                  <a:pt x="61196" y="183789"/>
                </a:lnTo>
                <a:cubicBezTo>
                  <a:pt x="46768" y="183789"/>
                  <a:pt x="34143" y="175123"/>
                  <a:pt x="29814" y="161402"/>
                </a:cubicBezTo>
                <a:lnTo>
                  <a:pt x="237" y="75826"/>
                </a:lnTo>
                <a:cubicBezTo>
                  <a:pt x="-124" y="74743"/>
                  <a:pt x="-124" y="72938"/>
                  <a:pt x="597" y="72216"/>
                </a:cubicBezTo>
                <a:cubicBezTo>
                  <a:pt x="958" y="71132"/>
                  <a:pt x="2401" y="70049"/>
                  <a:pt x="3483" y="70049"/>
                </a:cubicBezTo>
                <a:lnTo>
                  <a:pt x="245156" y="35386"/>
                </a:lnTo>
                <a:cubicBezTo>
                  <a:pt x="247320" y="15526"/>
                  <a:pt x="263912" y="0"/>
                  <a:pt x="284473" y="0"/>
                </a:cubicBezTo>
                <a:close/>
              </a:path>
            </a:pathLst>
          </a:custGeom>
          <a:solidFill>
            <a:srgbClr val="1A171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en-US" sz="900" dirty="0"/>
          </a:p>
        </p:txBody>
      </p:sp>
      <p:sp>
        <p:nvSpPr>
          <p:cNvPr id="32" name="Freeform 957">
            <a:extLst>
              <a:ext uri="{FF2B5EF4-FFF2-40B4-BE49-F238E27FC236}">
                <a16:creationId xmlns:a16="http://schemas.microsoft.com/office/drawing/2014/main" id="{EA19DC3C-6ED9-1441-8709-9972E9CE8744}"/>
              </a:ext>
            </a:extLst>
          </p:cNvPr>
          <p:cNvSpPr>
            <a:spLocks noChangeAspect="1" noChangeArrowheads="1"/>
          </p:cNvSpPr>
          <p:nvPr/>
        </p:nvSpPr>
        <p:spPr bwMode="auto">
          <a:xfrm>
            <a:off x="7273607" y="5569580"/>
            <a:ext cx="445519" cy="408799"/>
          </a:xfrm>
          <a:custGeom>
            <a:avLst/>
            <a:gdLst>
              <a:gd name="T0" fmla="*/ 226436 w 288440"/>
              <a:gd name="T1" fmla="*/ 234255 h 264755"/>
              <a:gd name="T2" fmla="*/ 217231 w 288440"/>
              <a:gd name="T3" fmla="*/ 234255 h 264755"/>
              <a:gd name="T4" fmla="*/ 69828 w 288440"/>
              <a:gd name="T5" fmla="*/ 229835 h 264755"/>
              <a:gd name="T6" fmla="*/ 69828 w 288440"/>
              <a:gd name="T7" fmla="*/ 239044 h 264755"/>
              <a:gd name="T8" fmla="*/ 69828 w 288440"/>
              <a:gd name="T9" fmla="*/ 229835 h 264755"/>
              <a:gd name="T10" fmla="*/ 196460 w 288440"/>
              <a:gd name="T11" fmla="*/ 232848 h 264755"/>
              <a:gd name="T12" fmla="*/ 246519 w 288440"/>
              <a:gd name="T13" fmla="*/ 232848 h 264755"/>
              <a:gd name="T14" fmla="*/ 68771 w 288440"/>
              <a:gd name="T15" fmla="*/ 208472 h 264755"/>
              <a:gd name="T16" fmla="*/ 68771 w 288440"/>
              <a:gd name="T17" fmla="*/ 257582 h 264755"/>
              <a:gd name="T18" fmla="*/ 68771 w 288440"/>
              <a:gd name="T19" fmla="*/ 208472 h 264755"/>
              <a:gd name="T20" fmla="*/ 102507 w 288440"/>
              <a:gd name="T21" fmla="*/ 228547 h 264755"/>
              <a:gd name="T22" fmla="*/ 221490 w 288440"/>
              <a:gd name="T23" fmla="*/ 199510 h 264755"/>
              <a:gd name="T24" fmla="*/ 221490 w 288440"/>
              <a:gd name="T25" fmla="*/ 266185 h 264755"/>
              <a:gd name="T26" fmla="*/ 102507 w 288440"/>
              <a:gd name="T27" fmla="*/ 237508 h 264755"/>
              <a:gd name="T28" fmla="*/ 35037 w 288440"/>
              <a:gd name="T29" fmla="*/ 232848 h 264755"/>
              <a:gd name="T30" fmla="*/ 94290 w 288440"/>
              <a:gd name="T31" fmla="*/ 146301 h 264755"/>
              <a:gd name="T32" fmla="*/ 38005 w 288440"/>
              <a:gd name="T33" fmla="*/ 159370 h 264755"/>
              <a:gd name="T34" fmla="*/ 99375 w 288440"/>
              <a:gd name="T35" fmla="*/ 176069 h 264755"/>
              <a:gd name="T36" fmla="*/ 172365 w 288440"/>
              <a:gd name="T37" fmla="*/ 141945 h 264755"/>
              <a:gd name="T38" fmla="*/ 108453 w 288440"/>
              <a:gd name="T39" fmla="*/ 176069 h 264755"/>
              <a:gd name="T40" fmla="*/ 172365 w 288440"/>
              <a:gd name="T41" fmla="*/ 141945 h 264755"/>
              <a:gd name="T42" fmla="*/ 181445 w 288440"/>
              <a:gd name="T43" fmla="*/ 141582 h 264755"/>
              <a:gd name="T44" fmla="*/ 221752 w 288440"/>
              <a:gd name="T45" fmla="*/ 176069 h 264755"/>
              <a:gd name="T46" fmla="*/ 246809 w 288440"/>
              <a:gd name="T47" fmla="*/ 138315 h 264755"/>
              <a:gd name="T48" fmla="*/ 22027 w 288440"/>
              <a:gd name="T49" fmla="*/ 113265 h 264755"/>
              <a:gd name="T50" fmla="*/ 93201 w 288440"/>
              <a:gd name="T51" fmla="*/ 137589 h 264755"/>
              <a:gd name="T52" fmla="*/ 168734 w 288440"/>
              <a:gd name="T53" fmla="*/ 98744 h 264755"/>
              <a:gd name="T54" fmla="*/ 101917 w 288440"/>
              <a:gd name="T55" fmla="*/ 136863 h 264755"/>
              <a:gd name="T56" fmla="*/ 168734 w 288440"/>
              <a:gd name="T57" fmla="*/ 98744 h 264755"/>
              <a:gd name="T58" fmla="*/ 177449 w 288440"/>
              <a:gd name="T59" fmla="*/ 98018 h 264755"/>
              <a:gd name="T60" fmla="*/ 246809 w 288440"/>
              <a:gd name="T61" fmla="*/ 129239 h 264755"/>
              <a:gd name="T62" fmla="*/ 81581 w 288440"/>
              <a:gd name="T63" fmla="*/ 68612 h 264755"/>
              <a:gd name="T64" fmla="*/ 19121 w 288440"/>
              <a:gd name="T65" fmla="*/ 104553 h 264755"/>
              <a:gd name="T66" fmla="*/ 81581 w 288440"/>
              <a:gd name="T67" fmla="*/ 68612 h 264755"/>
              <a:gd name="T68" fmla="*/ 90297 w 288440"/>
              <a:gd name="T69" fmla="*/ 67159 h 264755"/>
              <a:gd name="T70" fmla="*/ 168009 w 288440"/>
              <a:gd name="T71" fmla="*/ 90395 h 264755"/>
              <a:gd name="T72" fmla="*/ 246809 w 288440"/>
              <a:gd name="T73" fmla="*/ 44653 h 264755"/>
              <a:gd name="T74" fmla="*/ 176723 w 288440"/>
              <a:gd name="T75" fmla="*/ 89305 h 264755"/>
              <a:gd name="T76" fmla="*/ 246809 w 288440"/>
              <a:gd name="T77" fmla="*/ 44653 h 264755"/>
              <a:gd name="T78" fmla="*/ 290385 w 288440"/>
              <a:gd name="T79" fmla="*/ 4357 h 264755"/>
              <a:gd name="T80" fmla="*/ 255524 w 288440"/>
              <a:gd name="T81" fmla="*/ 39935 h 264755"/>
              <a:gd name="T82" fmla="*/ 221752 w 288440"/>
              <a:gd name="T83" fmla="*/ 184782 h 264755"/>
              <a:gd name="T84" fmla="*/ 30014 w 288440"/>
              <a:gd name="T85" fmla="*/ 162275 h 264755"/>
              <a:gd name="T86" fmla="*/ 601 w 288440"/>
              <a:gd name="T87" fmla="*/ 72607 h 264755"/>
              <a:gd name="T88" fmla="*/ 246809 w 288440"/>
              <a:gd name="T89" fmla="*/ 35578 h 26475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88440" h="264755">
                <a:moveTo>
                  <a:pt x="220348" y="228600"/>
                </a:moveTo>
                <a:cubicBezTo>
                  <a:pt x="223015" y="228600"/>
                  <a:pt x="224920" y="230432"/>
                  <a:pt x="224920" y="232996"/>
                </a:cubicBezTo>
                <a:cubicBezTo>
                  <a:pt x="224920" y="235561"/>
                  <a:pt x="223015" y="237759"/>
                  <a:pt x="220348" y="237759"/>
                </a:cubicBezTo>
                <a:cubicBezTo>
                  <a:pt x="217681" y="237759"/>
                  <a:pt x="215776" y="235561"/>
                  <a:pt x="215776" y="232996"/>
                </a:cubicBezTo>
                <a:cubicBezTo>
                  <a:pt x="215776" y="230432"/>
                  <a:pt x="217681" y="228600"/>
                  <a:pt x="220348" y="228600"/>
                </a:cubicBezTo>
                <a:close/>
                <a:moveTo>
                  <a:pt x="69360" y="228600"/>
                </a:moveTo>
                <a:cubicBezTo>
                  <a:pt x="71925" y="228600"/>
                  <a:pt x="74123" y="230432"/>
                  <a:pt x="74123" y="232996"/>
                </a:cubicBezTo>
                <a:cubicBezTo>
                  <a:pt x="74123" y="235561"/>
                  <a:pt x="71925" y="237759"/>
                  <a:pt x="69360" y="237759"/>
                </a:cubicBezTo>
                <a:cubicBezTo>
                  <a:pt x="66796" y="237759"/>
                  <a:pt x="64964" y="235561"/>
                  <a:pt x="64964" y="232996"/>
                </a:cubicBezTo>
                <a:cubicBezTo>
                  <a:pt x="64964" y="230432"/>
                  <a:pt x="66796" y="228600"/>
                  <a:pt x="69360" y="228600"/>
                </a:cubicBezTo>
                <a:close/>
                <a:moveTo>
                  <a:pt x="220006" y="207351"/>
                </a:moveTo>
                <a:cubicBezTo>
                  <a:pt x="206314" y="207351"/>
                  <a:pt x="195144" y="218047"/>
                  <a:pt x="195144" y="231596"/>
                </a:cubicBezTo>
                <a:cubicBezTo>
                  <a:pt x="195144" y="245145"/>
                  <a:pt x="206314" y="256198"/>
                  <a:pt x="220006" y="256198"/>
                </a:cubicBezTo>
                <a:cubicBezTo>
                  <a:pt x="233338" y="256198"/>
                  <a:pt x="244868" y="245145"/>
                  <a:pt x="244868" y="231596"/>
                </a:cubicBezTo>
                <a:cubicBezTo>
                  <a:pt x="244868" y="218047"/>
                  <a:pt x="233338" y="207351"/>
                  <a:pt x="220006" y="207351"/>
                </a:cubicBezTo>
                <a:close/>
                <a:moveTo>
                  <a:pt x="68311" y="207351"/>
                </a:moveTo>
                <a:cubicBezTo>
                  <a:pt x="54979" y="207351"/>
                  <a:pt x="43809" y="218047"/>
                  <a:pt x="43809" y="231596"/>
                </a:cubicBezTo>
                <a:cubicBezTo>
                  <a:pt x="43809" y="245145"/>
                  <a:pt x="54979" y="256198"/>
                  <a:pt x="68311" y="256198"/>
                </a:cubicBezTo>
                <a:cubicBezTo>
                  <a:pt x="82363" y="256198"/>
                  <a:pt x="93173" y="245145"/>
                  <a:pt x="93173" y="231596"/>
                </a:cubicBezTo>
                <a:cubicBezTo>
                  <a:pt x="93173" y="218047"/>
                  <a:pt x="82363" y="207351"/>
                  <a:pt x="68311" y="207351"/>
                </a:cubicBezTo>
                <a:close/>
                <a:moveTo>
                  <a:pt x="68311" y="198437"/>
                </a:moveTo>
                <a:cubicBezTo>
                  <a:pt x="85606" y="198437"/>
                  <a:pt x="99659" y="210916"/>
                  <a:pt x="101821" y="227318"/>
                </a:cubicBezTo>
                <a:lnTo>
                  <a:pt x="186856" y="227318"/>
                </a:lnTo>
                <a:cubicBezTo>
                  <a:pt x="189018" y="210916"/>
                  <a:pt x="203071" y="198437"/>
                  <a:pt x="220006" y="198437"/>
                </a:cubicBezTo>
                <a:cubicBezTo>
                  <a:pt x="238382" y="198437"/>
                  <a:pt x="253516" y="213412"/>
                  <a:pt x="253516" y="231596"/>
                </a:cubicBezTo>
                <a:cubicBezTo>
                  <a:pt x="253516" y="249424"/>
                  <a:pt x="238382" y="264755"/>
                  <a:pt x="220006" y="264755"/>
                </a:cubicBezTo>
                <a:cubicBezTo>
                  <a:pt x="203071" y="264755"/>
                  <a:pt x="189018" y="251920"/>
                  <a:pt x="186856" y="236231"/>
                </a:cubicBezTo>
                <a:lnTo>
                  <a:pt x="101821" y="236231"/>
                </a:lnTo>
                <a:cubicBezTo>
                  <a:pt x="99659" y="251920"/>
                  <a:pt x="85606" y="264755"/>
                  <a:pt x="68311" y="264755"/>
                </a:cubicBezTo>
                <a:cubicBezTo>
                  <a:pt x="49934" y="264755"/>
                  <a:pt x="34801" y="249424"/>
                  <a:pt x="34801" y="231596"/>
                </a:cubicBezTo>
                <a:cubicBezTo>
                  <a:pt x="34801" y="213412"/>
                  <a:pt x="49934" y="198437"/>
                  <a:pt x="68311" y="198437"/>
                </a:cubicBezTo>
                <a:close/>
                <a:moveTo>
                  <a:pt x="93659" y="145515"/>
                </a:moveTo>
                <a:lnTo>
                  <a:pt x="34143" y="148403"/>
                </a:lnTo>
                <a:lnTo>
                  <a:pt x="37750" y="158513"/>
                </a:lnTo>
                <a:cubicBezTo>
                  <a:pt x="40996" y="168624"/>
                  <a:pt x="50375" y="175123"/>
                  <a:pt x="61196" y="175123"/>
                </a:cubicBezTo>
                <a:lnTo>
                  <a:pt x="98709" y="175123"/>
                </a:lnTo>
                <a:lnTo>
                  <a:pt x="93659" y="145515"/>
                </a:lnTo>
                <a:close/>
                <a:moveTo>
                  <a:pt x="171211" y="141182"/>
                </a:moveTo>
                <a:lnTo>
                  <a:pt x="102677" y="144792"/>
                </a:lnTo>
                <a:lnTo>
                  <a:pt x="107727" y="175123"/>
                </a:lnTo>
                <a:lnTo>
                  <a:pt x="174457" y="175123"/>
                </a:lnTo>
                <a:lnTo>
                  <a:pt x="171211" y="141182"/>
                </a:lnTo>
                <a:close/>
                <a:moveTo>
                  <a:pt x="245156" y="137571"/>
                </a:moveTo>
                <a:lnTo>
                  <a:pt x="180229" y="140821"/>
                </a:lnTo>
                <a:lnTo>
                  <a:pt x="183475" y="175123"/>
                </a:lnTo>
                <a:lnTo>
                  <a:pt x="220267" y="175123"/>
                </a:lnTo>
                <a:cubicBezTo>
                  <a:pt x="233613" y="175123"/>
                  <a:pt x="245156" y="164291"/>
                  <a:pt x="245156" y="150570"/>
                </a:cubicBezTo>
                <a:lnTo>
                  <a:pt x="245156" y="137571"/>
                </a:lnTo>
                <a:close/>
                <a:moveTo>
                  <a:pt x="87167" y="106157"/>
                </a:moveTo>
                <a:lnTo>
                  <a:pt x="21879" y="112656"/>
                </a:lnTo>
                <a:lnTo>
                  <a:pt x="31257" y="139737"/>
                </a:lnTo>
                <a:lnTo>
                  <a:pt x="92577" y="136849"/>
                </a:lnTo>
                <a:lnTo>
                  <a:pt x="87167" y="106157"/>
                </a:lnTo>
                <a:close/>
                <a:moveTo>
                  <a:pt x="167604" y="98213"/>
                </a:moveTo>
                <a:lnTo>
                  <a:pt x="96184" y="105435"/>
                </a:lnTo>
                <a:lnTo>
                  <a:pt x="101234" y="136127"/>
                </a:lnTo>
                <a:lnTo>
                  <a:pt x="170850" y="132877"/>
                </a:lnTo>
                <a:lnTo>
                  <a:pt x="167604" y="98213"/>
                </a:lnTo>
                <a:close/>
                <a:moveTo>
                  <a:pt x="245156" y="90992"/>
                </a:moveTo>
                <a:lnTo>
                  <a:pt x="176261" y="97491"/>
                </a:lnTo>
                <a:lnTo>
                  <a:pt x="179507" y="131794"/>
                </a:lnTo>
                <a:lnTo>
                  <a:pt x="245156" y="128544"/>
                </a:lnTo>
                <a:lnTo>
                  <a:pt x="245156" y="90992"/>
                </a:lnTo>
                <a:close/>
                <a:moveTo>
                  <a:pt x="81035" y="68244"/>
                </a:moveTo>
                <a:lnTo>
                  <a:pt x="9976" y="77993"/>
                </a:lnTo>
                <a:lnTo>
                  <a:pt x="18993" y="103991"/>
                </a:lnTo>
                <a:lnTo>
                  <a:pt x="85724" y="97491"/>
                </a:lnTo>
                <a:lnTo>
                  <a:pt x="81035" y="68244"/>
                </a:lnTo>
                <a:close/>
                <a:moveTo>
                  <a:pt x="163636" y="56328"/>
                </a:moveTo>
                <a:lnTo>
                  <a:pt x="89692" y="66799"/>
                </a:lnTo>
                <a:lnTo>
                  <a:pt x="94741" y="96769"/>
                </a:lnTo>
                <a:lnTo>
                  <a:pt x="166883" y="89909"/>
                </a:lnTo>
                <a:lnTo>
                  <a:pt x="163636" y="56328"/>
                </a:lnTo>
                <a:close/>
                <a:moveTo>
                  <a:pt x="245156" y="44413"/>
                </a:moveTo>
                <a:lnTo>
                  <a:pt x="172293" y="55245"/>
                </a:lnTo>
                <a:lnTo>
                  <a:pt x="175539" y="88825"/>
                </a:lnTo>
                <a:lnTo>
                  <a:pt x="245156" y="81965"/>
                </a:lnTo>
                <a:lnTo>
                  <a:pt x="245156" y="44413"/>
                </a:lnTo>
                <a:close/>
                <a:moveTo>
                  <a:pt x="284473" y="0"/>
                </a:moveTo>
                <a:cubicBezTo>
                  <a:pt x="286637" y="0"/>
                  <a:pt x="288440" y="1805"/>
                  <a:pt x="288440" y="4333"/>
                </a:cubicBezTo>
                <a:cubicBezTo>
                  <a:pt x="288440" y="6860"/>
                  <a:pt x="286637" y="9027"/>
                  <a:pt x="284473" y="9027"/>
                </a:cubicBezTo>
                <a:cubicBezTo>
                  <a:pt x="267519" y="9027"/>
                  <a:pt x="253813" y="22748"/>
                  <a:pt x="253813" y="39719"/>
                </a:cubicBezTo>
                <a:lnTo>
                  <a:pt x="253813" y="150570"/>
                </a:lnTo>
                <a:cubicBezTo>
                  <a:pt x="253813" y="168985"/>
                  <a:pt x="238663" y="183789"/>
                  <a:pt x="220267" y="183789"/>
                </a:cubicBezTo>
                <a:lnTo>
                  <a:pt x="61196" y="183789"/>
                </a:lnTo>
                <a:cubicBezTo>
                  <a:pt x="46768" y="183789"/>
                  <a:pt x="34143" y="175123"/>
                  <a:pt x="29814" y="161402"/>
                </a:cubicBezTo>
                <a:lnTo>
                  <a:pt x="237" y="75826"/>
                </a:lnTo>
                <a:cubicBezTo>
                  <a:pt x="-124" y="74743"/>
                  <a:pt x="-124" y="72938"/>
                  <a:pt x="597" y="72216"/>
                </a:cubicBezTo>
                <a:cubicBezTo>
                  <a:pt x="958" y="71132"/>
                  <a:pt x="2401" y="70049"/>
                  <a:pt x="3483" y="70049"/>
                </a:cubicBezTo>
                <a:lnTo>
                  <a:pt x="245156" y="35386"/>
                </a:lnTo>
                <a:cubicBezTo>
                  <a:pt x="247320" y="15526"/>
                  <a:pt x="263912" y="0"/>
                  <a:pt x="284473" y="0"/>
                </a:cubicBezTo>
                <a:close/>
              </a:path>
            </a:pathLst>
          </a:custGeom>
          <a:solidFill>
            <a:srgbClr val="1A171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en-US" sz="900" dirty="0"/>
          </a:p>
        </p:txBody>
      </p:sp>
      <p:sp>
        <p:nvSpPr>
          <p:cNvPr id="33" name="Freeform 957">
            <a:extLst>
              <a:ext uri="{FF2B5EF4-FFF2-40B4-BE49-F238E27FC236}">
                <a16:creationId xmlns:a16="http://schemas.microsoft.com/office/drawing/2014/main" id="{9B53CDC8-A9E8-9041-83B7-E75297C0F283}"/>
              </a:ext>
            </a:extLst>
          </p:cNvPr>
          <p:cNvSpPr>
            <a:spLocks noChangeAspect="1" noChangeArrowheads="1"/>
          </p:cNvSpPr>
          <p:nvPr/>
        </p:nvSpPr>
        <p:spPr bwMode="auto">
          <a:xfrm>
            <a:off x="7766673" y="5569580"/>
            <a:ext cx="445519" cy="408799"/>
          </a:xfrm>
          <a:custGeom>
            <a:avLst/>
            <a:gdLst>
              <a:gd name="T0" fmla="*/ 226436 w 288440"/>
              <a:gd name="T1" fmla="*/ 234255 h 264755"/>
              <a:gd name="T2" fmla="*/ 217231 w 288440"/>
              <a:gd name="T3" fmla="*/ 234255 h 264755"/>
              <a:gd name="T4" fmla="*/ 69828 w 288440"/>
              <a:gd name="T5" fmla="*/ 229835 h 264755"/>
              <a:gd name="T6" fmla="*/ 69828 w 288440"/>
              <a:gd name="T7" fmla="*/ 239044 h 264755"/>
              <a:gd name="T8" fmla="*/ 69828 w 288440"/>
              <a:gd name="T9" fmla="*/ 229835 h 264755"/>
              <a:gd name="T10" fmla="*/ 196460 w 288440"/>
              <a:gd name="T11" fmla="*/ 232848 h 264755"/>
              <a:gd name="T12" fmla="*/ 246519 w 288440"/>
              <a:gd name="T13" fmla="*/ 232848 h 264755"/>
              <a:gd name="T14" fmla="*/ 68771 w 288440"/>
              <a:gd name="T15" fmla="*/ 208472 h 264755"/>
              <a:gd name="T16" fmla="*/ 68771 w 288440"/>
              <a:gd name="T17" fmla="*/ 257582 h 264755"/>
              <a:gd name="T18" fmla="*/ 68771 w 288440"/>
              <a:gd name="T19" fmla="*/ 208472 h 264755"/>
              <a:gd name="T20" fmla="*/ 102507 w 288440"/>
              <a:gd name="T21" fmla="*/ 228547 h 264755"/>
              <a:gd name="T22" fmla="*/ 221490 w 288440"/>
              <a:gd name="T23" fmla="*/ 199510 h 264755"/>
              <a:gd name="T24" fmla="*/ 221490 w 288440"/>
              <a:gd name="T25" fmla="*/ 266185 h 264755"/>
              <a:gd name="T26" fmla="*/ 102507 w 288440"/>
              <a:gd name="T27" fmla="*/ 237508 h 264755"/>
              <a:gd name="T28" fmla="*/ 35037 w 288440"/>
              <a:gd name="T29" fmla="*/ 232848 h 264755"/>
              <a:gd name="T30" fmla="*/ 94290 w 288440"/>
              <a:gd name="T31" fmla="*/ 146301 h 264755"/>
              <a:gd name="T32" fmla="*/ 38005 w 288440"/>
              <a:gd name="T33" fmla="*/ 159370 h 264755"/>
              <a:gd name="T34" fmla="*/ 99375 w 288440"/>
              <a:gd name="T35" fmla="*/ 176069 h 264755"/>
              <a:gd name="T36" fmla="*/ 172365 w 288440"/>
              <a:gd name="T37" fmla="*/ 141945 h 264755"/>
              <a:gd name="T38" fmla="*/ 108453 w 288440"/>
              <a:gd name="T39" fmla="*/ 176069 h 264755"/>
              <a:gd name="T40" fmla="*/ 172365 w 288440"/>
              <a:gd name="T41" fmla="*/ 141945 h 264755"/>
              <a:gd name="T42" fmla="*/ 181445 w 288440"/>
              <a:gd name="T43" fmla="*/ 141582 h 264755"/>
              <a:gd name="T44" fmla="*/ 221752 w 288440"/>
              <a:gd name="T45" fmla="*/ 176069 h 264755"/>
              <a:gd name="T46" fmla="*/ 246809 w 288440"/>
              <a:gd name="T47" fmla="*/ 138315 h 264755"/>
              <a:gd name="T48" fmla="*/ 22027 w 288440"/>
              <a:gd name="T49" fmla="*/ 113265 h 264755"/>
              <a:gd name="T50" fmla="*/ 93201 w 288440"/>
              <a:gd name="T51" fmla="*/ 137589 h 264755"/>
              <a:gd name="T52" fmla="*/ 168734 w 288440"/>
              <a:gd name="T53" fmla="*/ 98744 h 264755"/>
              <a:gd name="T54" fmla="*/ 101917 w 288440"/>
              <a:gd name="T55" fmla="*/ 136863 h 264755"/>
              <a:gd name="T56" fmla="*/ 168734 w 288440"/>
              <a:gd name="T57" fmla="*/ 98744 h 264755"/>
              <a:gd name="T58" fmla="*/ 177449 w 288440"/>
              <a:gd name="T59" fmla="*/ 98018 h 264755"/>
              <a:gd name="T60" fmla="*/ 246809 w 288440"/>
              <a:gd name="T61" fmla="*/ 129239 h 264755"/>
              <a:gd name="T62" fmla="*/ 81581 w 288440"/>
              <a:gd name="T63" fmla="*/ 68612 h 264755"/>
              <a:gd name="T64" fmla="*/ 19121 w 288440"/>
              <a:gd name="T65" fmla="*/ 104553 h 264755"/>
              <a:gd name="T66" fmla="*/ 81581 w 288440"/>
              <a:gd name="T67" fmla="*/ 68612 h 264755"/>
              <a:gd name="T68" fmla="*/ 90297 w 288440"/>
              <a:gd name="T69" fmla="*/ 67159 h 264755"/>
              <a:gd name="T70" fmla="*/ 168009 w 288440"/>
              <a:gd name="T71" fmla="*/ 90395 h 264755"/>
              <a:gd name="T72" fmla="*/ 246809 w 288440"/>
              <a:gd name="T73" fmla="*/ 44653 h 264755"/>
              <a:gd name="T74" fmla="*/ 176723 w 288440"/>
              <a:gd name="T75" fmla="*/ 89305 h 264755"/>
              <a:gd name="T76" fmla="*/ 246809 w 288440"/>
              <a:gd name="T77" fmla="*/ 44653 h 264755"/>
              <a:gd name="T78" fmla="*/ 290385 w 288440"/>
              <a:gd name="T79" fmla="*/ 4357 h 264755"/>
              <a:gd name="T80" fmla="*/ 255524 w 288440"/>
              <a:gd name="T81" fmla="*/ 39935 h 264755"/>
              <a:gd name="T82" fmla="*/ 221752 w 288440"/>
              <a:gd name="T83" fmla="*/ 184782 h 264755"/>
              <a:gd name="T84" fmla="*/ 30014 w 288440"/>
              <a:gd name="T85" fmla="*/ 162275 h 264755"/>
              <a:gd name="T86" fmla="*/ 601 w 288440"/>
              <a:gd name="T87" fmla="*/ 72607 h 264755"/>
              <a:gd name="T88" fmla="*/ 246809 w 288440"/>
              <a:gd name="T89" fmla="*/ 35578 h 26475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88440" h="264755">
                <a:moveTo>
                  <a:pt x="220348" y="228600"/>
                </a:moveTo>
                <a:cubicBezTo>
                  <a:pt x="223015" y="228600"/>
                  <a:pt x="224920" y="230432"/>
                  <a:pt x="224920" y="232996"/>
                </a:cubicBezTo>
                <a:cubicBezTo>
                  <a:pt x="224920" y="235561"/>
                  <a:pt x="223015" y="237759"/>
                  <a:pt x="220348" y="237759"/>
                </a:cubicBezTo>
                <a:cubicBezTo>
                  <a:pt x="217681" y="237759"/>
                  <a:pt x="215776" y="235561"/>
                  <a:pt x="215776" y="232996"/>
                </a:cubicBezTo>
                <a:cubicBezTo>
                  <a:pt x="215776" y="230432"/>
                  <a:pt x="217681" y="228600"/>
                  <a:pt x="220348" y="228600"/>
                </a:cubicBezTo>
                <a:close/>
                <a:moveTo>
                  <a:pt x="69360" y="228600"/>
                </a:moveTo>
                <a:cubicBezTo>
                  <a:pt x="71925" y="228600"/>
                  <a:pt x="74123" y="230432"/>
                  <a:pt x="74123" y="232996"/>
                </a:cubicBezTo>
                <a:cubicBezTo>
                  <a:pt x="74123" y="235561"/>
                  <a:pt x="71925" y="237759"/>
                  <a:pt x="69360" y="237759"/>
                </a:cubicBezTo>
                <a:cubicBezTo>
                  <a:pt x="66796" y="237759"/>
                  <a:pt x="64964" y="235561"/>
                  <a:pt x="64964" y="232996"/>
                </a:cubicBezTo>
                <a:cubicBezTo>
                  <a:pt x="64964" y="230432"/>
                  <a:pt x="66796" y="228600"/>
                  <a:pt x="69360" y="228600"/>
                </a:cubicBezTo>
                <a:close/>
                <a:moveTo>
                  <a:pt x="220006" y="207351"/>
                </a:moveTo>
                <a:cubicBezTo>
                  <a:pt x="206314" y="207351"/>
                  <a:pt x="195144" y="218047"/>
                  <a:pt x="195144" y="231596"/>
                </a:cubicBezTo>
                <a:cubicBezTo>
                  <a:pt x="195144" y="245145"/>
                  <a:pt x="206314" y="256198"/>
                  <a:pt x="220006" y="256198"/>
                </a:cubicBezTo>
                <a:cubicBezTo>
                  <a:pt x="233338" y="256198"/>
                  <a:pt x="244868" y="245145"/>
                  <a:pt x="244868" y="231596"/>
                </a:cubicBezTo>
                <a:cubicBezTo>
                  <a:pt x="244868" y="218047"/>
                  <a:pt x="233338" y="207351"/>
                  <a:pt x="220006" y="207351"/>
                </a:cubicBezTo>
                <a:close/>
                <a:moveTo>
                  <a:pt x="68311" y="207351"/>
                </a:moveTo>
                <a:cubicBezTo>
                  <a:pt x="54979" y="207351"/>
                  <a:pt x="43809" y="218047"/>
                  <a:pt x="43809" y="231596"/>
                </a:cubicBezTo>
                <a:cubicBezTo>
                  <a:pt x="43809" y="245145"/>
                  <a:pt x="54979" y="256198"/>
                  <a:pt x="68311" y="256198"/>
                </a:cubicBezTo>
                <a:cubicBezTo>
                  <a:pt x="82363" y="256198"/>
                  <a:pt x="93173" y="245145"/>
                  <a:pt x="93173" y="231596"/>
                </a:cubicBezTo>
                <a:cubicBezTo>
                  <a:pt x="93173" y="218047"/>
                  <a:pt x="82363" y="207351"/>
                  <a:pt x="68311" y="207351"/>
                </a:cubicBezTo>
                <a:close/>
                <a:moveTo>
                  <a:pt x="68311" y="198437"/>
                </a:moveTo>
                <a:cubicBezTo>
                  <a:pt x="85606" y="198437"/>
                  <a:pt x="99659" y="210916"/>
                  <a:pt x="101821" y="227318"/>
                </a:cubicBezTo>
                <a:lnTo>
                  <a:pt x="186856" y="227318"/>
                </a:lnTo>
                <a:cubicBezTo>
                  <a:pt x="189018" y="210916"/>
                  <a:pt x="203071" y="198437"/>
                  <a:pt x="220006" y="198437"/>
                </a:cubicBezTo>
                <a:cubicBezTo>
                  <a:pt x="238382" y="198437"/>
                  <a:pt x="253516" y="213412"/>
                  <a:pt x="253516" y="231596"/>
                </a:cubicBezTo>
                <a:cubicBezTo>
                  <a:pt x="253516" y="249424"/>
                  <a:pt x="238382" y="264755"/>
                  <a:pt x="220006" y="264755"/>
                </a:cubicBezTo>
                <a:cubicBezTo>
                  <a:pt x="203071" y="264755"/>
                  <a:pt x="189018" y="251920"/>
                  <a:pt x="186856" y="236231"/>
                </a:cubicBezTo>
                <a:lnTo>
                  <a:pt x="101821" y="236231"/>
                </a:lnTo>
                <a:cubicBezTo>
                  <a:pt x="99659" y="251920"/>
                  <a:pt x="85606" y="264755"/>
                  <a:pt x="68311" y="264755"/>
                </a:cubicBezTo>
                <a:cubicBezTo>
                  <a:pt x="49934" y="264755"/>
                  <a:pt x="34801" y="249424"/>
                  <a:pt x="34801" y="231596"/>
                </a:cubicBezTo>
                <a:cubicBezTo>
                  <a:pt x="34801" y="213412"/>
                  <a:pt x="49934" y="198437"/>
                  <a:pt x="68311" y="198437"/>
                </a:cubicBezTo>
                <a:close/>
                <a:moveTo>
                  <a:pt x="93659" y="145515"/>
                </a:moveTo>
                <a:lnTo>
                  <a:pt x="34143" y="148403"/>
                </a:lnTo>
                <a:lnTo>
                  <a:pt x="37750" y="158513"/>
                </a:lnTo>
                <a:cubicBezTo>
                  <a:pt x="40996" y="168624"/>
                  <a:pt x="50375" y="175123"/>
                  <a:pt x="61196" y="175123"/>
                </a:cubicBezTo>
                <a:lnTo>
                  <a:pt x="98709" y="175123"/>
                </a:lnTo>
                <a:lnTo>
                  <a:pt x="93659" y="145515"/>
                </a:lnTo>
                <a:close/>
                <a:moveTo>
                  <a:pt x="171211" y="141182"/>
                </a:moveTo>
                <a:lnTo>
                  <a:pt x="102677" y="144792"/>
                </a:lnTo>
                <a:lnTo>
                  <a:pt x="107727" y="175123"/>
                </a:lnTo>
                <a:lnTo>
                  <a:pt x="174457" y="175123"/>
                </a:lnTo>
                <a:lnTo>
                  <a:pt x="171211" y="141182"/>
                </a:lnTo>
                <a:close/>
                <a:moveTo>
                  <a:pt x="245156" y="137571"/>
                </a:moveTo>
                <a:lnTo>
                  <a:pt x="180229" y="140821"/>
                </a:lnTo>
                <a:lnTo>
                  <a:pt x="183475" y="175123"/>
                </a:lnTo>
                <a:lnTo>
                  <a:pt x="220267" y="175123"/>
                </a:lnTo>
                <a:cubicBezTo>
                  <a:pt x="233613" y="175123"/>
                  <a:pt x="245156" y="164291"/>
                  <a:pt x="245156" y="150570"/>
                </a:cubicBezTo>
                <a:lnTo>
                  <a:pt x="245156" y="137571"/>
                </a:lnTo>
                <a:close/>
                <a:moveTo>
                  <a:pt x="87167" y="106157"/>
                </a:moveTo>
                <a:lnTo>
                  <a:pt x="21879" y="112656"/>
                </a:lnTo>
                <a:lnTo>
                  <a:pt x="31257" y="139737"/>
                </a:lnTo>
                <a:lnTo>
                  <a:pt x="92577" y="136849"/>
                </a:lnTo>
                <a:lnTo>
                  <a:pt x="87167" y="106157"/>
                </a:lnTo>
                <a:close/>
                <a:moveTo>
                  <a:pt x="167604" y="98213"/>
                </a:moveTo>
                <a:lnTo>
                  <a:pt x="96184" y="105435"/>
                </a:lnTo>
                <a:lnTo>
                  <a:pt x="101234" y="136127"/>
                </a:lnTo>
                <a:lnTo>
                  <a:pt x="170850" y="132877"/>
                </a:lnTo>
                <a:lnTo>
                  <a:pt x="167604" y="98213"/>
                </a:lnTo>
                <a:close/>
                <a:moveTo>
                  <a:pt x="245156" y="90992"/>
                </a:moveTo>
                <a:lnTo>
                  <a:pt x="176261" y="97491"/>
                </a:lnTo>
                <a:lnTo>
                  <a:pt x="179507" y="131794"/>
                </a:lnTo>
                <a:lnTo>
                  <a:pt x="245156" y="128544"/>
                </a:lnTo>
                <a:lnTo>
                  <a:pt x="245156" y="90992"/>
                </a:lnTo>
                <a:close/>
                <a:moveTo>
                  <a:pt x="81035" y="68244"/>
                </a:moveTo>
                <a:lnTo>
                  <a:pt x="9976" y="77993"/>
                </a:lnTo>
                <a:lnTo>
                  <a:pt x="18993" y="103991"/>
                </a:lnTo>
                <a:lnTo>
                  <a:pt x="85724" y="97491"/>
                </a:lnTo>
                <a:lnTo>
                  <a:pt x="81035" y="68244"/>
                </a:lnTo>
                <a:close/>
                <a:moveTo>
                  <a:pt x="163636" y="56328"/>
                </a:moveTo>
                <a:lnTo>
                  <a:pt x="89692" y="66799"/>
                </a:lnTo>
                <a:lnTo>
                  <a:pt x="94741" y="96769"/>
                </a:lnTo>
                <a:lnTo>
                  <a:pt x="166883" y="89909"/>
                </a:lnTo>
                <a:lnTo>
                  <a:pt x="163636" y="56328"/>
                </a:lnTo>
                <a:close/>
                <a:moveTo>
                  <a:pt x="245156" y="44413"/>
                </a:moveTo>
                <a:lnTo>
                  <a:pt x="172293" y="55245"/>
                </a:lnTo>
                <a:lnTo>
                  <a:pt x="175539" y="88825"/>
                </a:lnTo>
                <a:lnTo>
                  <a:pt x="245156" y="81965"/>
                </a:lnTo>
                <a:lnTo>
                  <a:pt x="245156" y="44413"/>
                </a:lnTo>
                <a:close/>
                <a:moveTo>
                  <a:pt x="284473" y="0"/>
                </a:moveTo>
                <a:cubicBezTo>
                  <a:pt x="286637" y="0"/>
                  <a:pt x="288440" y="1805"/>
                  <a:pt x="288440" y="4333"/>
                </a:cubicBezTo>
                <a:cubicBezTo>
                  <a:pt x="288440" y="6860"/>
                  <a:pt x="286637" y="9027"/>
                  <a:pt x="284473" y="9027"/>
                </a:cubicBezTo>
                <a:cubicBezTo>
                  <a:pt x="267519" y="9027"/>
                  <a:pt x="253813" y="22748"/>
                  <a:pt x="253813" y="39719"/>
                </a:cubicBezTo>
                <a:lnTo>
                  <a:pt x="253813" y="150570"/>
                </a:lnTo>
                <a:cubicBezTo>
                  <a:pt x="253813" y="168985"/>
                  <a:pt x="238663" y="183789"/>
                  <a:pt x="220267" y="183789"/>
                </a:cubicBezTo>
                <a:lnTo>
                  <a:pt x="61196" y="183789"/>
                </a:lnTo>
                <a:cubicBezTo>
                  <a:pt x="46768" y="183789"/>
                  <a:pt x="34143" y="175123"/>
                  <a:pt x="29814" y="161402"/>
                </a:cubicBezTo>
                <a:lnTo>
                  <a:pt x="237" y="75826"/>
                </a:lnTo>
                <a:cubicBezTo>
                  <a:pt x="-124" y="74743"/>
                  <a:pt x="-124" y="72938"/>
                  <a:pt x="597" y="72216"/>
                </a:cubicBezTo>
                <a:cubicBezTo>
                  <a:pt x="958" y="71132"/>
                  <a:pt x="2401" y="70049"/>
                  <a:pt x="3483" y="70049"/>
                </a:cubicBezTo>
                <a:lnTo>
                  <a:pt x="245156" y="35386"/>
                </a:lnTo>
                <a:cubicBezTo>
                  <a:pt x="247320" y="15526"/>
                  <a:pt x="263912" y="0"/>
                  <a:pt x="284473" y="0"/>
                </a:cubicBezTo>
                <a:close/>
              </a:path>
            </a:pathLst>
          </a:custGeom>
          <a:solidFill>
            <a:srgbClr val="1A171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en-US" sz="900" dirty="0"/>
          </a:p>
        </p:txBody>
      </p:sp>
      <p:sp>
        <p:nvSpPr>
          <p:cNvPr id="34" name="Freeform 957">
            <a:extLst>
              <a:ext uri="{FF2B5EF4-FFF2-40B4-BE49-F238E27FC236}">
                <a16:creationId xmlns:a16="http://schemas.microsoft.com/office/drawing/2014/main" id="{341C354E-8157-AD43-916A-1517494FA82C}"/>
              </a:ext>
            </a:extLst>
          </p:cNvPr>
          <p:cNvSpPr>
            <a:spLocks noChangeAspect="1" noChangeArrowheads="1"/>
          </p:cNvSpPr>
          <p:nvPr/>
        </p:nvSpPr>
        <p:spPr bwMode="auto">
          <a:xfrm>
            <a:off x="8259739" y="5569580"/>
            <a:ext cx="445519" cy="408799"/>
          </a:xfrm>
          <a:custGeom>
            <a:avLst/>
            <a:gdLst>
              <a:gd name="T0" fmla="*/ 226436 w 288440"/>
              <a:gd name="T1" fmla="*/ 234255 h 264755"/>
              <a:gd name="T2" fmla="*/ 217231 w 288440"/>
              <a:gd name="T3" fmla="*/ 234255 h 264755"/>
              <a:gd name="T4" fmla="*/ 69828 w 288440"/>
              <a:gd name="T5" fmla="*/ 229835 h 264755"/>
              <a:gd name="T6" fmla="*/ 69828 w 288440"/>
              <a:gd name="T7" fmla="*/ 239044 h 264755"/>
              <a:gd name="T8" fmla="*/ 69828 w 288440"/>
              <a:gd name="T9" fmla="*/ 229835 h 264755"/>
              <a:gd name="T10" fmla="*/ 196460 w 288440"/>
              <a:gd name="T11" fmla="*/ 232848 h 264755"/>
              <a:gd name="T12" fmla="*/ 246519 w 288440"/>
              <a:gd name="T13" fmla="*/ 232848 h 264755"/>
              <a:gd name="T14" fmla="*/ 68771 w 288440"/>
              <a:gd name="T15" fmla="*/ 208472 h 264755"/>
              <a:gd name="T16" fmla="*/ 68771 w 288440"/>
              <a:gd name="T17" fmla="*/ 257582 h 264755"/>
              <a:gd name="T18" fmla="*/ 68771 w 288440"/>
              <a:gd name="T19" fmla="*/ 208472 h 264755"/>
              <a:gd name="T20" fmla="*/ 102507 w 288440"/>
              <a:gd name="T21" fmla="*/ 228547 h 264755"/>
              <a:gd name="T22" fmla="*/ 221490 w 288440"/>
              <a:gd name="T23" fmla="*/ 199510 h 264755"/>
              <a:gd name="T24" fmla="*/ 221490 w 288440"/>
              <a:gd name="T25" fmla="*/ 266185 h 264755"/>
              <a:gd name="T26" fmla="*/ 102507 w 288440"/>
              <a:gd name="T27" fmla="*/ 237508 h 264755"/>
              <a:gd name="T28" fmla="*/ 35037 w 288440"/>
              <a:gd name="T29" fmla="*/ 232848 h 264755"/>
              <a:gd name="T30" fmla="*/ 94290 w 288440"/>
              <a:gd name="T31" fmla="*/ 146301 h 264755"/>
              <a:gd name="T32" fmla="*/ 38005 w 288440"/>
              <a:gd name="T33" fmla="*/ 159370 h 264755"/>
              <a:gd name="T34" fmla="*/ 99375 w 288440"/>
              <a:gd name="T35" fmla="*/ 176069 h 264755"/>
              <a:gd name="T36" fmla="*/ 172365 w 288440"/>
              <a:gd name="T37" fmla="*/ 141945 h 264755"/>
              <a:gd name="T38" fmla="*/ 108453 w 288440"/>
              <a:gd name="T39" fmla="*/ 176069 h 264755"/>
              <a:gd name="T40" fmla="*/ 172365 w 288440"/>
              <a:gd name="T41" fmla="*/ 141945 h 264755"/>
              <a:gd name="T42" fmla="*/ 181445 w 288440"/>
              <a:gd name="T43" fmla="*/ 141582 h 264755"/>
              <a:gd name="T44" fmla="*/ 221752 w 288440"/>
              <a:gd name="T45" fmla="*/ 176069 h 264755"/>
              <a:gd name="T46" fmla="*/ 246809 w 288440"/>
              <a:gd name="T47" fmla="*/ 138315 h 264755"/>
              <a:gd name="T48" fmla="*/ 22027 w 288440"/>
              <a:gd name="T49" fmla="*/ 113265 h 264755"/>
              <a:gd name="T50" fmla="*/ 93201 w 288440"/>
              <a:gd name="T51" fmla="*/ 137589 h 264755"/>
              <a:gd name="T52" fmla="*/ 168734 w 288440"/>
              <a:gd name="T53" fmla="*/ 98744 h 264755"/>
              <a:gd name="T54" fmla="*/ 101917 w 288440"/>
              <a:gd name="T55" fmla="*/ 136863 h 264755"/>
              <a:gd name="T56" fmla="*/ 168734 w 288440"/>
              <a:gd name="T57" fmla="*/ 98744 h 264755"/>
              <a:gd name="T58" fmla="*/ 177449 w 288440"/>
              <a:gd name="T59" fmla="*/ 98018 h 264755"/>
              <a:gd name="T60" fmla="*/ 246809 w 288440"/>
              <a:gd name="T61" fmla="*/ 129239 h 264755"/>
              <a:gd name="T62" fmla="*/ 81581 w 288440"/>
              <a:gd name="T63" fmla="*/ 68612 h 264755"/>
              <a:gd name="T64" fmla="*/ 19121 w 288440"/>
              <a:gd name="T65" fmla="*/ 104553 h 264755"/>
              <a:gd name="T66" fmla="*/ 81581 w 288440"/>
              <a:gd name="T67" fmla="*/ 68612 h 264755"/>
              <a:gd name="T68" fmla="*/ 90297 w 288440"/>
              <a:gd name="T69" fmla="*/ 67159 h 264755"/>
              <a:gd name="T70" fmla="*/ 168009 w 288440"/>
              <a:gd name="T71" fmla="*/ 90395 h 264755"/>
              <a:gd name="T72" fmla="*/ 246809 w 288440"/>
              <a:gd name="T73" fmla="*/ 44653 h 264755"/>
              <a:gd name="T74" fmla="*/ 176723 w 288440"/>
              <a:gd name="T75" fmla="*/ 89305 h 264755"/>
              <a:gd name="T76" fmla="*/ 246809 w 288440"/>
              <a:gd name="T77" fmla="*/ 44653 h 264755"/>
              <a:gd name="T78" fmla="*/ 290385 w 288440"/>
              <a:gd name="T79" fmla="*/ 4357 h 264755"/>
              <a:gd name="T80" fmla="*/ 255524 w 288440"/>
              <a:gd name="T81" fmla="*/ 39935 h 264755"/>
              <a:gd name="T82" fmla="*/ 221752 w 288440"/>
              <a:gd name="T83" fmla="*/ 184782 h 264755"/>
              <a:gd name="T84" fmla="*/ 30014 w 288440"/>
              <a:gd name="T85" fmla="*/ 162275 h 264755"/>
              <a:gd name="T86" fmla="*/ 601 w 288440"/>
              <a:gd name="T87" fmla="*/ 72607 h 264755"/>
              <a:gd name="T88" fmla="*/ 246809 w 288440"/>
              <a:gd name="T89" fmla="*/ 35578 h 26475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88440" h="264755">
                <a:moveTo>
                  <a:pt x="220348" y="228600"/>
                </a:moveTo>
                <a:cubicBezTo>
                  <a:pt x="223015" y="228600"/>
                  <a:pt x="224920" y="230432"/>
                  <a:pt x="224920" y="232996"/>
                </a:cubicBezTo>
                <a:cubicBezTo>
                  <a:pt x="224920" y="235561"/>
                  <a:pt x="223015" y="237759"/>
                  <a:pt x="220348" y="237759"/>
                </a:cubicBezTo>
                <a:cubicBezTo>
                  <a:pt x="217681" y="237759"/>
                  <a:pt x="215776" y="235561"/>
                  <a:pt x="215776" y="232996"/>
                </a:cubicBezTo>
                <a:cubicBezTo>
                  <a:pt x="215776" y="230432"/>
                  <a:pt x="217681" y="228600"/>
                  <a:pt x="220348" y="228600"/>
                </a:cubicBezTo>
                <a:close/>
                <a:moveTo>
                  <a:pt x="69360" y="228600"/>
                </a:moveTo>
                <a:cubicBezTo>
                  <a:pt x="71925" y="228600"/>
                  <a:pt x="74123" y="230432"/>
                  <a:pt x="74123" y="232996"/>
                </a:cubicBezTo>
                <a:cubicBezTo>
                  <a:pt x="74123" y="235561"/>
                  <a:pt x="71925" y="237759"/>
                  <a:pt x="69360" y="237759"/>
                </a:cubicBezTo>
                <a:cubicBezTo>
                  <a:pt x="66796" y="237759"/>
                  <a:pt x="64964" y="235561"/>
                  <a:pt x="64964" y="232996"/>
                </a:cubicBezTo>
                <a:cubicBezTo>
                  <a:pt x="64964" y="230432"/>
                  <a:pt x="66796" y="228600"/>
                  <a:pt x="69360" y="228600"/>
                </a:cubicBezTo>
                <a:close/>
                <a:moveTo>
                  <a:pt x="220006" y="207351"/>
                </a:moveTo>
                <a:cubicBezTo>
                  <a:pt x="206314" y="207351"/>
                  <a:pt x="195144" y="218047"/>
                  <a:pt x="195144" y="231596"/>
                </a:cubicBezTo>
                <a:cubicBezTo>
                  <a:pt x="195144" y="245145"/>
                  <a:pt x="206314" y="256198"/>
                  <a:pt x="220006" y="256198"/>
                </a:cubicBezTo>
                <a:cubicBezTo>
                  <a:pt x="233338" y="256198"/>
                  <a:pt x="244868" y="245145"/>
                  <a:pt x="244868" y="231596"/>
                </a:cubicBezTo>
                <a:cubicBezTo>
                  <a:pt x="244868" y="218047"/>
                  <a:pt x="233338" y="207351"/>
                  <a:pt x="220006" y="207351"/>
                </a:cubicBezTo>
                <a:close/>
                <a:moveTo>
                  <a:pt x="68311" y="207351"/>
                </a:moveTo>
                <a:cubicBezTo>
                  <a:pt x="54979" y="207351"/>
                  <a:pt x="43809" y="218047"/>
                  <a:pt x="43809" y="231596"/>
                </a:cubicBezTo>
                <a:cubicBezTo>
                  <a:pt x="43809" y="245145"/>
                  <a:pt x="54979" y="256198"/>
                  <a:pt x="68311" y="256198"/>
                </a:cubicBezTo>
                <a:cubicBezTo>
                  <a:pt x="82363" y="256198"/>
                  <a:pt x="93173" y="245145"/>
                  <a:pt x="93173" y="231596"/>
                </a:cubicBezTo>
                <a:cubicBezTo>
                  <a:pt x="93173" y="218047"/>
                  <a:pt x="82363" y="207351"/>
                  <a:pt x="68311" y="207351"/>
                </a:cubicBezTo>
                <a:close/>
                <a:moveTo>
                  <a:pt x="68311" y="198437"/>
                </a:moveTo>
                <a:cubicBezTo>
                  <a:pt x="85606" y="198437"/>
                  <a:pt x="99659" y="210916"/>
                  <a:pt x="101821" y="227318"/>
                </a:cubicBezTo>
                <a:lnTo>
                  <a:pt x="186856" y="227318"/>
                </a:lnTo>
                <a:cubicBezTo>
                  <a:pt x="189018" y="210916"/>
                  <a:pt x="203071" y="198437"/>
                  <a:pt x="220006" y="198437"/>
                </a:cubicBezTo>
                <a:cubicBezTo>
                  <a:pt x="238382" y="198437"/>
                  <a:pt x="253516" y="213412"/>
                  <a:pt x="253516" y="231596"/>
                </a:cubicBezTo>
                <a:cubicBezTo>
                  <a:pt x="253516" y="249424"/>
                  <a:pt x="238382" y="264755"/>
                  <a:pt x="220006" y="264755"/>
                </a:cubicBezTo>
                <a:cubicBezTo>
                  <a:pt x="203071" y="264755"/>
                  <a:pt x="189018" y="251920"/>
                  <a:pt x="186856" y="236231"/>
                </a:cubicBezTo>
                <a:lnTo>
                  <a:pt x="101821" y="236231"/>
                </a:lnTo>
                <a:cubicBezTo>
                  <a:pt x="99659" y="251920"/>
                  <a:pt x="85606" y="264755"/>
                  <a:pt x="68311" y="264755"/>
                </a:cubicBezTo>
                <a:cubicBezTo>
                  <a:pt x="49934" y="264755"/>
                  <a:pt x="34801" y="249424"/>
                  <a:pt x="34801" y="231596"/>
                </a:cubicBezTo>
                <a:cubicBezTo>
                  <a:pt x="34801" y="213412"/>
                  <a:pt x="49934" y="198437"/>
                  <a:pt x="68311" y="198437"/>
                </a:cubicBezTo>
                <a:close/>
                <a:moveTo>
                  <a:pt x="93659" y="145515"/>
                </a:moveTo>
                <a:lnTo>
                  <a:pt x="34143" y="148403"/>
                </a:lnTo>
                <a:lnTo>
                  <a:pt x="37750" y="158513"/>
                </a:lnTo>
                <a:cubicBezTo>
                  <a:pt x="40996" y="168624"/>
                  <a:pt x="50375" y="175123"/>
                  <a:pt x="61196" y="175123"/>
                </a:cubicBezTo>
                <a:lnTo>
                  <a:pt x="98709" y="175123"/>
                </a:lnTo>
                <a:lnTo>
                  <a:pt x="93659" y="145515"/>
                </a:lnTo>
                <a:close/>
                <a:moveTo>
                  <a:pt x="171211" y="141182"/>
                </a:moveTo>
                <a:lnTo>
                  <a:pt x="102677" y="144792"/>
                </a:lnTo>
                <a:lnTo>
                  <a:pt x="107727" y="175123"/>
                </a:lnTo>
                <a:lnTo>
                  <a:pt x="174457" y="175123"/>
                </a:lnTo>
                <a:lnTo>
                  <a:pt x="171211" y="141182"/>
                </a:lnTo>
                <a:close/>
                <a:moveTo>
                  <a:pt x="245156" y="137571"/>
                </a:moveTo>
                <a:lnTo>
                  <a:pt x="180229" y="140821"/>
                </a:lnTo>
                <a:lnTo>
                  <a:pt x="183475" y="175123"/>
                </a:lnTo>
                <a:lnTo>
                  <a:pt x="220267" y="175123"/>
                </a:lnTo>
                <a:cubicBezTo>
                  <a:pt x="233613" y="175123"/>
                  <a:pt x="245156" y="164291"/>
                  <a:pt x="245156" y="150570"/>
                </a:cubicBezTo>
                <a:lnTo>
                  <a:pt x="245156" y="137571"/>
                </a:lnTo>
                <a:close/>
                <a:moveTo>
                  <a:pt x="87167" y="106157"/>
                </a:moveTo>
                <a:lnTo>
                  <a:pt x="21879" y="112656"/>
                </a:lnTo>
                <a:lnTo>
                  <a:pt x="31257" y="139737"/>
                </a:lnTo>
                <a:lnTo>
                  <a:pt x="92577" y="136849"/>
                </a:lnTo>
                <a:lnTo>
                  <a:pt x="87167" y="106157"/>
                </a:lnTo>
                <a:close/>
                <a:moveTo>
                  <a:pt x="167604" y="98213"/>
                </a:moveTo>
                <a:lnTo>
                  <a:pt x="96184" y="105435"/>
                </a:lnTo>
                <a:lnTo>
                  <a:pt x="101234" y="136127"/>
                </a:lnTo>
                <a:lnTo>
                  <a:pt x="170850" y="132877"/>
                </a:lnTo>
                <a:lnTo>
                  <a:pt x="167604" y="98213"/>
                </a:lnTo>
                <a:close/>
                <a:moveTo>
                  <a:pt x="245156" y="90992"/>
                </a:moveTo>
                <a:lnTo>
                  <a:pt x="176261" y="97491"/>
                </a:lnTo>
                <a:lnTo>
                  <a:pt x="179507" y="131794"/>
                </a:lnTo>
                <a:lnTo>
                  <a:pt x="245156" y="128544"/>
                </a:lnTo>
                <a:lnTo>
                  <a:pt x="245156" y="90992"/>
                </a:lnTo>
                <a:close/>
                <a:moveTo>
                  <a:pt x="81035" y="68244"/>
                </a:moveTo>
                <a:lnTo>
                  <a:pt x="9976" y="77993"/>
                </a:lnTo>
                <a:lnTo>
                  <a:pt x="18993" y="103991"/>
                </a:lnTo>
                <a:lnTo>
                  <a:pt x="85724" y="97491"/>
                </a:lnTo>
                <a:lnTo>
                  <a:pt x="81035" y="68244"/>
                </a:lnTo>
                <a:close/>
                <a:moveTo>
                  <a:pt x="163636" y="56328"/>
                </a:moveTo>
                <a:lnTo>
                  <a:pt x="89692" y="66799"/>
                </a:lnTo>
                <a:lnTo>
                  <a:pt x="94741" y="96769"/>
                </a:lnTo>
                <a:lnTo>
                  <a:pt x="166883" y="89909"/>
                </a:lnTo>
                <a:lnTo>
                  <a:pt x="163636" y="56328"/>
                </a:lnTo>
                <a:close/>
                <a:moveTo>
                  <a:pt x="245156" y="44413"/>
                </a:moveTo>
                <a:lnTo>
                  <a:pt x="172293" y="55245"/>
                </a:lnTo>
                <a:lnTo>
                  <a:pt x="175539" y="88825"/>
                </a:lnTo>
                <a:lnTo>
                  <a:pt x="245156" y="81965"/>
                </a:lnTo>
                <a:lnTo>
                  <a:pt x="245156" y="44413"/>
                </a:lnTo>
                <a:close/>
                <a:moveTo>
                  <a:pt x="284473" y="0"/>
                </a:moveTo>
                <a:cubicBezTo>
                  <a:pt x="286637" y="0"/>
                  <a:pt x="288440" y="1805"/>
                  <a:pt x="288440" y="4333"/>
                </a:cubicBezTo>
                <a:cubicBezTo>
                  <a:pt x="288440" y="6860"/>
                  <a:pt x="286637" y="9027"/>
                  <a:pt x="284473" y="9027"/>
                </a:cubicBezTo>
                <a:cubicBezTo>
                  <a:pt x="267519" y="9027"/>
                  <a:pt x="253813" y="22748"/>
                  <a:pt x="253813" y="39719"/>
                </a:cubicBezTo>
                <a:lnTo>
                  <a:pt x="253813" y="150570"/>
                </a:lnTo>
                <a:cubicBezTo>
                  <a:pt x="253813" y="168985"/>
                  <a:pt x="238663" y="183789"/>
                  <a:pt x="220267" y="183789"/>
                </a:cubicBezTo>
                <a:lnTo>
                  <a:pt x="61196" y="183789"/>
                </a:lnTo>
                <a:cubicBezTo>
                  <a:pt x="46768" y="183789"/>
                  <a:pt x="34143" y="175123"/>
                  <a:pt x="29814" y="161402"/>
                </a:cubicBezTo>
                <a:lnTo>
                  <a:pt x="237" y="75826"/>
                </a:lnTo>
                <a:cubicBezTo>
                  <a:pt x="-124" y="74743"/>
                  <a:pt x="-124" y="72938"/>
                  <a:pt x="597" y="72216"/>
                </a:cubicBezTo>
                <a:cubicBezTo>
                  <a:pt x="958" y="71132"/>
                  <a:pt x="2401" y="70049"/>
                  <a:pt x="3483" y="70049"/>
                </a:cubicBezTo>
                <a:lnTo>
                  <a:pt x="245156" y="35386"/>
                </a:lnTo>
                <a:cubicBezTo>
                  <a:pt x="247320" y="15526"/>
                  <a:pt x="263912" y="0"/>
                  <a:pt x="284473" y="0"/>
                </a:cubicBezTo>
                <a:close/>
              </a:path>
            </a:pathLst>
          </a:custGeom>
          <a:solidFill>
            <a:srgbClr val="1A171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en-US" sz="900" dirty="0"/>
          </a:p>
        </p:txBody>
      </p:sp>
      <p:sp>
        <p:nvSpPr>
          <p:cNvPr id="35" name="Freeform 957">
            <a:extLst>
              <a:ext uri="{FF2B5EF4-FFF2-40B4-BE49-F238E27FC236}">
                <a16:creationId xmlns:a16="http://schemas.microsoft.com/office/drawing/2014/main" id="{3B3DC3F7-09F4-074D-BB66-BAD872CE5AF1}"/>
              </a:ext>
            </a:extLst>
          </p:cNvPr>
          <p:cNvSpPr>
            <a:spLocks noChangeAspect="1" noChangeArrowheads="1"/>
          </p:cNvSpPr>
          <p:nvPr/>
        </p:nvSpPr>
        <p:spPr bwMode="auto">
          <a:xfrm>
            <a:off x="3499141" y="5569580"/>
            <a:ext cx="445519" cy="408799"/>
          </a:xfrm>
          <a:custGeom>
            <a:avLst/>
            <a:gdLst>
              <a:gd name="T0" fmla="*/ 226436 w 288440"/>
              <a:gd name="T1" fmla="*/ 234255 h 264755"/>
              <a:gd name="T2" fmla="*/ 217231 w 288440"/>
              <a:gd name="T3" fmla="*/ 234255 h 264755"/>
              <a:gd name="T4" fmla="*/ 69828 w 288440"/>
              <a:gd name="T5" fmla="*/ 229835 h 264755"/>
              <a:gd name="T6" fmla="*/ 69828 w 288440"/>
              <a:gd name="T7" fmla="*/ 239044 h 264755"/>
              <a:gd name="T8" fmla="*/ 69828 w 288440"/>
              <a:gd name="T9" fmla="*/ 229835 h 264755"/>
              <a:gd name="T10" fmla="*/ 196460 w 288440"/>
              <a:gd name="T11" fmla="*/ 232848 h 264755"/>
              <a:gd name="T12" fmla="*/ 246519 w 288440"/>
              <a:gd name="T13" fmla="*/ 232848 h 264755"/>
              <a:gd name="T14" fmla="*/ 68771 w 288440"/>
              <a:gd name="T15" fmla="*/ 208472 h 264755"/>
              <a:gd name="T16" fmla="*/ 68771 w 288440"/>
              <a:gd name="T17" fmla="*/ 257582 h 264755"/>
              <a:gd name="T18" fmla="*/ 68771 w 288440"/>
              <a:gd name="T19" fmla="*/ 208472 h 264755"/>
              <a:gd name="T20" fmla="*/ 102507 w 288440"/>
              <a:gd name="T21" fmla="*/ 228547 h 264755"/>
              <a:gd name="T22" fmla="*/ 221490 w 288440"/>
              <a:gd name="T23" fmla="*/ 199510 h 264755"/>
              <a:gd name="T24" fmla="*/ 221490 w 288440"/>
              <a:gd name="T25" fmla="*/ 266185 h 264755"/>
              <a:gd name="T26" fmla="*/ 102507 w 288440"/>
              <a:gd name="T27" fmla="*/ 237508 h 264755"/>
              <a:gd name="T28" fmla="*/ 35037 w 288440"/>
              <a:gd name="T29" fmla="*/ 232848 h 264755"/>
              <a:gd name="T30" fmla="*/ 94290 w 288440"/>
              <a:gd name="T31" fmla="*/ 146301 h 264755"/>
              <a:gd name="T32" fmla="*/ 38005 w 288440"/>
              <a:gd name="T33" fmla="*/ 159370 h 264755"/>
              <a:gd name="T34" fmla="*/ 99375 w 288440"/>
              <a:gd name="T35" fmla="*/ 176069 h 264755"/>
              <a:gd name="T36" fmla="*/ 172365 w 288440"/>
              <a:gd name="T37" fmla="*/ 141945 h 264755"/>
              <a:gd name="T38" fmla="*/ 108453 w 288440"/>
              <a:gd name="T39" fmla="*/ 176069 h 264755"/>
              <a:gd name="T40" fmla="*/ 172365 w 288440"/>
              <a:gd name="T41" fmla="*/ 141945 h 264755"/>
              <a:gd name="T42" fmla="*/ 181445 w 288440"/>
              <a:gd name="T43" fmla="*/ 141582 h 264755"/>
              <a:gd name="T44" fmla="*/ 221752 w 288440"/>
              <a:gd name="T45" fmla="*/ 176069 h 264755"/>
              <a:gd name="T46" fmla="*/ 246809 w 288440"/>
              <a:gd name="T47" fmla="*/ 138315 h 264755"/>
              <a:gd name="T48" fmla="*/ 22027 w 288440"/>
              <a:gd name="T49" fmla="*/ 113265 h 264755"/>
              <a:gd name="T50" fmla="*/ 93201 w 288440"/>
              <a:gd name="T51" fmla="*/ 137589 h 264755"/>
              <a:gd name="T52" fmla="*/ 168734 w 288440"/>
              <a:gd name="T53" fmla="*/ 98744 h 264755"/>
              <a:gd name="T54" fmla="*/ 101917 w 288440"/>
              <a:gd name="T55" fmla="*/ 136863 h 264755"/>
              <a:gd name="T56" fmla="*/ 168734 w 288440"/>
              <a:gd name="T57" fmla="*/ 98744 h 264755"/>
              <a:gd name="T58" fmla="*/ 177449 w 288440"/>
              <a:gd name="T59" fmla="*/ 98018 h 264755"/>
              <a:gd name="T60" fmla="*/ 246809 w 288440"/>
              <a:gd name="T61" fmla="*/ 129239 h 264755"/>
              <a:gd name="T62" fmla="*/ 81581 w 288440"/>
              <a:gd name="T63" fmla="*/ 68612 h 264755"/>
              <a:gd name="T64" fmla="*/ 19121 w 288440"/>
              <a:gd name="T65" fmla="*/ 104553 h 264755"/>
              <a:gd name="T66" fmla="*/ 81581 w 288440"/>
              <a:gd name="T67" fmla="*/ 68612 h 264755"/>
              <a:gd name="T68" fmla="*/ 90297 w 288440"/>
              <a:gd name="T69" fmla="*/ 67159 h 264755"/>
              <a:gd name="T70" fmla="*/ 168009 w 288440"/>
              <a:gd name="T71" fmla="*/ 90395 h 264755"/>
              <a:gd name="T72" fmla="*/ 246809 w 288440"/>
              <a:gd name="T73" fmla="*/ 44653 h 264755"/>
              <a:gd name="T74" fmla="*/ 176723 w 288440"/>
              <a:gd name="T75" fmla="*/ 89305 h 264755"/>
              <a:gd name="T76" fmla="*/ 246809 w 288440"/>
              <a:gd name="T77" fmla="*/ 44653 h 264755"/>
              <a:gd name="T78" fmla="*/ 290385 w 288440"/>
              <a:gd name="T79" fmla="*/ 4357 h 264755"/>
              <a:gd name="T80" fmla="*/ 255524 w 288440"/>
              <a:gd name="T81" fmla="*/ 39935 h 264755"/>
              <a:gd name="T82" fmla="*/ 221752 w 288440"/>
              <a:gd name="T83" fmla="*/ 184782 h 264755"/>
              <a:gd name="T84" fmla="*/ 30014 w 288440"/>
              <a:gd name="T85" fmla="*/ 162275 h 264755"/>
              <a:gd name="T86" fmla="*/ 601 w 288440"/>
              <a:gd name="T87" fmla="*/ 72607 h 264755"/>
              <a:gd name="T88" fmla="*/ 246809 w 288440"/>
              <a:gd name="T89" fmla="*/ 35578 h 26475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88440" h="264755">
                <a:moveTo>
                  <a:pt x="220348" y="228600"/>
                </a:moveTo>
                <a:cubicBezTo>
                  <a:pt x="223015" y="228600"/>
                  <a:pt x="224920" y="230432"/>
                  <a:pt x="224920" y="232996"/>
                </a:cubicBezTo>
                <a:cubicBezTo>
                  <a:pt x="224920" y="235561"/>
                  <a:pt x="223015" y="237759"/>
                  <a:pt x="220348" y="237759"/>
                </a:cubicBezTo>
                <a:cubicBezTo>
                  <a:pt x="217681" y="237759"/>
                  <a:pt x="215776" y="235561"/>
                  <a:pt x="215776" y="232996"/>
                </a:cubicBezTo>
                <a:cubicBezTo>
                  <a:pt x="215776" y="230432"/>
                  <a:pt x="217681" y="228600"/>
                  <a:pt x="220348" y="228600"/>
                </a:cubicBezTo>
                <a:close/>
                <a:moveTo>
                  <a:pt x="69360" y="228600"/>
                </a:moveTo>
                <a:cubicBezTo>
                  <a:pt x="71925" y="228600"/>
                  <a:pt x="74123" y="230432"/>
                  <a:pt x="74123" y="232996"/>
                </a:cubicBezTo>
                <a:cubicBezTo>
                  <a:pt x="74123" y="235561"/>
                  <a:pt x="71925" y="237759"/>
                  <a:pt x="69360" y="237759"/>
                </a:cubicBezTo>
                <a:cubicBezTo>
                  <a:pt x="66796" y="237759"/>
                  <a:pt x="64964" y="235561"/>
                  <a:pt x="64964" y="232996"/>
                </a:cubicBezTo>
                <a:cubicBezTo>
                  <a:pt x="64964" y="230432"/>
                  <a:pt x="66796" y="228600"/>
                  <a:pt x="69360" y="228600"/>
                </a:cubicBezTo>
                <a:close/>
                <a:moveTo>
                  <a:pt x="220006" y="207351"/>
                </a:moveTo>
                <a:cubicBezTo>
                  <a:pt x="206314" y="207351"/>
                  <a:pt x="195144" y="218047"/>
                  <a:pt x="195144" y="231596"/>
                </a:cubicBezTo>
                <a:cubicBezTo>
                  <a:pt x="195144" y="245145"/>
                  <a:pt x="206314" y="256198"/>
                  <a:pt x="220006" y="256198"/>
                </a:cubicBezTo>
                <a:cubicBezTo>
                  <a:pt x="233338" y="256198"/>
                  <a:pt x="244868" y="245145"/>
                  <a:pt x="244868" y="231596"/>
                </a:cubicBezTo>
                <a:cubicBezTo>
                  <a:pt x="244868" y="218047"/>
                  <a:pt x="233338" y="207351"/>
                  <a:pt x="220006" y="207351"/>
                </a:cubicBezTo>
                <a:close/>
                <a:moveTo>
                  <a:pt x="68311" y="207351"/>
                </a:moveTo>
                <a:cubicBezTo>
                  <a:pt x="54979" y="207351"/>
                  <a:pt x="43809" y="218047"/>
                  <a:pt x="43809" y="231596"/>
                </a:cubicBezTo>
                <a:cubicBezTo>
                  <a:pt x="43809" y="245145"/>
                  <a:pt x="54979" y="256198"/>
                  <a:pt x="68311" y="256198"/>
                </a:cubicBezTo>
                <a:cubicBezTo>
                  <a:pt x="82363" y="256198"/>
                  <a:pt x="93173" y="245145"/>
                  <a:pt x="93173" y="231596"/>
                </a:cubicBezTo>
                <a:cubicBezTo>
                  <a:pt x="93173" y="218047"/>
                  <a:pt x="82363" y="207351"/>
                  <a:pt x="68311" y="207351"/>
                </a:cubicBezTo>
                <a:close/>
                <a:moveTo>
                  <a:pt x="68311" y="198437"/>
                </a:moveTo>
                <a:cubicBezTo>
                  <a:pt x="85606" y="198437"/>
                  <a:pt x="99659" y="210916"/>
                  <a:pt x="101821" y="227318"/>
                </a:cubicBezTo>
                <a:lnTo>
                  <a:pt x="186856" y="227318"/>
                </a:lnTo>
                <a:cubicBezTo>
                  <a:pt x="189018" y="210916"/>
                  <a:pt x="203071" y="198437"/>
                  <a:pt x="220006" y="198437"/>
                </a:cubicBezTo>
                <a:cubicBezTo>
                  <a:pt x="238382" y="198437"/>
                  <a:pt x="253516" y="213412"/>
                  <a:pt x="253516" y="231596"/>
                </a:cubicBezTo>
                <a:cubicBezTo>
                  <a:pt x="253516" y="249424"/>
                  <a:pt x="238382" y="264755"/>
                  <a:pt x="220006" y="264755"/>
                </a:cubicBezTo>
                <a:cubicBezTo>
                  <a:pt x="203071" y="264755"/>
                  <a:pt x="189018" y="251920"/>
                  <a:pt x="186856" y="236231"/>
                </a:cubicBezTo>
                <a:lnTo>
                  <a:pt x="101821" y="236231"/>
                </a:lnTo>
                <a:cubicBezTo>
                  <a:pt x="99659" y="251920"/>
                  <a:pt x="85606" y="264755"/>
                  <a:pt x="68311" y="264755"/>
                </a:cubicBezTo>
                <a:cubicBezTo>
                  <a:pt x="49934" y="264755"/>
                  <a:pt x="34801" y="249424"/>
                  <a:pt x="34801" y="231596"/>
                </a:cubicBezTo>
                <a:cubicBezTo>
                  <a:pt x="34801" y="213412"/>
                  <a:pt x="49934" y="198437"/>
                  <a:pt x="68311" y="198437"/>
                </a:cubicBezTo>
                <a:close/>
                <a:moveTo>
                  <a:pt x="93659" y="145515"/>
                </a:moveTo>
                <a:lnTo>
                  <a:pt x="34143" y="148403"/>
                </a:lnTo>
                <a:lnTo>
                  <a:pt x="37750" y="158513"/>
                </a:lnTo>
                <a:cubicBezTo>
                  <a:pt x="40996" y="168624"/>
                  <a:pt x="50375" y="175123"/>
                  <a:pt x="61196" y="175123"/>
                </a:cubicBezTo>
                <a:lnTo>
                  <a:pt x="98709" y="175123"/>
                </a:lnTo>
                <a:lnTo>
                  <a:pt x="93659" y="145515"/>
                </a:lnTo>
                <a:close/>
                <a:moveTo>
                  <a:pt x="171211" y="141182"/>
                </a:moveTo>
                <a:lnTo>
                  <a:pt x="102677" y="144792"/>
                </a:lnTo>
                <a:lnTo>
                  <a:pt x="107727" y="175123"/>
                </a:lnTo>
                <a:lnTo>
                  <a:pt x="174457" y="175123"/>
                </a:lnTo>
                <a:lnTo>
                  <a:pt x="171211" y="141182"/>
                </a:lnTo>
                <a:close/>
                <a:moveTo>
                  <a:pt x="245156" y="137571"/>
                </a:moveTo>
                <a:lnTo>
                  <a:pt x="180229" y="140821"/>
                </a:lnTo>
                <a:lnTo>
                  <a:pt x="183475" y="175123"/>
                </a:lnTo>
                <a:lnTo>
                  <a:pt x="220267" y="175123"/>
                </a:lnTo>
                <a:cubicBezTo>
                  <a:pt x="233613" y="175123"/>
                  <a:pt x="245156" y="164291"/>
                  <a:pt x="245156" y="150570"/>
                </a:cubicBezTo>
                <a:lnTo>
                  <a:pt x="245156" y="137571"/>
                </a:lnTo>
                <a:close/>
                <a:moveTo>
                  <a:pt x="87167" y="106157"/>
                </a:moveTo>
                <a:lnTo>
                  <a:pt x="21879" y="112656"/>
                </a:lnTo>
                <a:lnTo>
                  <a:pt x="31257" y="139737"/>
                </a:lnTo>
                <a:lnTo>
                  <a:pt x="92577" y="136849"/>
                </a:lnTo>
                <a:lnTo>
                  <a:pt x="87167" y="106157"/>
                </a:lnTo>
                <a:close/>
                <a:moveTo>
                  <a:pt x="167604" y="98213"/>
                </a:moveTo>
                <a:lnTo>
                  <a:pt x="96184" y="105435"/>
                </a:lnTo>
                <a:lnTo>
                  <a:pt x="101234" y="136127"/>
                </a:lnTo>
                <a:lnTo>
                  <a:pt x="170850" y="132877"/>
                </a:lnTo>
                <a:lnTo>
                  <a:pt x="167604" y="98213"/>
                </a:lnTo>
                <a:close/>
                <a:moveTo>
                  <a:pt x="245156" y="90992"/>
                </a:moveTo>
                <a:lnTo>
                  <a:pt x="176261" y="97491"/>
                </a:lnTo>
                <a:lnTo>
                  <a:pt x="179507" y="131794"/>
                </a:lnTo>
                <a:lnTo>
                  <a:pt x="245156" y="128544"/>
                </a:lnTo>
                <a:lnTo>
                  <a:pt x="245156" y="90992"/>
                </a:lnTo>
                <a:close/>
                <a:moveTo>
                  <a:pt x="81035" y="68244"/>
                </a:moveTo>
                <a:lnTo>
                  <a:pt x="9976" y="77993"/>
                </a:lnTo>
                <a:lnTo>
                  <a:pt x="18993" y="103991"/>
                </a:lnTo>
                <a:lnTo>
                  <a:pt x="85724" y="97491"/>
                </a:lnTo>
                <a:lnTo>
                  <a:pt x="81035" y="68244"/>
                </a:lnTo>
                <a:close/>
                <a:moveTo>
                  <a:pt x="163636" y="56328"/>
                </a:moveTo>
                <a:lnTo>
                  <a:pt x="89692" y="66799"/>
                </a:lnTo>
                <a:lnTo>
                  <a:pt x="94741" y="96769"/>
                </a:lnTo>
                <a:lnTo>
                  <a:pt x="166883" y="89909"/>
                </a:lnTo>
                <a:lnTo>
                  <a:pt x="163636" y="56328"/>
                </a:lnTo>
                <a:close/>
                <a:moveTo>
                  <a:pt x="245156" y="44413"/>
                </a:moveTo>
                <a:lnTo>
                  <a:pt x="172293" y="55245"/>
                </a:lnTo>
                <a:lnTo>
                  <a:pt x="175539" y="88825"/>
                </a:lnTo>
                <a:lnTo>
                  <a:pt x="245156" y="81965"/>
                </a:lnTo>
                <a:lnTo>
                  <a:pt x="245156" y="44413"/>
                </a:lnTo>
                <a:close/>
                <a:moveTo>
                  <a:pt x="284473" y="0"/>
                </a:moveTo>
                <a:cubicBezTo>
                  <a:pt x="286637" y="0"/>
                  <a:pt x="288440" y="1805"/>
                  <a:pt x="288440" y="4333"/>
                </a:cubicBezTo>
                <a:cubicBezTo>
                  <a:pt x="288440" y="6860"/>
                  <a:pt x="286637" y="9027"/>
                  <a:pt x="284473" y="9027"/>
                </a:cubicBezTo>
                <a:cubicBezTo>
                  <a:pt x="267519" y="9027"/>
                  <a:pt x="253813" y="22748"/>
                  <a:pt x="253813" y="39719"/>
                </a:cubicBezTo>
                <a:lnTo>
                  <a:pt x="253813" y="150570"/>
                </a:lnTo>
                <a:cubicBezTo>
                  <a:pt x="253813" y="168985"/>
                  <a:pt x="238663" y="183789"/>
                  <a:pt x="220267" y="183789"/>
                </a:cubicBezTo>
                <a:lnTo>
                  <a:pt x="61196" y="183789"/>
                </a:lnTo>
                <a:cubicBezTo>
                  <a:pt x="46768" y="183789"/>
                  <a:pt x="34143" y="175123"/>
                  <a:pt x="29814" y="161402"/>
                </a:cubicBezTo>
                <a:lnTo>
                  <a:pt x="237" y="75826"/>
                </a:lnTo>
                <a:cubicBezTo>
                  <a:pt x="-124" y="74743"/>
                  <a:pt x="-124" y="72938"/>
                  <a:pt x="597" y="72216"/>
                </a:cubicBezTo>
                <a:cubicBezTo>
                  <a:pt x="958" y="71132"/>
                  <a:pt x="2401" y="70049"/>
                  <a:pt x="3483" y="70049"/>
                </a:cubicBezTo>
                <a:lnTo>
                  <a:pt x="245156" y="35386"/>
                </a:lnTo>
                <a:cubicBezTo>
                  <a:pt x="247320" y="15526"/>
                  <a:pt x="263912" y="0"/>
                  <a:pt x="284473" y="0"/>
                </a:cubicBezTo>
                <a:close/>
              </a:path>
            </a:pathLst>
          </a:custGeom>
          <a:solidFill>
            <a:srgbClr val="1A171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en-US" sz="900" dirty="0"/>
          </a:p>
        </p:txBody>
      </p:sp>
      <p:sp>
        <p:nvSpPr>
          <p:cNvPr id="36" name="Freeform 957">
            <a:extLst>
              <a:ext uri="{FF2B5EF4-FFF2-40B4-BE49-F238E27FC236}">
                <a16:creationId xmlns:a16="http://schemas.microsoft.com/office/drawing/2014/main" id="{E17E8653-8546-2346-BB3B-95F659BDAC6F}"/>
              </a:ext>
            </a:extLst>
          </p:cNvPr>
          <p:cNvSpPr>
            <a:spLocks noChangeAspect="1" noChangeArrowheads="1"/>
          </p:cNvSpPr>
          <p:nvPr/>
        </p:nvSpPr>
        <p:spPr bwMode="auto">
          <a:xfrm>
            <a:off x="3992207" y="5569580"/>
            <a:ext cx="445519" cy="408799"/>
          </a:xfrm>
          <a:custGeom>
            <a:avLst/>
            <a:gdLst>
              <a:gd name="T0" fmla="*/ 226436 w 288440"/>
              <a:gd name="T1" fmla="*/ 234255 h 264755"/>
              <a:gd name="T2" fmla="*/ 217231 w 288440"/>
              <a:gd name="T3" fmla="*/ 234255 h 264755"/>
              <a:gd name="T4" fmla="*/ 69828 w 288440"/>
              <a:gd name="T5" fmla="*/ 229835 h 264755"/>
              <a:gd name="T6" fmla="*/ 69828 w 288440"/>
              <a:gd name="T7" fmla="*/ 239044 h 264755"/>
              <a:gd name="T8" fmla="*/ 69828 w 288440"/>
              <a:gd name="T9" fmla="*/ 229835 h 264755"/>
              <a:gd name="T10" fmla="*/ 196460 w 288440"/>
              <a:gd name="T11" fmla="*/ 232848 h 264755"/>
              <a:gd name="T12" fmla="*/ 246519 w 288440"/>
              <a:gd name="T13" fmla="*/ 232848 h 264755"/>
              <a:gd name="T14" fmla="*/ 68771 w 288440"/>
              <a:gd name="T15" fmla="*/ 208472 h 264755"/>
              <a:gd name="T16" fmla="*/ 68771 w 288440"/>
              <a:gd name="T17" fmla="*/ 257582 h 264755"/>
              <a:gd name="T18" fmla="*/ 68771 w 288440"/>
              <a:gd name="T19" fmla="*/ 208472 h 264755"/>
              <a:gd name="T20" fmla="*/ 102507 w 288440"/>
              <a:gd name="T21" fmla="*/ 228547 h 264755"/>
              <a:gd name="T22" fmla="*/ 221490 w 288440"/>
              <a:gd name="T23" fmla="*/ 199510 h 264755"/>
              <a:gd name="T24" fmla="*/ 221490 w 288440"/>
              <a:gd name="T25" fmla="*/ 266185 h 264755"/>
              <a:gd name="T26" fmla="*/ 102507 w 288440"/>
              <a:gd name="T27" fmla="*/ 237508 h 264755"/>
              <a:gd name="T28" fmla="*/ 35037 w 288440"/>
              <a:gd name="T29" fmla="*/ 232848 h 264755"/>
              <a:gd name="T30" fmla="*/ 94290 w 288440"/>
              <a:gd name="T31" fmla="*/ 146301 h 264755"/>
              <a:gd name="T32" fmla="*/ 38005 w 288440"/>
              <a:gd name="T33" fmla="*/ 159370 h 264755"/>
              <a:gd name="T34" fmla="*/ 99375 w 288440"/>
              <a:gd name="T35" fmla="*/ 176069 h 264755"/>
              <a:gd name="T36" fmla="*/ 172365 w 288440"/>
              <a:gd name="T37" fmla="*/ 141945 h 264755"/>
              <a:gd name="T38" fmla="*/ 108453 w 288440"/>
              <a:gd name="T39" fmla="*/ 176069 h 264755"/>
              <a:gd name="T40" fmla="*/ 172365 w 288440"/>
              <a:gd name="T41" fmla="*/ 141945 h 264755"/>
              <a:gd name="T42" fmla="*/ 181445 w 288440"/>
              <a:gd name="T43" fmla="*/ 141582 h 264755"/>
              <a:gd name="T44" fmla="*/ 221752 w 288440"/>
              <a:gd name="T45" fmla="*/ 176069 h 264755"/>
              <a:gd name="T46" fmla="*/ 246809 w 288440"/>
              <a:gd name="T47" fmla="*/ 138315 h 264755"/>
              <a:gd name="T48" fmla="*/ 22027 w 288440"/>
              <a:gd name="T49" fmla="*/ 113265 h 264755"/>
              <a:gd name="T50" fmla="*/ 93201 w 288440"/>
              <a:gd name="T51" fmla="*/ 137589 h 264755"/>
              <a:gd name="T52" fmla="*/ 168734 w 288440"/>
              <a:gd name="T53" fmla="*/ 98744 h 264755"/>
              <a:gd name="T54" fmla="*/ 101917 w 288440"/>
              <a:gd name="T55" fmla="*/ 136863 h 264755"/>
              <a:gd name="T56" fmla="*/ 168734 w 288440"/>
              <a:gd name="T57" fmla="*/ 98744 h 264755"/>
              <a:gd name="T58" fmla="*/ 177449 w 288440"/>
              <a:gd name="T59" fmla="*/ 98018 h 264755"/>
              <a:gd name="T60" fmla="*/ 246809 w 288440"/>
              <a:gd name="T61" fmla="*/ 129239 h 264755"/>
              <a:gd name="T62" fmla="*/ 81581 w 288440"/>
              <a:gd name="T63" fmla="*/ 68612 h 264755"/>
              <a:gd name="T64" fmla="*/ 19121 w 288440"/>
              <a:gd name="T65" fmla="*/ 104553 h 264755"/>
              <a:gd name="T66" fmla="*/ 81581 w 288440"/>
              <a:gd name="T67" fmla="*/ 68612 h 264755"/>
              <a:gd name="T68" fmla="*/ 90297 w 288440"/>
              <a:gd name="T69" fmla="*/ 67159 h 264755"/>
              <a:gd name="T70" fmla="*/ 168009 w 288440"/>
              <a:gd name="T71" fmla="*/ 90395 h 264755"/>
              <a:gd name="T72" fmla="*/ 246809 w 288440"/>
              <a:gd name="T73" fmla="*/ 44653 h 264755"/>
              <a:gd name="T74" fmla="*/ 176723 w 288440"/>
              <a:gd name="T75" fmla="*/ 89305 h 264755"/>
              <a:gd name="T76" fmla="*/ 246809 w 288440"/>
              <a:gd name="T77" fmla="*/ 44653 h 264755"/>
              <a:gd name="T78" fmla="*/ 290385 w 288440"/>
              <a:gd name="T79" fmla="*/ 4357 h 264755"/>
              <a:gd name="T80" fmla="*/ 255524 w 288440"/>
              <a:gd name="T81" fmla="*/ 39935 h 264755"/>
              <a:gd name="T82" fmla="*/ 221752 w 288440"/>
              <a:gd name="T83" fmla="*/ 184782 h 264755"/>
              <a:gd name="T84" fmla="*/ 30014 w 288440"/>
              <a:gd name="T85" fmla="*/ 162275 h 264755"/>
              <a:gd name="T86" fmla="*/ 601 w 288440"/>
              <a:gd name="T87" fmla="*/ 72607 h 264755"/>
              <a:gd name="T88" fmla="*/ 246809 w 288440"/>
              <a:gd name="T89" fmla="*/ 35578 h 26475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88440" h="264755">
                <a:moveTo>
                  <a:pt x="220348" y="228600"/>
                </a:moveTo>
                <a:cubicBezTo>
                  <a:pt x="223015" y="228600"/>
                  <a:pt x="224920" y="230432"/>
                  <a:pt x="224920" y="232996"/>
                </a:cubicBezTo>
                <a:cubicBezTo>
                  <a:pt x="224920" y="235561"/>
                  <a:pt x="223015" y="237759"/>
                  <a:pt x="220348" y="237759"/>
                </a:cubicBezTo>
                <a:cubicBezTo>
                  <a:pt x="217681" y="237759"/>
                  <a:pt x="215776" y="235561"/>
                  <a:pt x="215776" y="232996"/>
                </a:cubicBezTo>
                <a:cubicBezTo>
                  <a:pt x="215776" y="230432"/>
                  <a:pt x="217681" y="228600"/>
                  <a:pt x="220348" y="228600"/>
                </a:cubicBezTo>
                <a:close/>
                <a:moveTo>
                  <a:pt x="69360" y="228600"/>
                </a:moveTo>
                <a:cubicBezTo>
                  <a:pt x="71925" y="228600"/>
                  <a:pt x="74123" y="230432"/>
                  <a:pt x="74123" y="232996"/>
                </a:cubicBezTo>
                <a:cubicBezTo>
                  <a:pt x="74123" y="235561"/>
                  <a:pt x="71925" y="237759"/>
                  <a:pt x="69360" y="237759"/>
                </a:cubicBezTo>
                <a:cubicBezTo>
                  <a:pt x="66796" y="237759"/>
                  <a:pt x="64964" y="235561"/>
                  <a:pt x="64964" y="232996"/>
                </a:cubicBezTo>
                <a:cubicBezTo>
                  <a:pt x="64964" y="230432"/>
                  <a:pt x="66796" y="228600"/>
                  <a:pt x="69360" y="228600"/>
                </a:cubicBezTo>
                <a:close/>
                <a:moveTo>
                  <a:pt x="220006" y="207351"/>
                </a:moveTo>
                <a:cubicBezTo>
                  <a:pt x="206314" y="207351"/>
                  <a:pt x="195144" y="218047"/>
                  <a:pt x="195144" y="231596"/>
                </a:cubicBezTo>
                <a:cubicBezTo>
                  <a:pt x="195144" y="245145"/>
                  <a:pt x="206314" y="256198"/>
                  <a:pt x="220006" y="256198"/>
                </a:cubicBezTo>
                <a:cubicBezTo>
                  <a:pt x="233338" y="256198"/>
                  <a:pt x="244868" y="245145"/>
                  <a:pt x="244868" y="231596"/>
                </a:cubicBezTo>
                <a:cubicBezTo>
                  <a:pt x="244868" y="218047"/>
                  <a:pt x="233338" y="207351"/>
                  <a:pt x="220006" y="207351"/>
                </a:cubicBezTo>
                <a:close/>
                <a:moveTo>
                  <a:pt x="68311" y="207351"/>
                </a:moveTo>
                <a:cubicBezTo>
                  <a:pt x="54979" y="207351"/>
                  <a:pt x="43809" y="218047"/>
                  <a:pt x="43809" y="231596"/>
                </a:cubicBezTo>
                <a:cubicBezTo>
                  <a:pt x="43809" y="245145"/>
                  <a:pt x="54979" y="256198"/>
                  <a:pt x="68311" y="256198"/>
                </a:cubicBezTo>
                <a:cubicBezTo>
                  <a:pt x="82363" y="256198"/>
                  <a:pt x="93173" y="245145"/>
                  <a:pt x="93173" y="231596"/>
                </a:cubicBezTo>
                <a:cubicBezTo>
                  <a:pt x="93173" y="218047"/>
                  <a:pt x="82363" y="207351"/>
                  <a:pt x="68311" y="207351"/>
                </a:cubicBezTo>
                <a:close/>
                <a:moveTo>
                  <a:pt x="68311" y="198437"/>
                </a:moveTo>
                <a:cubicBezTo>
                  <a:pt x="85606" y="198437"/>
                  <a:pt x="99659" y="210916"/>
                  <a:pt x="101821" y="227318"/>
                </a:cubicBezTo>
                <a:lnTo>
                  <a:pt x="186856" y="227318"/>
                </a:lnTo>
                <a:cubicBezTo>
                  <a:pt x="189018" y="210916"/>
                  <a:pt x="203071" y="198437"/>
                  <a:pt x="220006" y="198437"/>
                </a:cubicBezTo>
                <a:cubicBezTo>
                  <a:pt x="238382" y="198437"/>
                  <a:pt x="253516" y="213412"/>
                  <a:pt x="253516" y="231596"/>
                </a:cubicBezTo>
                <a:cubicBezTo>
                  <a:pt x="253516" y="249424"/>
                  <a:pt x="238382" y="264755"/>
                  <a:pt x="220006" y="264755"/>
                </a:cubicBezTo>
                <a:cubicBezTo>
                  <a:pt x="203071" y="264755"/>
                  <a:pt x="189018" y="251920"/>
                  <a:pt x="186856" y="236231"/>
                </a:cubicBezTo>
                <a:lnTo>
                  <a:pt x="101821" y="236231"/>
                </a:lnTo>
                <a:cubicBezTo>
                  <a:pt x="99659" y="251920"/>
                  <a:pt x="85606" y="264755"/>
                  <a:pt x="68311" y="264755"/>
                </a:cubicBezTo>
                <a:cubicBezTo>
                  <a:pt x="49934" y="264755"/>
                  <a:pt x="34801" y="249424"/>
                  <a:pt x="34801" y="231596"/>
                </a:cubicBezTo>
                <a:cubicBezTo>
                  <a:pt x="34801" y="213412"/>
                  <a:pt x="49934" y="198437"/>
                  <a:pt x="68311" y="198437"/>
                </a:cubicBezTo>
                <a:close/>
                <a:moveTo>
                  <a:pt x="93659" y="145515"/>
                </a:moveTo>
                <a:lnTo>
                  <a:pt x="34143" y="148403"/>
                </a:lnTo>
                <a:lnTo>
                  <a:pt x="37750" y="158513"/>
                </a:lnTo>
                <a:cubicBezTo>
                  <a:pt x="40996" y="168624"/>
                  <a:pt x="50375" y="175123"/>
                  <a:pt x="61196" y="175123"/>
                </a:cubicBezTo>
                <a:lnTo>
                  <a:pt x="98709" y="175123"/>
                </a:lnTo>
                <a:lnTo>
                  <a:pt x="93659" y="145515"/>
                </a:lnTo>
                <a:close/>
                <a:moveTo>
                  <a:pt x="171211" y="141182"/>
                </a:moveTo>
                <a:lnTo>
                  <a:pt x="102677" y="144792"/>
                </a:lnTo>
                <a:lnTo>
                  <a:pt x="107727" y="175123"/>
                </a:lnTo>
                <a:lnTo>
                  <a:pt x="174457" y="175123"/>
                </a:lnTo>
                <a:lnTo>
                  <a:pt x="171211" y="141182"/>
                </a:lnTo>
                <a:close/>
                <a:moveTo>
                  <a:pt x="245156" y="137571"/>
                </a:moveTo>
                <a:lnTo>
                  <a:pt x="180229" y="140821"/>
                </a:lnTo>
                <a:lnTo>
                  <a:pt x="183475" y="175123"/>
                </a:lnTo>
                <a:lnTo>
                  <a:pt x="220267" y="175123"/>
                </a:lnTo>
                <a:cubicBezTo>
                  <a:pt x="233613" y="175123"/>
                  <a:pt x="245156" y="164291"/>
                  <a:pt x="245156" y="150570"/>
                </a:cubicBezTo>
                <a:lnTo>
                  <a:pt x="245156" y="137571"/>
                </a:lnTo>
                <a:close/>
                <a:moveTo>
                  <a:pt x="87167" y="106157"/>
                </a:moveTo>
                <a:lnTo>
                  <a:pt x="21879" y="112656"/>
                </a:lnTo>
                <a:lnTo>
                  <a:pt x="31257" y="139737"/>
                </a:lnTo>
                <a:lnTo>
                  <a:pt x="92577" y="136849"/>
                </a:lnTo>
                <a:lnTo>
                  <a:pt x="87167" y="106157"/>
                </a:lnTo>
                <a:close/>
                <a:moveTo>
                  <a:pt x="167604" y="98213"/>
                </a:moveTo>
                <a:lnTo>
                  <a:pt x="96184" y="105435"/>
                </a:lnTo>
                <a:lnTo>
                  <a:pt x="101234" y="136127"/>
                </a:lnTo>
                <a:lnTo>
                  <a:pt x="170850" y="132877"/>
                </a:lnTo>
                <a:lnTo>
                  <a:pt x="167604" y="98213"/>
                </a:lnTo>
                <a:close/>
                <a:moveTo>
                  <a:pt x="245156" y="90992"/>
                </a:moveTo>
                <a:lnTo>
                  <a:pt x="176261" y="97491"/>
                </a:lnTo>
                <a:lnTo>
                  <a:pt x="179507" y="131794"/>
                </a:lnTo>
                <a:lnTo>
                  <a:pt x="245156" y="128544"/>
                </a:lnTo>
                <a:lnTo>
                  <a:pt x="245156" y="90992"/>
                </a:lnTo>
                <a:close/>
                <a:moveTo>
                  <a:pt x="81035" y="68244"/>
                </a:moveTo>
                <a:lnTo>
                  <a:pt x="9976" y="77993"/>
                </a:lnTo>
                <a:lnTo>
                  <a:pt x="18993" y="103991"/>
                </a:lnTo>
                <a:lnTo>
                  <a:pt x="85724" y="97491"/>
                </a:lnTo>
                <a:lnTo>
                  <a:pt x="81035" y="68244"/>
                </a:lnTo>
                <a:close/>
                <a:moveTo>
                  <a:pt x="163636" y="56328"/>
                </a:moveTo>
                <a:lnTo>
                  <a:pt x="89692" y="66799"/>
                </a:lnTo>
                <a:lnTo>
                  <a:pt x="94741" y="96769"/>
                </a:lnTo>
                <a:lnTo>
                  <a:pt x="166883" y="89909"/>
                </a:lnTo>
                <a:lnTo>
                  <a:pt x="163636" y="56328"/>
                </a:lnTo>
                <a:close/>
                <a:moveTo>
                  <a:pt x="245156" y="44413"/>
                </a:moveTo>
                <a:lnTo>
                  <a:pt x="172293" y="55245"/>
                </a:lnTo>
                <a:lnTo>
                  <a:pt x="175539" y="88825"/>
                </a:lnTo>
                <a:lnTo>
                  <a:pt x="245156" y="81965"/>
                </a:lnTo>
                <a:lnTo>
                  <a:pt x="245156" y="44413"/>
                </a:lnTo>
                <a:close/>
                <a:moveTo>
                  <a:pt x="284473" y="0"/>
                </a:moveTo>
                <a:cubicBezTo>
                  <a:pt x="286637" y="0"/>
                  <a:pt x="288440" y="1805"/>
                  <a:pt x="288440" y="4333"/>
                </a:cubicBezTo>
                <a:cubicBezTo>
                  <a:pt x="288440" y="6860"/>
                  <a:pt x="286637" y="9027"/>
                  <a:pt x="284473" y="9027"/>
                </a:cubicBezTo>
                <a:cubicBezTo>
                  <a:pt x="267519" y="9027"/>
                  <a:pt x="253813" y="22748"/>
                  <a:pt x="253813" y="39719"/>
                </a:cubicBezTo>
                <a:lnTo>
                  <a:pt x="253813" y="150570"/>
                </a:lnTo>
                <a:cubicBezTo>
                  <a:pt x="253813" y="168985"/>
                  <a:pt x="238663" y="183789"/>
                  <a:pt x="220267" y="183789"/>
                </a:cubicBezTo>
                <a:lnTo>
                  <a:pt x="61196" y="183789"/>
                </a:lnTo>
                <a:cubicBezTo>
                  <a:pt x="46768" y="183789"/>
                  <a:pt x="34143" y="175123"/>
                  <a:pt x="29814" y="161402"/>
                </a:cubicBezTo>
                <a:lnTo>
                  <a:pt x="237" y="75826"/>
                </a:lnTo>
                <a:cubicBezTo>
                  <a:pt x="-124" y="74743"/>
                  <a:pt x="-124" y="72938"/>
                  <a:pt x="597" y="72216"/>
                </a:cubicBezTo>
                <a:cubicBezTo>
                  <a:pt x="958" y="71132"/>
                  <a:pt x="2401" y="70049"/>
                  <a:pt x="3483" y="70049"/>
                </a:cubicBezTo>
                <a:lnTo>
                  <a:pt x="245156" y="35386"/>
                </a:lnTo>
                <a:cubicBezTo>
                  <a:pt x="247320" y="15526"/>
                  <a:pt x="263912" y="0"/>
                  <a:pt x="284473" y="0"/>
                </a:cubicBezTo>
                <a:close/>
              </a:path>
            </a:pathLst>
          </a:custGeom>
          <a:solidFill>
            <a:srgbClr val="1A171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en-US" sz="900" dirty="0"/>
          </a:p>
        </p:txBody>
      </p:sp>
      <p:sp>
        <p:nvSpPr>
          <p:cNvPr id="37" name="Freeform 957">
            <a:extLst>
              <a:ext uri="{FF2B5EF4-FFF2-40B4-BE49-F238E27FC236}">
                <a16:creationId xmlns:a16="http://schemas.microsoft.com/office/drawing/2014/main" id="{200E580C-1A5B-D248-9430-F25D3A35E3E6}"/>
              </a:ext>
            </a:extLst>
          </p:cNvPr>
          <p:cNvSpPr>
            <a:spLocks noChangeAspect="1" noChangeArrowheads="1"/>
          </p:cNvSpPr>
          <p:nvPr/>
        </p:nvSpPr>
        <p:spPr bwMode="auto">
          <a:xfrm>
            <a:off x="4485273" y="5569580"/>
            <a:ext cx="445519" cy="408799"/>
          </a:xfrm>
          <a:custGeom>
            <a:avLst/>
            <a:gdLst>
              <a:gd name="T0" fmla="*/ 226436 w 288440"/>
              <a:gd name="T1" fmla="*/ 234255 h 264755"/>
              <a:gd name="T2" fmla="*/ 217231 w 288440"/>
              <a:gd name="T3" fmla="*/ 234255 h 264755"/>
              <a:gd name="T4" fmla="*/ 69828 w 288440"/>
              <a:gd name="T5" fmla="*/ 229835 h 264755"/>
              <a:gd name="T6" fmla="*/ 69828 w 288440"/>
              <a:gd name="T7" fmla="*/ 239044 h 264755"/>
              <a:gd name="T8" fmla="*/ 69828 w 288440"/>
              <a:gd name="T9" fmla="*/ 229835 h 264755"/>
              <a:gd name="T10" fmla="*/ 196460 w 288440"/>
              <a:gd name="T11" fmla="*/ 232848 h 264755"/>
              <a:gd name="T12" fmla="*/ 246519 w 288440"/>
              <a:gd name="T13" fmla="*/ 232848 h 264755"/>
              <a:gd name="T14" fmla="*/ 68771 w 288440"/>
              <a:gd name="T15" fmla="*/ 208472 h 264755"/>
              <a:gd name="T16" fmla="*/ 68771 w 288440"/>
              <a:gd name="T17" fmla="*/ 257582 h 264755"/>
              <a:gd name="T18" fmla="*/ 68771 w 288440"/>
              <a:gd name="T19" fmla="*/ 208472 h 264755"/>
              <a:gd name="T20" fmla="*/ 102507 w 288440"/>
              <a:gd name="T21" fmla="*/ 228547 h 264755"/>
              <a:gd name="T22" fmla="*/ 221490 w 288440"/>
              <a:gd name="T23" fmla="*/ 199510 h 264755"/>
              <a:gd name="T24" fmla="*/ 221490 w 288440"/>
              <a:gd name="T25" fmla="*/ 266185 h 264755"/>
              <a:gd name="T26" fmla="*/ 102507 w 288440"/>
              <a:gd name="T27" fmla="*/ 237508 h 264755"/>
              <a:gd name="T28" fmla="*/ 35037 w 288440"/>
              <a:gd name="T29" fmla="*/ 232848 h 264755"/>
              <a:gd name="T30" fmla="*/ 94290 w 288440"/>
              <a:gd name="T31" fmla="*/ 146301 h 264755"/>
              <a:gd name="T32" fmla="*/ 38005 w 288440"/>
              <a:gd name="T33" fmla="*/ 159370 h 264755"/>
              <a:gd name="T34" fmla="*/ 99375 w 288440"/>
              <a:gd name="T35" fmla="*/ 176069 h 264755"/>
              <a:gd name="T36" fmla="*/ 172365 w 288440"/>
              <a:gd name="T37" fmla="*/ 141945 h 264755"/>
              <a:gd name="T38" fmla="*/ 108453 w 288440"/>
              <a:gd name="T39" fmla="*/ 176069 h 264755"/>
              <a:gd name="T40" fmla="*/ 172365 w 288440"/>
              <a:gd name="T41" fmla="*/ 141945 h 264755"/>
              <a:gd name="T42" fmla="*/ 181445 w 288440"/>
              <a:gd name="T43" fmla="*/ 141582 h 264755"/>
              <a:gd name="T44" fmla="*/ 221752 w 288440"/>
              <a:gd name="T45" fmla="*/ 176069 h 264755"/>
              <a:gd name="T46" fmla="*/ 246809 w 288440"/>
              <a:gd name="T47" fmla="*/ 138315 h 264755"/>
              <a:gd name="T48" fmla="*/ 22027 w 288440"/>
              <a:gd name="T49" fmla="*/ 113265 h 264755"/>
              <a:gd name="T50" fmla="*/ 93201 w 288440"/>
              <a:gd name="T51" fmla="*/ 137589 h 264755"/>
              <a:gd name="T52" fmla="*/ 168734 w 288440"/>
              <a:gd name="T53" fmla="*/ 98744 h 264755"/>
              <a:gd name="T54" fmla="*/ 101917 w 288440"/>
              <a:gd name="T55" fmla="*/ 136863 h 264755"/>
              <a:gd name="T56" fmla="*/ 168734 w 288440"/>
              <a:gd name="T57" fmla="*/ 98744 h 264755"/>
              <a:gd name="T58" fmla="*/ 177449 w 288440"/>
              <a:gd name="T59" fmla="*/ 98018 h 264755"/>
              <a:gd name="T60" fmla="*/ 246809 w 288440"/>
              <a:gd name="T61" fmla="*/ 129239 h 264755"/>
              <a:gd name="T62" fmla="*/ 81581 w 288440"/>
              <a:gd name="T63" fmla="*/ 68612 h 264755"/>
              <a:gd name="T64" fmla="*/ 19121 w 288440"/>
              <a:gd name="T65" fmla="*/ 104553 h 264755"/>
              <a:gd name="T66" fmla="*/ 81581 w 288440"/>
              <a:gd name="T67" fmla="*/ 68612 h 264755"/>
              <a:gd name="T68" fmla="*/ 90297 w 288440"/>
              <a:gd name="T69" fmla="*/ 67159 h 264755"/>
              <a:gd name="T70" fmla="*/ 168009 w 288440"/>
              <a:gd name="T71" fmla="*/ 90395 h 264755"/>
              <a:gd name="T72" fmla="*/ 246809 w 288440"/>
              <a:gd name="T73" fmla="*/ 44653 h 264755"/>
              <a:gd name="T74" fmla="*/ 176723 w 288440"/>
              <a:gd name="T75" fmla="*/ 89305 h 264755"/>
              <a:gd name="T76" fmla="*/ 246809 w 288440"/>
              <a:gd name="T77" fmla="*/ 44653 h 264755"/>
              <a:gd name="T78" fmla="*/ 290385 w 288440"/>
              <a:gd name="T79" fmla="*/ 4357 h 264755"/>
              <a:gd name="T80" fmla="*/ 255524 w 288440"/>
              <a:gd name="T81" fmla="*/ 39935 h 264755"/>
              <a:gd name="T82" fmla="*/ 221752 w 288440"/>
              <a:gd name="T83" fmla="*/ 184782 h 264755"/>
              <a:gd name="T84" fmla="*/ 30014 w 288440"/>
              <a:gd name="T85" fmla="*/ 162275 h 264755"/>
              <a:gd name="T86" fmla="*/ 601 w 288440"/>
              <a:gd name="T87" fmla="*/ 72607 h 264755"/>
              <a:gd name="T88" fmla="*/ 246809 w 288440"/>
              <a:gd name="T89" fmla="*/ 35578 h 26475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88440" h="264755">
                <a:moveTo>
                  <a:pt x="220348" y="228600"/>
                </a:moveTo>
                <a:cubicBezTo>
                  <a:pt x="223015" y="228600"/>
                  <a:pt x="224920" y="230432"/>
                  <a:pt x="224920" y="232996"/>
                </a:cubicBezTo>
                <a:cubicBezTo>
                  <a:pt x="224920" y="235561"/>
                  <a:pt x="223015" y="237759"/>
                  <a:pt x="220348" y="237759"/>
                </a:cubicBezTo>
                <a:cubicBezTo>
                  <a:pt x="217681" y="237759"/>
                  <a:pt x="215776" y="235561"/>
                  <a:pt x="215776" y="232996"/>
                </a:cubicBezTo>
                <a:cubicBezTo>
                  <a:pt x="215776" y="230432"/>
                  <a:pt x="217681" y="228600"/>
                  <a:pt x="220348" y="228600"/>
                </a:cubicBezTo>
                <a:close/>
                <a:moveTo>
                  <a:pt x="69360" y="228600"/>
                </a:moveTo>
                <a:cubicBezTo>
                  <a:pt x="71925" y="228600"/>
                  <a:pt x="74123" y="230432"/>
                  <a:pt x="74123" y="232996"/>
                </a:cubicBezTo>
                <a:cubicBezTo>
                  <a:pt x="74123" y="235561"/>
                  <a:pt x="71925" y="237759"/>
                  <a:pt x="69360" y="237759"/>
                </a:cubicBezTo>
                <a:cubicBezTo>
                  <a:pt x="66796" y="237759"/>
                  <a:pt x="64964" y="235561"/>
                  <a:pt x="64964" y="232996"/>
                </a:cubicBezTo>
                <a:cubicBezTo>
                  <a:pt x="64964" y="230432"/>
                  <a:pt x="66796" y="228600"/>
                  <a:pt x="69360" y="228600"/>
                </a:cubicBezTo>
                <a:close/>
                <a:moveTo>
                  <a:pt x="220006" y="207351"/>
                </a:moveTo>
                <a:cubicBezTo>
                  <a:pt x="206314" y="207351"/>
                  <a:pt x="195144" y="218047"/>
                  <a:pt x="195144" y="231596"/>
                </a:cubicBezTo>
                <a:cubicBezTo>
                  <a:pt x="195144" y="245145"/>
                  <a:pt x="206314" y="256198"/>
                  <a:pt x="220006" y="256198"/>
                </a:cubicBezTo>
                <a:cubicBezTo>
                  <a:pt x="233338" y="256198"/>
                  <a:pt x="244868" y="245145"/>
                  <a:pt x="244868" y="231596"/>
                </a:cubicBezTo>
                <a:cubicBezTo>
                  <a:pt x="244868" y="218047"/>
                  <a:pt x="233338" y="207351"/>
                  <a:pt x="220006" y="207351"/>
                </a:cubicBezTo>
                <a:close/>
                <a:moveTo>
                  <a:pt x="68311" y="207351"/>
                </a:moveTo>
                <a:cubicBezTo>
                  <a:pt x="54979" y="207351"/>
                  <a:pt x="43809" y="218047"/>
                  <a:pt x="43809" y="231596"/>
                </a:cubicBezTo>
                <a:cubicBezTo>
                  <a:pt x="43809" y="245145"/>
                  <a:pt x="54979" y="256198"/>
                  <a:pt x="68311" y="256198"/>
                </a:cubicBezTo>
                <a:cubicBezTo>
                  <a:pt x="82363" y="256198"/>
                  <a:pt x="93173" y="245145"/>
                  <a:pt x="93173" y="231596"/>
                </a:cubicBezTo>
                <a:cubicBezTo>
                  <a:pt x="93173" y="218047"/>
                  <a:pt x="82363" y="207351"/>
                  <a:pt x="68311" y="207351"/>
                </a:cubicBezTo>
                <a:close/>
                <a:moveTo>
                  <a:pt x="68311" y="198437"/>
                </a:moveTo>
                <a:cubicBezTo>
                  <a:pt x="85606" y="198437"/>
                  <a:pt x="99659" y="210916"/>
                  <a:pt x="101821" y="227318"/>
                </a:cubicBezTo>
                <a:lnTo>
                  <a:pt x="186856" y="227318"/>
                </a:lnTo>
                <a:cubicBezTo>
                  <a:pt x="189018" y="210916"/>
                  <a:pt x="203071" y="198437"/>
                  <a:pt x="220006" y="198437"/>
                </a:cubicBezTo>
                <a:cubicBezTo>
                  <a:pt x="238382" y="198437"/>
                  <a:pt x="253516" y="213412"/>
                  <a:pt x="253516" y="231596"/>
                </a:cubicBezTo>
                <a:cubicBezTo>
                  <a:pt x="253516" y="249424"/>
                  <a:pt x="238382" y="264755"/>
                  <a:pt x="220006" y="264755"/>
                </a:cubicBezTo>
                <a:cubicBezTo>
                  <a:pt x="203071" y="264755"/>
                  <a:pt x="189018" y="251920"/>
                  <a:pt x="186856" y="236231"/>
                </a:cubicBezTo>
                <a:lnTo>
                  <a:pt x="101821" y="236231"/>
                </a:lnTo>
                <a:cubicBezTo>
                  <a:pt x="99659" y="251920"/>
                  <a:pt x="85606" y="264755"/>
                  <a:pt x="68311" y="264755"/>
                </a:cubicBezTo>
                <a:cubicBezTo>
                  <a:pt x="49934" y="264755"/>
                  <a:pt x="34801" y="249424"/>
                  <a:pt x="34801" y="231596"/>
                </a:cubicBezTo>
                <a:cubicBezTo>
                  <a:pt x="34801" y="213412"/>
                  <a:pt x="49934" y="198437"/>
                  <a:pt x="68311" y="198437"/>
                </a:cubicBezTo>
                <a:close/>
                <a:moveTo>
                  <a:pt x="93659" y="145515"/>
                </a:moveTo>
                <a:lnTo>
                  <a:pt x="34143" y="148403"/>
                </a:lnTo>
                <a:lnTo>
                  <a:pt x="37750" y="158513"/>
                </a:lnTo>
                <a:cubicBezTo>
                  <a:pt x="40996" y="168624"/>
                  <a:pt x="50375" y="175123"/>
                  <a:pt x="61196" y="175123"/>
                </a:cubicBezTo>
                <a:lnTo>
                  <a:pt x="98709" y="175123"/>
                </a:lnTo>
                <a:lnTo>
                  <a:pt x="93659" y="145515"/>
                </a:lnTo>
                <a:close/>
                <a:moveTo>
                  <a:pt x="171211" y="141182"/>
                </a:moveTo>
                <a:lnTo>
                  <a:pt x="102677" y="144792"/>
                </a:lnTo>
                <a:lnTo>
                  <a:pt x="107727" y="175123"/>
                </a:lnTo>
                <a:lnTo>
                  <a:pt x="174457" y="175123"/>
                </a:lnTo>
                <a:lnTo>
                  <a:pt x="171211" y="141182"/>
                </a:lnTo>
                <a:close/>
                <a:moveTo>
                  <a:pt x="245156" y="137571"/>
                </a:moveTo>
                <a:lnTo>
                  <a:pt x="180229" y="140821"/>
                </a:lnTo>
                <a:lnTo>
                  <a:pt x="183475" y="175123"/>
                </a:lnTo>
                <a:lnTo>
                  <a:pt x="220267" y="175123"/>
                </a:lnTo>
                <a:cubicBezTo>
                  <a:pt x="233613" y="175123"/>
                  <a:pt x="245156" y="164291"/>
                  <a:pt x="245156" y="150570"/>
                </a:cubicBezTo>
                <a:lnTo>
                  <a:pt x="245156" y="137571"/>
                </a:lnTo>
                <a:close/>
                <a:moveTo>
                  <a:pt x="87167" y="106157"/>
                </a:moveTo>
                <a:lnTo>
                  <a:pt x="21879" y="112656"/>
                </a:lnTo>
                <a:lnTo>
                  <a:pt x="31257" y="139737"/>
                </a:lnTo>
                <a:lnTo>
                  <a:pt x="92577" y="136849"/>
                </a:lnTo>
                <a:lnTo>
                  <a:pt x="87167" y="106157"/>
                </a:lnTo>
                <a:close/>
                <a:moveTo>
                  <a:pt x="167604" y="98213"/>
                </a:moveTo>
                <a:lnTo>
                  <a:pt x="96184" y="105435"/>
                </a:lnTo>
                <a:lnTo>
                  <a:pt x="101234" y="136127"/>
                </a:lnTo>
                <a:lnTo>
                  <a:pt x="170850" y="132877"/>
                </a:lnTo>
                <a:lnTo>
                  <a:pt x="167604" y="98213"/>
                </a:lnTo>
                <a:close/>
                <a:moveTo>
                  <a:pt x="245156" y="90992"/>
                </a:moveTo>
                <a:lnTo>
                  <a:pt x="176261" y="97491"/>
                </a:lnTo>
                <a:lnTo>
                  <a:pt x="179507" y="131794"/>
                </a:lnTo>
                <a:lnTo>
                  <a:pt x="245156" y="128544"/>
                </a:lnTo>
                <a:lnTo>
                  <a:pt x="245156" y="90992"/>
                </a:lnTo>
                <a:close/>
                <a:moveTo>
                  <a:pt x="81035" y="68244"/>
                </a:moveTo>
                <a:lnTo>
                  <a:pt x="9976" y="77993"/>
                </a:lnTo>
                <a:lnTo>
                  <a:pt x="18993" y="103991"/>
                </a:lnTo>
                <a:lnTo>
                  <a:pt x="85724" y="97491"/>
                </a:lnTo>
                <a:lnTo>
                  <a:pt x="81035" y="68244"/>
                </a:lnTo>
                <a:close/>
                <a:moveTo>
                  <a:pt x="163636" y="56328"/>
                </a:moveTo>
                <a:lnTo>
                  <a:pt x="89692" y="66799"/>
                </a:lnTo>
                <a:lnTo>
                  <a:pt x="94741" y="96769"/>
                </a:lnTo>
                <a:lnTo>
                  <a:pt x="166883" y="89909"/>
                </a:lnTo>
                <a:lnTo>
                  <a:pt x="163636" y="56328"/>
                </a:lnTo>
                <a:close/>
                <a:moveTo>
                  <a:pt x="245156" y="44413"/>
                </a:moveTo>
                <a:lnTo>
                  <a:pt x="172293" y="55245"/>
                </a:lnTo>
                <a:lnTo>
                  <a:pt x="175539" y="88825"/>
                </a:lnTo>
                <a:lnTo>
                  <a:pt x="245156" y="81965"/>
                </a:lnTo>
                <a:lnTo>
                  <a:pt x="245156" y="44413"/>
                </a:lnTo>
                <a:close/>
                <a:moveTo>
                  <a:pt x="284473" y="0"/>
                </a:moveTo>
                <a:cubicBezTo>
                  <a:pt x="286637" y="0"/>
                  <a:pt x="288440" y="1805"/>
                  <a:pt x="288440" y="4333"/>
                </a:cubicBezTo>
                <a:cubicBezTo>
                  <a:pt x="288440" y="6860"/>
                  <a:pt x="286637" y="9027"/>
                  <a:pt x="284473" y="9027"/>
                </a:cubicBezTo>
                <a:cubicBezTo>
                  <a:pt x="267519" y="9027"/>
                  <a:pt x="253813" y="22748"/>
                  <a:pt x="253813" y="39719"/>
                </a:cubicBezTo>
                <a:lnTo>
                  <a:pt x="253813" y="150570"/>
                </a:lnTo>
                <a:cubicBezTo>
                  <a:pt x="253813" y="168985"/>
                  <a:pt x="238663" y="183789"/>
                  <a:pt x="220267" y="183789"/>
                </a:cubicBezTo>
                <a:lnTo>
                  <a:pt x="61196" y="183789"/>
                </a:lnTo>
                <a:cubicBezTo>
                  <a:pt x="46768" y="183789"/>
                  <a:pt x="34143" y="175123"/>
                  <a:pt x="29814" y="161402"/>
                </a:cubicBezTo>
                <a:lnTo>
                  <a:pt x="237" y="75826"/>
                </a:lnTo>
                <a:cubicBezTo>
                  <a:pt x="-124" y="74743"/>
                  <a:pt x="-124" y="72938"/>
                  <a:pt x="597" y="72216"/>
                </a:cubicBezTo>
                <a:cubicBezTo>
                  <a:pt x="958" y="71132"/>
                  <a:pt x="2401" y="70049"/>
                  <a:pt x="3483" y="70049"/>
                </a:cubicBezTo>
                <a:lnTo>
                  <a:pt x="245156" y="35386"/>
                </a:lnTo>
                <a:cubicBezTo>
                  <a:pt x="247320" y="15526"/>
                  <a:pt x="263912" y="0"/>
                  <a:pt x="284473" y="0"/>
                </a:cubicBezTo>
                <a:close/>
              </a:path>
            </a:pathLst>
          </a:custGeom>
          <a:solidFill>
            <a:srgbClr val="1A171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en-US" sz="900" dirty="0"/>
          </a:p>
        </p:txBody>
      </p:sp>
      <p:sp>
        <p:nvSpPr>
          <p:cNvPr id="38" name="Freeform 957">
            <a:extLst>
              <a:ext uri="{FF2B5EF4-FFF2-40B4-BE49-F238E27FC236}">
                <a16:creationId xmlns:a16="http://schemas.microsoft.com/office/drawing/2014/main" id="{CC4E9C19-B607-D04C-A03B-5FC1694D5306}"/>
              </a:ext>
            </a:extLst>
          </p:cNvPr>
          <p:cNvSpPr>
            <a:spLocks noChangeAspect="1" noChangeArrowheads="1"/>
          </p:cNvSpPr>
          <p:nvPr/>
        </p:nvSpPr>
        <p:spPr bwMode="auto">
          <a:xfrm>
            <a:off x="4978339" y="5569580"/>
            <a:ext cx="445519" cy="408799"/>
          </a:xfrm>
          <a:custGeom>
            <a:avLst/>
            <a:gdLst>
              <a:gd name="T0" fmla="*/ 226436 w 288440"/>
              <a:gd name="T1" fmla="*/ 234255 h 264755"/>
              <a:gd name="T2" fmla="*/ 217231 w 288440"/>
              <a:gd name="T3" fmla="*/ 234255 h 264755"/>
              <a:gd name="T4" fmla="*/ 69828 w 288440"/>
              <a:gd name="T5" fmla="*/ 229835 h 264755"/>
              <a:gd name="T6" fmla="*/ 69828 w 288440"/>
              <a:gd name="T7" fmla="*/ 239044 h 264755"/>
              <a:gd name="T8" fmla="*/ 69828 w 288440"/>
              <a:gd name="T9" fmla="*/ 229835 h 264755"/>
              <a:gd name="T10" fmla="*/ 196460 w 288440"/>
              <a:gd name="T11" fmla="*/ 232848 h 264755"/>
              <a:gd name="T12" fmla="*/ 246519 w 288440"/>
              <a:gd name="T13" fmla="*/ 232848 h 264755"/>
              <a:gd name="T14" fmla="*/ 68771 w 288440"/>
              <a:gd name="T15" fmla="*/ 208472 h 264755"/>
              <a:gd name="T16" fmla="*/ 68771 w 288440"/>
              <a:gd name="T17" fmla="*/ 257582 h 264755"/>
              <a:gd name="T18" fmla="*/ 68771 w 288440"/>
              <a:gd name="T19" fmla="*/ 208472 h 264755"/>
              <a:gd name="T20" fmla="*/ 102507 w 288440"/>
              <a:gd name="T21" fmla="*/ 228547 h 264755"/>
              <a:gd name="T22" fmla="*/ 221490 w 288440"/>
              <a:gd name="T23" fmla="*/ 199510 h 264755"/>
              <a:gd name="T24" fmla="*/ 221490 w 288440"/>
              <a:gd name="T25" fmla="*/ 266185 h 264755"/>
              <a:gd name="T26" fmla="*/ 102507 w 288440"/>
              <a:gd name="T27" fmla="*/ 237508 h 264755"/>
              <a:gd name="T28" fmla="*/ 35037 w 288440"/>
              <a:gd name="T29" fmla="*/ 232848 h 264755"/>
              <a:gd name="T30" fmla="*/ 94290 w 288440"/>
              <a:gd name="T31" fmla="*/ 146301 h 264755"/>
              <a:gd name="T32" fmla="*/ 38005 w 288440"/>
              <a:gd name="T33" fmla="*/ 159370 h 264755"/>
              <a:gd name="T34" fmla="*/ 99375 w 288440"/>
              <a:gd name="T35" fmla="*/ 176069 h 264755"/>
              <a:gd name="T36" fmla="*/ 172365 w 288440"/>
              <a:gd name="T37" fmla="*/ 141945 h 264755"/>
              <a:gd name="T38" fmla="*/ 108453 w 288440"/>
              <a:gd name="T39" fmla="*/ 176069 h 264755"/>
              <a:gd name="T40" fmla="*/ 172365 w 288440"/>
              <a:gd name="T41" fmla="*/ 141945 h 264755"/>
              <a:gd name="T42" fmla="*/ 181445 w 288440"/>
              <a:gd name="T43" fmla="*/ 141582 h 264755"/>
              <a:gd name="T44" fmla="*/ 221752 w 288440"/>
              <a:gd name="T45" fmla="*/ 176069 h 264755"/>
              <a:gd name="T46" fmla="*/ 246809 w 288440"/>
              <a:gd name="T47" fmla="*/ 138315 h 264755"/>
              <a:gd name="T48" fmla="*/ 22027 w 288440"/>
              <a:gd name="T49" fmla="*/ 113265 h 264755"/>
              <a:gd name="T50" fmla="*/ 93201 w 288440"/>
              <a:gd name="T51" fmla="*/ 137589 h 264755"/>
              <a:gd name="T52" fmla="*/ 168734 w 288440"/>
              <a:gd name="T53" fmla="*/ 98744 h 264755"/>
              <a:gd name="T54" fmla="*/ 101917 w 288440"/>
              <a:gd name="T55" fmla="*/ 136863 h 264755"/>
              <a:gd name="T56" fmla="*/ 168734 w 288440"/>
              <a:gd name="T57" fmla="*/ 98744 h 264755"/>
              <a:gd name="T58" fmla="*/ 177449 w 288440"/>
              <a:gd name="T59" fmla="*/ 98018 h 264755"/>
              <a:gd name="T60" fmla="*/ 246809 w 288440"/>
              <a:gd name="T61" fmla="*/ 129239 h 264755"/>
              <a:gd name="T62" fmla="*/ 81581 w 288440"/>
              <a:gd name="T63" fmla="*/ 68612 h 264755"/>
              <a:gd name="T64" fmla="*/ 19121 w 288440"/>
              <a:gd name="T65" fmla="*/ 104553 h 264755"/>
              <a:gd name="T66" fmla="*/ 81581 w 288440"/>
              <a:gd name="T67" fmla="*/ 68612 h 264755"/>
              <a:gd name="T68" fmla="*/ 90297 w 288440"/>
              <a:gd name="T69" fmla="*/ 67159 h 264755"/>
              <a:gd name="T70" fmla="*/ 168009 w 288440"/>
              <a:gd name="T71" fmla="*/ 90395 h 264755"/>
              <a:gd name="T72" fmla="*/ 246809 w 288440"/>
              <a:gd name="T73" fmla="*/ 44653 h 264755"/>
              <a:gd name="T74" fmla="*/ 176723 w 288440"/>
              <a:gd name="T75" fmla="*/ 89305 h 264755"/>
              <a:gd name="T76" fmla="*/ 246809 w 288440"/>
              <a:gd name="T77" fmla="*/ 44653 h 264755"/>
              <a:gd name="T78" fmla="*/ 290385 w 288440"/>
              <a:gd name="T79" fmla="*/ 4357 h 264755"/>
              <a:gd name="T80" fmla="*/ 255524 w 288440"/>
              <a:gd name="T81" fmla="*/ 39935 h 264755"/>
              <a:gd name="T82" fmla="*/ 221752 w 288440"/>
              <a:gd name="T83" fmla="*/ 184782 h 264755"/>
              <a:gd name="T84" fmla="*/ 30014 w 288440"/>
              <a:gd name="T85" fmla="*/ 162275 h 264755"/>
              <a:gd name="T86" fmla="*/ 601 w 288440"/>
              <a:gd name="T87" fmla="*/ 72607 h 264755"/>
              <a:gd name="T88" fmla="*/ 246809 w 288440"/>
              <a:gd name="T89" fmla="*/ 35578 h 26475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88440" h="264755">
                <a:moveTo>
                  <a:pt x="220348" y="228600"/>
                </a:moveTo>
                <a:cubicBezTo>
                  <a:pt x="223015" y="228600"/>
                  <a:pt x="224920" y="230432"/>
                  <a:pt x="224920" y="232996"/>
                </a:cubicBezTo>
                <a:cubicBezTo>
                  <a:pt x="224920" y="235561"/>
                  <a:pt x="223015" y="237759"/>
                  <a:pt x="220348" y="237759"/>
                </a:cubicBezTo>
                <a:cubicBezTo>
                  <a:pt x="217681" y="237759"/>
                  <a:pt x="215776" y="235561"/>
                  <a:pt x="215776" y="232996"/>
                </a:cubicBezTo>
                <a:cubicBezTo>
                  <a:pt x="215776" y="230432"/>
                  <a:pt x="217681" y="228600"/>
                  <a:pt x="220348" y="228600"/>
                </a:cubicBezTo>
                <a:close/>
                <a:moveTo>
                  <a:pt x="69360" y="228600"/>
                </a:moveTo>
                <a:cubicBezTo>
                  <a:pt x="71925" y="228600"/>
                  <a:pt x="74123" y="230432"/>
                  <a:pt x="74123" y="232996"/>
                </a:cubicBezTo>
                <a:cubicBezTo>
                  <a:pt x="74123" y="235561"/>
                  <a:pt x="71925" y="237759"/>
                  <a:pt x="69360" y="237759"/>
                </a:cubicBezTo>
                <a:cubicBezTo>
                  <a:pt x="66796" y="237759"/>
                  <a:pt x="64964" y="235561"/>
                  <a:pt x="64964" y="232996"/>
                </a:cubicBezTo>
                <a:cubicBezTo>
                  <a:pt x="64964" y="230432"/>
                  <a:pt x="66796" y="228600"/>
                  <a:pt x="69360" y="228600"/>
                </a:cubicBezTo>
                <a:close/>
                <a:moveTo>
                  <a:pt x="220006" y="207351"/>
                </a:moveTo>
                <a:cubicBezTo>
                  <a:pt x="206314" y="207351"/>
                  <a:pt x="195144" y="218047"/>
                  <a:pt x="195144" y="231596"/>
                </a:cubicBezTo>
                <a:cubicBezTo>
                  <a:pt x="195144" y="245145"/>
                  <a:pt x="206314" y="256198"/>
                  <a:pt x="220006" y="256198"/>
                </a:cubicBezTo>
                <a:cubicBezTo>
                  <a:pt x="233338" y="256198"/>
                  <a:pt x="244868" y="245145"/>
                  <a:pt x="244868" y="231596"/>
                </a:cubicBezTo>
                <a:cubicBezTo>
                  <a:pt x="244868" y="218047"/>
                  <a:pt x="233338" y="207351"/>
                  <a:pt x="220006" y="207351"/>
                </a:cubicBezTo>
                <a:close/>
                <a:moveTo>
                  <a:pt x="68311" y="207351"/>
                </a:moveTo>
                <a:cubicBezTo>
                  <a:pt x="54979" y="207351"/>
                  <a:pt x="43809" y="218047"/>
                  <a:pt x="43809" y="231596"/>
                </a:cubicBezTo>
                <a:cubicBezTo>
                  <a:pt x="43809" y="245145"/>
                  <a:pt x="54979" y="256198"/>
                  <a:pt x="68311" y="256198"/>
                </a:cubicBezTo>
                <a:cubicBezTo>
                  <a:pt x="82363" y="256198"/>
                  <a:pt x="93173" y="245145"/>
                  <a:pt x="93173" y="231596"/>
                </a:cubicBezTo>
                <a:cubicBezTo>
                  <a:pt x="93173" y="218047"/>
                  <a:pt x="82363" y="207351"/>
                  <a:pt x="68311" y="207351"/>
                </a:cubicBezTo>
                <a:close/>
                <a:moveTo>
                  <a:pt x="68311" y="198437"/>
                </a:moveTo>
                <a:cubicBezTo>
                  <a:pt x="85606" y="198437"/>
                  <a:pt x="99659" y="210916"/>
                  <a:pt x="101821" y="227318"/>
                </a:cubicBezTo>
                <a:lnTo>
                  <a:pt x="186856" y="227318"/>
                </a:lnTo>
                <a:cubicBezTo>
                  <a:pt x="189018" y="210916"/>
                  <a:pt x="203071" y="198437"/>
                  <a:pt x="220006" y="198437"/>
                </a:cubicBezTo>
                <a:cubicBezTo>
                  <a:pt x="238382" y="198437"/>
                  <a:pt x="253516" y="213412"/>
                  <a:pt x="253516" y="231596"/>
                </a:cubicBezTo>
                <a:cubicBezTo>
                  <a:pt x="253516" y="249424"/>
                  <a:pt x="238382" y="264755"/>
                  <a:pt x="220006" y="264755"/>
                </a:cubicBezTo>
                <a:cubicBezTo>
                  <a:pt x="203071" y="264755"/>
                  <a:pt x="189018" y="251920"/>
                  <a:pt x="186856" y="236231"/>
                </a:cubicBezTo>
                <a:lnTo>
                  <a:pt x="101821" y="236231"/>
                </a:lnTo>
                <a:cubicBezTo>
                  <a:pt x="99659" y="251920"/>
                  <a:pt x="85606" y="264755"/>
                  <a:pt x="68311" y="264755"/>
                </a:cubicBezTo>
                <a:cubicBezTo>
                  <a:pt x="49934" y="264755"/>
                  <a:pt x="34801" y="249424"/>
                  <a:pt x="34801" y="231596"/>
                </a:cubicBezTo>
                <a:cubicBezTo>
                  <a:pt x="34801" y="213412"/>
                  <a:pt x="49934" y="198437"/>
                  <a:pt x="68311" y="198437"/>
                </a:cubicBezTo>
                <a:close/>
                <a:moveTo>
                  <a:pt x="93659" y="145515"/>
                </a:moveTo>
                <a:lnTo>
                  <a:pt x="34143" y="148403"/>
                </a:lnTo>
                <a:lnTo>
                  <a:pt x="37750" y="158513"/>
                </a:lnTo>
                <a:cubicBezTo>
                  <a:pt x="40996" y="168624"/>
                  <a:pt x="50375" y="175123"/>
                  <a:pt x="61196" y="175123"/>
                </a:cubicBezTo>
                <a:lnTo>
                  <a:pt x="98709" y="175123"/>
                </a:lnTo>
                <a:lnTo>
                  <a:pt x="93659" y="145515"/>
                </a:lnTo>
                <a:close/>
                <a:moveTo>
                  <a:pt x="171211" y="141182"/>
                </a:moveTo>
                <a:lnTo>
                  <a:pt x="102677" y="144792"/>
                </a:lnTo>
                <a:lnTo>
                  <a:pt x="107727" y="175123"/>
                </a:lnTo>
                <a:lnTo>
                  <a:pt x="174457" y="175123"/>
                </a:lnTo>
                <a:lnTo>
                  <a:pt x="171211" y="141182"/>
                </a:lnTo>
                <a:close/>
                <a:moveTo>
                  <a:pt x="245156" y="137571"/>
                </a:moveTo>
                <a:lnTo>
                  <a:pt x="180229" y="140821"/>
                </a:lnTo>
                <a:lnTo>
                  <a:pt x="183475" y="175123"/>
                </a:lnTo>
                <a:lnTo>
                  <a:pt x="220267" y="175123"/>
                </a:lnTo>
                <a:cubicBezTo>
                  <a:pt x="233613" y="175123"/>
                  <a:pt x="245156" y="164291"/>
                  <a:pt x="245156" y="150570"/>
                </a:cubicBezTo>
                <a:lnTo>
                  <a:pt x="245156" y="137571"/>
                </a:lnTo>
                <a:close/>
                <a:moveTo>
                  <a:pt x="87167" y="106157"/>
                </a:moveTo>
                <a:lnTo>
                  <a:pt x="21879" y="112656"/>
                </a:lnTo>
                <a:lnTo>
                  <a:pt x="31257" y="139737"/>
                </a:lnTo>
                <a:lnTo>
                  <a:pt x="92577" y="136849"/>
                </a:lnTo>
                <a:lnTo>
                  <a:pt x="87167" y="106157"/>
                </a:lnTo>
                <a:close/>
                <a:moveTo>
                  <a:pt x="167604" y="98213"/>
                </a:moveTo>
                <a:lnTo>
                  <a:pt x="96184" y="105435"/>
                </a:lnTo>
                <a:lnTo>
                  <a:pt x="101234" y="136127"/>
                </a:lnTo>
                <a:lnTo>
                  <a:pt x="170850" y="132877"/>
                </a:lnTo>
                <a:lnTo>
                  <a:pt x="167604" y="98213"/>
                </a:lnTo>
                <a:close/>
                <a:moveTo>
                  <a:pt x="245156" y="90992"/>
                </a:moveTo>
                <a:lnTo>
                  <a:pt x="176261" y="97491"/>
                </a:lnTo>
                <a:lnTo>
                  <a:pt x="179507" y="131794"/>
                </a:lnTo>
                <a:lnTo>
                  <a:pt x="245156" y="128544"/>
                </a:lnTo>
                <a:lnTo>
                  <a:pt x="245156" y="90992"/>
                </a:lnTo>
                <a:close/>
                <a:moveTo>
                  <a:pt x="81035" y="68244"/>
                </a:moveTo>
                <a:lnTo>
                  <a:pt x="9976" y="77993"/>
                </a:lnTo>
                <a:lnTo>
                  <a:pt x="18993" y="103991"/>
                </a:lnTo>
                <a:lnTo>
                  <a:pt x="85724" y="97491"/>
                </a:lnTo>
                <a:lnTo>
                  <a:pt x="81035" y="68244"/>
                </a:lnTo>
                <a:close/>
                <a:moveTo>
                  <a:pt x="163636" y="56328"/>
                </a:moveTo>
                <a:lnTo>
                  <a:pt x="89692" y="66799"/>
                </a:lnTo>
                <a:lnTo>
                  <a:pt x="94741" y="96769"/>
                </a:lnTo>
                <a:lnTo>
                  <a:pt x="166883" y="89909"/>
                </a:lnTo>
                <a:lnTo>
                  <a:pt x="163636" y="56328"/>
                </a:lnTo>
                <a:close/>
                <a:moveTo>
                  <a:pt x="245156" y="44413"/>
                </a:moveTo>
                <a:lnTo>
                  <a:pt x="172293" y="55245"/>
                </a:lnTo>
                <a:lnTo>
                  <a:pt x="175539" y="88825"/>
                </a:lnTo>
                <a:lnTo>
                  <a:pt x="245156" y="81965"/>
                </a:lnTo>
                <a:lnTo>
                  <a:pt x="245156" y="44413"/>
                </a:lnTo>
                <a:close/>
                <a:moveTo>
                  <a:pt x="284473" y="0"/>
                </a:moveTo>
                <a:cubicBezTo>
                  <a:pt x="286637" y="0"/>
                  <a:pt x="288440" y="1805"/>
                  <a:pt x="288440" y="4333"/>
                </a:cubicBezTo>
                <a:cubicBezTo>
                  <a:pt x="288440" y="6860"/>
                  <a:pt x="286637" y="9027"/>
                  <a:pt x="284473" y="9027"/>
                </a:cubicBezTo>
                <a:cubicBezTo>
                  <a:pt x="267519" y="9027"/>
                  <a:pt x="253813" y="22748"/>
                  <a:pt x="253813" y="39719"/>
                </a:cubicBezTo>
                <a:lnTo>
                  <a:pt x="253813" y="150570"/>
                </a:lnTo>
                <a:cubicBezTo>
                  <a:pt x="253813" y="168985"/>
                  <a:pt x="238663" y="183789"/>
                  <a:pt x="220267" y="183789"/>
                </a:cubicBezTo>
                <a:lnTo>
                  <a:pt x="61196" y="183789"/>
                </a:lnTo>
                <a:cubicBezTo>
                  <a:pt x="46768" y="183789"/>
                  <a:pt x="34143" y="175123"/>
                  <a:pt x="29814" y="161402"/>
                </a:cubicBezTo>
                <a:lnTo>
                  <a:pt x="237" y="75826"/>
                </a:lnTo>
                <a:cubicBezTo>
                  <a:pt x="-124" y="74743"/>
                  <a:pt x="-124" y="72938"/>
                  <a:pt x="597" y="72216"/>
                </a:cubicBezTo>
                <a:cubicBezTo>
                  <a:pt x="958" y="71132"/>
                  <a:pt x="2401" y="70049"/>
                  <a:pt x="3483" y="70049"/>
                </a:cubicBezTo>
                <a:lnTo>
                  <a:pt x="245156" y="35386"/>
                </a:lnTo>
                <a:cubicBezTo>
                  <a:pt x="247320" y="15526"/>
                  <a:pt x="263912" y="0"/>
                  <a:pt x="284473" y="0"/>
                </a:cubicBezTo>
                <a:close/>
              </a:path>
            </a:pathLst>
          </a:custGeom>
          <a:solidFill>
            <a:srgbClr val="1A171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en-US" sz="900" dirty="0"/>
          </a:p>
        </p:txBody>
      </p:sp>
      <p:sp>
        <p:nvSpPr>
          <p:cNvPr id="39" name="Titel 1">
            <a:extLst>
              <a:ext uri="{FF2B5EF4-FFF2-40B4-BE49-F238E27FC236}">
                <a16:creationId xmlns:a16="http://schemas.microsoft.com/office/drawing/2014/main" id="{DB67A3AE-4575-4092-9A28-F9E4ACE70A17}"/>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Funnel diagram slide</a:t>
            </a:r>
          </a:p>
        </p:txBody>
      </p:sp>
    </p:spTree>
    <p:custDataLst>
      <p:tags r:id="rId1"/>
    </p:custDataLst>
    <p:extLst>
      <p:ext uri="{BB962C8B-B14F-4D97-AF65-F5344CB8AC3E}">
        <p14:creationId xmlns:p14="http://schemas.microsoft.com/office/powerpoint/2010/main" val="9463345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ost-it notes">
            <a:extLst>
              <a:ext uri="{FF2B5EF4-FFF2-40B4-BE49-F238E27FC236}">
                <a16:creationId xmlns:a16="http://schemas.microsoft.com/office/drawing/2014/main" id="{3789BA20-205D-462F-8682-295A4795769C}"/>
              </a:ext>
            </a:extLst>
          </p:cNvPr>
          <p:cNvPicPr>
            <a:picLocks noGrp="1" noChangeAspect="1"/>
          </p:cNvPicPr>
          <p:nvPr>
            <p:ph type="pic" sz="quarter" idx="13"/>
            <p:custDataLst>
              <p:tags r:id="rId1"/>
            </p:custDataLst>
          </p:nvPr>
        </p:nvPicPr>
        <p:blipFill>
          <a:blip r:embed="rId3" cstate="screen">
            <a:extLst>
              <a:ext uri="{28A0092B-C50C-407E-A947-70E740481C1C}">
                <a14:useLocalDpi xmlns:a14="http://schemas.microsoft.com/office/drawing/2010/main"/>
              </a:ext>
            </a:extLst>
          </a:blip>
          <a:srcRect t="8114" b="8114"/>
          <a:stretch>
            <a:fillRect/>
          </a:stretch>
        </p:blipFill>
        <p:spPr>
          <a:xfrm>
            <a:off x="1" y="96839"/>
            <a:ext cx="12191345" cy="6760799"/>
          </a:xfrm>
          <a:prstGeom prst="rect">
            <a:avLst/>
          </a:prstGeom>
        </p:spPr>
      </p:pic>
      <p:sp>
        <p:nvSpPr>
          <p:cNvPr id="4" name="Text Placeholder 3">
            <a:extLst>
              <a:ext uri="{FF2B5EF4-FFF2-40B4-BE49-F238E27FC236}">
                <a16:creationId xmlns:a16="http://schemas.microsoft.com/office/drawing/2014/main" id="{DE0EFFB9-7F7B-40BD-938A-B09C8D04C8CB}"/>
              </a:ext>
            </a:extLst>
          </p:cNvPr>
          <p:cNvSpPr>
            <a:spLocks noGrp="1"/>
          </p:cNvSpPr>
          <p:nvPr>
            <p:ph type="body" sz="quarter" idx="14"/>
          </p:nvPr>
        </p:nvSpPr>
        <p:spPr>
          <a:xfrm>
            <a:off x="0" y="3914775"/>
            <a:ext cx="7317131" cy="738664"/>
          </a:xfrm>
        </p:spPr>
        <p:txBody>
          <a:bodyPr/>
          <a:lstStyle/>
          <a:p>
            <a:r>
              <a:rPr lang="en-US" dirty="0"/>
              <a:t>Uncover range of tasks</a:t>
            </a:r>
          </a:p>
        </p:txBody>
      </p:sp>
    </p:spTree>
    <p:extLst>
      <p:ext uri="{BB962C8B-B14F-4D97-AF65-F5344CB8AC3E}">
        <p14:creationId xmlns:p14="http://schemas.microsoft.com/office/powerpoint/2010/main" val="755871455"/>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DF016A-1774-DF4E-8915-8CC56C991F0E}"/>
              </a:ext>
            </a:extLst>
          </p:cNvPr>
          <p:cNvGrpSpPr/>
          <p:nvPr/>
        </p:nvGrpSpPr>
        <p:grpSpPr>
          <a:xfrm>
            <a:off x="4666036" y="1348056"/>
            <a:ext cx="2859930" cy="5060049"/>
            <a:chOff x="1314450" y="1527174"/>
            <a:chExt cx="3514725" cy="5061367"/>
          </a:xfrm>
        </p:grpSpPr>
        <p:sp>
          <p:nvSpPr>
            <p:cNvPr id="5" name="Freeform 5">
              <a:extLst>
                <a:ext uri="{FF2B5EF4-FFF2-40B4-BE49-F238E27FC236}">
                  <a16:creationId xmlns:a16="http://schemas.microsoft.com/office/drawing/2014/main" id="{CF591227-295D-9C44-97C9-CD688DB54002}"/>
                </a:ext>
              </a:extLst>
            </p:cNvPr>
            <p:cNvSpPr>
              <a:spLocks/>
            </p:cNvSpPr>
            <p:nvPr/>
          </p:nvSpPr>
          <p:spPr bwMode="auto">
            <a:xfrm>
              <a:off x="1314450" y="1527174"/>
              <a:ext cx="3514725" cy="1751603"/>
            </a:xfrm>
            <a:custGeom>
              <a:avLst/>
              <a:gdLst>
                <a:gd name="T0" fmla="*/ 90 w 1401"/>
                <a:gd name="T1" fmla="*/ 824 h 824"/>
                <a:gd name="T2" fmla="*/ 305 w 1401"/>
                <a:gd name="T3" fmla="*/ 412 h 824"/>
                <a:gd name="T4" fmla="*/ 539 w 1401"/>
                <a:gd name="T5" fmla="*/ 324 h 824"/>
                <a:gd name="T6" fmla="*/ 715 w 1401"/>
                <a:gd name="T7" fmla="*/ 87 h 824"/>
                <a:gd name="T8" fmla="*/ 760 w 1401"/>
                <a:gd name="T9" fmla="*/ 455 h 824"/>
                <a:gd name="T10" fmla="*/ 528 w 1401"/>
                <a:gd name="T11" fmla="*/ 707 h 824"/>
                <a:gd name="T12" fmla="*/ 830 w 1401"/>
                <a:gd name="T13" fmla="*/ 560 h 824"/>
                <a:gd name="T14" fmla="*/ 1071 w 1401"/>
                <a:gd name="T15" fmla="*/ 824 h 824"/>
                <a:gd name="T16" fmla="*/ 1401 w 1401"/>
                <a:gd name="T17" fmla="*/ 824 h 824"/>
                <a:gd name="T18" fmla="*/ 1228 w 1401"/>
                <a:gd name="T19" fmla="*/ 513 h 824"/>
                <a:gd name="T20" fmla="*/ 1039 w 1401"/>
                <a:gd name="T21" fmla="*/ 459 h 824"/>
                <a:gd name="T22" fmla="*/ 709 w 1401"/>
                <a:gd name="T23" fmla="*/ 0 h 824"/>
                <a:gd name="T24" fmla="*/ 519 w 1401"/>
                <a:gd name="T25" fmla="*/ 280 h 824"/>
                <a:gd name="T26" fmla="*/ 290 w 1401"/>
                <a:gd name="T27" fmla="*/ 357 h 824"/>
                <a:gd name="T28" fmla="*/ 0 w 1401"/>
                <a:gd name="T29" fmla="*/ 824 h 824"/>
                <a:gd name="T30" fmla="*/ 90 w 1401"/>
                <a:gd name="T31" fmla="*/ 824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01" h="824">
                  <a:moveTo>
                    <a:pt x="90" y="824"/>
                  </a:moveTo>
                  <a:lnTo>
                    <a:pt x="305" y="412"/>
                  </a:lnTo>
                  <a:lnTo>
                    <a:pt x="539" y="324"/>
                  </a:lnTo>
                  <a:lnTo>
                    <a:pt x="715" y="87"/>
                  </a:lnTo>
                  <a:lnTo>
                    <a:pt x="760" y="455"/>
                  </a:lnTo>
                  <a:lnTo>
                    <a:pt x="528" y="707"/>
                  </a:lnTo>
                  <a:lnTo>
                    <a:pt x="830" y="560"/>
                  </a:lnTo>
                  <a:lnTo>
                    <a:pt x="1071" y="824"/>
                  </a:lnTo>
                  <a:lnTo>
                    <a:pt x="1401" y="824"/>
                  </a:lnTo>
                  <a:lnTo>
                    <a:pt x="1228" y="513"/>
                  </a:lnTo>
                  <a:lnTo>
                    <a:pt x="1039" y="459"/>
                  </a:lnTo>
                  <a:lnTo>
                    <a:pt x="709" y="0"/>
                  </a:lnTo>
                  <a:lnTo>
                    <a:pt x="519" y="280"/>
                  </a:lnTo>
                  <a:lnTo>
                    <a:pt x="290" y="357"/>
                  </a:lnTo>
                  <a:lnTo>
                    <a:pt x="0" y="824"/>
                  </a:lnTo>
                  <a:lnTo>
                    <a:pt x="90" y="824"/>
                  </a:lnTo>
                  <a:close/>
                </a:path>
              </a:pathLst>
            </a:custGeom>
            <a:solidFill>
              <a:srgbClr val="08B1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dirty="0">
                <a:latin typeface="Open Sans Light" panose="020B0306030504020204" pitchFamily="34" charset="0"/>
              </a:endParaRPr>
            </a:p>
          </p:txBody>
        </p:sp>
        <p:sp>
          <p:nvSpPr>
            <p:cNvPr id="6" name="Freeform 6">
              <a:extLst>
                <a:ext uri="{FF2B5EF4-FFF2-40B4-BE49-F238E27FC236}">
                  <a16:creationId xmlns:a16="http://schemas.microsoft.com/office/drawing/2014/main" id="{F5A178C4-A06E-2347-BF05-F14CC9890D3F}"/>
                </a:ext>
              </a:extLst>
            </p:cNvPr>
            <p:cNvSpPr>
              <a:spLocks/>
            </p:cNvSpPr>
            <p:nvPr/>
          </p:nvSpPr>
          <p:spPr bwMode="auto">
            <a:xfrm>
              <a:off x="1314450" y="3382938"/>
              <a:ext cx="3514725" cy="671731"/>
            </a:xfrm>
            <a:custGeom>
              <a:avLst/>
              <a:gdLst>
                <a:gd name="T0" fmla="*/ 1401 w 1401"/>
                <a:gd name="T1" fmla="*/ 0 h 316"/>
                <a:gd name="T2" fmla="*/ 0 w 1401"/>
                <a:gd name="T3" fmla="*/ 0 h 316"/>
                <a:gd name="T4" fmla="*/ 170 w 1401"/>
                <a:gd name="T5" fmla="*/ 316 h 316"/>
                <a:gd name="T6" fmla="*/ 1295 w 1401"/>
                <a:gd name="T7" fmla="*/ 316 h 316"/>
                <a:gd name="T8" fmla="*/ 1401 w 1401"/>
                <a:gd name="T9" fmla="*/ 0 h 316"/>
              </a:gdLst>
              <a:ahLst/>
              <a:cxnLst>
                <a:cxn ang="0">
                  <a:pos x="T0" y="T1"/>
                </a:cxn>
                <a:cxn ang="0">
                  <a:pos x="T2" y="T3"/>
                </a:cxn>
                <a:cxn ang="0">
                  <a:pos x="T4" y="T5"/>
                </a:cxn>
                <a:cxn ang="0">
                  <a:pos x="T6" y="T7"/>
                </a:cxn>
                <a:cxn ang="0">
                  <a:pos x="T8" y="T9"/>
                </a:cxn>
              </a:cxnLst>
              <a:rect l="0" t="0" r="r" b="b"/>
              <a:pathLst>
                <a:path w="1401" h="316">
                  <a:moveTo>
                    <a:pt x="1401" y="0"/>
                  </a:moveTo>
                  <a:lnTo>
                    <a:pt x="0" y="0"/>
                  </a:lnTo>
                  <a:lnTo>
                    <a:pt x="170" y="316"/>
                  </a:lnTo>
                  <a:lnTo>
                    <a:pt x="1295" y="316"/>
                  </a:lnTo>
                  <a:lnTo>
                    <a:pt x="1401" y="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US" sz="3599" dirty="0">
                <a:latin typeface="Open Sans Light" panose="020B0306030504020204" pitchFamily="34" charset="0"/>
              </a:endParaRPr>
            </a:p>
          </p:txBody>
        </p:sp>
        <p:sp>
          <p:nvSpPr>
            <p:cNvPr id="7" name="Freeform 7">
              <a:extLst>
                <a:ext uri="{FF2B5EF4-FFF2-40B4-BE49-F238E27FC236}">
                  <a16:creationId xmlns:a16="http://schemas.microsoft.com/office/drawing/2014/main" id="{552F1DBA-01BA-0F4D-8766-27FE952C898A}"/>
                </a:ext>
              </a:extLst>
            </p:cNvPr>
            <p:cNvSpPr>
              <a:spLocks/>
            </p:cNvSpPr>
            <p:nvPr/>
          </p:nvSpPr>
          <p:spPr bwMode="auto">
            <a:xfrm>
              <a:off x="1740933" y="4054669"/>
              <a:ext cx="2822317" cy="654725"/>
            </a:xfrm>
            <a:custGeom>
              <a:avLst/>
              <a:gdLst>
                <a:gd name="T0" fmla="*/ 0 w 1125"/>
                <a:gd name="T1" fmla="*/ 0 h 308"/>
                <a:gd name="T2" fmla="*/ 79 w 1125"/>
                <a:gd name="T3" fmla="*/ 308 h 308"/>
                <a:gd name="T4" fmla="*/ 944 w 1125"/>
                <a:gd name="T5" fmla="*/ 308 h 308"/>
                <a:gd name="T6" fmla="*/ 1041 w 1125"/>
                <a:gd name="T7" fmla="*/ 250 h 308"/>
                <a:gd name="T8" fmla="*/ 1125 w 1125"/>
                <a:gd name="T9" fmla="*/ 0 h 308"/>
                <a:gd name="T10" fmla="*/ 0 w 1125"/>
                <a:gd name="T11" fmla="*/ 0 h 308"/>
              </a:gdLst>
              <a:ahLst/>
              <a:cxnLst>
                <a:cxn ang="0">
                  <a:pos x="T0" y="T1"/>
                </a:cxn>
                <a:cxn ang="0">
                  <a:pos x="T2" y="T3"/>
                </a:cxn>
                <a:cxn ang="0">
                  <a:pos x="T4" y="T5"/>
                </a:cxn>
                <a:cxn ang="0">
                  <a:pos x="T6" y="T7"/>
                </a:cxn>
                <a:cxn ang="0">
                  <a:pos x="T8" y="T9"/>
                </a:cxn>
                <a:cxn ang="0">
                  <a:pos x="T10" y="T11"/>
                </a:cxn>
              </a:cxnLst>
              <a:rect l="0" t="0" r="r" b="b"/>
              <a:pathLst>
                <a:path w="1125" h="308">
                  <a:moveTo>
                    <a:pt x="0" y="0"/>
                  </a:moveTo>
                  <a:lnTo>
                    <a:pt x="79" y="308"/>
                  </a:lnTo>
                  <a:lnTo>
                    <a:pt x="944" y="308"/>
                  </a:lnTo>
                  <a:lnTo>
                    <a:pt x="1041" y="250"/>
                  </a:lnTo>
                  <a:lnTo>
                    <a:pt x="1125" y="0"/>
                  </a:lnTo>
                  <a:lnTo>
                    <a:pt x="0" y="0"/>
                  </a:ln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endParaRPr lang="en-US" sz="3599" dirty="0">
                <a:latin typeface="Open Sans Light" panose="020B0306030504020204" pitchFamily="34" charset="0"/>
              </a:endParaRPr>
            </a:p>
          </p:txBody>
        </p:sp>
        <p:sp>
          <p:nvSpPr>
            <p:cNvPr id="8" name="Freeform 8">
              <a:extLst>
                <a:ext uri="{FF2B5EF4-FFF2-40B4-BE49-F238E27FC236}">
                  <a16:creationId xmlns:a16="http://schemas.microsoft.com/office/drawing/2014/main" id="{FC3790C1-C3A0-7F48-BD70-57F1B40A78B1}"/>
                </a:ext>
              </a:extLst>
            </p:cNvPr>
            <p:cNvSpPr>
              <a:spLocks/>
            </p:cNvSpPr>
            <p:nvPr/>
          </p:nvSpPr>
          <p:spPr bwMode="auto">
            <a:xfrm>
              <a:off x="1939124" y="4709394"/>
              <a:ext cx="2170048" cy="707869"/>
            </a:xfrm>
            <a:custGeom>
              <a:avLst/>
              <a:gdLst>
                <a:gd name="T0" fmla="*/ 0 w 865"/>
                <a:gd name="T1" fmla="*/ 0 h 333"/>
                <a:gd name="T2" fmla="*/ 68 w 865"/>
                <a:gd name="T3" fmla="*/ 258 h 333"/>
                <a:gd name="T4" fmla="*/ 158 w 865"/>
                <a:gd name="T5" fmla="*/ 218 h 333"/>
                <a:gd name="T6" fmla="*/ 205 w 865"/>
                <a:gd name="T7" fmla="*/ 333 h 333"/>
                <a:gd name="T8" fmla="*/ 769 w 865"/>
                <a:gd name="T9" fmla="*/ 333 h 333"/>
                <a:gd name="T10" fmla="*/ 860 w 865"/>
                <a:gd name="T11" fmla="*/ 2 h 333"/>
                <a:gd name="T12" fmla="*/ 865 w 865"/>
                <a:gd name="T13" fmla="*/ 0 h 333"/>
                <a:gd name="T14" fmla="*/ 0 w 865"/>
                <a:gd name="T15" fmla="*/ 0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5" h="333">
                  <a:moveTo>
                    <a:pt x="0" y="0"/>
                  </a:moveTo>
                  <a:lnTo>
                    <a:pt x="68" y="258"/>
                  </a:lnTo>
                  <a:lnTo>
                    <a:pt x="158" y="218"/>
                  </a:lnTo>
                  <a:lnTo>
                    <a:pt x="205" y="333"/>
                  </a:lnTo>
                  <a:lnTo>
                    <a:pt x="769" y="333"/>
                  </a:lnTo>
                  <a:lnTo>
                    <a:pt x="860" y="2"/>
                  </a:lnTo>
                  <a:lnTo>
                    <a:pt x="865" y="0"/>
                  </a:lnTo>
                  <a:lnTo>
                    <a:pt x="0" y="0"/>
                  </a:lnTo>
                  <a:close/>
                </a:path>
              </a:pathLst>
            </a:custGeom>
            <a:solidFill>
              <a:schemeClr val="accent3"/>
            </a:solidFill>
            <a:ln>
              <a:noFill/>
            </a:ln>
          </p:spPr>
          <p:txBody>
            <a:bodyPr vert="horz" wrap="square" lIns="91416" tIns="45708" rIns="91416" bIns="45708" numCol="1" anchor="t" anchorCtr="0" compatLnSpc="1">
              <a:prstTxWarp prst="textNoShape">
                <a:avLst/>
              </a:prstTxWarp>
            </a:bodyPr>
            <a:lstStyle/>
            <a:p>
              <a:endParaRPr lang="en-US" sz="3599" dirty="0">
                <a:latin typeface="Open Sans Light" panose="020B0306030504020204" pitchFamily="34" charset="0"/>
              </a:endParaRPr>
            </a:p>
          </p:txBody>
        </p:sp>
        <p:sp>
          <p:nvSpPr>
            <p:cNvPr id="9" name="Freeform 9">
              <a:extLst>
                <a:ext uri="{FF2B5EF4-FFF2-40B4-BE49-F238E27FC236}">
                  <a16:creationId xmlns:a16="http://schemas.microsoft.com/office/drawing/2014/main" id="{C30EE85B-78D0-5F45-97E3-E772C89B4602}"/>
                </a:ext>
              </a:extLst>
            </p:cNvPr>
            <p:cNvSpPr>
              <a:spLocks/>
            </p:cNvSpPr>
            <p:nvPr/>
          </p:nvSpPr>
          <p:spPr bwMode="auto">
            <a:xfrm>
              <a:off x="2453411" y="5413011"/>
              <a:ext cx="1414921" cy="1175530"/>
            </a:xfrm>
            <a:custGeom>
              <a:avLst/>
              <a:gdLst>
                <a:gd name="T0" fmla="*/ 0 w 564"/>
                <a:gd name="T1" fmla="*/ 0 h 553"/>
                <a:gd name="T2" fmla="*/ 225 w 564"/>
                <a:gd name="T3" fmla="*/ 553 h 553"/>
                <a:gd name="T4" fmla="*/ 346 w 564"/>
                <a:gd name="T5" fmla="*/ 213 h 553"/>
                <a:gd name="T6" fmla="*/ 478 w 564"/>
                <a:gd name="T7" fmla="*/ 318 h 553"/>
                <a:gd name="T8" fmla="*/ 564 w 564"/>
                <a:gd name="T9" fmla="*/ 0 h 553"/>
                <a:gd name="T10" fmla="*/ 0 w 564"/>
                <a:gd name="T11" fmla="*/ 0 h 553"/>
              </a:gdLst>
              <a:ahLst/>
              <a:cxnLst>
                <a:cxn ang="0">
                  <a:pos x="T0" y="T1"/>
                </a:cxn>
                <a:cxn ang="0">
                  <a:pos x="T2" y="T3"/>
                </a:cxn>
                <a:cxn ang="0">
                  <a:pos x="T4" y="T5"/>
                </a:cxn>
                <a:cxn ang="0">
                  <a:pos x="T6" y="T7"/>
                </a:cxn>
                <a:cxn ang="0">
                  <a:pos x="T8" y="T9"/>
                </a:cxn>
                <a:cxn ang="0">
                  <a:pos x="T10" y="T11"/>
                </a:cxn>
              </a:cxnLst>
              <a:rect l="0" t="0" r="r" b="b"/>
              <a:pathLst>
                <a:path w="564" h="553">
                  <a:moveTo>
                    <a:pt x="0" y="0"/>
                  </a:moveTo>
                  <a:lnTo>
                    <a:pt x="225" y="553"/>
                  </a:lnTo>
                  <a:lnTo>
                    <a:pt x="346" y="213"/>
                  </a:lnTo>
                  <a:lnTo>
                    <a:pt x="478" y="318"/>
                  </a:lnTo>
                  <a:lnTo>
                    <a:pt x="564" y="0"/>
                  </a:lnTo>
                  <a:lnTo>
                    <a:pt x="0" y="0"/>
                  </a:lnTo>
                  <a:close/>
                </a:path>
              </a:pathLst>
            </a:custGeom>
            <a:solidFill>
              <a:schemeClr val="accent4"/>
            </a:solidFill>
            <a:ln>
              <a:noFill/>
            </a:ln>
          </p:spPr>
          <p:txBody>
            <a:bodyPr vert="horz" wrap="square" lIns="91416" tIns="45708" rIns="91416" bIns="45708" numCol="1" anchor="t" anchorCtr="0" compatLnSpc="1">
              <a:prstTxWarp prst="textNoShape">
                <a:avLst/>
              </a:prstTxWarp>
            </a:bodyPr>
            <a:lstStyle/>
            <a:p>
              <a:endParaRPr lang="en-US" sz="3599" dirty="0">
                <a:latin typeface="Open Sans Light" panose="020B0306030504020204" pitchFamily="34" charset="0"/>
              </a:endParaRPr>
            </a:p>
          </p:txBody>
        </p:sp>
      </p:grpSp>
      <p:cxnSp>
        <p:nvCxnSpPr>
          <p:cNvPr id="10" name="Straight Arrow Connector 9">
            <a:extLst>
              <a:ext uri="{FF2B5EF4-FFF2-40B4-BE49-F238E27FC236}">
                <a16:creationId xmlns:a16="http://schemas.microsoft.com/office/drawing/2014/main" id="{5DE08864-EB11-3B49-BEAE-89780681AB0A}"/>
              </a:ext>
            </a:extLst>
          </p:cNvPr>
          <p:cNvCxnSpPr>
            <a:cxnSpLocks/>
          </p:cNvCxnSpPr>
          <p:nvPr/>
        </p:nvCxnSpPr>
        <p:spPr>
          <a:xfrm>
            <a:off x="7298474" y="3885388"/>
            <a:ext cx="3953499" cy="0"/>
          </a:xfrm>
          <a:prstGeom prst="straightConnector1">
            <a:avLst/>
          </a:prstGeom>
          <a:ln w="38100" cap="rnd">
            <a:solidFill>
              <a:schemeClr val="accent2"/>
            </a:solidFill>
            <a:prstDash val="dash"/>
            <a:headEnd type="stealth" w="lg" len="lg"/>
            <a:tailEnd type="non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1ACF08E-04C0-6147-8F0F-DDD86ABBC9D1}"/>
              </a:ext>
            </a:extLst>
          </p:cNvPr>
          <p:cNvCxnSpPr>
            <a:cxnSpLocks/>
          </p:cNvCxnSpPr>
          <p:nvPr/>
        </p:nvCxnSpPr>
        <p:spPr>
          <a:xfrm>
            <a:off x="6737120" y="5241478"/>
            <a:ext cx="3954780" cy="0"/>
          </a:xfrm>
          <a:prstGeom prst="straightConnector1">
            <a:avLst/>
          </a:prstGeom>
          <a:ln w="38100" cap="rnd">
            <a:solidFill>
              <a:schemeClr val="accent4"/>
            </a:solidFill>
            <a:prstDash val="dash"/>
            <a:headEnd type="stealth" w="lg" len="lg"/>
            <a:tailEnd type="non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732FEAC-B13C-5C49-86B4-D6996F58C910}"/>
              </a:ext>
            </a:extLst>
          </p:cNvPr>
          <p:cNvCxnSpPr>
            <a:cxnSpLocks/>
          </p:cNvCxnSpPr>
          <p:nvPr/>
        </p:nvCxnSpPr>
        <p:spPr>
          <a:xfrm>
            <a:off x="732151" y="3209299"/>
            <a:ext cx="3931920" cy="0"/>
          </a:xfrm>
          <a:prstGeom prst="straightConnector1">
            <a:avLst/>
          </a:prstGeom>
          <a:ln w="38100" cap="rnd">
            <a:solidFill>
              <a:schemeClr val="accent1"/>
            </a:solidFill>
            <a:prstDash val="dash"/>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615402F-6209-5A4A-BB54-26FD422E794D}"/>
              </a:ext>
            </a:extLst>
          </p:cNvPr>
          <p:cNvCxnSpPr>
            <a:cxnSpLocks/>
          </p:cNvCxnSpPr>
          <p:nvPr/>
        </p:nvCxnSpPr>
        <p:spPr>
          <a:xfrm>
            <a:off x="1217122" y="4526503"/>
            <a:ext cx="3954780" cy="0"/>
          </a:xfrm>
          <a:prstGeom prst="straightConnector1">
            <a:avLst/>
          </a:prstGeom>
          <a:ln w="38100" cap="rnd">
            <a:solidFill>
              <a:schemeClr val="accent3"/>
            </a:solidFill>
            <a:prstDash val="dash"/>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4" name="Subtitle 2">
            <a:extLst>
              <a:ext uri="{FF2B5EF4-FFF2-40B4-BE49-F238E27FC236}">
                <a16:creationId xmlns:a16="http://schemas.microsoft.com/office/drawing/2014/main" id="{161B551F-A75F-1A45-9507-C8E3B5838CC4}"/>
              </a:ext>
            </a:extLst>
          </p:cNvPr>
          <p:cNvSpPr txBox="1">
            <a:spLocks/>
          </p:cNvSpPr>
          <p:nvPr/>
        </p:nvSpPr>
        <p:spPr>
          <a:xfrm>
            <a:off x="8018916" y="3896163"/>
            <a:ext cx="3322442" cy="779415"/>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rPr>
              <a:t>Lorem ipsum dolor sit amet, consectetuer adipiscing elit. Aenean commodo ligula eget dolor. Aenean massa.</a:t>
            </a:r>
          </a:p>
        </p:txBody>
      </p:sp>
      <p:sp>
        <p:nvSpPr>
          <p:cNvPr id="15" name="TextBox 14">
            <a:extLst>
              <a:ext uri="{FF2B5EF4-FFF2-40B4-BE49-F238E27FC236}">
                <a16:creationId xmlns:a16="http://schemas.microsoft.com/office/drawing/2014/main" id="{D9AA4E21-64D6-7F47-9B86-7BDA333F07DF}"/>
              </a:ext>
            </a:extLst>
          </p:cNvPr>
          <p:cNvSpPr txBox="1"/>
          <p:nvPr/>
        </p:nvSpPr>
        <p:spPr>
          <a:xfrm>
            <a:off x="10316615" y="3534175"/>
            <a:ext cx="971548" cy="338554"/>
          </a:xfrm>
          <a:prstGeom prst="rect">
            <a:avLst/>
          </a:prstGeom>
          <a:noFill/>
        </p:spPr>
        <p:txBody>
          <a:bodyPr wrap="none" rtlCol="0" anchor="ctr" anchorCtr="0">
            <a:spAutoFit/>
          </a:bodyPr>
          <a:lstStyle/>
          <a:p>
            <a:pPr algn="r"/>
            <a:r>
              <a:rPr lang="en-US" sz="1600" b="1" dirty="0">
                <a:latin typeface="Segoe UI Light" panose="020B0502040204020203" pitchFamily="34" charset="0"/>
                <a:ea typeface="Open Sans" panose="020B0606030504020204" pitchFamily="34" charset="0"/>
                <a:cs typeface="Open Sans" panose="020B0606030504020204" pitchFamily="34" charset="0"/>
              </a:rPr>
              <a:t>Your Title</a:t>
            </a:r>
          </a:p>
        </p:txBody>
      </p:sp>
      <p:sp>
        <p:nvSpPr>
          <p:cNvPr id="17" name="Subtitle 2">
            <a:extLst>
              <a:ext uri="{FF2B5EF4-FFF2-40B4-BE49-F238E27FC236}">
                <a16:creationId xmlns:a16="http://schemas.microsoft.com/office/drawing/2014/main" id="{2ED5DEB2-406C-C04B-9A52-3EB02FAE42D9}"/>
              </a:ext>
            </a:extLst>
          </p:cNvPr>
          <p:cNvSpPr txBox="1">
            <a:spLocks/>
          </p:cNvSpPr>
          <p:nvPr/>
        </p:nvSpPr>
        <p:spPr>
          <a:xfrm>
            <a:off x="7496403" y="5249209"/>
            <a:ext cx="3322442" cy="779415"/>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rPr>
              <a:t>Lorem ipsum dolor sit amet, consectetuer adipiscing elit. Aenean commodo ligula eget dolor. Aenean massa.</a:t>
            </a:r>
          </a:p>
        </p:txBody>
      </p:sp>
      <p:sp>
        <p:nvSpPr>
          <p:cNvPr id="18" name="TextBox 17">
            <a:extLst>
              <a:ext uri="{FF2B5EF4-FFF2-40B4-BE49-F238E27FC236}">
                <a16:creationId xmlns:a16="http://schemas.microsoft.com/office/drawing/2014/main" id="{7F52F7AD-3FAF-1A44-B21E-6CEB965BD6D3}"/>
              </a:ext>
            </a:extLst>
          </p:cNvPr>
          <p:cNvSpPr txBox="1"/>
          <p:nvPr/>
        </p:nvSpPr>
        <p:spPr>
          <a:xfrm>
            <a:off x="9794102" y="4879338"/>
            <a:ext cx="971548" cy="338554"/>
          </a:xfrm>
          <a:prstGeom prst="rect">
            <a:avLst/>
          </a:prstGeom>
          <a:noFill/>
        </p:spPr>
        <p:txBody>
          <a:bodyPr wrap="none" rtlCol="0" anchor="ctr" anchorCtr="0">
            <a:spAutoFit/>
          </a:bodyPr>
          <a:lstStyle/>
          <a:p>
            <a:pPr algn="r"/>
            <a:r>
              <a:rPr lang="en-US" sz="1600" b="1" dirty="0">
                <a:latin typeface="Segoe UI Light" panose="020B0502040204020203" pitchFamily="34" charset="0"/>
                <a:ea typeface="Open Sans" panose="020B0606030504020204" pitchFamily="34" charset="0"/>
                <a:cs typeface="Open Sans" panose="020B0606030504020204" pitchFamily="34" charset="0"/>
              </a:rPr>
              <a:t>Your Title</a:t>
            </a:r>
          </a:p>
        </p:txBody>
      </p:sp>
      <p:sp>
        <p:nvSpPr>
          <p:cNvPr id="19" name="Subtitle 2">
            <a:extLst>
              <a:ext uri="{FF2B5EF4-FFF2-40B4-BE49-F238E27FC236}">
                <a16:creationId xmlns:a16="http://schemas.microsoft.com/office/drawing/2014/main" id="{2DA9EE71-08EC-5741-A8D0-460EC7092B2A}"/>
              </a:ext>
            </a:extLst>
          </p:cNvPr>
          <p:cNvSpPr txBox="1">
            <a:spLocks/>
          </p:cNvSpPr>
          <p:nvPr/>
        </p:nvSpPr>
        <p:spPr>
          <a:xfrm>
            <a:off x="663511" y="3215683"/>
            <a:ext cx="3322442" cy="779415"/>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rPr>
              <a:t>Lorem ipsum dolor sit amet, consectetuer adipiscing elit. Aenean commodo ligula eget dolor. Aenean massa.</a:t>
            </a:r>
          </a:p>
        </p:txBody>
      </p:sp>
      <p:sp>
        <p:nvSpPr>
          <p:cNvPr id="20" name="TextBox 19">
            <a:extLst>
              <a:ext uri="{FF2B5EF4-FFF2-40B4-BE49-F238E27FC236}">
                <a16:creationId xmlns:a16="http://schemas.microsoft.com/office/drawing/2014/main" id="{D356E304-3ACF-4941-91C3-C9AD338E115E}"/>
              </a:ext>
            </a:extLst>
          </p:cNvPr>
          <p:cNvSpPr txBox="1"/>
          <p:nvPr/>
        </p:nvSpPr>
        <p:spPr>
          <a:xfrm>
            <a:off x="721519" y="2853695"/>
            <a:ext cx="971548" cy="338554"/>
          </a:xfrm>
          <a:prstGeom prst="rect">
            <a:avLst/>
          </a:prstGeom>
          <a:noFill/>
        </p:spPr>
        <p:txBody>
          <a:bodyPr wrap="none" rtlCol="0" anchor="ctr" anchorCtr="0">
            <a:spAutoFit/>
          </a:bodyPr>
          <a:lstStyle/>
          <a:p>
            <a:r>
              <a:rPr lang="en-US" sz="1600" b="1" dirty="0">
                <a:latin typeface="Segoe UI Light" panose="020B0502040204020203" pitchFamily="34" charset="0"/>
                <a:ea typeface="Open Sans" panose="020B0606030504020204" pitchFamily="34" charset="0"/>
                <a:cs typeface="Open Sans" panose="020B0606030504020204" pitchFamily="34" charset="0"/>
              </a:rPr>
              <a:t>Your Title</a:t>
            </a:r>
          </a:p>
        </p:txBody>
      </p:sp>
      <p:sp>
        <p:nvSpPr>
          <p:cNvPr id="21" name="Subtitle 2">
            <a:extLst>
              <a:ext uri="{FF2B5EF4-FFF2-40B4-BE49-F238E27FC236}">
                <a16:creationId xmlns:a16="http://schemas.microsoft.com/office/drawing/2014/main" id="{6ED569C7-7492-D840-BE27-33399C9FA225}"/>
              </a:ext>
            </a:extLst>
          </p:cNvPr>
          <p:cNvSpPr txBox="1">
            <a:spLocks/>
          </p:cNvSpPr>
          <p:nvPr/>
        </p:nvSpPr>
        <p:spPr>
          <a:xfrm>
            <a:off x="1110076" y="4530012"/>
            <a:ext cx="3322442" cy="779415"/>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rPr>
              <a:t>Lorem ipsum dolor sit amet, consectetuer adipiscing elit. Aenean commodo ligula eget dolor. Aenean massa.</a:t>
            </a:r>
          </a:p>
        </p:txBody>
      </p:sp>
      <p:sp>
        <p:nvSpPr>
          <p:cNvPr id="22" name="TextBox 21">
            <a:extLst>
              <a:ext uri="{FF2B5EF4-FFF2-40B4-BE49-F238E27FC236}">
                <a16:creationId xmlns:a16="http://schemas.microsoft.com/office/drawing/2014/main" id="{84E29D1F-234A-1E4C-9A6D-41290E1A9838}"/>
              </a:ext>
            </a:extLst>
          </p:cNvPr>
          <p:cNvSpPr txBox="1"/>
          <p:nvPr/>
        </p:nvSpPr>
        <p:spPr>
          <a:xfrm>
            <a:off x="1168084" y="4168024"/>
            <a:ext cx="971548" cy="338554"/>
          </a:xfrm>
          <a:prstGeom prst="rect">
            <a:avLst/>
          </a:prstGeom>
          <a:noFill/>
        </p:spPr>
        <p:txBody>
          <a:bodyPr wrap="none" rtlCol="0" anchor="ctr" anchorCtr="0">
            <a:spAutoFit/>
          </a:bodyPr>
          <a:lstStyle/>
          <a:p>
            <a:r>
              <a:rPr lang="en-US" sz="1600" b="1" dirty="0">
                <a:latin typeface="Segoe UI Light" panose="020B0502040204020203" pitchFamily="34" charset="0"/>
                <a:ea typeface="Open Sans" panose="020B0606030504020204" pitchFamily="34" charset="0"/>
                <a:cs typeface="Open Sans" panose="020B0606030504020204" pitchFamily="34" charset="0"/>
              </a:rPr>
              <a:t>Your Title</a:t>
            </a:r>
          </a:p>
        </p:txBody>
      </p:sp>
      <p:sp>
        <p:nvSpPr>
          <p:cNvPr id="23" name="Titel 1">
            <a:extLst>
              <a:ext uri="{FF2B5EF4-FFF2-40B4-BE49-F238E27FC236}">
                <a16:creationId xmlns:a16="http://schemas.microsoft.com/office/drawing/2014/main" id="{E4D57EEA-38C2-4E49-AA5C-6C0665812EFE}"/>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Iceberg diagram slide</a:t>
            </a:r>
          </a:p>
        </p:txBody>
      </p:sp>
    </p:spTree>
    <p:custDataLst>
      <p:tags r:id="rId1"/>
    </p:custDataLst>
    <p:extLst>
      <p:ext uri="{BB962C8B-B14F-4D97-AF65-F5344CB8AC3E}">
        <p14:creationId xmlns:p14="http://schemas.microsoft.com/office/powerpoint/2010/main" val="314629295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3FF8CAB8-762C-A645-AF30-96A8F4EEAE87}"/>
              </a:ext>
            </a:extLst>
          </p:cNvPr>
          <p:cNvSpPr/>
          <p:nvPr/>
        </p:nvSpPr>
        <p:spPr>
          <a:xfrm>
            <a:off x="3856304" y="3261404"/>
            <a:ext cx="1767380" cy="17673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Lato Light" panose="020F0502020204030203" pitchFamily="34" charset="0"/>
            </a:endParaRPr>
          </a:p>
        </p:txBody>
      </p:sp>
      <p:sp>
        <p:nvSpPr>
          <p:cNvPr id="3" name="Oval 2">
            <a:extLst>
              <a:ext uri="{FF2B5EF4-FFF2-40B4-BE49-F238E27FC236}">
                <a16:creationId xmlns:a16="http://schemas.microsoft.com/office/drawing/2014/main" id="{76FF5832-6E52-AF46-80F1-E9EDE340FA22}"/>
              </a:ext>
            </a:extLst>
          </p:cNvPr>
          <p:cNvSpPr/>
          <p:nvPr/>
        </p:nvSpPr>
        <p:spPr>
          <a:xfrm>
            <a:off x="6568317" y="3261404"/>
            <a:ext cx="1767380" cy="17673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Lato Light" panose="020F0502020204030203" pitchFamily="34" charset="0"/>
            </a:endParaRPr>
          </a:p>
        </p:txBody>
      </p:sp>
      <p:sp>
        <p:nvSpPr>
          <p:cNvPr id="4" name="Arrow: Right 4">
            <a:extLst>
              <a:ext uri="{FF2B5EF4-FFF2-40B4-BE49-F238E27FC236}">
                <a16:creationId xmlns:a16="http://schemas.microsoft.com/office/drawing/2014/main" id="{FF6271C3-572C-3842-A559-F98A216BA2D7}"/>
              </a:ext>
            </a:extLst>
          </p:cNvPr>
          <p:cNvSpPr/>
          <p:nvPr/>
        </p:nvSpPr>
        <p:spPr>
          <a:xfrm>
            <a:off x="5505381" y="3647383"/>
            <a:ext cx="965548" cy="342811"/>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Lato Light" panose="020F0502020204030203" pitchFamily="34" charset="0"/>
            </a:endParaRPr>
          </a:p>
        </p:txBody>
      </p:sp>
      <p:sp>
        <p:nvSpPr>
          <p:cNvPr id="5" name="Arrow: Right 5">
            <a:extLst>
              <a:ext uri="{FF2B5EF4-FFF2-40B4-BE49-F238E27FC236}">
                <a16:creationId xmlns:a16="http://schemas.microsoft.com/office/drawing/2014/main" id="{86365BAA-B36D-FA40-90E2-EDCCD5C834CA}"/>
              </a:ext>
            </a:extLst>
          </p:cNvPr>
          <p:cNvSpPr/>
          <p:nvPr/>
        </p:nvSpPr>
        <p:spPr>
          <a:xfrm rot="10800000">
            <a:off x="5721074" y="4226353"/>
            <a:ext cx="931042" cy="342811"/>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Lato Light" panose="020F0502020204030203" pitchFamily="34" charset="0"/>
            </a:endParaRPr>
          </a:p>
        </p:txBody>
      </p:sp>
      <p:sp>
        <p:nvSpPr>
          <p:cNvPr id="10" name="Shape 4114">
            <a:extLst>
              <a:ext uri="{FF2B5EF4-FFF2-40B4-BE49-F238E27FC236}">
                <a16:creationId xmlns:a16="http://schemas.microsoft.com/office/drawing/2014/main" id="{6A124559-6524-F547-BC5A-E675DA584474}"/>
              </a:ext>
            </a:extLst>
          </p:cNvPr>
          <p:cNvSpPr/>
          <p:nvPr/>
        </p:nvSpPr>
        <p:spPr>
          <a:xfrm flipV="1">
            <a:off x="5033037" y="2731762"/>
            <a:ext cx="433208" cy="496421"/>
          </a:xfrm>
          <a:prstGeom prst="line">
            <a:avLst/>
          </a:prstGeom>
          <a:noFill/>
          <a:ln w="38100" cap="rnd">
            <a:solidFill>
              <a:schemeClr val="bg1">
                <a:lumMod val="50000"/>
              </a:schemeClr>
            </a:solidFill>
            <a:prstDash val="solid"/>
            <a:round/>
            <a:tailEnd type="triangle"/>
          </a:ln>
          <a:effectLst/>
        </p:spPr>
        <p:txBody>
          <a:bodyPr wrap="square" lIns="35710" tIns="35710" rIns="35710" bIns="35710" numCol="1" anchor="ctr">
            <a:noAutofit/>
          </a:bodyPr>
          <a:lstStyle/>
          <a:p>
            <a:pPr lvl="0">
              <a:lnSpc>
                <a:spcPct val="100000"/>
              </a:lnSpc>
              <a:defRPr sz="7200" spc="504">
                <a:latin typeface="+mn-lt"/>
                <a:ea typeface="+mn-ea"/>
                <a:cs typeface="+mn-cs"/>
                <a:sym typeface="Lato Light"/>
              </a:defRPr>
            </a:pPr>
            <a:endParaRPr lang="en-US" sz="3599" dirty="0">
              <a:latin typeface="Lato Light" panose="020F0502020204030203" pitchFamily="34" charset="0"/>
            </a:endParaRPr>
          </a:p>
        </p:txBody>
      </p:sp>
      <p:sp>
        <p:nvSpPr>
          <p:cNvPr id="11" name="Shape 4114">
            <a:extLst>
              <a:ext uri="{FF2B5EF4-FFF2-40B4-BE49-F238E27FC236}">
                <a16:creationId xmlns:a16="http://schemas.microsoft.com/office/drawing/2014/main" id="{71B6FC6C-8C37-BD4B-BE43-7F7F71149108}"/>
              </a:ext>
            </a:extLst>
          </p:cNvPr>
          <p:cNvSpPr/>
          <p:nvPr/>
        </p:nvSpPr>
        <p:spPr>
          <a:xfrm flipH="1" flipV="1">
            <a:off x="6568316" y="2731761"/>
            <a:ext cx="433475" cy="574735"/>
          </a:xfrm>
          <a:prstGeom prst="line">
            <a:avLst/>
          </a:prstGeom>
          <a:noFill/>
          <a:ln w="38100" cap="rnd">
            <a:solidFill>
              <a:schemeClr val="bg1">
                <a:lumMod val="50000"/>
              </a:schemeClr>
            </a:solidFill>
            <a:prstDash val="solid"/>
            <a:round/>
            <a:tailEnd type="triangle"/>
          </a:ln>
          <a:effectLst/>
        </p:spPr>
        <p:txBody>
          <a:bodyPr wrap="square" lIns="35710" tIns="35710" rIns="35710" bIns="35710" numCol="1" anchor="ctr">
            <a:noAutofit/>
          </a:bodyPr>
          <a:lstStyle/>
          <a:p>
            <a:pPr lvl="0">
              <a:lnSpc>
                <a:spcPct val="100000"/>
              </a:lnSpc>
              <a:defRPr sz="7200" spc="504">
                <a:latin typeface="+mn-lt"/>
                <a:ea typeface="+mn-ea"/>
                <a:cs typeface="+mn-cs"/>
                <a:sym typeface="Lato Light"/>
              </a:defRPr>
            </a:pPr>
            <a:endParaRPr lang="en-US" sz="3599" dirty="0">
              <a:latin typeface="Lato Light" panose="020F0502020204030203" pitchFamily="34" charset="0"/>
            </a:endParaRPr>
          </a:p>
        </p:txBody>
      </p:sp>
      <p:sp>
        <p:nvSpPr>
          <p:cNvPr id="12" name="Oval 11">
            <a:extLst>
              <a:ext uri="{FF2B5EF4-FFF2-40B4-BE49-F238E27FC236}">
                <a16:creationId xmlns:a16="http://schemas.microsoft.com/office/drawing/2014/main" id="{66C5461C-A359-A04B-8542-D807511C0A10}"/>
              </a:ext>
            </a:extLst>
          </p:cNvPr>
          <p:cNvSpPr/>
          <p:nvPr/>
        </p:nvSpPr>
        <p:spPr>
          <a:xfrm>
            <a:off x="9906776" y="3556123"/>
            <a:ext cx="1472660" cy="1472660"/>
          </a:xfrm>
          <a:prstGeom prst="ellipse">
            <a:avLst/>
          </a:prstGeom>
          <a:solidFill>
            <a:schemeClr val="bg1">
              <a:lumMod val="95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Lato Light" panose="020F0502020204030203" pitchFamily="34" charset="0"/>
            </a:endParaRPr>
          </a:p>
        </p:txBody>
      </p:sp>
      <p:sp>
        <p:nvSpPr>
          <p:cNvPr id="13" name="Shape 4114">
            <a:extLst>
              <a:ext uri="{FF2B5EF4-FFF2-40B4-BE49-F238E27FC236}">
                <a16:creationId xmlns:a16="http://schemas.microsoft.com/office/drawing/2014/main" id="{C3F0BB66-66D7-A440-B39D-707161B76DC9}"/>
              </a:ext>
            </a:extLst>
          </p:cNvPr>
          <p:cNvSpPr/>
          <p:nvPr/>
        </p:nvSpPr>
        <p:spPr>
          <a:xfrm flipH="1" flipV="1">
            <a:off x="4701901" y="2444964"/>
            <a:ext cx="40632" cy="727953"/>
          </a:xfrm>
          <a:prstGeom prst="line">
            <a:avLst/>
          </a:prstGeom>
          <a:noFill/>
          <a:ln w="38100" cap="rnd">
            <a:solidFill>
              <a:schemeClr val="bg1">
                <a:lumMod val="50000"/>
              </a:schemeClr>
            </a:solidFill>
            <a:prstDash val="solid"/>
            <a:round/>
            <a:tailEnd type="triangle"/>
          </a:ln>
          <a:effectLst/>
        </p:spPr>
        <p:txBody>
          <a:bodyPr wrap="square" lIns="35710" tIns="35710" rIns="35710" bIns="35710" numCol="1" anchor="ctr">
            <a:noAutofit/>
          </a:bodyPr>
          <a:lstStyle/>
          <a:p>
            <a:pPr lvl="0">
              <a:lnSpc>
                <a:spcPct val="100000"/>
              </a:lnSpc>
              <a:defRPr sz="7200" spc="504">
                <a:latin typeface="+mn-lt"/>
                <a:ea typeface="+mn-ea"/>
                <a:cs typeface="+mn-cs"/>
                <a:sym typeface="Lato Light"/>
              </a:defRPr>
            </a:pPr>
            <a:endParaRPr lang="en-US" sz="3599" dirty="0">
              <a:latin typeface="Lato Light" panose="020F0502020204030203" pitchFamily="34" charset="0"/>
            </a:endParaRPr>
          </a:p>
        </p:txBody>
      </p:sp>
      <p:sp>
        <p:nvSpPr>
          <p:cNvPr id="14" name="Shape 4114">
            <a:extLst>
              <a:ext uri="{FF2B5EF4-FFF2-40B4-BE49-F238E27FC236}">
                <a16:creationId xmlns:a16="http://schemas.microsoft.com/office/drawing/2014/main" id="{621FA41C-EA77-674A-A91D-02710CAB9D85}"/>
              </a:ext>
            </a:extLst>
          </p:cNvPr>
          <p:cNvSpPr/>
          <p:nvPr/>
        </p:nvSpPr>
        <p:spPr>
          <a:xfrm flipH="1" flipV="1">
            <a:off x="3599829" y="2237935"/>
            <a:ext cx="642454" cy="1068560"/>
          </a:xfrm>
          <a:prstGeom prst="line">
            <a:avLst/>
          </a:prstGeom>
          <a:noFill/>
          <a:ln w="38100" cap="rnd">
            <a:solidFill>
              <a:schemeClr val="bg1">
                <a:lumMod val="50000"/>
              </a:schemeClr>
            </a:solidFill>
            <a:prstDash val="solid"/>
            <a:round/>
            <a:tailEnd type="triangle"/>
          </a:ln>
          <a:effectLst/>
        </p:spPr>
        <p:txBody>
          <a:bodyPr wrap="square" lIns="35710" tIns="35710" rIns="35710" bIns="35710" numCol="1" anchor="ctr">
            <a:noAutofit/>
          </a:bodyPr>
          <a:lstStyle/>
          <a:p>
            <a:pPr lvl="0">
              <a:lnSpc>
                <a:spcPct val="100000"/>
              </a:lnSpc>
              <a:defRPr sz="7200" spc="504">
                <a:latin typeface="+mn-lt"/>
                <a:ea typeface="+mn-ea"/>
                <a:cs typeface="+mn-cs"/>
                <a:sym typeface="Lato Light"/>
              </a:defRPr>
            </a:pPr>
            <a:endParaRPr lang="en-US" sz="3599" dirty="0">
              <a:latin typeface="Lato Light" panose="020F0502020204030203" pitchFamily="34" charset="0"/>
            </a:endParaRPr>
          </a:p>
        </p:txBody>
      </p:sp>
      <p:sp>
        <p:nvSpPr>
          <p:cNvPr id="15" name="Shape 4114">
            <a:extLst>
              <a:ext uri="{FF2B5EF4-FFF2-40B4-BE49-F238E27FC236}">
                <a16:creationId xmlns:a16="http://schemas.microsoft.com/office/drawing/2014/main" id="{0AEC9644-0F6D-FD42-B9D7-7CE9A07D78A1}"/>
              </a:ext>
            </a:extLst>
          </p:cNvPr>
          <p:cNvSpPr/>
          <p:nvPr/>
        </p:nvSpPr>
        <p:spPr>
          <a:xfrm flipH="1" flipV="1">
            <a:off x="2750853" y="3146911"/>
            <a:ext cx="1105450" cy="495432"/>
          </a:xfrm>
          <a:prstGeom prst="line">
            <a:avLst/>
          </a:prstGeom>
          <a:noFill/>
          <a:ln w="38100" cap="rnd">
            <a:solidFill>
              <a:schemeClr val="bg1">
                <a:lumMod val="50000"/>
              </a:schemeClr>
            </a:solidFill>
            <a:prstDash val="solid"/>
            <a:round/>
            <a:tailEnd type="triangle"/>
          </a:ln>
          <a:effectLst/>
        </p:spPr>
        <p:txBody>
          <a:bodyPr wrap="square" lIns="35710" tIns="35710" rIns="35710" bIns="35710" numCol="1" anchor="ctr">
            <a:noAutofit/>
          </a:bodyPr>
          <a:lstStyle/>
          <a:p>
            <a:pPr lvl="0">
              <a:lnSpc>
                <a:spcPct val="100000"/>
              </a:lnSpc>
              <a:defRPr sz="7200" spc="504">
                <a:latin typeface="+mn-lt"/>
                <a:ea typeface="+mn-ea"/>
                <a:cs typeface="+mn-cs"/>
                <a:sym typeface="Lato Light"/>
              </a:defRPr>
            </a:pPr>
            <a:endParaRPr lang="en-US" sz="3599" dirty="0">
              <a:latin typeface="Lato Light" panose="020F0502020204030203" pitchFamily="34" charset="0"/>
            </a:endParaRPr>
          </a:p>
        </p:txBody>
      </p:sp>
      <p:sp>
        <p:nvSpPr>
          <p:cNvPr id="16" name="Shape 4114">
            <a:extLst>
              <a:ext uri="{FF2B5EF4-FFF2-40B4-BE49-F238E27FC236}">
                <a16:creationId xmlns:a16="http://schemas.microsoft.com/office/drawing/2014/main" id="{F2E57893-8AA7-DC4B-98C6-CC2195F17BC2}"/>
              </a:ext>
            </a:extLst>
          </p:cNvPr>
          <p:cNvSpPr/>
          <p:nvPr/>
        </p:nvSpPr>
        <p:spPr>
          <a:xfrm flipH="1">
            <a:off x="2279226" y="4096169"/>
            <a:ext cx="1472550" cy="41504"/>
          </a:xfrm>
          <a:prstGeom prst="line">
            <a:avLst/>
          </a:prstGeom>
          <a:noFill/>
          <a:ln w="38100" cap="rnd">
            <a:solidFill>
              <a:schemeClr val="bg1">
                <a:lumMod val="50000"/>
              </a:schemeClr>
            </a:solidFill>
            <a:prstDash val="solid"/>
            <a:round/>
            <a:tailEnd type="triangle"/>
          </a:ln>
          <a:effectLst/>
        </p:spPr>
        <p:txBody>
          <a:bodyPr wrap="square" lIns="35710" tIns="35710" rIns="35710" bIns="35710" numCol="1" anchor="ctr">
            <a:noAutofit/>
          </a:bodyPr>
          <a:lstStyle/>
          <a:p>
            <a:pPr lvl="0">
              <a:lnSpc>
                <a:spcPct val="100000"/>
              </a:lnSpc>
              <a:defRPr sz="7200" spc="504">
                <a:latin typeface="+mn-lt"/>
                <a:ea typeface="+mn-ea"/>
                <a:cs typeface="+mn-cs"/>
                <a:sym typeface="Lato Light"/>
              </a:defRPr>
            </a:pPr>
            <a:endParaRPr lang="en-US" sz="3599" dirty="0">
              <a:latin typeface="Lato Light" panose="020F0502020204030203" pitchFamily="34" charset="0"/>
            </a:endParaRPr>
          </a:p>
        </p:txBody>
      </p:sp>
      <p:sp>
        <p:nvSpPr>
          <p:cNvPr id="17" name="Shape 4114">
            <a:extLst>
              <a:ext uri="{FF2B5EF4-FFF2-40B4-BE49-F238E27FC236}">
                <a16:creationId xmlns:a16="http://schemas.microsoft.com/office/drawing/2014/main" id="{554008A9-8B86-9A41-AFA1-D7DA4A410FC7}"/>
              </a:ext>
            </a:extLst>
          </p:cNvPr>
          <p:cNvSpPr/>
          <p:nvPr/>
        </p:nvSpPr>
        <p:spPr>
          <a:xfrm flipH="1">
            <a:off x="3190704" y="4642807"/>
            <a:ext cx="665599" cy="221102"/>
          </a:xfrm>
          <a:prstGeom prst="line">
            <a:avLst/>
          </a:prstGeom>
          <a:noFill/>
          <a:ln w="38100" cap="rnd">
            <a:solidFill>
              <a:schemeClr val="bg1">
                <a:lumMod val="50000"/>
              </a:schemeClr>
            </a:solidFill>
            <a:prstDash val="solid"/>
            <a:round/>
            <a:tailEnd type="triangle"/>
          </a:ln>
          <a:effectLst/>
        </p:spPr>
        <p:txBody>
          <a:bodyPr wrap="square" lIns="35710" tIns="35710" rIns="35710" bIns="35710" numCol="1" anchor="ctr">
            <a:noAutofit/>
          </a:bodyPr>
          <a:lstStyle/>
          <a:p>
            <a:pPr lvl="0">
              <a:lnSpc>
                <a:spcPct val="100000"/>
              </a:lnSpc>
              <a:defRPr sz="7200" spc="504">
                <a:latin typeface="+mn-lt"/>
                <a:ea typeface="+mn-ea"/>
                <a:cs typeface="+mn-cs"/>
                <a:sym typeface="Lato Light"/>
              </a:defRPr>
            </a:pPr>
            <a:endParaRPr lang="en-US" sz="3599" dirty="0">
              <a:latin typeface="Lato Light" panose="020F0502020204030203" pitchFamily="34" charset="0"/>
            </a:endParaRPr>
          </a:p>
        </p:txBody>
      </p:sp>
      <p:sp>
        <p:nvSpPr>
          <p:cNvPr id="18" name="Shape 4114">
            <a:extLst>
              <a:ext uri="{FF2B5EF4-FFF2-40B4-BE49-F238E27FC236}">
                <a16:creationId xmlns:a16="http://schemas.microsoft.com/office/drawing/2014/main" id="{365CB1F5-4152-E440-B109-B6738046794A}"/>
              </a:ext>
            </a:extLst>
          </p:cNvPr>
          <p:cNvSpPr/>
          <p:nvPr/>
        </p:nvSpPr>
        <p:spPr>
          <a:xfrm flipH="1">
            <a:off x="3678825" y="4930352"/>
            <a:ext cx="460037" cy="597430"/>
          </a:xfrm>
          <a:prstGeom prst="line">
            <a:avLst/>
          </a:prstGeom>
          <a:noFill/>
          <a:ln w="38100" cap="rnd">
            <a:solidFill>
              <a:schemeClr val="bg1">
                <a:lumMod val="50000"/>
              </a:schemeClr>
            </a:solidFill>
            <a:prstDash val="solid"/>
            <a:round/>
            <a:tailEnd type="triangle"/>
          </a:ln>
          <a:effectLst/>
        </p:spPr>
        <p:txBody>
          <a:bodyPr wrap="square" lIns="35710" tIns="35710" rIns="35710" bIns="35710" numCol="1" anchor="ctr">
            <a:noAutofit/>
          </a:bodyPr>
          <a:lstStyle/>
          <a:p>
            <a:pPr lvl="0">
              <a:lnSpc>
                <a:spcPct val="100000"/>
              </a:lnSpc>
              <a:defRPr sz="7200" spc="504">
                <a:latin typeface="+mn-lt"/>
                <a:ea typeface="+mn-ea"/>
                <a:cs typeface="+mn-cs"/>
                <a:sym typeface="Lato Light"/>
              </a:defRPr>
            </a:pPr>
            <a:endParaRPr lang="en-US" sz="3599" dirty="0">
              <a:latin typeface="Lato Light" panose="020F0502020204030203" pitchFamily="34" charset="0"/>
            </a:endParaRPr>
          </a:p>
        </p:txBody>
      </p:sp>
      <p:sp>
        <p:nvSpPr>
          <p:cNvPr id="19" name="Shape 4114">
            <a:extLst>
              <a:ext uri="{FF2B5EF4-FFF2-40B4-BE49-F238E27FC236}">
                <a16:creationId xmlns:a16="http://schemas.microsoft.com/office/drawing/2014/main" id="{8325DE89-62C9-2E4F-827E-527E5CFED757}"/>
              </a:ext>
            </a:extLst>
          </p:cNvPr>
          <p:cNvSpPr/>
          <p:nvPr/>
        </p:nvSpPr>
        <p:spPr>
          <a:xfrm flipH="1">
            <a:off x="4632205" y="5095227"/>
            <a:ext cx="23233" cy="557620"/>
          </a:xfrm>
          <a:prstGeom prst="line">
            <a:avLst/>
          </a:prstGeom>
          <a:noFill/>
          <a:ln w="38100" cap="rnd">
            <a:solidFill>
              <a:schemeClr val="bg1">
                <a:lumMod val="50000"/>
              </a:schemeClr>
            </a:solidFill>
            <a:prstDash val="solid"/>
            <a:round/>
            <a:tailEnd type="triangle"/>
          </a:ln>
          <a:effectLst/>
        </p:spPr>
        <p:txBody>
          <a:bodyPr wrap="square" lIns="35710" tIns="35710" rIns="35710" bIns="35710" numCol="1" anchor="ctr">
            <a:noAutofit/>
          </a:bodyPr>
          <a:lstStyle/>
          <a:p>
            <a:pPr lvl="0">
              <a:lnSpc>
                <a:spcPct val="100000"/>
              </a:lnSpc>
              <a:defRPr sz="7200" spc="504">
                <a:latin typeface="+mn-lt"/>
                <a:ea typeface="+mn-ea"/>
                <a:cs typeface="+mn-cs"/>
                <a:sym typeface="Lato Light"/>
              </a:defRPr>
            </a:pPr>
            <a:endParaRPr lang="en-US" sz="3599" dirty="0">
              <a:latin typeface="Lato Light" panose="020F0502020204030203" pitchFamily="34" charset="0"/>
            </a:endParaRPr>
          </a:p>
        </p:txBody>
      </p:sp>
      <p:sp>
        <p:nvSpPr>
          <p:cNvPr id="20" name="Shape 4114">
            <a:extLst>
              <a:ext uri="{FF2B5EF4-FFF2-40B4-BE49-F238E27FC236}">
                <a16:creationId xmlns:a16="http://schemas.microsoft.com/office/drawing/2014/main" id="{12312F8F-D8D4-5A4D-B000-50E73B4EADB9}"/>
              </a:ext>
            </a:extLst>
          </p:cNvPr>
          <p:cNvSpPr/>
          <p:nvPr/>
        </p:nvSpPr>
        <p:spPr>
          <a:xfrm flipV="1">
            <a:off x="7569297" y="2210116"/>
            <a:ext cx="55867" cy="1000891"/>
          </a:xfrm>
          <a:prstGeom prst="line">
            <a:avLst/>
          </a:prstGeom>
          <a:noFill/>
          <a:ln w="38100" cap="rnd">
            <a:solidFill>
              <a:schemeClr val="bg1">
                <a:lumMod val="50000"/>
              </a:schemeClr>
            </a:solidFill>
            <a:prstDash val="solid"/>
            <a:round/>
            <a:tailEnd type="triangle"/>
          </a:ln>
          <a:effectLst/>
        </p:spPr>
        <p:txBody>
          <a:bodyPr wrap="square" lIns="35710" tIns="35710" rIns="35710" bIns="35710" numCol="1" anchor="ctr">
            <a:noAutofit/>
          </a:bodyPr>
          <a:lstStyle/>
          <a:p>
            <a:pPr lvl="0">
              <a:lnSpc>
                <a:spcPct val="100000"/>
              </a:lnSpc>
              <a:defRPr sz="7200" spc="504">
                <a:latin typeface="+mn-lt"/>
                <a:ea typeface="+mn-ea"/>
                <a:cs typeface="+mn-cs"/>
                <a:sym typeface="Lato Light"/>
              </a:defRPr>
            </a:pPr>
            <a:endParaRPr lang="en-US" sz="3599" dirty="0">
              <a:latin typeface="Lato Light" panose="020F0502020204030203" pitchFamily="34" charset="0"/>
            </a:endParaRPr>
          </a:p>
        </p:txBody>
      </p:sp>
      <p:sp>
        <p:nvSpPr>
          <p:cNvPr id="21" name="Shape 4114">
            <a:extLst>
              <a:ext uri="{FF2B5EF4-FFF2-40B4-BE49-F238E27FC236}">
                <a16:creationId xmlns:a16="http://schemas.microsoft.com/office/drawing/2014/main" id="{B2942FA9-29F9-AB4C-9116-5BCA7C1764C0}"/>
              </a:ext>
            </a:extLst>
          </p:cNvPr>
          <p:cNvSpPr/>
          <p:nvPr/>
        </p:nvSpPr>
        <p:spPr>
          <a:xfrm flipV="1">
            <a:off x="8046692" y="2113521"/>
            <a:ext cx="1113394" cy="1246298"/>
          </a:xfrm>
          <a:prstGeom prst="line">
            <a:avLst/>
          </a:prstGeom>
          <a:noFill/>
          <a:ln w="38100" cap="rnd">
            <a:solidFill>
              <a:schemeClr val="bg1">
                <a:lumMod val="50000"/>
              </a:schemeClr>
            </a:solidFill>
            <a:prstDash val="solid"/>
            <a:round/>
            <a:tailEnd type="triangle"/>
          </a:ln>
          <a:effectLst/>
        </p:spPr>
        <p:txBody>
          <a:bodyPr wrap="square" lIns="35710" tIns="35710" rIns="35710" bIns="35710" numCol="1" anchor="ctr">
            <a:noAutofit/>
          </a:bodyPr>
          <a:lstStyle/>
          <a:p>
            <a:pPr lvl="0">
              <a:lnSpc>
                <a:spcPct val="100000"/>
              </a:lnSpc>
              <a:defRPr sz="7200" spc="504">
                <a:latin typeface="+mn-lt"/>
                <a:ea typeface="+mn-ea"/>
                <a:cs typeface="+mn-cs"/>
                <a:sym typeface="Lato Light"/>
              </a:defRPr>
            </a:pPr>
            <a:endParaRPr lang="en-US" sz="3599" dirty="0">
              <a:latin typeface="Lato Light" panose="020F0502020204030203" pitchFamily="34" charset="0"/>
            </a:endParaRPr>
          </a:p>
        </p:txBody>
      </p:sp>
      <p:sp>
        <p:nvSpPr>
          <p:cNvPr id="22" name="Shape 4114">
            <a:extLst>
              <a:ext uri="{FF2B5EF4-FFF2-40B4-BE49-F238E27FC236}">
                <a16:creationId xmlns:a16="http://schemas.microsoft.com/office/drawing/2014/main" id="{57197037-E921-404C-945D-5C127103D94A}"/>
              </a:ext>
            </a:extLst>
          </p:cNvPr>
          <p:cNvSpPr/>
          <p:nvPr/>
        </p:nvSpPr>
        <p:spPr>
          <a:xfrm flipV="1">
            <a:off x="8280311" y="3306494"/>
            <a:ext cx="902629" cy="415987"/>
          </a:xfrm>
          <a:prstGeom prst="line">
            <a:avLst/>
          </a:prstGeom>
          <a:noFill/>
          <a:ln w="38100" cap="rnd">
            <a:solidFill>
              <a:schemeClr val="bg1">
                <a:lumMod val="50000"/>
              </a:schemeClr>
            </a:solidFill>
            <a:prstDash val="solid"/>
            <a:round/>
            <a:tailEnd type="triangle"/>
          </a:ln>
          <a:effectLst/>
        </p:spPr>
        <p:txBody>
          <a:bodyPr wrap="square" lIns="35710" tIns="35710" rIns="35710" bIns="35710" numCol="1" anchor="ctr">
            <a:noAutofit/>
          </a:bodyPr>
          <a:lstStyle/>
          <a:p>
            <a:pPr lvl="0">
              <a:lnSpc>
                <a:spcPct val="100000"/>
              </a:lnSpc>
              <a:defRPr sz="7200" spc="504">
                <a:latin typeface="+mn-lt"/>
                <a:ea typeface="+mn-ea"/>
                <a:cs typeface="+mn-cs"/>
                <a:sym typeface="Lato Light"/>
              </a:defRPr>
            </a:pPr>
            <a:endParaRPr lang="en-US" sz="3599" dirty="0">
              <a:latin typeface="Lato Light" panose="020F0502020204030203" pitchFamily="34" charset="0"/>
            </a:endParaRPr>
          </a:p>
        </p:txBody>
      </p:sp>
      <p:sp>
        <p:nvSpPr>
          <p:cNvPr id="23" name="Shape 4114">
            <a:extLst>
              <a:ext uri="{FF2B5EF4-FFF2-40B4-BE49-F238E27FC236}">
                <a16:creationId xmlns:a16="http://schemas.microsoft.com/office/drawing/2014/main" id="{DEB09A0F-D644-B848-98BD-35E5EE854BCB}"/>
              </a:ext>
            </a:extLst>
          </p:cNvPr>
          <p:cNvSpPr/>
          <p:nvPr/>
        </p:nvSpPr>
        <p:spPr>
          <a:xfrm>
            <a:off x="8368737" y="4159912"/>
            <a:ext cx="1365684" cy="38492"/>
          </a:xfrm>
          <a:prstGeom prst="line">
            <a:avLst/>
          </a:prstGeom>
          <a:noFill/>
          <a:ln w="38100" cap="rnd">
            <a:solidFill>
              <a:schemeClr val="bg1">
                <a:lumMod val="50000"/>
              </a:schemeClr>
            </a:solidFill>
            <a:prstDash val="solid"/>
            <a:round/>
            <a:tailEnd type="triangle"/>
          </a:ln>
          <a:effectLst/>
        </p:spPr>
        <p:txBody>
          <a:bodyPr wrap="square" lIns="35710" tIns="35710" rIns="35710" bIns="35710" numCol="1" anchor="ctr">
            <a:noAutofit/>
          </a:bodyPr>
          <a:lstStyle/>
          <a:p>
            <a:pPr lvl="0">
              <a:lnSpc>
                <a:spcPct val="100000"/>
              </a:lnSpc>
              <a:defRPr sz="7200" spc="504">
                <a:latin typeface="+mn-lt"/>
                <a:ea typeface="+mn-ea"/>
                <a:cs typeface="+mn-cs"/>
                <a:sym typeface="Lato Light"/>
              </a:defRPr>
            </a:pPr>
            <a:endParaRPr lang="en-US" sz="3599" dirty="0">
              <a:latin typeface="Lato Light" panose="020F0502020204030203" pitchFamily="34" charset="0"/>
            </a:endParaRPr>
          </a:p>
        </p:txBody>
      </p:sp>
      <p:sp>
        <p:nvSpPr>
          <p:cNvPr id="24" name="Shape 4114">
            <a:extLst>
              <a:ext uri="{FF2B5EF4-FFF2-40B4-BE49-F238E27FC236}">
                <a16:creationId xmlns:a16="http://schemas.microsoft.com/office/drawing/2014/main" id="{B8BEF92D-37A4-5047-BEE8-EB29A914ABEF}"/>
              </a:ext>
            </a:extLst>
          </p:cNvPr>
          <p:cNvSpPr/>
          <p:nvPr/>
        </p:nvSpPr>
        <p:spPr>
          <a:xfrm>
            <a:off x="8315382" y="4557585"/>
            <a:ext cx="1365684" cy="686903"/>
          </a:xfrm>
          <a:prstGeom prst="line">
            <a:avLst/>
          </a:prstGeom>
          <a:noFill/>
          <a:ln w="38100" cap="rnd">
            <a:solidFill>
              <a:schemeClr val="bg1">
                <a:lumMod val="50000"/>
              </a:schemeClr>
            </a:solidFill>
            <a:prstDash val="solid"/>
            <a:round/>
            <a:tailEnd type="triangle"/>
          </a:ln>
          <a:effectLst/>
        </p:spPr>
        <p:txBody>
          <a:bodyPr wrap="square" lIns="35710" tIns="35710" rIns="35710" bIns="35710" numCol="1" anchor="ctr">
            <a:noAutofit/>
          </a:bodyPr>
          <a:lstStyle/>
          <a:p>
            <a:pPr lvl="0">
              <a:lnSpc>
                <a:spcPct val="100000"/>
              </a:lnSpc>
              <a:defRPr sz="7200" spc="504">
                <a:latin typeface="+mn-lt"/>
                <a:ea typeface="+mn-ea"/>
                <a:cs typeface="+mn-cs"/>
                <a:sym typeface="Lato Light"/>
              </a:defRPr>
            </a:pPr>
            <a:endParaRPr lang="en-US" sz="3599" dirty="0">
              <a:latin typeface="Lato Light" panose="020F0502020204030203" pitchFamily="34" charset="0"/>
            </a:endParaRPr>
          </a:p>
        </p:txBody>
      </p:sp>
      <p:sp>
        <p:nvSpPr>
          <p:cNvPr id="25" name="Shape 4114">
            <a:extLst>
              <a:ext uri="{FF2B5EF4-FFF2-40B4-BE49-F238E27FC236}">
                <a16:creationId xmlns:a16="http://schemas.microsoft.com/office/drawing/2014/main" id="{0B21554E-AFF5-4146-BA09-DFE3E1891A48}"/>
              </a:ext>
            </a:extLst>
          </p:cNvPr>
          <p:cNvSpPr/>
          <p:nvPr/>
        </p:nvSpPr>
        <p:spPr>
          <a:xfrm>
            <a:off x="7885539" y="4952526"/>
            <a:ext cx="483198" cy="546071"/>
          </a:xfrm>
          <a:prstGeom prst="line">
            <a:avLst/>
          </a:prstGeom>
          <a:noFill/>
          <a:ln w="38100" cap="rnd">
            <a:solidFill>
              <a:schemeClr val="bg1">
                <a:lumMod val="50000"/>
              </a:schemeClr>
            </a:solidFill>
            <a:prstDash val="solid"/>
            <a:round/>
            <a:tailEnd type="triangle"/>
          </a:ln>
          <a:effectLst/>
        </p:spPr>
        <p:txBody>
          <a:bodyPr wrap="square" lIns="35710" tIns="35710" rIns="35710" bIns="35710" numCol="1" anchor="ctr">
            <a:noAutofit/>
          </a:bodyPr>
          <a:lstStyle/>
          <a:p>
            <a:pPr lvl="0">
              <a:lnSpc>
                <a:spcPct val="100000"/>
              </a:lnSpc>
              <a:defRPr sz="7200" spc="504">
                <a:latin typeface="+mn-lt"/>
                <a:ea typeface="+mn-ea"/>
                <a:cs typeface="+mn-cs"/>
                <a:sym typeface="Lato Light"/>
              </a:defRPr>
            </a:pPr>
            <a:endParaRPr lang="en-US" sz="3599" dirty="0">
              <a:latin typeface="Lato Light" panose="020F0502020204030203" pitchFamily="34" charset="0"/>
            </a:endParaRPr>
          </a:p>
        </p:txBody>
      </p:sp>
      <p:sp>
        <p:nvSpPr>
          <p:cNvPr id="26" name="Shape 4114">
            <a:extLst>
              <a:ext uri="{FF2B5EF4-FFF2-40B4-BE49-F238E27FC236}">
                <a16:creationId xmlns:a16="http://schemas.microsoft.com/office/drawing/2014/main" id="{3883576F-6EE0-2C49-BDEA-8C9D7165222B}"/>
              </a:ext>
            </a:extLst>
          </p:cNvPr>
          <p:cNvSpPr/>
          <p:nvPr/>
        </p:nvSpPr>
        <p:spPr>
          <a:xfrm flipH="1">
            <a:off x="7349351" y="5086839"/>
            <a:ext cx="7995" cy="557620"/>
          </a:xfrm>
          <a:prstGeom prst="line">
            <a:avLst/>
          </a:prstGeom>
          <a:noFill/>
          <a:ln w="38100" cap="rnd">
            <a:solidFill>
              <a:schemeClr val="bg1">
                <a:lumMod val="50000"/>
              </a:schemeClr>
            </a:solidFill>
            <a:prstDash val="solid"/>
            <a:round/>
            <a:tailEnd type="triangle"/>
          </a:ln>
          <a:effectLst/>
        </p:spPr>
        <p:txBody>
          <a:bodyPr wrap="square" lIns="35710" tIns="35710" rIns="35710" bIns="35710" numCol="1" anchor="ctr">
            <a:noAutofit/>
          </a:bodyPr>
          <a:lstStyle/>
          <a:p>
            <a:pPr lvl="0">
              <a:lnSpc>
                <a:spcPct val="100000"/>
              </a:lnSpc>
              <a:defRPr sz="7200" spc="504">
                <a:latin typeface="+mn-lt"/>
                <a:ea typeface="+mn-ea"/>
                <a:cs typeface="+mn-cs"/>
                <a:sym typeface="Lato Light"/>
              </a:defRPr>
            </a:pPr>
            <a:endParaRPr lang="en-US" sz="3599" dirty="0">
              <a:latin typeface="Lato Light" panose="020F0502020204030203" pitchFamily="34" charset="0"/>
            </a:endParaRPr>
          </a:p>
        </p:txBody>
      </p:sp>
      <p:sp>
        <p:nvSpPr>
          <p:cNvPr id="27" name="Shape 4114">
            <a:extLst>
              <a:ext uri="{FF2B5EF4-FFF2-40B4-BE49-F238E27FC236}">
                <a16:creationId xmlns:a16="http://schemas.microsoft.com/office/drawing/2014/main" id="{20F6638E-9F03-E144-B1AD-4EF580D477F5}"/>
              </a:ext>
            </a:extLst>
          </p:cNvPr>
          <p:cNvSpPr/>
          <p:nvPr/>
        </p:nvSpPr>
        <p:spPr>
          <a:xfrm>
            <a:off x="5172011" y="5071195"/>
            <a:ext cx="197257" cy="353727"/>
          </a:xfrm>
          <a:prstGeom prst="line">
            <a:avLst/>
          </a:prstGeom>
          <a:noFill/>
          <a:ln w="38100" cap="rnd">
            <a:solidFill>
              <a:schemeClr val="bg1">
                <a:lumMod val="50000"/>
              </a:schemeClr>
            </a:solidFill>
            <a:prstDash val="solid"/>
            <a:round/>
            <a:tailEnd type="triangle"/>
          </a:ln>
          <a:effectLst/>
        </p:spPr>
        <p:txBody>
          <a:bodyPr wrap="square" lIns="35710" tIns="35710" rIns="35710" bIns="35710" numCol="1" anchor="ctr">
            <a:noAutofit/>
          </a:bodyPr>
          <a:lstStyle/>
          <a:p>
            <a:pPr lvl="0">
              <a:lnSpc>
                <a:spcPct val="100000"/>
              </a:lnSpc>
              <a:defRPr sz="7200" spc="504">
                <a:latin typeface="+mn-lt"/>
                <a:ea typeface="+mn-ea"/>
                <a:cs typeface="+mn-cs"/>
                <a:sym typeface="Lato Light"/>
              </a:defRPr>
            </a:pPr>
            <a:endParaRPr lang="en-US" sz="3599" dirty="0">
              <a:latin typeface="Lato Light" panose="020F0502020204030203" pitchFamily="34" charset="0"/>
            </a:endParaRPr>
          </a:p>
        </p:txBody>
      </p:sp>
      <p:sp>
        <p:nvSpPr>
          <p:cNvPr id="28" name="Oval 27">
            <a:extLst>
              <a:ext uri="{FF2B5EF4-FFF2-40B4-BE49-F238E27FC236}">
                <a16:creationId xmlns:a16="http://schemas.microsoft.com/office/drawing/2014/main" id="{B4234CBC-8774-5D43-AAC4-42ED2CA0EDFD}"/>
              </a:ext>
            </a:extLst>
          </p:cNvPr>
          <p:cNvSpPr/>
          <p:nvPr/>
        </p:nvSpPr>
        <p:spPr>
          <a:xfrm>
            <a:off x="4340199" y="1696406"/>
            <a:ext cx="630478" cy="630478"/>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Lato Light" panose="020F0502020204030203" pitchFamily="34" charset="0"/>
            </a:endParaRPr>
          </a:p>
        </p:txBody>
      </p:sp>
      <p:sp>
        <p:nvSpPr>
          <p:cNvPr id="29" name="Oval 28">
            <a:extLst>
              <a:ext uri="{FF2B5EF4-FFF2-40B4-BE49-F238E27FC236}">
                <a16:creationId xmlns:a16="http://schemas.microsoft.com/office/drawing/2014/main" id="{B8921F62-D40C-D544-9281-C6A2DDE8F8AD}"/>
              </a:ext>
            </a:extLst>
          </p:cNvPr>
          <p:cNvSpPr/>
          <p:nvPr/>
        </p:nvSpPr>
        <p:spPr>
          <a:xfrm>
            <a:off x="5270639" y="5417302"/>
            <a:ext cx="978443" cy="978443"/>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Lato Light" panose="020F0502020204030203" pitchFamily="34" charset="0"/>
            </a:endParaRPr>
          </a:p>
        </p:txBody>
      </p:sp>
      <p:sp>
        <p:nvSpPr>
          <p:cNvPr id="30" name="Oval 29">
            <a:extLst>
              <a:ext uri="{FF2B5EF4-FFF2-40B4-BE49-F238E27FC236}">
                <a16:creationId xmlns:a16="http://schemas.microsoft.com/office/drawing/2014/main" id="{D6E3BF33-1AF2-9648-82F7-2D84DD68A6C3}"/>
              </a:ext>
            </a:extLst>
          </p:cNvPr>
          <p:cNvSpPr/>
          <p:nvPr/>
        </p:nvSpPr>
        <p:spPr>
          <a:xfrm>
            <a:off x="7042107" y="5701049"/>
            <a:ext cx="630478" cy="630478"/>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Lato Light" panose="020F0502020204030203" pitchFamily="34" charset="0"/>
            </a:endParaRPr>
          </a:p>
        </p:txBody>
      </p:sp>
      <p:sp>
        <p:nvSpPr>
          <p:cNvPr id="31" name="Oval 30">
            <a:extLst>
              <a:ext uri="{FF2B5EF4-FFF2-40B4-BE49-F238E27FC236}">
                <a16:creationId xmlns:a16="http://schemas.microsoft.com/office/drawing/2014/main" id="{D1B60593-B5ED-3D4F-8ACE-0B97C28E3395}"/>
              </a:ext>
            </a:extLst>
          </p:cNvPr>
          <p:cNvSpPr/>
          <p:nvPr/>
        </p:nvSpPr>
        <p:spPr>
          <a:xfrm>
            <a:off x="5437506" y="1759148"/>
            <a:ext cx="1214610" cy="1214610"/>
          </a:xfrm>
          <a:prstGeom prst="ellipse">
            <a:avLst/>
          </a:prstGeom>
          <a:solidFill>
            <a:schemeClr val="bg1">
              <a:lumMod val="95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Lato Light" panose="020F0502020204030203" pitchFamily="34" charset="0"/>
            </a:endParaRPr>
          </a:p>
        </p:txBody>
      </p:sp>
      <p:sp>
        <p:nvSpPr>
          <p:cNvPr id="32" name="Oval 31">
            <a:extLst>
              <a:ext uri="{FF2B5EF4-FFF2-40B4-BE49-F238E27FC236}">
                <a16:creationId xmlns:a16="http://schemas.microsoft.com/office/drawing/2014/main" id="{183946C7-7BE5-744C-9410-DDC9E544BDFD}"/>
              </a:ext>
            </a:extLst>
          </p:cNvPr>
          <p:cNvSpPr/>
          <p:nvPr/>
        </p:nvSpPr>
        <p:spPr>
          <a:xfrm>
            <a:off x="892301" y="3523434"/>
            <a:ext cx="1312868" cy="1312868"/>
          </a:xfrm>
          <a:prstGeom prst="ellipse">
            <a:avLst/>
          </a:prstGeom>
          <a:solidFill>
            <a:schemeClr val="bg1">
              <a:lumMod val="95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Lato Light" panose="020F0502020204030203" pitchFamily="34" charset="0"/>
            </a:endParaRPr>
          </a:p>
        </p:txBody>
      </p:sp>
      <p:sp>
        <p:nvSpPr>
          <p:cNvPr id="33" name="Oval 32">
            <a:extLst>
              <a:ext uri="{FF2B5EF4-FFF2-40B4-BE49-F238E27FC236}">
                <a16:creationId xmlns:a16="http://schemas.microsoft.com/office/drawing/2014/main" id="{48CDC4D1-D553-6B44-B6D9-408510DA8AD4}"/>
              </a:ext>
            </a:extLst>
          </p:cNvPr>
          <p:cNvSpPr/>
          <p:nvPr/>
        </p:nvSpPr>
        <p:spPr>
          <a:xfrm>
            <a:off x="2778077" y="5498596"/>
            <a:ext cx="978443" cy="978443"/>
          </a:xfrm>
          <a:prstGeom prst="ellipse">
            <a:avLst/>
          </a:prstGeom>
          <a:solidFill>
            <a:schemeClr val="bg1">
              <a:lumMod val="95000"/>
            </a:schemeClr>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Lato Light" panose="020F0502020204030203" pitchFamily="34" charset="0"/>
            </a:endParaRPr>
          </a:p>
        </p:txBody>
      </p:sp>
      <p:sp>
        <p:nvSpPr>
          <p:cNvPr id="34" name="Oval 33">
            <a:extLst>
              <a:ext uri="{FF2B5EF4-FFF2-40B4-BE49-F238E27FC236}">
                <a16:creationId xmlns:a16="http://schemas.microsoft.com/office/drawing/2014/main" id="{93C1D866-19F9-CD44-A332-6B02BC1C6D27}"/>
              </a:ext>
            </a:extLst>
          </p:cNvPr>
          <p:cNvSpPr/>
          <p:nvPr/>
        </p:nvSpPr>
        <p:spPr>
          <a:xfrm>
            <a:off x="9223133" y="2521863"/>
            <a:ext cx="1128794" cy="1128794"/>
          </a:xfrm>
          <a:prstGeom prst="ellipse">
            <a:avLst/>
          </a:prstGeom>
          <a:solidFill>
            <a:schemeClr val="bg1">
              <a:lumMod val="95000"/>
            </a:schemeClr>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Lato Light" panose="020F0502020204030203" pitchFamily="34" charset="0"/>
            </a:endParaRPr>
          </a:p>
        </p:txBody>
      </p:sp>
      <p:sp>
        <p:nvSpPr>
          <p:cNvPr id="35" name="Oval 34">
            <a:extLst>
              <a:ext uri="{FF2B5EF4-FFF2-40B4-BE49-F238E27FC236}">
                <a16:creationId xmlns:a16="http://schemas.microsoft.com/office/drawing/2014/main" id="{62521A4C-FAD7-DE4F-A06F-B50FB1DB82A2}"/>
              </a:ext>
            </a:extLst>
          </p:cNvPr>
          <p:cNvSpPr/>
          <p:nvPr/>
        </p:nvSpPr>
        <p:spPr>
          <a:xfrm>
            <a:off x="8335697" y="5437239"/>
            <a:ext cx="978443" cy="978443"/>
          </a:xfrm>
          <a:prstGeom prst="ellipse">
            <a:avLst/>
          </a:prstGeom>
          <a:solidFill>
            <a:schemeClr val="bg1">
              <a:lumMod val="95000"/>
            </a:schemeClr>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Lato Light" panose="020F0502020204030203" pitchFamily="34" charset="0"/>
            </a:endParaRPr>
          </a:p>
        </p:txBody>
      </p:sp>
      <p:sp>
        <p:nvSpPr>
          <p:cNvPr id="36" name="Oval 35">
            <a:extLst>
              <a:ext uri="{FF2B5EF4-FFF2-40B4-BE49-F238E27FC236}">
                <a16:creationId xmlns:a16="http://schemas.microsoft.com/office/drawing/2014/main" id="{BD905832-1DA3-C045-AE29-145357AACACD}"/>
              </a:ext>
            </a:extLst>
          </p:cNvPr>
          <p:cNvSpPr/>
          <p:nvPr/>
        </p:nvSpPr>
        <p:spPr>
          <a:xfrm>
            <a:off x="9143114" y="925067"/>
            <a:ext cx="1312868" cy="1312868"/>
          </a:xfrm>
          <a:prstGeom prst="ellipse">
            <a:avLst/>
          </a:prstGeom>
          <a:solidFill>
            <a:schemeClr val="bg1">
              <a:lumMod val="95000"/>
            </a:schemeClr>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Lato Light" panose="020F0502020204030203" pitchFamily="34" charset="0"/>
            </a:endParaRPr>
          </a:p>
        </p:txBody>
      </p:sp>
      <p:sp>
        <p:nvSpPr>
          <p:cNvPr id="37" name="Oval 36">
            <a:extLst>
              <a:ext uri="{FF2B5EF4-FFF2-40B4-BE49-F238E27FC236}">
                <a16:creationId xmlns:a16="http://schemas.microsoft.com/office/drawing/2014/main" id="{F85BF1F9-0FAC-3446-8840-DEABE1880176}"/>
              </a:ext>
            </a:extLst>
          </p:cNvPr>
          <p:cNvSpPr/>
          <p:nvPr/>
        </p:nvSpPr>
        <p:spPr>
          <a:xfrm>
            <a:off x="9716160" y="5102611"/>
            <a:ext cx="684708" cy="684708"/>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Lato Light" panose="020F0502020204030203" pitchFamily="34" charset="0"/>
            </a:endParaRPr>
          </a:p>
        </p:txBody>
      </p:sp>
      <p:sp>
        <p:nvSpPr>
          <p:cNvPr id="38" name="Oval 37">
            <a:extLst>
              <a:ext uri="{FF2B5EF4-FFF2-40B4-BE49-F238E27FC236}">
                <a16:creationId xmlns:a16="http://schemas.microsoft.com/office/drawing/2014/main" id="{363D6D6A-B50B-B145-819C-789DA52E32E2}"/>
              </a:ext>
            </a:extLst>
          </p:cNvPr>
          <p:cNvSpPr/>
          <p:nvPr/>
        </p:nvSpPr>
        <p:spPr>
          <a:xfrm>
            <a:off x="1708427" y="2337997"/>
            <a:ext cx="1002233" cy="1002233"/>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Lato Light" panose="020F0502020204030203" pitchFamily="34" charset="0"/>
            </a:endParaRPr>
          </a:p>
        </p:txBody>
      </p:sp>
      <p:sp>
        <p:nvSpPr>
          <p:cNvPr id="39" name="Oval 38">
            <a:extLst>
              <a:ext uri="{FF2B5EF4-FFF2-40B4-BE49-F238E27FC236}">
                <a16:creationId xmlns:a16="http://schemas.microsoft.com/office/drawing/2014/main" id="{D5191607-354A-144E-8F33-7328DFF0A918}"/>
              </a:ext>
            </a:extLst>
          </p:cNvPr>
          <p:cNvSpPr/>
          <p:nvPr/>
        </p:nvSpPr>
        <p:spPr>
          <a:xfrm>
            <a:off x="2462838" y="4647319"/>
            <a:ext cx="630478" cy="630478"/>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Lato Light" panose="020F0502020204030203" pitchFamily="34" charset="0"/>
            </a:endParaRPr>
          </a:p>
        </p:txBody>
      </p:sp>
      <p:sp>
        <p:nvSpPr>
          <p:cNvPr id="40" name="Oval 39">
            <a:extLst>
              <a:ext uri="{FF2B5EF4-FFF2-40B4-BE49-F238E27FC236}">
                <a16:creationId xmlns:a16="http://schemas.microsoft.com/office/drawing/2014/main" id="{4CCC21CB-44FA-C947-82CE-E37506F8491B}"/>
              </a:ext>
            </a:extLst>
          </p:cNvPr>
          <p:cNvSpPr/>
          <p:nvPr/>
        </p:nvSpPr>
        <p:spPr>
          <a:xfrm>
            <a:off x="2568741" y="927393"/>
            <a:ext cx="1312868" cy="1312868"/>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Lato Light" panose="020F0502020204030203" pitchFamily="34" charset="0"/>
            </a:endParaRPr>
          </a:p>
        </p:txBody>
      </p:sp>
      <p:sp>
        <p:nvSpPr>
          <p:cNvPr id="41" name="Oval 40">
            <a:extLst>
              <a:ext uri="{FF2B5EF4-FFF2-40B4-BE49-F238E27FC236}">
                <a16:creationId xmlns:a16="http://schemas.microsoft.com/office/drawing/2014/main" id="{3CBDB1AD-1333-6F45-9049-09947DDD78DB}"/>
              </a:ext>
            </a:extLst>
          </p:cNvPr>
          <p:cNvSpPr/>
          <p:nvPr/>
        </p:nvSpPr>
        <p:spPr>
          <a:xfrm>
            <a:off x="4283961" y="5712889"/>
            <a:ext cx="630478" cy="630478"/>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Lato Light" panose="020F0502020204030203" pitchFamily="34" charset="0"/>
            </a:endParaRPr>
          </a:p>
        </p:txBody>
      </p:sp>
      <p:sp>
        <p:nvSpPr>
          <p:cNvPr id="42" name="Oval 41">
            <a:extLst>
              <a:ext uri="{FF2B5EF4-FFF2-40B4-BE49-F238E27FC236}">
                <a16:creationId xmlns:a16="http://schemas.microsoft.com/office/drawing/2014/main" id="{5562F0A6-10E3-6F4C-91E4-69EAE8B6BD73}"/>
              </a:ext>
            </a:extLst>
          </p:cNvPr>
          <p:cNvSpPr/>
          <p:nvPr/>
        </p:nvSpPr>
        <p:spPr>
          <a:xfrm>
            <a:off x="7339470" y="1514374"/>
            <a:ext cx="630478" cy="630478"/>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latin typeface="Lato Light" panose="020F0502020204030203" pitchFamily="34" charset="0"/>
            </a:endParaRPr>
          </a:p>
        </p:txBody>
      </p:sp>
      <p:sp>
        <p:nvSpPr>
          <p:cNvPr id="142" name="TextBox 141">
            <a:extLst>
              <a:ext uri="{FF2B5EF4-FFF2-40B4-BE49-F238E27FC236}">
                <a16:creationId xmlns:a16="http://schemas.microsoft.com/office/drawing/2014/main" id="{7B9AB4DE-2D68-434B-875E-5946AF526E09}"/>
              </a:ext>
            </a:extLst>
          </p:cNvPr>
          <p:cNvSpPr txBox="1"/>
          <p:nvPr/>
        </p:nvSpPr>
        <p:spPr>
          <a:xfrm>
            <a:off x="4138097" y="4259313"/>
            <a:ext cx="1203791" cy="584775"/>
          </a:xfrm>
          <a:prstGeom prst="rect">
            <a:avLst/>
          </a:prstGeom>
          <a:noFill/>
        </p:spPr>
        <p:txBody>
          <a:bodyPr wrap="none" rtlCol="0" anchor="t"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YOUR TITLE</a:t>
            </a:r>
          </a:p>
          <a:p>
            <a:pPr algn="ctr"/>
            <a:r>
              <a:rPr lang="en-US" sz="1600" b="1" dirty="0">
                <a:solidFill>
                  <a:schemeClr val="bg1"/>
                </a:solidFill>
                <a:latin typeface="Segoe UI Light" panose="020B0502040204020203" pitchFamily="34" charset="0"/>
                <a:ea typeface="League Spartan" charset="0"/>
                <a:cs typeface="Poppins" pitchFamily="2" charset="77"/>
              </a:rPr>
              <a:t>01</a:t>
            </a:r>
          </a:p>
        </p:txBody>
      </p:sp>
      <p:sp>
        <p:nvSpPr>
          <p:cNvPr id="143" name="Freeform 730">
            <a:extLst>
              <a:ext uri="{FF2B5EF4-FFF2-40B4-BE49-F238E27FC236}">
                <a16:creationId xmlns:a16="http://schemas.microsoft.com/office/drawing/2014/main" id="{041242E4-1403-2649-BFFF-C7A0CBFE0E89}"/>
              </a:ext>
            </a:extLst>
          </p:cNvPr>
          <p:cNvSpPr>
            <a:spLocks noChangeArrowheads="1"/>
          </p:cNvSpPr>
          <p:nvPr/>
        </p:nvSpPr>
        <p:spPr bwMode="auto">
          <a:xfrm>
            <a:off x="4466069" y="3577503"/>
            <a:ext cx="554763" cy="554763"/>
          </a:xfrm>
          <a:custGeom>
            <a:avLst/>
            <a:gdLst>
              <a:gd name="T0" fmla="*/ 287569 w 297289"/>
              <a:gd name="T1" fmla="*/ 197405 h 295930"/>
              <a:gd name="T2" fmla="*/ 67601 w 297289"/>
              <a:gd name="T3" fmla="*/ 175111 h 295930"/>
              <a:gd name="T4" fmla="*/ 89922 w 297289"/>
              <a:gd name="T5" fmla="*/ 197405 h 295930"/>
              <a:gd name="T6" fmla="*/ 67601 w 297289"/>
              <a:gd name="T7" fmla="*/ 165762 h 295930"/>
              <a:gd name="T8" fmla="*/ 118723 w 297289"/>
              <a:gd name="T9" fmla="*/ 165043 h 295930"/>
              <a:gd name="T10" fmla="*/ 233662 w 297289"/>
              <a:gd name="T11" fmla="*/ 139739 h 295930"/>
              <a:gd name="T12" fmla="*/ 242699 w 297289"/>
              <a:gd name="T13" fmla="*/ 130702 h 295930"/>
              <a:gd name="T14" fmla="*/ 242699 w 297289"/>
              <a:gd name="T15" fmla="*/ 157815 h 295930"/>
              <a:gd name="T16" fmla="*/ 34192 w 297289"/>
              <a:gd name="T17" fmla="*/ 97003 h 295930"/>
              <a:gd name="T18" fmla="*/ 89100 w 297289"/>
              <a:gd name="T19" fmla="*/ 122882 h 295930"/>
              <a:gd name="T20" fmla="*/ 28843 w 297289"/>
              <a:gd name="T21" fmla="*/ 100330 h 295930"/>
              <a:gd name="T22" fmla="*/ 288289 w 297289"/>
              <a:gd name="T23" fmla="*/ 106791 h 295930"/>
              <a:gd name="T24" fmla="*/ 266328 w 297289"/>
              <a:gd name="T25" fmla="*/ 84497 h 295930"/>
              <a:gd name="T26" fmla="*/ 210886 w 297289"/>
              <a:gd name="T27" fmla="*/ 116859 h 295930"/>
              <a:gd name="T28" fmla="*/ 173805 w 297289"/>
              <a:gd name="T29" fmla="*/ 180865 h 295930"/>
              <a:gd name="T30" fmla="*/ 257328 w 297289"/>
              <a:gd name="T31" fmla="*/ 197405 h 295930"/>
              <a:gd name="T32" fmla="*/ 257328 w 297289"/>
              <a:gd name="T33" fmla="*/ 84497 h 295930"/>
              <a:gd name="T34" fmla="*/ 9279 w 297289"/>
              <a:gd name="T35" fmla="*/ 115061 h 295930"/>
              <a:gd name="T36" fmla="*/ 117643 w 297289"/>
              <a:gd name="T37" fmla="*/ 155335 h 295930"/>
              <a:gd name="T38" fmla="*/ 142484 w 297289"/>
              <a:gd name="T39" fmla="*/ 126928 h 295930"/>
              <a:gd name="T40" fmla="*/ 166964 w 297289"/>
              <a:gd name="T41" fmla="*/ 169358 h 295930"/>
              <a:gd name="T42" fmla="*/ 200806 w 297289"/>
              <a:gd name="T43" fmla="*/ 118657 h 295930"/>
              <a:gd name="T44" fmla="*/ 28360 w 297289"/>
              <a:gd name="T45" fmla="*/ 49258 h 295930"/>
              <a:gd name="T46" fmla="*/ 210526 w 297289"/>
              <a:gd name="T47" fmla="*/ 85576 h 295930"/>
              <a:gd name="T48" fmla="*/ 38080 w 297289"/>
              <a:gd name="T49" fmla="*/ 15458 h 295930"/>
              <a:gd name="T50" fmla="*/ 215926 w 297289"/>
              <a:gd name="T51" fmla="*/ 66518 h 295930"/>
              <a:gd name="T52" fmla="*/ 49240 w 297289"/>
              <a:gd name="T53" fmla="*/ 9345 h 295930"/>
              <a:gd name="T54" fmla="*/ 211966 w 297289"/>
              <a:gd name="T55" fmla="*/ 46741 h 295930"/>
              <a:gd name="T56" fmla="*/ 222766 w 297289"/>
              <a:gd name="T57" fmla="*/ 75508 h 295930"/>
              <a:gd name="T58" fmla="*/ 297289 w 297289"/>
              <a:gd name="T59" fmla="*/ 85216 h 295930"/>
              <a:gd name="T60" fmla="*/ 297289 w 297289"/>
              <a:gd name="T61" fmla="*/ 196686 h 295930"/>
              <a:gd name="T62" fmla="*/ 235007 w 297289"/>
              <a:gd name="T63" fmla="*/ 206395 h 295930"/>
              <a:gd name="T64" fmla="*/ 201526 w 297289"/>
              <a:gd name="T65" fmla="*/ 295210 h 295930"/>
              <a:gd name="T66" fmla="*/ 168764 w 297289"/>
              <a:gd name="T67" fmla="*/ 206395 h 295930"/>
              <a:gd name="T68" fmla="*/ 177405 w 297289"/>
              <a:gd name="T69" fmla="*/ 244870 h 295930"/>
              <a:gd name="T70" fmla="*/ 142484 w 297289"/>
              <a:gd name="T71" fmla="*/ 135917 h 295930"/>
              <a:gd name="T72" fmla="*/ 127363 w 297289"/>
              <a:gd name="T73" fmla="*/ 161807 h 295930"/>
              <a:gd name="T74" fmla="*/ 103602 w 297289"/>
              <a:gd name="T75" fmla="*/ 295570 h 295930"/>
              <a:gd name="T76" fmla="*/ 109002 w 297289"/>
              <a:gd name="T77" fmla="*/ 231565 h 295930"/>
              <a:gd name="T78" fmla="*/ 58601 w 297289"/>
              <a:gd name="T79" fmla="*/ 196686 h 295930"/>
              <a:gd name="T80" fmla="*/ 13239 w 297289"/>
              <a:gd name="T81" fmla="*/ 134839 h 295930"/>
              <a:gd name="T82" fmla="*/ 15399 w 297289"/>
              <a:gd name="T83" fmla="*/ 61125 h 295930"/>
              <a:gd name="T84" fmla="*/ 51761 w 297289"/>
              <a:gd name="T85" fmla="*/ 715 h 295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7289" h="295930">
                <a:moveTo>
                  <a:pt x="288289" y="175111"/>
                </a:moveTo>
                <a:cubicBezTo>
                  <a:pt x="277129" y="177269"/>
                  <a:pt x="268488" y="186258"/>
                  <a:pt x="266328" y="197405"/>
                </a:cubicBezTo>
                <a:lnTo>
                  <a:pt x="287569" y="197405"/>
                </a:lnTo>
                <a:cubicBezTo>
                  <a:pt x="287929" y="197405"/>
                  <a:pt x="288289" y="197046"/>
                  <a:pt x="288289" y="196686"/>
                </a:cubicBezTo>
                <a:lnTo>
                  <a:pt x="288289" y="175111"/>
                </a:lnTo>
                <a:close/>
                <a:moveTo>
                  <a:pt x="67601" y="175111"/>
                </a:moveTo>
                <a:lnTo>
                  <a:pt x="67601" y="196686"/>
                </a:lnTo>
                <a:cubicBezTo>
                  <a:pt x="67601" y="197046"/>
                  <a:pt x="67961" y="197405"/>
                  <a:pt x="68681" y="197405"/>
                </a:cubicBezTo>
                <a:lnTo>
                  <a:pt x="89922" y="197405"/>
                </a:lnTo>
                <a:cubicBezTo>
                  <a:pt x="88122" y="185899"/>
                  <a:pt x="79121" y="177269"/>
                  <a:pt x="67601" y="175111"/>
                </a:cubicBezTo>
                <a:close/>
                <a:moveTo>
                  <a:pt x="67601" y="150660"/>
                </a:moveTo>
                <a:lnTo>
                  <a:pt x="67601" y="165762"/>
                </a:lnTo>
                <a:cubicBezTo>
                  <a:pt x="84162" y="167920"/>
                  <a:pt x="97122" y="181224"/>
                  <a:pt x="99282" y="197405"/>
                </a:cubicBezTo>
                <a:lnTo>
                  <a:pt x="119803" y="197405"/>
                </a:lnTo>
                <a:cubicBezTo>
                  <a:pt x="120523" y="186258"/>
                  <a:pt x="119443" y="174752"/>
                  <a:pt x="118723" y="165043"/>
                </a:cubicBezTo>
                <a:lnTo>
                  <a:pt x="67601" y="150660"/>
                </a:lnTo>
                <a:close/>
                <a:moveTo>
                  <a:pt x="242699" y="130702"/>
                </a:moveTo>
                <a:cubicBezTo>
                  <a:pt x="237638" y="130702"/>
                  <a:pt x="233662" y="134678"/>
                  <a:pt x="233662" y="139739"/>
                </a:cubicBezTo>
                <a:cubicBezTo>
                  <a:pt x="233662" y="144801"/>
                  <a:pt x="237638" y="148777"/>
                  <a:pt x="242699" y="148777"/>
                </a:cubicBezTo>
                <a:cubicBezTo>
                  <a:pt x="247761" y="148777"/>
                  <a:pt x="251737" y="144801"/>
                  <a:pt x="251737" y="139739"/>
                </a:cubicBezTo>
                <a:cubicBezTo>
                  <a:pt x="251737" y="134678"/>
                  <a:pt x="247761" y="130702"/>
                  <a:pt x="242699" y="130702"/>
                </a:cubicBezTo>
                <a:close/>
                <a:moveTo>
                  <a:pt x="242699" y="121664"/>
                </a:moveTo>
                <a:cubicBezTo>
                  <a:pt x="252822" y="121664"/>
                  <a:pt x="260775" y="129979"/>
                  <a:pt x="260775" y="139739"/>
                </a:cubicBezTo>
                <a:cubicBezTo>
                  <a:pt x="260775" y="149862"/>
                  <a:pt x="252822" y="157815"/>
                  <a:pt x="242699" y="157815"/>
                </a:cubicBezTo>
                <a:cubicBezTo>
                  <a:pt x="232939" y="157815"/>
                  <a:pt x="224624" y="149862"/>
                  <a:pt x="224624" y="139739"/>
                </a:cubicBezTo>
                <a:cubicBezTo>
                  <a:pt x="224624" y="129979"/>
                  <a:pt x="232939" y="121664"/>
                  <a:pt x="242699" y="121664"/>
                </a:cubicBezTo>
                <a:close/>
                <a:moveTo>
                  <a:pt x="34192" y="97003"/>
                </a:moveTo>
                <a:lnTo>
                  <a:pt x="90170" y="113639"/>
                </a:lnTo>
                <a:cubicBezTo>
                  <a:pt x="92666" y="114378"/>
                  <a:pt x="94092" y="116966"/>
                  <a:pt x="93023" y="119554"/>
                </a:cubicBezTo>
                <a:cubicBezTo>
                  <a:pt x="92666" y="121402"/>
                  <a:pt x="90883" y="122882"/>
                  <a:pt x="89100" y="122882"/>
                </a:cubicBezTo>
                <a:cubicBezTo>
                  <a:pt x="88387" y="122882"/>
                  <a:pt x="88031" y="122512"/>
                  <a:pt x="87674" y="122512"/>
                </a:cubicBezTo>
                <a:lnTo>
                  <a:pt x="31696" y="105876"/>
                </a:lnTo>
                <a:cubicBezTo>
                  <a:pt x="29200" y="105136"/>
                  <a:pt x="27774" y="102548"/>
                  <a:pt x="28843" y="100330"/>
                </a:cubicBezTo>
                <a:cubicBezTo>
                  <a:pt x="29200" y="97742"/>
                  <a:pt x="31696" y="96264"/>
                  <a:pt x="34192" y="97003"/>
                </a:cubicBezTo>
                <a:close/>
                <a:moveTo>
                  <a:pt x="266328" y="84497"/>
                </a:moveTo>
                <a:cubicBezTo>
                  <a:pt x="268488" y="96004"/>
                  <a:pt x="277129" y="104634"/>
                  <a:pt x="288289" y="106791"/>
                </a:cubicBezTo>
                <a:lnTo>
                  <a:pt x="288289" y="85216"/>
                </a:lnTo>
                <a:cubicBezTo>
                  <a:pt x="288289" y="84857"/>
                  <a:pt x="287929" y="84497"/>
                  <a:pt x="287569" y="84497"/>
                </a:cubicBezTo>
                <a:lnTo>
                  <a:pt x="266328" y="84497"/>
                </a:lnTo>
                <a:close/>
                <a:moveTo>
                  <a:pt x="220246" y="84497"/>
                </a:moveTo>
                <a:lnTo>
                  <a:pt x="213046" y="109308"/>
                </a:lnTo>
                <a:lnTo>
                  <a:pt x="210886" y="116859"/>
                </a:lnTo>
                <a:lnTo>
                  <a:pt x="196125" y="168639"/>
                </a:lnTo>
                <a:cubicBezTo>
                  <a:pt x="193605" y="176550"/>
                  <a:pt x="186405" y="181584"/>
                  <a:pt x="178845" y="181584"/>
                </a:cubicBezTo>
                <a:cubicBezTo>
                  <a:pt x="177045" y="181584"/>
                  <a:pt x="175605" y="181224"/>
                  <a:pt x="173805" y="180865"/>
                </a:cubicBezTo>
                <a:lnTo>
                  <a:pt x="166604" y="178707"/>
                </a:lnTo>
                <a:cubicBezTo>
                  <a:pt x="166604" y="185899"/>
                  <a:pt x="166964" y="192012"/>
                  <a:pt x="167324" y="197405"/>
                </a:cubicBezTo>
                <a:lnTo>
                  <a:pt x="257328" y="197405"/>
                </a:lnTo>
                <a:cubicBezTo>
                  <a:pt x="259488" y="181224"/>
                  <a:pt x="272448" y="168279"/>
                  <a:pt x="288289" y="166122"/>
                </a:cubicBezTo>
                <a:lnTo>
                  <a:pt x="288289" y="115780"/>
                </a:lnTo>
                <a:cubicBezTo>
                  <a:pt x="272448" y="113623"/>
                  <a:pt x="259488" y="100678"/>
                  <a:pt x="257328" y="84497"/>
                </a:cubicBezTo>
                <a:lnTo>
                  <a:pt x="220246" y="84497"/>
                </a:lnTo>
                <a:close/>
                <a:moveTo>
                  <a:pt x="22960" y="67957"/>
                </a:moveTo>
                <a:lnTo>
                  <a:pt x="9279" y="115061"/>
                </a:lnTo>
                <a:cubicBezTo>
                  <a:pt x="8919" y="117219"/>
                  <a:pt x="9279" y="120095"/>
                  <a:pt x="9999" y="121894"/>
                </a:cubicBezTo>
                <a:cubicBezTo>
                  <a:pt x="11439" y="124051"/>
                  <a:pt x="13239" y="125490"/>
                  <a:pt x="15759" y="126209"/>
                </a:cubicBezTo>
                <a:lnTo>
                  <a:pt x="117643" y="155335"/>
                </a:lnTo>
                <a:cubicBezTo>
                  <a:pt x="117643" y="154615"/>
                  <a:pt x="117283" y="153537"/>
                  <a:pt x="117283" y="152458"/>
                </a:cubicBezTo>
                <a:cubicBezTo>
                  <a:pt x="116923" y="145986"/>
                  <a:pt x="119083" y="139873"/>
                  <a:pt x="123763" y="135198"/>
                </a:cubicBezTo>
                <a:cubicBezTo>
                  <a:pt x="128443" y="130164"/>
                  <a:pt x="135283" y="126928"/>
                  <a:pt x="142484" y="126928"/>
                </a:cubicBezTo>
                <a:cubicBezTo>
                  <a:pt x="150044" y="126928"/>
                  <a:pt x="156524" y="130164"/>
                  <a:pt x="161924" y="135198"/>
                </a:cubicBezTo>
                <a:cubicBezTo>
                  <a:pt x="166244" y="140232"/>
                  <a:pt x="168404" y="146345"/>
                  <a:pt x="167684" y="152458"/>
                </a:cubicBezTo>
                <a:cubicBezTo>
                  <a:pt x="167324" y="158571"/>
                  <a:pt x="166964" y="164324"/>
                  <a:pt x="166964" y="169358"/>
                </a:cubicBezTo>
                <a:lnTo>
                  <a:pt x="176325" y="172235"/>
                </a:lnTo>
                <a:cubicBezTo>
                  <a:pt x="181005" y="173673"/>
                  <a:pt x="186045" y="170796"/>
                  <a:pt x="187485" y="166122"/>
                </a:cubicBezTo>
                <a:lnTo>
                  <a:pt x="200806" y="118657"/>
                </a:lnTo>
                <a:lnTo>
                  <a:pt x="22960" y="67957"/>
                </a:lnTo>
                <a:close/>
                <a:moveTo>
                  <a:pt x="32680" y="34875"/>
                </a:moveTo>
                <a:lnTo>
                  <a:pt x="28360" y="49258"/>
                </a:lnTo>
                <a:lnTo>
                  <a:pt x="25480" y="59327"/>
                </a:lnTo>
                <a:lnTo>
                  <a:pt x="203326" y="110027"/>
                </a:lnTo>
                <a:lnTo>
                  <a:pt x="210526" y="85576"/>
                </a:lnTo>
                <a:lnTo>
                  <a:pt x="32680" y="34875"/>
                </a:lnTo>
                <a:close/>
                <a:moveTo>
                  <a:pt x="46360" y="9345"/>
                </a:moveTo>
                <a:cubicBezTo>
                  <a:pt x="42760" y="9345"/>
                  <a:pt x="39160" y="11862"/>
                  <a:pt x="38080" y="15458"/>
                </a:cubicBezTo>
                <a:lnTo>
                  <a:pt x="34840" y="26245"/>
                </a:lnTo>
                <a:lnTo>
                  <a:pt x="213046" y="76946"/>
                </a:lnTo>
                <a:lnTo>
                  <a:pt x="215926" y="66518"/>
                </a:lnTo>
                <a:cubicBezTo>
                  <a:pt x="216646" y="64001"/>
                  <a:pt x="216286" y="61844"/>
                  <a:pt x="215206" y="59686"/>
                </a:cubicBezTo>
                <a:cubicBezTo>
                  <a:pt x="214126" y="57529"/>
                  <a:pt x="211966" y="56090"/>
                  <a:pt x="209806" y="55371"/>
                </a:cubicBezTo>
                <a:lnTo>
                  <a:pt x="49240" y="9345"/>
                </a:lnTo>
                <a:cubicBezTo>
                  <a:pt x="48160" y="9345"/>
                  <a:pt x="47440" y="9345"/>
                  <a:pt x="46360" y="9345"/>
                </a:cubicBezTo>
                <a:close/>
                <a:moveTo>
                  <a:pt x="51761" y="715"/>
                </a:moveTo>
                <a:lnTo>
                  <a:pt x="211966" y="46741"/>
                </a:lnTo>
                <a:cubicBezTo>
                  <a:pt x="216646" y="48180"/>
                  <a:pt x="220606" y="51056"/>
                  <a:pt x="222766" y="55371"/>
                </a:cubicBezTo>
                <a:cubicBezTo>
                  <a:pt x="225287" y="59327"/>
                  <a:pt x="225647" y="64361"/>
                  <a:pt x="224566" y="69035"/>
                </a:cubicBezTo>
                <a:lnTo>
                  <a:pt x="222766" y="75508"/>
                </a:lnTo>
                <a:lnTo>
                  <a:pt x="261648" y="75508"/>
                </a:lnTo>
                <a:lnTo>
                  <a:pt x="287569" y="75508"/>
                </a:lnTo>
                <a:cubicBezTo>
                  <a:pt x="292969" y="75508"/>
                  <a:pt x="297289" y="80182"/>
                  <a:pt x="297289" y="85216"/>
                </a:cubicBezTo>
                <a:lnTo>
                  <a:pt x="297289" y="111825"/>
                </a:lnTo>
                <a:lnTo>
                  <a:pt x="297289" y="170077"/>
                </a:lnTo>
                <a:lnTo>
                  <a:pt x="297289" y="196686"/>
                </a:lnTo>
                <a:cubicBezTo>
                  <a:pt x="297289" y="202080"/>
                  <a:pt x="292969" y="206395"/>
                  <a:pt x="287569" y="206395"/>
                </a:cubicBezTo>
                <a:lnTo>
                  <a:pt x="261648" y="206395"/>
                </a:lnTo>
                <a:lnTo>
                  <a:pt x="235007" y="206395"/>
                </a:lnTo>
                <a:cubicBezTo>
                  <a:pt x="237527" y="230846"/>
                  <a:pt x="228527" y="259972"/>
                  <a:pt x="207646" y="293413"/>
                </a:cubicBezTo>
                <a:cubicBezTo>
                  <a:pt x="206926" y="294851"/>
                  <a:pt x="205486" y="295570"/>
                  <a:pt x="203686" y="295570"/>
                </a:cubicBezTo>
                <a:cubicBezTo>
                  <a:pt x="202966" y="295570"/>
                  <a:pt x="202246" y="295570"/>
                  <a:pt x="201526" y="295210"/>
                </a:cubicBezTo>
                <a:cubicBezTo>
                  <a:pt x="199365" y="293772"/>
                  <a:pt x="198645" y="290896"/>
                  <a:pt x="200085" y="288738"/>
                </a:cubicBezTo>
                <a:cubicBezTo>
                  <a:pt x="215566" y="263568"/>
                  <a:pt x="228887" y="233003"/>
                  <a:pt x="226367" y="206395"/>
                </a:cubicBezTo>
                <a:lnTo>
                  <a:pt x="168764" y="206395"/>
                </a:lnTo>
                <a:cubicBezTo>
                  <a:pt x="172725" y="231206"/>
                  <a:pt x="181365" y="236959"/>
                  <a:pt x="181365" y="236959"/>
                </a:cubicBezTo>
                <a:cubicBezTo>
                  <a:pt x="183525" y="238038"/>
                  <a:pt x="184245" y="240914"/>
                  <a:pt x="183525" y="242712"/>
                </a:cubicBezTo>
                <a:cubicBezTo>
                  <a:pt x="182085" y="245229"/>
                  <a:pt x="179565" y="245948"/>
                  <a:pt x="177405" y="244870"/>
                </a:cubicBezTo>
                <a:cubicBezTo>
                  <a:pt x="174885" y="243791"/>
                  <a:pt x="152204" y="230486"/>
                  <a:pt x="158684" y="151739"/>
                </a:cubicBezTo>
                <a:cubicBezTo>
                  <a:pt x="159044" y="148143"/>
                  <a:pt x="157964" y="144547"/>
                  <a:pt x="155084" y="141311"/>
                </a:cubicBezTo>
                <a:cubicBezTo>
                  <a:pt x="151844" y="138075"/>
                  <a:pt x="147164" y="135917"/>
                  <a:pt x="142484" y="135917"/>
                </a:cubicBezTo>
                <a:cubicBezTo>
                  <a:pt x="137803" y="135917"/>
                  <a:pt x="133483" y="137715"/>
                  <a:pt x="130243" y="141311"/>
                </a:cubicBezTo>
                <a:cubicBezTo>
                  <a:pt x="127363" y="144188"/>
                  <a:pt x="125923" y="148143"/>
                  <a:pt x="126283" y="151739"/>
                </a:cubicBezTo>
                <a:cubicBezTo>
                  <a:pt x="126643" y="154615"/>
                  <a:pt x="127003" y="158211"/>
                  <a:pt x="127363" y="161807"/>
                </a:cubicBezTo>
                <a:cubicBezTo>
                  <a:pt x="129523" y="183741"/>
                  <a:pt x="132763" y="217542"/>
                  <a:pt x="116203" y="237318"/>
                </a:cubicBezTo>
                <a:cubicBezTo>
                  <a:pt x="97842" y="258534"/>
                  <a:pt x="106482" y="289817"/>
                  <a:pt x="106482" y="290176"/>
                </a:cubicBezTo>
                <a:cubicBezTo>
                  <a:pt x="107202" y="292334"/>
                  <a:pt x="105762" y="295210"/>
                  <a:pt x="103602" y="295570"/>
                </a:cubicBezTo>
                <a:cubicBezTo>
                  <a:pt x="102882" y="295930"/>
                  <a:pt x="102522" y="295930"/>
                  <a:pt x="102162" y="295930"/>
                </a:cubicBezTo>
                <a:cubicBezTo>
                  <a:pt x="100362" y="295930"/>
                  <a:pt x="98202" y="294491"/>
                  <a:pt x="97842" y="292693"/>
                </a:cubicBezTo>
                <a:cubicBezTo>
                  <a:pt x="97482" y="291255"/>
                  <a:pt x="88122" y="256376"/>
                  <a:pt x="109002" y="231565"/>
                </a:cubicBezTo>
                <a:cubicBezTo>
                  <a:pt x="114763" y="224733"/>
                  <a:pt x="118003" y="216103"/>
                  <a:pt x="119083" y="206395"/>
                </a:cubicBezTo>
                <a:lnTo>
                  <a:pt x="68681" y="206395"/>
                </a:lnTo>
                <a:cubicBezTo>
                  <a:pt x="62921" y="206395"/>
                  <a:pt x="58601" y="202080"/>
                  <a:pt x="58601" y="196686"/>
                </a:cubicBezTo>
                <a:lnTo>
                  <a:pt x="58601" y="170077"/>
                </a:lnTo>
                <a:lnTo>
                  <a:pt x="58601" y="148143"/>
                </a:lnTo>
                <a:lnTo>
                  <a:pt x="13239" y="134839"/>
                </a:lnTo>
                <a:cubicBezTo>
                  <a:pt x="8559" y="133760"/>
                  <a:pt x="4599" y="130524"/>
                  <a:pt x="2439" y="126568"/>
                </a:cubicBezTo>
                <a:cubicBezTo>
                  <a:pt x="-81" y="122253"/>
                  <a:pt x="-801" y="117219"/>
                  <a:pt x="999" y="112904"/>
                </a:cubicBezTo>
                <a:lnTo>
                  <a:pt x="15399" y="61125"/>
                </a:lnTo>
                <a:lnTo>
                  <a:pt x="18279" y="51056"/>
                </a:lnTo>
                <a:lnTo>
                  <a:pt x="29080" y="13301"/>
                </a:lnTo>
                <a:cubicBezTo>
                  <a:pt x="31960" y="3952"/>
                  <a:pt x="42040" y="-2161"/>
                  <a:pt x="51761" y="715"/>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144" name="TextBox 143">
            <a:extLst>
              <a:ext uri="{FF2B5EF4-FFF2-40B4-BE49-F238E27FC236}">
                <a16:creationId xmlns:a16="http://schemas.microsoft.com/office/drawing/2014/main" id="{F63BC0AD-6E5A-244C-8244-7042AFCAD9BD}"/>
              </a:ext>
            </a:extLst>
          </p:cNvPr>
          <p:cNvSpPr txBox="1"/>
          <p:nvPr/>
        </p:nvSpPr>
        <p:spPr>
          <a:xfrm>
            <a:off x="6863762" y="4259313"/>
            <a:ext cx="1203791" cy="584775"/>
          </a:xfrm>
          <a:prstGeom prst="rect">
            <a:avLst/>
          </a:prstGeom>
          <a:noFill/>
        </p:spPr>
        <p:txBody>
          <a:bodyPr wrap="none" rtlCol="0" anchor="t"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YOUR TITLE</a:t>
            </a:r>
          </a:p>
          <a:p>
            <a:pPr algn="ctr"/>
            <a:r>
              <a:rPr lang="en-US" sz="1600" b="1" dirty="0">
                <a:solidFill>
                  <a:schemeClr val="bg1"/>
                </a:solidFill>
                <a:latin typeface="Segoe UI Light" panose="020B0502040204020203" pitchFamily="34" charset="0"/>
                <a:ea typeface="League Spartan" charset="0"/>
                <a:cs typeface="Poppins" pitchFamily="2" charset="77"/>
              </a:rPr>
              <a:t>02</a:t>
            </a:r>
          </a:p>
        </p:txBody>
      </p:sp>
      <p:sp>
        <p:nvSpPr>
          <p:cNvPr id="146" name="Freeform 723">
            <a:extLst>
              <a:ext uri="{FF2B5EF4-FFF2-40B4-BE49-F238E27FC236}">
                <a16:creationId xmlns:a16="http://schemas.microsoft.com/office/drawing/2014/main" id="{B965370E-E882-B64B-93EA-0B5BB085FD45}"/>
              </a:ext>
            </a:extLst>
          </p:cNvPr>
          <p:cNvSpPr>
            <a:spLocks noChangeArrowheads="1"/>
          </p:cNvSpPr>
          <p:nvPr/>
        </p:nvSpPr>
        <p:spPr bwMode="auto">
          <a:xfrm>
            <a:off x="7188276" y="3577503"/>
            <a:ext cx="554763" cy="609914"/>
          </a:xfrm>
          <a:custGeom>
            <a:avLst/>
            <a:gdLst>
              <a:gd name="T0" fmla="*/ 235773 w 271103"/>
              <a:gd name="T1" fmla="*/ 139301 h 298089"/>
              <a:gd name="T2" fmla="*/ 262090 w 271103"/>
              <a:gd name="T3" fmla="*/ 137857 h 298089"/>
              <a:gd name="T4" fmla="*/ 9373 w 271103"/>
              <a:gd name="T5" fmla="*/ 112596 h 298089"/>
              <a:gd name="T6" fmla="*/ 10815 w 271103"/>
              <a:gd name="T7" fmla="*/ 139301 h 298089"/>
              <a:gd name="T8" fmla="*/ 9373 w 271103"/>
              <a:gd name="T9" fmla="*/ 112596 h 298089"/>
              <a:gd name="T10" fmla="*/ 205617 w 271103"/>
              <a:gd name="T11" fmla="*/ 74613 h 298089"/>
              <a:gd name="T12" fmla="*/ 228994 w 271103"/>
              <a:gd name="T13" fmla="*/ 74613 h 298089"/>
              <a:gd name="T14" fmla="*/ 52387 w 271103"/>
              <a:gd name="T15" fmla="*/ 63027 h 298089"/>
              <a:gd name="T16" fmla="*/ 52387 w 271103"/>
              <a:gd name="T17" fmla="*/ 85837 h 298089"/>
              <a:gd name="T18" fmla="*/ 52387 w 271103"/>
              <a:gd name="T19" fmla="*/ 63027 h 298089"/>
              <a:gd name="T20" fmla="*/ 237760 w 271103"/>
              <a:gd name="T21" fmla="*/ 74613 h 298089"/>
              <a:gd name="T22" fmla="*/ 196850 w 271103"/>
              <a:gd name="T23" fmla="*/ 74613 h 298089"/>
              <a:gd name="T24" fmla="*/ 52387 w 271103"/>
              <a:gd name="T25" fmla="*/ 53975 h 298089"/>
              <a:gd name="T26" fmla="*/ 52387 w 271103"/>
              <a:gd name="T27" fmla="*/ 94888 h 298089"/>
              <a:gd name="T28" fmla="*/ 52387 w 271103"/>
              <a:gd name="T29" fmla="*/ 53975 h 298089"/>
              <a:gd name="T30" fmla="*/ 172681 w 271103"/>
              <a:gd name="T31" fmla="*/ 75932 h 298089"/>
              <a:gd name="T32" fmla="*/ 152321 w 271103"/>
              <a:gd name="T33" fmla="*/ 115525 h 298089"/>
              <a:gd name="T34" fmla="*/ 149821 w 271103"/>
              <a:gd name="T35" fmla="*/ 107170 h 298089"/>
              <a:gd name="T36" fmla="*/ 134462 w 271103"/>
              <a:gd name="T37" fmla="*/ 39244 h 298089"/>
              <a:gd name="T38" fmla="*/ 104458 w 271103"/>
              <a:gd name="T39" fmla="*/ 56317 h 298089"/>
              <a:gd name="T40" fmla="*/ 134462 w 271103"/>
              <a:gd name="T41" fmla="*/ 30163 h 298089"/>
              <a:gd name="T42" fmla="*/ 262090 w 271103"/>
              <a:gd name="T43" fmla="*/ 36089 h 298089"/>
              <a:gd name="T44" fmla="*/ 260287 w 271103"/>
              <a:gd name="T45" fmla="*/ 9383 h 298089"/>
              <a:gd name="T46" fmla="*/ 45063 w 271103"/>
              <a:gd name="T47" fmla="*/ 9383 h 298089"/>
              <a:gd name="T48" fmla="*/ 9373 w 271103"/>
              <a:gd name="T49" fmla="*/ 103213 h 298089"/>
              <a:gd name="T50" fmla="*/ 87603 w 271103"/>
              <a:gd name="T51" fmla="*/ 139301 h 298089"/>
              <a:gd name="T52" fmla="*/ 84359 w 271103"/>
              <a:gd name="T53" fmla="*/ 93108 h 298089"/>
              <a:gd name="T54" fmla="*/ 112479 w 271103"/>
              <a:gd name="T55" fmla="*/ 64598 h 298089"/>
              <a:gd name="T56" fmla="*/ 140599 w 271103"/>
              <a:gd name="T57" fmla="*/ 93108 h 298089"/>
              <a:gd name="T58" fmla="*/ 226760 w 271103"/>
              <a:gd name="T59" fmla="*/ 139301 h 298089"/>
              <a:gd name="T60" fmla="*/ 262090 w 271103"/>
              <a:gd name="T61" fmla="*/ 45111 h 298089"/>
              <a:gd name="T62" fmla="*/ 45063 w 271103"/>
              <a:gd name="T63" fmla="*/ 9383 h 298089"/>
              <a:gd name="T64" fmla="*/ 9373 w 271103"/>
              <a:gd name="T65" fmla="*/ 10826 h 298089"/>
              <a:gd name="T66" fmla="*/ 36051 w 271103"/>
              <a:gd name="T67" fmla="*/ 9383 h 298089"/>
              <a:gd name="T68" fmla="*/ 10815 w 271103"/>
              <a:gd name="T69" fmla="*/ 0 h 298089"/>
              <a:gd name="T70" fmla="*/ 231086 w 271103"/>
              <a:gd name="T71" fmla="*/ 0 h 298089"/>
              <a:gd name="T72" fmla="*/ 271103 w 271103"/>
              <a:gd name="T73" fmla="*/ 10826 h 298089"/>
              <a:gd name="T74" fmla="*/ 271103 w 271103"/>
              <a:gd name="T75" fmla="*/ 107543 h 298089"/>
              <a:gd name="T76" fmla="*/ 260287 w 271103"/>
              <a:gd name="T77" fmla="*/ 148323 h 298089"/>
              <a:gd name="T78" fmla="*/ 211258 w 271103"/>
              <a:gd name="T79" fmla="*/ 148323 h 298089"/>
              <a:gd name="T80" fmla="*/ 149251 w 271103"/>
              <a:gd name="T81" fmla="*/ 296646 h 298089"/>
              <a:gd name="T82" fmla="*/ 143122 w 271103"/>
              <a:gd name="T83" fmla="*/ 297007 h 298089"/>
              <a:gd name="T84" fmla="*/ 202606 w 271103"/>
              <a:gd name="T85" fmla="*/ 152293 h 298089"/>
              <a:gd name="T86" fmla="*/ 140599 w 271103"/>
              <a:gd name="T87" fmla="*/ 148323 h 298089"/>
              <a:gd name="T88" fmla="*/ 158264 w 271103"/>
              <a:gd name="T89" fmla="*/ 196320 h 298089"/>
              <a:gd name="T90" fmla="*/ 131586 w 271103"/>
              <a:gd name="T91" fmla="*/ 92386 h 298089"/>
              <a:gd name="T92" fmla="*/ 112479 w 271103"/>
              <a:gd name="T93" fmla="*/ 73620 h 298089"/>
              <a:gd name="T94" fmla="*/ 93371 w 271103"/>
              <a:gd name="T95" fmla="*/ 92386 h 298089"/>
              <a:gd name="T96" fmla="*/ 81835 w 271103"/>
              <a:gd name="T97" fmla="*/ 189825 h 298089"/>
              <a:gd name="T98" fmla="*/ 67775 w 271103"/>
              <a:gd name="T99" fmla="*/ 256227 h 298089"/>
              <a:gd name="T100" fmla="*/ 62368 w 271103"/>
              <a:gd name="T101" fmla="*/ 252979 h 298089"/>
              <a:gd name="T102" fmla="*/ 87243 w 271103"/>
              <a:gd name="T103" fmla="*/ 148323 h 298089"/>
              <a:gd name="T104" fmla="*/ 10815 w 271103"/>
              <a:gd name="T105" fmla="*/ 148323 h 298089"/>
              <a:gd name="T106" fmla="*/ 0 w 271103"/>
              <a:gd name="T107" fmla="*/ 107543 h 298089"/>
              <a:gd name="T108" fmla="*/ 0 w 271103"/>
              <a:gd name="T109" fmla="*/ 10826 h 298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1103" h="298089">
                <a:moveTo>
                  <a:pt x="262090" y="112596"/>
                </a:moveTo>
                <a:cubicBezTo>
                  <a:pt x="248391" y="114761"/>
                  <a:pt x="237575" y="125948"/>
                  <a:pt x="235773" y="139301"/>
                </a:cubicBezTo>
                <a:lnTo>
                  <a:pt x="260287" y="139301"/>
                </a:lnTo>
                <a:cubicBezTo>
                  <a:pt x="261369" y="139301"/>
                  <a:pt x="262090" y="138940"/>
                  <a:pt x="262090" y="137857"/>
                </a:cubicBezTo>
                <a:lnTo>
                  <a:pt x="262090" y="112596"/>
                </a:lnTo>
                <a:close/>
                <a:moveTo>
                  <a:pt x="9373" y="112596"/>
                </a:moveTo>
                <a:lnTo>
                  <a:pt x="9373" y="137857"/>
                </a:lnTo>
                <a:cubicBezTo>
                  <a:pt x="9373" y="138940"/>
                  <a:pt x="9733" y="139301"/>
                  <a:pt x="10815" y="139301"/>
                </a:cubicBezTo>
                <a:lnTo>
                  <a:pt x="36051" y="139301"/>
                </a:lnTo>
                <a:cubicBezTo>
                  <a:pt x="33888" y="125227"/>
                  <a:pt x="23072" y="114761"/>
                  <a:pt x="9373" y="112596"/>
                </a:cubicBezTo>
                <a:close/>
                <a:moveTo>
                  <a:pt x="217305" y="63027"/>
                </a:moveTo>
                <a:cubicBezTo>
                  <a:pt x="210730" y="63027"/>
                  <a:pt x="205617" y="68096"/>
                  <a:pt x="205617" y="74613"/>
                </a:cubicBezTo>
                <a:cubicBezTo>
                  <a:pt x="205617" y="80768"/>
                  <a:pt x="210730" y="85837"/>
                  <a:pt x="217305" y="85837"/>
                </a:cubicBezTo>
                <a:cubicBezTo>
                  <a:pt x="223515" y="85837"/>
                  <a:pt x="228994" y="80768"/>
                  <a:pt x="228994" y="74613"/>
                </a:cubicBezTo>
                <a:cubicBezTo>
                  <a:pt x="228994" y="68096"/>
                  <a:pt x="223515" y="63027"/>
                  <a:pt x="217305" y="63027"/>
                </a:cubicBezTo>
                <a:close/>
                <a:moveTo>
                  <a:pt x="52387" y="63027"/>
                </a:moveTo>
                <a:cubicBezTo>
                  <a:pt x="45870" y="63027"/>
                  <a:pt x="40801" y="68096"/>
                  <a:pt x="40801" y="74613"/>
                </a:cubicBezTo>
                <a:cubicBezTo>
                  <a:pt x="40801" y="80768"/>
                  <a:pt x="45870" y="85837"/>
                  <a:pt x="52387" y="85837"/>
                </a:cubicBezTo>
                <a:cubicBezTo>
                  <a:pt x="58542" y="85837"/>
                  <a:pt x="63611" y="80768"/>
                  <a:pt x="63611" y="74613"/>
                </a:cubicBezTo>
                <a:cubicBezTo>
                  <a:pt x="63611" y="68096"/>
                  <a:pt x="58542" y="63027"/>
                  <a:pt x="52387" y="63027"/>
                </a:cubicBezTo>
                <a:close/>
                <a:moveTo>
                  <a:pt x="217305" y="53975"/>
                </a:moveTo>
                <a:cubicBezTo>
                  <a:pt x="228628" y="53975"/>
                  <a:pt x="237760" y="63389"/>
                  <a:pt x="237760" y="74613"/>
                </a:cubicBezTo>
                <a:cubicBezTo>
                  <a:pt x="237760" y="85837"/>
                  <a:pt x="228628" y="94888"/>
                  <a:pt x="217305" y="94888"/>
                </a:cubicBezTo>
                <a:cubicBezTo>
                  <a:pt x="205982" y="94888"/>
                  <a:pt x="196850" y="85837"/>
                  <a:pt x="196850" y="74613"/>
                </a:cubicBezTo>
                <a:cubicBezTo>
                  <a:pt x="196850" y="63389"/>
                  <a:pt x="205982" y="53975"/>
                  <a:pt x="217305" y="53975"/>
                </a:cubicBezTo>
                <a:close/>
                <a:moveTo>
                  <a:pt x="52387" y="53975"/>
                </a:moveTo>
                <a:cubicBezTo>
                  <a:pt x="63611" y="53975"/>
                  <a:pt x="72663" y="63389"/>
                  <a:pt x="72663" y="74613"/>
                </a:cubicBezTo>
                <a:cubicBezTo>
                  <a:pt x="72663" y="85837"/>
                  <a:pt x="63611" y="94888"/>
                  <a:pt x="52387" y="94888"/>
                </a:cubicBezTo>
                <a:cubicBezTo>
                  <a:pt x="40801" y="94888"/>
                  <a:pt x="31750" y="85837"/>
                  <a:pt x="31750" y="74613"/>
                </a:cubicBezTo>
                <a:cubicBezTo>
                  <a:pt x="31750" y="63389"/>
                  <a:pt x="40801" y="53975"/>
                  <a:pt x="52387" y="53975"/>
                </a:cubicBezTo>
                <a:close/>
                <a:moveTo>
                  <a:pt x="134462" y="30163"/>
                </a:moveTo>
                <a:cubicBezTo>
                  <a:pt x="155536" y="30163"/>
                  <a:pt x="172681" y="50868"/>
                  <a:pt x="172681" y="75932"/>
                </a:cubicBezTo>
                <a:cubicBezTo>
                  <a:pt x="172681" y="91914"/>
                  <a:pt x="165894" y="106081"/>
                  <a:pt x="154822" y="114435"/>
                </a:cubicBezTo>
                <a:cubicBezTo>
                  <a:pt x="154107" y="115162"/>
                  <a:pt x="153393" y="115525"/>
                  <a:pt x="152321" y="115525"/>
                </a:cubicBezTo>
                <a:cubicBezTo>
                  <a:pt x="150892" y="115525"/>
                  <a:pt x="149821" y="114799"/>
                  <a:pt x="148749" y="113346"/>
                </a:cubicBezTo>
                <a:cubicBezTo>
                  <a:pt x="147321" y="111529"/>
                  <a:pt x="147678" y="108623"/>
                  <a:pt x="149821" y="107170"/>
                </a:cubicBezTo>
                <a:cubicBezTo>
                  <a:pt x="158393" y="100269"/>
                  <a:pt x="163751" y="88645"/>
                  <a:pt x="163751" y="75932"/>
                </a:cubicBezTo>
                <a:cubicBezTo>
                  <a:pt x="163751" y="55590"/>
                  <a:pt x="150535" y="39244"/>
                  <a:pt x="134462" y="39244"/>
                </a:cubicBezTo>
                <a:cubicBezTo>
                  <a:pt x="125175" y="39244"/>
                  <a:pt x="116245" y="45056"/>
                  <a:pt x="110530" y="54500"/>
                </a:cubicBezTo>
                <a:cubicBezTo>
                  <a:pt x="109458" y="57043"/>
                  <a:pt x="106601" y="57406"/>
                  <a:pt x="104458" y="56317"/>
                </a:cubicBezTo>
                <a:cubicBezTo>
                  <a:pt x="102315" y="55227"/>
                  <a:pt x="101600" y="52321"/>
                  <a:pt x="103029" y="50142"/>
                </a:cubicBezTo>
                <a:cubicBezTo>
                  <a:pt x="109816" y="37428"/>
                  <a:pt x="121960" y="30163"/>
                  <a:pt x="134462" y="30163"/>
                </a:cubicBezTo>
                <a:close/>
                <a:moveTo>
                  <a:pt x="235773" y="9383"/>
                </a:moveTo>
                <a:cubicBezTo>
                  <a:pt x="237575" y="22735"/>
                  <a:pt x="248391" y="33562"/>
                  <a:pt x="262090" y="36089"/>
                </a:cubicBezTo>
                <a:lnTo>
                  <a:pt x="262090" y="10826"/>
                </a:lnTo>
                <a:cubicBezTo>
                  <a:pt x="262090" y="10104"/>
                  <a:pt x="261369" y="9383"/>
                  <a:pt x="260287" y="9383"/>
                </a:cubicBezTo>
                <a:lnTo>
                  <a:pt x="235773" y="9383"/>
                </a:lnTo>
                <a:close/>
                <a:moveTo>
                  <a:pt x="45063" y="9383"/>
                </a:moveTo>
                <a:cubicBezTo>
                  <a:pt x="43261" y="28149"/>
                  <a:pt x="28119" y="42945"/>
                  <a:pt x="9373" y="45111"/>
                </a:cubicBezTo>
                <a:lnTo>
                  <a:pt x="9373" y="103213"/>
                </a:lnTo>
                <a:cubicBezTo>
                  <a:pt x="28119" y="105378"/>
                  <a:pt x="43261" y="120535"/>
                  <a:pt x="45063" y="139301"/>
                </a:cubicBezTo>
                <a:lnTo>
                  <a:pt x="87603" y="139301"/>
                </a:lnTo>
                <a:cubicBezTo>
                  <a:pt x="87964" y="127031"/>
                  <a:pt x="86522" y="114761"/>
                  <a:pt x="85440" y="104656"/>
                </a:cubicBezTo>
                <a:cubicBezTo>
                  <a:pt x="85080" y="100326"/>
                  <a:pt x="84719" y="96717"/>
                  <a:pt x="84359" y="93108"/>
                </a:cubicBezTo>
                <a:cubicBezTo>
                  <a:pt x="83998" y="85890"/>
                  <a:pt x="86161" y="79394"/>
                  <a:pt x="91569" y="73981"/>
                </a:cubicBezTo>
                <a:cubicBezTo>
                  <a:pt x="96977" y="67846"/>
                  <a:pt x="104548" y="64598"/>
                  <a:pt x="112479" y="64598"/>
                </a:cubicBezTo>
                <a:cubicBezTo>
                  <a:pt x="120771" y="64598"/>
                  <a:pt x="128341" y="67846"/>
                  <a:pt x="133749" y="73981"/>
                </a:cubicBezTo>
                <a:cubicBezTo>
                  <a:pt x="138796" y="79394"/>
                  <a:pt x="140959" y="86251"/>
                  <a:pt x="140599" y="93108"/>
                </a:cubicBezTo>
                <a:cubicBezTo>
                  <a:pt x="139157" y="111874"/>
                  <a:pt x="139157" y="127031"/>
                  <a:pt x="139878" y="139301"/>
                </a:cubicBezTo>
                <a:lnTo>
                  <a:pt x="226760" y="139301"/>
                </a:lnTo>
                <a:cubicBezTo>
                  <a:pt x="228923" y="120896"/>
                  <a:pt x="243344" y="105739"/>
                  <a:pt x="262090" y="103574"/>
                </a:cubicBezTo>
                <a:lnTo>
                  <a:pt x="262090" y="45111"/>
                </a:lnTo>
                <a:cubicBezTo>
                  <a:pt x="243344" y="42945"/>
                  <a:pt x="228923" y="27788"/>
                  <a:pt x="226760" y="9383"/>
                </a:cubicBezTo>
                <a:lnTo>
                  <a:pt x="45063" y="9383"/>
                </a:lnTo>
                <a:close/>
                <a:moveTo>
                  <a:pt x="10815" y="9383"/>
                </a:moveTo>
                <a:cubicBezTo>
                  <a:pt x="9733" y="9383"/>
                  <a:pt x="9373" y="10104"/>
                  <a:pt x="9373" y="10826"/>
                </a:cubicBezTo>
                <a:lnTo>
                  <a:pt x="9373" y="36089"/>
                </a:lnTo>
                <a:cubicBezTo>
                  <a:pt x="23072" y="33923"/>
                  <a:pt x="33888" y="23096"/>
                  <a:pt x="36051" y="9383"/>
                </a:cubicBezTo>
                <a:lnTo>
                  <a:pt x="10815" y="9383"/>
                </a:lnTo>
                <a:close/>
                <a:moveTo>
                  <a:pt x="10815" y="0"/>
                </a:moveTo>
                <a:lnTo>
                  <a:pt x="41098" y="0"/>
                </a:lnTo>
                <a:lnTo>
                  <a:pt x="231086" y="0"/>
                </a:lnTo>
                <a:lnTo>
                  <a:pt x="260287" y="0"/>
                </a:lnTo>
                <a:cubicBezTo>
                  <a:pt x="266416" y="0"/>
                  <a:pt x="271103" y="4691"/>
                  <a:pt x="271103" y="10826"/>
                </a:cubicBezTo>
                <a:lnTo>
                  <a:pt x="271103" y="40780"/>
                </a:lnTo>
                <a:lnTo>
                  <a:pt x="271103" y="107543"/>
                </a:lnTo>
                <a:lnTo>
                  <a:pt x="271103" y="137857"/>
                </a:lnTo>
                <a:cubicBezTo>
                  <a:pt x="271103" y="143632"/>
                  <a:pt x="266416" y="148323"/>
                  <a:pt x="260287" y="148323"/>
                </a:cubicBezTo>
                <a:lnTo>
                  <a:pt x="231086" y="148323"/>
                </a:lnTo>
                <a:lnTo>
                  <a:pt x="211258" y="148323"/>
                </a:lnTo>
                <a:cubicBezTo>
                  <a:pt x="211619" y="149406"/>
                  <a:pt x="211619" y="150127"/>
                  <a:pt x="211619" y="151210"/>
                </a:cubicBezTo>
                <a:cubicBezTo>
                  <a:pt x="220271" y="215447"/>
                  <a:pt x="152495" y="293398"/>
                  <a:pt x="149251" y="296646"/>
                </a:cubicBezTo>
                <a:cubicBezTo>
                  <a:pt x="148530" y="297728"/>
                  <a:pt x="147448" y="298089"/>
                  <a:pt x="146006" y="298089"/>
                </a:cubicBezTo>
                <a:cubicBezTo>
                  <a:pt x="144925" y="298089"/>
                  <a:pt x="143843" y="297728"/>
                  <a:pt x="143122" y="297007"/>
                </a:cubicBezTo>
                <a:cubicBezTo>
                  <a:pt x="140959" y="295563"/>
                  <a:pt x="140959" y="292676"/>
                  <a:pt x="142762" y="290872"/>
                </a:cubicBezTo>
                <a:cubicBezTo>
                  <a:pt x="143483" y="289789"/>
                  <a:pt x="210898" y="212199"/>
                  <a:pt x="202606" y="152293"/>
                </a:cubicBezTo>
                <a:cubicBezTo>
                  <a:pt x="202606" y="150849"/>
                  <a:pt x="202246" y="149406"/>
                  <a:pt x="202246" y="148323"/>
                </a:cubicBezTo>
                <a:lnTo>
                  <a:pt x="140599" y="148323"/>
                </a:lnTo>
                <a:cubicBezTo>
                  <a:pt x="144564" y="182968"/>
                  <a:pt x="156461" y="190185"/>
                  <a:pt x="156461" y="190185"/>
                </a:cubicBezTo>
                <a:cubicBezTo>
                  <a:pt x="158624" y="191268"/>
                  <a:pt x="159706" y="194155"/>
                  <a:pt x="158264" y="196320"/>
                </a:cubicBezTo>
                <a:cubicBezTo>
                  <a:pt x="157182" y="198125"/>
                  <a:pt x="154658" y="199568"/>
                  <a:pt x="152495" y="198125"/>
                </a:cubicBezTo>
                <a:cubicBezTo>
                  <a:pt x="149611" y="196681"/>
                  <a:pt x="124376" y="181885"/>
                  <a:pt x="131586" y="92386"/>
                </a:cubicBezTo>
                <a:cubicBezTo>
                  <a:pt x="131946" y="88056"/>
                  <a:pt x="130144" y="83725"/>
                  <a:pt x="127260" y="80116"/>
                </a:cubicBezTo>
                <a:cubicBezTo>
                  <a:pt x="123655" y="76146"/>
                  <a:pt x="117887" y="73620"/>
                  <a:pt x="112479" y="73620"/>
                </a:cubicBezTo>
                <a:cubicBezTo>
                  <a:pt x="107071" y="73620"/>
                  <a:pt x="101664" y="76146"/>
                  <a:pt x="98058" y="80116"/>
                </a:cubicBezTo>
                <a:cubicBezTo>
                  <a:pt x="94814" y="83364"/>
                  <a:pt x="93011" y="88056"/>
                  <a:pt x="93371" y="92386"/>
                </a:cubicBezTo>
                <a:cubicBezTo>
                  <a:pt x="93732" y="95634"/>
                  <a:pt x="94093" y="99604"/>
                  <a:pt x="94453" y="103574"/>
                </a:cubicBezTo>
                <a:cubicBezTo>
                  <a:pt x="96977" y="128835"/>
                  <a:pt x="100942" y="167450"/>
                  <a:pt x="81835" y="189825"/>
                </a:cubicBezTo>
                <a:cubicBezTo>
                  <a:pt x="60926" y="214365"/>
                  <a:pt x="70659" y="250453"/>
                  <a:pt x="70659" y="250453"/>
                </a:cubicBezTo>
                <a:cubicBezTo>
                  <a:pt x="71380" y="252979"/>
                  <a:pt x="70299" y="255505"/>
                  <a:pt x="67775" y="256227"/>
                </a:cubicBezTo>
                <a:cubicBezTo>
                  <a:pt x="67054" y="256227"/>
                  <a:pt x="66694" y="256227"/>
                  <a:pt x="66694" y="256227"/>
                </a:cubicBezTo>
                <a:cubicBezTo>
                  <a:pt x="64531" y="256227"/>
                  <a:pt x="62728" y="254783"/>
                  <a:pt x="62368" y="252979"/>
                </a:cubicBezTo>
                <a:cubicBezTo>
                  <a:pt x="61647" y="251175"/>
                  <a:pt x="51192" y="211838"/>
                  <a:pt x="74986" y="184050"/>
                </a:cubicBezTo>
                <a:cubicBezTo>
                  <a:pt x="82556" y="174667"/>
                  <a:pt x="86161" y="161676"/>
                  <a:pt x="87243" y="148323"/>
                </a:cubicBezTo>
                <a:lnTo>
                  <a:pt x="41098" y="148323"/>
                </a:lnTo>
                <a:lnTo>
                  <a:pt x="10815" y="148323"/>
                </a:lnTo>
                <a:cubicBezTo>
                  <a:pt x="5047" y="148323"/>
                  <a:pt x="0" y="143632"/>
                  <a:pt x="0" y="137857"/>
                </a:cubicBezTo>
                <a:lnTo>
                  <a:pt x="0" y="107543"/>
                </a:lnTo>
                <a:lnTo>
                  <a:pt x="0" y="40780"/>
                </a:lnTo>
                <a:lnTo>
                  <a:pt x="0" y="10826"/>
                </a:lnTo>
                <a:cubicBezTo>
                  <a:pt x="0" y="4691"/>
                  <a:pt x="5047" y="0"/>
                  <a:pt x="10815"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147" name="Freeform 728">
            <a:extLst>
              <a:ext uri="{FF2B5EF4-FFF2-40B4-BE49-F238E27FC236}">
                <a16:creationId xmlns:a16="http://schemas.microsoft.com/office/drawing/2014/main" id="{78C1A42D-1584-BA47-974F-7A1328A777DD}"/>
              </a:ext>
            </a:extLst>
          </p:cNvPr>
          <p:cNvSpPr>
            <a:spLocks noChangeArrowheads="1"/>
          </p:cNvSpPr>
          <p:nvPr/>
        </p:nvSpPr>
        <p:spPr bwMode="auto">
          <a:xfrm>
            <a:off x="2633433" y="4848081"/>
            <a:ext cx="289288" cy="228954"/>
          </a:xfrm>
          <a:custGeom>
            <a:avLst/>
            <a:gdLst>
              <a:gd name="T0" fmla="*/ 85441 w 297650"/>
              <a:gd name="T1" fmla="*/ 204787 h 234590"/>
              <a:gd name="T2" fmla="*/ 85441 w 297650"/>
              <a:gd name="T3" fmla="*/ 213946 h 234590"/>
              <a:gd name="T4" fmla="*/ 0 w 297650"/>
              <a:gd name="T5" fmla="*/ 209550 h 234590"/>
              <a:gd name="T6" fmla="*/ 187997 w 297650"/>
              <a:gd name="T7" fmla="*/ 167564 h 234590"/>
              <a:gd name="T8" fmla="*/ 152162 w 297650"/>
              <a:gd name="T9" fmla="*/ 184141 h 234590"/>
              <a:gd name="T10" fmla="*/ 187997 w 297650"/>
              <a:gd name="T11" fmla="*/ 206482 h 234590"/>
              <a:gd name="T12" fmla="*/ 106554 w 297650"/>
              <a:gd name="T13" fmla="*/ 167564 h 234590"/>
              <a:gd name="T14" fmla="*/ 142751 w 297650"/>
              <a:gd name="T15" fmla="*/ 223059 h 234590"/>
              <a:gd name="T16" fmla="*/ 111983 w 297650"/>
              <a:gd name="T17" fmla="*/ 170087 h 234590"/>
              <a:gd name="T18" fmla="*/ 135511 w 297650"/>
              <a:gd name="T19" fmla="*/ 150267 h 234590"/>
              <a:gd name="T20" fmla="*/ 147456 w 297650"/>
              <a:gd name="T21" fmla="*/ 176213 h 234590"/>
              <a:gd name="T22" fmla="*/ 159039 w 297650"/>
              <a:gd name="T23" fmla="*/ 150267 h 234590"/>
              <a:gd name="T24" fmla="*/ 147456 w 297650"/>
              <a:gd name="T25" fmla="*/ 162519 h 234590"/>
              <a:gd name="T26" fmla="*/ 135511 w 297650"/>
              <a:gd name="T27" fmla="*/ 150267 h 234590"/>
              <a:gd name="T28" fmla="*/ 247859 w 297650"/>
              <a:gd name="T29" fmla="*/ 117475 h 234590"/>
              <a:gd name="T30" fmla="*/ 247859 w 297650"/>
              <a:gd name="T31" fmla="*/ 215538 h 234590"/>
              <a:gd name="T32" fmla="*/ 206422 w 297650"/>
              <a:gd name="T33" fmla="*/ 211196 h 234590"/>
              <a:gd name="T34" fmla="*/ 247859 w 297650"/>
              <a:gd name="T35" fmla="*/ 206492 h 234590"/>
              <a:gd name="T36" fmla="*/ 247859 w 297650"/>
              <a:gd name="T37" fmla="*/ 126522 h 234590"/>
              <a:gd name="T38" fmla="*/ 187325 w 297650"/>
              <a:gd name="T39" fmla="*/ 122179 h 234590"/>
              <a:gd name="T40" fmla="*/ 75262 w 297650"/>
              <a:gd name="T41" fmla="*/ 50800 h 234590"/>
              <a:gd name="T42" fmla="*/ 84643 w 297650"/>
              <a:gd name="T43" fmla="*/ 55486 h 234590"/>
              <a:gd name="T44" fmla="*/ 75262 w 297650"/>
              <a:gd name="T45" fmla="*/ 59811 h 234590"/>
              <a:gd name="T46" fmla="*/ 75262 w 297650"/>
              <a:gd name="T47" fmla="*/ 116041 h 234590"/>
              <a:gd name="T48" fmla="*/ 109177 w 297650"/>
              <a:gd name="T49" fmla="*/ 120726 h 234590"/>
              <a:gd name="T50" fmla="*/ 75262 w 297650"/>
              <a:gd name="T51" fmla="*/ 125052 h 234590"/>
              <a:gd name="T52" fmla="*/ 75262 w 297650"/>
              <a:gd name="T53" fmla="*/ 50800 h 234590"/>
              <a:gd name="T54" fmla="*/ 129253 w 297650"/>
              <a:gd name="T55" fmla="*/ 56177 h 234590"/>
              <a:gd name="T56" fmla="*/ 166893 w 297650"/>
              <a:gd name="T57" fmla="*/ 56177 h 234590"/>
              <a:gd name="T58" fmla="*/ 295918 w 297650"/>
              <a:gd name="T59" fmla="*/ 31610 h 234590"/>
              <a:gd name="T60" fmla="*/ 261556 w 297650"/>
              <a:gd name="T61" fmla="*/ 77566 h 234590"/>
              <a:gd name="T62" fmla="*/ 254683 w 297650"/>
              <a:gd name="T63" fmla="*/ 77566 h 234590"/>
              <a:gd name="T64" fmla="*/ 217066 w 297650"/>
              <a:gd name="T65" fmla="*/ 61282 h 234590"/>
              <a:gd name="T66" fmla="*/ 217066 w 297650"/>
              <a:gd name="T67" fmla="*/ 52236 h 234590"/>
              <a:gd name="T68" fmla="*/ 242747 w 297650"/>
              <a:gd name="T69" fmla="*/ 52959 h 234590"/>
              <a:gd name="T70" fmla="*/ 257939 w 297650"/>
              <a:gd name="T71" fmla="*/ 67796 h 234590"/>
              <a:gd name="T72" fmla="*/ 295918 w 297650"/>
              <a:gd name="T73" fmla="*/ 31610 h 234590"/>
              <a:gd name="T74" fmla="*/ 175854 w 297650"/>
              <a:gd name="T75" fmla="*/ 56177 h 234590"/>
              <a:gd name="T76" fmla="*/ 120650 w 297650"/>
              <a:gd name="T77" fmla="*/ 56177 h 234590"/>
              <a:gd name="T78" fmla="*/ 147456 w 297650"/>
              <a:gd name="T79" fmla="*/ 9009 h 234590"/>
              <a:gd name="T80" fmla="*/ 147456 w 297650"/>
              <a:gd name="T81" fmla="*/ 150628 h 234590"/>
              <a:gd name="T82" fmla="*/ 147456 w 297650"/>
              <a:gd name="T83" fmla="*/ 9009 h 234590"/>
              <a:gd name="T84" fmla="*/ 202838 w 297650"/>
              <a:gd name="T85" fmla="*/ 55495 h 234590"/>
              <a:gd name="T86" fmla="*/ 194512 w 297650"/>
              <a:gd name="T87" fmla="*/ 156393 h 234590"/>
              <a:gd name="T88" fmla="*/ 195236 w 297650"/>
              <a:gd name="T89" fmla="*/ 157114 h 234590"/>
              <a:gd name="T90" fmla="*/ 196322 w 297650"/>
              <a:gd name="T91" fmla="*/ 157835 h 234590"/>
              <a:gd name="T92" fmla="*/ 196684 w 297650"/>
              <a:gd name="T93" fmla="*/ 158916 h 234590"/>
              <a:gd name="T94" fmla="*/ 197408 w 297650"/>
              <a:gd name="T95" fmla="*/ 160718 h 234590"/>
              <a:gd name="T96" fmla="*/ 194512 w 297650"/>
              <a:gd name="T97" fmla="*/ 213689 h 234590"/>
              <a:gd name="T98" fmla="*/ 148904 w 297650"/>
              <a:gd name="T99" fmla="*/ 234230 h 234590"/>
              <a:gd name="T100" fmla="*/ 145646 w 297650"/>
              <a:gd name="T101" fmla="*/ 234230 h 234590"/>
              <a:gd name="T102" fmla="*/ 100038 w 297650"/>
              <a:gd name="T103" fmla="*/ 213689 h 234590"/>
              <a:gd name="T104" fmla="*/ 97504 w 297650"/>
              <a:gd name="T105" fmla="*/ 160718 h 234590"/>
              <a:gd name="T106" fmla="*/ 97866 w 297650"/>
              <a:gd name="T107" fmla="*/ 158916 h 234590"/>
              <a:gd name="T108" fmla="*/ 98228 w 297650"/>
              <a:gd name="T109" fmla="*/ 157835 h 234590"/>
              <a:gd name="T110" fmla="*/ 99314 w 297650"/>
              <a:gd name="T111" fmla="*/ 157114 h 234590"/>
              <a:gd name="T112" fmla="*/ 100038 w 297650"/>
              <a:gd name="T113" fmla="*/ 156393 h 234590"/>
              <a:gd name="T114" fmla="*/ 92075 w 297650"/>
              <a:gd name="T115" fmla="*/ 55495 h 234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7650" h="234590">
                <a:moveTo>
                  <a:pt x="4686" y="204787"/>
                </a:moveTo>
                <a:lnTo>
                  <a:pt x="85441" y="204787"/>
                </a:lnTo>
                <a:cubicBezTo>
                  <a:pt x="88325" y="204787"/>
                  <a:pt x="90127" y="206985"/>
                  <a:pt x="90127" y="209550"/>
                </a:cubicBezTo>
                <a:cubicBezTo>
                  <a:pt x="90127" y="212114"/>
                  <a:pt x="88325" y="213946"/>
                  <a:pt x="85441" y="213946"/>
                </a:cubicBezTo>
                <a:lnTo>
                  <a:pt x="4686" y="213946"/>
                </a:lnTo>
                <a:cubicBezTo>
                  <a:pt x="1802" y="213946"/>
                  <a:pt x="0" y="212114"/>
                  <a:pt x="0" y="209550"/>
                </a:cubicBezTo>
                <a:cubicBezTo>
                  <a:pt x="0" y="206985"/>
                  <a:pt x="1802" y="204787"/>
                  <a:pt x="4686" y="204787"/>
                </a:cubicBezTo>
                <a:close/>
                <a:moveTo>
                  <a:pt x="187997" y="167564"/>
                </a:moveTo>
                <a:lnTo>
                  <a:pt x="166641" y="177294"/>
                </a:lnTo>
                <a:lnTo>
                  <a:pt x="152162" y="184141"/>
                </a:lnTo>
                <a:lnTo>
                  <a:pt x="152162" y="223059"/>
                </a:lnTo>
                <a:lnTo>
                  <a:pt x="187997" y="206482"/>
                </a:lnTo>
                <a:lnTo>
                  <a:pt x="187997" y="167564"/>
                </a:lnTo>
                <a:close/>
                <a:moveTo>
                  <a:pt x="106554" y="167564"/>
                </a:moveTo>
                <a:lnTo>
                  <a:pt x="106554" y="206482"/>
                </a:lnTo>
                <a:lnTo>
                  <a:pt x="142751" y="223059"/>
                </a:lnTo>
                <a:lnTo>
                  <a:pt x="142751" y="184141"/>
                </a:lnTo>
                <a:lnTo>
                  <a:pt x="111983" y="170087"/>
                </a:lnTo>
                <a:lnTo>
                  <a:pt x="106554" y="167564"/>
                </a:lnTo>
                <a:close/>
                <a:moveTo>
                  <a:pt x="135511" y="150267"/>
                </a:moveTo>
                <a:lnTo>
                  <a:pt x="113069" y="160718"/>
                </a:lnTo>
                <a:lnTo>
                  <a:pt x="147456" y="176213"/>
                </a:lnTo>
                <a:lnTo>
                  <a:pt x="181843" y="160718"/>
                </a:lnTo>
                <a:lnTo>
                  <a:pt x="159039" y="150267"/>
                </a:lnTo>
                <a:cubicBezTo>
                  <a:pt x="154334" y="156393"/>
                  <a:pt x="151438" y="160357"/>
                  <a:pt x="151076" y="161078"/>
                </a:cubicBezTo>
                <a:cubicBezTo>
                  <a:pt x="149990" y="161799"/>
                  <a:pt x="148904" y="162519"/>
                  <a:pt x="147456" y="162519"/>
                </a:cubicBezTo>
                <a:cubicBezTo>
                  <a:pt x="146008" y="162519"/>
                  <a:pt x="144922" y="161799"/>
                  <a:pt x="143837" y="161078"/>
                </a:cubicBezTo>
                <a:cubicBezTo>
                  <a:pt x="143113" y="160357"/>
                  <a:pt x="140217" y="156393"/>
                  <a:pt x="135511" y="150267"/>
                </a:cubicBezTo>
                <a:close/>
                <a:moveTo>
                  <a:pt x="192009" y="117475"/>
                </a:moveTo>
                <a:lnTo>
                  <a:pt x="247859" y="117475"/>
                </a:lnTo>
                <a:cubicBezTo>
                  <a:pt x="274884" y="117475"/>
                  <a:pt x="296503" y="139549"/>
                  <a:pt x="296503" y="166326"/>
                </a:cubicBezTo>
                <a:cubicBezTo>
                  <a:pt x="296503" y="193827"/>
                  <a:pt x="274884" y="215538"/>
                  <a:pt x="247859" y="215538"/>
                </a:cubicBezTo>
                <a:lnTo>
                  <a:pt x="211106" y="215538"/>
                </a:lnTo>
                <a:cubicBezTo>
                  <a:pt x="208584" y="215538"/>
                  <a:pt x="206422" y="213729"/>
                  <a:pt x="206422" y="211196"/>
                </a:cubicBezTo>
                <a:cubicBezTo>
                  <a:pt x="206422" y="208663"/>
                  <a:pt x="208584" y="206492"/>
                  <a:pt x="211106" y="206492"/>
                </a:cubicBezTo>
                <a:lnTo>
                  <a:pt x="247859" y="206492"/>
                </a:lnTo>
                <a:cubicBezTo>
                  <a:pt x="269839" y="206492"/>
                  <a:pt x="287855" y="188399"/>
                  <a:pt x="287855" y="166326"/>
                </a:cubicBezTo>
                <a:cubicBezTo>
                  <a:pt x="287855" y="144614"/>
                  <a:pt x="269839" y="126522"/>
                  <a:pt x="247859" y="126522"/>
                </a:cubicBezTo>
                <a:lnTo>
                  <a:pt x="192009" y="126522"/>
                </a:lnTo>
                <a:cubicBezTo>
                  <a:pt x="189487" y="126522"/>
                  <a:pt x="187325" y="124712"/>
                  <a:pt x="187325" y="122179"/>
                </a:cubicBezTo>
                <a:cubicBezTo>
                  <a:pt x="187325" y="119285"/>
                  <a:pt x="189487" y="117475"/>
                  <a:pt x="192009" y="117475"/>
                </a:cubicBezTo>
                <a:close/>
                <a:moveTo>
                  <a:pt x="75262" y="50800"/>
                </a:moveTo>
                <a:lnTo>
                  <a:pt x="79952" y="50800"/>
                </a:lnTo>
                <a:cubicBezTo>
                  <a:pt x="82478" y="50800"/>
                  <a:pt x="84643" y="52963"/>
                  <a:pt x="84643" y="55486"/>
                </a:cubicBezTo>
                <a:cubicBezTo>
                  <a:pt x="84643" y="58009"/>
                  <a:pt x="82478" y="59811"/>
                  <a:pt x="79952" y="59811"/>
                </a:cubicBezTo>
                <a:lnTo>
                  <a:pt x="75262" y="59811"/>
                </a:lnTo>
                <a:cubicBezTo>
                  <a:pt x="59748" y="59811"/>
                  <a:pt x="47120" y="72427"/>
                  <a:pt x="47120" y="87926"/>
                </a:cubicBezTo>
                <a:cubicBezTo>
                  <a:pt x="47120" y="103425"/>
                  <a:pt x="59748" y="116041"/>
                  <a:pt x="75262" y="116041"/>
                </a:cubicBezTo>
                <a:lnTo>
                  <a:pt x="104847" y="116041"/>
                </a:lnTo>
                <a:cubicBezTo>
                  <a:pt x="107373" y="116041"/>
                  <a:pt x="109177" y="117843"/>
                  <a:pt x="109177" y="120726"/>
                </a:cubicBezTo>
                <a:cubicBezTo>
                  <a:pt x="109177" y="123250"/>
                  <a:pt x="107373" y="125052"/>
                  <a:pt x="104847" y="125052"/>
                </a:cubicBezTo>
                <a:lnTo>
                  <a:pt x="75262" y="125052"/>
                </a:lnTo>
                <a:cubicBezTo>
                  <a:pt x="55057" y="125052"/>
                  <a:pt x="38100" y="108471"/>
                  <a:pt x="38100" y="87926"/>
                </a:cubicBezTo>
                <a:cubicBezTo>
                  <a:pt x="38100" y="67381"/>
                  <a:pt x="55057" y="50800"/>
                  <a:pt x="75262" y="50800"/>
                </a:cubicBezTo>
                <a:close/>
                <a:moveTo>
                  <a:pt x="148252" y="37178"/>
                </a:moveTo>
                <a:cubicBezTo>
                  <a:pt x="137856" y="37178"/>
                  <a:pt x="129253" y="45782"/>
                  <a:pt x="129253" y="56177"/>
                </a:cubicBezTo>
                <a:cubicBezTo>
                  <a:pt x="129253" y="66214"/>
                  <a:pt x="137856" y="74817"/>
                  <a:pt x="148252" y="74817"/>
                </a:cubicBezTo>
                <a:cubicBezTo>
                  <a:pt x="158289" y="74817"/>
                  <a:pt x="166893" y="66214"/>
                  <a:pt x="166893" y="56177"/>
                </a:cubicBezTo>
                <a:cubicBezTo>
                  <a:pt x="166893" y="45782"/>
                  <a:pt x="158289" y="37178"/>
                  <a:pt x="148252" y="37178"/>
                </a:cubicBezTo>
                <a:close/>
                <a:moveTo>
                  <a:pt x="295918" y="31610"/>
                </a:moveTo>
                <a:cubicBezTo>
                  <a:pt x="298089" y="33419"/>
                  <a:pt x="298089" y="36314"/>
                  <a:pt x="296642" y="38123"/>
                </a:cubicBezTo>
                <a:lnTo>
                  <a:pt x="261556" y="77566"/>
                </a:lnTo>
                <a:cubicBezTo>
                  <a:pt x="260471" y="78652"/>
                  <a:pt x="259386" y="79013"/>
                  <a:pt x="257939" y="79013"/>
                </a:cubicBezTo>
                <a:cubicBezTo>
                  <a:pt x="256854" y="79013"/>
                  <a:pt x="255769" y="78652"/>
                  <a:pt x="254683" y="77566"/>
                </a:cubicBezTo>
                <a:lnTo>
                  <a:pt x="239130" y="61644"/>
                </a:lnTo>
                <a:lnTo>
                  <a:pt x="217066" y="61282"/>
                </a:lnTo>
                <a:cubicBezTo>
                  <a:pt x="214534" y="61282"/>
                  <a:pt x="212725" y="59473"/>
                  <a:pt x="212725" y="56940"/>
                </a:cubicBezTo>
                <a:cubicBezTo>
                  <a:pt x="212725" y="54407"/>
                  <a:pt x="214534" y="52236"/>
                  <a:pt x="217066" y="52236"/>
                </a:cubicBezTo>
                <a:lnTo>
                  <a:pt x="240939" y="52236"/>
                </a:lnTo>
                <a:cubicBezTo>
                  <a:pt x="241662" y="52236"/>
                  <a:pt x="242024" y="52598"/>
                  <a:pt x="242747" y="52959"/>
                </a:cubicBezTo>
                <a:cubicBezTo>
                  <a:pt x="243471" y="52959"/>
                  <a:pt x="243832" y="53321"/>
                  <a:pt x="244194" y="53683"/>
                </a:cubicBezTo>
                <a:lnTo>
                  <a:pt x="257939" y="67796"/>
                </a:lnTo>
                <a:lnTo>
                  <a:pt x="289769" y="31972"/>
                </a:lnTo>
                <a:cubicBezTo>
                  <a:pt x="291216" y="30162"/>
                  <a:pt x="294110" y="30162"/>
                  <a:pt x="295918" y="31610"/>
                </a:cubicBezTo>
                <a:close/>
                <a:moveTo>
                  <a:pt x="148252" y="28575"/>
                </a:moveTo>
                <a:cubicBezTo>
                  <a:pt x="163666" y="28575"/>
                  <a:pt x="175854" y="40763"/>
                  <a:pt x="175854" y="56177"/>
                </a:cubicBezTo>
                <a:cubicBezTo>
                  <a:pt x="175854" y="71591"/>
                  <a:pt x="163666" y="83779"/>
                  <a:pt x="148252" y="83779"/>
                </a:cubicBezTo>
                <a:cubicBezTo>
                  <a:pt x="132838" y="83779"/>
                  <a:pt x="120650" y="71591"/>
                  <a:pt x="120650" y="56177"/>
                </a:cubicBezTo>
                <a:cubicBezTo>
                  <a:pt x="120650" y="40763"/>
                  <a:pt x="132838" y="28575"/>
                  <a:pt x="148252" y="28575"/>
                </a:cubicBezTo>
                <a:close/>
                <a:moveTo>
                  <a:pt x="147456" y="9009"/>
                </a:moveTo>
                <a:cubicBezTo>
                  <a:pt x="121756" y="9009"/>
                  <a:pt x="101124" y="29909"/>
                  <a:pt x="101124" y="55495"/>
                </a:cubicBezTo>
                <a:cubicBezTo>
                  <a:pt x="101124" y="87566"/>
                  <a:pt x="135873" y="135853"/>
                  <a:pt x="147456" y="150628"/>
                </a:cubicBezTo>
                <a:cubicBezTo>
                  <a:pt x="158677" y="135853"/>
                  <a:pt x="193789" y="87566"/>
                  <a:pt x="193789" y="55495"/>
                </a:cubicBezTo>
                <a:cubicBezTo>
                  <a:pt x="193789" y="29909"/>
                  <a:pt x="172794" y="9009"/>
                  <a:pt x="147456" y="9009"/>
                </a:cubicBezTo>
                <a:close/>
                <a:moveTo>
                  <a:pt x="147456" y="0"/>
                </a:moveTo>
                <a:cubicBezTo>
                  <a:pt x="177862" y="0"/>
                  <a:pt x="202838" y="24864"/>
                  <a:pt x="202838" y="55495"/>
                </a:cubicBezTo>
                <a:cubicBezTo>
                  <a:pt x="202838" y="83602"/>
                  <a:pt x="179672" y="120718"/>
                  <a:pt x="164469" y="142700"/>
                </a:cubicBezTo>
                <a:lnTo>
                  <a:pt x="194512" y="156393"/>
                </a:lnTo>
                <a:cubicBezTo>
                  <a:pt x="194874" y="156754"/>
                  <a:pt x="194874" y="156754"/>
                  <a:pt x="195236" y="156754"/>
                </a:cubicBezTo>
                <a:lnTo>
                  <a:pt x="195236" y="157114"/>
                </a:lnTo>
                <a:cubicBezTo>
                  <a:pt x="195598" y="157114"/>
                  <a:pt x="195598" y="157114"/>
                  <a:pt x="195960" y="157474"/>
                </a:cubicBezTo>
                <a:cubicBezTo>
                  <a:pt x="195960" y="157474"/>
                  <a:pt x="196322" y="157474"/>
                  <a:pt x="196322" y="157835"/>
                </a:cubicBezTo>
                <a:cubicBezTo>
                  <a:pt x="196322" y="157835"/>
                  <a:pt x="196322" y="157835"/>
                  <a:pt x="196684" y="158195"/>
                </a:cubicBezTo>
                <a:cubicBezTo>
                  <a:pt x="196684" y="158195"/>
                  <a:pt x="196684" y="158555"/>
                  <a:pt x="196684" y="158916"/>
                </a:cubicBezTo>
                <a:lnTo>
                  <a:pt x="197046" y="159276"/>
                </a:lnTo>
                <a:cubicBezTo>
                  <a:pt x="197046" y="159637"/>
                  <a:pt x="197408" y="159997"/>
                  <a:pt x="197408" y="160718"/>
                </a:cubicBezTo>
                <a:lnTo>
                  <a:pt x="197408" y="209726"/>
                </a:lnTo>
                <a:cubicBezTo>
                  <a:pt x="197408" y="211527"/>
                  <a:pt x="196322" y="212969"/>
                  <a:pt x="194512" y="213689"/>
                </a:cubicBezTo>
                <a:lnTo>
                  <a:pt x="149266" y="234230"/>
                </a:lnTo>
                <a:lnTo>
                  <a:pt x="148904" y="234230"/>
                </a:lnTo>
                <a:cubicBezTo>
                  <a:pt x="148542" y="234590"/>
                  <a:pt x="147818" y="234590"/>
                  <a:pt x="147456" y="234590"/>
                </a:cubicBezTo>
                <a:cubicBezTo>
                  <a:pt x="146732" y="234590"/>
                  <a:pt x="146370" y="234590"/>
                  <a:pt x="145646" y="234230"/>
                </a:cubicBezTo>
                <a:cubicBezTo>
                  <a:pt x="145646" y="234230"/>
                  <a:pt x="145646" y="234230"/>
                  <a:pt x="145284" y="234230"/>
                </a:cubicBezTo>
                <a:lnTo>
                  <a:pt x="100038" y="213689"/>
                </a:lnTo>
                <a:cubicBezTo>
                  <a:pt x="98590" y="212969"/>
                  <a:pt x="97504" y="211527"/>
                  <a:pt x="97504" y="209726"/>
                </a:cubicBezTo>
                <a:lnTo>
                  <a:pt x="97504" y="160718"/>
                </a:lnTo>
                <a:cubicBezTo>
                  <a:pt x="97504" y="159997"/>
                  <a:pt x="97504" y="159637"/>
                  <a:pt x="97866" y="159276"/>
                </a:cubicBezTo>
                <a:lnTo>
                  <a:pt x="97866" y="158916"/>
                </a:lnTo>
                <a:cubicBezTo>
                  <a:pt x="97866" y="158555"/>
                  <a:pt x="97866" y="158195"/>
                  <a:pt x="98228" y="158195"/>
                </a:cubicBezTo>
                <a:cubicBezTo>
                  <a:pt x="98228" y="157835"/>
                  <a:pt x="98228" y="157835"/>
                  <a:pt x="98228" y="157835"/>
                </a:cubicBezTo>
                <a:cubicBezTo>
                  <a:pt x="98590" y="157474"/>
                  <a:pt x="98952" y="157474"/>
                  <a:pt x="98952" y="157474"/>
                </a:cubicBezTo>
                <a:cubicBezTo>
                  <a:pt x="98952" y="157114"/>
                  <a:pt x="99314" y="157114"/>
                  <a:pt x="99314" y="157114"/>
                </a:cubicBezTo>
                <a:cubicBezTo>
                  <a:pt x="99314" y="157114"/>
                  <a:pt x="99314" y="156754"/>
                  <a:pt x="99676" y="156754"/>
                </a:cubicBezTo>
                <a:cubicBezTo>
                  <a:pt x="99676" y="156754"/>
                  <a:pt x="100038" y="156754"/>
                  <a:pt x="100038" y="156393"/>
                </a:cubicBezTo>
                <a:lnTo>
                  <a:pt x="130444" y="142700"/>
                </a:lnTo>
                <a:cubicBezTo>
                  <a:pt x="114879" y="120718"/>
                  <a:pt x="92075" y="83602"/>
                  <a:pt x="92075" y="55495"/>
                </a:cubicBezTo>
                <a:cubicBezTo>
                  <a:pt x="92075" y="24864"/>
                  <a:pt x="117051" y="0"/>
                  <a:pt x="147456" y="0"/>
                </a:cubicBezTo>
                <a:close/>
              </a:path>
            </a:pathLst>
          </a:custGeom>
          <a:solidFill>
            <a:schemeClr val="tx2"/>
          </a:solidFill>
          <a:ln>
            <a:noFill/>
          </a:ln>
          <a:effectLst/>
        </p:spPr>
        <p:txBody>
          <a:bodyPr anchor="ctr"/>
          <a:lstStyle/>
          <a:p>
            <a:endParaRPr lang="en-US" sz="900" dirty="0">
              <a:latin typeface="Lato Light" panose="020F0502020204030203" pitchFamily="34" charset="0"/>
            </a:endParaRPr>
          </a:p>
        </p:txBody>
      </p:sp>
      <p:sp>
        <p:nvSpPr>
          <p:cNvPr id="148" name="Freeform 727">
            <a:extLst>
              <a:ext uri="{FF2B5EF4-FFF2-40B4-BE49-F238E27FC236}">
                <a16:creationId xmlns:a16="http://schemas.microsoft.com/office/drawing/2014/main" id="{3D12CE38-ED31-584E-B8ED-DE9F70F4977C}"/>
              </a:ext>
            </a:extLst>
          </p:cNvPr>
          <p:cNvSpPr>
            <a:spLocks noChangeArrowheads="1"/>
          </p:cNvSpPr>
          <p:nvPr/>
        </p:nvSpPr>
        <p:spPr bwMode="auto">
          <a:xfrm>
            <a:off x="4510022" y="1887113"/>
            <a:ext cx="290833" cy="249065"/>
          </a:xfrm>
          <a:custGeom>
            <a:avLst/>
            <a:gdLst>
              <a:gd name="T0" fmla="*/ 226673 w 298089"/>
              <a:gd name="T1" fmla="*/ 231435 h 255226"/>
              <a:gd name="T2" fmla="*/ 63500 w 298089"/>
              <a:gd name="T3" fmla="*/ 222250 h 255226"/>
              <a:gd name="T4" fmla="*/ 58737 w 298089"/>
              <a:gd name="T5" fmla="*/ 227013 h 255226"/>
              <a:gd name="T6" fmla="*/ 207480 w 298089"/>
              <a:gd name="T7" fmla="*/ 227012 h 255226"/>
              <a:gd name="T8" fmla="*/ 226651 w 298089"/>
              <a:gd name="T9" fmla="*/ 207480 h 255226"/>
              <a:gd name="T10" fmla="*/ 64905 w 298089"/>
              <a:gd name="T11" fmla="*/ 246183 h 255226"/>
              <a:gd name="T12" fmla="*/ 226651 w 298089"/>
              <a:gd name="T13" fmla="*/ 198437 h 255226"/>
              <a:gd name="T14" fmla="*/ 198437 w 298089"/>
              <a:gd name="T15" fmla="*/ 227012 h 255226"/>
              <a:gd name="T16" fmla="*/ 93298 w 298089"/>
              <a:gd name="T17" fmla="*/ 227012 h 255226"/>
              <a:gd name="T18" fmla="*/ 64905 w 298089"/>
              <a:gd name="T19" fmla="*/ 198437 h 255226"/>
              <a:gd name="T20" fmla="*/ 289067 w 298089"/>
              <a:gd name="T21" fmla="*/ 194408 h 255226"/>
              <a:gd name="T22" fmla="*/ 196850 w 298089"/>
              <a:gd name="T23" fmla="*/ 158750 h 255226"/>
              <a:gd name="T24" fmla="*/ 215533 w 298089"/>
              <a:gd name="T25" fmla="*/ 167132 h 255226"/>
              <a:gd name="T26" fmla="*/ 196850 w 298089"/>
              <a:gd name="T27" fmla="*/ 175863 h 255226"/>
              <a:gd name="T28" fmla="*/ 196850 w 298089"/>
              <a:gd name="T29" fmla="*/ 158750 h 255226"/>
              <a:gd name="T30" fmla="*/ 123466 w 298089"/>
              <a:gd name="T31" fmla="*/ 147638 h 255226"/>
              <a:gd name="T32" fmla="*/ 28575 w 298089"/>
              <a:gd name="T33" fmla="*/ 147638 h 255226"/>
              <a:gd name="T34" fmla="*/ 118793 w 298089"/>
              <a:gd name="T35" fmla="*/ 107950 h 255226"/>
              <a:gd name="T36" fmla="*/ 33248 w 298089"/>
              <a:gd name="T37" fmla="*/ 117108 h 255226"/>
              <a:gd name="T38" fmla="*/ 180081 w 298089"/>
              <a:gd name="T39" fmla="*/ 87646 h 255226"/>
              <a:gd name="T40" fmla="*/ 221943 w 298089"/>
              <a:gd name="T41" fmla="*/ 87646 h 255226"/>
              <a:gd name="T42" fmla="*/ 118793 w 298089"/>
              <a:gd name="T43" fmla="*/ 71437 h 255226"/>
              <a:gd name="T44" fmla="*/ 33248 w 298089"/>
              <a:gd name="T45" fmla="*/ 80609 h 255226"/>
              <a:gd name="T46" fmla="*/ 33248 w 298089"/>
              <a:gd name="T47" fmla="*/ 34925 h 255226"/>
              <a:gd name="T48" fmla="*/ 118793 w 298089"/>
              <a:gd name="T49" fmla="*/ 44097 h 255226"/>
              <a:gd name="T50" fmla="*/ 33248 w 298089"/>
              <a:gd name="T51" fmla="*/ 34925 h 255226"/>
              <a:gd name="T52" fmla="*/ 143992 w 298089"/>
              <a:gd name="T53" fmla="*/ 180342 h 255226"/>
              <a:gd name="T54" fmla="*/ 9022 w 298089"/>
              <a:gd name="T55" fmla="*/ 8656 h 255226"/>
              <a:gd name="T56" fmla="*/ 153015 w 298089"/>
              <a:gd name="T57" fmla="*/ 4328 h 255226"/>
              <a:gd name="T58" fmla="*/ 219417 w 298089"/>
              <a:gd name="T59" fmla="*/ 60955 h 255226"/>
              <a:gd name="T60" fmla="*/ 298089 w 298089"/>
              <a:gd name="T61" fmla="*/ 152930 h 255226"/>
              <a:gd name="T62" fmla="*/ 298089 w 298089"/>
              <a:gd name="T63" fmla="*/ 214967 h 255226"/>
              <a:gd name="T64" fmla="*/ 264166 w 298089"/>
              <a:gd name="T65" fmla="*/ 228673 h 255226"/>
              <a:gd name="T66" fmla="*/ 289067 w 298089"/>
              <a:gd name="T67" fmla="*/ 214967 h 255226"/>
              <a:gd name="T68" fmla="*/ 262362 w 298089"/>
              <a:gd name="T69" fmla="*/ 201261 h 255226"/>
              <a:gd name="T70" fmla="*/ 252979 w 298089"/>
              <a:gd name="T71" fmla="*/ 165914 h 255226"/>
              <a:gd name="T72" fmla="*/ 280045 w 298089"/>
              <a:gd name="T73" fmla="*/ 143913 h 255226"/>
              <a:gd name="T74" fmla="*/ 171059 w 298089"/>
              <a:gd name="T75" fmla="*/ 139223 h 255226"/>
              <a:gd name="T76" fmla="*/ 217613 w 298089"/>
              <a:gd name="T77" fmla="*/ 78989 h 255226"/>
              <a:gd name="T78" fmla="*/ 153015 w 298089"/>
              <a:gd name="T79" fmla="*/ 59152 h 255226"/>
              <a:gd name="T80" fmla="*/ 185133 w 298089"/>
              <a:gd name="T81" fmla="*/ 223984 h 255226"/>
              <a:gd name="T82" fmla="*/ 148323 w 298089"/>
              <a:gd name="T83" fmla="*/ 233002 h 255226"/>
              <a:gd name="T84" fmla="*/ 105378 w 298089"/>
              <a:gd name="T85" fmla="*/ 223984 h 255226"/>
              <a:gd name="T86" fmla="*/ 9022 w 298089"/>
              <a:gd name="T87" fmla="*/ 189359 h 255226"/>
              <a:gd name="T88" fmla="*/ 26344 w 298089"/>
              <a:gd name="T89" fmla="*/ 228673 h 255226"/>
              <a:gd name="T90" fmla="*/ 0 w 298089"/>
              <a:gd name="T91" fmla="*/ 228673 h 255226"/>
              <a:gd name="T92" fmla="*/ 4691 w 298089"/>
              <a:gd name="T93" fmla="*/ 0 h 255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8089" h="255226">
                <a:moveTo>
                  <a:pt x="226673" y="222250"/>
                </a:moveTo>
                <a:cubicBezTo>
                  <a:pt x="229394" y="222250"/>
                  <a:pt x="231435" y="224291"/>
                  <a:pt x="231435" y="227013"/>
                </a:cubicBezTo>
                <a:cubicBezTo>
                  <a:pt x="231435" y="229394"/>
                  <a:pt x="229394" y="231435"/>
                  <a:pt x="226673" y="231435"/>
                </a:cubicBezTo>
                <a:cubicBezTo>
                  <a:pt x="224291" y="231435"/>
                  <a:pt x="222250" y="229394"/>
                  <a:pt x="222250" y="227013"/>
                </a:cubicBezTo>
                <a:cubicBezTo>
                  <a:pt x="222250" y="224291"/>
                  <a:pt x="224291" y="222250"/>
                  <a:pt x="226673" y="222250"/>
                </a:cubicBezTo>
                <a:close/>
                <a:moveTo>
                  <a:pt x="63500" y="222250"/>
                </a:moveTo>
                <a:cubicBezTo>
                  <a:pt x="65881" y="222250"/>
                  <a:pt x="67922" y="224291"/>
                  <a:pt x="67922" y="227013"/>
                </a:cubicBezTo>
                <a:cubicBezTo>
                  <a:pt x="67922" y="229394"/>
                  <a:pt x="65881" y="231435"/>
                  <a:pt x="63500" y="231435"/>
                </a:cubicBezTo>
                <a:cubicBezTo>
                  <a:pt x="60778" y="231435"/>
                  <a:pt x="58737" y="229394"/>
                  <a:pt x="58737" y="227013"/>
                </a:cubicBezTo>
                <a:cubicBezTo>
                  <a:pt x="58737" y="224291"/>
                  <a:pt x="60778" y="222250"/>
                  <a:pt x="63500" y="222250"/>
                </a:cubicBezTo>
                <a:close/>
                <a:moveTo>
                  <a:pt x="226651" y="207480"/>
                </a:moveTo>
                <a:cubicBezTo>
                  <a:pt x="216161" y="207480"/>
                  <a:pt x="207480" y="216161"/>
                  <a:pt x="207480" y="227012"/>
                </a:cubicBezTo>
                <a:cubicBezTo>
                  <a:pt x="207480" y="237502"/>
                  <a:pt x="216161" y="246183"/>
                  <a:pt x="226651" y="246183"/>
                </a:cubicBezTo>
                <a:cubicBezTo>
                  <a:pt x="237140" y="246183"/>
                  <a:pt x="245821" y="237502"/>
                  <a:pt x="245821" y="227012"/>
                </a:cubicBezTo>
                <a:cubicBezTo>
                  <a:pt x="245821" y="216161"/>
                  <a:pt x="237140" y="207480"/>
                  <a:pt x="226651" y="207480"/>
                </a:cubicBezTo>
                <a:close/>
                <a:moveTo>
                  <a:pt x="64905" y="207480"/>
                </a:moveTo>
                <a:cubicBezTo>
                  <a:pt x="54349" y="207480"/>
                  <a:pt x="45249" y="216161"/>
                  <a:pt x="45249" y="227012"/>
                </a:cubicBezTo>
                <a:cubicBezTo>
                  <a:pt x="45249" y="237502"/>
                  <a:pt x="54349" y="246183"/>
                  <a:pt x="64905" y="246183"/>
                </a:cubicBezTo>
                <a:cubicBezTo>
                  <a:pt x="75462" y="246183"/>
                  <a:pt x="84198" y="237502"/>
                  <a:pt x="84198" y="227012"/>
                </a:cubicBezTo>
                <a:cubicBezTo>
                  <a:pt x="84198" y="216161"/>
                  <a:pt x="75462" y="207480"/>
                  <a:pt x="64905" y="207480"/>
                </a:cubicBezTo>
                <a:close/>
                <a:moveTo>
                  <a:pt x="226651" y="198437"/>
                </a:moveTo>
                <a:cubicBezTo>
                  <a:pt x="242204" y="198437"/>
                  <a:pt x="255226" y="211459"/>
                  <a:pt x="255226" y="227012"/>
                </a:cubicBezTo>
                <a:cubicBezTo>
                  <a:pt x="255226" y="242566"/>
                  <a:pt x="242204" y="255226"/>
                  <a:pt x="226651" y="255226"/>
                </a:cubicBezTo>
                <a:cubicBezTo>
                  <a:pt x="211097" y="255226"/>
                  <a:pt x="198437" y="242566"/>
                  <a:pt x="198437" y="227012"/>
                </a:cubicBezTo>
                <a:cubicBezTo>
                  <a:pt x="198437" y="211459"/>
                  <a:pt x="211097" y="198437"/>
                  <a:pt x="226651" y="198437"/>
                </a:cubicBezTo>
                <a:close/>
                <a:moveTo>
                  <a:pt x="64905" y="198437"/>
                </a:moveTo>
                <a:cubicBezTo>
                  <a:pt x="80558" y="198437"/>
                  <a:pt x="93298" y="211459"/>
                  <a:pt x="93298" y="227012"/>
                </a:cubicBezTo>
                <a:cubicBezTo>
                  <a:pt x="93298" y="242566"/>
                  <a:pt x="80558" y="255226"/>
                  <a:pt x="64905" y="255226"/>
                </a:cubicBezTo>
                <a:cubicBezTo>
                  <a:pt x="48889" y="255226"/>
                  <a:pt x="36512" y="242566"/>
                  <a:pt x="36512" y="227012"/>
                </a:cubicBezTo>
                <a:cubicBezTo>
                  <a:pt x="36512" y="211459"/>
                  <a:pt x="48889" y="198437"/>
                  <a:pt x="64905" y="198437"/>
                </a:cubicBezTo>
                <a:close/>
                <a:moveTo>
                  <a:pt x="260197" y="174932"/>
                </a:moveTo>
                <a:lnTo>
                  <a:pt x="269219" y="194408"/>
                </a:lnTo>
                <a:lnTo>
                  <a:pt x="289067" y="194408"/>
                </a:lnTo>
                <a:lnTo>
                  <a:pt x="289067" y="174932"/>
                </a:lnTo>
                <a:lnTo>
                  <a:pt x="260197" y="174932"/>
                </a:lnTo>
                <a:close/>
                <a:moveTo>
                  <a:pt x="196850" y="158750"/>
                </a:moveTo>
                <a:lnTo>
                  <a:pt x="215533" y="158750"/>
                </a:lnTo>
                <a:cubicBezTo>
                  <a:pt x="218464" y="158750"/>
                  <a:pt x="220296" y="160496"/>
                  <a:pt x="220296" y="162941"/>
                </a:cubicBezTo>
                <a:cubicBezTo>
                  <a:pt x="220296" y="165386"/>
                  <a:pt x="218464" y="167132"/>
                  <a:pt x="215533" y="167132"/>
                </a:cubicBezTo>
                <a:lnTo>
                  <a:pt x="201246" y="167132"/>
                </a:lnTo>
                <a:lnTo>
                  <a:pt x="201246" y="171323"/>
                </a:lnTo>
                <a:cubicBezTo>
                  <a:pt x="201246" y="173768"/>
                  <a:pt x="199414" y="175863"/>
                  <a:pt x="196850" y="175863"/>
                </a:cubicBezTo>
                <a:cubicBezTo>
                  <a:pt x="194285" y="175863"/>
                  <a:pt x="192087" y="173768"/>
                  <a:pt x="192087" y="171323"/>
                </a:cubicBezTo>
                <a:lnTo>
                  <a:pt x="192087" y="162941"/>
                </a:lnTo>
                <a:cubicBezTo>
                  <a:pt x="192087" y="160496"/>
                  <a:pt x="194285" y="158750"/>
                  <a:pt x="196850" y="158750"/>
                </a:cubicBezTo>
                <a:close/>
                <a:moveTo>
                  <a:pt x="33248" y="142875"/>
                </a:moveTo>
                <a:lnTo>
                  <a:pt x="118793" y="142875"/>
                </a:lnTo>
                <a:cubicBezTo>
                  <a:pt x="121309" y="142875"/>
                  <a:pt x="123466" y="144707"/>
                  <a:pt x="123466" y="147638"/>
                </a:cubicBezTo>
                <a:cubicBezTo>
                  <a:pt x="123466" y="149836"/>
                  <a:pt x="121309" y="152034"/>
                  <a:pt x="118793" y="152034"/>
                </a:cubicBezTo>
                <a:lnTo>
                  <a:pt x="33248" y="152034"/>
                </a:lnTo>
                <a:cubicBezTo>
                  <a:pt x="30732" y="152034"/>
                  <a:pt x="28575" y="149836"/>
                  <a:pt x="28575" y="147638"/>
                </a:cubicBezTo>
                <a:cubicBezTo>
                  <a:pt x="28575" y="144707"/>
                  <a:pt x="30732" y="142875"/>
                  <a:pt x="33248" y="142875"/>
                </a:cubicBezTo>
                <a:close/>
                <a:moveTo>
                  <a:pt x="33248" y="107950"/>
                </a:moveTo>
                <a:lnTo>
                  <a:pt x="118793" y="107950"/>
                </a:lnTo>
                <a:cubicBezTo>
                  <a:pt x="121309" y="107950"/>
                  <a:pt x="123466" y="109781"/>
                  <a:pt x="123466" y="112346"/>
                </a:cubicBezTo>
                <a:cubicBezTo>
                  <a:pt x="123466" y="114910"/>
                  <a:pt x="121309" y="117108"/>
                  <a:pt x="118793" y="117108"/>
                </a:cubicBezTo>
                <a:lnTo>
                  <a:pt x="33248" y="117108"/>
                </a:lnTo>
                <a:cubicBezTo>
                  <a:pt x="30732" y="117108"/>
                  <a:pt x="28575" y="114910"/>
                  <a:pt x="28575" y="112346"/>
                </a:cubicBezTo>
                <a:cubicBezTo>
                  <a:pt x="28575" y="109781"/>
                  <a:pt x="30732" y="107950"/>
                  <a:pt x="33248" y="107950"/>
                </a:cubicBezTo>
                <a:close/>
                <a:moveTo>
                  <a:pt x="180081" y="87646"/>
                </a:moveTo>
                <a:lnTo>
                  <a:pt x="180081" y="134895"/>
                </a:lnTo>
                <a:lnTo>
                  <a:pt x="243596" y="134895"/>
                </a:lnTo>
                <a:lnTo>
                  <a:pt x="221943" y="87646"/>
                </a:lnTo>
                <a:lnTo>
                  <a:pt x="180081" y="87646"/>
                </a:lnTo>
                <a:close/>
                <a:moveTo>
                  <a:pt x="33248" y="71437"/>
                </a:moveTo>
                <a:lnTo>
                  <a:pt x="118793" y="71437"/>
                </a:lnTo>
                <a:cubicBezTo>
                  <a:pt x="121309" y="71437"/>
                  <a:pt x="123466" y="73553"/>
                  <a:pt x="123466" y="76023"/>
                </a:cubicBezTo>
                <a:cubicBezTo>
                  <a:pt x="123466" y="78492"/>
                  <a:pt x="121309" y="80609"/>
                  <a:pt x="118793" y="80609"/>
                </a:cubicBezTo>
                <a:lnTo>
                  <a:pt x="33248" y="80609"/>
                </a:lnTo>
                <a:cubicBezTo>
                  <a:pt x="30732" y="80609"/>
                  <a:pt x="28575" y="78492"/>
                  <a:pt x="28575" y="76023"/>
                </a:cubicBezTo>
                <a:cubicBezTo>
                  <a:pt x="28575" y="73553"/>
                  <a:pt x="30732" y="71437"/>
                  <a:pt x="33248" y="71437"/>
                </a:cubicBezTo>
                <a:close/>
                <a:moveTo>
                  <a:pt x="33248" y="34925"/>
                </a:moveTo>
                <a:lnTo>
                  <a:pt x="118793" y="34925"/>
                </a:lnTo>
                <a:cubicBezTo>
                  <a:pt x="121309" y="34925"/>
                  <a:pt x="123466" y="37041"/>
                  <a:pt x="123466" y="39511"/>
                </a:cubicBezTo>
                <a:cubicBezTo>
                  <a:pt x="123466" y="41980"/>
                  <a:pt x="121309" y="44097"/>
                  <a:pt x="118793" y="44097"/>
                </a:cubicBezTo>
                <a:lnTo>
                  <a:pt x="33248" y="44097"/>
                </a:lnTo>
                <a:cubicBezTo>
                  <a:pt x="30732" y="44097"/>
                  <a:pt x="28575" y="41980"/>
                  <a:pt x="28575" y="39511"/>
                </a:cubicBezTo>
                <a:cubicBezTo>
                  <a:pt x="28575" y="37041"/>
                  <a:pt x="30732" y="34925"/>
                  <a:pt x="33248" y="34925"/>
                </a:cubicBezTo>
                <a:close/>
                <a:moveTo>
                  <a:pt x="9022" y="8656"/>
                </a:moveTo>
                <a:lnTo>
                  <a:pt x="9022" y="180342"/>
                </a:lnTo>
                <a:lnTo>
                  <a:pt x="143992" y="180342"/>
                </a:lnTo>
                <a:lnTo>
                  <a:pt x="143992" y="54824"/>
                </a:lnTo>
                <a:lnTo>
                  <a:pt x="143992" y="8656"/>
                </a:lnTo>
                <a:lnTo>
                  <a:pt x="9022" y="8656"/>
                </a:lnTo>
                <a:close/>
                <a:moveTo>
                  <a:pt x="4691" y="0"/>
                </a:moveTo>
                <a:lnTo>
                  <a:pt x="148323" y="0"/>
                </a:lnTo>
                <a:cubicBezTo>
                  <a:pt x="150849" y="0"/>
                  <a:pt x="153015" y="1803"/>
                  <a:pt x="153015" y="4328"/>
                </a:cubicBezTo>
                <a:lnTo>
                  <a:pt x="153015" y="50135"/>
                </a:lnTo>
                <a:lnTo>
                  <a:pt x="202816" y="50135"/>
                </a:lnTo>
                <a:cubicBezTo>
                  <a:pt x="209673" y="50135"/>
                  <a:pt x="216169" y="54463"/>
                  <a:pt x="219417" y="60955"/>
                </a:cubicBezTo>
                <a:lnTo>
                  <a:pt x="253701" y="134895"/>
                </a:lnTo>
                <a:lnTo>
                  <a:pt x="280045" y="134895"/>
                </a:lnTo>
                <a:cubicBezTo>
                  <a:pt x="289789" y="134895"/>
                  <a:pt x="298089" y="142830"/>
                  <a:pt x="298089" y="152930"/>
                </a:cubicBezTo>
                <a:lnTo>
                  <a:pt x="298089" y="170603"/>
                </a:lnTo>
                <a:lnTo>
                  <a:pt x="298089" y="199097"/>
                </a:lnTo>
                <a:lnTo>
                  <a:pt x="298089" y="214967"/>
                </a:lnTo>
                <a:cubicBezTo>
                  <a:pt x="298089" y="225067"/>
                  <a:pt x="289789" y="233002"/>
                  <a:pt x="280045" y="233002"/>
                </a:cubicBezTo>
                <a:lnTo>
                  <a:pt x="268858" y="233002"/>
                </a:lnTo>
                <a:cubicBezTo>
                  <a:pt x="266332" y="233002"/>
                  <a:pt x="264166" y="230837"/>
                  <a:pt x="264166" y="228673"/>
                </a:cubicBezTo>
                <a:cubicBezTo>
                  <a:pt x="264166" y="225788"/>
                  <a:pt x="266332" y="223984"/>
                  <a:pt x="268858" y="223984"/>
                </a:cubicBezTo>
                <a:lnTo>
                  <a:pt x="280045" y="223984"/>
                </a:lnTo>
                <a:cubicBezTo>
                  <a:pt x="285098" y="223984"/>
                  <a:pt x="289067" y="220017"/>
                  <a:pt x="289067" y="214967"/>
                </a:cubicBezTo>
                <a:lnTo>
                  <a:pt x="289067" y="203786"/>
                </a:lnTo>
                <a:lnTo>
                  <a:pt x="266332" y="203786"/>
                </a:lnTo>
                <a:cubicBezTo>
                  <a:pt x="264527" y="203786"/>
                  <a:pt x="262723" y="202704"/>
                  <a:pt x="262362" y="201261"/>
                </a:cubicBezTo>
                <a:lnTo>
                  <a:pt x="248648" y="172407"/>
                </a:lnTo>
                <a:cubicBezTo>
                  <a:pt x="248288" y="170964"/>
                  <a:pt x="248288" y="169521"/>
                  <a:pt x="249009" y="168079"/>
                </a:cubicBezTo>
                <a:cubicBezTo>
                  <a:pt x="249731" y="166997"/>
                  <a:pt x="251535" y="165914"/>
                  <a:pt x="252979" y="165914"/>
                </a:cubicBezTo>
                <a:lnTo>
                  <a:pt x="289067" y="165914"/>
                </a:lnTo>
                <a:lnTo>
                  <a:pt x="289067" y="152930"/>
                </a:lnTo>
                <a:cubicBezTo>
                  <a:pt x="289067" y="147880"/>
                  <a:pt x="285098" y="143913"/>
                  <a:pt x="280045" y="143913"/>
                </a:cubicBezTo>
                <a:lnTo>
                  <a:pt x="250814" y="143913"/>
                </a:lnTo>
                <a:lnTo>
                  <a:pt x="175389" y="143913"/>
                </a:lnTo>
                <a:cubicBezTo>
                  <a:pt x="172863" y="143913"/>
                  <a:pt x="171059" y="141748"/>
                  <a:pt x="171059" y="139223"/>
                </a:cubicBezTo>
                <a:lnTo>
                  <a:pt x="171059" y="83318"/>
                </a:lnTo>
                <a:cubicBezTo>
                  <a:pt x="171059" y="80793"/>
                  <a:pt x="172863" y="78989"/>
                  <a:pt x="175389" y="78989"/>
                </a:cubicBezTo>
                <a:lnTo>
                  <a:pt x="217613" y="78989"/>
                </a:lnTo>
                <a:lnTo>
                  <a:pt x="211117" y="64562"/>
                </a:lnTo>
                <a:cubicBezTo>
                  <a:pt x="209673" y="61316"/>
                  <a:pt x="206064" y="59152"/>
                  <a:pt x="202816" y="59152"/>
                </a:cubicBezTo>
                <a:lnTo>
                  <a:pt x="153015" y="59152"/>
                </a:lnTo>
                <a:lnTo>
                  <a:pt x="153015" y="184670"/>
                </a:lnTo>
                <a:lnTo>
                  <a:pt x="153015" y="223984"/>
                </a:lnTo>
                <a:lnTo>
                  <a:pt x="185133" y="223984"/>
                </a:lnTo>
                <a:cubicBezTo>
                  <a:pt x="187659" y="223984"/>
                  <a:pt x="189825" y="225788"/>
                  <a:pt x="189825" y="228673"/>
                </a:cubicBezTo>
                <a:cubicBezTo>
                  <a:pt x="189825" y="230837"/>
                  <a:pt x="187659" y="233002"/>
                  <a:pt x="185133" y="233002"/>
                </a:cubicBezTo>
                <a:lnTo>
                  <a:pt x="148323" y="233002"/>
                </a:lnTo>
                <a:lnTo>
                  <a:pt x="105378" y="233002"/>
                </a:lnTo>
                <a:cubicBezTo>
                  <a:pt x="103213" y="233002"/>
                  <a:pt x="101047" y="230837"/>
                  <a:pt x="101047" y="228673"/>
                </a:cubicBezTo>
                <a:cubicBezTo>
                  <a:pt x="101047" y="225788"/>
                  <a:pt x="103213" y="223984"/>
                  <a:pt x="105378" y="223984"/>
                </a:cubicBezTo>
                <a:lnTo>
                  <a:pt x="143992" y="223984"/>
                </a:lnTo>
                <a:lnTo>
                  <a:pt x="143992" y="189359"/>
                </a:lnTo>
                <a:lnTo>
                  <a:pt x="9022" y="189359"/>
                </a:lnTo>
                <a:lnTo>
                  <a:pt x="9022" y="223984"/>
                </a:lnTo>
                <a:lnTo>
                  <a:pt x="22014" y="223984"/>
                </a:lnTo>
                <a:cubicBezTo>
                  <a:pt x="24540" y="223984"/>
                  <a:pt x="26344" y="225788"/>
                  <a:pt x="26344" y="228673"/>
                </a:cubicBezTo>
                <a:cubicBezTo>
                  <a:pt x="26344" y="230837"/>
                  <a:pt x="24540" y="233002"/>
                  <a:pt x="22014" y="233002"/>
                </a:cubicBezTo>
                <a:lnTo>
                  <a:pt x="4691" y="233002"/>
                </a:lnTo>
                <a:cubicBezTo>
                  <a:pt x="2165" y="233002"/>
                  <a:pt x="0" y="230837"/>
                  <a:pt x="0" y="228673"/>
                </a:cubicBezTo>
                <a:lnTo>
                  <a:pt x="0" y="184670"/>
                </a:lnTo>
                <a:lnTo>
                  <a:pt x="0" y="4328"/>
                </a:lnTo>
                <a:cubicBezTo>
                  <a:pt x="0" y="1803"/>
                  <a:pt x="2165" y="0"/>
                  <a:pt x="4691" y="0"/>
                </a:cubicBezTo>
                <a:close/>
              </a:path>
            </a:pathLst>
          </a:custGeom>
          <a:solidFill>
            <a:schemeClr val="tx2"/>
          </a:solidFill>
          <a:ln>
            <a:noFill/>
          </a:ln>
          <a:effectLst/>
        </p:spPr>
        <p:txBody>
          <a:bodyPr anchor="ctr"/>
          <a:lstStyle/>
          <a:p>
            <a:endParaRPr lang="en-US" sz="900" dirty="0">
              <a:latin typeface="Lato Light" panose="020F0502020204030203" pitchFamily="34" charset="0"/>
            </a:endParaRPr>
          </a:p>
        </p:txBody>
      </p:sp>
      <p:sp>
        <p:nvSpPr>
          <p:cNvPr id="149" name="Freeform 726">
            <a:extLst>
              <a:ext uri="{FF2B5EF4-FFF2-40B4-BE49-F238E27FC236}">
                <a16:creationId xmlns:a16="http://schemas.microsoft.com/office/drawing/2014/main" id="{A67813B7-BB35-7645-8C67-7FE41F2F28B5}"/>
              </a:ext>
            </a:extLst>
          </p:cNvPr>
          <p:cNvSpPr>
            <a:spLocks noChangeArrowheads="1"/>
          </p:cNvSpPr>
          <p:nvPr/>
        </p:nvSpPr>
        <p:spPr bwMode="auto">
          <a:xfrm>
            <a:off x="9913870" y="5315018"/>
            <a:ext cx="289288" cy="259894"/>
          </a:xfrm>
          <a:custGeom>
            <a:avLst/>
            <a:gdLst>
              <a:gd name="T0" fmla="*/ 178546 w 296504"/>
              <a:gd name="T1" fmla="*/ 160569 h 266339"/>
              <a:gd name="T2" fmla="*/ 176366 w 296504"/>
              <a:gd name="T3" fmla="*/ 231435 h 266339"/>
              <a:gd name="T4" fmla="*/ 195989 w 296504"/>
              <a:gd name="T5" fmla="*/ 233941 h 266339"/>
              <a:gd name="T6" fmla="*/ 215250 w 296504"/>
              <a:gd name="T7" fmla="*/ 162359 h 266339"/>
              <a:gd name="T8" fmla="*/ 207255 w 296504"/>
              <a:gd name="T9" fmla="*/ 153053 h 266339"/>
              <a:gd name="T10" fmla="*/ 90112 w 296504"/>
              <a:gd name="T11" fmla="*/ 153053 h 266339"/>
              <a:gd name="T12" fmla="*/ 82636 w 296504"/>
              <a:gd name="T13" fmla="*/ 162359 h 266339"/>
              <a:gd name="T14" fmla="*/ 101148 w 296504"/>
              <a:gd name="T15" fmla="*/ 233941 h 266339"/>
              <a:gd name="T16" fmla="*/ 120015 w 296504"/>
              <a:gd name="T17" fmla="*/ 231435 h 266339"/>
              <a:gd name="T18" fmla="*/ 118591 w 296504"/>
              <a:gd name="T19" fmla="*/ 160569 h 266339"/>
              <a:gd name="T20" fmla="*/ 90112 w 296504"/>
              <a:gd name="T21" fmla="*/ 153053 h 266339"/>
              <a:gd name="T22" fmla="*/ 207255 w 296504"/>
              <a:gd name="T23" fmla="*/ 144463 h 266339"/>
              <a:gd name="T24" fmla="*/ 223971 w 296504"/>
              <a:gd name="T25" fmla="*/ 163790 h 266339"/>
              <a:gd name="T26" fmla="*/ 195989 w 296504"/>
              <a:gd name="T27" fmla="*/ 242530 h 266339"/>
              <a:gd name="T28" fmla="*/ 169824 w 296504"/>
              <a:gd name="T29" fmla="*/ 237520 h 266339"/>
              <a:gd name="T30" fmla="*/ 169097 w 296504"/>
              <a:gd name="T31" fmla="*/ 160211 h 266339"/>
              <a:gd name="T32" fmla="*/ 90112 w 296504"/>
              <a:gd name="T33" fmla="*/ 144463 h 266339"/>
              <a:gd name="T34" fmla="*/ 127135 w 296504"/>
              <a:gd name="T35" fmla="*/ 160211 h 266339"/>
              <a:gd name="T36" fmla="*/ 126779 w 296504"/>
              <a:gd name="T37" fmla="*/ 237520 h 266339"/>
              <a:gd name="T38" fmla="*/ 101148 w 296504"/>
              <a:gd name="T39" fmla="*/ 242530 h 266339"/>
              <a:gd name="T40" fmla="*/ 73737 w 296504"/>
              <a:gd name="T41" fmla="*/ 163790 h 266339"/>
              <a:gd name="T42" fmla="*/ 90112 w 296504"/>
              <a:gd name="T43" fmla="*/ 144463 h 266339"/>
              <a:gd name="T44" fmla="*/ 57503 w 296504"/>
              <a:gd name="T45" fmla="*/ 247573 h 266339"/>
              <a:gd name="T46" fmla="*/ 226421 w 296504"/>
              <a:gd name="T47" fmla="*/ 257317 h 266339"/>
              <a:gd name="T48" fmla="*/ 272783 w 296504"/>
              <a:gd name="T49" fmla="*/ 131004 h 266339"/>
              <a:gd name="T50" fmla="*/ 13297 w 296504"/>
              <a:gd name="T51" fmla="*/ 94915 h 266339"/>
              <a:gd name="T52" fmla="*/ 8985 w 296504"/>
              <a:gd name="T53" fmla="*/ 117651 h 266339"/>
              <a:gd name="T54" fmla="*/ 17970 w 296504"/>
              <a:gd name="T55" fmla="*/ 121982 h 266339"/>
              <a:gd name="T56" fmla="*/ 283206 w 296504"/>
              <a:gd name="T57" fmla="*/ 121982 h 266339"/>
              <a:gd name="T58" fmla="*/ 287878 w 296504"/>
              <a:gd name="T59" fmla="*/ 99606 h 266339"/>
              <a:gd name="T60" fmla="*/ 259126 w 296504"/>
              <a:gd name="T61" fmla="*/ 94915 h 266339"/>
              <a:gd name="T62" fmla="*/ 264158 w 296504"/>
              <a:gd name="T63" fmla="*/ 112238 h 266339"/>
              <a:gd name="T64" fmla="*/ 258048 w 296504"/>
              <a:gd name="T65" fmla="*/ 110794 h 266339"/>
              <a:gd name="T66" fmla="*/ 47800 w 296504"/>
              <a:gd name="T67" fmla="*/ 94915 h 266339"/>
              <a:gd name="T68" fmla="*/ 34502 w 296504"/>
              <a:gd name="T69" fmla="*/ 112959 h 266339"/>
              <a:gd name="T70" fmla="*/ 30549 w 296504"/>
              <a:gd name="T71" fmla="*/ 106102 h 266339"/>
              <a:gd name="T72" fmla="*/ 13297 w 296504"/>
              <a:gd name="T73" fmla="*/ 94915 h 266339"/>
              <a:gd name="T74" fmla="*/ 199107 w 296504"/>
              <a:gd name="T75" fmla="*/ 18044 h 266339"/>
              <a:gd name="T76" fmla="*/ 217077 w 296504"/>
              <a:gd name="T77" fmla="*/ 18044 h 266339"/>
              <a:gd name="T78" fmla="*/ 88412 w 296504"/>
              <a:gd name="T79" fmla="*/ 9022 h 266339"/>
              <a:gd name="T80" fmla="*/ 88412 w 296504"/>
              <a:gd name="T81" fmla="*/ 27067 h 266339"/>
              <a:gd name="T82" fmla="*/ 88412 w 296504"/>
              <a:gd name="T83" fmla="*/ 9022 h 266339"/>
              <a:gd name="T84" fmla="*/ 106741 w 296504"/>
              <a:gd name="T85" fmla="*/ 18044 h 266339"/>
              <a:gd name="T86" fmla="*/ 83380 w 296504"/>
              <a:gd name="T87" fmla="*/ 35367 h 266339"/>
              <a:gd name="T88" fmla="*/ 243313 w 296504"/>
              <a:gd name="T89" fmla="*/ 85892 h 266339"/>
              <a:gd name="T90" fmla="*/ 208092 w 296504"/>
              <a:gd name="T91" fmla="*/ 36089 h 266339"/>
              <a:gd name="T92" fmla="*/ 208092 w 296504"/>
              <a:gd name="T93" fmla="*/ 0 h 266339"/>
              <a:gd name="T94" fmla="*/ 220671 w 296504"/>
              <a:gd name="T95" fmla="*/ 30676 h 266339"/>
              <a:gd name="T96" fmla="*/ 283206 w 296504"/>
              <a:gd name="T97" fmla="*/ 85892 h 266339"/>
              <a:gd name="T98" fmla="*/ 296504 w 296504"/>
              <a:gd name="T99" fmla="*/ 117651 h 266339"/>
              <a:gd name="T100" fmla="*/ 282128 w 296504"/>
              <a:gd name="T101" fmla="*/ 131004 h 266339"/>
              <a:gd name="T102" fmla="*/ 226421 w 296504"/>
              <a:gd name="T103" fmla="*/ 266339 h 266339"/>
              <a:gd name="T104" fmla="*/ 48878 w 296504"/>
              <a:gd name="T105" fmla="*/ 250099 h 266339"/>
              <a:gd name="T106" fmla="*/ 13297 w 296504"/>
              <a:gd name="T107" fmla="*/ 131004 h 266339"/>
              <a:gd name="T108" fmla="*/ 0 w 296504"/>
              <a:gd name="T109" fmla="*/ 99606 h 266339"/>
              <a:gd name="T110" fmla="*/ 42768 w 296504"/>
              <a:gd name="T111" fmla="*/ 85892 h 266339"/>
              <a:gd name="T112" fmla="*/ 70442 w 296504"/>
              <a:gd name="T113" fmla="*/ 18044 h 266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6504" h="266339">
                <a:moveTo>
                  <a:pt x="186177" y="153053"/>
                </a:moveTo>
                <a:cubicBezTo>
                  <a:pt x="182180" y="153053"/>
                  <a:pt x="178546" y="156632"/>
                  <a:pt x="178546" y="160569"/>
                </a:cubicBezTo>
                <a:lnTo>
                  <a:pt x="174185" y="225709"/>
                </a:lnTo>
                <a:cubicBezTo>
                  <a:pt x="174185" y="227856"/>
                  <a:pt x="174912" y="230004"/>
                  <a:pt x="176366" y="231435"/>
                </a:cubicBezTo>
                <a:cubicBezTo>
                  <a:pt x="177819" y="233225"/>
                  <a:pt x="180000" y="233941"/>
                  <a:pt x="182180" y="233941"/>
                </a:cubicBezTo>
                <a:lnTo>
                  <a:pt x="195989" y="233941"/>
                </a:lnTo>
                <a:cubicBezTo>
                  <a:pt x="199987" y="233941"/>
                  <a:pt x="203257" y="231077"/>
                  <a:pt x="203984" y="227498"/>
                </a:cubicBezTo>
                <a:lnTo>
                  <a:pt x="215250" y="162359"/>
                </a:lnTo>
                <a:cubicBezTo>
                  <a:pt x="215613" y="160211"/>
                  <a:pt x="214886" y="157706"/>
                  <a:pt x="213433" y="155916"/>
                </a:cubicBezTo>
                <a:cubicBezTo>
                  <a:pt x="211979" y="154127"/>
                  <a:pt x="209435" y="153053"/>
                  <a:pt x="207255" y="153053"/>
                </a:cubicBezTo>
                <a:lnTo>
                  <a:pt x="186177" y="153053"/>
                </a:lnTo>
                <a:close/>
                <a:moveTo>
                  <a:pt x="90112" y="153053"/>
                </a:moveTo>
                <a:cubicBezTo>
                  <a:pt x="87620" y="153053"/>
                  <a:pt x="85484" y="154127"/>
                  <a:pt x="84060" y="155916"/>
                </a:cubicBezTo>
                <a:cubicBezTo>
                  <a:pt x="82636" y="157706"/>
                  <a:pt x="81924" y="160211"/>
                  <a:pt x="82636" y="162359"/>
                </a:cubicBezTo>
                <a:lnTo>
                  <a:pt x="93316" y="227498"/>
                </a:lnTo>
                <a:cubicBezTo>
                  <a:pt x="94028" y="231077"/>
                  <a:pt x="97232" y="233941"/>
                  <a:pt x="101148" y="233941"/>
                </a:cubicBezTo>
                <a:lnTo>
                  <a:pt x="114676" y="233941"/>
                </a:lnTo>
                <a:cubicBezTo>
                  <a:pt x="116812" y="233941"/>
                  <a:pt x="118591" y="233225"/>
                  <a:pt x="120015" y="231435"/>
                </a:cubicBezTo>
                <a:cubicBezTo>
                  <a:pt x="121439" y="230004"/>
                  <a:pt x="122507" y="227856"/>
                  <a:pt x="122151" y="225709"/>
                </a:cubicBezTo>
                <a:lnTo>
                  <a:pt x="118591" y="160569"/>
                </a:lnTo>
                <a:cubicBezTo>
                  <a:pt x="118235" y="156632"/>
                  <a:pt x="114676" y="153053"/>
                  <a:pt x="110760" y="153053"/>
                </a:cubicBezTo>
                <a:lnTo>
                  <a:pt x="90112" y="153053"/>
                </a:lnTo>
                <a:close/>
                <a:moveTo>
                  <a:pt x="186177" y="144463"/>
                </a:moveTo>
                <a:lnTo>
                  <a:pt x="207255" y="144463"/>
                </a:lnTo>
                <a:cubicBezTo>
                  <a:pt x="212342" y="144463"/>
                  <a:pt x="217067" y="146611"/>
                  <a:pt x="220337" y="150190"/>
                </a:cubicBezTo>
                <a:cubicBezTo>
                  <a:pt x="223608" y="154127"/>
                  <a:pt x="225062" y="159138"/>
                  <a:pt x="223971" y="163790"/>
                </a:cubicBezTo>
                <a:lnTo>
                  <a:pt x="213069" y="228930"/>
                </a:lnTo>
                <a:cubicBezTo>
                  <a:pt x="211616" y="237162"/>
                  <a:pt x="204348" y="242530"/>
                  <a:pt x="195989" y="242530"/>
                </a:cubicBezTo>
                <a:lnTo>
                  <a:pt x="182180" y="242530"/>
                </a:lnTo>
                <a:cubicBezTo>
                  <a:pt x="177456" y="242530"/>
                  <a:pt x="173095" y="240741"/>
                  <a:pt x="169824" y="237520"/>
                </a:cubicBezTo>
                <a:cubicBezTo>
                  <a:pt x="166554" y="234298"/>
                  <a:pt x="165100" y="229646"/>
                  <a:pt x="165463" y="224993"/>
                </a:cubicBezTo>
                <a:lnTo>
                  <a:pt x="169097" y="160211"/>
                </a:lnTo>
                <a:cubicBezTo>
                  <a:pt x="169824" y="151264"/>
                  <a:pt x="177456" y="144463"/>
                  <a:pt x="186177" y="144463"/>
                </a:cubicBezTo>
                <a:close/>
                <a:moveTo>
                  <a:pt x="90112" y="144463"/>
                </a:moveTo>
                <a:lnTo>
                  <a:pt x="110760" y="144463"/>
                </a:lnTo>
                <a:cubicBezTo>
                  <a:pt x="119659" y="144463"/>
                  <a:pt x="126779" y="151264"/>
                  <a:pt x="127135" y="160211"/>
                </a:cubicBezTo>
                <a:lnTo>
                  <a:pt x="131407" y="224993"/>
                </a:lnTo>
                <a:cubicBezTo>
                  <a:pt x="131407" y="229646"/>
                  <a:pt x="129983" y="234298"/>
                  <a:pt x="126779" y="237520"/>
                </a:cubicBezTo>
                <a:cubicBezTo>
                  <a:pt x="123575" y="240741"/>
                  <a:pt x="119303" y="242530"/>
                  <a:pt x="114676" y="242530"/>
                </a:cubicBezTo>
                <a:lnTo>
                  <a:pt x="101148" y="242530"/>
                </a:lnTo>
                <a:cubicBezTo>
                  <a:pt x="92960" y="242530"/>
                  <a:pt x="86196" y="237162"/>
                  <a:pt x="84772" y="228930"/>
                </a:cubicBezTo>
                <a:lnTo>
                  <a:pt x="73737" y="163790"/>
                </a:lnTo>
                <a:cubicBezTo>
                  <a:pt x="73025" y="159138"/>
                  <a:pt x="74093" y="154127"/>
                  <a:pt x="77297" y="150190"/>
                </a:cubicBezTo>
                <a:cubicBezTo>
                  <a:pt x="80500" y="146611"/>
                  <a:pt x="85128" y="144463"/>
                  <a:pt x="90112" y="144463"/>
                </a:cubicBezTo>
                <a:close/>
                <a:moveTo>
                  <a:pt x="23720" y="131004"/>
                </a:moveTo>
                <a:lnTo>
                  <a:pt x="57503" y="247573"/>
                </a:lnTo>
                <a:cubicBezTo>
                  <a:pt x="58941" y="253347"/>
                  <a:pt x="64332" y="257317"/>
                  <a:pt x="70442" y="257317"/>
                </a:cubicBezTo>
                <a:lnTo>
                  <a:pt x="226421" y="257317"/>
                </a:lnTo>
                <a:cubicBezTo>
                  <a:pt x="232171" y="257317"/>
                  <a:pt x="237562" y="253347"/>
                  <a:pt x="239359" y="247573"/>
                </a:cubicBezTo>
                <a:lnTo>
                  <a:pt x="272783" y="131004"/>
                </a:lnTo>
                <a:lnTo>
                  <a:pt x="23720" y="131004"/>
                </a:lnTo>
                <a:close/>
                <a:moveTo>
                  <a:pt x="13297" y="94915"/>
                </a:moveTo>
                <a:cubicBezTo>
                  <a:pt x="10782" y="94915"/>
                  <a:pt x="8985" y="96719"/>
                  <a:pt x="8985" y="99606"/>
                </a:cubicBezTo>
                <a:lnTo>
                  <a:pt x="8985" y="117651"/>
                </a:lnTo>
                <a:cubicBezTo>
                  <a:pt x="8985" y="119816"/>
                  <a:pt x="10782" y="121982"/>
                  <a:pt x="13297" y="121982"/>
                </a:cubicBezTo>
                <a:lnTo>
                  <a:pt x="17970" y="121982"/>
                </a:lnTo>
                <a:lnTo>
                  <a:pt x="278534" y="121982"/>
                </a:lnTo>
                <a:lnTo>
                  <a:pt x="283206" y="121982"/>
                </a:lnTo>
                <a:cubicBezTo>
                  <a:pt x="285722" y="121982"/>
                  <a:pt x="287878" y="119816"/>
                  <a:pt x="287878" y="117651"/>
                </a:cubicBezTo>
                <a:lnTo>
                  <a:pt x="287878" y="99606"/>
                </a:lnTo>
                <a:cubicBezTo>
                  <a:pt x="287878" y="96719"/>
                  <a:pt x="285722" y="94915"/>
                  <a:pt x="283206" y="94915"/>
                </a:cubicBezTo>
                <a:lnTo>
                  <a:pt x="259126" y="94915"/>
                </a:lnTo>
                <a:lnTo>
                  <a:pt x="265955" y="106102"/>
                </a:lnTo>
                <a:cubicBezTo>
                  <a:pt x="267033" y="108268"/>
                  <a:pt x="266314" y="110794"/>
                  <a:pt x="264158" y="112238"/>
                </a:cubicBezTo>
                <a:cubicBezTo>
                  <a:pt x="263439" y="112598"/>
                  <a:pt x="262720" y="112959"/>
                  <a:pt x="262001" y="112959"/>
                </a:cubicBezTo>
                <a:cubicBezTo>
                  <a:pt x="260564" y="112959"/>
                  <a:pt x="259126" y="112238"/>
                  <a:pt x="258048" y="110794"/>
                </a:cubicBezTo>
                <a:lnTo>
                  <a:pt x="248704" y="94915"/>
                </a:lnTo>
                <a:lnTo>
                  <a:pt x="47800" y="94915"/>
                </a:lnTo>
                <a:lnTo>
                  <a:pt x="38455" y="110794"/>
                </a:lnTo>
                <a:cubicBezTo>
                  <a:pt x="37737" y="112238"/>
                  <a:pt x="36299" y="112959"/>
                  <a:pt x="34502" y="112959"/>
                </a:cubicBezTo>
                <a:cubicBezTo>
                  <a:pt x="33783" y="112959"/>
                  <a:pt x="33064" y="112598"/>
                  <a:pt x="32346" y="112238"/>
                </a:cubicBezTo>
                <a:cubicBezTo>
                  <a:pt x="30189" y="110794"/>
                  <a:pt x="29470" y="108268"/>
                  <a:pt x="30549" y="106102"/>
                </a:cubicBezTo>
                <a:lnTo>
                  <a:pt x="37377" y="94915"/>
                </a:lnTo>
                <a:lnTo>
                  <a:pt x="13297" y="94915"/>
                </a:lnTo>
                <a:close/>
                <a:moveTo>
                  <a:pt x="208092" y="9022"/>
                </a:moveTo>
                <a:cubicBezTo>
                  <a:pt x="203060" y="9022"/>
                  <a:pt x="199107" y="12992"/>
                  <a:pt x="199107" y="18044"/>
                </a:cubicBezTo>
                <a:cubicBezTo>
                  <a:pt x="199107" y="23097"/>
                  <a:pt x="203060" y="27067"/>
                  <a:pt x="208092" y="27067"/>
                </a:cubicBezTo>
                <a:cubicBezTo>
                  <a:pt x="213123" y="27067"/>
                  <a:pt x="217077" y="23097"/>
                  <a:pt x="217077" y="18044"/>
                </a:cubicBezTo>
                <a:cubicBezTo>
                  <a:pt x="217077" y="12992"/>
                  <a:pt x="213123" y="9022"/>
                  <a:pt x="208092" y="9022"/>
                </a:cubicBezTo>
                <a:close/>
                <a:moveTo>
                  <a:pt x="88412" y="9022"/>
                </a:moveTo>
                <a:cubicBezTo>
                  <a:pt x="83740" y="9022"/>
                  <a:pt x="79786" y="12992"/>
                  <a:pt x="79786" y="18044"/>
                </a:cubicBezTo>
                <a:cubicBezTo>
                  <a:pt x="79786" y="23097"/>
                  <a:pt x="83740" y="27067"/>
                  <a:pt x="88412" y="27067"/>
                </a:cubicBezTo>
                <a:cubicBezTo>
                  <a:pt x="93443" y="27067"/>
                  <a:pt x="97756" y="23097"/>
                  <a:pt x="97756" y="18044"/>
                </a:cubicBezTo>
                <a:cubicBezTo>
                  <a:pt x="97756" y="12992"/>
                  <a:pt x="93443" y="9022"/>
                  <a:pt x="88412" y="9022"/>
                </a:cubicBezTo>
                <a:close/>
                <a:moveTo>
                  <a:pt x="88412" y="0"/>
                </a:moveTo>
                <a:cubicBezTo>
                  <a:pt x="98475" y="0"/>
                  <a:pt x="106741" y="8300"/>
                  <a:pt x="106741" y="18044"/>
                </a:cubicBezTo>
                <a:cubicBezTo>
                  <a:pt x="106741" y="28149"/>
                  <a:pt x="98475" y="36089"/>
                  <a:pt x="88412" y="36089"/>
                </a:cubicBezTo>
                <a:cubicBezTo>
                  <a:pt x="86974" y="36089"/>
                  <a:pt x="85177" y="35728"/>
                  <a:pt x="83380" y="35367"/>
                </a:cubicBezTo>
                <a:lnTo>
                  <a:pt x="53191" y="85892"/>
                </a:lnTo>
                <a:lnTo>
                  <a:pt x="243313" y="85892"/>
                </a:lnTo>
                <a:lnTo>
                  <a:pt x="213123" y="35367"/>
                </a:lnTo>
                <a:cubicBezTo>
                  <a:pt x="211686" y="35728"/>
                  <a:pt x="209889" y="36089"/>
                  <a:pt x="208092" y="36089"/>
                </a:cubicBezTo>
                <a:cubicBezTo>
                  <a:pt x="198028" y="36089"/>
                  <a:pt x="190122" y="28149"/>
                  <a:pt x="190122" y="18044"/>
                </a:cubicBezTo>
                <a:cubicBezTo>
                  <a:pt x="190122" y="8300"/>
                  <a:pt x="198028" y="0"/>
                  <a:pt x="208092" y="0"/>
                </a:cubicBezTo>
                <a:cubicBezTo>
                  <a:pt x="217795" y="0"/>
                  <a:pt x="226062" y="8300"/>
                  <a:pt x="226062" y="18044"/>
                </a:cubicBezTo>
                <a:cubicBezTo>
                  <a:pt x="226062" y="23097"/>
                  <a:pt x="223905" y="27428"/>
                  <a:pt x="220671" y="30676"/>
                </a:cubicBezTo>
                <a:lnTo>
                  <a:pt x="253735" y="85892"/>
                </a:lnTo>
                <a:lnTo>
                  <a:pt x="283206" y="85892"/>
                </a:lnTo>
                <a:cubicBezTo>
                  <a:pt x="290753" y="85892"/>
                  <a:pt x="296504" y="92027"/>
                  <a:pt x="296504" y="99606"/>
                </a:cubicBezTo>
                <a:lnTo>
                  <a:pt x="296504" y="117651"/>
                </a:lnTo>
                <a:cubicBezTo>
                  <a:pt x="296504" y="124869"/>
                  <a:pt x="290753" y="131004"/>
                  <a:pt x="283206" y="131004"/>
                </a:cubicBezTo>
                <a:lnTo>
                  <a:pt x="282128" y="131004"/>
                </a:lnTo>
                <a:lnTo>
                  <a:pt x="247985" y="250099"/>
                </a:lnTo>
                <a:cubicBezTo>
                  <a:pt x="245110" y="259843"/>
                  <a:pt x="236125" y="266339"/>
                  <a:pt x="226421" y="266339"/>
                </a:cubicBezTo>
                <a:lnTo>
                  <a:pt x="70442" y="266339"/>
                </a:lnTo>
                <a:cubicBezTo>
                  <a:pt x="60379" y="266339"/>
                  <a:pt x="51394" y="259843"/>
                  <a:pt x="48878" y="250099"/>
                </a:cubicBezTo>
                <a:lnTo>
                  <a:pt x="14376" y="131004"/>
                </a:lnTo>
                <a:lnTo>
                  <a:pt x="13297" y="131004"/>
                </a:lnTo>
                <a:cubicBezTo>
                  <a:pt x="6110" y="131004"/>
                  <a:pt x="0" y="124869"/>
                  <a:pt x="0" y="117651"/>
                </a:cubicBezTo>
                <a:lnTo>
                  <a:pt x="0" y="99606"/>
                </a:lnTo>
                <a:cubicBezTo>
                  <a:pt x="0" y="92027"/>
                  <a:pt x="6110" y="85892"/>
                  <a:pt x="13297" y="85892"/>
                </a:cubicBezTo>
                <a:lnTo>
                  <a:pt x="42768" y="85892"/>
                </a:lnTo>
                <a:lnTo>
                  <a:pt x="75833" y="30676"/>
                </a:lnTo>
                <a:cubicBezTo>
                  <a:pt x="72598" y="27428"/>
                  <a:pt x="70442" y="23097"/>
                  <a:pt x="70442" y="18044"/>
                </a:cubicBezTo>
                <a:cubicBezTo>
                  <a:pt x="70442" y="8300"/>
                  <a:pt x="78708" y="0"/>
                  <a:pt x="88412" y="0"/>
                </a:cubicBezTo>
                <a:close/>
              </a:path>
            </a:pathLst>
          </a:custGeom>
          <a:solidFill>
            <a:schemeClr val="tx2"/>
          </a:solidFill>
          <a:ln>
            <a:noFill/>
          </a:ln>
          <a:effectLst/>
        </p:spPr>
        <p:txBody>
          <a:bodyPr anchor="ctr"/>
          <a:lstStyle/>
          <a:p>
            <a:endParaRPr lang="en-US" sz="900" dirty="0">
              <a:latin typeface="Lato Light" panose="020F0502020204030203" pitchFamily="34" charset="0"/>
            </a:endParaRPr>
          </a:p>
        </p:txBody>
      </p:sp>
      <p:sp>
        <p:nvSpPr>
          <p:cNvPr id="150" name="Freeform 743">
            <a:extLst>
              <a:ext uri="{FF2B5EF4-FFF2-40B4-BE49-F238E27FC236}">
                <a16:creationId xmlns:a16="http://schemas.microsoft.com/office/drawing/2014/main" id="{88C79581-80F9-4042-94B4-BBBF930EA32D}"/>
              </a:ext>
            </a:extLst>
          </p:cNvPr>
          <p:cNvSpPr>
            <a:spLocks noChangeArrowheads="1"/>
          </p:cNvSpPr>
          <p:nvPr/>
        </p:nvSpPr>
        <p:spPr bwMode="auto">
          <a:xfrm>
            <a:off x="4455299" y="5896746"/>
            <a:ext cx="290834" cy="259894"/>
          </a:xfrm>
          <a:custGeom>
            <a:avLst/>
            <a:gdLst>
              <a:gd name="T0" fmla="*/ 254066 w 298089"/>
              <a:gd name="T1" fmla="*/ 223837 h 266339"/>
              <a:gd name="T2" fmla="*/ 254066 w 298089"/>
              <a:gd name="T3" fmla="*/ 232981 h 266339"/>
              <a:gd name="T4" fmla="*/ 41275 w 298089"/>
              <a:gd name="T5" fmla="*/ 228409 h 266339"/>
              <a:gd name="T6" fmla="*/ 46333 w 298089"/>
              <a:gd name="T7" fmla="*/ 188912 h 266339"/>
              <a:gd name="T8" fmla="*/ 258401 w 298089"/>
              <a:gd name="T9" fmla="*/ 193308 h 266339"/>
              <a:gd name="T10" fmla="*/ 46333 w 298089"/>
              <a:gd name="T11" fmla="*/ 198071 h 266339"/>
              <a:gd name="T12" fmla="*/ 46333 w 298089"/>
              <a:gd name="T13" fmla="*/ 188912 h 266339"/>
              <a:gd name="T14" fmla="*/ 254066 w 298089"/>
              <a:gd name="T15" fmla="*/ 155575 h 266339"/>
              <a:gd name="T16" fmla="*/ 254066 w 298089"/>
              <a:gd name="T17" fmla="*/ 164734 h 266339"/>
              <a:gd name="T18" fmla="*/ 41275 w 298089"/>
              <a:gd name="T19" fmla="*/ 159971 h 266339"/>
              <a:gd name="T20" fmla="*/ 134144 w 298089"/>
              <a:gd name="T21" fmla="*/ 10602 h 266339"/>
              <a:gd name="T22" fmla="*/ 129454 w 298089"/>
              <a:gd name="T23" fmla="*/ 84885 h 266339"/>
              <a:gd name="T24" fmla="*/ 150019 w 298089"/>
              <a:gd name="T25" fmla="*/ 120584 h 266339"/>
              <a:gd name="T26" fmla="*/ 170584 w 298089"/>
              <a:gd name="T27" fmla="*/ 84885 h 266339"/>
              <a:gd name="T28" fmla="*/ 165894 w 298089"/>
              <a:gd name="T29" fmla="*/ 10602 h 266339"/>
              <a:gd name="T30" fmla="*/ 222304 w 298089"/>
              <a:gd name="T31" fmla="*/ 9023 h 266339"/>
              <a:gd name="T32" fmla="*/ 222304 w 298089"/>
              <a:gd name="T33" fmla="*/ 27067 h 266339"/>
              <a:gd name="T34" fmla="*/ 222304 w 298089"/>
              <a:gd name="T35" fmla="*/ 9023 h 266339"/>
              <a:gd name="T36" fmla="*/ 66402 w 298089"/>
              <a:gd name="T37" fmla="*/ 18045 h 266339"/>
              <a:gd name="T38" fmla="*/ 84446 w 298089"/>
              <a:gd name="T39" fmla="*/ 18045 h 266339"/>
              <a:gd name="T40" fmla="*/ 129454 w 298089"/>
              <a:gd name="T41" fmla="*/ 1587 h 266339"/>
              <a:gd name="T42" fmla="*/ 174914 w 298089"/>
              <a:gd name="T43" fmla="*/ 5914 h 266339"/>
              <a:gd name="T44" fmla="*/ 196561 w 298089"/>
              <a:gd name="T45" fmla="*/ 75870 h 266339"/>
              <a:gd name="T46" fmla="*/ 199808 w 298089"/>
              <a:gd name="T47" fmla="*/ 83442 h 266339"/>
              <a:gd name="T48" fmla="*/ 150019 w 298089"/>
              <a:gd name="T49" fmla="*/ 131402 h 266339"/>
              <a:gd name="T50" fmla="*/ 100229 w 298089"/>
              <a:gd name="T51" fmla="*/ 83442 h 266339"/>
              <a:gd name="T52" fmla="*/ 103476 w 298089"/>
              <a:gd name="T53" fmla="*/ 75870 h 266339"/>
              <a:gd name="T54" fmla="*/ 125124 w 298089"/>
              <a:gd name="T55" fmla="*/ 5914 h 266339"/>
              <a:gd name="T56" fmla="*/ 75424 w 298089"/>
              <a:gd name="T57" fmla="*/ 0 h 266339"/>
              <a:gd name="T58" fmla="*/ 75424 w 298089"/>
              <a:gd name="T59" fmla="*/ 36090 h 266339"/>
              <a:gd name="T60" fmla="*/ 49441 w 298089"/>
              <a:gd name="T61" fmla="*/ 85893 h 266339"/>
              <a:gd name="T62" fmla="*/ 90220 w 298089"/>
              <a:gd name="T63" fmla="*/ 90224 h 266339"/>
              <a:gd name="T64" fmla="*/ 45832 w 298089"/>
              <a:gd name="T65" fmla="*/ 94915 h 266339"/>
              <a:gd name="T66" fmla="*/ 35005 w 298089"/>
              <a:gd name="T67" fmla="*/ 112960 h 266339"/>
              <a:gd name="T68" fmla="*/ 30675 w 298089"/>
              <a:gd name="T69" fmla="*/ 106825 h 266339"/>
              <a:gd name="T70" fmla="*/ 13352 w 298089"/>
              <a:gd name="T71" fmla="*/ 94915 h 266339"/>
              <a:gd name="T72" fmla="*/ 9022 w 298089"/>
              <a:gd name="T73" fmla="*/ 117651 h 266339"/>
              <a:gd name="T74" fmla="*/ 121979 w 298089"/>
              <a:gd name="T75" fmla="*/ 121982 h 266339"/>
              <a:gd name="T76" fmla="*/ 121979 w 298089"/>
              <a:gd name="T77" fmla="*/ 131004 h 266339"/>
              <a:gd name="T78" fmla="*/ 22735 w 298089"/>
              <a:gd name="T79" fmla="*/ 239272 h 266339"/>
              <a:gd name="T80" fmla="*/ 257310 w 298089"/>
              <a:gd name="T81" fmla="*/ 257317 h 266339"/>
              <a:gd name="T82" fmla="*/ 275354 w 298089"/>
              <a:gd name="T83" fmla="*/ 131004 h 266339"/>
              <a:gd name="T84" fmla="*/ 171420 w 298089"/>
              <a:gd name="T85" fmla="*/ 126313 h 266339"/>
              <a:gd name="T86" fmla="*/ 284376 w 298089"/>
              <a:gd name="T87" fmla="*/ 121982 h 266339"/>
              <a:gd name="T88" fmla="*/ 289067 w 298089"/>
              <a:gd name="T89" fmla="*/ 99607 h 266339"/>
              <a:gd name="T90" fmla="*/ 262362 w 298089"/>
              <a:gd name="T91" fmla="*/ 94915 h 266339"/>
              <a:gd name="T92" fmla="*/ 265249 w 298089"/>
              <a:gd name="T93" fmla="*/ 112599 h 266339"/>
              <a:gd name="T94" fmla="*/ 259114 w 298089"/>
              <a:gd name="T95" fmla="*/ 110434 h 266339"/>
              <a:gd name="T96" fmla="*/ 212199 w 298089"/>
              <a:gd name="T97" fmla="*/ 94915 h 266339"/>
              <a:gd name="T98" fmla="*/ 212199 w 298089"/>
              <a:gd name="T99" fmla="*/ 85893 h 266339"/>
              <a:gd name="T100" fmla="*/ 226995 w 298089"/>
              <a:gd name="T101" fmla="*/ 35368 h 266339"/>
              <a:gd name="T102" fmla="*/ 204260 w 298089"/>
              <a:gd name="T103" fmla="*/ 18045 h 266339"/>
              <a:gd name="T104" fmla="*/ 240709 w 298089"/>
              <a:gd name="T105" fmla="*/ 18045 h 266339"/>
              <a:gd name="T106" fmla="*/ 258392 w 298089"/>
              <a:gd name="T107" fmla="*/ 85893 h 266339"/>
              <a:gd name="T108" fmla="*/ 298089 w 298089"/>
              <a:gd name="T109" fmla="*/ 99607 h 266339"/>
              <a:gd name="T110" fmla="*/ 284376 w 298089"/>
              <a:gd name="T111" fmla="*/ 131004 h 266339"/>
              <a:gd name="T112" fmla="*/ 257310 w 298089"/>
              <a:gd name="T113" fmla="*/ 266339 h 266339"/>
              <a:gd name="T114" fmla="*/ 13352 w 298089"/>
              <a:gd name="T115" fmla="*/ 239272 h 266339"/>
              <a:gd name="T116" fmla="*/ 0 w 298089"/>
              <a:gd name="T117" fmla="*/ 117651 h 266339"/>
              <a:gd name="T118" fmla="*/ 13352 w 298089"/>
              <a:gd name="T119" fmla="*/ 85893 h 266339"/>
              <a:gd name="T120" fmla="*/ 63154 w 298089"/>
              <a:gd name="T121" fmla="*/ 31398 h 266339"/>
              <a:gd name="T122" fmla="*/ 75424 w 298089"/>
              <a:gd name="T123" fmla="*/ 0 h 266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8089" h="266339">
                <a:moveTo>
                  <a:pt x="46333" y="223837"/>
                </a:moveTo>
                <a:lnTo>
                  <a:pt x="254066" y="223837"/>
                </a:lnTo>
                <a:cubicBezTo>
                  <a:pt x="256233" y="223837"/>
                  <a:pt x="258401" y="225742"/>
                  <a:pt x="258401" y="228409"/>
                </a:cubicBezTo>
                <a:cubicBezTo>
                  <a:pt x="258401" y="231076"/>
                  <a:pt x="256233" y="232981"/>
                  <a:pt x="254066" y="232981"/>
                </a:cubicBezTo>
                <a:lnTo>
                  <a:pt x="46333" y="232981"/>
                </a:lnTo>
                <a:cubicBezTo>
                  <a:pt x="43442" y="232981"/>
                  <a:pt x="41275" y="231076"/>
                  <a:pt x="41275" y="228409"/>
                </a:cubicBezTo>
                <a:cubicBezTo>
                  <a:pt x="41275" y="225742"/>
                  <a:pt x="43442" y="223837"/>
                  <a:pt x="46333" y="223837"/>
                </a:cubicBezTo>
                <a:close/>
                <a:moveTo>
                  <a:pt x="46333" y="188912"/>
                </a:moveTo>
                <a:lnTo>
                  <a:pt x="254066" y="188912"/>
                </a:lnTo>
                <a:cubicBezTo>
                  <a:pt x="256233" y="188912"/>
                  <a:pt x="258401" y="190744"/>
                  <a:pt x="258401" y="193308"/>
                </a:cubicBezTo>
                <a:cubicBezTo>
                  <a:pt x="258401" y="195873"/>
                  <a:pt x="256233" y="198071"/>
                  <a:pt x="254066" y="198071"/>
                </a:cubicBezTo>
                <a:lnTo>
                  <a:pt x="46333" y="198071"/>
                </a:lnTo>
                <a:cubicBezTo>
                  <a:pt x="43442" y="198071"/>
                  <a:pt x="41275" y="195873"/>
                  <a:pt x="41275" y="193308"/>
                </a:cubicBezTo>
                <a:cubicBezTo>
                  <a:pt x="41275" y="190744"/>
                  <a:pt x="43442" y="188912"/>
                  <a:pt x="46333" y="188912"/>
                </a:cubicBezTo>
                <a:close/>
                <a:moveTo>
                  <a:pt x="46333" y="155575"/>
                </a:moveTo>
                <a:lnTo>
                  <a:pt x="254066" y="155575"/>
                </a:lnTo>
                <a:cubicBezTo>
                  <a:pt x="256233" y="155575"/>
                  <a:pt x="258401" y="157407"/>
                  <a:pt x="258401" y="159971"/>
                </a:cubicBezTo>
                <a:cubicBezTo>
                  <a:pt x="258401" y="162536"/>
                  <a:pt x="256233" y="164734"/>
                  <a:pt x="254066" y="164734"/>
                </a:cubicBezTo>
                <a:lnTo>
                  <a:pt x="46333" y="164734"/>
                </a:lnTo>
                <a:cubicBezTo>
                  <a:pt x="43442" y="164734"/>
                  <a:pt x="41275" y="162536"/>
                  <a:pt x="41275" y="159971"/>
                </a:cubicBezTo>
                <a:cubicBezTo>
                  <a:pt x="41275" y="157407"/>
                  <a:pt x="43442" y="155575"/>
                  <a:pt x="46333" y="155575"/>
                </a:cubicBezTo>
                <a:close/>
                <a:moveTo>
                  <a:pt x="134144" y="10602"/>
                </a:moveTo>
                <a:lnTo>
                  <a:pt x="134144" y="80558"/>
                </a:lnTo>
                <a:cubicBezTo>
                  <a:pt x="134144" y="82721"/>
                  <a:pt x="131979" y="84885"/>
                  <a:pt x="129454" y="84885"/>
                </a:cubicBezTo>
                <a:lnTo>
                  <a:pt x="114300" y="84885"/>
                </a:lnTo>
                <a:lnTo>
                  <a:pt x="150019" y="120584"/>
                </a:lnTo>
                <a:lnTo>
                  <a:pt x="185737" y="84885"/>
                </a:lnTo>
                <a:lnTo>
                  <a:pt x="170584" y="84885"/>
                </a:lnTo>
                <a:cubicBezTo>
                  <a:pt x="168058" y="84885"/>
                  <a:pt x="165894" y="82721"/>
                  <a:pt x="165894" y="80558"/>
                </a:cubicBezTo>
                <a:lnTo>
                  <a:pt x="165894" y="10602"/>
                </a:lnTo>
                <a:lnTo>
                  <a:pt x="134144" y="10602"/>
                </a:lnTo>
                <a:close/>
                <a:moveTo>
                  <a:pt x="222304" y="9023"/>
                </a:moveTo>
                <a:cubicBezTo>
                  <a:pt x="217613" y="9023"/>
                  <a:pt x="213643" y="13353"/>
                  <a:pt x="213643" y="18045"/>
                </a:cubicBezTo>
                <a:cubicBezTo>
                  <a:pt x="213643" y="23097"/>
                  <a:pt x="217613" y="27067"/>
                  <a:pt x="222304" y="27067"/>
                </a:cubicBezTo>
                <a:cubicBezTo>
                  <a:pt x="227717" y="27067"/>
                  <a:pt x="231687" y="23097"/>
                  <a:pt x="231687" y="18045"/>
                </a:cubicBezTo>
                <a:cubicBezTo>
                  <a:pt x="231687" y="13353"/>
                  <a:pt x="227717" y="9023"/>
                  <a:pt x="222304" y="9023"/>
                </a:cubicBezTo>
                <a:close/>
                <a:moveTo>
                  <a:pt x="75424" y="9023"/>
                </a:moveTo>
                <a:cubicBezTo>
                  <a:pt x="70372" y="9023"/>
                  <a:pt x="66402" y="13353"/>
                  <a:pt x="66402" y="18045"/>
                </a:cubicBezTo>
                <a:cubicBezTo>
                  <a:pt x="66402" y="23097"/>
                  <a:pt x="70372" y="27067"/>
                  <a:pt x="75424" y="27067"/>
                </a:cubicBezTo>
                <a:cubicBezTo>
                  <a:pt x="80477" y="27067"/>
                  <a:pt x="84446" y="23097"/>
                  <a:pt x="84446" y="18045"/>
                </a:cubicBezTo>
                <a:cubicBezTo>
                  <a:pt x="84446" y="13353"/>
                  <a:pt x="80477" y="9023"/>
                  <a:pt x="75424" y="9023"/>
                </a:cubicBezTo>
                <a:close/>
                <a:moveTo>
                  <a:pt x="129454" y="1587"/>
                </a:moveTo>
                <a:lnTo>
                  <a:pt x="170584" y="1587"/>
                </a:lnTo>
                <a:cubicBezTo>
                  <a:pt x="173110" y="1587"/>
                  <a:pt x="174914" y="3390"/>
                  <a:pt x="174914" y="5914"/>
                </a:cubicBezTo>
                <a:lnTo>
                  <a:pt x="174914" y="75870"/>
                </a:lnTo>
                <a:lnTo>
                  <a:pt x="196561" y="75870"/>
                </a:lnTo>
                <a:cubicBezTo>
                  <a:pt x="198365" y="75870"/>
                  <a:pt x="200169" y="76952"/>
                  <a:pt x="200891" y="78394"/>
                </a:cubicBezTo>
                <a:cubicBezTo>
                  <a:pt x="201251" y="80197"/>
                  <a:pt x="201251" y="82361"/>
                  <a:pt x="199808" y="83442"/>
                </a:cubicBezTo>
                <a:lnTo>
                  <a:pt x="153266" y="130320"/>
                </a:lnTo>
                <a:cubicBezTo>
                  <a:pt x="152544" y="131041"/>
                  <a:pt x="151101" y="131402"/>
                  <a:pt x="150019" y="131402"/>
                </a:cubicBezTo>
                <a:cubicBezTo>
                  <a:pt x="148936" y="131402"/>
                  <a:pt x="147854" y="131041"/>
                  <a:pt x="146772" y="130320"/>
                </a:cubicBezTo>
                <a:lnTo>
                  <a:pt x="100229" y="83442"/>
                </a:lnTo>
                <a:cubicBezTo>
                  <a:pt x="99147" y="82361"/>
                  <a:pt x="98425" y="80197"/>
                  <a:pt x="99147" y="78394"/>
                </a:cubicBezTo>
                <a:cubicBezTo>
                  <a:pt x="99868" y="76952"/>
                  <a:pt x="101672" y="75870"/>
                  <a:pt x="103476" y="75870"/>
                </a:cubicBezTo>
                <a:lnTo>
                  <a:pt x="125124" y="75870"/>
                </a:lnTo>
                <a:lnTo>
                  <a:pt x="125124" y="5914"/>
                </a:lnTo>
                <a:cubicBezTo>
                  <a:pt x="125124" y="3390"/>
                  <a:pt x="126928" y="1587"/>
                  <a:pt x="129454" y="1587"/>
                </a:cubicBezTo>
                <a:close/>
                <a:moveTo>
                  <a:pt x="75424" y="0"/>
                </a:moveTo>
                <a:cubicBezTo>
                  <a:pt x="85529" y="0"/>
                  <a:pt x="93468" y="8301"/>
                  <a:pt x="93468" y="18045"/>
                </a:cubicBezTo>
                <a:cubicBezTo>
                  <a:pt x="93468" y="28150"/>
                  <a:pt x="85529" y="36090"/>
                  <a:pt x="75424" y="36090"/>
                </a:cubicBezTo>
                <a:cubicBezTo>
                  <a:pt x="73981" y="36090"/>
                  <a:pt x="72537" y="35729"/>
                  <a:pt x="71094" y="35368"/>
                </a:cubicBezTo>
                <a:lnTo>
                  <a:pt x="49441" y="85893"/>
                </a:lnTo>
                <a:lnTo>
                  <a:pt x="85890" y="85893"/>
                </a:lnTo>
                <a:cubicBezTo>
                  <a:pt x="88416" y="85893"/>
                  <a:pt x="90220" y="87697"/>
                  <a:pt x="90220" y="90224"/>
                </a:cubicBezTo>
                <a:cubicBezTo>
                  <a:pt x="90220" y="92750"/>
                  <a:pt x="88416" y="94915"/>
                  <a:pt x="85890" y="94915"/>
                </a:cubicBezTo>
                <a:lnTo>
                  <a:pt x="45832" y="94915"/>
                </a:lnTo>
                <a:lnTo>
                  <a:pt x="38975" y="110434"/>
                </a:lnTo>
                <a:cubicBezTo>
                  <a:pt x="38253" y="111877"/>
                  <a:pt x="36449" y="112960"/>
                  <a:pt x="35005" y="112960"/>
                </a:cubicBezTo>
                <a:cubicBezTo>
                  <a:pt x="34284" y="112960"/>
                  <a:pt x="33562" y="112960"/>
                  <a:pt x="33201" y="112599"/>
                </a:cubicBezTo>
                <a:cubicBezTo>
                  <a:pt x="31036" y="111516"/>
                  <a:pt x="29953" y="108990"/>
                  <a:pt x="30675" y="106825"/>
                </a:cubicBezTo>
                <a:lnTo>
                  <a:pt x="35727" y="94915"/>
                </a:lnTo>
                <a:lnTo>
                  <a:pt x="13352" y="94915"/>
                </a:lnTo>
                <a:cubicBezTo>
                  <a:pt x="11187" y="94915"/>
                  <a:pt x="9022" y="97080"/>
                  <a:pt x="9022" y="99607"/>
                </a:cubicBezTo>
                <a:lnTo>
                  <a:pt x="9022" y="117651"/>
                </a:lnTo>
                <a:cubicBezTo>
                  <a:pt x="9022" y="120178"/>
                  <a:pt x="11187" y="121982"/>
                  <a:pt x="13352" y="121982"/>
                </a:cubicBezTo>
                <a:lnTo>
                  <a:pt x="121979" y="121982"/>
                </a:lnTo>
                <a:cubicBezTo>
                  <a:pt x="124505" y="121982"/>
                  <a:pt x="126309" y="124147"/>
                  <a:pt x="126309" y="126313"/>
                </a:cubicBezTo>
                <a:cubicBezTo>
                  <a:pt x="126309" y="128839"/>
                  <a:pt x="124505" y="131004"/>
                  <a:pt x="121979" y="131004"/>
                </a:cubicBezTo>
                <a:lnTo>
                  <a:pt x="22735" y="131004"/>
                </a:lnTo>
                <a:lnTo>
                  <a:pt x="22735" y="239272"/>
                </a:lnTo>
                <a:cubicBezTo>
                  <a:pt x="22735" y="249377"/>
                  <a:pt x="30675" y="257317"/>
                  <a:pt x="40419" y="257317"/>
                </a:cubicBezTo>
                <a:lnTo>
                  <a:pt x="257310" y="257317"/>
                </a:lnTo>
                <a:cubicBezTo>
                  <a:pt x="267414" y="257317"/>
                  <a:pt x="275354" y="249377"/>
                  <a:pt x="275354" y="239272"/>
                </a:cubicBezTo>
                <a:lnTo>
                  <a:pt x="275354" y="131004"/>
                </a:lnTo>
                <a:lnTo>
                  <a:pt x="176111" y="131004"/>
                </a:lnTo>
                <a:cubicBezTo>
                  <a:pt x="173585" y="131004"/>
                  <a:pt x="171420" y="128839"/>
                  <a:pt x="171420" y="126313"/>
                </a:cubicBezTo>
                <a:cubicBezTo>
                  <a:pt x="171420" y="124147"/>
                  <a:pt x="173585" y="121982"/>
                  <a:pt x="176111" y="121982"/>
                </a:cubicBezTo>
                <a:lnTo>
                  <a:pt x="284376" y="121982"/>
                </a:lnTo>
                <a:cubicBezTo>
                  <a:pt x="287263" y="121982"/>
                  <a:pt x="289067" y="120178"/>
                  <a:pt x="289067" y="117651"/>
                </a:cubicBezTo>
                <a:lnTo>
                  <a:pt x="289067" y="99607"/>
                </a:lnTo>
                <a:cubicBezTo>
                  <a:pt x="289067" y="97080"/>
                  <a:pt x="287263" y="94915"/>
                  <a:pt x="284376" y="94915"/>
                </a:cubicBezTo>
                <a:lnTo>
                  <a:pt x="262362" y="94915"/>
                </a:lnTo>
                <a:lnTo>
                  <a:pt x="267414" y="106825"/>
                </a:lnTo>
                <a:cubicBezTo>
                  <a:pt x="268136" y="108990"/>
                  <a:pt x="267053" y="111516"/>
                  <a:pt x="265249" y="112599"/>
                </a:cubicBezTo>
                <a:cubicBezTo>
                  <a:pt x="264527" y="112960"/>
                  <a:pt x="263805" y="112960"/>
                  <a:pt x="263084" y="112960"/>
                </a:cubicBezTo>
                <a:cubicBezTo>
                  <a:pt x="261640" y="112960"/>
                  <a:pt x="259836" y="111877"/>
                  <a:pt x="259114" y="110434"/>
                </a:cubicBezTo>
                <a:lnTo>
                  <a:pt x="252618" y="94915"/>
                </a:lnTo>
                <a:lnTo>
                  <a:pt x="212199" y="94915"/>
                </a:lnTo>
                <a:cubicBezTo>
                  <a:pt x="209673" y="94915"/>
                  <a:pt x="207869" y="92750"/>
                  <a:pt x="207869" y="90224"/>
                </a:cubicBezTo>
                <a:cubicBezTo>
                  <a:pt x="207869" y="87697"/>
                  <a:pt x="209673" y="85893"/>
                  <a:pt x="212199" y="85893"/>
                </a:cubicBezTo>
                <a:lnTo>
                  <a:pt x="248648" y="85893"/>
                </a:lnTo>
                <a:lnTo>
                  <a:pt x="226995" y="35368"/>
                </a:lnTo>
                <a:cubicBezTo>
                  <a:pt x="225552" y="35729"/>
                  <a:pt x="224108" y="36090"/>
                  <a:pt x="222304" y="36090"/>
                </a:cubicBezTo>
                <a:cubicBezTo>
                  <a:pt x="212560" y="36090"/>
                  <a:pt x="204260" y="28150"/>
                  <a:pt x="204260" y="18045"/>
                </a:cubicBezTo>
                <a:cubicBezTo>
                  <a:pt x="204260" y="8301"/>
                  <a:pt x="212560" y="0"/>
                  <a:pt x="222304" y="0"/>
                </a:cubicBezTo>
                <a:cubicBezTo>
                  <a:pt x="232409" y="0"/>
                  <a:pt x="240709" y="8301"/>
                  <a:pt x="240709" y="18045"/>
                </a:cubicBezTo>
                <a:cubicBezTo>
                  <a:pt x="240709" y="23097"/>
                  <a:pt x="238544" y="27789"/>
                  <a:pt x="234935" y="31398"/>
                </a:cubicBezTo>
                <a:lnTo>
                  <a:pt x="258392" y="85893"/>
                </a:lnTo>
                <a:lnTo>
                  <a:pt x="284376" y="85893"/>
                </a:lnTo>
                <a:cubicBezTo>
                  <a:pt x="291954" y="85893"/>
                  <a:pt x="298089" y="92028"/>
                  <a:pt x="298089" y="99607"/>
                </a:cubicBezTo>
                <a:lnTo>
                  <a:pt x="298089" y="117651"/>
                </a:lnTo>
                <a:cubicBezTo>
                  <a:pt x="298089" y="124869"/>
                  <a:pt x="291954" y="131004"/>
                  <a:pt x="284376" y="131004"/>
                </a:cubicBezTo>
                <a:lnTo>
                  <a:pt x="284376" y="239272"/>
                </a:lnTo>
                <a:cubicBezTo>
                  <a:pt x="284376" y="254430"/>
                  <a:pt x="272106" y="266339"/>
                  <a:pt x="257310" y="266339"/>
                </a:cubicBezTo>
                <a:lnTo>
                  <a:pt x="40419" y="266339"/>
                </a:lnTo>
                <a:cubicBezTo>
                  <a:pt x="25622" y="266339"/>
                  <a:pt x="13352" y="254430"/>
                  <a:pt x="13352" y="239272"/>
                </a:cubicBezTo>
                <a:lnTo>
                  <a:pt x="13352" y="131004"/>
                </a:lnTo>
                <a:cubicBezTo>
                  <a:pt x="6135" y="131004"/>
                  <a:pt x="0" y="124869"/>
                  <a:pt x="0" y="117651"/>
                </a:cubicBezTo>
                <a:lnTo>
                  <a:pt x="0" y="99607"/>
                </a:lnTo>
                <a:cubicBezTo>
                  <a:pt x="0" y="92028"/>
                  <a:pt x="6135" y="85893"/>
                  <a:pt x="13352" y="85893"/>
                </a:cubicBezTo>
                <a:lnTo>
                  <a:pt x="39336" y="85893"/>
                </a:lnTo>
                <a:lnTo>
                  <a:pt x="63154" y="31398"/>
                </a:lnTo>
                <a:cubicBezTo>
                  <a:pt x="59545" y="27789"/>
                  <a:pt x="57380" y="23097"/>
                  <a:pt x="57380" y="18045"/>
                </a:cubicBezTo>
                <a:cubicBezTo>
                  <a:pt x="57380" y="8301"/>
                  <a:pt x="65680" y="0"/>
                  <a:pt x="75424" y="0"/>
                </a:cubicBezTo>
                <a:close/>
              </a:path>
            </a:pathLst>
          </a:custGeom>
          <a:solidFill>
            <a:schemeClr val="tx2"/>
          </a:solidFill>
          <a:ln>
            <a:noFill/>
          </a:ln>
          <a:effectLst/>
        </p:spPr>
        <p:txBody>
          <a:bodyPr anchor="ctr"/>
          <a:lstStyle/>
          <a:p>
            <a:endParaRPr lang="en-US" sz="900" dirty="0">
              <a:latin typeface="Lato Light" panose="020F0502020204030203" pitchFamily="34" charset="0"/>
            </a:endParaRPr>
          </a:p>
        </p:txBody>
      </p:sp>
      <p:sp>
        <p:nvSpPr>
          <p:cNvPr id="151" name="Freeform 744">
            <a:extLst>
              <a:ext uri="{FF2B5EF4-FFF2-40B4-BE49-F238E27FC236}">
                <a16:creationId xmlns:a16="http://schemas.microsoft.com/office/drawing/2014/main" id="{57DC6B06-EA03-524A-AD42-E97F7FB171CF}"/>
              </a:ext>
            </a:extLst>
          </p:cNvPr>
          <p:cNvSpPr>
            <a:spLocks noChangeArrowheads="1"/>
          </p:cNvSpPr>
          <p:nvPr/>
        </p:nvSpPr>
        <p:spPr bwMode="auto">
          <a:xfrm>
            <a:off x="7211929" y="5870871"/>
            <a:ext cx="290834" cy="290834"/>
          </a:xfrm>
          <a:custGeom>
            <a:avLst/>
            <a:gdLst>
              <a:gd name="T0" fmla="*/ 109347 w 298093"/>
              <a:gd name="T1" fmla="*/ 289067 h 298089"/>
              <a:gd name="T2" fmla="*/ 175750 w 298093"/>
              <a:gd name="T3" fmla="*/ 266332 h 298089"/>
              <a:gd name="T4" fmla="*/ 149224 w 298093"/>
              <a:gd name="T5" fmla="*/ 238125 h 298089"/>
              <a:gd name="T6" fmla="*/ 149224 w 298093"/>
              <a:gd name="T7" fmla="*/ 247284 h 298089"/>
              <a:gd name="T8" fmla="*/ 149224 w 298093"/>
              <a:gd name="T9" fmla="*/ 238125 h 298089"/>
              <a:gd name="T10" fmla="*/ 9022 w 298093"/>
              <a:gd name="T11" fmla="*/ 248288 h 298089"/>
              <a:gd name="T12" fmla="*/ 119813 w 298093"/>
              <a:gd name="T13" fmla="*/ 257670 h 298089"/>
              <a:gd name="T14" fmla="*/ 280045 w 298093"/>
              <a:gd name="T15" fmla="*/ 257670 h 298089"/>
              <a:gd name="T16" fmla="*/ 288706 w 298093"/>
              <a:gd name="T17" fmla="*/ 230243 h 298089"/>
              <a:gd name="T18" fmla="*/ 49441 w 298093"/>
              <a:gd name="T19" fmla="*/ 230243 h 298089"/>
              <a:gd name="T20" fmla="*/ 289599 w 298093"/>
              <a:gd name="T21" fmla="*/ 100243 h 298089"/>
              <a:gd name="T22" fmla="*/ 241713 w 298093"/>
              <a:gd name="T23" fmla="*/ 161331 h 298089"/>
              <a:gd name="T24" fmla="*/ 235280 w 298093"/>
              <a:gd name="T25" fmla="*/ 161331 h 298089"/>
              <a:gd name="T26" fmla="*/ 211337 w 298093"/>
              <a:gd name="T27" fmla="*/ 130060 h 298089"/>
              <a:gd name="T28" fmla="*/ 238139 w 298093"/>
              <a:gd name="T29" fmla="*/ 151877 h 298089"/>
              <a:gd name="T30" fmla="*/ 289599 w 298093"/>
              <a:gd name="T31" fmla="*/ 100243 h 298089"/>
              <a:gd name="T32" fmla="*/ 115366 w 298093"/>
              <a:gd name="T33" fmla="*/ 48237 h 298089"/>
              <a:gd name="T34" fmla="*/ 174077 w 298093"/>
              <a:gd name="T35" fmla="*/ 57275 h 298089"/>
              <a:gd name="T36" fmla="*/ 174077 w 298093"/>
              <a:gd name="T37" fmla="*/ 39200 h 298089"/>
              <a:gd name="T38" fmla="*/ 124371 w 298093"/>
              <a:gd name="T39" fmla="*/ 30162 h 298089"/>
              <a:gd name="T40" fmla="*/ 191727 w 298093"/>
              <a:gd name="T41" fmla="*/ 48237 h 298089"/>
              <a:gd name="T42" fmla="*/ 124371 w 298093"/>
              <a:gd name="T43" fmla="*/ 66313 h 298089"/>
              <a:gd name="T44" fmla="*/ 124371 w 298093"/>
              <a:gd name="T45" fmla="*/ 30162 h 298089"/>
              <a:gd name="T46" fmla="*/ 54854 w 298093"/>
              <a:gd name="T47" fmla="*/ 221221 h 298089"/>
              <a:gd name="T48" fmla="*/ 239265 w 298093"/>
              <a:gd name="T49" fmla="*/ 189464 h 298089"/>
              <a:gd name="T50" fmla="*/ 177915 w 298093"/>
              <a:gd name="T51" fmla="*/ 129918 h 298089"/>
              <a:gd name="T52" fmla="*/ 216169 w 298093"/>
              <a:gd name="T53" fmla="*/ 9022 h 298089"/>
              <a:gd name="T54" fmla="*/ 256695 w 298093"/>
              <a:gd name="T55" fmla="*/ 0 h 298089"/>
              <a:gd name="T56" fmla="*/ 298093 w 298093"/>
              <a:gd name="T57" fmla="*/ 17910 h 298089"/>
              <a:gd name="T58" fmla="*/ 293454 w 298093"/>
              <a:gd name="T59" fmla="*/ 69492 h 298089"/>
              <a:gd name="T60" fmla="*/ 288814 w 298093"/>
              <a:gd name="T61" fmla="*/ 17910 h 298089"/>
              <a:gd name="T62" fmla="*/ 256695 w 298093"/>
              <a:gd name="T63" fmla="*/ 8955 h 298089"/>
              <a:gd name="T64" fmla="*/ 256695 w 298093"/>
              <a:gd name="T65" fmla="*/ 0 h 298089"/>
              <a:gd name="T66" fmla="*/ 41862 w 298093"/>
              <a:gd name="T67" fmla="*/ 0 h 298089"/>
              <a:gd name="T68" fmla="*/ 41862 w 298093"/>
              <a:gd name="T69" fmla="*/ 9022 h 298089"/>
              <a:gd name="T70" fmla="*/ 9022 w 298093"/>
              <a:gd name="T71" fmla="*/ 18044 h 298089"/>
              <a:gd name="T72" fmla="*/ 45832 w 298093"/>
              <a:gd name="T73" fmla="*/ 221221 h 298089"/>
              <a:gd name="T74" fmla="*/ 77950 w 298093"/>
              <a:gd name="T75" fmla="*/ 0 h 298089"/>
              <a:gd name="T76" fmla="*/ 224830 w 298093"/>
              <a:gd name="T77" fmla="*/ 3969 h 298089"/>
              <a:gd name="T78" fmla="*/ 238183 w 298093"/>
              <a:gd name="T79" fmla="*/ 70011 h 298089"/>
              <a:gd name="T80" fmla="*/ 274993 w 298093"/>
              <a:gd name="T81" fmla="*/ 88055 h 298089"/>
              <a:gd name="T82" fmla="*/ 238183 w 298093"/>
              <a:gd name="T83" fmla="*/ 78672 h 298089"/>
              <a:gd name="T84" fmla="*/ 238183 w 298093"/>
              <a:gd name="T85" fmla="*/ 180802 h 298089"/>
              <a:gd name="T86" fmla="*/ 293398 w 298093"/>
              <a:gd name="T87" fmla="*/ 125227 h 298089"/>
              <a:gd name="T88" fmla="*/ 248288 w 298093"/>
              <a:gd name="T89" fmla="*/ 188742 h 298089"/>
              <a:gd name="T90" fmla="*/ 288706 w 298093"/>
              <a:gd name="T91" fmla="*/ 221221 h 298089"/>
              <a:gd name="T92" fmla="*/ 293398 w 298093"/>
              <a:gd name="T93" fmla="*/ 179720 h 298089"/>
              <a:gd name="T94" fmla="*/ 298089 w 298093"/>
              <a:gd name="T95" fmla="*/ 225913 h 298089"/>
              <a:gd name="T96" fmla="*/ 280045 w 298093"/>
              <a:gd name="T97" fmla="*/ 266332 h 298089"/>
              <a:gd name="T98" fmla="*/ 198846 w 298093"/>
              <a:gd name="T99" fmla="*/ 289067 h 298089"/>
              <a:gd name="T100" fmla="*/ 221221 w 298093"/>
              <a:gd name="T101" fmla="*/ 293398 h 298089"/>
              <a:gd name="T102" fmla="*/ 196320 w 298093"/>
              <a:gd name="T103" fmla="*/ 298089 h 298089"/>
              <a:gd name="T104" fmla="*/ 81198 w 298093"/>
              <a:gd name="T105" fmla="*/ 298089 h 298089"/>
              <a:gd name="T106" fmla="*/ 81198 w 298093"/>
              <a:gd name="T107" fmla="*/ 289067 h 298089"/>
              <a:gd name="T108" fmla="*/ 111873 w 298093"/>
              <a:gd name="T109" fmla="*/ 266332 h 298089"/>
              <a:gd name="T110" fmla="*/ 0 w 298093"/>
              <a:gd name="T111" fmla="*/ 248288 h 298089"/>
              <a:gd name="T112" fmla="*/ 0 w 298093"/>
              <a:gd name="T113" fmla="*/ 18044 h 298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8093" h="298089">
                <a:moveTo>
                  <a:pt x="122339" y="266332"/>
                </a:moveTo>
                <a:lnTo>
                  <a:pt x="109347" y="289067"/>
                </a:lnTo>
                <a:lnTo>
                  <a:pt x="188741" y="289067"/>
                </a:lnTo>
                <a:lnTo>
                  <a:pt x="175750" y="266332"/>
                </a:lnTo>
                <a:lnTo>
                  <a:pt x="122339" y="266332"/>
                </a:lnTo>
                <a:close/>
                <a:moveTo>
                  <a:pt x="149224" y="238125"/>
                </a:moveTo>
                <a:cubicBezTo>
                  <a:pt x="151789" y="238125"/>
                  <a:pt x="153620" y="240323"/>
                  <a:pt x="153620" y="242888"/>
                </a:cubicBezTo>
                <a:cubicBezTo>
                  <a:pt x="153620" y="245086"/>
                  <a:pt x="151789" y="247284"/>
                  <a:pt x="149224" y="247284"/>
                </a:cubicBezTo>
                <a:cubicBezTo>
                  <a:pt x="146660" y="247284"/>
                  <a:pt x="144462" y="245086"/>
                  <a:pt x="144462" y="242888"/>
                </a:cubicBezTo>
                <a:cubicBezTo>
                  <a:pt x="144462" y="240323"/>
                  <a:pt x="146660" y="238125"/>
                  <a:pt x="149224" y="238125"/>
                </a:cubicBezTo>
                <a:close/>
                <a:moveTo>
                  <a:pt x="9022" y="230243"/>
                </a:moveTo>
                <a:lnTo>
                  <a:pt x="9022" y="248288"/>
                </a:lnTo>
                <a:cubicBezTo>
                  <a:pt x="9022" y="253340"/>
                  <a:pt x="12992" y="257670"/>
                  <a:pt x="18044" y="257670"/>
                </a:cubicBezTo>
                <a:lnTo>
                  <a:pt x="119813" y="257670"/>
                </a:lnTo>
                <a:lnTo>
                  <a:pt x="178276" y="257670"/>
                </a:lnTo>
                <a:lnTo>
                  <a:pt x="280045" y="257670"/>
                </a:lnTo>
                <a:cubicBezTo>
                  <a:pt x="284737" y="257670"/>
                  <a:pt x="288706" y="253340"/>
                  <a:pt x="288706" y="248288"/>
                </a:cubicBezTo>
                <a:lnTo>
                  <a:pt x="288706" y="230243"/>
                </a:lnTo>
                <a:lnTo>
                  <a:pt x="248288" y="230243"/>
                </a:lnTo>
                <a:lnTo>
                  <a:pt x="49441" y="230243"/>
                </a:lnTo>
                <a:lnTo>
                  <a:pt x="9022" y="230243"/>
                </a:lnTo>
                <a:close/>
                <a:moveTo>
                  <a:pt x="289599" y="100243"/>
                </a:moveTo>
                <a:cubicBezTo>
                  <a:pt x="291386" y="101698"/>
                  <a:pt x="291743" y="104607"/>
                  <a:pt x="289956" y="106788"/>
                </a:cubicBezTo>
                <a:lnTo>
                  <a:pt x="241713" y="161331"/>
                </a:lnTo>
                <a:cubicBezTo>
                  <a:pt x="240641" y="162421"/>
                  <a:pt x="239926" y="163149"/>
                  <a:pt x="238496" y="163149"/>
                </a:cubicBezTo>
                <a:cubicBezTo>
                  <a:pt x="237067" y="163149"/>
                  <a:pt x="235995" y="162785"/>
                  <a:pt x="235280" y="161331"/>
                </a:cubicBezTo>
                <a:lnTo>
                  <a:pt x="210980" y="136605"/>
                </a:lnTo>
                <a:cubicBezTo>
                  <a:pt x="209550" y="134787"/>
                  <a:pt x="209550" y="131878"/>
                  <a:pt x="211337" y="130060"/>
                </a:cubicBezTo>
                <a:cubicBezTo>
                  <a:pt x="212766" y="128242"/>
                  <a:pt x="215983" y="128242"/>
                  <a:pt x="217412" y="130060"/>
                </a:cubicBezTo>
                <a:lnTo>
                  <a:pt x="238139" y="151877"/>
                </a:lnTo>
                <a:lnTo>
                  <a:pt x="283166" y="100607"/>
                </a:lnTo>
                <a:cubicBezTo>
                  <a:pt x="284953" y="98425"/>
                  <a:pt x="287455" y="98425"/>
                  <a:pt x="289599" y="100243"/>
                </a:cubicBezTo>
                <a:close/>
                <a:moveTo>
                  <a:pt x="124371" y="39200"/>
                </a:moveTo>
                <a:cubicBezTo>
                  <a:pt x="119329" y="39200"/>
                  <a:pt x="115366" y="43176"/>
                  <a:pt x="115366" y="48237"/>
                </a:cubicBezTo>
                <a:cubicBezTo>
                  <a:pt x="115366" y="53299"/>
                  <a:pt x="119329" y="57275"/>
                  <a:pt x="124371" y="57275"/>
                </a:cubicBezTo>
                <a:lnTo>
                  <a:pt x="174077" y="57275"/>
                </a:lnTo>
                <a:cubicBezTo>
                  <a:pt x="179120" y="57275"/>
                  <a:pt x="183082" y="53299"/>
                  <a:pt x="183082" y="48237"/>
                </a:cubicBezTo>
                <a:cubicBezTo>
                  <a:pt x="183082" y="43176"/>
                  <a:pt x="179120" y="39200"/>
                  <a:pt x="174077" y="39200"/>
                </a:cubicBezTo>
                <a:lnTo>
                  <a:pt x="124371" y="39200"/>
                </a:lnTo>
                <a:close/>
                <a:moveTo>
                  <a:pt x="124371" y="30162"/>
                </a:moveTo>
                <a:lnTo>
                  <a:pt x="174077" y="30162"/>
                </a:lnTo>
                <a:cubicBezTo>
                  <a:pt x="183802" y="30162"/>
                  <a:pt x="191727" y="38115"/>
                  <a:pt x="191727" y="48237"/>
                </a:cubicBezTo>
                <a:cubicBezTo>
                  <a:pt x="191727" y="58360"/>
                  <a:pt x="183802" y="66313"/>
                  <a:pt x="174077" y="66313"/>
                </a:cubicBezTo>
                <a:lnTo>
                  <a:pt x="124371" y="66313"/>
                </a:lnTo>
                <a:cubicBezTo>
                  <a:pt x="114646" y="66313"/>
                  <a:pt x="106362" y="58360"/>
                  <a:pt x="106362" y="48237"/>
                </a:cubicBezTo>
                <a:cubicBezTo>
                  <a:pt x="106362" y="38115"/>
                  <a:pt x="114646" y="30162"/>
                  <a:pt x="124371" y="30162"/>
                </a:cubicBezTo>
                <a:close/>
                <a:moveTo>
                  <a:pt x="81920" y="9022"/>
                </a:moveTo>
                <a:lnTo>
                  <a:pt x="54854" y="221221"/>
                </a:lnTo>
                <a:lnTo>
                  <a:pt x="243235" y="221221"/>
                </a:lnTo>
                <a:lnTo>
                  <a:pt x="239265" y="189464"/>
                </a:lnTo>
                <a:cubicBezTo>
                  <a:pt x="238905" y="189464"/>
                  <a:pt x="238544" y="189825"/>
                  <a:pt x="238183" y="189825"/>
                </a:cubicBezTo>
                <a:cubicBezTo>
                  <a:pt x="204981" y="189825"/>
                  <a:pt x="177915" y="163119"/>
                  <a:pt x="177915" y="129918"/>
                </a:cubicBezTo>
                <a:cubicBezTo>
                  <a:pt x="177915" y="101408"/>
                  <a:pt x="197763" y="77590"/>
                  <a:pt x="224108" y="71455"/>
                </a:cubicBezTo>
                <a:lnTo>
                  <a:pt x="216169" y="9022"/>
                </a:lnTo>
                <a:lnTo>
                  <a:pt x="81920" y="9022"/>
                </a:lnTo>
                <a:close/>
                <a:moveTo>
                  <a:pt x="256695" y="0"/>
                </a:moveTo>
                <a:lnTo>
                  <a:pt x="280249" y="0"/>
                </a:lnTo>
                <a:cubicBezTo>
                  <a:pt x="289885" y="0"/>
                  <a:pt x="298093" y="7880"/>
                  <a:pt x="298093" y="17910"/>
                </a:cubicBezTo>
                <a:lnTo>
                  <a:pt x="298093" y="64835"/>
                </a:lnTo>
                <a:cubicBezTo>
                  <a:pt x="298093" y="67342"/>
                  <a:pt x="295952" y="69492"/>
                  <a:pt x="293454" y="69492"/>
                </a:cubicBezTo>
                <a:cubicBezTo>
                  <a:pt x="290956" y="69492"/>
                  <a:pt x="288814" y="67342"/>
                  <a:pt x="288814" y="64835"/>
                </a:cubicBezTo>
                <a:lnTo>
                  <a:pt x="288814" y="17910"/>
                </a:lnTo>
                <a:cubicBezTo>
                  <a:pt x="288814" y="12895"/>
                  <a:pt x="284889" y="8955"/>
                  <a:pt x="280249" y="8955"/>
                </a:cubicBezTo>
                <a:lnTo>
                  <a:pt x="256695" y="8955"/>
                </a:lnTo>
                <a:cubicBezTo>
                  <a:pt x="254197" y="8955"/>
                  <a:pt x="252412" y="6806"/>
                  <a:pt x="252412" y="4656"/>
                </a:cubicBezTo>
                <a:cubicBezTo>
                  <a:pt x="252412" y="2149"/>
                  <a:pt x="254197" y="0"/>
                  <a:pt x="256695" y="0"/>
                </a:cubicBezTo>
                <a:close/>
                <a:moveTo>
                  <a:pt x="18044" y="0"/>
                </a:moveTo>
                <a:lnTo>
                  <a:pt x="41862" y="0"/>
                </a:lnTo>
                <a:cubicBezTo>
                  <a:pt x="44388" y="0"/>
                  <a:pt x="46193" y="2165"/>
                  <a:pt x="46193" y="4691"/>
                </a:cubicBezTo>
                <a:cubicBezTo>
                  <a:pt x="46193" y="6857"/>
                  <a:pt x="44388" y="9022"/>
                  <a:pt x="41862" y="9022"/>
                </a:cubicBezTo>
                <a:lnTo>
                  <a:pt x="18044" y="9022"/>
                </a:lnTo>
                <a:cubicBezTo>
                  <a:pt x="12992" y="9022"/>
                  <a:pt x="9022" y="12992"/>
                  <a:pt x="9022" y="18044"/>
                </a:cubicBezTo>
                <a:lnTo>
                  <a:pt x="9022" y="221221"/>
                </a:lnTo>
                <a:lnTo>
                  <a:pt x="45832" y="221221"/>
                </a:lnTo>
                <a:lnTo>
                  <a:pt x="73620" y="3969"/>
                </a:lnTo>
                <a:cubicBezTo>
                  <a:pt x="73620" y="1804"/>
                  <a:pt x="75785" y="0"/>
                  <a:pt x="77950" y="0"/>
                </a:cubicBezTo>
                <a:lnTo>
                  <a:pt x="220139" y="0"/>
                </a:lnTo>
                <a:cubicBezTo>
                  <a:pt x="222304" y="0"/>
                  <a:pt x="224108" y="1804"/>
                  <a:pt x="224830" y="3969"/>
                </a:cubicBezTo>
                <a:lnTo>
                  <a:pt x="232770" y="70011"/>
                </a:lnTo>
                <a:cubicBezTo>
                  <a:pt x="234574" y="70011"/>
                  <a:pt x="236378" y="70011"/>
                  <a:pt x="238183" y="70011"/>
                </a:cubicBezTo>
                <a:cubicBezTo>
                  <a:pt x="251175" y="70011"/>
                  <a:pt x="263445" y="73981"/>
                  <a:pt x="273910" y="81920"/>
                </a:cubicBezTo>
                <a:cubicBezTo>
                  <a:pt x="276076" y="83364"/>
                  <a:pt x="276436" y="85890"/>
                  <a:pt x="274993" y="88055"/>
                </a:cubicBezTo>
                <a:cubicBezTo>
                  <a:pt x="273188" y="89860"/>
                  <a:pt x="270301" y="90581"/>
                  <a:pt x="268497" y="89138"/>
                </a:cubicBezTo>
                <a:cubicBezTo>
                  <a:pt x="259475" y="82281"/>
                  <a:pt x="249370" y="78672"/>
                  <a:pt x="238183" y="78672"/>
                </a:cubicBezTo>
                <a:cubicBezTo>
                  <a:pt x="210034" y="78672"/>
                  <a:pt x="187298" y="101769"/>
                  <a:pt x="187298" y="129918"/>
                </a:cubicBezTo>
                <a:cubicBezTo>
                  <a:pt x="187298" y="157706"/>
                  <a:pt x="210034" y="180802"/>
                  <a:pt x="238183" y="180802"/>
                </a:cubicBezTo>
                <a:cubicBezTo>
                  <a:pt x="266332" y="180802"/>
                  <a:pt x="288706" y="157706"/>
                  <a:pt x="288706" y="129918"/>
                </a:cubicBezTo>
                <a:cubicBezTo>
                  <a:pt x="288706" y="127392"/>
                  <a:pt x="290872" y="125227"/>
                  <a:pt x="293398" y="125227"/>
                </a:cubicBezTo>
                <a:cubicBezTo>
                  <a:pt x="295924" y="125227"/>
                  <a:pt x="298089" y="127392"/>
                  <a:pt x="298089" y="129918"/>
                </a:cubicBezTo>
                <a:cubicBezTo>
                  <a:pt x="298089" y="159510"/>
                  <a:pt x="276436" y="184050"/>
                  <a:pt x="248288" y="188742"/>
                </a:cubicBezTo>
                <a:lnTo>
                  <a:pt x="252257" y="221221"/>
                </a:lnTo>
                <a:lnTo>
                  <a:pt x="288706" y="221221"/>
                </a:lnTo>
                <a:lnTo>
                  <a:pt x="288706" y="184411"/>
                </a:lnTo>
                <a:cubicBezTo>
                  <a:pt x="288706" y="181885"/>
                  <a:pt x="290872" y="179720"/>
                  <a:pt x="293398" y="179720"/>
                </a:cubicBezTo>
                <a:cubicBezTo>
                  <a:pt x="295924" y="179720"/>
                  <a:pt x="298089" y="181885"/>
                  <a:pt x="298089" y="184411"/>
                </a:cubicBezTo>
                <a:lnTo>
                  <a:pt x="298089" y="225913"/>
                </a:lnTo>
                <a:lnTo>
                  <a:pt x="298089" y="248288"/>
                </a:lnTo>
                <a:cubicBezTo>
                  <a:pt x="298089" y="258392"/>
                  <a:pt x="289789" y="266332"/>
                  <a:pt x="280045" y="266332"/>
                </a:cubicBezTo>
                <a:lnTo>
                  <a:pt x="186215" y="266332"/>
                </a:lnTo>
                <a:lnTo>
                  <a:pt x="198846" y="289067"/>
                </a:lnTo>
                <a:lnTo>
                  <a:pt x="216891" y="289067"/>
                </a:lnTo>
                <a:cubicBezTo>
                  <a:pt x="219056" y="289067"/>
                  <a:pt x="221221" y="290872"/>
                  <a:pt x="221221" y="293398"/>
                </a:cubicBezTo>
                <a:cubicBezTo>
                  <a:pt x="221221" y="295924"/>
                  <a:pt x="219056" y="298089"/>
                  <a:pt x="216891" y="298089"/>
                </a:cubicBezTo>
                <a:lnTo>
                  <a:pt x="196320" y="298089"/>
                </a:lnTo>
                <a:lnTo>
                  <a:pt x="101408" y="298089"/>
                </a:lnTo>
                <a:lnTo>
                  <a:pt x="81198" y="298089"/>
                </a:lnTo>
                <a:cubicBezTo>
                  <a:pt x="78672" y="298089"/>
                  <a:pt x="76868" y="295924"/>
                  <a:pt x="76868" y="293398"/>
                </a:cubicBezTo>
                <a:cubicBezTo>
                  <a:pt x="76868" y="290872"/>
                  <a:pt x="78672" y="289067"/>
                  <a:pt x="81198" y="289067"/>
                </a:cubicBezTo>
                <a:lnTo>
                  <a:pt x="98882" y="289067"/>
                </a:lnTo>
                <a:lnTo>
                  <a:pt x="111873" y="266332"/>
                </a:lnTo>
                <a:lnTo>
                  <a:pt x="18044" y="266332"/>
                </a:lnTo>
                <a:cubicBezTo>
                  <a:pt x="7939" y="266332"/>
                  <a:pt x="0" y="258392"/>
                  <a:pt x="0" y="248288"/>
                </a:cubicBezTo>
                <a:lnTo>
                  <a:pt x="0" y="225913"/>
                </a:lnTo>
                <a:lnTo>
                  <a:pt x="0" y="18044"/>
                </a:lnTo>
                <a:cubicBezTo>
                  <a:pt x="0" y="7939"/>
                  <a:pt x="7939" y="0"/>
                  <a:pt x="18044" y="0"/>
                </a:cubicBezTo>
                <a:close/>
              </a:path>
            </a:pathLst>
          </a:custGeom>
          <a:solidFill>
            <a:schemeClr val="tx2"/>
          </a:solidFill>
          <a:ln>
            <a:noFill/>
          </a:ln>
          <a:effectLst/>
        </p:spPr>
        <p:txBody>
          <a:bodyPr anchor="ctr"/>
          <a:lstStyle/>
          <a:p>
            <a:endParaRPr lang="en-US" sz="900" dirty="0">
              <a:latin typeface="Lato Light" panose="020F0502020204030203" pitchFamily="34" charset="0"/>
            </a:endParaRPr>
          </a:p>
        </p:txBody>
      </p:sp>
      <p:sp>
        <p:nvSpPr>
          <p:cNvPr id="152" name="Freeform 745">
            <a:extLst>
              <a:ext uri="{FF2B5EF4-FFF2-40B4-BE49-F238E27FC236}">
                <a16:creationId xmlns:a16="http://schemas.microsoft.com/office/drawing/2014/main" id="{16517624-66E3-FB48-8233-9ABD81EA5329}"/>
              </a:ext>
            </a:extLst>
          </p:cNvPr>
          <p:cNvSpPr>
            <a:spLocks noChangeArrowheads="1"/>
          </p:cNvSpPr>
          <p:nvPr/>
        </p:nvSpPr>
        <p:spPr bwMode="auto">
          <a:xfrm>
            <a:off x="7509293" y="1684970"/>
            <a:ext cx="290833" cy="289286"/>
          </a:xfrm>
          <a:custGeom>
            <a:avLst/>
            <a:gdLst>
              <a:gd name="T0" fmla="*/ 297010 w 298090"/>
              <a:gd name="T1" fmla="*/ 147671 h 296503"/>
              <a:gd name="T2" fmla="*/ 295571 w 298090"/>
              <a:gd name="T3" fmla="*/ 272334 h 296503"/>
              <a:gd name="T4" fmla="*/ 211350 w 298090"/>
              <a:gd name="T5" fmla="*/ 192091 h 296503"/>
              <a:gd name="T6" fmla="*/ 289452 w 298090"/>
              <a:gd name="T7" fmla="*/ 257288 h 296503"/>
              <a:gd name="T8" fmla="*/ 266777 w 298090"/>
              <a:gd name="T9" fmla="*/ 124387 h 296503"/>
              <a:gd name="T10" fmla="*/ 191908 w 298090"/>
              <a:gd name="T11" fmla="*/ 137071 h 296503"/>
              <a:gd name="T12" fmla="*/ 191908 w 298090"/>
              <a:gd name="T13" fmla="*/ 66675 h 296503"/>
              <a:gd name="T14" fmla="*/ 152400 w 298090"/>
              <a:gd name="T15" fmla="*/ 106542 h 296503"/>
              <a:gd name="T16" fmla="*/ 169676 w 298090"/>
              <a:gd name="T17" fmla="*/ 44322 h 296503"/>
              <a:gd name="T18" fmla="*/ 140631 w 298090"/>
              <a:gd name="T19" fmla="*/ 65516 h 296503"/>
              <a:gd name="T20" fmla="*/ 136686 w 298090"/>
              <a:gd name="T21" fmla="*/ 93176 h 296503"/>
              <a:gd name="T22" fmla="*/ 136686 w 298090"/>
              <a:gd name="T23" fmla="*/ 117962 h 296503"/>
              <a:gd name="T24" fmla="*/ 140631 w 298090"/>
              <a:gd name="T25" fmla="*/ 145262 h 296503"/>
              <a:gd name="T26" fmla="*/ 169676 w 298090"/>
              <a:gd name="T27" fmla="*/ 166815 h 296503"/>
              <a:gd name="T28" fmla="*/ 197288 w 298090"/>
              <a:gd name="T29" fmla="*/ 161786 h 296503"/>
              <a:gd name="T30" fmla="*/ 220954 w 298090"/>
              <a:gd name="T31" fmla="*/ 154242 h 296503"/>
              <a:gd name="T32" fmla="*/ 245697 w 298090"/>
              <a:gd name="T33" fmla="*/ 142029 h 296503"/>
              <a:gd name="T34" fmla="*/ 256813 w 298090"/>
              <a:gd name="T35" fmla="*/ 107544 h 296503"/>
              <a:gd name="T36" fmla="*/ 243904 w 298090"/>
              <a:gd name="T37" fmla="*/ 83118 h 296503"/>
              <a:gd name="T38" fmla="*/ 229202 w 298090"/>
              <a:gd name="T39" fmla="*/ 63001 h 296503"/>
              <a:gd name="T40" fmla="*/ 209838 w 298090"/>
              <a:gd name="T41" fmla="*/ 42885 h 296503"/>
              <a:gd name="T42" fmla="*/ 173979 w 298090"/>
              <a:gd name="T43" fmla="*/ 42885 h 296503"/>
              <a:gd name="T44" fmla="*/ 177924 w 298090"/>
              <a:gd name="T45" fmla="*/ 34623 h 296503"/>
              <a:gd name="T46" fmla="*/ 205894 w 298090"/>
              <a:gd name="T47" fmla="*/ 34623 h 296503"/>
              <a:gd name="T48" fmla="*/ 230995 w 298090"/>
              <a:gd name="T49" fmla="*/ 54021 h 296503"/>
              <a:gd name="T50" fmla="*/ 252510 w 298090"/>
              <a:gd name="T51" fmla="*/ 84196 h 296503"/>
              <a:gd name="T52" fmla="*/ 263268 w 298090"/>
              <a:gd name="T53" fmla="*/ 113651 h 296503"/>
              <a:gd name="T54" fmla="*/ 254662 w 298090"/>
              <a:gd name="T55" fmla="*/ 140592 h 296503"/>
              <a:gd name="T56" fmla="*/ 228485 w 298090"/>
              <a:gd name="T57" fmla="*/ 158553 h 296503"/>
              <a:gd name="T58" fmla="*/ 193343 w 298090"/>
              <a:gd name="T59" fmla="*/ 169688 h 296503"/>
              <a:gd name="T60" fmla="*/ 172545 w 298090"/>
              <a:gd name="T61" fmla="*/ 177591 h 296503"/>
              <a:gd name="T62" fmla="*/ 153181 w 298090"/>
              <a:gd name="T63" fmla="*/ 156757 h 296503"/>
              <a:gd name="T64" fmla="*/ 131307 w 298090"/>
              <a:gd name="T65" fmla="*/ 126583 h 296503"/>
              <a:gd name="T66" fmla="*/ 120550 w 298090"/>
              <a:gd name="T67" fmla="*/ 97127 h 296503"/>
              <a:gd name="T68" fmla="*/ 129156 w 298090"/>
              <a:gd name="T69" fmla="*/ 70186 h 296503"/>
              <a:gd name="T70" fmla="*/ 154974 w 298090"/>
              <a:gd name="T71" fmla="*/ 52584 h 296503"/>
              <a:gd name="T72" fmla="*/ 4322 w 298090"/>
              <a:gd name="T73" fmla="*/ 12700 h 296503"/>
              <a:gd name="T74" fmla="*/ 18008 w 298090"/>
              <a:gd name="T75" fmla="*/ 287510 h 296503"/>
              <a:gd name="T76" fmla="*/ 279121 w 298090"/>
              <a:gd name="T77" fmla="*/ 296503 h 296503"/>
              <a:gd name="T78" fmla="*/ 0 w 298090"/>
              <a:gd name="T79" fmla="*/ 17376 h 296503"/>
              <a:gd name="T80" fmla="*/ 280027 w 298090"/>
              <a:gd name="T81" fmla="*/ 0 h 296503"/>
              <a:gd name="T82" fmla="*/ 293754 w 298090"/>
              <a:gd name="T83" fmla="*/ 120289 h 296503"/>
              <a:gd name="T84" fmla="*/ 280027 w 298090"/>
              <a:gd name="T85" fmla="*/ 9030 h 296503"/>
              <a:gd name="T86" fmla="*/ 182496 w 298090"/>
              <a:gd name="T87" fmla="*/ 0 h 296503"/>
              <a:gd name="T88" fmla="*/ 149542 w 298090"/>
              <a:gd name="T89" fmla="*/ 1079 h 296503"/>
              <a:gd name="T90" fmla="*/ 159989 w 298090"/>
              <a:gd name="T91" fmla="*/ 24457 h 296503"/>
              <a:gd name="T92" fmla="*/ 114597 w 298090"/>
              <a:gd name="T93" fmla="*/ 84163 h 296503"/>
              <a:gd name="T94" fmla="*/ 108473 w 298090"/>
              <a:gd name="T95" fmla="*/ 90277 h 296503"/>
              <a:gd name="T96" fmla="*/ 28496 w 298090"/>
              <a:gd name="T97" fmla="*/ 0 h 296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8090" h="296503">
                <a:moveTo>
                  <a:pt x="266777" y="124387"/>
                </a:moveTo>
                <a:cubicBezTo>
                  <a:pt x="268577" y="122237"/>
                  <a:pt x="271456" y="122237"/>
                  <a:pt x="273256" y="124387"/>
                </a:cubicBezTo>
                <a:lnTo>
                  <a:pt x="297010" y="147671"/>
                </a:lnTo>
                <a:cubicBezTo>
                  <a:pt x="297730" y="148746"/>
                  <a:pt x="298090" y="149821"/>
                  <a:pt x="298090" y="150895"/>
                </a:cubicBezTo>
                <a:lnTo>
                  <a:pt x="298090" y="268035"/>
                </a:lnTo>
                <a:cubicBezTo>
                  <a:pt x="298090" y="269826"/>
                  <a:pt x="297010" y="271617"/>
                  <a:pt x="295571" y="272334"/>
                </a:cubicBezTo>
                <a:cubicBezTo>
                  <a:pt x="294851" y="272334"/>
                  <a:pt x="294491" y="272692"/>
                  <a:pt x="293771" y="272692"/>
                </a:cubicBezTo>
                <a:cubicBezTo>
                  <a:pt x="292691" y="272692"/>
                  <a:pt x="291252" y="272334"/>
                  <a:pt x="290532" y="271259"/>
                </a:cubicBezTo>
                <a:lnTo>
                  <a:pt x="211350" y="192091"/>
                </a:lnTo>
                <a:cubicBezTo>
                  <a:pt x="209550" y="190658"/>
                  <a:pt x="209550" y="187793"/>
                  <a:pt x="211350" y="186001"/>
                </a:cubicBezTo>
                <a:cubicBezTo>
                  <a:pt x="213149" y="184210"/>
                  <a:pt x="216029" y="184210"/>
                  <a:pt x="217468" y="186001"/>
                </a:cubicBezTo>
                <a:lnTo>
                  <a:pt x="289452" y="257288"/>
                </a:lnTo>
                <a:lnTo>
                  <a:pt x="289452" y="153045"/>
                </a:lnTo>
                <a:lnTo>
                  <a:pt x="266777" y="130476"/>
                </a:lnTo>
                <a:cubicBezTo>
                  <a:pt x="264978" y="129044"/>
                  <a:pt x="264978" y="125820"/>
                  <a:pt x="266777" y="124387"/>
                </a:cubicBezTo>
                <a:close/>
                <a:moveTo>
                  <a:pt x="191908" y="75654"/>
                </a:moveTo>
                <a:cubicBezTo>
                  <a:pt x="175027" y="75654"/>
                  <a:pt x="161379" y="89303"/>
                  <a:pt x="161379" y="106542"/>
                </a:cubicBezTo>
                <a:cubicBezTo>
                  <a:pt x="161379" y="123064"/>
                  <a:pt x="175027" y="137071"/>
                  <a:pt x="191908" y="137071"/>
                </a:cubicBezTo>
                <a:cubicBezTo>
                  <a:pt x="208789" y="137071"/>
                  <a:pt x="222437" y="123064"/>
                  <a:pt x="222437" y="106542"/>
                </a:cubicBezTo>
                <a:cubicBezTo>
                  <a:pt x="222437" y="89303"/>
                  <a:pt x="208789" y="75654"/>
                  <a:pt x="191908" y="75654"/>
                </a:cubicBezTo>
                <a:close/>
                <a:moveTo>
                  <a:pt x="191908" y="66675"/>
                </a:moveTo>
                <a:cubicBezTo>
                  <a:pt x="213817" y="66675"/>
                  <a:pt x="231416" y="84274"/>
                  <a:pt x="231416" y="106542"/>
                </a:cubicBezTo>
                <a:cubicBezTo>
                  <a:pt x="231416" y="128092"/>
                  <a:pt x="213817" y="145691"/>
                  <a:pt x="191908" y="145691"/>
                </a:cubicBezTo>
                <a:cubicBezTo>
                  <a:pt x="169999" y="145691"/>
                  <a:pt x="152400" y="128092"/>
                  <a:pt x="152400" y="106542"/>
                </a:cubicBezTo>
                <a:cubicBezTo>
                  <a:pt x="152400" y="84274"/>
                  <a:pt x="169999" y="66675"/>
                  <a:pt x="191908" y="66675"/>
                </a:cubicBezTo>
                <a:close/>
                <a:moveTo>
                  <a:pt x="172545" y="42526"/>
                </a:moveTo>
                <a:cubicBezTo>
                  <a:pt x="171469" y="42526"/>
                  <a:pt x="170393" y="43245"/>
                  <a:pt x="169676" y="44322"/>
                </a:cubicBezTo>
                <a:lnTo>
                  <a:pt x="163222" y="56536"/>
                </a:lnTo>
                <a:cubicBezTo>
                  <a:pt x="161429" y="60128"/>
                  <a:pt x="158201" y="62283"/>
                  <a:pt x="154616" y="63001"/>
                </a:cubicBezTo>
                <a:lnTo>
                  <a:pt x="140631" y="65516"/>
                </a:lnTo>
                <a:cubicBezTo>
                  <a:pt x="138838" y="65875"/>
                  <a:pt x="137762" y="67312"/>
                  <a:pt x="138120" y="68749"/>
                </a:cubicBezTo>
                <a:lnTo>
                  <a:pt x="139913" y="83118"/>
                </a:lnTo>
                <a:cubicBezTo>
                  <a:pt x="140631" y="86710"/>
                  <a:pt x="139196" y="90302"/>
                  <a:pt x="136686" y="93176"/>
                </a:cubicBezTo>
                <a:lnTo>
                  <a:pt x="127004" y="103234"/>
                </a:lnTo>
                <a:cubicBezTo>
                  <a:pt x="125928" y="104311"/>
                  <a:pt x="125928" y="106467"/>
                  <a:pt x="127004" y="107544"/>
                </a:cubicBezTo>
                <a:lnTo>
                  <a:pt x="136686" y="117962"/>
                </a:lnTo>
                <a:cubicBezTo>
                  <a:pt x="139196" y="120476"/>
                  <a:pt x="140631" y="124068"/>
                  <a:pt x="139913" y="128020"/>
                </a:cubicBezTo>
                <a:lnTo>
                  <a:pt x="138120" y="142029"/>
                </a:lnTo>
                <a:cubicBezTo>
                  <a:pt x="137762" y="143825"/>
                  <a:pt x="138838" y="145262"/>
                  <a:pt x="140631" y="145262"/>
                </a:cubicBezTo>
                <a:lnTo>
                  <a:pt x="154616" y="147776"/>
                </a:lnTo>
                <a:cubicBezTo>
                  <a:pt x="158201" y="148495"/>
                  <a:pt x="161429" y="151009"/>
                  <a:pt x="163222" y="154242"/>
                </a:cubicBezTo>
                <a:lnTo>
                  <a:pt x="169676" y="166815"/>
                </a:lnTo>
                <a:cubicBezTo>
                  <a:pt x="170393" y="168252"/>
                  <a:pt x="172545" y="168970"/>
                  <a:pt x="173979" y="167892"/>
                </a:cubicBezTo>
                <a:lnTo>
                  <a:pt x="186530" y="161786"/>
                </a:lnTo>
                <a:cubicBezTo>
                  <a:pt x="189757" y="160349"/>
                  <a:pt x="193702" y="160349"/>
                  <a:pt x="197288" y="161786"/>
                </a:cubicBezTo>
                <a:lnTo>
                  <a:pt x="209838" y="167892"/>
                </a:lnTo>
                <a:cubicBezTo>
                  <a:pt x="211631" y="168970"/>
                  <a:pt x="213065" y="168252"/>
                  <a:pt x="214141" y="166815"/>
                </a:cubicBezTo>
                <a:lnTo>
                  <a:pt x="220954" y="154242"/>
                </a:lnTo>
                <a:cubicBezTo>
                  <a:pt x="222389" y="151009"/>
                  <a:pt x="225616" y="148495"/>
                  <a:pt x="229202" y="147776"/>
                </a:cubicBezTo>
                <a:lnTo>
                  <a:pt x="243187" y="145262"/>
                </a:lnTo>
                <a:cubicBezTo>
                  <a:pt x="244980" y="145262"/>
                  <a:pt x="246056" y="143825"/>
                  <a:pt x="245697" y="142029"/>
                </a:cubicBezTo>
                <a:lnTo>
                  <a:pt x="243904" y="128020"/>
                </a:lnTo>
                <a:cubicBezTo>
                  <a:pt x="243545" y="124068"/>
                  <a:pt x="244263" y="120476"/>
                  <a:pt x="247131" y="117962"/>
                </a:cubicBezTo>
                <a:lnTo>
                  <a:pt x="256813" y="107544"/>
                </a:lnTo>
                <a:cubicBezTo>
                  <a:pt x="258248" y="106467"/>
                  <a:pt x="258248" y="104311"/>
                  <a:pt x="256813" y="103234"/>
                </a:cubicBezTo>
                <a:lnTo>
                  <a:pt x="247131" y="93176"/>
                </a:lnTo>
                <a:cubicBezTo>
                  <a:pt x="244263" y="90302"/>
                  <a:pt x="243545" y="86710"/>
                  <a:pt x="243904" y="83118"/>
                </a:cubicBezTo>
                <a:lnTo>
                  <a:pt x="245697" y="68749"/>
                </a:lnTo>
                <a:cubicBezTo>
                  <a:pt x="246056" y="67312"/>
                  <a:pt x="244980" y="65875"/>
                  <a:pt x="243187" y="65516"/>
                </a:cubicBezTo>
                <a:lnTo>
                  <a:pt x="229202" y="63001"/>
                </a:lnTo>
                <a:cubicBezTo>
                  <a:pt x="225616" y="62283"/>
                  <a:pt x="222389" y="60128"/>
                  <a:pt x="220596" y="56536"/>
                </a:cubicBezTo>
                <a:lnTo>
                  <a:pt x="214141" y="44322"/>
                </a:lnTo>
                <a:cubicBezTo>
                  <a:pt x="213065" y="42526"/>
                  <a:pt x="211631" y="42167"/>
                  <a:pt x="209838" y="42885"/>
                </a:cubicBezTo>
                <a:lnTo>
                  <a:pt x="197288" y="48992"/>
                </a:lnTo>
                <a:cubicBezTo>
                  <a:pt x="193702" y="50788"/>
                  <a:pt x="189757" y="50788"/>
                  <a:pt x="186530" y="48992"/>
                </a:cubicBezTo>
                <a:lnTo>
                  <a:pt x="173979" y="42885"/>
                </a:lnTo>
                <a:cubicBezTo>
                  <a:pt x="173262" y="42526"/>
                  <a:pt x="172904" y="42526"/>
                  <a:pt x="172545" y="42526"/>
                </a:cubicBezTo>
                <a:close/>
                <a:moveTo>
                  <a:pt x="168780" y="34085"/>
                </a:moveTo>
                <a:cubicBezTo>
                  <a:pt x="171649" y="33097"/>
                  <a:pt x="174876" y="33187"/>
                  <a:pt x="177924" y="34623"/>
                </a:cubicBezTo>
                <a:lnTo>
                  <a:pt x="190474" y="41089"/>
                </a:lnTo>
                <a:cubicBezTo>
                  <a:pt x="191192" y="41449"/>
                  <a:pt x="192267" y="41449"/>
                  <a:pt x="193343" y="41089"/>
                </a:cubicBezTo>
                <a:lnTo>
                  <a:pt x="205894" y="34623"/>
                </a:lnTo>
                <a:cubicBezTo>
                  <a:pt x="211990" y="31750"/>
                  <a:pt x="218803" y="34264"/>
                  <a:pt x="222030" y="40012"/>
                </a:cubicBezTo>
                <a:lnTo>
                  <a:pt x="228485" y="52584"/>
                </a:lnTo>
                <a:cubicBezTo>
                  <a:pt x="229202" y="53303"/>
                  <a:pt x="229919" y="53662"/>
                  <a:pt x="230995" y="54021"/>
                </a:cubicBezTo>
                <a:lnTo>
                  <a:pt x="244980" y="56536"/>
                </a:lnTo>
                <a:cubicBezTo>
                  <a:pt x="251434" y="57613"/>
                  <a:pt x="255737" y="63720"/>
                  <a:pt x="254662" y="70186"/>
                </a:cubicBezTo>
                <a:lnTo>
                  <a:pt x="252510" y="84196"/>
                </a:lnTo>
                <a:cubicBezTo>
                  <a:pt x="252510" y="85273"/>
                  <a:pt x="252869" y="85992"/>
                  <a:pt x="253586" y="86710"/>
                </a:cubicBezTo>
                <a:lnTo>
                  <a:pt x="263268" y="97127"/>
                </a:lnTo>
                <a:cubicBezTo>
                  <a:pt x="267929" y="101797"/>
                  <a:pt x="267929" y="108981"/>
                  <a:pt x="263268" y="113651"/>
                </a:cubicBezTo>
                <a:lnTo>
                  <a:pt x="253586" y="124068"/>
                </a:lnTo>
                <a:cubicBezTo>
                  <a:pt x="252869" y="124787"/>
                  <a:pt x="252510" y="125864"/>
                  <a:pt x="252510" y="126583"/>
                </a:cubicBezTo>
                <a:lnTo>
                  <a:pt x="254662" y="140592"/>
                </a:lnTo>
                <a:cubicBezTo>
                  <a:pt x="255737" y="147417"/>
                  <a:pt x="251434" y="153165"/>
                  <a:pt x="244980" y="154242"/>
                </a:cubicBezTo>
                <a:lnTo>
                  <a:pt x="230995" y="156757"/>
                </a:lnTo>
                <a:cubicBezTo>
                  <a:pt x="229919" y="157116"/>
                  <a:pt x="229202" y="157475"/>
                  <a:pt x="228485" y="158553"/>
                </a:cubicBezTo>
                <a:lnTo>
                  <a:pt x="222030" y="171125"/>
                </a:lnTo>
                <a:cubicBezTo>
                  <a:pt x="218803" y="176514"/>
                  <a:pt x="211990" y="179028"/>
                  <a:pt x="205894" y="176154"/>
                </a:cubicBezTo>
                <a:lnTo>
                  <a:pt x="193343" y="169688"/>
                </a:lnTo>
                <a:cubicBezTo>
                  <a:pt x="192267" y="169329"/>
                  <a:pt x="191192" y="169329"/>
                  <a:pt x="190474" y="169688"/>
                </a:cubicBezTo>
                <a:lnTo>
                  <a:pt x="177924" y="176154"/>
                </a:lnTo>
                <a:cubicBezTo>
                  <a:pt x="176131" y="176873"/>
                  <a:pt x="174338" y="177591"/>
                  <a:pt x="172545" y="177591"/>
                </a:cubicBezTo>
                <a:cubicBezTo>
                  <a:pt x="168242" y="177591"/>
                  <a:pt x="163939" y="175077"/>
                  <a:pt x="161787" y="171125"/>
                </a:cubicBezTo>
                <a:lnTo>
                  <a:pt x="154974" y="158553"/>
                </a:lnTo>
                <a:cubicBezTo>
                  <a:pt x="154616" y="157834"/>
                  <a:pt x="153898" y="157116"/>
                  <a:pt x="153181" y="156757"/>
                </a:cubicBezTo>
                <a:lnTo>
                  <a:pt x="139196" y="154242"/>
                </a:lnTo>
                <a:cubicBezTo>
                  <a:pt x="132742" y="153165"/>
                  <a:pt x="128080" y="147417"/>
                  <a:pt x="129156" y="140592"/>
                </a:cubicBezTo>
                <a:lnTo>
                  <a:pt x="131307" y="126583"/>
                </a:lnTo>
                <a:cubicBezTo>
                  <a:pt x="131307" y="125864"/>
                  <a:pt x="130949" y="124787"/>
                  <a:pt x="130232" y="124068"/>
                </a:cubicBezTo>
                <a:lnTo>
                  <a:pt x="120550" y="113651"/>
                </a:lnTo>
                <a:cubicBezTo>
                  <a:pt x="115888" y="108981"/>
                  <a:pt x="115888" y="101797"/>
                  <a:pt x="120550" y="97127"/>
                </a:cubicBezTo>
                <a:lnTo>
                  <a:pt x="130232" y="86710"/>
                </a:lnTo>
                <a:cubicBezTo>
                  <a:pt x="130949" y="85992"/>
                  <a:pt x="131307" y="85273"/>
                  <a:pt x="131307" y="84196"/>
                </a:cubicBezTo>
                <a:lnTo>
                  <a:pt x="129156" y="70186"/>
                </a:lnTo>
                <a:cubicBezTo>
                  <a:pt x="128080" y="63720"/>
                  <a:pt x="132742" y="57613"/>
                  <a:pt x="139196" y="56536"/>
                </a:cubicBezTo>
                <a:lnTo>
                  <a:pt x="153181" y="54021"/>
                </a:lnTo>
                <a:cubicBezTo>
                  <a:pt x="153898" y="53662"/>
                  <a:pt x="154616" y="53303"/>
                  <a:pt x="154974" y="52584"/>
                </a:cubicBezTo>
                <a:lnTo>
                  <a:pt x="161787" y="40012"/>
                </a:lnTo>
                <a:cubicBezTo>
                  <a:pt x="163401" y="37138"/>
                  <a:pt x="165911" y="35073"/>
                  <a:pt x="168780" y="34085"/>
                </a:cubicBezTo>
                <a:close/>
                <a:moveTo>
                  <a:pt x="4322" y="12700"/>
                </a:moveTo>
                <a:cubicBezTo>
                  <a:pt x="6843" y="12700"/>
                  <a:pt x="9004" y="14858"/>
                  <a:pt x="9004" y="17376"/>
                </a:cubicBezTo>
                <a:lnTo>
                  <a:pt x="9004" y="278518"/>
                </a:lnTo>
                <a:cubicBezTo>
                  <a:pt x="9004" y="283194"/>
                  <a:pt x="12965" y="287510"/>
                  <a:pt x="18008" y="287510"/>
                </a:cubicBezTo>
                <a:lnTo>
                  <a:pt x="279121" y="287510"/>
                </a:lnTo>
                <a:cubicBezTo>
                  <a:pt x="281642" y="287510"/>
                  <a:pt x="283803" y="289309"/>
                  <a:pt x="283803" y="291826"/>
                </a:cubicBezTo>
                <a:cubicBezTo>
                  <a:pt x="283803" y="294344"/>
                  <a:pt x="281642" y="296503"/>
                  <a:pt x="279121" y="296503"/>
                </a:cubicBezTo>
                <a:lnTo>
                  <a:pt x="18008" y="296503"/>
                </a:lnTo>
                <a:cubicBezTo>
                  <a:pt x="7923" y="296503"/>
                  <a:pt x="0" y="288229"/>
                  <a:pt x="0" y="278518"/>
                </a:cubicBezTo>
                <a:lnTo>
                  <a:pt x="0" y="17376"/>
                </a:lnTo>
                <a:cubicBezTo>
                  <a:pt x="0" y="14858"/>
                  <a:pt x="1801" y="12700"/>
                  <a:pt x="4322" y="12700"/>
                </a:cubicBezTo>
                <a:close/>
                <a:moveTo>
                  <a:pt x="182496" y="0"/>
                </a:moveTo>
                <a:lnTo>
                  <a:pt x="280027" y="0"/>
                </a:lnTo>
                <a:cubicBezTo>
                  <a:pt x="290142" y="0"/>
                  <a:pt x="298089" y="7947"/>
                  <a:pt x="298089" y="18061"/>
                </a:cubicBezTo>
                <a:lnTo>
                  <a:pt x="298089" y="115593"/>
                </a:lnTo>
                <a:cubicBezTo>
                  <a:pt x="298089" y="118483"/>
                  <a:pt x="296283" y="120289"/>
                  <a:pt x="293754" y="120289"/>
                </a:cubicBezTo>
                <a:cubicBezTo>
                  <a:pt x="291225" y="120289"/>
                  <a:pt x="289419" y="118483"/>
                  <a:pt x="289419" y="115593"/>
                </a:cubicBezTo>
                <a:lnTo>
                  <a:pt x="289419" y="18061"/>
                </a:lnTo>
                <a:cubicBezTo>
                  <a:pt x="289419" y="13004"/>
                  <a:pt x="285085" y="9030"/>
                  <a:pt x="280027" y="9030"/>
                </a:cubicBezTo>
                <a:lnTo>
                  <a:pt x="182496" y="9030"/>
                </a:lnTo>
                <a:cubicBezTo>
                  <a:pt x="179967" y="9030"/>
                  <a:pt x="177800" y="6863"/>
                  <a:pt x="177800" y="4334"/>
                </a:cubicBezTo>
                <a:cubicBezTo>
                  <a:pt x="177800" y="1806"/>
                  <a:pt x="179967" y="0"/>
                  <a:pt x="182496" y="0"/>
                </a:cubicBezTo>
                <a:close/>
                <a:moveTo>
                  <a:pt x="28496" y="0"/>
                </a:moveTo>
                <a:lnTo>
                  <a:pt x="146299" y="0"/>
                </a:lnTo>
                <a:cubicBezTo>
                  <a:pt x="147380" y="0"/>
                  <a:pt x="148461" y="359"/>
                  <a:pt x="149542" y="1079"/>
                </a:cubicBezTo>
                <a:lnTo>
                  <a:pt x="166113" y="17983"/>
                </a:lnTo>
                <a:cubicBezTo>
                  <a:pt x="167915" y="19781"/>
                  <a:pt x="167915" y="22659"/>
                  <a:pt x="166113" y="24457"/>
                </a:cubicBezTo>
                <a:cubicBezTo>
                  <a:pt x="164672" y="26256"/>
                  <a:pt x="161790" y="26256"/>
                  <a:pt x="159989" y="24457"/>
                </a:cubicBezTo>
                <a:lnTo>
                  <a:pt x="144138" y="8991"/>
                </a:lnTo>
                <a:lnTo>
                  <a:pt x="39304" y="8991"/>
                </a:lnTo>
                <a:lnTo>
                  <a:pt x="114597" y="84163"/>
                </a:lnTo>
                <a:cubicBezTo>
                  <a:pt x="116398" y="85601"/>
                  <a:pt x="116398" y="88479"/>
                  <a:pt x="114597" y="90277"/>
                </a:cubicBezTo>
                <a:cubicBezTo>
                  <a:pt x="113516" y="91356"/>
                  <a:pt x="112436" y="91716"/>
                  <a:pt x="111355" y="91716"/>
                </a:cubicBezTo>
                <a:cubicBezTo>
                  <a:pt x="110274" y="91716"/>
                  <a:pt x="109193" y="91356"/>
                  <a:pt x="108473" y="90277"/>
                </a:cubicBezTo>
                <a:lnTo>
                  <a:pt x="25614" y="7553"/>
                </a:lnTo>
                <a:cubicBezTo>
                  <a:pt x="24173" y="6114"/>
                  <a:pt x="23813" y="4316"/>
                  <a:pt x="24173" y="2517"/>
                </a:cubicBezTo>
                <a:cubicBezTo>
                  <a:pt x="24894" y="1079"/>
                  <a:pt x="26695" y="0"/>
                  <a:pt x="28496" y="0"/>
                </a:cubicBezTo>
                <a:close/>
              </a:path>
            </a:pathLst>
          </a:custGeom>
          <a:solidFill>
            <a:schemeClr val="tx2"/>
          </a:solidFill>
          <a:ln>
            <a:noFill/>
          </a:ln>
          <a:effectLst/>
        </p:spPr>
        <p:txBody>
          <a:bodyPr anchor="ctr"/>
          <a:lstStyle/>
          <a:p>
            <a:endParaRPr lang="en-US" sz="900" dirty="0">
              <a:latin typeface="Lato Light" panose="020F0502020204030203" pitchFamily="34" charset="0"/>
            </a:endParaRPr>
          </a:p>
        </p:txBody>
      </p:sp>
      <p:sp>
        <p:nvSpPr>
          <p:cNvPr id="153" name="Subtitle 2">
            <a:extLst>
              <a:ext uri="{FF2B5EF4-FFF2-40B4-BE49-F238E27FC236}">
                <a16:creationId xmlns:a16="http://schemas.microsoft.com/office/drawing/2014/main" id="{406F7BB8-21BE-D148-9CEF-A1D41311F242}"/>
              </a:ext>
            </a:extLst>
          </p:cNvPr>
          <p:cNvSpPr txBox="1">
            <a:spLocks/>
          </p:cNvSpPr>
          <p:nvPr/>
        </p:nvSpPr>
        <p:spPr>
          <a:xfrm>
            <a:off x="2846754" y="5810846"/>
            <a:ext cx="841089" cy="35394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a:t>
            </a:r>
          </a:p>
        </p:txBody>
      </p:sp>
      <p:sp>
        <p:nvSpPr>
          <p:cNvPr id="155" name="Subtitle 2">
            <a:extLst>
              <a:ext uri="{FF2B5EF4-FFF2-40B4-BE49-F238E27FC236}">
                <a16:creationId xmlns:a16="http://schemas.microsoft.com/office/drawing/2014/main" id="{9F88314F-1CA3-8844-A020-7253D860FBB6}"/>
              </a:ext>
            </a:extLst>
          </p:cNvPr>
          <p:cNvSpPr txBox="1">
            <a:spLocks/>
          </p:cNvSpPr>
          <p:nvPr/>
        </p:nvSpPr>
        <p:spPr>
          <a:xfrm>
            <a:off x="1788999" y="2665925"/>
            <a:ext cx="841089" cy="35394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a:t>
            </a:r>
          </a:p>
        </p:txBody>
      </p:sp>
      <p:sp>
        <p:nvSpPr>
          <p:cNvPr id="156" name="Subtitle 2">
            <a:extLst>
              <a:ext uri="{FF2B5EF4-FFF2-40B4-BE49-F238E27FC236}">
                <a16:creationId xmlns:a16="http://schemas.microsoft.com/office/drawing/2014/main" id="{07FF4DEE-58BD-DD42-8C3C-753083764EC2}"/>
              </a:ext>
            </a:extLst>
          </p:cNvPr>
          <p:cNvSpPr txBox="1">
            <a:spLocks/>
          </p:cNvSpPr>
          <p:nvPr/>
        </p:nvSpPr>
        <p:spPr>
          <a:xfrm>
            <a:off x="5336879" y="5732250"/>
            <a:ext cx="841089" cy="35394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a:t>
            </a:r>
          </a:p>
        </p:txBody>
      </p:sp>
      <p:sp>
        <p:nvSpPr>
          <p:cNvPr id="157" name="Subtitle 2">
            <a:extLst>
              <a:ext uri="{FF2B5EF4-FFF2-40B4-BE49-F238E27FC236}">
                <a16:creationId xmlns:a16="http://schemas.microsoft.com/office/drawing/2014/main" id="{D92FECC1-29DC-AD45-A6D2-B7B21750352C}"/>
              </a:ext>
            </a:extLst>
          </p:cNvPr>
          <p:cNvSpPr txBox="1">
            <a:spLocks/>
          </p:cNvSpPr>
          <p:nvPr/>
        </p:nvSpPr>
        <p:spPr>
          <a:xfrm>
            <a:off x="8404374" y="5732250"/>
            <a:ext cx="841089" cy="35394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a:t>
            </a:r>
          </a:p>
        </p:txBody>
      </p:sp>
      <p:sp>
        <p:nvSpPr>
          <p:cNvPr id="158" name="Subtitle 2">
            <a:extLst>
              <a:ext uri="{FF2B5EF4-FFF2-40B4-BE49-F238E27FC236}">
                <a16:creationId xmlns:a16="http://schemas.microsoft.com/office/drawing/2014/main" id="{4DE83403-F1E1-B34D-A566-FB62BB90B308}"/>
              </a:ext>
            </a:extLst>
          </p:cNvPr>
          <p:cNvSpPr txBox="1">
            <a:spLocks/>
          </p:cNvSpPr>
          <p:nvPr/>
        </p:nvSpPr>
        <p:spPr>
          <a:xfrm>
            <a:off x="9366985" y="2908341"/>
            <a:ext cx="841089" cy="35394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a:t>
            </a:r>
          </a:p>
        </p:txBody>
      </p:sp>
      <p:sp>
        <p:nvSpPr>
          <p:cNvPr id="159" name="Freeform 736">
            <a:extLst>
              <a:ext uri="{FF2B5EF4-FFF2-40B4-BE49-F238E27FC236}">
                <a16:creationId xmlns:a16="http://schemas.microsoft.com/office/drawing/2014/main" id="{C10E4C9D-7093-8840-9BD8-EE7CF60B01B0}"/>
              </a:ext>
            </a:extLst>
          </p:cNvPr>
          <p:cNvSpPr>
            <a:spLocks noChangeArrowheads="1"/>
          </p:cNvSpPr>
          <p:nvPr/>
        </p:nvSpPr>
        <p:spPr bwMode="auto">
          <a:xfrm>
            <a:off x="1429500" y="3708526"/>
            <a:ext cx="292718" cy="292718"/>
          </a:xfrm>
          <a:custGeom>
            <a:avLst/>
            <a:gdLst>
              <a:gd name="T0" fmla="*/ 193785 w 298497"/>
              <a:gd name="T1" fmla="*/ 198734 h 297910"/>
              <a:gd name="T2" fmla="*/ 221611 w 298497"/>
              <a:gd name="T3" fmla="*/ 178637 h 297910"/>
              <a:gd name="T4" fmla="*/ 164513 w 298497"/>
              <a:gd name="T5" fmla="*/ 178637 h 297910"/>
              <a:gd name="T6" fmla="*/ 184028 w 298497"/>
              <a:gd name="T7" fmla="*/ 198734 h 297910"/>
              <a:gd name="T8" fmla="*/ 164513 w 298497"/>
              <a:gd name="T9" fmla="*/ 178637 h 297910"/>
              <a:gd name="T10" fmla="*/ 95489 w 298497"/>
              <a:gd name="T11" fmla="*/ 198734 h 297910"/>
              <a:gd name="T12" fmla="*/ 151503 w 298497"/>
              <a:gd name="T13" fmla="*/ 178637 h 297910"/>
              <a:gd name="T14" fmla="*/ 72265 w 298497"/>
              <a:gd name="T15" fmla="*/ 176034 h 297910"/>
              <a:gd name="T16" fmla="*/ 77028 w 298497"/>
              <a:gd name="T17" fmla="*/ 198050 h 297910"/>
              <a:gd name="T18" fmla="*/ 67869 w 298497"/>
              <a:gd name="T19" fmla="*/ 198050 h 297910"/>
              <a:gd name="T20" fmla="*/ 72265 w 298497"/>
              <a:gd name="T21" fmla="*/ 176034 h 297910"/>
              <a:gd name="T22" fmla="*/ 237151 w 298497"/>
              <a:gd name="T23" fmla="*/ 99682 h 297910"/>
              <a:gd name="T24" fmla="*/ 173548 w 298497"/>
              <a:gd name="T25" fmla="*/ 169665 h 297910"/>
              <a:gd name="T26" fmla="*/ 189448 w 298497"/>
              <a:gd name="T27" fmla="*/ 169665 h 297910"/>
              <a:gd name="T28" fmla="*/ 231007 w 298497"/>
              <a:gd name="T29" fmla="*/ 173971 h 297910"/>
              <a:gd name="T30" fmla="*/ 226309 w 298497"/>
              <a:gd name="T31" fmla="*/ 207706 h 297910"/>
              <a:gd name="T32" fmla="*/ 188726 w 298497"/>
              <a:gd name="T33" fmla="*/ 207706 h 297910"/>
              <a:gd name="T34" fmla="*/ 69469 w 298497"/>
              <a:gd name="T35" fmla="*/ 272665 h 297910"/>
              <a:gd name="T36" fmla="*/ 63326 w 298497"/>
              <a:gd name="T37" fmla="*/ 272665 h 297910"/>
              <a:gd name="T38" fmla="*/ 122231 w 298497"/>
              <a:gd name="T39" fmla="*/ 207706 h 297910"/>
              <a:gd name="T40" fmla="*/ 86454 w 298497"/>
              <a:gd name="T41" fmla="*/ 203400 h 297910"/>
              <a:gd name="T42" fmla="*/ 91152 w 298497"/>
              <a:gd name="T43" fmla="*/ 169665 h 297910"/>
              <a:gd name="T44" fmla="*/ 231007 w 298497"/>
              <a:gd name="T45" fmla="*/ 99682 h 297910"/>
              <a:gd name="T46" fmla="*/ 85231 w 298497"/>
              <a:gd name="T47" fmla="*/ 82306 h 297910"/>
              <a:gd name="T48" fmla="*/ 85231 w 298497"/>
              <a:gd name="T49" fmla="*/ 159957 h 297910"/>
              <a:gd name="T50" fmla="*/ 78720 w 298497"/>
              <a:gd name="T51" fmla="*/ 160315 h 297910"/>
              <a:gd name="T52" fmla="*/ 78359 w 298497"/>
              <a:gd name="T53" fmla="*/ 120953 h 297910"/>
              <a:gd name="T54" fmla="*/ 84869 w 298497"/>
              <a:gd name="T55" fmla="*/ 75865 h 297910"/>
              <a:gd name="T56" fmla="*/ 238438 w 298497"/>
              <a:gd name="T57" fmla="*/ 74434 h 297910"/>
              <a:gd name="T58" fmla="*/ 261183 w 298497"/>
              <a:gd name="T59" fmla="*/ 275165 h 297910"/>
              <a:gd name="T60" fmla="*/ 60451 w 298497"/>
              <a:gd name="T61" fmla="*/ 297910 h 297910"/>
              <a:gd name="T62" fmla="*/ 37706 w 298497"/>
              <a:gd name="T63" fmla="*/ 97178 h 297910"/>
              <a:gd name="T64" fmla="*/ 62256 w 298497"/>
              <a:gd name="T65" fmla="*/ 78405 h 297910"/>
              <a:gd name="T66" fmla="*/ 47093 w 298497"/>
              <a:gd name="T67" fmla="*/ 97178 h 297910"/>
              <a:gd name="T68" fmla="*/ 60451 w 298497"/>
              <a:gd name="T69" fmla="*/ 288885 h 297910"/>
              <a:gd name="T70" fmla="*/ 252157 w 298497"/>
              <a:gd name="T71" fmla="*/ 275165 h 297910"/>
              <a:gd name="T72" fmla="*/ 238438 w 298497"/>
              <a:gd name="T73" fmla="*/ 83459 h 297910"/>
              <a:gd name="T74" fmla="*/ 98359 w 298497"/>
              <a:gd name="T75" fmla="*/ 79127 h 297910"/>
              <a:gd name="T76" fmla="*/ 144216 w 298497"/>
              <a:gd name="T77" fmla="*/ 535 h 297910"/>
              <a:gd name="T78" fmla="*/ 296038 w 298497"/>
              <a:gd name="T79" fmla="*/ 76259 h 297910"/>
              <a:gd name="T80" fmla="*/ 293874 w 298497"/>
              <a:gd name="T81" fmla="*/ 84831 h 297910"/>
              <a:gd name="T82" fmla="*/ 146740 w 298497"/>
              <a:gd name="T83" fmla="*/ 9465 h 297910"/>
              <a:gd name="T84" fmla="*/ 327 w 298497"/>
              <a:gd name="T85" fmla="*/ 82331 h 297910"/>
              <a:gd name="T86" fmla="*/ 144216 w 298497"/>
              <a:gd name="T87" fmla="*/ 535 h 297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8497" h="297910">
                <a:moveTo>
                  <a:pt x="193785" y="178637"/>
                </a:moveTo>
                <a:lnTo>
                  <a:pt x="193785" y="198734"/>
                </a:lnTo>
                <a:lnTo>
                  <a:pt x="221611" y="198734"/>
                </a:lnTo>
                <a:lnTo>
                  <a:pt x="221611" y="178637"/>
                </a:lnTo>
                <a:lnTo>
                  <a:pt x="193785" y="178637"/>
                </a:lnTo>
                <a:close/>
                <a:moveTo>
                  <a:pt x="164513" y="178637"/>
                </a:moveTo>
                <a:lnTo>
                  <a:pt x="143914" y="198734"/>
                </a:lnTo>
                <a:lnTo>
                  <a:pt x="184028" y="198734"/>
                </a:lnTo>
                <a:lnTo>
                  <a:pt x="184028" y="178637"/>
                </a:lnTo>
                <a:lnTo>
                  <a:pt x="164513" y="178637"/>
                </a:lnTo>
                <a:close/>
                <a:moveTo>
                  <a:pt x="95489" y="178637"/>
                </a:moveTo>
                <a:lnTo>
                  <a:pt x="95489" y="198734"/>
                </a:lnTo>
                <a:lnTo>
                  <a:pt x="131266" y="198734"/>
                </a:lnTo>
                <a:lnTo>
                  <a:pt x="151503" y="178637"/>
                </a:lnTo>
                <a:lnTo>
                  <a:pt x="95489" y="178637"/>
                </a:lnTo>
                <a:close/>
                <a:moveTo>
                  <a:pt x="72265" y="176034"/>
                </a:moveTo>
                <a:cubicBezTo>
                  <a:pt x="74830" y="176034"/>
                  <a:pt x="77028" y="177810"/>
                  <a:pt x="77028" y="180295"/>
                </a:cubicBezTo>
                <a:lnTo>
                  <a:pt x="77028" y="198050"/>
                </a:lnTo>
                <a:cubicBezTo>
                  <a:pt x="77028" y="200536"/>
                  <a:pt x="74830" y="202666"/>
                  <a:pt x="72265" y="202666"/>
                </a:cubicBezTo>
                <a:cubicBezTo>
                  <a:pt x="70067" y="202666"/>
                  <a:pt x="67869" y="200536"/>
                  <a:pt x="67869" y="198050"/>
                </a:cubicBezTo>
                <a:lnTo>
                  <a:pt x="67869" y="180295"/>
                </a:lnTo>
                <a:cubicBezTo>
                  <a:pt x="67869" y="177810"/>
                  <a:pt x="70067" y="176034"/>
                  <a:pt x="72265" y="176034"/>
                </a:cubicBezTo>
                <a:close/>
                <a:moveTo>
                  <a:pt x="231007" y="99682"/>
                </a:moveTo>
                <a:cubicBezTo>
                  <a:pt x="232453" y="98246"/>
                  <a:pt x="235344" y="98246"/>
                  <a:pt x="237151" y="99682"/>
                </a:cubicBezTo>
                <a:cubicBezTo>
                  <a:pt x="238958" y="101835"/>
                  <a:pt x="238958" y="104347"/>
                  <a:pt x="237151" y="106142"/>
                </a:cubicBezTo>
                <a:lnTo>
                  <a:pt x="173548" y="169665"/>
                </a:lnTo>
                <a:lnTo>
                  <a:pt x="188726" y="169665"/>
                </a:lnTo>
                <a:lnTo>
                  <a:pt x="189448" y="169665"/>
                </a:lnTo>
                <a:lnTo>
                  <a:pt x="226309" y="169665"/>
                </a:lnTo>
                <a:cubicBezTo>
                  <a:pt x="228839" y="169665"/>
                  <a:pt x="231007" y="171818"/>
                  <a:pt x="231007" y="173971"/>
                </a:cubicBezTo>
                <a:lnTo>
                  <a:pt x="231007" y="203400"/>
                </a:lnTo>
                <a:cubicBezTo>
                  <a:pt x="231007" y="205912"/>
                  <a:pt x="228839" y="207706"/>
                  <a:pt x="226309" y="207706"/>
                </a:cubicBezTo>
                <a:lnTo>
                  <a:pt x="189448" y="207706"/>
                </a:lnTo>
                <a:lnTo>
                  <a:pt x="188726" y="207706"/>
                </a:lnTo>
                <a:lnTo>
                  <a:pt x="134880" y="207706"/>
                </a:lnTo>
                <a:lnTo>
                  <a:pt x="69469" y="272665"/>
                </a:lnTo>
                <a:cubicBezTo>
                  <a:pt x="68747" y="273383"/>
                  <a:pt x="67663" y="274100"/>
                  <a:pt x="66217" y="274100"/>
                </a:cubicBezTo>
                <a:cubicBezTo>
                  <a:pt x="65494" y="274100"/>
                  <a:pt x="64049" y="273383"/>
                  <a:pt x="63326" y="272665"/>
                </a:cubicBezTo>
                <a:cubicBezTo>
                  <a:pt x="61519" y="270870"/>
                  <a:pt x="61519" y="267999"/>
                  <a:pt x="63326" y="266205"/>
                </a:cubicBezTo>
                <a:lnTo>
                  <a:pt x="122231" y="207706"/>
                </a:lnTo>
                <a:lnTo>
                  <a:pt x="91152" y="207706"/>
                </a:lnTo>
                <a:cubicBezTo>
                  <a:pt x="88623" y="207706"/>
                  <a:pt x="86454" y="205912"/>
                  <a:pt x="86454" y="203400"/>
                </a:cubicBezTo>
                <a:lnTo>
                  <a:pt x="86454" y="173971"/>
                </a:lnTo>
                <a:cubicBezTo>
                  <a:pt x="86454" y="171818"/>
                  <a:pt x="88623" y="169665"/>
                  <a:pt x="91152" y="169665"/>
                </a:cubicBezTo>
                <a:lnTo>
                  <a:pt x="160538" y="169665"/>
                </a:lnTo>
                <a:lnTo>
                  <a:pt x="231007" y="99682"/>
                </a:lnTo>
                <a:close/>
                <a:moveTo>
                  <a:pt x="84869" y="75865"/>
                </a:moveTo>
                <a:cubicBezTo>
                  <a:pt x="86678" y="77296"/>
                  <a:pt x="87040" y="80517"/>
                  <a:pt x="85231" y="82306"/>
                </a:cubicBezTo>
                <a:cubicBezTo>
                  <a:pt x="77635" y="91252"/>
                  <a:pt x="77635" y="106282"/>
                  <a:pt x="85231" y="115228"/>
                </a:cubicBezTo>
                <a:cubicBezTo>
                  <a:pt x="96082" y="127752"/>
                  <a:pt x="96082" y="147433"/>
                  <a:pt x="85231" y="159957"/>
                </a:cubicBezTo>
                <a:cubicBezTo>
                  <a:pt x="84508" y="161031"/>
                  <a:pt x="83061" y="161388"/>
                  <a:pt x="81976" y="161388"/>
                </a:cubicBezTo>
                <a:cubicBezTo>
                  <a:pt x="80891" y="161388"/>
                  <a:pt x="79805" y="161031"/>
                  <a:pt x="78720" y="160315"/>
                </a:cubicBezTo>
                <a:cubicBezTo>
                  <a:pt x="76912" y="158884"/>
                  <a:pt x="76912" y="156021"/>
                  <a:pt x="78359" y="154232"/>
                </a:cubicBezTo>
                <a:cubicBezTo>
                  <a:pt x="85955" y="144928"/>
                  <a:pt x="85955" y="130257"/>
                  <a:pt x="78359" y="120953"/>
                </a:cubicBezTo>
                <a:cubicBezTo>
                  <a:pt x="67869" y="108429"/>
                  <a:pt x="67869" y="89105"/>
                  <a:pt x="78359" y="76581"/>
                </a:cubicBezTo>
                <a:cubicBezTo>
                  <a:pt x="80167" y="74434"/>
                  <a:pt x="83061" y="74434"/>
                  <a:pt x="84869" y="75865"/>
                </a:cubicBezTo>
                <a:close/>
                <a:moveTo>
                  <a:pt x="103052" y="74434"/>
                </a:moveTo>
                <a:lnTo>
                  <a:pt x="238438" y="74434"/>
                </a:lnTo>
                <a:cubicBezTo>
                  <a:pt x="251074" y="74434"/>
                  <a:pt x="261183" y="84904"/>
                  <a:pt x="261183" y="97178"/>
                </a:cubicBezTo>
                <a:lnTo>
                  <a:pt x="261183" y="275165"/>
                </a:lnTo>
                <a:cubicBezTo>
                  <a:pt x="261183" y="287801"/>
                  <a:pt x="251074" y="297910"/>
                  <a:pt x="238438" y="297910"/>
                </a:cubicBezTo>
                <a:lnTo>
                  <a:pt x="60451" y="297910"/>
                </a:lnTo>
                <a:cubicBezTo>
                  <a:pt x="47815" y="297910"/>
                  <a:pt x="37706" y="287801"/>
                  <a:pt x="37706" y="275165"/>
                </a:cubicBezTo>
                <a:lnTo>
                  <a:pt x="37706" y="97178"/>
                </a:lnTo>
                <a:cubicBezTo>
                  <a:pt x="37706" y="85987"/>
                  <a:pt x="46010" y="76239"/>
                  <a:pt x="57202" y="74795"/>
                </a:cubicBezTo>
                <a:cubicBezTo>
                  <a:pt x="59729" y="74434"/>
                  <a:pt x="61895" y="76239"/>
                  <a:pt x="62256" y="78405"/>
                </a:cubicBezTo>
                <a:cubicBezTo>
                  <a:pt x="62617" y="80932"/>
                  <a:pt x="60812" y="83098"/>
                  <a:pt x="58646" y="83820"/>
                </a:cubicBezTo>
                <a:cubicBezTo>
                  <a:pt x="51786" y="84904"/>
                  <a:pt x="47093" y="90319"/>
                  <a:pt x="47093" y="97178"/>
                </a:cubicBezTo>
                <a:lnTo>
                  <a:pt x="47093" y="275165"/>
                </a:lnTo>
                <a:cubicBezTo>
                  <a:pt x="47093" y="282747"/>
                  <a:pt x="52869" y="288885"/>
                  <a:pt x="60451" y="288885"/>
                </a:cubicBezTo>
                <a:lnTo>
                  <a:pt x="238438" y="288885"/>
                </a:lnTo>
                <a:cubicBezTo>
                  <a:pt x="246020" y="288885"/>
                  <a:pt x="252157" y="282747"/>
                  <a:pt x="252157" y="275165"/>
                </a:cubicBezTo>
                <a:lnTo>
                  <a:pt x="252157" y="97178"/>
                </a:lnTo>
                <a:cubicBezTo>
                  <a:pt x="252157" y="89597"/>
                  <a:pt x="246020" y="83459"/>
                  <a:pt x="238438" y="83459"/>
                </a:cubicBezTo>
                <a:lnTo>
                  <a:pt x="103052" y="83459"/>
                </a:lnTo>
                <a:cubicBezTo>
                  <a:pt x="100164" y="83459"/>
                  <a:pt x="98359" y="81654"/>
                  <a:pt x="98359" y="79127"/>
                </a:cubicBezTo>
                <a:cubicBezTo>
                  <a:pt x="98359" y="76600"/>
                  <a:pt x="100164" y="74434"/>
                  <a:pt x="103052" y="74434"/>
                </a:cubicBezTo>
                <a:close/>
                <a:moveTo>
                  <a:pt x="144216" y="535"/>
                </a:moveTo>
                <a:cubicBezTo>
                  <a:pt x="145658" y="-179"/>
                  <a:pt x="147101" y="-179"/>
                  <a:pt x="148543" y="535"/>
                </a:cubicBezTo>
                <a:lnTo>
                  <a:pt x="296038" y="76259"/>
                </a:lnTo>
                <a:cubicBezTo>
                  <a:pt x="298202" y="77330"/>
                  <a:pt x="299283" y="80188"/>
                  <a:pt x="297841" y="82331"/>
                </a:cubicBezTo>
                <a:cubicBezTo>
                  <a:pt x="297120" y="83760"/>
                  <a:pt x="295677" y="84831"/>
                  <a:pt x="293874" y="84831"/>
                </a:cubicBezTo>
                <a:cubicBezTo>
                  <a:pt x="293153" y="84831"/>
                  <a:pt x="292432" y="84474"/>
                  <a:pt x="291710" y="84117"/>
                </a:cubicBezTo>
                <a:lnTo>
                  <a:pt x="146740" y="9465"/>
                </a:lnTo>
                <a:lnTo>
                  <a:pt x="6818" y="84117"/>
                </a:lnTo>
                <a:cubicBezTo>
                  <a:pt x="4655" y="85189"/>
                  <a:pt x="1770" y="84474"/>
                  <a:pt x="327" y="82331"/>
                </a:cubicBezTo>
                <a:cubicBezTo>
                  <a:pt x="-394" y="80188"/>
                  <a:pt x="-33" y="77688"/>
                  <a:pt x="2491" y="76259"/>
                </a:cubicBezTo>
                <a:lnTo>
                  <a:pt x="144216" y="535"/>
                </a:lnTo>
                <a:close/>
              </a:path>
            </a:pathLst>
          </a:custGeom>
          <a:solidFill>
            <a:schemeClr val="tx2"/>
          </a:solidFill>
          <a:ln>
            <a:noFill/>
          </a:ln>
          <a:effectLst/>
        </p:spPr>
        <p:txBody>
          <a:bodyPr anchor="ctr"/>
          <a:lstStyle/>
          <a:p>
            <a:endParaRPr lang="en-US" sz="900" dirty="0">
              <a:latin typeface="Lato Light" panose="020F0502020204030203" pitchFamily="34" charset="0"/>
            </a:endParaRPr>
          </a:p>
        </p:txBody>
      </p:sp>
      <p:sp>
        <p:nvSpPr>
          <p:cNvPr id="160" name="Freeform 737">
            <a:extLst>
              <a:ext uri="{FF2B5EF4-FFF2-40B4-BE49-F238E27FC236}">
                <a16:creationId xmlns:a16="http://schemas.microsoft.com/office/drawing/2014/main" id="{8AB1C2AF-073E-CB48-981C-F200A6BDE6A6}"/>
              </a:ext>
            </a:extLst>
          </p:cNvPr>
          <p:cNvSpPr>
            <a:spLocks noChangeArrowheads="1"/>
          </p:cNvSpPr>
          <p:nvPr/>
        </p:nvSpPr>
        <p:spPr bwMode="auto">
          <a:xfrm>
            <a:off x="3099057" y="1155177"/>
            <a:ext cx="252236" cy="292718"/>
          </a:xfrm>
          <a:custGeom>
            <a:avLst/>
            <a:gdLst>
              <a:gd name="T0" fmla="*/ 247936 w 257875"/>
              <a:gd name="T1" fmla="*/ 288475 h 297634"/>
              <a:gd name="T2" fmla="*/ 247936 w 257875"/>
              <a:gd name="T3" fmla="*/ 297634 h 297634"/>
              <a:gd name="T4" fmla="*/ 54172 w 257875"/>
              <a:gd name="T5" fmla="*/ 292871 h 297634"/>
              <a:gd name="T6" fmla="*/ 38600 w 257875"/>
              <a:gd name="T7" fmla="*/ 182808 h 297634"/>
              <a:gd name="T8" fmla="*/ 9778 w 257875"/>
              <a:gd name="T9" fmla="*/ 196763 h 297634"/>
              <a:gd name="T10" fmla="*/ 34998 w 257875"/>
              <a:gd name="T11" fmla="*/ 227177 h 297634"/>
              <a:gd name="T12" fmla="*/ 54076 w 257875"/>
              <a:gd name="T13" fmla="*/ 222240 h 297634"/>
              <a:gd name="T14" fmla="*/ 53732 w 257875"/>
              <a:gd name="T15" fmla="*/ 199625 h 297634"/>
              <a:gd name="T16" fmla="*/ 62740 w 257875"/>
              <a:gd name="T17" fmla="*/ 181019 h 297634"/>
              <a:gd name="T18" fmla="*/ 62960 w 257875"/>
              <a:gd name="T19" fmla="*/ 219941 h 297634"/>
              <a:gd name="T20" fmla="*/ 153171 w 257875"/>
              <a:gd name="T21" fmla="*/ 274409 h 297634"/>
              <a:gd name="T22" fmla="*/ 243242 w 257875"/>
              <a:gd name="T23" fmla="*/ 215011 h 297634"/>
              <a:gd name="T24" fmla="*/ 85063 w 257875"/>
              <a:gd name="T25" fmla="*/ 214221 h 297634"/>
              <a:gd name="T26" fmla="*/ 85798 w 257875"/>
              <a:gd name="T27" fmla="*/ 206066 h 297634"/>
              <a:gd name="T28" fmla="*/ 243242 w 257875"/>
              <a:gd name="T29" fmla="*/ 206066 h 297634"/>
              <a:gd name="T30" fmla="*/ 213359 w 257875"/>
              <a:gd name="T31" fmla="*/ 181019 h 297634"/>
              <a:gd name="T32" fmla="*/ 58056 w 257875"/>
              <a:gd name="T33" fmla="*/ 172073 h 297634"/>
              <a:gd name="T34" fmla="*/ 252249 w 257875"/>
              <a:gd name="T35" fmla="*/ 176367 h 297634"/>
              <a:gd name="T36" fmla="*/ 153171 w 257875"/>
              <a:gd name="T37" fmla="*/ 283355 h 297634"/>
              <a:gd name="T38" fmla="*/ 32836 w 257875"/>
              <a:gd name="T39" fmla="*/ 236123 h 297634"/>
              <a:gd name="T40" fmla="*/ 1131 w 257875"/>
              <a:gd name="T41" fmla="*/ 194616 h 297634"/>
              <a:gd name="T42" fmla="*/ 42203 w 257875"/>
              <a:gd name="T43" fmla="*/ 174578 h 297634"/>
              <a:gd name="T44" fmla="*/ 53732 w 257875"/>
              <a:gd name="T45" fmla="*/ 176367 h 297634"/>
              <a:gd name="T46" fmla="*/ 153391 w 257875"/>
              <a:gd name="T47" fmla="*/ 67301 h 297634"/>
              <a:gd name="T48" fmla="*/ 153391 w 257875"/>
              <a:gd name="T49" fmla="*/ 85329 h 297634"/>
              <a:gd name="T50" fmla="*/ 153391 w 257875"/>
              <a:gd name="T51" fmla="*/ 67301 h 297634"/>
              <a:gd name="T52" fmla="*/ 171289 w 257875"/>
              <a:gd name="T53" fmla="*/ 76315 h 297634"/>
              <a:gd name="T54" fmla="*/ 157686 w 257875"/>
              <a:gd name="T55" fmla="*/ 159963 h 297634"/>
              <a:gd name="T56" fmla="*/ 148737 w 257875"/>
              <a:gd name="T57" fmla="*/ 159963 h 297634"/>
              <a:gd name="T58" fmla="*/ 135134 w 257875"/>
              <a:gd name="T59" fmla="*/ 76315 h 297634"/>
              <a:gd name="T60" fmla="*/ 189286 w 257875"/>
              <a:gd name="T61" fmla="*/ 31508 h 297634"/>
              <a:gd name="T62" fmla="*/ 195283 w 257875"/>
              <a:gd name="T63" fmla="*/ 118404 h 297634"/>
              <a:gd name="T64" fmla="*/ 189286 w 257875"/>
              <a:gd name="T65" fmla="*/ 118404 h 297634"/>
              <a:gd name="T66" fmla="*/ 189286 w 257875"/>
              <a:gd name="T67" fmla="*/ 37971 h 297634"/>
              <a:gd name="T68" fmla="*/ 109558 w 257875"/>
              <a:gd name="T69" fmla="*/ 31508 h 297634"/>
              <a:gd name="T70" fmla="*/ 115555 w 257875"/>
              <a:gd name="T71" fmla="*/ 37971 h 297634"/>
              <a:gd name="T72" fmla="*/ 115555 w 257875"/>
              <a:gd name="T73" fmla="*/ 118404 h 297634"/>
              <a:gd name="T74" fmla="*/ 109558 w 257875"/>
              <a:gd name="T75" fmla="*/ 118404 h 297634"/>
              <a:gd name="T76" fmla="*/ 221055 w 257875"/>
              <a:gd name="T77" fmla="*/ 1347 h 297634"/>
              <a:gd name="T78" fmla="*/ 227118 w 257875"/>
              <a:gd name="T79" fmla="*/ 150153 h 297634"/>
              <a:gd name="T80" fmla="*/ 221055 w 257875"/>
              <a:gd name="T81" fmla="*/ 150153 h 297634"/>
              <a:gd name="T82" fmla="*/ 221055 w 257875"/>
              <a:gd name="T83" fmla="*/ 7817 h 297634"/>
              <a:gd name="T84" fmla="*/ 78771 w 257875"/>
              <a:gd name="T85" fmla="*/ 1347 h 297634"/>
              <a:gd name="T86" fmla="*/ 85325 w 257875"/>
              <a:gd name="T87" fmla="*/ 7817 h 297634"/>
              <a:gd name="T88" fmla="*/ 85325 w 257875"/>
              <a:gd name="T89" fmla="*/ 144042 h 297634"/>
              <a:gd name="T90" fmla="*/ 82048 w 257875"/>
              <a:gd name="T91" fmla="*/ 151590 h 297634"/>
              <a:gd name="T92" fmla="*/ 47822 w 257875"/>
              <a:gd name="T93" fmla="*/ 75750 h 297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7875" h="297634">
                <a:moveTo>
                  <a:pt x="58486" y="288475"/>
                </a:moveTo>
                <a:lnTo>
                  <a:pt x="247936" y="288475"/>
                </a:lnTo>
                <a:cubicBezTo>
                  <a:pt x="250452" y="288475"/>
                  <a:pt x="252250" y="290307"/>
                  <a:pt x="252250" y="292871"/>
                </a:cubicBezTo>
                <a:cubicBezTo>
                  <a:pt x="252250" y="295802"/>
                  <a:pt x="250452" y="297634"/>
                  <a:pt x="247936" y="297634"/>
                </a:cubicBezTo>
                <a:lnTo>
                  <a:pt x="58486" y="297634"/>
                </a:lnTo>
                <a:cubicBezTo>
                  <a:pt x="55970" y="297634"/>
                  <a:pt x="54172" y="295802"/>
                  <a:pt x="54172" y="292871"/>
                </a:cubicBezTo>
                <a:cubicBezTo>
                  <a:pt x="54172" y="290307"/>
                  <a:pt x="55970" y="288475"/>
                  <a:pt x="58486" y="288475"/>
                </a:cubicBezTo>
                <a:close/>
                <a:moveTo>
                  <a:pt x="38600" y="182808"/>
                </a:moveTo>
                <a:cubicBezTo>
                  <a:pt x="32836" y="180303"/>
                  <a:pt x="26351" y="180303"/>
                  <a:pt x="20586" y="183523"/>
                </a:cubicBezTo>
                <a:cubicBezTo>
                  <a:pt x="15182" y="186028"/>
                  <a:pt x="11579" y="190680"/>
                  <a:pt x="9778" y="196763"/>
                </a:cubicBezTo>
                <a:cubicBezTo>
                  <a:pt x="7976" y="203203"/>
                  <a:pt x="9417" y="210718"/>
                  <a:pt x="13020" y="216085"/>
                </a:cubicBezTo>
                <a:cubicBezTo>
                  <a:pt x="17704" y="222526"/>
                  <a:pt x="25630" y="224673"/>
                  <a:pt x="34998" y="227177"/>
                </a:cubicBezTo>
                <a:cubicBezTo>
                  <a:pt x="41843" y="229324"/>
                  <a:pt x="48688" y="231113"/>
                  <a:pt x="55534" y="234692"/>
                </a:cubicBezTo>
                <a:lnTo>
                  <a:pt x="54076" y="222240"/>
                </a:lnTo>
                <a:lnTo>
                  <a:pt x="53732" y="219305"/>
                </a:lnTo>
                <a:lnTo>
                  <a:pt x="53732" y="199625"/>
                </a:lnTo>
                <a:cubicBezTo>
                  <a:pt x="50850" y="191753"/>
                  <a:pt x="45446" y="185670"/>
                  <a:pt x="38600" y="182808"/>
                </a:cubicBezTo>
                <a:close/>
                <a:moveTo>
                  <a:pt x="62740" y="181019"/>
                </a:moveTo>
                <a:lnTo>
                  <a:pt x="62740" y="219305"/>
                </a:lnTo>
                <a:lnTo>
                  <a:pt x="62960" y="219941"/>
                </a:lnTo>
                <a:lnTo>
                  <a:pt x="73019" y="248898"/>
                </a:lnTo>
                <a:cubicBezTo>
                  <a:pt x="92035" y="271390"/>
                  <a:pt x="132635" y="274409"/>
                  <a:pt x="153171" y="274409"/>
                </a:cubicBezTo>
                <a:cubicBezTo>
                  <a:pt x="180192" y="274409"/>
                  <a:pt x="243242" y="269042"/>
                  <a:pt x="243242" y="219305"/>
                </a:cubicBezTo>
                <a:lnTo>
                  <a:pt x="243242" y="215011"/>
                </a:lnTo>
                <a:lnTo>
                  <a:pt x="85798" y="215011"/>
                </a:lnTo>
                <a:lnTo>
                  <a:pt x="85063" y="214221"/>
                </a:lnTo>
                <a:lnTo>
                  <a:pt x="81474" y="210360"/>
                </a:lnTo>
                <a:cubicBezTo>
                  <a:pt x="81474" y="207855"/>
                  <a:pt x="83636" y="206066"/>
                  <a:pt x="85798" y="206066"/>
                </a:cubicBezTo>
                <a:lnTo>
                  <a:pt x="116573" y="206066"/>
                </a:lnTo>
                <a:lnTo>
                  <a:pt x="243242" y="206066"/>
                </a:lnTo>
                <a:lnTo>
                  <a:pt x="243242" y="181019"/>
                </a:lnTo>
                <a:lnTo>
                  <a:pt x="213359" y="181019"/>
                </a:lnTo>
                <a:lnTo>
                  <a:pt x="62740" y="181019"/>
                </a:lnTo>
                <a:close/>
                <a:moveTo>
                  <a:pt x="58056" y="172073"/>
                </a:moveTo>
                <a:lnTo>
                  <a:pt x="247925" y="172073"/>
                </a:lnTo>
                <a:cubicBezTo>
                  <a:pt x="250447" y="172073"/>
                  <a:pt x="252249" y="174220"/>
                  <a:pt x="252249" y="176367"/>
                </a:cubicBezTo>
                <a:lnTo>
                  <a:pt x="252249" y="219305"/>
                </a:lnTo>
                <a:cubicBezTo>
                  <a:pt x="252249" y="260097"/>
                  <a:pt x="216220" y="283355"/>
                  <a:pt x="153171" y="283355"/>
                </a:cubicBezTo>
                <a:cubicBezTo>
                  <a:pt x="109937" y="283355"/>
                  <a:pt x="80033" y="272620"/>
                  <a:pt x="64541" y="252940"/>
                </a:cubicBezTo>
                <a:cubicBezTo>
                  <a:pt x="55534" y="242564"/>
                  <a:pt x="44005" y="238985"/>
                  <a:pt x="32836" y="236123"/>
                </a:cubicBezTo>
                <a:cubicBezTo>
                  <a:pt x="22027" y="232902"/>
                  <a:pt x="11939" y="230398"/>
                  <a:pt x="5454" y="221094"/>
                </a:cubicBezTo>
                <a:cubicBezTo>
                  <a:pt x="410" y="213580"/>
                  <a:pt x="-1391" y="203561"/>
                  <a:pt x="1131" y="194616"/>
                </a:cubicBezTo>
                <a:cubicBezTo>
                  <a:pt x="3653" y="186028"/>
                  <a:pt x="9057" y="178872"/>
                  <a:pt x="16623" y="175294"/>
                </a:cubicBezTo>
                <a:cubicBezTo>
                  <a:pt x="24910" y="171358"/>
                  <a:pt x="34277" y="171000"/>
                  <a:pt x="42203" y="174578"/>
                </a:cubicBezTo>
                <a:cubicBezTo>
                  <a:pt x="46527" y="176367"/>
                  <a:pt x="50490" y="178872"/>
                  <a:pt x="53732" y="182450"/>
                </a:cubicBezTo>
                <a:lnTo>
                  <a:pt x="53732" y="176367"/>
                </a:lnTo>
                <a:cubicBezTo>
                  <a:pt x="53732" y="174220"/>
                  <a:pt x="55534" y="172073"/>
                  <a:pt x="58056" y="172073"/>
                </a:cubicBezTo>
                <a:close/>
                <a:moveTo>
                  <a:pt x="153391" y="67301"/>
                </a:moveTo>
                <a:cubicBezTo>
                  <a:pt x="148021" y="67301"/>
                  <a:pt x="144083" y="71628"/>
                  <a:pt x="144083" y="76315"/>
                </a:cubicBezTo>
                <a:cubicBezTo>
                  <a:pt x="144083" y="81363"/>
                  <a:pt x="148021" y="85329"/>
                  <a:pt x="153391" y="85329"/>
                </a:cubicBezTo>
                <a:cubicBezTo>
                  <a:pt x="158044" y="85329"/>
                  <a:pt x="161982" y="81363"/>
                  <a:pt x="161982" y="76315"/>
                </a:cubicBezTo>
                <a:cubicBezTo>
                  <a:pt x="161982" y="71628"/>
                  <a:pt x="158044" y="67301"/>
                  <a:pt x="153391" y="67301"/>
                </a:cubicBezTo>
                <a:close/>
                <a:moveTo>
                  <a:pt x="153391" y="58288"/>
                </a:moveTo>
                <a:cubicBezTo>
                  <a:pt x="163056" y="58288"/>
                  <a:pt x="171289" y="66580"/>
                  <a:pt x="171289" y="76315"/>
                </a:cubicBezTo>
                <a:cubicBezTo>
                  <a:pt x="171289" y="84968"/>
                  <a:pt x="165562" y="91819"/>
                  <a:pt x="157686" y="93982"/>
                </a:cubicBezTo>
                <a:lnTo>
                  <a:pt x="157686" y="159963"/>
                </a:lnTo>
                <a:cubicBezTo>
                  <a:pt x="157686" y="162486"/>
                  <a:pt x="155538" y="164289"/>
                  <a:pt x="153391" y="164289"/>
                </a:cubicBezTo>
                <a:cubicBezTo>
                  <a:pt x="150885" y="164289"/>
                  <a:pt x="148737" y="162486"/>
                  <a:pt x="148737" y="159963"/>
                </a:cubicBezTo>
                <a:lnTo>
                  <a:pt x="148737" y="93982"/>
                </a:lnTo>
                <a:cubicBezTo>
                  <a:pt x="140862" y="91819"/>
                  <a:pt x="135134" y="84968"/>
                  <a:pt x="135134" y="76315"/>
                </a:cubicBezTo>
                <a:cubicBezTo>
                  <a:pt x="135134" y="66580"/>
                  <a:pt x="143367" y="58288"/>
                  <a:pt x="153391" y="58288"/>
                </a:cubicBezTo>
                <a:close/>
                <a:moveTo>
                  <a:pt x="189286" y="31508"/>
                </a:moveTo>
                <a:cubicBezTo>
                  <a:pt x="191050" y="29713"/>
                  <a:pt x="193519" y="29713"/>
                  <a:pt x="195283" y="31508"/>
                </a:cubicBezTo>
                <a:cubicBezTo>
                  <a:pt x="218919" y="55566"/>
                  <a:pt x="218919" y="94705"/>
                  <a:pt x="195283" y="118404"/>
                </a:cubicBezTo>
                <a:cubicBezTo>
                  <a:pt x="194578" y="119123"/>
                  <a:pt x="193519" y="119841"/>
                  <a:pt x="192108" y="119841"/>
                </a:cubicBezTo>
                <a:cubicBezTo>
                  <a:pt x="191050" y="119841"/>
                  <a:pt x="189992" y="119123"/>
                  <a:pt x="189286" y="118404"/>
                </a:cubicBezTo>
                <a:cubicBezTo>
                  <a:pt x="187522" y="116609"/>
                  <a:pt x="187522" y="113736"/>
                  <a:pt x="189286" y="112300"/>
                </a:cubicBezTo>
                <a:cubicBezTo>
                  <a:pt x="209042" y="91833"/>
                  <a:pt x="209042" y="58439"/>
                  <a:pt x="189286" y="37971"/>
                </a:cubicBezTo>
                <a:cubicBezTo>
                  <a:pt x="187522" y="36176"/>
                  <a:pt x="187522" y="33304"/>
                  <a:pt x="189286" y="31508"/>
                </a:cubicBezTo>
                <a:close/>
                <a:moveTo>
                  <a:pt x="109558" y="31508"/>
                </a:moveTo>
                <a:cubicBezTo>
                  <a:pt x="110969" y="29713"/>
                  <a:pt x="113792" y="29713"/>
                  <a:pt x="115555" y="31508"/>
                </a:cubicBezTo>
                <a:cubicBezTo>
                  <a:pt x="117319" y="33304"/>
                  <a:pt x="117319" y="36176"/>
                  <a:pt x="115555" y="37971"/>
                </a:cubicBezTo>
                <a:cubicBezTo>
                  <a:pt x="95447" y="58439"/>
                  <a:pt x="95447" y="91833"/>
                  <a:pt x="115555" y="112300"/>
                </a:cubicBezTo>
                <a:cubicBezTo>
                  <a:pt x="117319" y="113736"/>
                  <a:pt x="117319" y="116609"/>
                  <a:pt x="115555" y="118404"/>
                </a:cubicBezTo>
                <a:cubicBezTo>
                  <a:pt x="114850" y="119123"/>
                  <a:pt x="113439" y="119841"/>
                  <a:pt x="112733" y="119841"/>
                </a:cubicBezTo>
                <a:cubicBezTo>
                  <a:pt x="111322" y="119841"/>
                  <a:pt x="110264" y="119123"/>
                  <a:pt x="109558" y="118404"/>
                </a:cubicBezTo>
                <a:cubicBezTo>
                  <a:pt x="85922" y="94705"/>
                  <a:pt x="85922" y="55566"/>
                  <a:pt x="109558" y="31508"/>
                </a:cubicBezTo>
                <a:close/>
                <a:moveTo>
                  <a:pt x="221055" y="1347"/>
                </a:moveTo>
                <a:cubicBezTo>
                  <a:pt x="222838" y="-450"/>
                  <a:pt x="225691" y="-450"/>
                  <a:pt x="227118" y="1347"/>
                </a:cubicBezTo>
                <a:cubicBezTo>
                  <a:pt x="268128" y="42322"/>
                  <a:pt x="268128" y="109537"/>
                  <a:pt x="227118" y="150153"/>
                </a:cubicBezTo>
                <a:cubicBezTo>
                  <a:pt x="226404" y="151231"/>
                  <a:pt x="225334" y="151590"/>
                  <a:pt x="223908" y="151590"/>
                </a:cubicBezTo>
                <a:cubicBezTo>
                  <a:pt x="223195" y="151590"/>
                  <a:pt x="221768" y="151231"/>
                  <a:pt x="221055" y="150153"/>
                </a:cubicBezTo>
                <a:cubicBezTo>
                  <a:pt x="219272" y="148715"/>
                  <a:pt x="219272" y="145839"/>
                  <a:pt x="221055" y="144042"/>
                </a:cubicBezTo>
                <a:cubicBezTo>
                  <a:pt x="258142" y="106302"/>
                  <a:pt x="258142" y="45557"/>
                  <a:pt x="221055" y="7817"/>
                </a:cubicBezTo>
                <a:cubicBezTo>
                  <a:pt x="219272" y="6020"/>
                  <a:pt x="219272" y="3144"/>
                  <a:pt x="221055" y="1347"/>
                </a:cubicBezTo>
                <a:close/>
                <a:moveTo>
                  <a:pt x="78771" y="1347"/>
                </a:moveTo>
                <a:cubicBezTo>
                  <a:pt x="80591" y="-450"/>
                  <a:pt x="83504" y="-450"/>
                  <a:pt x="85325" y="1347"/>
                </a:cubicBezTo>
                <a:cubicBezTo>
                  <a:pt x="87145" y="3144"/>
                  <a:pt x="87145" y="6020"/>
                  <a:pt x="85325" y="7817"/>
                </a:cubicBezTo>
                <a:cubicBezTo>
                  <a:pt x="66755" y="26148"/>
                  <a:pt x="56561" y="49871"/>
                  <a:pt x="56561" y="75750"/>
                </a:cubicBezTo>
                <a:cubicBezTo>
                  <a:pt x="56561" y="101629"/>
                  <a:pt x="66755" y="125711"/>
                  <a:pt x="85325" y="144042"/>
                </a:cubicBezTo>
                <a:cubicBezTo>
                  <a:pt x="87145" y="145839"/>
                  <a:pt x="87145" y="148715"/>
                  <a:pt x="85325" y="150153"/>
                </a:cubicBezTo>
                <a:cubicBezTo>
                  <a:pt x="84596" y="151231"/>
                  <a:pt x="83140" y="151590"/>
                  <a:pt x="82048" y="151590"/>
                </a:cubicBezTo>
                <a:cubicBezTo>
                  <a:pt x="80955" y="151590"/>
                  <a:pt x="79863" y="151231"/>
                  <a:pt x="78771" y="150153"/>
                </a:cubicBezTo>
                <a:cubicBezTo>
                  <a:pt x="58745" y="130384"/>
                  <a:pt x="47822" y="104145"/>
                  <a:pt x="47822" y="75750"/>
                </a:cubicBezTo>
                <a:cubicBezTo>
                  <a:pt x="47822" y="47714"/>
                  <a:pt x="58745" y="21475"/>
                  <a:pt x="78771" y="1347"/>
                </a:cubicBezTo>
                <a:close/>
              </a:path>
            </a:pathLst>
          </a:custGeom>
          <a:solidFill>
            <a:schemeClr val="tx2"/>
          </a:solidFill>
          <a:ln>
            <a:noFill/>
          </a:ln>
          <a:effectLst/>
        </p:spPr>
        <p:txBody>
          <a:bodyPr anchor="ctr"/>
          <a:lstStyle/>
          <a:p>
            <a:endParaRPr lang="en-US" sz="900" dirty="0">
              <a:latin typeface="Lato Light" panose="020F0502020204030203" pitchFamily="34" charset="0"/>
            </a:endParaRPr>
          </a:p>
        </p:txBody>
      </p:sp>
      <p:sp>
        <p:nvSpPr>
          <p:cNvPr id="161" name="Freeform 738">
            <a:extLst>
              <a:ext uri="{FF2B5EF4-FFF2-40B4-BE49-F238E27FC236}">
                <a16:creationId xmlns:a16="http://schemas.microsoft.com/office/drawing/2014/main" id="{8093F096-2939-7E47-BD73-EF532D05690B}"/>
              </a:ext>
            </a:extLst>
          </p:cNvPr>
          <p:cNvSpPr>
            <a:spLocks noChangeArrowheads="1"/>
          </p:cNvSpPr>
          <p:nvPr/>
        </p:nvSpPr>
        <p:spPr bwMode="auto">
          <a:xfrm>
            <a:off x="5893876" y="1931485"/>
            <a:ext cx="292718" cy="289604"/>
          </a:xfrm>
          <a:custGeom>
            <a:avLst/>
            <a:gdLst>
              <a:gd name="T0" fmla="*/ 150454 w 298090"/>
              <a:gd name="T1" fmla="*/ 251326 h 295416"/>
              <a:gd name="T2" fmla="*/ 69850 w 298090"/>
              <a:gd name="T3" fmla="*/ 251326 h 295416"/>
              <a:gd name="T4" fmla="*/ 224972 w 298090"/>
              <a:gd name="T5" fmla="*/ 238626 h 295416"/>
              <a:gd name="T6" fmla="*/ 241300 w 298090"/>
              <a:gd name="T7" fmla="*/ 222661 h 295416"/>
              <a:gd name="T8" fmla="*/ 241300 w 298090"/>
              <a:gd name="T9" fmla="*/ 263663 h 295416"/>
              <a:gd name="T10" fmla="*/ 146862 w 298090"/>
              <a:gd name="T11" fmla="*/ 154636 h 295416"/>
              <a:gd name="T12" fmla="*/ 146862 w 298090"/>
              <a:gd name="T13" fmla="*/ 154636 h 295416"/>
              <a:gd name="T14" fmla="*/ 137914 w 298090"/>
              <a:gd name="T15" fmla="*/ 154636 h 295416"/>
              <a:gd name="T16" fmla="*/ 104270 w 298090"/>
              <a:gd name="T17" fmla="*/ 202240 h 295416"/>
              <a:gd name="T18" fmla="*/ 50581 w 298090"/>
              <a:gd name="T19" fmla="*/ 154636 h 295416"/>
              <a:gd name="T20" fmla="*/ 50581 w 298090"/>
              <a:gd name="T21" fmla="*/ 154636 h 295416"/>
              <a:gd name="T22" fmla="*/ 137914 w 298090"/>
              <a:gd name="T23" fmla="*/ 146046 h 295416"/>
              <a:gd name="T24" fmla="*/ 79931 w 298090"/>
              <a:gd name="T25" fmla="*/ 146046 h 295416"/>
              <a:gd name="T26" fmla="*/ 121092 w 298090"/>
              <a:gd name="T27" fmla="*/ 93431 h 295416"/>
              <a:gd name="T28" fmla="*/ 121092 w 298090"/>
              <a:gd name="T29" fmla="*/ 93431 h 295416"/>
              <a:gd name="T30" fmla="*/ 70983 w 298090"/>
              <a:gd name="T31" fmla="*/ 146046 h 295416"/>
              <a:gd name="T32" fmla="*/ 175854 w 298090"/>
              <a:gd name="T33" fmla="*/ 150341 h 295416"/>
              <a:gd name="T34" fmla="*/ 108565 w 298090"/>
              <a:gd name="T35" fmla="*/ 83051 h 295416"/>
              <a:gd name="T36" fmla="*/ 232948 w 298090"/>
              <a:gd name="T37" fmla="*/ 77619 h 295416"/>
              <a:gd name="T38" fmla="*/ 225030 w 298090"/>
              <a:gd name="T39" fmla="*/ 99615 h 295416"/>
              <a:gd name="T40" fmla="*/ 232588 w 298090"/>
              <a:gd name="T41" fmla="*/ 121251 h 295416"/>
              <a:gd name="T42" fmla="*/ 232588 w 298090"/>
              <a:gd name="T43" fmla="*/ 150458 h 295416"/>
              <a:gd name="T44" fmla="*/ 217832 w 298090"/>
              <a:gd name="T45" fmla="*/ 193729 h 295416"/>
              <a:gd name="T46" fmla="*/ 289093 w 298090"/>
              <a:gd name="T47" fmla="*/ 237361 h 295416"/>
              <a:gd name="T48" fmla="*/ 259941 w 298090"/>
              <a:gd name="T49" fmla="*/ 73652 h 295416"/>
              <a:gd name="T50" fmla="*/ 244465 w 298090"/>
              <a:gd name="T51" fmla="*/ 44805 h 295416"/>
              <a:gd name="T52" fmla="*/ 268938 w 298090"/>
              <a:gd name="T53" fmla="*/ 186878 h 295416"/>
              <a:gd name="T54" fmla="*/ 182562 w 298090"/>
              <a:gd name="T55" fmla="*/ 237361 h 295416"/>
              <a:gd name="T56" fmla="*/ 212434 w 298090"/>
              <a:gd name="T57" fmla="*/ 157310 h 295416"/>
              <a:gd name="T58" fmla="*/ 226110 w 298090"/>
              <a:gd name="T59" fmla="*/ 142525 h 295416"/>
              <a:gd name="T60" fmla="*/ 215673 w 298090"/>
              <a:gd name="T61" fmla="*/ 125578 h 295416"/>
              <a:gd name="T62" fmla="*/ 226110 w 298090"/>
              <a:gd name="T63" fmla="*/ 113678 h 295416"/>
              <a:gd name="T64" fmla="*/ 226470 w 298090"/>
              <a:gd name="T65" fmla="*/ 85552 h 295416"/>
              <a:gd name="T66" fmla="*/ 216033 w 298090"/>
              <a:gd name="T67" fmla="*/ 73652 h 295416"/>
              <a:gd name="T68" fmla="*/ 148551 w 298090"/>
              <a:gd name="T69" fmla="*/ 10816 h 295416"/>
              <a:gd name="T70" fmla="*/ 169004 w 298090"/>
              <a:gd name="T71" fmla="*/ 22359 h 295416"/>
              <a:gd name="T72" fmla="*/ 146039 w 298090"/>
              <a:gd name="T73" fmla="*/ 2159 h 295416"/>
              <a:gd name="T74" fmla="*/ 177974 w 298090"/>
              <a:gd name="T75" fmla="*/ 43641 h 295416"/>
              <a:gd name="T76" fmla="*/ 204885 w 298090"/>
              <a:gd name="T77" fmla="*/ 52658 h 295416"/>
              <a:gd name="T78" fmla="*/ 8970 w 298090"/>
              <a:gd name="T79" fmla="*/ 286037 h 295416"/>
              <a:gd name="T80" fmla="*/ 182280 w 298090"/>
              <a:gd name="T81" fmla="*/ 295416 h 295416"/>
              <a:gd name="T82" fmla="*/ 0 w 298090"/>
              <a:gd name="T83" fmla="*/ 47969 h 295416"/>
              <a:gd name="T84" fmla="*/ 718 w 298090"/>
              <a:gd name="T85" fmla="*/ 46166 h 295416"/>
              <a:gd name="T86" fmla="*/ 2512 w 298090"/>
              <a:gd name="T87" fmla="*/ 44362 h 295416"/>
              <a:gd name="T88" fmla="*/ 146039 w 298090"/>
              <a:gd name="T89" fmla="*/ 2159 h 295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8090" h="295416">
                <a:moveTo>
                  <a:pt x="74149" y="246563"/>
                </a:moveTo>
                <a:lnTo>
                  <a:pt x="146155" y="246563"/>
                </a:lnTo>
                <a:cubicBezTo>
                  <a:pt x="148663" y="246563"/>
                  <a:pt x="150454" y="248761"/>
                  <a:pt x="150454" y="251326"/>
                </a:cubicBezTo>
                <a:cubicBezTo>
                  <a:pt x="150454" y="253890"/>
                  <a:pt x="148663" y="255722"/>
                  <a:pt x="146155" y="255722"/>
                </a:cubicBezTo>
                <a:lnTo>
                  <a:pt x="74149" y="255722"/>
                </a:lnTo>
                <a:cubicBezTo>
                  <a:pt x="71641" y="255722"/>
                  <a:pt x="69850" y="253890"/>
                  <a:pt x="69850" y="251326"/>
                </a:cubicBezTo>
                <a:cubicBezTo>
                  <a:pt x="69850" y="248761"/>
                  <a:pt x="71641" y="246563"/>
                  <a:pt x="74149" y="246563"/>
                </a:cubicBezTo>
                <a:close/>
                <a:moveTo>
                  <a:pt x="241300" y="222661"/>
                </a:moveTo>
                <a:cubicBezTo>
                  <a:pt x="232229" y="222661"/>
                  <a:pt x="224972" y="229918"/>
                  <a:pt x="224972" y="238626"/>
                </a:cubicBezTo>
                <a:cubicBezTo>
                  <a:pt x="224972" y="247335"/>
                  <a:pt x="232229" y="254592"/>
                  <a:pt x="241300" y="254592"/>
                </a:cubicBezTo>
                <a:cubicBezTo>
                  <a:pt x="249646" y="254592"/>
                  <a:pt x="256903" y="247335"/>
                  <a:pt x="256903" y="238626"/>
                </a:cubicBezTo>
                <a:cubicBezTo>
                  <a:pt x="256903" y="229918"/>
                  <a:pt x="249646" y="222661"/>
                  <a:pt x="241300" y="222661"/>
                </a:cubicBezTo>
                <a:close/>
                <a:moveTo>
                  <a:pt x="241300" y="213226"/>
                </a:moveTo>
                <a:cubicBezTo>
                  <a:pt x="255089" y="213226"/>
                  <a:pt x="266337" y="224475"/>
                  <a:pt x="266337" y="238626"/>
                </a:cubicBezTo>
                <a:cubicBezTo>
                  <a:pt x="266337" y="252415"/>
                  <a:pt x="255089" y="263663"/>
                  <a:pt x="241300" y="263663"/>
                </a:cubicBezTo>
                <a:cubicBezTo>
                  <a:pt x="227149" y="263663"/>
                  <a:pt x="215900" y="252415"/>
                  <a:pt x="215900" y="238626"/>
                </a:cubicBezTo>
                <a:cubicBezTo>
                  <a:pt x="215900" y="224475"/>
                  <a:pt x="227149" y="213226"/>
                  <a:pt x="241300" y="213226"/>
                </a:cubicBezTo>
                <a:close/>
                <a:moveTo>
                  <a:pt x="146862" y="154636"/>
                </a:moveTo>
                <a:cubicBezTo>
                  <a:pt x="145073" y="177543"/>
                  <a:pt x="131114" y="196513"/>
                  <a:pt x="121092" y="207251"/>
                </a:cubicBezTo>
                <a:cubicBezTo>
                  <a:pt x="145789" y="201882"/>
                  <a:pt x="164759" y="180764"/>
                  <a:pt x="166906" y="154636"/>
                </a:cubicBezTo>
                <a:lnTo>
                  <a:pt x="146862" y="154636"/>
                </a:lnTo>
                <a:close/>
                <a:moveTo>
                  <a:pt x="113218" y="154636"/>
                </a:moveTo>
                <a:lnTo>
                  <a:pt x="113218" y="202240"/>
                </a:lnTo>
                <a:cubicBezTo>
                  <a:pt x="122166" y="192934"/>
                  <a:pt x="135767" y="175395"/>
                  <a:pt x="137914" y="154636"/>
                </a:cubicBezTo>
                <a:lnTo>
                  <a:pt x="113218" y="154636"/>
                </a:lnTo>
                <a:close/>
                <a:moveTo>
                  <a:pt x="79931" y="154636"/>
                </a:moveTo>
                <a:cubicBezTo>
                  <a:pt x="81720" y="175395"/>
                  <a:pt x="95322" y="192934"/>
                  <a:pt x="104270" y="202240"/>
                </a:cubicBezTo>
                <a:lnTo>
                  <a:pt x="104270" y="154636"/>
                </a:lnTo>
                <a:lnTo>
                  <a:pt x="79931" y="154636"/>
                </a:lnTo>
                <a:close/>
                <a:moveTo>
                  <a:pt x="50581" y="154636"/>
                </a:moveTo>
                <a:cubicBezTo>
                  <a:pt x="52729" y="180764"/>
                  <a:pt x="71699" y="201882"/>
                  <a:pt x="96395" y="207251"/>
                </a:cubicBezTo>
                <a:cubicBezTo>
                  <a:pt x="86731" y="196513"/>
                  <a:pt x="72414" y="177543"/>
                  <a:pt x="70983" y="154636"/>
                </a:cubicBezTo>
                <a:lnTo>
                  <a:pt x="50581" y="154636"/>
                </a:lnTo>
                <a:close/>
                <a:moveTo>
                  <a:pt x="113218" y="98084"/>
                </a:moveTo>
                <a:lnTo>
                  <a:pt x="113218" y="146046"/>
                </a:lnTo>
                <a:lnTo>
                  <a:pt x="137914" y="146046"/>
                </a:lnTo>
                <a:cubicBezTo>
                  <a:pt x="135767" y="125286"/>
                  <a:pt x="122166" y="107390"/>
                  <a:pt x="113218" y="98084"/>
                </a:cubicBezTo>
                <a:close/>
                <a:moveTo>
                  <a:pt x="104270" y="98084"/>
                </a:moveTo>
                <a:cubicBezTo>
                  <a:pt x="95322" y="107390"/>
                  <a:pt x="81720" y="125286"/>
                  <a:pt x="79931" y="146046"/>
                </a:cubicBezTo>
                <a:lnTo>
                  <a:pt x="104270" y="146046"/>
                </a:lnTo>
                <a:lnTo>
                  <a:pt x="104270" y="98084"/>
                </a:lnTo>
                <a:close/>
                <a:moveTo>
                  <a:pt x="121092" y="93431"/>
                </a:moveTo>
                <a:cubicBezTo>
                  <a:pt x="131114" y="103811"/>
                  <a:pt x="145073" y="123139"/>
                  <a:pt x="146862" y="146046"/>
                </a:cubicBezTo>
                <a:lnTo>
                  <a:pt x="166906" y="146046"/>
                </a:lnTo>
                <a:cubicBezTo>
                  <a:pt x="164759" y="119917"/>
                  <a:pt x="145789" y="98442"/>
                  <a:pt x="121092" y="93431"/>
                </a:cubicBezTo>
                <a:close/>
                <a:moveTo>
                  <a:pt x="96395" y="93431"/>
                </a:moveTo>
                <a:cubicBezTo>
                  <a:pt x="71699" y="98442"/>
                  <a:pt x="52729" y="119917"/>
                  <a:pt x="50581" y="146046"/>
                </a:cubicBezTo>
                <a:lnTo>
                  <a:pt x="70983" y="146046"/>
                </a:lnTo>
                <a:cubicBezTo>
                  <a:pt x="72414" y="123139"/>
                  <a:pt x="86731" y="103811"/>
                  <a:pt x="96395" y="93431"/>
                </a:cubicBezTo>
                <a:close/>
                <a:moveTo>
                  <a:pt x="108565" y="83051"/>
                </a:moveTo>
                <a:cubicBezTo>
                  <a:pt x="145789" y="83051"/>
                  <a:pt x="175854" y="113117"/>
                  <a:pt x="175854" y="150341"/>
                </a:cubicBezTo>
                <a:cubicBezTo>
                  <a:pt x="175854" y="187565"/>
                  <a:pt x="145789" y="217630"/>
                  <a:pt x="108565" y="217630"/>
                </a:cubicBezTo>
                <a:cubicBezTo>
                  <a:pt x="71699" y="217630"/>
                  <a:pt x="41275" y="187565"/>
                  <a:pt x="41275" y="150341"/>
                </a:cubicBezTo>
                <a:cubicBezTo>
                  <a:pt x="41275" y="113117"/>
                  <a:pt x="71699" y="83051"/>
                  <a:pt x="108565" y="83051"/>
                </a:cubicBezTo>
                <a:close/>
                <a:moveTo>
                  <a:pt x="241226" y="54541"/>
                </a:moveTo>
                <a:lnTo>
                  <a:pt x="225390" y="70407"/>
                </a:lnTo>
                <a:lnTo>
                  <a:pt x="232948" y="77619"/>
                </a:lnTo>
                <a:cubicBezTo>
                  <a:pt x="234748" y="79422"/>
                  <a:pt x="235827" y="81946"/>
                  <a:pt x="235827" y="84831"/>
                </a:cubicBezTo>
                <a:cubicBezTo>
                  <a:pt x="235827" y="87716"/>
                  <a:pt x="234748" y="90240"/>
                  <a:pt x="232948" y="92043"/>
                </a:cubicBezTo>
                <a:lnTo>
                  <a:pt x="225030" y="99615"/>
                </a:lnTo>
                <a:lnTo>
                  <a:pt x="232588" y="107188"/>
                </a:lnTo>
                <a:cubicBezTo>
                  <a:pt x="234388" y="108991"/>
                  <a:pt x="235468" y="111875"/>
                  <a:pt x="235468" y="114039"/>
                </a:cubicBezTo>
                <a:cubicBezTo>
                  <a:pt x="235468" y="116924"/>
                  <a:pt x="234388" y="119448"/>
                  <a:pt x="232588" y="121251"/>
                </a:cubicBezTo>
                <a:lnTo>
                  <a:pt x="225030" y="128823"/>
                </a:lnTo>
                <a:lnTo>
                  <a:pt x="232588" y="136035"/>
                </a:lnTo>
                <a:cubicBezTo>
                  <a:pt x="236187" y="140001"/>
                  <a:pt x="236187" y="146492"/>
                  <a:pt x="232588" y="150458"/>
                </a:cubicBezTo>
                <a:lnTo>
                  <a:pt x="220352" y="162358"/>
                </a:lnTo>
                <a:lnTo>
                  <a:pt x="220352" y="189763"/>
                </a:lnTo>
                <a:cubicBezTo>
                  <a:pt x="220352" y="191566"/>
                  <a:pt x="219272" y="193008"/>
                  <a:pt x="217832" y="193729"/>
                </a:cubicBezTo>
                <a:cubicBezTo>
                  <a:pt x="201637" y="202023"/>
                  <a:pt x="191560" y="218971"/>
                  <a:pt x="191560" y="237361"/>
                </a:cubicBezTo>
                <a:cubicBezTo>
                  <a:pt x="191560" y="264044"/>
                  <a:pt x="213154" y="286040"/>
                  <a:pt x="240506" y="286040"/>
                </a:cubicBezTo>
                <a:cubicBezTo>
                  <a:pt x="267139" y="286040"/>
                  <a:pt x="289093" y="264044"/>
                  <a:pt x="289093" y="237361"/>
                </a:cubicBezTo>
                <a:cubicBezTo>
                  <a:pt x="289093" y="218971"/>
                  <a:pt x="279015" y="202023"/>
                  <a:pt x="262460" y="193729"/>
                </a:cubicBezTo>
                <a:cubicBezTo>
                  <a:pt x="261020" y="193008"/>
                  <a:pt x="259941" y="191566"/>
                  <a:pt x="259941" y="189763"/>
                </a:cubicBezTo>
                <a:lnTo>
                  <a:pt x="259941" y="73652"/>
                </a:lnTo>
                <a:lnTo>
                  <a:pt x="241226" y="54541"/>
                </a:lnTo>
                <a:close/>
                <a:moveTo>
                  <a:pt x="237987" y="44805"/>
                </a:moveTo>
                <a:cubicBezTo>
                  <a:pt x="239786" y="43363"/>
                  <a:pt x="242666" y="43363"/>
                  <a:pt x="244465" y="44805"/>
                </a:cubicBezTo>
                <a:lnTo>
                  <a:pt x="267859" y="68604"/>
                </a:lnTo>
                <a:cubicBezTo>
                  <a:pt x="268578" y="69325"/>
                  <a:pt x="268938" y="70407"/>
                  <a:pt x="268938" y="71849"/>
                </a:cubicBezTo>
                <a:lnTo>
                  <a:pt x="268938" y="186878"/>
                </a:lnTo>
                <a:cubicBezTo>
                  <a:pt x="286933" y="197335"/>
                  <a:pt x="298090" y="216086"/>
                  <a:pt x="298090" y="237361"/>
                </a:cubicBezTo>
                <a:cubicBezTo>
                  <a:pt x="298090" y="269453"/>
                  <a:pt x="272177" y="295416"/>
                  <a:pt x="240506" y="295416"/>
                </a:cubicBezTo>
                <a:cubicBezTo>
                  <a:pt x="208475" y="295416"/>
                  <a:pt x="182562" y="269453"/>
                  <a:pt x="182562" y="237361"/>
                </a:cubicBezTo>
                <a:cubicBezTo>
                  <a:pt x="182562" y="216086"/>
                  <a:pt x="193359" y="197335"/>
                  <a:pt x="211354" y="186878"/>
                </a:cubicBezTo>
                <a:lnTo>
                  <a:pt x="211354" y="160555"/>
                </a:lnTo>
                <a:cubicBezTo>
                  <a:pt x="211354" y="159473"/>
                  <a:pt x="211714" y="158391"/>
                  <a:pt x="212434" y="157310"/>
                </a:cubicBezTo>
                <a:lnTo>
                  <a:pt x="226110" y="143968"/>
                </a:lnTo>
                <a:cubicBezTo>
                  <a:pt x="226470" y="143968"/>
                  <a:pt x="226470" y="143247"/>
                  <a:pt x="226470" y="143247"/>
                </a:cubicBezTo>
                <a:cubicBezTo>
                  <a:pt x="226470" y="142886"/>
                  <a:pt x="226470" y="142886"/>
                  <a:pt x="226110" y="142525"/>
                </a:cubicBezTo>
                <a:lnTo>
                  <a:pt x="215673" y="132068"/>
                </a:lnTo>
                <a:cubicBezTo>
                  <a:pt x="214593" y="131347"/>
                  <a:pt x="214233" y="130265"/>
                  <a:pt x="214233" y="129184"/>
                </a:cubicBezTo>
                <a:cubicBezTo>
                  <a:pt x="214233" y="128102"/>
                  <a:pt x="214593" y="126660"/>
                  <a:pt x="215673" y="125578"/>
                </a:cubicBezTo>
                <a:lnTo>
                  <a:pt x="226110" y="115121"/>
                </a:lnTo>
                <a:cubicBezTo>
                  <a:pt x="226470" y="114760"/>
                  <a:pt x="226470" y="114399"/>
                  <a:pt x="226470" y="114039"/>
                </a:cubicBezTo>
                <a:cubicBezTo>
                  <a:pt x="226470" y="114039"/>
                  <a:pt x="226470" y="113678"/>
                  <a:pt x="226110" y="113678"/>
                </a:cubicBezTo>
                <a:lnTo>
                  <a:pt x="215673" y="102861"/>
                </a:lnTo>
                <a:cubicBezTo>
                  <a:pt x="213514" y="101418"/>
                  <a:pt x="213514" y="98173"/>
                  <a:pt x="215673" y="96731"/>
                </a:cubicBezTo>
                <a:lnTo>
                  <a:pt x="226470" y="85552"/>
                </a:lnTo>
                <a:cubicBezTo>
                  <a:pt x="226830" y="85192"/>
                  <a:pt x="226830" y="84831"/>
                  <a:pt x="226830" y="84831"/>
                </a:cubicBezTo>
                <a:cubicBezTo>
                  <a:pt x="226830" y="84471"/>
                  <a:pt x="226830" y="84471"/>
                  <a:pt x="226470" y="84110"/>
                </a:cubicBezTo>
                <a:lnTo>
                  <a:pt x="216033" y="73652"/>
                </a:lnTo>
                <a:cubicBezTo>
                  <a:pt x="214233" y="71849"/>
                  <a:pt x="214233" y="68965"/>
                  <a:pt x="216033" y="67162"/>
                </a:cubicBezTo>
                <a:lnTo>
                  <a:pt x="237987" y="44805"/>
                </a:lnTo>
                <a:close/>
                <a:moveTo>
                  <a:pt x="148551" y="10816"/>
                </a:moveTo>
                <a:lnTo>
                  <a:pt x="36241" y="43641"/>
                </a:lnTo>
                <a:lnTo>
                  <a:pt x="169004" y="43641"/>
                </a:lnTo>
                <a:lnTo>
                  <a:pt x="169004" y="22359"/>
                </a:lnTo>
                <a:cubicBezTo>
                  <a:pt x="169004" y="16587"/>
                  <a:pt x="167568" y="12980"/>
                  <a:pt x="164698" y="10816"/>
                </a:cubicBezTo>
                <a:cubicBezTo>
                  <a:pt x="161468" y="8291"/>
                  <a:pt x="155727" y="8291"/>
                  <a:pt x="148551" y="10816"/>
                </a:cubicBezTo>
                <a:close/>
                <a:moveTo>
                  <a:pt x="146039" y="2159"/>
                </a:moveTo>
                <a:cubicBezTo>
                  <a:pt x="156086" y="-1087"/>
                  <a:pt x="164339" y="-727"/>
                  <a:pt x="170080" y="3602"/>
                </a:cubicBezTo>
                <a:cubicBezTo>
                  <a:pt x="175104" y="7209"/>
                  <a:pt x="177974" y="13702"/>
                  <a:pt x="177974" y="22359"/>
                </a:cubicBezTo>
                <a:lnTo>
                  <a:pt x="177974" y="43641"/>
                </a:lnTo>
                <a:lnTo>
                  <a:pt x="204885" y="43641"/>
                </a:lnTo>
                <a:cubicBezTo>
                  <a:pt x="207397" y="43641"/>
                  <a:pt x="209191" y="45805"/>
                  <a:pt x="209191" y="47969"/>
                </a:cubicBezTo>
                <a:cubicBezTo>
                  <a:pt x="209191" y="50494"/>
                  <a:pt x="207397" y="52658"/>
                  <a:pt x="204885" y="52658"/>
                </a:cubicBezTo>
                <a:lnTo>
                  <a:pt x="173668" y="52658"/>
                </a:lnTo>
                <a:lnTo>
                  <a:pt x="8970" y="52658"/>
                </a:lnTo>
                <a:lnTo>
                  <a:pt x="8970" y="286037"/>
                </a:lnTo>
                <a:lnTo>
                  <a:pt x="182280" y="286037"/>
                </a:lnTo>
                <a:cubicBezTo>
                  <a:pt x="184792" y="286037"/>
                  <a:pt x="186586" y="288201"/>
                  <a:pt x="186586" y="290726"/>
                </a:cubicBezTo>
                <a:cubicBezTo>
                  <a:pt x="186586" y="293251"/>
                  <a:pt x="184792" y="295416"/>
                  <a:pt x="182280" y="295416"/>
                </a:cubicBezTo>
                <a:lnTo>
                  <a:pt x="4665" y="295416"/>
                </a:lnTo>
                <a:cubicBezTo>
                  <a:pt x="2153" y="295416"/>
                  <a:pt x="0" y="293251"/>
                  <a:pt x="0" y="290726"/>
                </a:cubicBezTo>
                <a:lnTo>
                  <a:pt x="0" y="47969"/>
                </a:lnTo>
                <a:cubicBezTo>
                  <a:pt x="0" y="47969"/>
                  <a:pt x="359" y="47969"/>
                  <a:pt x="359" y="47608"/>
                </a:cubicBezTo>
                <a:cubicBezTo>
                  <a:pt x="359" y="47248"/>
                  <a:pt x="359" y="46887"/>
                  <a:pt x="359" y="46887"/>
                </a:cubicBezTo>
                <a:cubicBezTo>
                  <a:pt x="359" y="46526"/>
                  <a:pt x="718" y="46526"/>
                  <a:pt x="718" y="46166"/>
                </a:cubicBezTo>
                <a:cubicBezTo>
                  <a:pt x="1076" y="45805"/>
                  <a:pt x="1076" y="45444"/>
                  <a:pt x="1435" y="45444"/>
                </a:cubicBezTo>
                <a:cubicBezTo>
                  <a:pt x="1435" y="45083"/>
                  <a:pt x="1435" y="44723"/>
                  <a:pt x="1794" y="44723"/>
                </a:cubicBezTo>
                <a:cubicBezTo>
                  <a:pt x="1794" y="44723"/>
                  <a:pt x="2153" y="44362"/>
                  <a:pt x="2512" y="44362"/>
                </a:cubicBezTo>
                <a:cubicBezTo>
                  <a:pt x="2870" y="44001"/>
                  <a:pt x="3229" y="44001"/>
                  <a:pt x="3229" y="44001"/>
                </a:cubicBezTo>
                <a:cubicBezTo>
                  <a:pt x="3229" y="44001"/>
                  <a:pt x="3229" y="44001"/>
                  <a:pt x="3588" y="44001"/>
                </a:cubicBezTo>
                <a:lnTo>
                  <a:pt x="146039" y="2159"/>
                </a:lnTo>
                <a:close/>
              </a:path>
            </a:pathLst>
          </a:custGeom>
          <a:solidFill>
            <a:schemeClr val="tx2"/>
          </a:solidFill>
          <a:ln>
            <a:noFill/>
          </a:ln>
          <a:effectLst/>
        </p:spPr>
        <p:txBody>
          <a:bodyPr anchor="ctr"/>
          <a:lstStyle/>
          <a:p>
            <a:endParaRPr lang="en-US" sz="900" dirty="0">
              <a:latin typeface="Lato Light" panose="020F0502020204030203" pitchFamily="34" charset="0"/>
            </a:endParaRPr>
          </a:p>
        </p:txBody>
      </p:sp>
      <p:sp>
        <p:nvSpPr>
          <p:cNvPr id="162" name="Freeform 739">
            <a:extLst>
              <a:ext uri="{FF2B5EF4-FFF2-40B4-BE49-F238E27FC236}">
                <a16:creationId xmlns:a16="http://schemas.microsoft.com/office/drawing/2014/main" id="{94138352-F623-7346-B17E-F48B7ADCF613}"/>
              </a:ext>
            </a:extLst>
          </p:cNvPr>
          <p:cNvSpPr>
            <a:spLocks noChangeArrowheads="1"/>
          </p:cNvSpPr>
          <p:nvPr/>
        </p:nvSpPr>
        <p:spPr bwMode="auto">
          <a:xfrm>
            <a:off x="9654746" y="1140157"/>
            <a:ext cx="289604" cy="292718"/>
          </a:xfrm>
          <a:custGeom>
            <a:avLst/>
            <a:gdLst>
              <a:gd name="T0" fmla="*/ 209423 w 294916"/>
              <a:gd name="T1" fmla="*/ 223477 h 298090"/>
              <a:gd name="T2" fmla="*/ 285936 w 294916"/>
              <a:gd name="T3" fmla="*/ 223477 h 298090"/>
              <a:gd name="T4" fmla="*/ 247859 w 294916"/>
              <a:gd name="T5" fmla="*/ 186351 h 298090"/>
              <a:gd name="T6" fmla="*/ 58555 w 294916"/>
              <a:gd name="T7" fmla="*/ 164647 h 298090"/>
              <a:gd name="T8" fmla="*/ 58555 w 294916"/>
              <a:gd name="T9" fmla="*/ 196578 h 298090"/>
              <a:gd name="T10" fmla="*/ 58555 w 294916"/>
              <a:gd name="T11" fmla="*/ 164647 h 298090"/>
              <a:gd name="T12" fmla="*/ 83773 w 294916"/>
              <a:gd name="T13" fmla="*/ 180612 h 298090"/>
              <a:gd name="T14" fmla="*/ 33338 w 294916"/>
              <a:gd name="T15" fmla="*/ 180612 h 298090"/>
              <a:gd name="T16" fmla="*/ 249238 w 294916"/>
              <a:gd name="T17" fmla="*/ 130175 h 298090"/>
              <a:gd name="T18" fmla="*/ 253634 w 294916"/>
              <a:gd name="T19" fmla="*/ 161942 h 298090"/>
              <a:gd name="T20" fmla="*/ 244475 w 294916"/>
              <a:gd name="T21" fmla="*/ 161942 h 298090"/>
              <a:gd name="T22" fmla="*/ 249238 w 294916"/>
              <a:gd name="T23" fmla="*/ 130175 h 298090"/>
              <a:gd name="T24" fmla="*/ 209423 w 294916"/>
              <a:gd name="T25" fmla="*/ 156434 h 298090"/>
              <a:gd name="T26" fmla="*/ 285936 w 294916"/>
              <a:gd name="T27" fmla="*/ 164004 h 298090"/>
              <a:gd name="T28" fmla="*/ 247859 w 294916"/>
              <a:gd name="T29" fmla="*/ 118226 h 298090"/>
              <a:gd name="T30" fmla="*/ 58911 w 294916"/>
              <a:gd name="T31" fmla="*/ 0 h 298090"/>
              <a:gd name="T32" fmla="*/ 85493 w 294916"/>
              <a:gd name="T33" fmla="*/ 24871 h 298090"/>
              <a:gd name="T34" fmla="*/ 86930 w 294916"/>
              <a:gd name="T35" fmla="*/ 130121 h 298090"/>
              <a:gd name="T36" fmla="*/ 62144 w 294916"/>
              <a:gd name="T37" fmla="*/ 238256 h 298090"/>
              <a:gd name="T38" fmla="*/ 102017 w 294916"/>
              <a:gd name="T39" fmla="*/ 289079 h 298090"/>
              <a:gd name="T40" fmla="*/ 141890 w 294916"/>
              <a:gd name="T41" fmla="*/ 89751 h 298090"/>
              <a:gd name="T42" fmla="*/ 252169 w 294916"/>
              <a:gd name="T43" fmla="*/ 89751 h 298090"/>
              <a:gd name="T44" fmla="*/ 294916 w 294916"/>
              <a:gd name="T45" fmla="*/ 156434 h 298090"/>
              <a:gd name="T46" fmla="*/ 247859 w 294916"/>
              <a:gd name="T47" fmla="*/ 271056 h 298090"/>
              <a:gd name="T48" fmla="*/ 200442 w 294916"/>
              <a:gd name="T49" fmla="*/ 156434 h 298090"/>
              <a:gd name="T50" fmla="*/ 243189 w 294916"/>
              <a:gd name="T51" fmla="*/ 89751 h 298090"/>
              <a:gd name="T52" fmla="*/ 150871 w 294916"/>
              <a:gd name="T53" fmla="*/ 89751 h 298090"/>
              <a:gd name="T54" fmla="*/ 102017 w 294916"/>
              <a:gd name="T55" fmla="*/ 298090 h 298090"/>
              <a:gd name="T56" fmla="*/ 53523 w 294916"/>
              <a:gd name="T57" fmla="*/ 238256 h 298090"/>
              <a:gd name="T58" fmla="*/ 106687 w 294916"/>
              <a:gd name="T59" fmla="*/ 180224 h 298090"/>
              <a:gd name="T60" fmla="*/ 77950 w 294916"/>
              <a:gd name="T61" fmla="*/ 132644 h 298090"/>
              <a:gd name="T62" fmla="*/ 58911 w 294916"/>
              <a:gd name="T63" fmla="*/ 10813 h 298090"/>
              <a:gd name="T64" fmla="*/ 50649 w 294916"/>
              <a:gd name="T65" fmla="*/ 33882 h 298090"/>
              <a:gd name="T66" fmla="*/ 50649 w 294916"/>
              <a:gd name="T67" fmla="*/ 48300 h 298090"/>
              <a:gd name="T68" fmla="*/ 49931 w 294916"/>
              <a:gd name="T69" fmla="*/ 63438 h 298090"/>
              <a:gd name="T70" fmla="*/ 49931 w 294916"/>
              <a:gd name="T71" fmla="*/ 77856 h 298090"/>
              <a:gd name="T72" fmla="*/ 49931 w 294916"/>
              <a:gd name="T73" fmla="*/ 92635 h 298090"/>
              <a:gd name="T74" fmla="*/ 38077 w 294916"/>
              <a:gd name="T75" fmla="*/ 118947 h 298090"/>
              <a:gd name="T76" fmla="*/ 35562 w 294916"/>
              <a:gd name="T77" fmla="*/ 136609 h 298090"/>
              <a:gd name="T78" fmla="*/ 38795 w 294916"/>
              <a:gd name="T79" fmla="*/ 225640 h 298090"/>
              <a:gd name="T80" fmla="*/ 35562 w 294916"/>
              <a:gd name="T81" fmla="*/ 233930 h 298090"/>
              <a:gd name="T82" fmla="*/ 29096 w 294916"/>
              <a:gd name="T83" fmla="*/ 130121 h 298090"/>
              <a:gd name="T84" fmla="*/ 30533 w 294916"/>
              <a:gd name="T85" fmla="*/ 113901 h 298090"/>
              <a:gd name="T86" fmla="*/ 43824 w 294916"/>
              <a:gd name="T87" fmla="*/ 99123 h 298090"/>
              <a:gd name="T88" fmla="*/ 31970 w 294916"/>
              <a:gd name="T89" fmla="*/ 85786 h 298090"/>
              <a:gd name="T90" fmla="*/ 43824 w 294916"/>
              <a:gd name="T91" fmla="*/ 71368 h 298090"/>
              <a:gd name="T92" fmla="*/ 43824 w 294916"/>
              <a:gd name="T93" fmla="*/ 69926 h 298090"/>
              <a:gd name="T94" fmla="*/ 33048 w 294916"/>
              <a:gd name="T95" fmla="*/ 52985 h 298090"/>
              <a:gd name="T96" fmla="*/ 44184 w 294916"/>
              <a:gd name="T97" fmla="*/ 40370 h 298090"/>
              <a:gd name="T98" fmla="*/ 32329 w 294916"/>
              <a:gd name="T99" fmla="*/ 26673 h 298090"/>
              <a:gd name="T100" fmla="*/ 55679 w 294916"/>
              <a:gd name="T101" fmla="*/ 1081 h 298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4916" h="298090">
                <a:moveTo>
                  <a:pt x="209423" y="175177"/>
                </a:moveTo>
                <a:lnTo>
                  <a:pt x="209423" y="223477"/>
                </a:lnTo>
                <a:cubicBezTo>
                  <a:pt x="209423" y="244744"/>
                  <a:pt x="226306" y="262045"/>
                  <a:pt x="247499" y="262045"/>
                </a:cubicBezTo>
                <a:cubicBezTo>
                  <a:pt x="268693" y="262045"/>
                  <a:pt x="285936" y="244744"/>
                  <a:pt x="285936" y="223477"/>
                </a:cubicBezTo>
                <a:lnTo>
                  <a:pt x="285936" y="175177"/>
                </a:lnTo>
                <a:cubicBezTo>
                  <a:pt x="274800" y="182747"/>
                  <a:pt x="261150" y="186351"/>
                  <a:pt x="247859" y="186351"/>
                </a:cubicBezTo>
                <a:cubicBezTo>
                  <a:pt x="234209" y="186351"/>
                  <a:pt x="220558" y="182747"/>
                  <a:pt x="209423" y="175177"/>
                </a:cubicBezTo>
                <a:close/>
                <a:moveTo>
                  <a:pt x="58555" y="164647"/>
                </a:moveTo>
                <a:cubicBezTo>
                  <a:pt x="49784" y="164647"/>
                  <a:pt x="42475" y="171541"/>
                  <a:pt x="42475" y="180612"/>
                </a:cubicBezTo>
                <a:cubicBezTo>
                  <a:pt x="42475" y="189321"/>
                  <a:pt x="49784" y="196578"/>
                  <a:pt x="58555" y="196578"/>
                </a:cubicBezTo>
                <a:cubicBezTo>
                  <a:pt x="67692" y="196578"/>
                  <a:pt x="75001" y="189321"/>
                  <a:pt x="75001" y="180612"/>
                </a:cubicBezTo>
                <a:cubicBezTo>
                  <a:pt x="75001" y="171541"/>
                  <a:pt x="67692" y="164647"/>
                  <a:pt x="58555" y="164647"/>
                </a:cubicBezTo>
                <a:close/>
                <a:moveTo>
                  <a:pt x="58555" y="155575"/>
                </a:moveTo>
                <a:cubicBezTo>
                  <a:pt x="72443" y="155575"/>
                  <a:pt x="83773" y="166824"/>
                  <a:pt x="83773" y="180612"/>
                </a:cubicBezTo>
                <a:cubicBezTo>
                  <a:pt x="83773" y="194401"/>
                  <a:pt x="72443" y="206012"/>
                  <a:pt x="58555" y="206012"/>
                </a:cubicBezTo>
                <a:cubicBezTo>
                  <a:pt x="44668" y="206012"/>
                  <a:pt x="33338" y="194401"/>
                  <a:pt x="33338" y="180612"/>
                </a:cubicBezTo>
                <a:cubicBezTo>
                  <a:pt x="33338" y="166824"/>
                  <a:pt x="44668" y="155575"/>
                  <a:pt x="58555" y="155575"/>
                </a:cubicBezTo>
                <a:close/>
                <a:moveTo>
                  <a:pt x="249238" y="130175"/>
                </a:moveTo>
                <a:cubicBezTo>
                  <a:pt x="251436" y="130175"/>
                  <a:pt x="253634" y="132366"/>
                  <a:pt x="253634" y="134921"/>
                </a:cubicBezTo>
                <a:lnTo>
                  <a:pt x="253634" y="161942"/>
                </a:lnTo>
                <a:cubicBezTo>
                  <a:pt x="253634" y="164132"/>
                  <a:pt x="251436" y="166323"/>
                  <a:pt x="249238" y="166323"/>
                </a:cubicBezTo>
                <a:cubicBezTo>
                  <a:pt x="246307" y="166323"/>
                  <a:pt x="244475" y="164132"/>
                  <a:pt x="244475" y="161942"/>
                </a:cubicBezTo>
                <a:lnTo>
                  <a:pt x="244475" y="134921"/>
                </a:lnTo>
                <a:cubicBezTo>
                  <a:pt x="244475" y="132366"/>
                  <a:pt x="246307" y="130175"/>
                  <a:pt x="249238" y="130175"/>
                </a:cubicBezTo>
                <a:close/>
                <a:moveTo>
                  <a:pt x="247499" y="118226"/>
                </a:moveTo>
                <a:cubicBezTo>
                  <a:pt x="226306" y="118226"/>
                  <a:pt x="209423" y="135528"/>
                  <a:pt x="209423" y="156434"/>
                </a:cubicBezTo>
                <a:lnTo>
                  <a:pt x="209423" y="164004"/>
                </a:lnTo>
                <a:cubicBezTo>
                  <a:pt x="230616" y="181665"/>
                  <a:pt x="264383" y="181665"/>
                  <a:pt x="285936" y="164004"/>
                </a:cubicBezTo>
                <a:lnTo>
                  <a:pt x="285936" y="156434"/>
                </a:lnTo>
                <a:cubicBezTo>
                  <a:pt x="285936" y="135528"/>
                  <a:pt x="268693" y="118226"/>
                  <a:pt x="247859" y="118226"/>
                </a:cubicBezTo>
                <a:lnTo>
                  <a:pt x="247499" y="118226"/>
                </a:lnTo>
                <a:close/>
                <a:moveTo>
                  <a:pt x="58911" y="0"/>
                </a:moveTo>
                <a:cubicBezTo>
                  <a:pt x="59989" y="0"/>
                  <a:pt x="61067" y="360"/>
                  <a:pt x="62144" y="1081"/>
                </a:cubicBezTo>
                <a:lnTo>
                  <a:pt x="85493" y="24871"/>
                </a:lnTo>
                <a:cubicBezTo>
                  <a:pt x="86212" y="25591"/>
                  <a:pt x="86930" y="26673"/>
                  <a:pt x="86930" y="27754"/>
                </a:cubicBezTo>
                <a:lnTo>
                  <a:pt x="86930" y="130121"/>
                </a:lnTo>
                <a:cubicBezTo>
                  <a:pt x="104532" y="140214"/>
                  <a:pt x="116027" y="159318"/>
                  <a:pt x="116027" y="180224"/>
                </a:cubicBezTo>
                <a:cubicBezTo>
                  <a:pt x="116027" y="210501"/>
                  <a:pt x="92318" y="236093"/>
                  <a:pt x="62144" y="238256"/>
                </a:cubicBezTo>
                <a:lnTo>
                  <a:pt x="62504" y="249429"/>
                </a:lnTo>
                <a:cubicBezTo>
                  <a:pt x="62504" y="271056"/>
                  <a:pt x="80105" y="289079"/>
                  <a:pt x="102017" y="289079"/>
                </a:cubicBezTo>
                <a:cubicBezTo>
                  <a:pt x="123929" y="289079"/>
                  <a:pt x="141890" y="271056"/>
                  <a:pt x="141890" y="249429"/>
                </a:cubicBezTo>
                <a:lnTo>
                  <a:pt x="141890" y="89751"/>
                </a:lnTo>
                <a:cubicBezTo>
                  <a:pt x="141890" y="59113"/>
                  <a:pt x="166676" y="34603"/>
                  <a:pt x="197209" y="34603"/>
                </a:cubicBezTo>
                <a:cubicBezTo>
                  <a:pt x="227383" y="34603"/>
                  <a:pt x="252169" y="59113"/>
                  <a:pt x="252169" y="89751"/>
                </a:cubicBezTo>
                <a:lnTo>
                  <a:pt x="252169" y="109215"/>
                </a:lnTo>
                <a:cubicBezTo>
                  <a:pt x="276237" y="111378"/>
                  <a:pt x="294916" y="131923"/>
                  <a:pt x="294916" y="156434"/>
                </a:cubicBezTo>
                <a:lnTo>
                  <a:pt x="294916" y="223477"/>
                </a:lnTo>
                <a:cubicBezTo>
                  <a:pt x="294916" y="249790"/>
                  <a:pt x="273722" y="271056"/>
                  <a:pt x="247859" y="271056"/>
                </a:cubicBezTo>
                <a:cubicBezTo>
                  <a:pt x="221277" y="271056"/>
                  <a:pt x="200442" y="249790"/>
                  <a:pt x="200442" y="223477"/>
                </a:cubicBezTo>
                <a:lnTo>
                  <a:pt x="200442" y="156434"/>
                </a:lnTo>
                <a:cubicBezTo>
                  <a:pt x="200442" y="131923"/>
                  <a:pt x="219121" y="111378"/>
                  <a:pt x="243189" y="109215"/>
                </a:cubicBezTo>
                <a:lnTo>
                  <a:pt x="243189" y="89751"/>
                </a:lnTo>
                <a:cubicBezTo>
                  <a:pt x="243189" y="64159"/>
                  <a:pt x="222354" y="43253"/>
                  <a:pt x="197209" y="43253"/>
                </a:cubicBezTo>
                <a:cubicBezTo>
                  <a:pt x="171705" y="43253"/>
                  <a:pt x="150871" y="64159"/>
                  <a:pt x="150871" y="89751"/>
                </a:cubicBezTo>
                <a:lnTo>
                  <a:pt x="150871" y="249429"/>
                </a:lnTo>
                <a:cubicBezTo>
                  <a:pt x="150871" y="276103"/>
                  <a:pt x="128958" y="298090"/>
                  <a:pt x="102017" y="298090"/>
                </a:cubicBezTo>
                <a:cubicBezTo>
                  <a:pt x="75435" y="298090"/>
                  <a:pt x="53523" y="276103"/>
                  <a:pt x="53523" y="249429"/>
                </a:cubicBezTo>
                <a:lnTo>
                  <a:pt x="53523" y="238256"/>
                </a:lnTo>
                <a:cubicBezTo>
                  <a:pt x="53523" y="233570"/>
                  <a:pt x="57115" y="229605"/>
                  <a:pt x="61785" y="229244"/>
                </a:cubicBezTo>
                <a:cubicBezTo>
                  <a:pt x="86930" y="227442"/>
                  <a:pt x="106687" y="205815"/>
                  <a:pt x="106687" y="180224"/>
                </a:cubicBezTo>
                <a:cubicBezTo>
                  <a:pt x="106687" y="161841"/>
                  <a:pt x="96629" y="145260"/>
                  <a:pt x="80105" y="136609"/>
                </a:cubicBezTo>
                <a:cubicBezTo>
                  <a:pt x="78668" y="135888"/>
                  <a:pt x="77950" y="134446"/>
                  <a:pt x="77950" y="132644"/>
                </a:cubicBezTo>
                <a:lnTo>
                  <a:pt x="77950" y="29917"/>
                </a:lnTo>
                <a:lnTo>
                  <a:pt x="58911" y="10813"/>
                </a:lnTo>
                <a:lnTo>
                  <a:pt x="43465" y="26673"/>
                </a:lnTo>
                <a:lnTo>
                  <a:pt x="50649" y="33882"/>
                </a:lnTo>
                <a:cubicBezTo>
                  <a:pt x="52446" y="35684"/>
                  <a:pt x="53523" y="38207"/>
                  <a:pt x="53523" y="41091"/>
                </a:cubicBezTo>
                <a:cubicBezTo>
                  <a:pt x="53523" y="43614"/>
                  <a:pt x="52446" y="46137"/>
                  <a:pt x="50649" y="48300"/>
                </a:cubicBezTo>
                <a:lnTo>
                  <a:pt x="42747" y="56229"/>
                </a:lnTo>
                <a:lnTo>
                  <a:pt x="49931" y="63438"/>
                </a:lnTo>
                <a:cubicBezTo>
                  <a:pt x="52086" y="65241"/>
                  <a:pt x="52805" y="67764"/>
                  <a:pt x="52805" y="70647"/>
                </a:cubicBezTo>
                <a:cubicBezTo>
                  <a:pt x="52805" y="73531"/>
                  <a:pt x="52086" y="76054"/>
                  <a:pt x="49931" y="77856"/>
                </a:cubicBezTo>
                <a:lnTo>
                  <a:pt x="42747" y="85426"/>
                </a:lnTo>
                <a:lnTo>
                  <a:pt x="49931" y="92635"/>
                </a:lnTo>
                <a:cubicBezTo>
                  <a:pt x="54242" y="96600"/>
                  <a:pt x="54242" y="102727"/>
                  <a:pt x="49931" y="107052"/>
                </a:cubicBezTo>
                <a:lnTo>
                  <a:pt x="38077" y="118947"/>
                </a:lnTo>
                <a:lnTo>
                  <a:pt x="38077" y="132644"/>
                </a:lnTo>
                <a:cubicBezTo>
                  <a:pt x="38077" y="134446"/>
                  <a:pt x="36999" y="135888"/>
                  <a:pt x="35562" y="136609"/>
                </a:cubicBezTo>
                <a:cubicBezTo>
                  <a:pt x="19038" y="145260"/>
                  <a:pt x="8980" y="161841"/>
                  <a:pt x="8980" y="180224"/>
                </a:cubicBezTo>
                <a:cubicBezTo>
                  <a:pt x="8980" y="200048"/>
                  <a:pt x="20834" y="217710"/>
                  <a:pt x="38795" y="225640"/>
                </a:cubicBezTo>
                <a:cubicBezTo>
                  <a:pt x="41310" y="226361"/>
                  <a:pt x="42028" y="229244"/>
                  <a:pt x="41310" y="231768"/>
                </a:cubicBezTo>
                <a:cubicBezTo>
                  <a:pt x="40232" y="233570"/>
                  <a:pt x="37718" y="234651"/>
                  <a:pt x="35562" y="233930"/>
                </a:cubicBezTo>
                <a:cubicBezTo>
                  <a:pt x="14009" y="224919"/>
                  <a:pt x="0" y="203653"/>
                  <a:pt x="0" y="180224"/>
                </a:cubicBezTo>
                <a:cubicBezTo>
                  <a:pt x="0" y="159318"/>
                  <a:pt x="11136" y="140214"/>
                  <a:pt x="29096" y="130121"/>
                </a:cubicBezTo>
                <a:lnTo>
                  <a:pt x="29096" y="117145"/>
                </a:lnTo>
                <a:cubicBezTo>
                  <a:pt x="29096" y="116064"/>
                  <a:pt x="29456" y="114622"/>
                  <a:pt x="30533" y="113901"/>
                </a:cubicBezTo>
                <a:lnTo>
                  <a:pt x="43824" y="100564"/>
                </a:lnTo>
                <a:cubicBezTo>
                  <a:pt x="44184" y="100204"/>
                  <a:pt x="44184" y="99483"/>
                  <a:pt x="43824" y="99123"/>
                </a:cubicBezTo>
                <a:lnTo>
                  <a:pt x="33048" y="88309"/>
                </a:lnTo>
                <a:cubicBezTo>
                  <a:pt x="32688" y="87588"/>
                  <a:pt x="31970" y="86867"/>
                  <a:pt x="31970" y="85786"/>
                </a:cubicBezTo>
                <a:cubicBezTo>
                  <a:pt x="31611" y="84344"/>
                  <a:pt x="31970" y="82903"/>
                  <a:pt x="33048" y="81821"/>
                </a:cubicBezTo>
                <a:lnTo>
                  <a:pt x="43824" y="71368"/>
                </a:lnTo>
                <a:cubicBezTo>
                  <a:pt x="43824" y="71008"/>
                  <a:pt x="43824" y="71008"/>
                  <a:pt x="43824" y="70647"/>
                </a:cubicBezTo>
                <a:lnTo>
                  <a:pt x="43824" y="69926"/>
                </a:lnTo>
                <a:lnTo>
                  <a:pt x="33048" y="59113"/>
                </a:lnTo>
                <a:cubicBezTo>
                  <a:pt x="31611" y="57671"/>
                  <a:pt x="31611" y="54427"/>
                  <a:pt x="33048" y="52985"/>
                </a:cubicBezTo>
                <a:lnTo>
                  <a:pt x="44184" y="41812"/>
                </a:lnTo>
                <a:cubicBezTo>
                  <a:pt x="44543" y="41451"/>
                  <a:pt x="44543" y="40730"/>
                  <a:pt x="44184" y="40370"/>
                </a:cubicBezTo>
                <a:lnTo>
                  <a:pt x="33407" y="29917"/>
                </a:lnTo>
                <a:cubicBezTo>
                  <a:pt x="32688" y="28835"/>
                  <a:pt x="32329" y="27754"/>
                  <a:pt x="32329" y="26673"/>
                </a:cubicBezTo>
                <a:cubicBezTo>
                  <a:pt x="32329" y="25231"/>
                  <a:pt x="32688" y="24150"/>
                  <a:pt x="33407" y="23429"/>
                </a:cubicBezTo>
                <a:lnTo>
                  <a:pt x="55679" y="1081"/>
                </a:lnTo>
                <a:cubicBezTo>
                  <a:pt x="56397" y="360"/>
                  <a:pt x="57834" y="0"/>
                  <a:pt x="58911" y="0"/>
                </a:cubicBezTo>
                <a:close/>
              </a:path>
            </a:pathLst>
          </a:custGeom>
          <a:solidFill>
            <a:schemeClr val="tx2"/>
          </a:solidFill>
          <a:ln>
            <a:noFill/>
          </a:ln>
          <a:effectLst/>
        </p:spPr>
        <p:txBody>
          <a:bodyPr anchor="ctr"/>
          <a:lstStyle/>
          <a:p>
            <a:endParaRPr lang="en-US" sz="900" dirty="0">
              <a:latin typeface="Lato Light" panose="020F0502020204030203" pitchFamily="34" charset="0"/>
            </a:endParaRPr>
          </a:p>
        </p:txBody>
      </p:sp>
      <p:sp>
        <p:nvSpPr>
          <p:cNvPr id="163" name="Freeform 740">
            <a:extLst>
              <a:ext uri="{FF2B5EF4-FFF2-40B4-BE49-F238E27FC236}">
                <a16:creationId xmlns:a16="http://schemas.microsoft.com/office/drawing/2014/main" id="{E8C05993-4BD1-C248-94D8-4FC821BE52C7}"/>
              </a:ext>
            </a:extLst>
          </p:cNvPr>
          <p:cNvSpPr>
            <a:spLocks noChangeArrowheads="1"/>
          </p:cNvSpPr>
          <p:nvPr/>
        </p:nvSpPr>
        <p:spPr bwMode="auto">
          <a:xfrm>
            <a:off x="10496747" y="3857147"/>
            <a:ext cx="292718" cy="284934"/>
          </a:xfrm>
          <a:custGeom>
            <a:avLst/>
            <a:gdLst>
              <a:gd name="T0" fmla="*/ 23019 w 298090"/>
              <a:gd name="T1" fmla="*/ 217078 h 290302"/>
              <a:gd name="T2" fmla="*/ 47162 w 298090"/>
              <a:gd name="T3" fmla="*/ 195228 h 290302"/>
              <a:gd name="T4" fmla="*/ 289090 w 298090"/>
              <a:gd name="T5" fmla="*/ 224759 h 290302"/>
              <a:gd name="T6" fmla="*/ 195847 w 298090"/>
              <a:gd name="T7" fmla="*/ 249247 h 290302"/>
              <a:gd name="T8" fmla="*/ 120244 w 298090"/>
              <a:gd name="T9" fmla="*/ 245286 h 290302"/>
              <a:gd name="T10" fmla="*/ 201607 w 298090"/>
              <a:gd name="T11" fmla="*/ 231601 h 290302"/>
              <a:gd name="T12" fmla="*/ 128165 w 298090"/>
              <a:gd name="T13" fmla="*/ 207113 h 290302"/>
              <a:gd name="T14" fmla="*/ 9000 w 298090"/>
              <a:gd name="T15" fmla="*/ 267614 h 290302"/>
              <a:gd name="T16" fmla="*/ 9000 w 298090"/>
              <a:gd name="T17" fmla="*/ 195228 h 290302"/>
              <a:gd name="T18" fmla="*/ 220477 w 298090"/>
              <a:gd name="T19" fmla="*/ 196294 h 290302"/>
              <a:gd name="T20" fmla="*/ 191395 w 298090"/>
              <a:gd name="T21" fmla="*/ 181830 h 290302"/>
              <a:gd name="T22" fmla="*/ 110688 w 298090"/>
              <a:gd name="T23" fmla="*/ 149051 h 290302"/>
              <a:gd name="T24" fmla="*/ 154979 w 298090"/>
              <a:gd name="T25" fmla="*/ 190113 h 290302"/>
              <a:gd name="T26" fmla="*/ 104259 w 298090"/>
              <a:gd name="T27" fmla="*/ 150492 h 290302"/>
              <a:gd name="T28" fmla="*/ 178138 w 298090"/>
              <a:gd name="T29" fmla="*/ 159781 h 290302"/>
              <a:gd name="T30" fmla="*/ 173173 w 298090"/>
              <a:gd name="T31" fmla="*/ 167542 h 290302"/>
              <a:gd name="T32" fmla="*/ 155085 w 298090"/>
              <a:gd name="T33" fmla="*/ 144259 h 290302"/>
              <a:gd name="T34" fmla="*/ 220823 w 298090"/>
              <a:gd name="T35" fmla="*/ 150453 h 290302"/>
              <a:gd name="T36" fmla="*/ 237590 w 298090"/>
              <a:gd name="T37" fmla="*/ 139196 h 290302"/>
              <a:gd name="T38" fmla="*/ 208694 w 298090"/>
              <a:gd name="T39" fmla="*/ 122854 h 290302"/>
              <a:gd name="T40" fmla="*/ 204413 w 298090"/>
              <a:gd name="T41" fmla="*/ 142101 h 290302"/>
              <a:gd name="T42" fmla="*/ 221180 w 298090"/>
              <a:gd name="T43" fmla="*/ 131206 h 290302"/>
              <a:gd name="T44" fmla="*/ 112223 w 298090"/>
              <a:gd name="T45" fmla="*/ 115684 h 290302"/>
              <a:gd name="T46" fmla="*/ 132793 w 298090"/>
              <a:gd name="T47" fmla="*/ 139320 h 290302"/>
              <a:gd name="T48" fmla="*/ 106194 w 298090"/>
              <a:gd name="T49" fmla="*/ 116742 h 290302"/>
              <a:gd name="T50" fmla="*/ 221894 w 298090"/>
              <a:gd name="T51" fmla="*/ 116680 h 290302"/>
              <a:gd name="T52" fmla="*/ 247579 w 298090"/>
              <a:gd name="T53" fmla="*/ 159169 h 290302"/>
              <a:gd name="T54" fmla="*/ 212618 w 298090"/>
              <a:gd name="T55" fmla="*/ 152995 h 290302"/>
              <a:gd name="T56" fmla="*/ 191214 w 298090"/>
              <a:gd name="T57" fmla="*/ 137017 h 290302"/>
              <a:gd name="T58" fmla="*/ 53474 w 298090"/>
              <a:gd name="T59" fmla="*/ 110936 h 290302"/>
              <a:gd name="T60" fmla="*/ 86763 w 298090"/>
              <a:gd name="T61" fmla="*/ 144079 h 290302"/>
              <a:gd name="T62" fmla="*/ 47100 w 298090"/>
              <a:gd name="T63" fmla="*/ 112005 h 290302"/>
              <a:gd name="T64" fmla="*/ 93529 w 298090"/>
              <a:gd name="T65" fmla="*/ 102631 h 290302"/>
              <a:gd name="T66" fmla="*/ 88382 w 298090"/>
              <a:gd name="T67" fmla="*/ 110039 h 290302"/>
              <a:gd name="T68" fmla="*/ 70000 w 298090"/>
              <a:gd name="T69" fmla="*/ 87109 h 290302"/>
              <a:gd name="T70" fmla="*/ 92138 w 298090"/>
              <a:gd name="T71" fmla="*/ 61776 h 290302"/>
              <a:gd name="T72" fmla="*/ 112734 w 298090"/>
              <a:gd name="T73" fmla="*/ 79118 h 290302"/>
              <a:gd name="T74" fmla="*/ 125517 w 298090"/>
              <a:gd name="T75" fmla="*/ 64305 h 290302"/>
              <a:gd name="T76" fmla="*/ 103501 w 298090"/>
              <a:gd name="T77" fmla="*/ 46963 h 290302"/>
              <a:gd name="T78" fmla="*/ 132619 w 298090"/>
              <a:gd name="T79" fmla="*/ 69363 h 290302"/>
              <a:gd name="T80" fmla="*/ 114154 w 298090"/>
              <a:gd name="T81" fmla="*/ 88511 h 290302"/>
              <a:gd name="T82" fmla="*/ 82905 w 298090"/>
              <a:gd name="T83" fmla="*/ 65028 h 290302"/>
              <a:gd name="T84" fmla="*/ 109893 w 298090"/>
              <a:gd name="T85" fmla="*/ 39737 h 290302"/>
              <a:gd name="T86" fmla="*/ 281530 w 298090"/>
              <a:gd name="T87" fmla="*/ 118521 h 290302"/>
              <a:gd name="T88" fmla="*/ 274329 w 298090"/>
              <a:gd name="T89" fmla="*/ 197389 h 290302"/>
              <a:gd name="T90" fmla="*/ 292330 w 298090"/>
              <a:gd name="T91" fmla="*/ 213595 h 290302"/>
              <a:gd name="T92" fmla="*/ 135725 w 298090"/>
              <a:gd name="T93" fmla="*/ 290302 h 290302"/>
              <a:gd name="T94" fmla="*/ 0 w 298090"/>
              <a:gd name="T95" fmla="*/ 272296 h 290302"/>
              <a:gd name="T96" fmla="*/ 42482 w 298090"/>
              <a:gd name="T97" fmla="*/ 186585 h 290302"/>
              <a:gd name="T98" fmla="*/ 204847 w 298090"/>
              <a:gd name="T99" fmla="*/ 213235 h 290302"/>
              <a:gd name="T100" fmla="*/ 263169 w 298090"/>
              <a:gd name="T101" fmla="*/ 218277 h 290302"/>
              <a:gd name="T102" fmla="*/ 268569 w 298090"/>
              <a:gd name="T103" fmla="*/ 204591 h 290302"/>
              <a:gd name="T104" fmla="*/ 240488 w 298090"/>
              <a:gd name="T105" fmla="*/ 217916 h 290302"/>
              <a:gd name="T106" fmla="*/ 233288 w 298090"/>
              <a:gd name="T107" fmla="*/ 212875 h 290302"/>
              <a:gd name="T108" fmla="*/ 109444 w 298090"/>
              <a:gd name="T109" fmla="*/ 11563 h 290302"/>
              <a:gd name="T110" fmla="*/ 27001 w 298090"/>
              <a:gd name="T111" fmla="*/ 131846 h 290302"/>
              <a:gd name="T112" fmla="*/ 79563 w 298090"/>
              <a:gd name="T113" fmla="*/ 179022 h 290302"/>
              <a:gd name="T114" fmla="*/ 82803 w 298090"/>
              <a:gd name="T115" fmla="*/ 9762 h 290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090" h="290302">
                <a:moveTo>
                  <a:pt x="23019" y="206348"/>
                </a:moveTo>
                <a:cubicBezTo>
                  <a:pt x="25982" y="206348"/>
                  <a:pt x="28205" y="208647"/>
                  <a:pt x="28205" y="211713"/>
                </a:cubicBezTo>
                <a:cubicBezTo>
                  <a:pt x="28205" y="214779"/>
                  <a:pt x="25982" y="217078"/>
                  <a:pt x="23019" y="217078"/>
                </a:cubicBezTo>
                <a:cubicBezTo>
                  <a:pt x="20055" y="217078"/>
                  <a:pt x="17462" y="214779"/>
                  <a:pt x="17462" y="211713"/>
                </a:cubicBezTo>
                <a:cubicBezTo>
                  <a:pt x="17462" y="208647"/>
                  <a:pt x="20055" y="206348"/>
                  <a:pt x="23019" y="206348"/>
                </a:cubicBezTo>
                <a:close/>
                <a:moveTo>
                  <a:pt x="47162" y="195228"/>
                </a:moveTo>
                <a:lnTo>
                  <a:pt x="47162" y="268694"/>
                </a:lnTo>
                <a:cubicBezTo>
                  <a:pt x="67683" y="275177"/>
                  <a:pt x="189367" y="307588"/>
                  <a:pt x="281890" y="234482"/>
                </a:cubicBezTo>
                <a:cubicBezTo>
                  <a:pt x="283690" y="233042"/>
                  <a:pt x="289090" y="228720"/>
                  <a:pt x="289090" y="224759"/>
                </a:cubicBezTo>
                <a:cubicBezTo>
                  <a:pt x="289090" y="223678"/>
                  <a:pt x="289090" y="222238"/>
                  <a:pt x="286570" y="220437"/>
                </a:cubicBezTo>
                <a:cubicBezTo>
                  <a:pt x="284770" y="218997"/>
                  <a:pt x="275769" y="222598"/>
                  <a:pt x="266769" y="226559"/>
                </a:cubicBezTo>
                <a:cubicBezTo>
                  <a:pt x="252009" y="232682"/>
                  <a:pt x="229328" y="242405"/>
                  <a:pt x="195847" y="249247"/>
                </a:cubicBezTo>
                <a:cubicBezTo>
                  <a:pt x="188287" y="251768"/>
                  <a:pt x="177846" y="253209"/>
                  <a:pt x="164166" y="253209"/>
                </a:cubicBezTo>
                <a:cubicBezTo>
                  <a:pt x="153005" y="253209"/>
                  <a:pt x="139685" y="252489"/>
                  <a:pt x="123844" y="250328"/>
                </a:cubicBezTo>
                <a:cubicBezTo>
                  <a:pt x="121684" y="249968"/>
                  <a:pt x="119524" y="247807"/>
                  <a:pt x="120244" y="245286"/>
                </a:cubicBezTo>
                <a:cubicBezTo>
                  <a:pt x="120244" y="242765"/>
                  <a:pt x="122764" y="241325"/>
                  <a:pt x="125284" y="241325"/>
                </a:cubicBezTo>
                <a:cubicBezTo>
                  <a:pt x="165966" y="246727"/>
                  <a:pt x="184326" y="243846"/>
                  <a:pt x="192967" y="240604"/>
                </a:cubicBezTo>
                <a:cubicBezTo>
                  <a:pt x="201247" y="237363"/>
                  <a:pt x="201247" y="233402"/>
                  <a:pt x="201607" y="231601"/>
                </a:cubicBezTo>
                <a:cubicBezTo>
                  <a:pt x="201607" y="226199"/>
                  <a:pt x="200527" y="222238"/>
                  <a:pt x="198367" y="219717"/>
                </a:cubicBezTo>
                <a:cubicBezTo>
                  <a:pt x="195127" y="216476"/>
                  <a:pt x="189727" y="216476"/>
                  <a:pt x="189727" y="216476"/>
                </a:cubicBezTo>
                <a:cubicBezTo>
                  <a:pt x="145445" y="217196"/>
                  <a:pt x="137525" y="212515"/>
                  <a:pt x="128165" y="207113"/>
                </a:cubicBezTo>
                <a:cubicBezTo>
                  <a:pt x="119164" y="201710"/>
                  <a:pt x="108724" y="195948"/>
                  <a:pt x="47162" y="195228"/>
                </a:cubicBezTo>
                <a:close/>
                <a:moveTo>
                  <a:pt x="9000" y="195228"/>
                </a:moveTo>
                <a:lnTo>
                  <a:pt x="9000" y="267614"/>
                </a:lnTo>
                <a:lnTo>
                  <a:pt x="38162" y="267614"/>
                </a:lnTo>
                <a:lnTo>
                  <a:pt x="38162" y="195228"/>
                </a:lnTo>
                <a:lnTo>
                  <a:pt x="9000" y="195228"/>
                </a:lnTo>
                <a:close/>
                <a:moveTo>
                  <a:pt x="196360" y="174422"/>
                </a:moveTo>
                <a:lnTo>
                  <a:pt x="219413" y="189944"/>
                </a:lnTo>
                <a:cubicBezTo>
                  <a:pt x="221541" y="191708"/>
                  <a:pt x="221896" y="194177"/>
                  <a:pt x="220477" y="196294"/>
                </a:cubicBezTo>
                <a:cubicBezTo>
                  <a:pt x="219768" y="197705"/>
                  <a:pt x="218349" y="198058"/>
                  <a:pt x="216930" y="198058"/>
                </a:cubicBezTo>
                <a:cubicBezTo>
                  <a:pt x="215866" y="198058"/>
                  <a:pt x="215157" y="198058"/>
                  <a:pt x="214448" y="197705"/>
                </a:cubicBezTo>
                <a:lnTo>
                  <a:pt x="191395" y="181830"/>
                </a:lnTo>
                <a:cubicBezTo>
                  <a:pt x="189622" y="180772"/>
                  <a:pt x="188912" y="177597"/>
                  <a:pt x="190331" y="175833"/>
                </a:cubicBezTo>
                <a:cubicBezTo>
                  <a:pt x="191750" y="173716"/>
                  <a:pt x="194587" y="173011"/>
                  <a:pt x="196360" y="174422"/>
                </a:cubicBezTo>
                <a:close/>
                <a:moveTo>
                  <a:pt x="110688" y="149051"/>
                </a:moveTo>
                <a:lnTo>
                  <a:pt x="157480" y="181828"/>
                </a:lnTo>
                <a:cubicBezTo>
                  <a:pt x="159623" y="182909"/>
                  <a:pt x="159980" y="186151"/>
                  <a:pt x="158908" y="187951"/>
                </a:cubicBezTo>
                <a:cubicBezTo>
                  <a:pt x="157837" y="189392"/>
                  <a:pt x="156408" y="190113"/>
                  <a:pt x="154979" y="190113"/>
                </a:cubicBezTo>
                <a:cubicBezTo>
                  <a:pt x="154265" y="190113"/>
                  <a:pt x="153551" y="189752"/>
                  <a:pt x="152479" y="189032"/>
                </a:cubicBezTo>
                <a:lnTo>
                  <a:pt x="105688" y="156615"/>
                </a:lnTo>
                <a:cubicBezTo>
                  <a:pt x="103544" y="155175"/>
                  <a:pt x="103187" y="152293"/>
                  <a:pt x="104259" y="150492"/>
                </a:cubicBezTo>
                <a:cubicBezTo>
                  <a:pt x="105688" y="148331"/>
                  <a:pt x="108545" y="147611"/>
                  <a:pt x="110688" y="149051"/>
                </a:cubicBezTo>
                <a:close/>
                <a:moveTo>
                  <a:pt x="155085" y="144259"/>
                </a:moveTo>
                <a:lnTo>
                  <a:pt x="178138" y="159781"/>
                </a:lnTo>
                <a:cubicBezTo>
                  <a:pt x="180266" y="161545"/>
                  <a:pt x="180621" y="164014"/>
                  <a:pt x="179202" y="166131"/>
                </a:cubicBezTo>
                <a:cubicBezTo>
                  <a:pt x="178138" y="167542"/>
                  <a:pt x="177074" y="167895"/>
                  <a:pt x="175655" y="167895"/>
                </a:cubicBezTo>
                <a:cubicBezTo>
                  <a:pt x="174591" y="167895"/>
                  <a:pt x="173882" y="167895"/>
                  <a:pt x="173173" y="167542"/>
                </a:cubicBezTo>
                <a:lnTo>
                  <a:pt x="150120" y="151667"/>
                </a:lnTo>
                <a:cubicBezTo>
                  <a:pt x="147992" y="150256"/>
                  <a:pt x="147637" y="147434"/>
                  <a:pt x="148701" y="145670"/>
                </a:cubicBezTo>
                <a:cubicBezTo>
                  <a:pt x="150475" y="143553"/>
                  <a:pt x="152957" y="142848"/>
                  <a:pt x="155085" y="144259"/>
                </a:cubicBezTo>
                <a:close/>
                <a:moveTo>
                  <a:pt x="229742" y="137017"/>
                </a:moveTo>
                <a:cubicBezTo>
                  <a:pt x="229385" y="139922"/>
                  <a:pt x="228315" y="142464"/>
                  <a:pt x="226888" y="144643"/>
                </a:cubicBezTo>
                <a:cubicBezTo>
                  <a:pt x="225104" y="146822"/>
                  <a:pt x="223320" y="148638"/>
                  <a:pt x="220823" y="150453"/>
                </a:cubicBezTo>
                <a:cubicBezTo>
                  <a:pt x="221537" y="152995"/>
                  <a:pt x="222964" y="155174"/>
                  <a:pt x="225461" y="156627"/>
                </a:cubicBezTo>
                <a:cubicBezTo>
                  <a:pt x="230099" y="160258"/>
                  <a:pt x="236877" y="158806"/>
                  <a:pt x="240087" y="154085"/>
                </a:cubicBezTo>
                <a:cubicBezTo>
                  <a:pt x="243655" y="149001"/>
                  <a:pt x="242228" y="142464"/>
                  <a:pt x="237590" y="139196"/>
                </a:cubicBezTo>
                <a:cubicBezTo>
                  <a:pt x="235093" y="137380"/>
                  <a:pt x="232596" y="136654"/>
                  <a:pt x="229742" y="137017"/>
                </a:cubicBezTo>
                <a:close/>
                <a:moveTo>
                  <a:pt x="210478" y="122491"/>
                </a:moveTo>
                <a:cubicBezTo>
                  <a:pt x="210121" y="122491"/>
                  <a:pt x="209408" y="122491"/>
                  <a:pt x="208694" y="122854"/>
                </a:cubicBezTo>
                <a:cubicBezTo>
                  <a:pt x="205840" y="123217"/>
                  <a:pt x="203343" y="125033"/>
                  <a:pt x="201916" y="127212"/>
                </a:cubicBezTo>
                <a:cubicBezTo>
                  <a:pt x="200132" y="129754"/>
                  <a:pt x="199419" y="132296"/>
                  <a:pt x="200132" y="135564"/>
                </a:cubicBezTo>
                <a:cubicBezTo>
                  <a:pt x="200489" y="138106"/>
                  <a:pt x="202273" y="140648"/>
                  <a:pt x="204413" y="142101"/>
                </a:cubicBezTo>
                <a:cubicBezTo>
                  <a:pt x="206910" y="143917"/>
                  <a:pt x="209764" y="144643"/>
                  <a:pt x="212618" y="143917"/>
                </a:cubicBezTo>
                <a:cubicBezTo>
                  <a:pt x="215115" y="143554"/>
                  <a:pt x="217613" y="141738"/>
                  <a:pt x="219396" y="139559"/>
                </a:cubicBezTo>
                <a:cubicBezTo>
                  <a:pt x="220823" y="137017"/>
                  <a:pt x="221537" y="134112"/>
                  <a:pt x="221180" y="131206"/>
                </a:cubicBezTo>
                <a:cubicBezTo>
                  <a:pt x="220467" y="128664"/>
                  <a:pt x="219040" y="126122"/>
                  <a:pt x="216542" y="124670"/>
                </a:cubicBezTo>
                <a:cubicBezTo>
                  <a:pt x="214759" y="123217"/>
                  <a:pt x="212618" y="122491"/>
                  <a:pt x="210478" y="122491"/>
                </a:cubicBezTo>
                <a:close/>
                <a:moveTo>
                  <a:pt x="112223" y="115684"/>
                </a:moveTo>
                <a:lnTo>
                  <a:pt x="135275" y="131206"/>
                </a:lnTo>
                <a:cubicBezTo>
                  <a:pt x="137048" y="132970"/>
                  <a:pt x="137758" y="135439"/>
                  <a:pt x="136339" y="137556"/>
                </a:cubicBezTo>
                <a:cubicBezTo>
                  <a:pt x="135275" y="138967"/>
                  <a:pt x="133856" y="139320"/>
                  <a:pt x="132793" y="139320"/>
                </a:cubicBezTo>
                <a:cubicBezTo>
                  <a:pt x="131729" y="139320"/>
                  <a:pt x="130665" y="139320"/>
                  <a:pt x="130310" y="138614"/>
                </a:cubicBezTo>
                <a:lnTo>
                  <a:pt x="107258" y="123092"/>
                </a:lnTo>
                <a:cubicBezTo>
                  <a:pt x="105130" y="121681"/>
                  <a:pt x="104775" y="118859"/>
                  <a:pt x="106194" y="116742"/>
                </a:cubicBezTo>
                <a:cubicBezTo>
                  <a:pt x="107612" y="114978"/>
                  <a:pt x="110095" y="114273"/>
                  <a:pt x="112223" y="115684"/>
                </a:cubicBezTo>
                <a:close/>
                <a:moveTo>
                  <a:pt x="206910" y="113775"/>
                </a:moveTo>
                <a:cubicBezTo>
                  <a:pt x="212261" y="112686"/>
                  <a:pt x="217256" y="113775"/>
                  <a:pt x="221894" y="116680"/>
                </a:cubicBezTo>
                <a:cubicBezTo>
                  <a:pt x="225461" y="119586"/>
                  <a:pt x="228315" y="123580"/>
                  <a:pt x="229385" y="128301"/>
                </a:cubicBezTo>
                <a:cubicBezTo>
                  <a:pt x="234023" y="127575"/>
                  <a:pt x="238304" y="128664"/>
                  <a:pt x="242585" y="131206"/>
                </a:cubicBezTo>
                <a:cubicBezTo>
                  <a:pt x="251146" y="137743"/>
                  <a:pt x="253644" y="150090"/>
                  <a:pt x="247579" y="159169"/>
                </a:cubicBezTo>
                <a:cubicBezTo>
                  <a:pt x="243655" y="164979"/>
                  <a:pt x="237590" y="167885"/>
                  <a:pt x="231169" y="167885"/>
                </a:cubicBezTo>
                <a:cubicBezTo>
                  <a:pt x="227245" y="167885"/>
                  <a:pt x="223677" y="166795"/>
                  <a:pt x="220110" y="164253"/>
                </a:cubicBezTo>
                <a:cubicBezTo>
                  <a:pt x="216542" y="161711"/>
                  <a:pt x="213688" y="157716"/>
                  <a:pt x="212618" y="152995"/>
                </a:cubicBezTo>
                <a:cubicBezTo>
                  <a:pt x="211905" y="152995"/>
                  <a:pt x="211191" y="153359"/>
                  <a:pt x="210478" y="153359"/>
                </a:cubicBezTo>
                <a:cubicBezTo>
                  <a:pt x="206554" y="153359"/>
                  <a:pt x="202986" y="151906"/>
                  <a:pt x="199419" y="150090"/>
                </a:cubicBezTo>
                <a:cubicBezTo>
                  <a:pt x="195138" y="146822"/>
                  <a:pt x="192284" y="142101"/>
                  <a:pt x="191214" y="137017"/>
                </a:cubicBezTo>
                <a:cubicBezTo>
                  <a:pt x="190500" y="131933"/>
                  <a:pt x="191570" y="126485"/>
                  <a:pt x="194424" y="122128"/>
                </a:cubicBezTo>
                <a:cubicBezTo>
                  <a:pt x="197635" y="117770"/>
                  <a:pt x="201916" y="114865"/>
                  <a:pt x="206910" y="113775"/>
                </a:cubicBezTo>
                <a:close/>
                <a:moveTo>
                  <a:pt x="53474" y="110936"/>
                </a:moveTo>
                <a:lnTo>
                  <a:pt x="89242" y="135883"/>
                </a:lnTo>
                <a:cubicBezTo>
                  <a:pt x="91367" y="137308"/>
                  <a:pt x="91721" y="139803"/>
                  <a:pt x="90305" y="141941"/>
                </a:cubicBezTo>
                <a:cubicBezTo>
                  <a:pt x="89596" y="143367"/>
                  <a:pt x="88180" y="144079"/>
                  <a:pt x="86763" y="144079"/>
                </a:cubicBezTo>
                <a:cubicBezTo>
                  <a:pt x="86055" y="144079"/>
                  <a:pt x="84992" y="143723"/>
                  <a:pt x="84284" y="143010"/>
                </a:cubicBezTo>
                <a:lnTo>
                  <a:pt x="48516" y="118420"/>
                </a:lnTo>
                <a:cubicBezTo>
                  <a:pt x="46391" y="116995"/>
                  <a:pt x="46037" y="114144"/>
                  <a:pt x="47100" y="112005"/>
                </a:cubicBezTo>
                <a:cubicBezTo>
                  <a:pt x="48516" y="109867"/>
                  <a:pt x="51349" y="109511"/>
                  <a:pt x="53474" y="110936"/>
                </a:cubicBezTo>
                <a:close/>
                <a:moveTo>
                  <a:pt x="70000" y="87109"/>
                </a:moveTo>
                <a:lnTo>
                  <a:pt x="93529" y="102631"/>
                </a:lnTo>
                <a:cubicBezTo>
                  <a:pt x="95734" y="104042"/>
                  <a:pt x="96470" y="106864"/>
                  <a:pt x="94999" y="108981"/>
                </a:cubicBezTo>
                <a:cubicBezTo>
                  <a:pt x="93896" y="110392"/>
                  <a:pt x="92426" y="110745"/>
                  <a:pt x="90955" y="110745"/>
                </a:cubicBezTo>
                <a:cubicBezTo>
                  <a:pt x="90220" y="110745"/>
                  <a:pt x="89117" y="110745"/>
                  <a:pt x="88382" y="110039"/>
                </a:cubicBezTo>
                <a:lnTo>
                  <a:pt x="64486" y="94517"/>
                </a:lnTo>
                <a:cubicBezTo>
                  <a:pt x="62648" y="93106"/>
                  <a:pt x="61912" y="90284"/>
                  <a:pt x="63383" y="88167"/>
                </a:cubicBezTo>
                <a:cubicBezTo>
                  <a:pt x="65221" y="86403"/>
                  <a:pt x="67794" y="85698"/>
                  <a:pt x="70000" y="87109"/>
                </a:cubicBezTo>
                <a:close/>
                <a:moveTo>
                  <a:pt x="103501" y="46963"/>
                </a:moveTo>
                <a:cubicBezTo>
                  <a:pt x="102791" y="46963"/>
                  <a:pt x="102081" y="47324"/>
                  <a:pt x="101726" y="47686"/>
                </a:cubicBezTo>
                <a:lnTo>
                  <a:pt x="92138" y="61776"/>
                </a:lnTo>
                <a:cubicBezTo>
                  <a:pt x="91783" y="62860"/>
                  <a:pt x="91783" y="63221"/>
                  <a:pt x="91783" y="63582"/>
                </a:cubicBezTo>
                <a:cubicBezTo>
                  <a:pt x="92138" y="63944"/>
                  <a:pt x="92138" y="64666"/>
                  <a:pt x="92848" y="65028"/>
                </a:cubicBezTo>
                <a:lnTo>
                  <a:pt x="112734" y="79118"/>
                </a:lnTo>
                <a:cubicBezTo>
                  <a:pt x="113444" y="79479"/>
                  <a:pt x="114154" y="79479"/>
                  <a:pt x="114509" y="79479"/>
                </a:cubicBezTo>
                <a:cubicBezTo>
                  <a:pt x="114864" y="79118"/>
                  <a:pt x="115219" y="79118"/>
                  <a:pt x="115930" y="78395"/>
                </a:cubicBezTo>
                <a:lnTo>
                  <a:pt x="125517" y="64305"/>
                </a:lnTo>
                <a:cubicBezTo>
                  <a:pt x="125872" y="63221"/>
                  <a:pt x="125872" y="62137"/>
                  <a:pt x="124807" y="61053"/>
                </a:cubicBezTo>
                <a:lnTo>
                  <a:pt x="104566" y="47324"/>
                </a:lnTo>
                <a:cubicBezTo>
                  <a:pt x="104211" y="46963"/>
                  <a:pt x="103856" y="46963"/>
                  <a:pt x="103501" y="46963"/>
                </a:cubicBezTo>
                <a:close/>
                <a:moveTo>
                  <a:pt x="109893" y="39737"/>
                </a:moveTo>
                <a:lnTo>
                  <a:pt x="129778" y="53828"/>
                </a:lnTo>
                <a:cubicBezTo>
                  <a:pt x="135105" y="57441"/>
                  <a:pt x="136170" y="64305"/>
                  <a:pt x="132619" y="69363"/>
                </a:cubicBezTo>
                <a:lnTo>
                  <a:pt x="123387" y="83453"/>
                </a:lnTo>
                <a:cubicBezTo>
                  <a:pt x="121611" y="85982"/>
                  <a:pt x="119125" y="87789"/>
                  <a:pt x="116285" y="88511"/>
                </a:cubicBezTo>
                <a:cubicBezTo>
                  <a:pt x="115219" y="88511"/>
                  <a:pt x="114864" y="88511"/>
                  <a:pt x="114154" y="88511"/>
                </a:cubicBezTo>
                <a:cubicBezTo>
                  <a:pt x="111668" y="88511"/>
                  <a:pt x="109893" y="87789"/>
                  <a:pt x="107762" y="86344"/>
                </a:cubicBezTo>
                <a:lnTo>
                  <a:pt x="87877" y="72253"/>
                </a:lnTo>
                <a:cubicBezTo>
                  <a:pt x="85391" y="70808"/>
                  <a:pt x="83616" y="68279"/>
                  <a:pt x="82905" y="65028"/>
                </a:cubicBezTo>
                <a:cubicBezTo>
                  <a:pt x="82550" y="62137"/>
                  <a:pt x="83260" y="59247"/>
                  <a:pt x="85036" y="56718"/>
                </a:cubicBezTo>
                <a:lnTo>
                  <a:pt x="94269" y="42628"/>
                </a:lnTo>
                <a:cubicBezTo>
                  <a:pt x="97819" y="37570"/>
                  <a:pt x="104566" y="36486"/>
                  <a:pt x="109893" y="39737"/>
                </a:cubicBezTo>
                <a:close/>
                <a:moveTo>
                  <a:pt x="97429" y="399"/>
                </a:moveTo>
                <a:cubicBezTo>
                  <a:pt x="103144" y="-681"/>
                  <a:pt x="109264" y="399"/>
                  <a:pt x="114484" y="4000"/>
                </a:cubicBezTo>
                <a:lnTo>
                  <a:pt x="281530" y="118521"/>
                </a:lnTo>
                <a:cubicBezTo>
                  <a:pt x="291970" y="125723"/>
                  <a:pt x="294490" y="139768"/>
                  <a:pt x="287290" y="150212"/>
                </a:cubicBezTo>
                <a:lnTo>
                  <a:pt x="253809" y="199189"/>
                </a:lnTo>
                <a:cubicBezTo>
                  <a:pt x="263169" y="195228"/>
                  <a:pt x="269649" y="194148"/>
                  <a:pt x="274329" y="197389"/>
                </a:cubicBezTo>
                <a:cubicBezTo>
                  <a:pt x="279010" y="200990"/>
                  <a:pt x="280090" y="205311"/>
                  <a:pt x="280090" y="208193"/>
                </a:cubicBezTo>
                <a:cubicBezTo>
                  <a:pt x="280450" y="209273"/>
                  <a:pt x="280090" y="210714"/>
                  <a:pt x="279730" y="211794"/>
                </a:cubicBezTo>
                <a:cubicBezTo>
                  <a:pt x="285130" y="210714"/>
                  <a:pt x="289090" y="210714"/>
                  <a:pt x="292330" y="213595"/>
                </a:cubicBezTo>
                <a:cubicBezTo>
                  <a:pt x="297370" y="217556"/>
                  <a:pt x="298090" y="222238"/>
                  <a:pt x="298090" y="225119"/>
                </a:cubicBezTo>
                <a:cubicBezTo>
                  <a:pt x="297370" y="234122"/>
                  <a:pt x="288010" y="240965"/>
                  <a:pt x="286930" y="241685"/>
                </a:cubicBezTo>
                <a:cubicBezTo>
                  <a:pt x="238688" y="279858"/>
                  <a:pt x="182166" y="290302"/>
                  <a:pt x="135725" y="290302"/>
                </a:cubicBezTo>
                <a:cubicBezTo>
                  <a:pt x="86043" y="290302"/>
                  <a:pt x="47522" y="278418"/>
                  <a:pt x="41762" y="276617"/>
                </a:cubicBezTo>
                <a:lnTo>
                  <a:pt x="4680" y="276617"/>
                </a:lnTo>
                <a:cubicBezTo>
                  <a:pt x="2160" y="276617"/>
                  <a:pt x="0" y="274817"/>
                  <a:pt x="0" y="272296"/>
                </a:cubicBezTo>
                <a:lnTo>
                  <a:pt x="0" y="190906"/>
                </a:lnTo>
                <a:cubicBezTo>
                  <a:pt x="0" y="188385"/>
                  <a:pt x="2160" y="186585"/>
                  <a:pt x="4680" y="186585"/>
                </a:cubicBezTo>
                <a:lnTo>
                  <a:pt x="42482" y="186585"/>
                </a:lnTo>
                <a:cubicBezTo>
                  <a:pt x="110524" y="186585"/>
                  <a:pt x="122404" y="193427"/>
                  <a:pt x="132485" y="199549"/>
                </a:cubicBezTo>
                <a:cubicBezTo>
                  <a:pt x="140765" y="204231"/>
                  <a:pt x="147965" y="208193"/>
                  <a:pt x="189367" y="207473"/>
                </a:cubicBezTo>
                <a:cubicBezTo>
                  <a:pt x="189367" y="207473"/>
                  <a:pt x="198367" y="207113"/>
                  <a:pt x="204847" y="213235"/>
                </a:cubicBezTo>
                <a:cubicBezTo>
                  <a:pt x="208807" y="217916"/>
                  <a:pt x="210967" y="224039"/>
                  <a:pt x="210247" y="232322"/>
                </a:cubicBezTo>
                <a:cubicBezTo>
                  <a:pt x="210247" y="233762"/>
                  <a:pt x="210247" y="235203"/>
                  <a:pt x="209527" y="236643"/>
                </a:cubicBezTo>
                <a:cubicBezTo>
                  <a:pt x="234008" y="230881"/>
                  <a:pt x="250929" y="223318"/>
                  <a:pt x="263169" y="218277"/>
                </a:cubicBezTo>
                <a:cubicBezTo>
                  <a:pt x="264249" y="217916"/>
                  <a:pt x="264969" y="217196"/>
                  <a:pt x="266409" y="216836"/>
                </a:cubicBezTo>
                <a:cubicBezTo>
                  <a:pt x="269289" y="213595"/>
                  <a:pt x="271449" y="210714"/>
                  <a:pt x="271449" y="208553"/>
                </a:cubicBezTo>
                <a:cubicBezTo>
                  <a:pt x="271449" y="208193"/>
                  <a:pt x="271089" y="206752"/>
                  <a:pt x="268569" y="204591"/>
                </a:cubicBezTo>
                <a:cubicBezTo>
                  <a:pt x="266409" y="203511"/>
                  <a:pt x="255249" y="208193"/>
                  <a:pt x="246969" y="211794"/>
                </a:cubicBezTo>
                <a:lnTo>
                  <a:pt x="244088" y="212875"/>
                </a:lnTo>
                <a:lnTo>
                  <a:pt x="240488" y="217916"/>
                </a:lnTo>
                <a:cubicBezTo>
                  <a:pt x="239768" y="219717"/>
                  <a:pt x="238328" y="220077"/>
                  <a:pt x="236888" y="220077"/>
                </a:cubicBezTo>
                <a:cubicBezTo>
                  <a:pt x="235808" y="220077"/>
                  <a:pt x="235088" y="220077"/>
                  <a:pt x="234728" y="219357"/>
                </a:cubicBezTo>
                <a:cubicBezTo>
                  <a:pt x="232208" y="217916"/>
                  <a:pt x="231848" y="215035"/>
                  <a:pt x="233288" y="212875"/>
                </a:cubicBezTo>
                <a:lnTo>
                  <a:pt x="279730" y="145170"/>
                </a:lnTo>
                <a:cubicBezTo>
                  <a:pt x="284050" y="139048"/>
                  <a:pt x="282610" y="130405"/>
                  <a:pt x="276489" y="126083"/>
                </a:cubicBezTo>
                <a:lnTo>
                  <a:pt x="109444" y="11563"/>
                </a:lnTo>
                <a:cubicBezTo>
                  <a:pt x="103324" y="7241"/>
                  <a:pt x="94683" y="8682"/>
                  <a:pt x="90363" y="15164"/>
                </a:cubicBezTo>
                <a:lnTo>
                  <a:pt x="23401" y="112759"/>
                </a:lnTo>
                <a:cubicBezTo>
                  <a:pt x="19081" y="118881"/>
                  <a:pt x="20521" y="127524"/>
                  <a:pt x="27001" y="131846"/>
                </a:cubicBezTo>
                <a:lnTo>
                  <a:pt x="84963" y="171460"/>
                </a:lnTo>
                <a:cubicBezTo>
                  <a:pt x="86763" y="172900"/>
                  <a:pt x="87483" y="175781"/>
                  <a:pt x="86043" y="177942"/>
                </a:cubicBezTo>
                <a:cubicBezTo>
                  <a:pt x="84603" y="180103"/>
                  <a:pt x="81723" y="180463"/>
                  <a:pt x="79563" y="179022"/>
                </a:cubicBezTo>
                <a:lnTo>
                  <a:pt x="21601" y="139048"/>
                </a:lnTo>
                <a:cubicBezTo>
                  <a:pt x="11520" y="132206"/>
                  <a:pt x="8640" y="118161"/>
                  <a:pt x="15840" y="107717"/>
                </a:cubicBezTo>
                <a:lnTo>
                  <a:pt x="82803" y="9762"/>
                </a:lnTo>
                <a:cubicBezTo>
                  <a:pt x="86403" y="4721"/>
                  <a:pt x="91713" y="1479"/>
                  <a:pt x="97429" y="399"/>
                </a:cubicBezTo>
                <a:close/>
              </a:path>
            </a:pathLst>
          </a:custGeom>
          <a:solidFill>
            <a:schemeClr val="tx2"/>
          </a:solidFill>
          <a:ln>
            <a:noFill/>
          </a:ln>
          <a:effectLst/>
        </p:spPr>
        <p:txBody>
          <a:bodyPr anchor="ctr"/>
          <a:lstStyle/>
          <a:p>
            <a:endParaRPr lang="en-US" sz="900" dirty="0">
              <a:latin typeface="Lato Light" panose="020F0502020204030203" pitchFamily="34" charset="0"/>
            </a:endParaRPr>
          </a:p>
        </p:txBody>
      </p:sp>
      <p:sp>
        <p:nvSpPr>
          <p:cNvPr id="164" name="Subtitle 2">
            <a:extLst>
              <a:ext uri="{FF2B5EF4-FFF2-40B4-BE49-F238E27FC236}">
                <a16:creationId xmlns:a16="http://schemas.microsoft.com/office/drawing/2014/main" id="{3746524E-DF09-E540-972E-EA59CD856929}"/>
              </a:ext>
            </a:extLst>
          </p:cNvPr>
          <p:cNvSpPr txBox="1">
            <a:spLocks/>
          </p:cNvSpPr>
          <p:nvPr/>
        </p:nvSpPr>
        <p:spPr>
          <a:xfrm>
            <a:off x="1018888" y="4173113"/>
            <a:ext cx="1058822" cy="35394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a:t>
            </a:r>
          </a:p>
        </p:txBody>
      </p:sp>
      <p:sp>
        <p:nvSpPr>
          <p:cNvPr id="165" name="Subtitle 2">
            <a:extLst>
              <a:ext uri="{FF2B5EF4-FFF2-40B4-BE49-F238E27FC236}">
                <a16:creationId xmlns:a16="http://schemas.microsoft.com/office/drawing/2014/main" id="{3795424B-9155-5544-A9B7-00A22582E962}"/>
              </a:ext>
            </a:extLst>
          </p:cNvPr>
          <p:cNvSpPr txBox="1">
            <a:spLocks/>
          </p:cNvSpPr>
          <p:nvPr/>
        </p:nvSpPr>
        <p:spPr>
          <a:xfrm>
            <a:off x="2688375" y="1589427"/>
            <a:ext cx="1058822" cy="35394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a:t>
            </a:r>
          </a:p>
        </p:txBody>
      </p:sp>
      <p:sp>
        <p:nvSpPr>
          <p:cNvPr id="166" name="Subtitle 2">
            <a:extLst>
              <a:ext uri="{FF2B5EF4-FFF2-40B4-BE49-F238E27FC236}">
                <a16:creationId xmlns:a16="http://schemas.microsoft.com/office/drawing/2014/main" id="{4705D4B3-8FB0-5449-B3C8-09018458018D}"/>
              </a:ext>
            </a:extLst>
          </p:cNvPr>
          <p:cNvSpPr txBox="1">
            <a:spLocks/>
          </p:cNvSpPr>
          <p:nvPr/>
        </p:nvSpPr>
        <p:spPr>
          <a:xfrm>
            <a:off x="5515399" y="2357433"/>
            <a:ext cx="1058822" cy="35394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a:t>
            </a:r>
          </a:p>
        </p:txBody>
      </p:sp>
      <p:sp>
        <p:nvSpPr>
          <p:cNvPr id="167" name="Subtitle 2">
            <a:extLst>
              <a:ext uri="{FF2B5EF4-FFF2-40B4-BE49-F238E27FC236}">
                <a16:creationId xmlns:a16="http://schemas.microsoft.com/office/drawing/2014/main" id="{9CB8AB4C-2F7F-3748-9FEE-4E1C1F9AC278}"/>
              </a:ext>
            </a:extLst>
          </p:cNvPr>
          <p:cNvSpPr txBox="1">
            <a:spLocks/>
          </p:cNvSpPr>
          <p:nvPr/>
        </p:nvSpPr>
        <p:spPr>
          <a:xfrm>
            <a:off x="9270137" y="1582176"/>
            <a:ext cx="1058822" cy="35394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a:t>
            </a:r>
          </a:p>
        </p:txBody>
      </p:sp>
      <p:sp>
        <p:nvSpPr>
          <p:cNvPr id="168" name="Subtitle 2">
            <a:extLst>
              <a:ext uri="{FF2B5EF4-FFF2-40B4-BE49-F238E27FC236}">
                <a16:creationId xmlns:a16="http://schemas.microsoft.com/office/drawing/2014/main" id="{CC6058CB-ED73-F141-8E5C-12A305B09B49}"/>
              </a:ext>
            </a:extLst>
          </p:cNvPr>
          <p:cNvSpPr txBox="1">
            <a:spLocks/>
          </p:cNvSpPr>
          <p:nvPr/>
        </p:nvSpPr>
        <p:spPr>
          <a:xfrm>
            <a:off x="10116282" y="4321868"/>
            <a:ext cx="1058822" cy="35394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000" dirty="0">
                <a:solidFill>
                  <a:schemeClr val="tx1"/>
                </a:solidFill>
                <a:latin typeface="Segoe UI Light" panose="020B0502040204020203" pitchFamily="34" charset="0"/>
                <a:ea typeface="Lato Light" panose="020F0502020204030203" pitchFamily="34" charset="0"/>
                <a:cs typeface="Mukta ExtraLight" panose="020B0000000000000000" pitchFamily="34" charset="77"/>
              </a:rPr>
              <a:t>Lorem ipsum dolor sit amet</a:t>
            </a:r>
          </a:p>
        </p:txBody>
      </p:sp>
      <p:sp>
        <p:nvSpPr>
          <p:cNvPr id="66" name="Titel 1">
            <a:extLst>
              <a:ext uri="{FF2B5EF4-FFF2-40B4-BE49-F238E27FC236}">
                <a16:creationId xmlns:a16="http://schemas.microsoft.com/office/drawing/2014/main" id="{1ED60506-C7ED-41C0-A3D9-04F87F40183B}"/>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Mind map diagram</a:t>
            </a:r>
          </a:p>
        </p:txBody>
      </p:sp>
    </p:spTree>
    <p:custDataLst>
      <p:tags r:id="rId1"/>
    </p:custDataLst>
    <p:extLst>
      <p:ext uri="{BB962C8B-B14F-4D97-AF65-F5344CB8AC3E}">
        <p14:creationId xmlns:p14="http://schemas.microsoft.com/office/powerpoint/2010/main" val="392285895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Полилиния 174">
            <a:extLst>
              <a:ext uri="{FF2B5EF4-FFF2-40B4-BE49-F238E27FC236}">
                <a16:creationId xmlns:a16="http://schemas.microsoft.com/office/drawing/2014/main" id="{CFC52171-7270-9748-9608-2CC925DDA656}"/>
              </a:ext>
            </a:extLst>
          </p:cNvPr>
          <p:cNvSpPr>
            <a:spLocks/>
          </p:cNvSpPr>
          <p:nvPr/>
        </p:nvSpPr>
        <p:spPr bwMode="auto">
          <a:xfrm rot="5400000">
            <a:off x="5382088" y="2594288"/>
            <a:ext cx="1424192" cy="0"/>
          </a:xfrm>
          <a:custGeom>
            <a:avLst/>
            <a:gdLst>
              <a:gd name="T0" fmla="*/ 0 w 8163"/>
              <a:gd name="T1" fmla="*/ 1908000 w 8163"/>
              <a:gd name="T2" fmla="*/ 0 60000 65536"/>
              <a:gd name="T3" fmla="*/ 0 60000 65536"/>
            </a:gdLst>
            <a:ahLst/>
            <a:cxnLst>
              <a:cxn ang="T2">
                <a:pos x="T0" y="0"/>
              </a:cxn>
              <a:cxn ang="T3">
                <a:pos x="T1" y="0"/>
              </a:cxn>
            </a:cxnLst>
            <a:rect l="0" t="0" r="r" b="b"/>
            <a:pathLst>
              <a:path w="8163">
                <a:moveTo>
                  <a:pt x="0" y="0"/>
                </a:moveTo>
                <a:lnTo>
                  <a:pt x="8163" y="4138"/>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en-US" dirty="0">
              <a:latin typeface="Lato Light" panose="020F0502020204030203" pitchFamily="34" charset="0"/>
            </a:endParaRPr>
          </a:p>
        </p:txBody>
      </p:sp>
      <p:sp>
        <p:nvSpPr>
          <p:cNvPr id="41" name="Полилиния 175">
            <a:extLst>
              <a:ext uri="{FF2B5EF4-FFF2-40B4-BE49-F238E27FC236}">
                <a16:creationId xmlns:a16="http://schemas.microsoft.com/office/drawing/2014/main" id="{AA99BD9C-0B85-6943-AD3D-DF973111324F}"/>
              </a:ext>
            </a:extLst>
          </p:cNvPr>
          <p:cNvSpPr>
            <a:spLocks/>
          </p:cNvSpPr>
          <p:nvPr/>
        </p:nvSpPr>
        <p:spPr bwMode="auto">
          <a:xfrm rot="5400000">
            <a:off x="5381714" y="5297434"/>
            <a:ext cx="1424939" cy="0"/>
          </a:xfrm>
          <a:custGeom>
            <a:avLst/>
            <a:gdLst>
              <a:gd name="T0" fmla="*/ 0 w 8163"/>
              <a:gd name="T1" fmla="*/ 1908000 w 8163"/>
              <a:gd name="T2" fmla="*/ 0 60000 65536"/>
              <a:gd name="T3" fmla="*/ 0 60000 65536"/>
            </a:gdLst>
            <a:ahLst/>
            <a:cxnLst>
              <a:cxn ang="T2">
                <a:pos x="T0" y="0"/>
              </a:cxn>
              <a:cxn ang="T3">
                <a:pos x="T1" y="0"/>
              </a:cxn>
            </a:cxnLst>
            <a:rect l="0" t="0" r="r" b="b"/>
            <a:pathLst>
              <a:path w="8163">
                <a:moveTo>
                  <a:pt x="0" y="0"/>
                </a:moveTo>
                <a:lnTo>
                  <a:pt x="8163" y="4138"/>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en-US" dirty="0">
              <a:latin typeface="Lato Light" panose="020F0502020204030203" pitchFamily="34" charset="0"/>
            </a:endParaRPr>
          </a:p>
        </p:txBody>
      </p:sp>
      <p:sp>
        <p:nvSpPr>
          <p:cNvPr id="12" name="Полилиния 65">
            <a:extLst>
              <a:ext uri="{FF2B5EF4-FFF2-40B4-BE49-F238E27FC236}">
                <a16:creationId xmlns:a16="http://schemas.microsoft.com/office/drawing/2014/main" id="{62853566-5432-2543-B1D4-F8ECB049AC57}"/>
              </a:ext>
            </a:extLst>
          </p:cNvPr>
          <p:cNvSpPr>
            <a:spLocks/>
          </p:cNvSpPr>
          <p:nvPr/>
        </p:nvSpPr>
        <p:spPr bwMode="auto">
          <a:xfrm flipH="1">
            <a:off x="3286941" y="2696016"/>
            <a:ext cx="1438404" cy="611116"/>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en-US" dirty="0">
              <a:latin typeface="Lato Light" panose="020F0502020204030203" pitchFamily="34" charset="0"/>
            </a:endParaRPr>
          </a:p>
        </p:txBody>
      </p:sp>
      <p:sp>
        <p:nvSpPr>
          <p:cNvPr id="13" name="Полилиния 150">
            <a:extLst>
              <a:ext uri="{FF2B5EF4-FFF2-40B4-BE49-F238E27FC236}">
                <a16:creationId xmlns:a16="http://schemas.microsoft.com/office/drawing/2014/main" id="{688D9F29-6DD3-6346-A53F-47B6426421A1}"/>
              </a:ext>
            </a:extLst>
          </p:cNvPr>
          <p:cNvSpPr>
            <a:spLocks/>
          </p:cNvSpPr>
          <p:nvPr/>
        </p:nvSpPr>
        <p:spPr bwMode="auto">
          <a:xfrm>
            <a:off x="7704628" y="2696016"/>
            <a:ext cx="1438404" cy="611116"/>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en-US" dirty="0">
              <a:latin typeface="Lato Light" panose="020F0502020204030203" pitchFamily="34" charset="0"/>
            </a:endParaRPr>
          </a:p>
        </p:txBody>
      </p:sp>
      <p:sp>
        <p:nvSpPr>
          <p:cNvPr id="14" name="Полилиния 160">
            <a:extLst>
              <a:ext uri="{FF2B5EF4-FFF2-40B4-BE49-F238E27FC236}">
                <a16:creationId xmlns:a16="http://schemas.microsoft.com/office/drawing/2014/main" id="{41F68A7A-FE22-C840-9E3E-37DA4AA7AFB0}"/>
              </a:ext>
            </a:extLst>
          </p:cNvPr>
          <p:cNvSpPr>
            <a:spLocks/>
          </p:cNvSpPr>
          <p:nvPr/>
        </p:nvSpPr>
        <p:spPr bwMode="auto">
          <a:xfrm flipH="1">
            <a:off x="4353588" y="1975692"/>
            <a:ext cx="1086096" cy="1340416"/>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 name="connsiteX0" fmla="*/ 0 w 2117558"/>
              <a:gd name="connsiteY0" fmla="*/ 1179094 h 1179094"/>
              <a:gd name="connsiteX1" fmla="*/ 986589 w 2117558"/>
              <a:gd name="connsiteY1" fmla="*/ 192505 h 1179094"/>
              <a:gd name="connsiteX2" fmla="*/ 1433853 w 2117558"/>
              <a:gd name="connsiteY2" fmla="*/ 0 h 1179094"/>
              <a:gd name="connsiteX3" fmla="*/ 2117558 w 2117558"/>
              <a:gd name="connsiteY3" fmla="*/ 0 h 1179094"/>
              <a:gd name="connsiteX0" fmla="*/ 0 w 2117558"/>
              <a:gd name="connsiteY0" fmla="*/ 1179094 h 1179094"/>
              <a:gd name="connsiteX1" fmla="*/ 986589 w 2117558"/>
              <a:gd name="connsiteY1" fmla="*/ 192505 h 1179094"/>
              <a:gd name="connsiteX2" fmla="*/ 1433853 w 2117558"/>
              <a:gd name="connsiteY2" fmla="*/ 0 h 1179094"/>
              <a:gd name="connsiteX3" fmla="*/ 2117558 w 2117558"/>
              <a:gd name="connsiteY3" fmla="*/ 0 h 1179094"/>
            </a:gdLst>
            <a:ahLst/>
            <a:cxnLst>
              <a:cxn ang="0">
                <a:pos x="connsiteX0" y="connsiteY0"/>
              </a:cxn>
              <a:cxn ang="0">
                <a:pos x="connsiteX1" y="connsiteY1"/>
              </a:cxn>
              <a:cxn ang="0">
                <a:pos x="connsiteX2" y="connsiteY2"/>
              </a:cxn>
              <a:cxn ang="0">
                <a:pos x="connsiteX3" y="connsiteY3"/>
              </a:cxn>
            </a:cxnLst>
            <a:rect l="l" t="t" r="r" b="b"/>
            <a:pathLst>
              <a:path w="2117558" h="1179094">
                <a:moveTo>
                  <a:pt x="0" y="1179094"/>
                </a:moveTo>
                <a:lnTo>
                  <a:pt x="986589" y="192505"/>
                </a:lnTo>
                <a:cubicBezTo>
                  <a:pt x="1075897" y="111610"/>
                  <a:pt x="1171944" y="2110"/>
                  <a:pt x="1433853"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en-US" dirty="0">
              <a:latin typeface="Lato Light" panose="020F0502020204030203" pitchFamily="34" charset="0"/>
            </a:endParaRPr>
          </a:p>
        </p:txBody>
      </p:sp>
      <p:sp>
        <p:nvSpPr>
          <p:cNvPr id="15" name="Полилиния 161">
            <a:extLst>
              <a:ext uri="{FF2B5EF4-FFF2-40B4-BE49-F238E27FC236}">
                <a16:creationId xmlns:a16="http://schemas.microsoft.com/office/drawing/2014/main" id="{1B989F35-7821-E74E-A432-F7C99BB2CE3C}"/>
              </a:ext>
            </a:extLst>
          </p:cNvPr>
          <p:cNvSpPr>
            <a:spLocks/>
          </p:cNvSpPr>
          <p:nvPr/>
        </p:nvSpPr>
        <p:spPr bwMode="auto">
          <a:xfrm>
            <a:off x="6762896" y="1975692"/>
            <a:ext cx="1086096" cy="1340416"/>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 name="connsiteX0" fmla="*/ 0 w 2117558"/>
              <a:gd name="connsiteY0" fmla="*/ 1179094 h 1179094"/>
              <a:gd name="connsiteX1" fmla="*/ 986589 w 2117558"/>
              <a:gd name="connsiteY1" fmla="*/ 192505 h 1179094"/>
              <a:gd name="connsiteX2" fmla="*/ 1433853 w 2117558"/>
              <a:gd name="connsiteY2" fmla="*/ 0 h 1179094"/>
              <a:gd name="connsiteX3" fmla="*/ 2117558 w 2117558"/>
              <a:gd name="connsiteY3" fmla="*/ 0 h 1179094"/>
              <a:gd name="connsiteX0" fmla="*/ 0 w 2117558"/>
              <a:gd name="connsiteY0" fmla="*/ 1179094 h 1179094"/>
              <a:gd name="connsiteX1" fmla="*/ 986589 w 2117558"/>
              <a:gd name="connsiteY1" fmla="*/ 192505 h 1179094"/>
              <a:gd name="connsiteX2" fmla="*/ 1433853 w 2117558"/>
              <a:gd name="connsiteY2" fmla="*/ 0 h 1179094"/>
              <a:gd name="connsiteX3" fmla="*/ 2117558 w 2117558"/>
              <a:gd name="connsiteY3" fmla="*/ 0 h 1179094"/>
            </a:gdLst>
            <a:ahLst/>
            <a:cxnLst>
              <a:cxn ang="0">
                <a:pos x="connsiteX0" y="connsiteY0"/>
              </a:cxn>
              <a:cxn ang="0">
                <a:pos x="connsiteX1" y="connsiteY1"/>
              </a:cxn>
              <a:cxn ang="0">
                <a:pos x="connsiteX2" y="connsiteY2"/>
              </a:cxn>
              <a:cxn ang="0">
                <a:pos x="connsiteX3" y="connsiteY3"/>
              </a:cxn>
            </a:cxnLst>
            <a:rect l="l" t="t" r="r" b="b"/>
            <a:pathLst>
              <a:path w="2117558" h="1179094">
                <a:moveTo>
                  <a:pt x="0" y="1179094"/>
                </a:moveTo>
                <a:lnTo>
                  <a:pt x="986589" y="192505"/>
                </a:lnTo>
                <a:cubicBezTo>
                  <a:pt x="1075897" y="111610"/>
                  <a:pt x="1171944" y="2110"/>
                  <a:pt x="1433853"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en-US" dirty="0">
              <a:latin typeface="Lato Light" panose="020F0502020204030203" pitchFamily="34" charset="0"/>
            </a:endParaRPr>
          </a:p>
        </p:txBody>
      </p:sp>
      <p:sp>
        <p:nvSpPr>
          <p:cNvPr id="16" name="Скругленный прямоугольник 15">
            <a:extLst>
              <a:ext uri="{FF2B5EF4-FFF2-40B4-BE49-F238E27FC236}">
                <a16:creationId xmlns:a16="http://schemas.microsoft.com/office/drawing/2014/main" id="{99569749-ACF0-8A4A-9D59-86B753AAE7F7}"/>
              </a:ext>
            </a:extLst>
          </p:cNvPr>
          <p:cNvSpPr>
            <a:spLocks noChangeArrowheads="1"/>
          </p:cNvSpPr>
          <p:nvPr/>
        </p:nvSpPr>
        <p:spPr bwMode="auto">
          <a:xfrm>
            <a:off x="1113254" y="2470868"/>
            <a:ext cx="2212583" cy="451044"/>
          </a:xfrm>
          <a:prstGeom prst="roundRect">
            <a:avLst>
              <a:gd name="adj" fmla="val 50000"/>
            </a:avLst>
          </a:prstGeom>
          <a:solidFill>
            <a:schemeClr val="accent4"/>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defRPr/>
            </a:pPr>
            <a:endParaRPr lang="en-US" altLang="ru-RU" dirty="0">
              <a:latin typeface="Lato Light" panose="020F0502020204030203" pitchFamily="34" charset="0"/>
            </a:endParaRPr>
          </a:p>
        </p:txBody>
      </p:sp>
      <p:sp>
        <p:nvSpPr>
          <p:cNvPr id="17" name="Овал 71">
            <a:extLst>
              <a:ext uri="{FF2B5EF4-FFF2-40B4-BE49-F238E27FC236}">
                <a16:creationId xmlns:a16="http://schemas.microsoft.com/office/drawing/2014/main" id="{7F7DC5AC-9350-1941-940D-F4DBA2327466}"/>
              </a:ext>
            </a:extLst>
          </p:cNvPr>
          <p:cNvSpPr>
            <a:spLocks noChangeArrowheads="1"/>
          </p:cNvSpPr>
          <p:nvPr/>
        </p:nvSpPr>
        <p:spPr bwMode="auto">
          <a:xfrm>
            <a:off x="3023438" y="2614848"/>
            <a:ext cx="163018" cy="163084"/>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en-US" altLang="ru-RU" dirty="0">
              <a:latin typeface="Lato Light" panose="020F0502020204030203" pitchFamily="34" charset="0"/>
            </a:endParaRPr>
          </a:p>
        </p:txBody>
      </p:sp>
      <p:sp>
        <p:nvSpPr>
          <p:cNvPr id="18" name="Овал 72">
            <a:extLst>
              <a:ext uri="{FF2B5EF4-FFF2-40B4-BE49-F238E27FC236}">
                <a16:creationId xmlns:a16="http://schemas.microsoft.com/office/drawing/2014/main" id="{6AB5571F-F359-4F4B-A5EC-4112EF90CCC1}"/>
              </a:ext>
            </a:extLst>
          </p:cNvPr>
          <p:cNvSpPr>
            <a:spLocks noChangeArrowheads="1"/>
          </p:cNvSpPr>
          <p:nvPr/>
        </p:nvSpPr>
        <p:spPr bwMode="auto">
          <a:xfrm>
            <a:off x="3058736" y="2649257"/>
            <a:ext cx="94227" cy="94265"/>
          </a:xfrm>
          <a:prstGeom prst="ellipse">
            <a:avLst/>
          </a:prstGeom>
          <a:solidFill>
            <a:schemeClr val="bg1">
              <a:lumMod val="50000"/>
            </a:schemeClr>
          </a:solidFill>
          <a:ln>
            <a:noFill/>
          </a:ln>
        </p:spPr>
        <p:txBody>
          <a:bodyPr lIns="0" tIns="0" rIns="0" bIns="0" anchor="ctr">
            <a:noAutofit/>
          </a:bodyPr>
          <a:lstStyle/>
          <a:p>
            <a:pPr algn="ctr" eaLnBrk="1"/>
            <a:endParaRPr lang="en-US" altLang="ru-RU" dirty="0">
              <a:latin typeface="Lato Light" panose="020F0502020204030203" pitchFamily="34" charset="0"/>
            </a:endParaRPr>
          </a:p>
        </p:txBody>
      </p:sp>
      <p:sp>
        <p:nvSpPr>
          <p:cNvPr id="20" name="Скругленный прямоугольник 88">
            <a:extLst>
              <a:ext uri="{FF2B5EF4-FFF2-40B4-BE49-F238E27FC236}">
                <a16:creationId xmlns:a16="http://schemas.microsoft.com/office/drawing/2014/main" id="{F66FFC2E-9137-EB4E-834E-B13854850871}"/>
              </a:ext>
            </a:extLst>
          </p:cNvPr>
          <p:cNvSpPr>
            <a:spLocks noChangeArrowheads="1"/>
          </p:cNvSpPr>
          <p:nvPr/>
        </p:nvSpPr>
        <p:spPr bwMode="auto">
          <a:xfrm>
            <a:off x="9079451" y="2468624"/>
            <a:ext cx="2212583" cy="451045"/>
          </a:xfrm>
          <a:prstGeom prst="roundRect">
            <a:avLst>
              <a:gd name="adj" fmla="val 50000"/>
            </a:avLst>
          </a:prstGeom>
          <a:solidFill>
            <a:schemeClr val="accent5"/>
          </a:solidFill>
          <a:ln>
            <a:noFill/>
          </a:ln>
        </p:spPr>
        <p:txBody>
          <a:bodyPr lIns="0" tIns="0" rIns="0" bIns="0" anchor="ctr">
            <a:noAutofit/>
          </a:bodyPr>
          <a:lstStyle/>
          <a:p>
            <a:pPr algn="ctr" eaLnBrk="1">
              <a:defRPr/>
            </a:pPr>
            <a:endParaRPr lang="en-US" altLang="ru-RU" dirty="0">
              <a:latin typeface="Lato Light" panose="020F0502020204030203" pitchFamily="34" charset="0"/>
            </a:endParaRPr>
          </a:p>
        </p:txBody>
      </p:sp>
      <p:sp>
        <p:nvSpPr>
          <p:cNvPr id="21" name="Овал 89">
            <a:extLst>
              <a:ext uri="{FF2B5EF4-FFF2-40B4-BE49-F238E27FC236}">
                <a16:creationId xmlns:a16="http://schemas.microsoft.com/office/drawing/2014/main" id="{6FCDCD6E-F1D9-1E47-B805-20B021FE9283}"/>
              </a:ext>
            </a:extLst>
          </p:cNvPr>
          <p:cNvSpPr>
            <a:spLocks noChangeArrowheads="1"/>
          </p:cNvSpPr>
          <p:nvPr/>
        </p:nvSpPr>
        <p:spPr bwMode="auto">
          <a:xfrm>
            <a:off x="9228875" y="2612603"/>
            <a:ext cx="163018" cy="163084"/>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en-US" altLang="ru-RU" dirty="0">
              <a:latin typeface="Lato Light" panose="020F0502020204030203" pitchFamily="34" charset="0"/>
            </a:endParaRPr>
          </a:p>
        </p:txBody>
      </p:sp>
      <p:sp>
        <p:nvSpPr>
          <p:cNvPr id="22" name="Овал 90">
            <a:extLst>
              <a:ext uri="{FF2B5EF4-FFF2-40B4-BE49-F238E27FC236}">
                <a16:creationId xmlns:a16="http://schemas.microsoft.com/office/drawing/2014/main" id="{ED644468-0854-4048-A77D-054B7E091BF2}"/>
              </a:ext>
            </a:extLst>
          </p:cNvPr>
          <p:cNvSpPr>
            <a:spLocks noChangeArrowheads="1"/>
          </p:cNvSpPr>
          <p:nvPr/>
        </p:nvSpPr>
        <p:spPr bwMode="auto">
          <a:xfrm>
            <a:off x="9264172" y="2647013"/>
            <a:ext cx="94227" cy="94266"/>
          </a:xfrm>
          <a:prstGeom prst="ellipse">
            <a:avLst/>
          </a:prstGeom>
          <a:solidFill>
            <a:schemeClr val="bg1">
              <a:lumMod val="50000"/>
            </a:schemeClr>
          </a:solidFill>
          <a:ln>
            <a:noFill/>
          </a:ln>
        </p:spPr>
        <p:txBody>
          <a:bodyPr lIns="0" tIns="0" rIns="0" bIns="0" anchor="ctr">
            <a:noAutofit/>
          </a:bodyPr>
          <a:lstStyle/>
          <a:p>
            <a:pPr algn="ctr" eaLnBrk="1"/>
            <a:endParaRPr lang="en-US" altLang="ru-RU" dirty="0">
              <a:latin typeface="Lato Light" panose="020F0502020204030203" pitchFamily="34" charset="0"/>
            </a:endParaRPr>
          </a:p>
        </p:txBody>
      </p:sp>
      <p:sp>
        <p:nvSpPr>
          <p:cNvPr id="24" name="Скругленный прямоугольник 15">
            <a:extLst>
              <a:ext uri="{FF2B5EF4-FFF2-40B4-BE49-F238E27FC236}">
                <a16:creationId xmlns:a16="http://schemas.microsoft.com/office/drawing/2014/main" id="{88ACBE45-4FEA-7845-AEBE-07B12DFD0D0F}"/>
              </a:ext>
            </a:extLst>
          </p:cNvPr>
          <p:cNvSpPr>
            <a:spLocks noChangeArrowheads="1"/>
          </p:cNvSpPr>
          <p:nvPr/>
        </p:nvSpPr>
        <p:spPr bwMode="auto">
          <a:xfrm>
            <a:off x="2233009" y="1755780"/>
            <a:ext cx="2212583" cy="451044"/>
          </a:xfrm>
          <a:prstGeom prst="roundRect">
            <a:avLst>
              <a:gd name="adj" fmla="val 50000"/>
            </a:avLst>
          </a:prstGeom>
          <a:solidFill>
            <a:schemeClr val="accent2"/>
          </a:solidFill>
          <a:ln>
            <a:noFill/>
          </a:ln>
        </p:spPr>
        <p:txBody>
          <a:bodyPr lIns="0" tIns="0" rIns="0" bIns="0" anchor="ctr">
            <a:noAutofit/>
          </a:bodyPr>
          <a:lstStyle/>
          <a:p>
            <a:pPr algn="ctr" eaLnBrk="1">
              <a:defRPr/>
            </a:pPr>
            <a:endParaRPr lang="en-US" altLang="ru-RU" dirty="0">
              <a:latin typeface="Lato Light" panose="020F0502020204030203" pitchFamily="34" charset="0"/>
            </a:endParaRPr>
          </a:p>
        </p:txBody>
      </p:sp>
      <p:sp>
        <p:nvSpPr>
          <p:cNvPr id="25" name="Овал 71">
            <a:extLst>
              <a:ext uri="{FF2B5EF4-FFF2-40B4-BE49-F238E27FC236}">
                <a16:creationId xmlns:a16="http://schemas.microsoft.com/office/drawing/2014/main" id="{7622061C-372E-6341-BFF2-55920B799914}"/>
              </a:ext>
            </a:extLst>
          </p:cNvPr>
          <p:cNvSpPr>
            <a:spLocks noChangeArrowheads="1"/>
          </p:cNvSpPr>
          <p:nvPr/>
        </p:nvSpPr>
        <p:spPr bwMode="auto">
          <a:xfrm>
            <a:off x="4143194" y="1899760"/>
            <a:ext cx="163018" cy="163084"/>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en-US" altLang="ru-RU" dirty="0">
              <a:latin typeface="Lato Light" panose="020F0502020204030203" pitchFamily="34" charset="0"/>
            </a:endParaRPr>
          </a:p>
        </p:txBody>
      </p:sp>
      <p:sp>
        <p:nvSpPr>
          <p:cNvPr id="26" name="Овал 72">
            <a:extLst>
              <a:ext uri="{FF2B5EF4-FFF2-40B4-BE49-F238E27FC236}">
                <a16:creationId xmlns:a16="http://schemas.microsoft.com/office/drawing/2014/main" id="{0139DB51-FAB5-154E-8198-15D4928FC624}"/>
              </a:ext>
            </a:extLst>
          </p:cNvPr>
          <p:cNvSpPr>
            <a:spLocks noChangeArrowheads="1"/>
          </p:cNvSpPr>
          <p:nvPr/>
        </p:nvSpPr>
        <p:spPr bwMode="auto">
          <a:xfrm>
            <a:off x="4178491" y="1934170"/>
            <a:ext cx="94227" cy="94265"/>
          </a:xfrm>
          <a:prstGeom prst="ellipse">
            <a:avLst/>
          </a:prstGeom>
          <a:solidFill>
            <a:schemeClr val="bg1">
              <a:lumMod val="50000"/>
            </a:schemeClr>
          </a:solidFill>
          <a:ln>
            <a:noFill/>
          </a:ln>
        </p:spPr>
        <p:txBody>
          <a:bodyPr lIns="0" tIns="0" rIns="0" bIns="0" anchor="ctr">
            <a:noAutofit/>
          </a:bodyPr>
          <a:lstStyle/>
          <a:p>
            <a:pPr algn="ctr" eaLnBrk="1"/>
            <a:endParaRPr lang="en-US" altLang="ru-RU" dirty="0">
              <a:latin typeface="Lato Light" panose="020F0502020204030203" pitchFamily="34" charset="0"/>
            </a:endParaRPr>
          </a:p>
        </p:txBody>
      </p:sp>
      <p:sp>
        <p:nvSpPr>
          <p:cNvPr id="28" name="Скругленный прямоугольник 88">
            <a:extLst>
              <a:ext uri="{FF2B5EF4-FFF2-40B4-BE49-F238E27FC236}">
                <a16:creationId xmlns:a16="http://schemas.microsoft.com/office/drawing/2014/main" id="{1D914D6E-3A22-C14B-BE75-4317E1B45410}"/>
              </a:ext>
            </a:extLst>
          </p:cNvPr>
          <p:cNvSpPr>
            <a:spLocks noChangeArrowheads="1"/>
          </p:cNvSpPr>
          <p:nvPr/>
        </p:nvSpPr>
        <p:spPr bwMode="auto">
          <a:xfrm>
            <a:off x="7756240" y="1759520"/>
            <a:ext cx="2212583" cy="451045"/>
          </a:xfrm>
          <a:prstGeom prst="roundRect">
            <a:avLst>
              <a:gd name="adj" fmla="val 50000"/>
            </a:avLst>
          </a:prstGeom>
          <a:solidFill>
            <a:schemeClr val="accent3"/>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defRPr/>
            </a:pPr>
            <a:endParaRPr lang="en-US" altLang="ru-RU" dirty="0">
              <a:latin typeface="Lato Light" panose="020F0502020204030203" pitchFamily="34" charset="0"/>
            </a:endParaRPr>
          </a:p>
        </p:txBody>
      </p:sp>
      <p:sp>
        <p:nvSpPr>
          <p:cNvPr id="29" name="Овал 89">
            <a:extLst>
              <a:ext uri="{FF2B5EF4-FFF2-40B4-BE49-F238E27FC236}">
                <a16:creationId xmlns:a16="http://schemas.microsoft.com/office/drawing/2014/main" id="{F783D99D-FD28-CC44-90DC-A62CD8F4077D}"/>
              </a:ext>
            </a:extLst>
          </p:cNvPr>
          <p:cNvSpPr>
            <a:spLocks noChangeArrowheads="1"/>
          </p:cNvSpPr>
          <p:nvPr/>
        </p:nvSpPr>
        <p:spPr bwMode="auto">
          <a:xfrm>
            <a:off x="7905663" y="1903500"/>
            <a:ext cx="163018" cy="163084"/>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en-US" altLang="ru-RU" dirty="0">
              <a:latin typeface="Lato Light" panose="020F0502020204030203" pitchFamily="34" charset="0"/>
            </a:endParaRPr>
          </a:p>
        </p:txBody>
      </p:sp>
      <p:sp>
        <p:nvSpPr>
          <p:cNvPr id="30" name="Овал 90">
            <a:extLst>
              <a:ext uri="{FF2B5EF4-FFF2-40B4-BE49-F238E27FC236}">
                <a16:creationId xmlns:a16="http://schemas.microsoft.com/office/drawing/2014/main" id="{A28E102F-69B8-424B-A325-CDE5B2E2B237}"/>
              </a:ext>
            </a:extLst>
          </p:cNvPr>
          <p:cNvSpPr>
            <a:spLocks noChangeArrowheads="1"/>
          </p:cNvSpPr>
          <p:nvPr/>
        </p:nvSpPr>
        <p:spPr bwMode="auto">
          <a:xfrm>
            <a:off x="7940960" y="1937909"/>
            <a:ext cx="94227" cy="94266"/>
          </a:xfrm>
          <a:prstGeom prst="ellipse">
            <a:avLst/>
          </a:prstGeom>
          <a:solidFill>
            <a:schemeClr val="bg1">
              <a:lumMod val="50000"/>
            </a:schemeClr>
          </a:solidFill>
          <a:ln>
            <a:noFill/>
          </a:ln>
        </p:spPr>
        <p:txBody>
          <a:bodyPr lIns="0" tIns="0" rIns="0" bIns="0" anchor="ctr">
            <a:noAutofit/>
          </a:bodyPr>
          <a:lstStyle/>
          <a:p>
            <a:pPr algn="ctr" eaLnBrk="1"/>
            <a:endParaRPr lang="en-US" altLang="ru-RU" dirty="0">
              <a:latin typeface="Lato Light" panose="020F0502020204030203" pitchFamily="34" charset="0"/>
            </a:endParaRPr>
          </a:p>
        </p:txBody>
      </p:sp>
      <p:sp>
        <p:nvSpPr>
          <p:cNvPr id="32" name="Скругленный прямоугольник 88">
            <a:extLst>
              <a:ext uri="{FF2B5EF4-FFF2-40B4-BE49-F238E27FC236}">
                <a16:creationId xmlns:a16="http://schemas.microsoft.com/office/drawing/2014/main" id="{3AA54B09-2CC9-0C4A-B170-C813B02BD288}"/>
              </a:ext>
            </a:extLst>
          </p:cNvPr>
          <p:cNvSpPr>
            <a:spLocks noChangeArrowheads="1"/>
          </p:cNvSpPr>
          <p:nvPr/>
        </p:nvSpPr>
        <p:spPr bwMode="auto">
          <a:xfrm>
            <a:off x="4987893" y="1440873"/>
            <a:ext cx="2212583" cy="449908"/>
          </a:xfrm>
          <a:prstGeom prst="roundRect">
            <a:avLst>
              <a:gd name="adj" fmla="val 50000"/>
            </a:avLst>
          </a:prstGeom>
          <a:solidFill>
            <a:schemeClr val="accent1"/>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en-US" altLang="ru-RU" dirty="0">
              <a:latin typeface="Lato Light" panose="020F0502020204030203" pitchFamily="34" charset="0"/>
            </a:endParaRPr>
          </a:p>
        </p:txBody>
      </p:sp>
      <p:sp>
        <p:nvSpPr>
          <p:cNvPr id="33" name="Овал 89">
            <a:extLst>
              <a:ext uri="{FF2B5EF4-FFF2-40B4-BE49-F238E27FC236}">
                <a16:creationId xmlns:a16="http://schemas.microsoft.com/office/drawing/2014/main" id="{BA0F99B4-D880-384F-B7E3-7CAB09804D11}"/>
              </a:ext>
            </a:extLst>
          </p:cNvPr>
          <p:cNvSpPr>
            <a:spLocks noChangeArrowheads="1"/>
          </p:cNvSpPr>
          <p:nvPr/>
        </p:nvSpPr>
        <p:spPr bwMode="auto">
          <a:xfrm>
            <a:off x="6012675" y="1804791"/>
            <a:ext cx="163018" cy="162673"/>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en-US" altLang="ru-RU" dirty="0">
              <a:latin typeface="Lato Light" panose="020F0502020204030203" pitchFamily="34" charset="0"/>
            </a:endParaRPr>
          </a:p>
        </p:txBody>
      </p:sp>
      <p:sp>
        <p:nvSpPr>
          <p:cNvPr id="34" name="Овал 90">
            <a:extLst>
              <a:ext uri="{FF2B5EF4-FFF2-40B4-BE49-F238E27FC236}">
                <a16:creationId xmlns:a16="http://schemas.microsoft.com/office/drawing/2014/main" id="{08CCF706-7D73-E54F-B783-3701DAF7DC7E}"/>
              </a:ext>
            </a:extLst>
          </p:cNvPr>
          <p:cNvSpPr>
            <a:spLocks noChangeArrowheads="1"/>
          </p:cNvSpPr>
          <p:nvPr/>
        </p:nvSpPr>
        <p:spPr bwMode="auto">
          <a:xfrm>
            <a:off x="6047972" y="1839224"/>
            <a:ext cx="94227" cy="94027"/>
          </a:xfrm>
          <a:prstGeom prst="ellipse">
            <a:avLst/>
          </a:prstGeom>
          <a:solidFill>
            <a:schemeClr val="bg1">
              <a:lumMod val="50000"/>
            </a:schemeClr>
          </a:solidFill>
          <a:ln>
            <a:noFill/>
          </a:ln>
        </p:spPr>
        <p:txBody>
          <a:bodyPr lIns="0" tIns="0" rIns="0" bIns="0" anchor="ctr">
            <a:noAutofit/>
          </a:bodyPr>
          <a:lstStyle/>
          <a:p>
            <a:pPr algn="ctr" eaLnBrk="1"/>
            <a:endParaRPr lang="en-US" altLang="ru-RU" dirty="0">
              <a:latin typeface="Lato Light" panose="020F0502020204030203" pitchFamily="34" charset="0"/>
            </a:endParaRPr>
          </a:p>
        </p:txBody>
      </p:sp>
      <p:sp useBgFill="1">
        <p:nvSpPr>
          <p:cNvPr id="4" name="Скругленный прямоугольник 1">
            <a:extLst>
              <a:ext uri="{FF2B5EF4-FFF2-40B4-BE49-F238E27FC236}">
                <a16:creationId xmlns:a16="http://schemas.microsoft.com/office/drawing/2014/main" id="{82BDCF0E-3A99-EC48-99D1-B5AD24E41E30}"/>
              </a:ext>
            </a:extLst>
          </p:cNvPr>
          <p:cNvSpPr>
            <a:spLocks noChangeArrowheads="1"/>
          </p:cNvSpPr>
          <p:nvPr/>
        </p:nvSpPr>
        <p:spPr bwMode="auto">
          <a:xfrm>
            <a:off x="4195470" y="3304771"/>
            <a:ext cx="3839717" cy="1280311"/>
          </a:xfrm>
          <a:prstGeom prst="roundRect">
            <a:avLst>
              <a:gd name="adj" fmla="val 33988"/>
            </a:avLst>
          </a:prstGeom>
          <a:ln w="38100" algn="ctr">
            <a:solidFill>
              <a:schemeClr val="bg1">
                <a:lumMod val="50000"/>
              </a:schemeClr>
            </a:solidFill>
            <a:miter lim="400000"/>
            <a:headEnd/>
            <a:tailEnd/>
          </a:ln>
          <a:extLst>
            <a:ext uri="{909E8E84-426E-40DD-AFC4-6F175D3DCCD1}">
              <a14:hiddenFill xmlns:a14="http://schemas.microsoft.com/office/drawing/2010/main">
                <a:solidFill>
                  <a:srgbClr val="FFFFFF"/>
                </a:solidFill>
              </a14:hiddenFill>
            </a:ext>
          </a:extLst>
        </p:spPr>
        <p:txBody>
          <a:bodyPr lIns="0" tIns="0" rIns="0" bIns="0" anchor="ctr">
            <a:noAutofit/>
          </a:bodyPr>
          <a:lstStyle/>
          <a:p>
            <a:pPr algn="ctr" eaLnBrk="1"/>
            <a:endParaRPr lang="en-US" altLang="ru-RU" dirty="0">
              <a:latin typeface="Lato Light" panose="020F0502020204030203" pitchFamily="34" charset="0"/>
            </a:endParaRPr>
          </a:p>
        </p:txBody>
      </p:sp>
      <p:sp>
        <p:nvSpPr>
          <p:cNvPr id="37" name="Скругленный прямоугольник 88">
            <a:extLst>
              <a:ext uri="{FF2B5EF4-FFF2-40B4-BE49-F238E27FC236}">
                <a16:creationId xmlns:a16="http://schemas.microsoft.com/office/drawing/2014/main" id="{4E505F73-89F4-0D4A-B30A-14D0CD5446E9}"/>
              </a:ext>
            </a:extLst>
          </p:cNvPr>
          <p:cNvSpPr>
            <a:spLocks noChangeArrowheads="1"/>
          </p:cNvSpPr>
          <p:nvPr/>
        </p:nvSpPr>
        <p:spPr bwMode="auto">
          <a:xfrm>
            <a:off x="4987893" y="6008023"/>
            <a:ext cx="2212583" cy="449933"/>
          </a:xfrm>
          <a:prstGeom prst="roundRect">
            <a:avLst>
              <a:gd name="adj" fmla="val 50000"/>
            </a:avLst>
          </a:prstGeom>
          <a:solidFill>
            <a:schemeClr val="accent1"/>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en-US" altLang="ru-RU" dirty="0">
              <a:latin typeface="Lato Light" panose="020F0502020204030203" pitchFamily="34" charset="0"/>
            </a:endParaRPr>
          </a:p>
        </p:txBody>
      </p:sp>
      <p:sp>
        <p:nvSpPr>
          <p:cNvPr id="38" name="Овал 89">
            <a:extLst>
              <a:ext uri="{FF2B5EF4-FFF2-40B4-BE49-F238E27FC236}">
                <a16:creationId xmlns:a16="http://schemas.microsoft.com/office/drawing/2014/main" id="{76901CFD-18E6-B448-932B-89ED7A8E0A8A}"/>
              </a:ext>
            </a:extLst>
          </p:cNvPr>
          <p:cNvSpPr>
            <a:spLocks noChangeArrowheads="1"/>
          </p:cNvSpPr>
          <p:nvPr/>
        </p:nvSpPr>
        <p:spPr bwMode="auto">
          <a:xfrm>
            <a:off x="6012675" y="5923883"/>
            <a:ext cx="163018" cy="162682"/>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en-US" altLang="ru-RU" dirty="0">
              <a:latin typeface="Lato Light" panose="020F0502020204030203" pitchFamily="34" charset="0"/>
            </a:endParaRPr>
          </a:p>
        </p:txBody>
      </p:sp>
      <p:sp>
        <p:nvSpPr>
          <p:cNvPr id="39" name="Овал 90">
            <a:extLst>
              <a:ext uri="{FF2B5EF4-FFF2-40B4-BE49-F238E27FC236}">
                <a16:creationId xmlns:a16="http://schemas.microsoft.com/office/drawing/2014/main" id="{74283266-2BC2-9D4D-B6CF-CF438F68795C}"/>
              </a:ext>
            </a:extLst>
          </p:cNvPr>
          <p:cNvSpPr>
            <a:spLocks noChangeArrowheads="1"/>
          </p:cNvSpPr>
          <p:nvPr/>
        </p:nvSpPr>
        <p:spPr bwMode="auto">
          <a:xfrm>
            <a:off x="6047972" y="5958208"/>
            <a:ext cx="94227" cy="94033"/>
          </a:xfrm>
          <a:prstGeom prst="ellipse">
            <a:avLst/>
          </a:prstGeom>
          <a:solidFill>
            <a:schemeClr val="bg1">
              <a:lumMod val="50000"/>
            </a:schemeClr>
          </a:solidFill>
          <a:ln>
            <a:noFill/>
          </a:ln>
        </p:spPr>
        <p:txBody>
          <a:bodyPr lIns="0" tIns="0" rIns="0" bIns="0" anchor="ctr">
            <a:noAutofit/>
          </a:bodyPr>
          <a:lstStyle/>
          <a:p>
            <a:pPr algn="ctr" eaLnBrk="1"/>
            <a:endParaRPr lang="en-US" altLang="ru-RU" dirty="0">
              <a:latin typeface="Lato Light" panose="020F0502020204030203" pitchFamily="34" charset="0"/>
            </a:endParaRPr>
          </a:p>
        </p:txBody>
      </p:sp>
      <p:sp>
        <p:nvSpPr>
          <p:cNvPr id="42" name="Полилиния 188">
            <a:extLst>
              <a:ext uri="{FF2B5EF4-FFF2-40B4-BE49-F238E27FC236}">
                <a16:creationId xmlns:a16="http://schemas.microsoft.com/office/drawing/2014/main" id="{A6EB647A-BEF5-C548-995A-521724C44753}"/>
              </a:ext>
            </a:extLst>
          </p:cNvPr>
          <p:cNvSpPr>
            <a:spLocks/>
          </p:cNvSpPr>
          <p:nvPr/>
        </p:nvSpPr>
        <p:spPr bwMode="auto">
          <a:xfrm flipH="1" flipV="1">
            <a:off x="4357329" y="4583468"/>
            <a:ext cx="1086096" cy="1340416"/>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 name="connsiteX0" fmla="*/ 0 w 2117558"/>
              <a:gd name="connsiteY0" fmla="*/ 1179094 h 1179094"/>
              <a:gd name="connsiteX1" fmla="*/ 986589 w 2117558"/>
              <a:gd name="connsiteY1" fmla="*/ 192505 h 1179094"/>
              <a:gd name="connsiteX2" fmla="*/ 1433853 w 2117558"/>
              <a:gd name="connsiteY2" fmla="*/ 0 h 1179094"/>
              <a:gd name="connsiteX3" fmla="*/ 2117558 w 2117558"/>
              <a:gd name="connsiteY3" fmla="*/ 0 h 1179094"/>
              <a:gd name="connsiteX0" fmla="*/ 0 w 2117558"/>
              <a:gd name="connsiteY0" fmla="*/ 1179094 h 1179094"/>
              <a:gd name="connsiteX1" fmla="*/ 986589 w 2117558"/>
              <a:gd name="connsiteY1" fmla="*/ 192505 h 1179094"/>
              <a:gd name="connsiteX2" fmla="*/ 1433853 w 2117558"/>
              <a:gd name="connsiteY2" fmla="*/ 0 h 1179094"/>
              <a:gd name="connsiteX3" fmla="*/ 2117558 w 2117558"/>
              <a:gd name="connsiteY3" fmla="*/ 0 h 1179094"/>
            </a:gdLst>
            <a:ahLst/>
            <a:cxnLst>
              <a:cxn ang="0">
                <a:pos x="connsiteX0" y="connsiteY0"/>
              </a:cxn>
              <a:cxn ang="0">
                <a:pos x="connsiteX1" y="connsiteY1"/>
              </a:cxn>
              <a:cxn ang="0">
                <a:pos x="connsiteX2" y="connsiteY2"/>
              </a:cxn>
              <a:cxn ang="0">
                <a:pos x="connsiteX3" y="connsiteY3"/>
              </a:cxn>
            </a:cxnLst>
            <a:rect l="l" t="t" r="r" b="b"/>
            <a:pathLst>
              <a:path w="2117558" h="1179094">
                <a:moveTo>
                  <a:pt x="0" y="1179094"/>
                </a:moveTo>
                <a:lnTo>
                  <a:pt x="986589" y="192505"/>
                </a:lnTo>
                <a:cubicBezTo>
                  <a:pt x="1075897" y="111610"/>
                  <a:pt x="1171944" y="2110"/>
                  <a:pt x="1433853"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en-US" dirty="0">
              <a:latin typeface="Lato Light" panose="020F0502020204030203" pitchFamily="34" charset="0"/>
            </a:endParaRPr>
          </a:p>
        </p:txBody>
      </p:sp>
      <p:sp>
        <p:nvSpPr>
          <p:cNvPr id="43" name="Полилиния 189">
            <a:extLst>
              <a:ext uri="{FF2B5EF4-FFF2-40B4-BE49-F238E27FC236}">
                <a16:creationId xmlns:a16="http://schemas.microsoft.com/office/drawing/2014/main" id="{8971E765-2D24-3B4C-9BF0-63059A76574D}"/>
              </a:ext>
            </a:extLst>
          </p:cNvPr>
          <p:cNvSpPr>
            <a:spLocks/>
          </p:cNvSpPr>
          <p:nvPr/>
        </p:nvSpPr>
        <p:spPr bwMode="auto">
          <a:xfrm flipV="1">
            <a:off x="6766636" y="4583468"/>
            <a:ext cx="1085348" cy="1340416"/>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 name="connsiteX0" fmla="*/ 0 w 2117558"/>
              <a:gd name="connsiteY0" fmla="*/ 1179094 h 1179094"/>
              <a:gd name="connsiteX1" fmla="*/ 986589 w 2117558"/>
              <a:gd name="connsiteY1" fmla="*/ 192505 h 1179094"/>
              <a:gd name="connsiteX2" fmla="*/ 1433853 w 2117558"/>
              <a:gd name="connsiteY2" fmla="*/ 0 h 1179094"/>
              <a:gd name="connsiteX3" fmla="*/ 2117558 w 2117558"/>
              <a:gd name="connsiteY3" fmla="*/ 0 h 1179094"/>
              <a:gd name="connsiteX0" fmla="*/ 0 w 2117558"/>
              <a:gd name="connsiteY0" fmla="*/ 1179094 h 1179094"/>
              <a:gd name="connsiteX1" fmla="*/ 986589 w 2117558"/>
              <a:gd name="connsiteY1" fmla="*/ 192505 h 1179094"/>
              <a:gd name="connsiteX2" fmla="*/ 1433853 w 2117558"/>
              <a:gd name="connsiteY2" fmla="*/ 0 h 1179094"/>
              <a:gd name="connsiteX3" fmla="*/ 2117558 w 2117558"/>
              <a:gd name="connsiteY3" fmla="*/ 0 h 1179094"/>
            </a:gdLst>
            <a:ahLst/>
            <a:cxnLst>
              <a:cxn ang="0">
                <a:pos x="connsiteX0" y="connsiteY0"/>
              </a:cxn>
              <a:cxn ang="0">
                <a:pos x="connsiteX1" y="connsiteY1"/>
              </a:cxn>
              <a:cxn ang="0">
                <a:pos x="connsiteX2" y="connsiteY2"/>
              </a:cxn>
              <a:cxn ang="0">
                <a:pos x="connsiteX3" y="connsiteY3"/>
              </a:cxn>
            </a:cxnLst>
            <a:rect l="l" t="t" r="r" b="b"/>
            <a:pathLst>
              <a:path w="2117558" h="1179094">
                <a:moveTo>
                  <a:pt x="0" y="1179094"/>
                </a:moveTo>
                <a:lnTo>
                  <a:pt x="986589" y="192505"/>
                </a:lnTo>
                <a:cubicBezTo>
                  <a:pt x="1075897" y="111610"/>
                  <a:pt x="1171944" y="2110"/>
                  <a:pt x="1433853"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en-US" dirty="0">
              <a:latin typeface="Lato Light" panose="020F0502020204030203" pitchFamily="34" charset="0"/>
            </a:endParaRPr>
          </a:p>
        </p:txBody>
      </p:sp>
      <p:sp>
        <p:nvSpPr>
          <p:cNvPr id="44" name="Скругленный прямоугольник 15">
            <a:extLst>
              <a:ext uri="{FF2B5EF4-FFF2-40B4-BE49-F238E27FC236}">
                <a16:creationId xmlns:a16="http://schemas.microsoft.com/office/drawing/2014/main" id="{4B671DE3-914C-AC48-9F6D-D6AA1676B537}"/>
              </a:ext>
            </a:extLst>
          </p:cNvPr>
          <p:cNvSpPr>
            <a:spLocks noChangeArrowheads="1"/>
          </p:cNvSpPr>
          <p:nvPr/>
        </p:nvSpPr>
        <p:spPr bwMode="auto">
          <a:xfrm>
            <a:off x="2219546" y="5697988"/>
            <a:ext cx="2212583" cy="451044"/>
          </a:xfrm>
          <a:prstGeom prst="roundRect">
            <a:avLst>
              <a:gd name="adj" fmla="val 50000"/>
            </a:avLst>
          </a:prstGeom>
          <a:solidFill>
            <a:schemeClr val="accent3"/>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defRPr/>
            </a:pPr>
            <a:endParaRPr lang="en-US" altLang="ru-RU" dirty="0">
              <a:latin typeface="Lato Light" panose="020F0502020204030203" pitchFamily="34" charset="0"/>
            </a:endParaRPr>
          </a:p>
        </p:txBody>
      </p:sp>
      <p:sp>
        <p:nvSpPr>
          <p:cNvPr id="45" name="Овал 71">
            <a:extLst>
              <a:ext uri="{FF2B5EF4-FFF2-40B4-BE49-F238E27FC236}">
                <a16:creationId xmlns:a16="http://schemas.microsoft.com/office/drawing/2014/main" id="{F4B385EC-B97A-754E-9B78-605A67978728}"/>
              </a:ext>
            </a:extLst>
          </p:cNvPr>
          <p:cNvSpPr>
            <a:spLocks noChangeArrowheads="1"/>
          </p:cNvSpPr>
          <p:nvPr/>
        </p:nvSpPr>
        <p:spPr bwMode="auto">
          <a:xfrm>
            <a:off x="4129730" y="5841968"/>
            <a:ext cx="163018" cy="163084"/>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en-US" altLang="ru-RU" dirty="0">
              <a:latin typeface="Lato Light" panose="020F0502020204030203" pitchFamily="34" charset="0"/>
            </a:endParaRPr>
          </a:p>
        </p:txBody>
      </p:sp>
      <p:sp>
        <p:nvSpPr>
          <p:cNvPr id="46" name="Овал 72">
            <a:extLst>
              <a:ext uri="{FF2B5EF4-FFF2-40B4-BE49-F238E27FC236}">
                <a16:creationId xmlns:a16="http://schemas.microsoft.com/office/drawing/2014/main" id="{90B46D3A-F06B-8448-BFA0-2C4AFB3E3069}"/>
              </a:ext>
            </a:extLst>
          </p:cNvPr>
          <p:cNvSpPr>
            <a:spLocks noChangeArrowheads="1"/>
          </p:cNvSpPr>
          <p:nvPr/>
        </p:nvSpPr>
        <p:spPr bwMode="auto">
          <a:xfrm>
            <a:off x="4165028" y="5876377"/>
            <a:ext cx="94227" cy="94265"/>
          </a:xfrm>
          <a:prstGeom prst="ellipse">
            <a:avLst/>
          </a:prstGeom>
          <a:solidFill>
            <a:schemeClr val="bg1">
              <a:lumMod val="50000"/>
            </a:schemeClr>
          </a:solidFill>
          <a:ln>
            <a:noFill/>
          </a:ln>
        </p:spPr>
        <p:txBody>
          <a:bodyPr lIns="0" tIns="0" rIns="0" bIns="0" anchor="ctr">
            <a:noAutofit/>
          </a:bodyPr>
          <a:lstStyle/>
          <a:p>
            <a:pPr algn="ctr" eaLnBrk="1"/>
            <a:endParaRPr lang="en-US" altLang="ru-RU" dirty="0">
              <a:latin typeface="Lato Light" panose="020F0502020204030203" pitchFamily="34" charset="0"/>
            </a:endParaRPr>
          </a:p>
        </p:txBody>
      </p:sp>
      <p:sp>
        <p:nvSpPr>
          <p:cNvPr id="48" name="Скругленный прямоугольник 88">
            <a:extLst>
              <a:ext uri="{FF2B5EF4-FFF2-40B4-BE49-F238E27FC236}">
                <a16:creationId xmlns:a16="http://schemas.microsoft.com/office/drawing/2014/main" id="{E01F2D22-2CB2-FC49-8DEE-46910948A4D9}"/>
              </a:ext>
            </a:extLst>
          </p:cNvPr>
          <p:cNvSpPr>
            <a:spLocks noChangeArrowheads="1"/>
          </p:cNvSpPr>
          <p:nvPr/>
        </p:nvSpPr>
        <p:spPr bwMode="auto">
          <a:xfrm>
            <a:off x="7742776" y="5697988"/>
            <a:ext cx="2212583" cy="451044"/>
          </a:xfrm>
          <a:prstGeom prst="roundRect">
            <a:avLst>
              <a:gd name="adj" fmla="val 50000"/>
            </a:avLst>
          </a:prstGeom>
          <a:solidFill>
            <a:schemeClr val="accent2"/>
          </a:solidFill>
          <a:ln>
            <a:noFill/>
          </a:ln>
        </p:spPr>
        <p:txBody>
          <a:bodyPr lIns="0" tIns="0" rIns="0" bIns="0" anchor="ctr">
            <a:noAutofit/>
          </a:bodyPr>
          <a:lstStyle/>
          <a:p>
            <a:pPr algn="ctr" eaLnBrk="1">
              <a:defRPr/>
            </a:pPr>
            <a:endParaRPr lang="en-US" altLang="ru-RU" dirty="0">
              <a:latin typeface="Lato Light" panose="020F0502020204030203" pitchFamily="34" charset="0"/>
            </a:endParaRPr>
          </a:p>
        </p:txBody>
      </p:sp>
      <p:sp>
        <p:nvSpPr>
          <p:cNvPr id="49" name="Овал 89">
            <a:extLst>
              <a:ext uri="{FF2B5EF4-FFF2-40B4-BE49-F238E27FC236}">
                <a16:creationId xmlns:a16="http://schemas.microsoft.com/office/drawing/2014/main" id="{1ADF5DF1-0F0C-AB4A-BCD0-8659E6495D56}"/>
              </a:ext>
            </a:extLst>
          </p:cNvPr>
          <p:cNvSpPr>
            <a:spLocks noChangeArrowheads="1"/>
          </p:cNvSpPr>
          <p:nvPr/>
        </p:nvSpPr>
        <p:spPr bwMode="auto">
          <a:xfrm>
            <a:off x="7892199" y="5841968"/>
            <a:ext cx="163018" cy="163084"/>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en-US" altLang="ru-RU" dirty="0">
              <a:latin typeface="Lato Light" panose="020F0502020204030203" pitchFamily="34" charset="0"/>
            </a:endParaRPr>
          </a:p>
        </p:txBody>
      </p:sp>
      <p:sp>
        <p:nvSpPr>
          <p:cNvPr id="50" name="Овал 90">
            <a:extLst>
              <a:ext uri="{FF2B5EF4-FFF2-40B4-BE49-F238E27FC236}">
                <a16:creationId xmlns:a16="http://schemas.microsoft.com/office/drawing/2014/main" id="{44286E88-8E1D-774E-980A-FB6EB8C4BDDB}"/>
              </a:ext>
            </a:extLst>
          </p:cNvPr>
          <p:cNvSpPr>
            <a:spLocks noChangeArrowheads="1"/>
          </p:cNvSpPr>
          <p:nvPr/>
        </p:nvSpPr>
        <p:spPr bwMode="auto">
          <a:xfrm>
            <a:off x="7927497" y="5876377"/>
            <a:ext cx="94227" cy="94265"/>
          </a:xfrm>
          <a:prstGeom prst="ellipse">
            <a:avLst/>
          </a:prstGeom>
          <a:solidFill>
            <a:schemeClr val="bg1">
              <a:lumMod val="50000"/>
            </a:schemeClr>
          </a:solidFill>
          <a:ln>
            <a:noFill/>
          </a:ln>
        </p:spPr>
        <p:txBody>
          <a:bodyPr lIns="0" tIns="0" rIns="0" bIns="0" anchor="ctr">
            <a:noAutofit/>
          </a:bodyPr>
          <a:lstStyle/>
          <a:p>
            <a:pPr algn="ctr" eaLnBrk="1"/>
            <a:endParaRPr lang="en-US" altLang="ru-RU" dirty="0">
              <a:latin typeface="Lato Light" panose="020F0502020204030203" pitchFamily="34" charset="0"/>
            </a:endParaRPr>
          </a:p>
        </p:txBody>
      </p:sp>
      <p:sp>
        <p:nvSpPr>
          <p:cNvPr id="52" name="Полилиния 201">
            <a:extLst>
              <a:ext uri="{FF2B5EF4-FFF2-40B4-BE49-F238E27FC236}">
                <a16:creationId xmlns:a16="http://schemas.microsoft.com/office/drawing/2014/main" id="{56EBB292-E763-D54F-8E44-62E46DDA8D9F}"/>
              </a:ext>
            </a:extLst>
          </p:cNvPr>
          <p:cNvSpPr>
            <a:spLocks/>
          </p:cNvSpPr>
          <p:nvPr/>
        </p:nvSpPr>
        <p:spPr bwMode="auto">
          <a:xfrm flipV="1">
            <a:off x="7718091" y="4583468"/>
            <a:ext cx="1438404" cy="610368"/>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en-US" dirty="0">
              <a:latin typeface="Lato Light" panose="020F0502020204030203" pitchFamily="34" charset="0"/>
            </a:endParaRPr>
          </a:p>
        </p:txBody>
      </p:sp>
      <p:sp>
        <p:nvSpPr>
          <p:cNvPr id="53" name="Полилиния 202">
            <a:extLst>
              <a:ext uri="{FF2B5EF4-FFF2-40B4-BE49-F238E27FC236}">
                <a16:creationId xmlns:a16="http://schemas.microsoft.com/office/drawing/2014/main" id="{EB1AF6A3-68C1-5244-934A-905EC0FFEA87}"/>
              </a:ext>
            </a:extLst>
          </p:cNvPr>
          <p:cNvSpPr>
            <a:spLocks/>
          </p:cNvSpPr>
          <p:nvPr/>
        </p:nvSpPr>
        <p:spPr bwMode="auto">
          <a:xfrm flipH="1" flipV="1">
            <a:off x="3289185" y="4583468"/>
            <a:ext cx="1438404" cy="610368"/>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en-US" dirty="0">
              <a:latin typeface="Lato Light" panose="020F0502020204030203" pitchFamily="34" charset="0"/>
            </a:endParaRPr>
          </a:p>
        </p:txBody>
      </p:sp>
      <p:sp>
        <p:nvSpPr>
          <p:cNvPr id="54" name="Скругленный прямоугольник 15">
            <a:extLst>
              <a:ext uri="{FF2B5EF4-FFF2-40B4-BE49-F238E27FC236}">
                <a16:creationId xmlns:a16="http://schemas.microsoft.com/office/drawing/2014/main" id="{5BAF46B0-109A-BA44-9157-BF3456942008}"/>
              </a:ext>
            </a:extLst>
          </p:cNvPr>
          <p:cNvSpPr>
            <a:spLocks noChangeArrowheads="1"/>
          </p:cNvSpPr>
          <p:nvPr/>
        </p:nvSpPr>
        <p:spPr bwMode="auto">
          <a:xfrm>
            <a:off x="1113254" y="4970184"/>
            <a:ext cx="2212583" cy="451045"/>
          </a:xfrm>
          <a:prstGeom prst="roundRect">
            <a:avLst>
              <a:gd name="adj" fmla="val 50000"/>
            </a:avLst>
          </a:prstGeom>
          <a:solidFill>
            <a:schemeClr val="accent5"/>
          </a:solidFill>
          <a:ln>
            <a:noFill/>
          </a:ln>
        </p:spPr>
        <p:txBody>
          <a:bodyPr lIns="0" tIns="0" rIns="0" bIns="0" anchor="ctr">
            <a:noAutofit/>
          </a:bodyPr>
          <a:lstStyle/>
          <a:p>
            <a:pPr algn="ctr" eaLnBrk="1">
              <a:defRPr/>
            </a:pPr>
            <a:endParaRPr lang="en-US" altLang="ru-RU" dirty="0">
              <a:latin typeface="Lato Light" panose="020F0502020204030203" pitchFamily="34" charset="0"/>
            </a:endParaRPr>
          </a:p>
        </p:txBody>
      </p:sp>
      <p:sp>
        <p:nvSpPr>
          <p:cNvPr id="55" name="Овал 71">
            <a:extLst>
              <a:ext uri="{FF2B5EF4-FFF2-40B4-BE49-F238E27FC236}">
                <a16:creationId xmlns:a16="http://schemas.microsoft.com/office/drawing/2014/main" id="{CA4DBEBD-8A6D-3541-92B8-271E885C37B5}"/>
              </a:ext>
            </a:extLst>
          </p:cNvPr>
          <p:cNvSpPr>
            <a:spLocks noChangeArrowheads="1"/>
          </p:cNvSpPr>
          <p:nvPr/>
        </p:nvSpPr>
        <p:spPr bwMode="auto">
          <a:xfrm>
            <a:off x="3023438" y="5114163"/>
            <a:ext cx="163018" cy="163084"/>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en-US" altLang="ru-RU" dirty="0">
              <a:latin typeface="Lato Light" panose="020F0502020204030203" pitchFamily="34" charset="0"/>
            </a:endParaRPr>
          </a:p>
        </p:txBody>
      </p:sp>
      <p:sp>
        <p:nvSpPr>
          <p:cNvPr id="56" name="Овал 72">
            <a:extLst>
              <a:ext uri="{FF2B5EF4-FFF2-40B4-BE49-F238E27FC236}">
                <a16:creationId xmlns:a16="http://schemas.microsoft.com/office/drawing/2014/main" id="{9ED596E3-FD42-1349-B70F-279EC5D1EE4A}"/>
              </a:ext>
            </a:extLst>
          </p:cNvPr>
          <p:cNvSpPr>
            <a:spLocks noChangeArrowheads="1"/>
          </p:cNvSpPr>
          <p:nvPr/>
        </p:nvSpPr>
        <p:spPr bwMode="auto">
          <a:xfrm>
            <a:off x="3058736" y="5148573"/>
            <a:ext cx="94227" cy="94265"/>
          </a:xfrm>
          <a:prstGeom prst="ellipse">
            <a:avLst/>
          </a:prstGeom>
          <a:solidFill>
            <a:schemeClr val="bg1">
              <a:lumMod val="50000"/>
            </a:schemeClr>
          </a:solidFill>
          <a:ln>
            <a:noFill/>
          </a:ln>
        </p:spPr>
        <p:txBody>
          <a:bodyPr lIns="0" tIns="0" rIns="0" bIns="0" anchor="ctr">
            <a:noAutofit/>
          </a:bodyPr>
          <a:lstStyle/>
          <a:p>
            <a:pPr algn="ctr" eaLnBrk="1"/>
            <a:endParaRPr lang="en-US" altLang="ru-RU" dirty="0">
              <a:latin typeface="Lato Light" panose="020F0502020204030203" pitchFamily="34" charset="0"/>
            </a:endParaRPr>
          </a:p>
        </p:txBody>
      </p:sp>
      <p:sp>
        <p:nvSpPr>
          <p:cNvPr id="58" name="Скругленный прямоугольник 88">
            <a:extLst>
              <a:ext uri="{FF2B5EF4-FFF2-40B4-BE49-F238E27FC236}">
                <a16:creationId xmlns:a16="http://schemas.microsoft.com/office/drawing/2014/main" id="{F766000A-2101-6A46-8A15-7C11157B73F8}"/>
              </a:ext>
            </a:extLst>
          </p:cNvPr>
          <p:cNvSpPr>
            <a:spLocks noChangeArrowheads="1"/>
          </p:cNvSpPr>
          <p:nvPr/>
        </p:nvSpPr>
        <p:spPr bwMode="auto">
          <a:xfrm>
            <a:off x="9079451" y="4970184"/>
            <a:ext cx="2212583" cy="451045"/>
          </a:xfrm>
          <a:prstGeom prst="roundRect">
            <a:avLst>
              <a:gd name="adj" fmla="val 50000"/>
            </a:avLst>
          </a:prstGeom>
          <a:solidFill>
            <a:schemeClr val="accent4"/>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defRPr/>
            </a:pPr>
            <a:endParaRPr lang="en-US" altLang="ru-RU" dirty="0">
              <a:latin typeface="Lato Light" panose="020F0502020204030203" pitchFamily="34" charset="0"/>
            </a:endParaRPr>
          </a:p>
        </p:txBody>
      </p:sp>
      <p:sp>
        <p:nvSpPr>
          <p:cNvPr id="59" name="Овал 89">
            <a:extLst>
              <a:ext uri="{FF2B5EF4-FFF2-40B4-BE49-F238E27FC236}">
                <a16:creationId xmlns:a16="http://schemas.microsoft.com/office/drawing/2014/main" id="{F841A4DC-0534-2742-A724-8D9B9EAF23F7}"/>
              </a:ext>
            </a:extLst>
          </p:cNvPr>
          <p:cNvSpPr>
            <a:spLocks noChangeArrowheads="1"/>
          </p:cNvSpPr>
          <p:nvPr/>
        </p:nvSpPr>
        <p:spPr bwMode="auto">
          <a:xfrm>
            <a:off x="9228875" y="5114163"/>
            <a:ext cx="163018" cy="163084"/>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en-US" altLang="ru-RU" dirty="0">
              <a:latin typeface="Lato Light" panose="020F0502020204030203" pitchFamily="34" charset="0"/>
            </a:endParaRPr>
          </a:p>
        </p:txBody>
      </p:sp>
      <p:sp>
        <p:nvSpPr>
          <p:cNvPr id="60" name="Овал 90">
            <a:extLst>
              <a:ext uri="{FF2B5EF4-FFF2-40B4-BE49-F238E27FC236}">
                <a16:creationId xmlns:a16="http://schemas.microsoft.com/office/drawing/2014/main" id="{D962DE77-889F-BB43-A2E1-93E80E2F8C9A}"/>
              </a:ext>
            </a:extLst>
          </p:cNvPr>
          <p:cNvSpPr>
            <a:spLocks noChangeArrowheads="1"/>
          </p:cNvSpPr>
          <p:nvPr/>
        </p:nvSpPr>
        <p:spPr bwMode="auto">
          <a:xfrm>
            <a:off x="9264172" y="5148573"/>
            <a:ext cx="94227" cy="94266"/>
          </a:xfrm>
          <a:prstGeom prst="ellipse">
            <a:avLst/>
          </a:prstGeom>
          <a:solidFill>
            <a:schemeClr val="bg1">
              <a:lumMod val="50000"/>
            </a:schemeClr>
          </a:solidFill>
          <a:ln>
            <a:noFill/>
          </a:ln>
        </p:spPr>
        <p:txBody>
          <a:bodyPr lIns="0" tIns="0" rIns="0" bIns="0" anchor="ctr">
            <a:noAutofit/>
          </a:bodyPr>
          <a:lstStyle/>
          <a:p>
            <a:pPr algn="ctr" eaLnBrk="1"/>
            <a:endParaRPr lang="en-US" altLang="ru-RU" dirty="0">
              <a:latin typeface="Lato Light" panose="020F0502020204030203" pitchFamily="34" charset="0"/>
            </a:endParaRPr>
          </a:p>
        </p:txBody>
      </p:sp>
      <p:sp>
        <p:nvSpPr>
          <p:cNvPr id="65" name="TextBox 64">
            <a:extLst>
              <a:ext uri="{FF2B5EF4-FFF2-40B4-BE49-F238E27FC236}">
                <a16:creationId xmlns:a16="http://schemas.microsoft.com/office/drawing/2014/main" id="{0BB54683-5B8E-5040-A478-BEC46BD625F0}"/>
              </a:ext>
            </a:extLst>
          </p:cNvPr>
          <p:cNvSpPr txBox="1"/>
          <p:nvPr/>
        </p:nvSpPr>
        <p:spPr>
          <a:xfrm>
            <a:off x="4573055" y="3672789"/>
            <a:ext cx="3058914" cy="553998"/>
          </a:xfrm>
          <a:prstGeom prst="rect">
            <a:avLst/>
          </a:prstGeom>
          <a:noFill/>
        </p:spPr>
        <p:txBody>
          <a:bodyPr wrap="none" rtlCol="0" anchor="ctr">
            <a:spAutoFit/>
          </a:bodyPr>
          <a:lstStyle/>
          <a:p>
            <a:pPr algn="ctr"/>
            <a:r>
              <a:rPr lang="en-US" sz="3000" b="1" dirty="0">
                <a:solidFill>
                  <a:schemeClr val="tx2"/>
                </a:solidFill>
                <a:latin typeface="Segoe UI Light" panose="020B0502040204020203" pitchFamily="34" charset="0"/>
                <a:cs typeface="Poppins" pitchFamily="2" charset="77"/>
              </a:rPr>
              <a:t>YOUR TITLE HERE</a:t>
            </a:r>
          </a:p>
        </p:txBody>
      </p:sp>
      <p:sp>
        <p:nvSpPr>
          <p:cNvPr id="66" name="Subtitle 2">
            <a:extLst>
              <a:ext uri="{FF2B5EF4-FFF2-40B4-BE49-F238E27FC236}">
                <a16:creationId xmlns:a16="http://schemas.microsoft.com/office/drawing/2014/main" id="{278384E5-BD6F-6A46-8018-4B6F37CE0476}"/>
              </a:ext>
            </a:extLst>
          </p:cNvPr>
          <p:cNvSpPr txBox="1">
            <a:spLocks/>
          </p:cNvSpPr>
          <p:nvPr/>
        </p:nvSpPr>
        <p:spPr>
          <a:xfrm>
            <a:off x="2453446" y="1843229"/>
            <a:ext cx="1607552" cy="25410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da-DK" sz="12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a:t>
            </a:r>
          </a:p>
        </p:txBody>
      </p:sp>
      <p:sp>
        <p:nvSpPr>
          <p:cNvPr id="67" name="Subtitle 2">
            <a:extLst>
              <a:ext uri="{FF2B5EF4-FFF2-40B4-BE49-F238E27FC236}">
                <a16:creationId xmlns:a16="http://schemas.microsoft.com/office/drawing/2014/main" id="{7F854621-A9EE-3D46-B168-8EB49A8AAAAE}"/>
              </a:ext>
            </a:extLst>
          </p:cNvPr>
          <p:cNvSpPr txBox="1">
            <a:spLocks/>
          </p:cNvSpPr>
          <p:nvPr/>
        </p:nvSpPr>
        <p:spPr>
          <a:xfrm>
            <a:off x="1343366" y="2567091"/>
            <a:ext cx="1607552" cy="25410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a:t>
            </a:r>
          </a:p>
        </p:txBody>
      </p:sp>
      <p:sp>
        <p:nvSpPr>
          <p:cNvPr id="68" name="Subtitle 2">
            <a:extLst>
              <a:ext uri="{FF2B5EF4-FFF2-40B4-BE49-F238E27FC236}">
                <a16:creationId xmlns:a16="http://schemas.microsoft.com/office/drawing/2014/main" id="{DD58DC0D-F171-6448-B523-CA8B0D5A2F64}"/>
              </a:ext>
            </a:extLst>
          </p:cNvPr>
          <p:cNvSpPr txBox="1">
            <a:spLocks/>
          </p:cNvSpPr>
          <p:nvPr/>
        </p:nvSpPr>
        <p:spPr>
          <a:xfrm>
            <a:off x="1345408" y="5071611"/>
            <a:ext cx="1607552" cy="25410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a:t>
            </a:r>
          </a:p>
        </p:txBody>
      </p:sp>
      <p:sp>
        <p:nvSpPr>
          <p:cNvPr id="69" name="Subtitle 2">
            <a:extLst>
              <a:ext uri="{FF2B5EF4-FFF2-40B4-BE49-F238E27FC236}">
                <a16:creationId xmlns:a16="http://schemas.microsoft.com/office/drawing/2014/main" id="{53C55537-AF37-0B4A-94A3-B80718D01F10}"/>
              </a:ext>
            </a:extLst>
          </p:cNvPr>
          <p:cNvSpPr txBox="1">
            <a:spLocks/>
          </p:cNvSpPr>
          <p:nvPr/>
        </p:nvSpPr>
        <p:spPr>
          <a:xfrm>
            <a:off x="2453446" y="5796455"/>
            <a:ext cx="1607552" cy="25410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a:t>
            </a:r>
          </a:p>
        </p:txBody>
      </p:sp>
      <p:sp>
        <p:nvSpPr>
          <p:cNvPr id="70" name="Subtitle 2">
            <a:extLst>
              <a:ext uri="{FF2B5EF4-FFF2-40B4-BE49-F238E27FC236}">
                <a16:creationId xmlns:a16="http://schemas.microsoft.com/office/drawing/2014/main" id="{4070B292-2E33-7F45-8C5E-F6B8CC795591}"/>
              </a:ext>
            </a:extLst>
          </p:cNvPr>
          <p:cNvSpPr txBox="1">
            <a:spLocks/>
          </p:cNvSpPr>
          <p:nvPr/>
        </p:nvSpPr>
        <p:spPr>
          <a:xfrm>
            <a:off x="8140844" y="1843229"/>
            <a:ext cx="1607552" cy="25410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a:t>
            </a:r>
          </a:p>
        </p:txBody>
      </p:sp>
      <p:sp>
        <p:nvSpPr>
          <p:cNvPr id="71" name="Subtitle 2">
            <a:extLst>
              <a:ext uri="{FF2B5EF4-FFF2-40B4-BE49-F238E27FC236}">
                <a16:creationId xmlns:a16="http://schemas.microsoft.com/office/drawing/2014/main" id="{C5B158B7-5273-EA44-BA13-3490C6FDCFA3}"/>
              </a:ext>
            </a:extLst>
          </p:cNvPr>
          <p:cNvSpPr txBox="1">
            <a:spLocks/>
          </p:cNvSpPr>
          <p:nvPr/>
        </p:nvSpPr>
        <p:spPr>
          <a:xfrm>
            <a:off x="9491017" y="2567091"/>
            <a:ext cx="1607552" cy="25410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a:t>
            </a:r>
          </a:p>
        </p:txBody>
      </p:sp>
      <p:sp>
        <p:nvSpPr>
          <p:cNvPr id="72" name="Subtitle 2">
            <a:extLst>
              <a:ext uri="{FF2B5EF4-FFF2-40B4-BE49-F238E27FC236}">
                <a16:creationId xmlns:a16="http://schemas.microsoft.com/office/drawing/2014/main" id="{7FEB9399-45DE-AF49-87A8-6ED63726BC94}"/>
              </a:ext>
            </a:extLst>
          </p:cNvPr>
          <p:cNvSpPr txBox="1">
            <a:spLocks/>
          </p:cNvSpPr>
          <p:nvPr/>
        </p:nvSpPr>
        <p:spPr>
          <a:xfrm>
            <a:off x="9493059" y="5071611"/>
            <a:ext cx="1607552" cy="25410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a:t>
            </a:r>
          </a:p>
        </p:txBody>
      </p:sp>
      <p:sp>
        <p:nvSpPr>
          <p:cNvPr id="73" name="Subtitle 2">
            <a:extLst>
              <a:ext uri="{FF2B5EF4-FFF2-40B4-BE49-F238E27FC236}">
                <a16:creationId xmlns:a16="http://schemas.microsoft.com/office/drawing/2014/main" id="{64598606-367B-934E-84BE-E0D4D635C99B}"/>
              </a:ext>
            </a:extLst>
          </p:cNvPr>
          <p:cNvSpPr txBox="1">
            <a:spLocks/>
          </p:cNvSpPr>
          <p:nvPr/>
        </p:nvSpPr>
        <p:spPr>
          <a:xfrm>
            <a:off x="8140843" y="5796455"/>
            <a:ext cx="1607552" cy="25410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a:t>
            </a:r>
          </a:p>
        </p:txBody>
      </p:sp>
      <p:sp>
        <p:nvSpPr>
          <p:cNvPr id="74" name="Subtitle 2">
            <a:extLst>
              <a:ext uri="{FF2B5EF4-FFF2-40B4-BE49-F238E27FC236}">
                <a16:creationId xmlns:a16="http://schemas.microsoft.com/office/drawing/2014/main" id="{145A85E8-DAB7-194A-A359-47021CC6635F}"/>
              </a:ext>
            </a:extLst>
          </p:cNvPr>
          <p:cNvSpPr txBox="1">
            <a:spLocks/>
          </p:cNvSpPr>
          <p:nvPr/>
        </p:nvSpPr>
        <p:spPr>
          <a:xfrm>
            <a:off x="5290407" y="1536898"/>
            <a:ext cx="1607552" cy="25410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a:t>
            </a:r>
          </a:p>
        </p:txBody>
      </p:sp>
      <p:sp>
        <p:nvSpPr>
          <p:cNvPr id="75" name="Subtitle 2">
            <a:extLst>
              <a:ext uri="{FF2B5EF4-FFF2-40B4-BE49-F238E27FC236}">
                <a16:creationId xmlns:a16="http://schemas.microsoft.com/office/drawing/2014/main" id="{73B284B3-A466-FC42-994A-40227E1E2F23}"/>
              </a:ext>
            </a:extLst>
          </p:cNvPr>
          <p:cNvSpPr txBox="1">
            <a:spLocks/>
          </p:cNvSpPr>
          <p:nvPr/>
        </p:nvSpPr>
        <p:spPr>
          <a:xfrm>
            <a:off x="5290407" y="6105935"/>
            <a:ext cx="1607552" cy="254109"/>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a:t>
            </a:r>
          </a:p>
        </p:txBody>
      </p:sp>
      <p:sp>
        <p:nvSpPr>
          <p:cNvPr id="57" name="Titel 1">
            <a:extLst>
              <a:ext uri="{FF2B5EF4-FFF2-40B4-BE49-F238E27FC236}">
                <a16:creationId xmlns:a16="http://schemas.microsoft.com/office/drawing/2014/main" id="{F3220FAB-918D-4EE3-9B1A-0B2640C7E048}"/>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Mind map diagram</a:t>
            </a:r>
          </a:p>
        </p:txBody>
      </p:sp>
    </p:spTree>
    <p:custDataLst>
      <p:tags r:id="rId1"/>
    </p:custDataLst>
    <p:extLst>
      <p:ext uri="{BB962C8B-B14F-4D97-AF65-F5344CB8AC3E}">
        <p14:creationId xmlns:p14="http://schemas.microsoft.com/office/powerpoint/2010/main" val="241313688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49D5C90-2D45-7F4A-87E2-023D790E7A4D}"/>
              </a:ext>
            </a:extLst>
          </p:cNvPr>
          <p:cNvSpPr/>
          <p:nvPr/>
        </p:nvSpPr>
        <p:spPr>
          <a:xfrm>
            <a:off x="3335962" y="1276350"/>
            <a:ext cx="2023510" cy="915057"/>
          </a:xfrm>
          <a:prstGeom prst="rect">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5" name="Rectangle 4">
            <a:extLst>
              <a:ext uri="{FF2B5EF4-FFF2-40B4-BE49-F238E27FC236}">
                <a16:creationId xmlns:a16="http://schemas.microsoft.com/office/drawing/2014/main" id="{D9DC908C-2FFF-AD41-999D-025F00E926C3}"/>
              </a:ext>
            </a:extLst>
          </p:cNvPr>
          <p:cNvSpPr/>
          <p:nvPr/>
        </p:nvSpPr>
        <p:spPr>
          <a:xfrm>
            <a:off x="5359472" y="1276350"/>
            <a:ext cx="2023510" cy="915057"/>
          </a:xfrm>
          <a:prstGeom prst="rect">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6" name="Rectangle 5">
            <a:extLst>
              <a:ext uri="{FF2B5EF4-FFF2-40B4-BE49-F238E27FC236}">
                <a16:creationId xmlns:a16="http://schemas.microsoft.com/office/drawing/2014/main" id="{E52C0BE3-1D7D-D248-B0C1-3A825DE1E24E}"/>
              </a:ext>
            </a:extLst>
          </p:cNvPr>
          <p:cNvSpPr/>
          <p:nvPr/>
        </p:nvSpPr>
        <p:spPr>
          <a:xfrm>
            <a:off x="7382981" y="1276350"/>
            <a:ext cx="2023510" cy="915057"/>
          </a:xfrm>
          <a:prstGeom prst="rect">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7" name="Rectangle 6">
            <a:extLst>
              <a:ext uri="{FF2B5EF4-FFF2-40B4-BE49-F238E27FC236}">
                <a16:creationId xmlns:a16="http://schemas.microsoft.com/office/drawing/2014/main" id="{E87B7571-37D2-B54E-97C9-86F1C46620E6}"/>
              </a:ext>
            </a:extLst>
          </p:cNvPr>
          <p:cNvSpPr/>
          <p:nvPr/>
        </p:nvSpPr>
        <p:spPr>
          <a:xfrm>
            <a:off x="9406491" y="1276350"/>
            <a:ext cx="2023510" cy="915057"/>
          </a:xfrm>
          <a:prstGeom prst="rect">
            <a:avLst/>
          </a:pr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9" name="Rectangle 8">
            <a:extLst>
              <a:ext uri="{FF2B5EF4-FFF2-40B4-BE49-F238E27FC236}">
                <a16:creationId xmlns:a16="http://schemas.microsoft.com/office/drawing/2014/main" id="{F7AFE8E0-01BD-DA4C-96B9-0E63770E8826}"/>
              </a:ext>
            </a:extLst>
          </p:cNvPr>
          <p:cNvSpPr/>
          <p:nvPr/>
        </p:nvSpPr>
        <p:spPr>
          <a:xfrm>
            <a:off x="762001" y="2191407"/>
            <a:ext cx="2573962" cy="1071399"/>
          </a:xfrm>
          <a:prstGeom prst="rect">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0" name="Rectangle 9">
            <a:extLst>
              <a:ext uri="{FF2B5EF4-FFF2-40B4-BE49-F238E27FC236}">
                <a16:creationId xmlns:a16="http://schemas.microsoft.com/office/drawing/2014/main" id="{C99B4736-DAE1-0748-A598-995F3573EE16}"/>
              </a:ext>
            </a:extLst>
          </p:cNvPr>
          <p:cNvSpPr/>
          <p:nvPr/>
        </p:nvSpPr>
        <p:spPr>
          <a:xfrm>
            <a:off x="762001" y="3262806"/>
            <a:ext cx="2573962" cy="1071399"/>
          </a:xfrm>
          <a:prstGeom prst="rect">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1" name="Rectangle 10">
            <a:extLst>
              <a:ext uri="{FF2B5EF4-FFF2-40B4-BE49-F238E27FC236}">
                <a16:creationId xmlns:a16="http://schemas.microsoft.com/office/drawing/2014/main" id="{6A798170-A702-5F42-84B2-817B492769FC}"/>
              </a:ext>
            </a:extLst>
          </p:cNvPr>
          <p:cNvSpPr/>
          <p:nvPr/>
        </p:nvSpPr>
        <p:spPr>
          <a:xfrm>
            <a:off x="762001" y="4334204"/>
            <a:ext cx="2573962" cy="1071399"/>
          </a:xfrm>
          <a:prstGeom prst="rect">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2" name="Rectangle 11">
            <a:extLst>
              <a:ext uri="{FF2B5EF4-FFF2-40B4-BE49-F238E27FC236}">
                <a16:creationId xmlns:a16="http://schemas.microsoft.com/office/drawing/2014/main" id="{655C2699-6CAF-7748-B470-2C029F459531}"/>
              </a:ext>
            </a:extLst>
          </p:cNvPr>
          <p:cNvSpPr/>
          <p:nvPr/>
        </p:nvSpPr>
        <p:spPr>
          <a:xfrm>
            <a:off x="762001" y="5405602"/>
            <a:ext cx="2573962" cy="1071399"/>
          </a:xfrm>
          <a:prstGeom prst="rect">
            <a:avLst/>
          </a:pr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6" name="Rectangle 15">
            <a:extLst>
              <a:ext uri="{FF2B5EF4-FFF2-40B4-BE49-F238E27FC236}">
                <a16:creationId xmlns:a16="http://schemas.microsoft.com/office/drawing/2014/main" id="{215A7902-E578-5740-8DAC-0D52AF4887F2}"/>
              </a:ext>
            </a:extLst>
          </p:cNvPr>
          <p:cNvSpPr/>
          <p:nvPr/>
        </p:nvSpPr>
        <p:spPr>
          <a:xfrm>
            <a:off x="3335962" y="2191407"/>
            <a:ext cx="2023510" cy="1071398"/>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7" name="Rectangle 16">
            <a:extLst>
              <a:ext uri="{FF2B5EF4-FFF2-40B4-BE49-F238E27FC236}">
                <a16:creationId xmlns:a16="http://schemas.microsoft.com/office/drawing/2014/main" id="{A354F67C-63E7-3F4C-959C-441825069A34}"/>
              </a:ext>
            </a:extLst>
          </p:cNvPr>
          <p:cNvSpPr/>
          <p:nvPr/>
        </p:nvSpPr>
        <p:spPr>
          <a:xfrm>
            <a:off x="5359472" y="2191407"/>
            <a:ext cx="2023510" cy="1071398"/>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8" name="Rectangle 17">
            <a:extLst>
              <a:ext uri="{FF2B5EF4-FFF2-40B4-BE49-F238E27FC236}">
                <a16:creationId xmlns:a16="http://schemas.microsoft.com/office/drawing/2014/main" id="{AA8C25EB-291D-4B46-858E-F9F6C45F8989}"/>
              </a:ext>
            </a:extLst>
          </p:cNvPr>
          <p:cNvSpPr/>
          <p:nvPr/>
        </p:nvSpPr>
        <p:spPr>
          <a:xfrm>
            <a:off x="7382981" y="2191407"/>
            <a:ext cx="2023510" cy="1071398"/>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9" name="Rectangle 18">
            <a:extLst>
              <a:ext uri="{FF2B5EF4-FFF2-40B4-BE49-F238E27FC236}">
                <a16:creationId xmlns:a16="http://schemas.microsoft.com/office/drawing/2014/main" id="{9A469E05-79FD-424C-A607-448CC7378A7F}"/>
              </a:ext>
            </a:extLst>
          </p:cNvPr>
          <p:cNvSpPr/>
          <p:nvPr/>
        </p:nvSpPr>
        <p:spPr>
          <a:xfrm>
            <a:off x="9406491" y="2191407"/>
            <a:ext cx="2023510" cy="1071398"/>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1" name="Rectangle 20">
            <a:extLst>
              <a:ext uri="{FF2B5EF4-FFF2-40B4-BE49-F238E27FC236}">
                <a16:creationId xmlns:a16="http://schemas.microsoft.com/office/drawing/2014/main" id="{A941B5BF-B9C5-AD44-904F-1C151D28CD45}"/>
              </a:ext>
            </a:extLst>
          </p:cNvPr>
          <p:cNvSpPr/>
          <p:nvPr/>
        </p:nvSpPr>
        <p:spPr>
          <a:xfrm>
            <a:off x="3335962" y="3262805"/>
            <a:ext cx="2023510" cy="1071398"/>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2" name="Rectangle 21">
            <a:extLst>
              <a:ext uri="{FF2B5EF4-FFF2-40B4-BE49-F238E27FC236}">
                <a16:creationId xmlns:a16="http://schemas.microsoft.com/office/drawing/2014/main" id="{C9A83BB5-1BFF-C443-BB00-894A36EF4C88}"/>
              </a:ext>
            </a:extLst>
          </p:cNvPr>
          <p:cNvSpPr/>
          <p:nvPr/>
        </p:nvSpPr>
        <p:spPr>
          <a:xfrm>
            <a:off x="5359472" y="3262805"/>
            <a:ext cx="2023510" cy="1071398"/>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3" name="Rectangle 22">
            <a:extLst>
              <a:ext uri="{FF2B5EF4-FFF2-40B4-BE49-F238E27FC236}">
                <a16:creationId xmlns:a16="http://schemas.microsoft.com/office/drawing/2014/main" id="{D3533223-7FE8-A348-A816-4ACE6A8B3C4B}"/>
              </a:ext>
            </a:extLst>
          </p:cNvPr>
          <p:cNvSpPr/>
          <p:nvPr/>
        </p:nvSpPr>
        <p:spPr>
          <a:xfrm>
            <a:off x="7382981" y="3262805"/>
            <a:ext cx="2023510" cy="1071398"/>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4" name="Rectangle 23">
            <a:extLst>
              <a:ext uri="{FF2B5EF4-FFF2-40B4-BE49-F238E27FC236}">
                <a16:creationId xmlns:a16="http://schemas.microsoft.com/office/drawing/2014/main" id="{3D484533-C00C-754A-8A18-0D93A6C1DBB8}"/>
              </a:ext>
            </a:extLst>
          </p:cNvPr>
          <p:cNvSpPr/>
          <p:nvPr/>
        </p:nvSpPr>
        <p:spPr>
          <a:xfrm>
            <a:off x="9406491" y="3262805"/>
            <a:ext cx="2023510" cy="1071398"/>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6" name="Rectangle 25">
            <a:extLst>
              <a:ext uri="{FF2B5EF4-FFF2-40B4-BE49-F238E27FC236}">
                <a16:creationId xmlns:a16="http://schemas.microsoft.com/office/drawing/2014/main" id="{5CF4F5BD-09E8-5D47-9C81-88F4385CEAE6}"/>
              </a:ext>
            </a:extLst>
          </p:cNvPr>
          <p:cNvSpPr/>
          <p:nvPr/>
        </p:nvSpPr>
        <p:spPr>
          <a:xfrm>
            <a:off x="3335962" y="4334203"/>
            <a:ext cx="2023510" cy="1071398"/>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7" name="Rectangle 26">
            <a:extLst>
              <a:ext uri="{FF2B5EF4-FFF2-40B4-BE49-F238E27FC236}">
                <a16:creationId xmlns:a16="http://schemas.microsoft.com/office/drawing/2014/main" id="{02D5467D-84EF-F843-9656-91CA0B4F3CFF}"/>
              </a:ext>
            </a:extLst>
          </p:cNvPr>
          <p:cNvSpPr/>
          <p:nvPr/>
        </p:nvSpPr>
        <p:spPr>
          <a:xfrm>
            <a:off x="5359472" y="4334203"/>
            <a:ext cx="2023510" cy="1071398"/>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8" name="Rectangle 27">
            <a:extLst>
              <a:ext uri="{FF2B5EF4-FFF2-40B4-BE49-F238E27FC236}">
                <a16:creationId xmlns:a16="http://schemas.microsoft.com/office/drawing/2014/main" id="{EDAE5385-F690-0545-AEF2-66C98EE6679A}"/>
              </a:ext>
            </a:extLst>
          </p:cNvPr>
          <p:cNvSpPr/>
          <p:nvPr/>
        </p:nvSpPr>
        <p:spPr>
          <a:xfrm>
            <a:off x="7382981" y="4334203"/>
            <a:ext cx="2023510" cy="1071398"/>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9" name="Rectangle 28">
            <a:extLst>
              <a:ext uri="{FF2B5EF4-FFF2-40B4-BE49-F238E27FC236}">
                <a16:creationId xmlns:a16="http://schemas.microsoft.com/office/drawing/2014/main" id="{DF472A7F-3071-DD4C-8389-17451A4973C3}"/>
              </a:ext>
            </a:extLst>
          </p:cNvPr>
          <p:cNvSpPr/>
          <p:nvPr/>
        </p:nvSpPr>
        <p:spPr>
          <a:xfrm>
            <a:off x="9406491" y="4334203"/>
            <a:ext cx="2023510" cy="1071398"/>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31" name="Rectangle 30">
            <a:extLst>
              <a:ext uri="{FF2B5EF4-FFF2-40B4-BE49-F238E27FC236}">
                <a16:creationId xmlns:a16="http://schemas.microsoft.com/office/drawing/2014/main" id="{50CE9BB2-24DF-E449-BF97-73FB8A8C67E4}"/>
              </a:ext>
            </a:extLst>
          </p:cNvPr>
          <p:cNvSpPr/>
          <p:nvPr/>
        </p:nvSpPr>
        <p:spPr>
          <a:xfrm>
            <a:off x="3335962" y="5405602"/>
            <a:ext cx="2023510" cy="1071398"/>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32" name="Rectangle 31">
            <a:extLst>
              <a:ext uri="{FF2B5EF4-FFF2-40B4-BE49-F238E27FC236}">
                <a16:creationId xmlns:a16="http://schemas.microsoft.com/office/drawing/2014/main" id="{16B03CD3-981B-E84B-AAF8-296F062954C9}"/>
              </a:ext>
            </a:extLst>
          </p:cNvPr>
          <p:cNvSpPr/>
          <p:nvPr/>
        </p:nvSpPr>
        <p:spPr>
          <a:xfrm>
            <a:off x="5359472" y="5405602"/>
            <a:ext cx="2023510" cy="1071398"/>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33" name="Rectangle 32">
            <a:extLst>
              <a:ext uri="{FF2B5EF4-FFF2-40B4-BE49-F238E27FC236}">
                <a16:creationId xmlns:a16="http://schemas.microsoft.com/office/drawing/2014/main" id="{103D1F14-EE6C-6F42-8B10-C4BA499F9B4B}"/>
              </a:ext>
            </a:extLst>
          </p:cNvPr>
          <p:cNvSpPr/>
          <p:nvPr/>
        </p:nvSpPr>
        <p:spPr>
          <a:xfrm>
            <a:off x="7382981" y="5405602"/>
            <a:ext cx="2023510" cy="1071398"/>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34" name="Rectangle 33">
            <a:extLst>
              <a:ext uri="{FF2B5EF4-FFF2-40B4-BE49-F238E27FC236}">
                <a16:creationId xmlns:a16="http://schemas.microsoft.com/office/drawing/2014/main" id="{88135FC8-39E8-4743-B0C9-3E9A6D704564}"/>
              </a:ext>
            </a:extLst>
          </p:cNvPr>
          <p:cNvSpPr/>
          <p:nvPr/>
        </p:nvSpPr>
        <p:spPr>
          <a:xfrm>
            <a:off x="9406491" y="5405602"/>
            <a:ext cx="2023510" cy="1071398"/>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35" name="TextBox 34">
            <a:extLst>
              <a:ext uri="{FF2B5EF4-FFF2-40B4-BE49-F238E27FC236}">
                <a16:creationId xmlns:a16="http://schemas.microsoft.com/office/drawing/2014/main" id="{396D0EE7-70EF-6340-A54C-F9F89FC740F8}"/>
              </a:ext>
            </a:extLst>
          </p:cNvPr>
          <p:cNvSpPr txBox="1"/>
          <p:nvPr/>
        </p:nvSpPr>
        <p:spPr>
          <a:xfrm>
            <a:off x="3796925" y="1564602"/>
            <a:ext cx="1101584" cy="338554"/>
          </a:xfrm>
          <a:prstGeom prst="rect">
            <a:avLst/>
          </a:prstGeom>
          <a:noFill/>
        </p:spPr>
        <p:txBody>
          <a:bodyPr wrap="none" rtlCol="0" anchor="ctr"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ASPECT 01</a:t>
            </a:r>
          </a:p>
        </p:txBody>
      </p:sp>
      <p:sp>
        <p:nvSpPr>
          <p:cNvPr id="36" name="TextBox 35">
            <a:extLst>
              <a:ext uri="{FF2B5EF4-FFF2-40B4-BE49-F238E27FC236}">
                <a16:creationId xmlns:a16="http://schemas.microsoft.com/office/drawing/2014/main" id="{8AF82356-41AC-284D-84BF-CAC238134D3D}"/>
              </a:ext>
            </a:extLst>
          </p:cNvPr>
          <p:cNvSpPr txBox="1"/>
          <p:nvPr/>
        </p:nvSpPr>
        <p:spPr>
          <a:xfrm>
            <a:off x="5804404" y="1564602"/>
            <a:ext cx="1133644" cy="338554"/>
          </a:xfrm>
          <a:prstGeom prst="rect">
            <a:avLst/>
          </a:prstGeom>
          <a:noFill/>
        </p:spPr>
        <p:txBody>
          <a:bodyPr wrap="none" rtlCol="0" anchor="ctr"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ASPECT 02</a:t>
            </a:r>
          </a:p>
        </p:txBody>
      </p:sp>
      <p:sp>
        <p:nvSpPr>
          <p:cNvPr id="37" name="TextBox 36">
            <a:extLst>
              <a:ext uri="{FF2B5EF4-FFF2-40B4-BE49-F238E27FC236}">
                <a16:creationId xmlns:a16="http://schemas.microsoft.com/office/drawing/2014/main" id="{A72C4498-660B-614B-810F-0336526DA014}"/>
              </a:ext>
            </a:extLst>
          </p:cNvPr>
          <p:cNvSpPr txBox="1"/>
          <p:nvPr/>
        </p:nvSpPr>
        <p:spPr>
          <a:xfrm>
            <a:off x="7827913" y="1564602"/>
            <a:ext cx="1133644" cy="338554"/>
          </a:xfrm>
          <a:prstGeom prst="rect">
            <a:avLst/>
          </a:prstGeom>
          <a:noFill/>
        </p:spPr>
        <p:txBody>
          <a:bodyPr wrap="none" rtlCol="0" anchor="ctr"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ASPECT 03</a:t>
            </a:r>
          </a:p>
        </p:txBody>
      </p:sp>
      <p:sp>
        <p:nvSpPr>
          <p:cNvPr id="38" name="TextBox 37">
            <a:extLst>
              <a:ext uri="{FF2B5EF4-FFF2-40B4-BE49-F238E27FC236}">
                <a16:creationId xmlns:a16="http://schemas.microsoft.com/office/drawing/2014/main" id="{F7A1B64F-6FA2-2843-BE7E-9E620A5BEC1F}"/>
              </a:ext>
            </a:extLst>
          </p:cNvPr>
          <p:cNvSpPr txBox="1"/>
          <p:nvPr/>
        </p:nvSpPr>
        <p:spPr>
          <a:xfrm>
            <a:off x="9849821" y="1564602"/>
            <a:ext cx="1136850" cy="338554"/>
          </a:xfrm>
          <a:prstGeom prst="rect">
            <a:avLst/>
          </a:prstGeom>
          <a:noFill/>
        </p:spPr>
        <p:txBody>
          <a:bodyPr wrap="none" rtlCol="0" anchor="ctr"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ASPECT 04</a:t>
            </a:r>
          </a:p>
        </p:txBody>
      </p:sp>
      <p:sp>
        <p:nvSpPr>
          <p:cNvPr id="39" name="TextBox 38">
            <a:extLst>
              <a:ext uri="{FF2B5EF4-FFF2-40B4-BE49-F238E27FC236}">
                <a16:creationId xmlns:a16="http://schemas.microsoft.com/office/drawing/2014/main" id="{3F8D63CA-C614-C446-9898-3AD31CF53A98}"/>
              </a:ext>
            </a:extLst>
          </p:cNvPr>
          <p:cNvSpPr txBox="1"/>
          <p:nvPr/>
        </p:nvSpPr>
        <p:spPr>
          <a:xfrm>
            <a:off x="1239307" y="2557829"/>
            <a:ext cx="1619354" cy="338554"/>
          </a:xfrm>
          <a:prstGeom prst="rect">
            <a:avLst/>
          </a:prstGeom>
          <a:noFill/>
        </p:spPr>
        <p:txBody>
          <a:bodyPr wrap="none" rtlCol="0" anchor="ctr"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DESCRIPTION 01</a:t>
            </a:r>
          </a:p>
        </p:txBody>
      </p:sp>
      <p:sp>
        <p:nvSpPr>
          <p:cNvPr id="40" name="TextBox 39">
            <a:extLst>
              <a:ext uri="{FF2B5EF4-FFF2-40B4-BE49-F238E27FC236}">
                <a16:creationId xmlns:a16="http://schemas.microsoft.com/office/drawing/2014/main" id="{663263BB-0915-D641-9120-D1BF08087503}"/>
              </a:ext>
            </a:extLst>
          </p:cNvPr>
          <p:cNvSpPr txBox="1"/>
          <p:nvPr/>
        </p:nvSpPr>
        <p:spPr>
          <a:xfrm>
            <a:off x="1223276" y="3629227"/>
            <a:ext cx="1651413" cy="338554"/>
          </a:xfrm>
          <a:prstGeom prst="rect">
            <a:avLst/>
          </a:prstGeom>
          <a:noFill/>
        </p:spPr>
        <p:txBody>
          <a:bodyPr wrap="none" rtlCol="0" anchor="ctr"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DESCRIPTION 02</a:t>
            </a:r>
          </a:p>
        </p:txBody>
      </p:sp>
      <p:sp>
        <p:nvSpPr>
          <p:cNvPr id="41" name="TextBox 40">
            <a:extLst>
              <a:ext uri="{FF2B5EF4-FFF2-40B4-BE49-F238E27FC236}">
                <a16:creationId xmlns:a16="http://schemas.microsoft.com/office/drawing/2014/main" id="{A2B1CFC4-91D5-5244-9A2E-55F2EF3E7434}"/>
              </a:ext>
            </a:extLst>
          </p:cNvPr>
          <p:cNvSpPr txBox="1"/>
          <p:nvPr/>
        </p:nvSpPr>
        <p:spPr>
          <a:xfrm>
            <a:off x="1223277" y="4703518"/>
            <a:ext cx="1651413" cy="338554"/>
          </a:xfrm>
          <a:prstGeom prst="rect">
            <a:avLst/>
          </a:prstGeom>
          <a:noFill/>
        </p:spPr>
        <p:txBody>
          <a:bodyPr wrap="none" rtlCol="0" anchor="ctr"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DESCRIPTION 03</a:t>
            </a:r>
          </a:p>
        </p:txBody>
      </p:sp>
      <p:sp>
        <p:nvSpPr>
          <p:cNvPr id="42" name="TextBox 41">
            <a:extLst>
              <a:ext uri="{FF2B5EF4-FFF2-40B4-BE49-F238E27FC236}">
                <a16:creationId xmlns:a16="http://schemas.microsoft.com/office/drawing/2014/main" id="{79A9FF33-7050-4E47-9313-2B34BFD07BF9}"/>
              </a:ext>
            </a:extLst>
          </p:cNvPr>
          <p:cNvSpPr txBox="1"/>
          <p:nvPr/>
        </p:nvSpPr>
        <p:spPr>
          <a:xfrm>
            <a:off x="1221673" y="5772024"/>
            <a:ext cx="1654620" cy="338554"/>
          </a:xfrm>
          <a:prstGeom prst="rect">
            <a:avLst/>
          </a:prstGeom>
          <a:noFill/>
        </p:spPr>
        <p:txBody>
          <a:bodyPr wrap="none" rtlCol="0" anchor="ctr" anchorCtr="0">
            <a:spAutoFit/>
          </a:bodyPr>
          <a:lstStyle/>
          <a:p>
            <a:pPr algn="ctr"/>
            <a:r>
              <a:rPr lang="en-US" sz="1600" b="1" dirty="0">
                <a:solidFill>
                  <a:schemeClr val="bg1"/>
                </a:solidFill>
                <a:latin typeface="Segoe UI Light" panose="020B0502040204020203" pitchFamily="34" charset="0"/>
                <a:ea typeface="League Spartan" charset="0"/>
                <a:cs typeface="Poppins" pitchFamily="2" charset="77"/>
              </a:rPr>
              <a:t>DESCRIPTION 04</a:t>
            </a:r>
          </a:p>
        </p:txBody>
      </p:sp>
      <p:sp>
        <p:nvSpPr>
          <p:cNvPr id="43" name="Subtitle 2">
            <a:extLst>
              <a:ext uri="{FF2B5EF4-FFF2-40B4-BE49-F238E27FC236}">
                <a16:creationId xmlns:a16="http://schemas.microsoft.com/office/drawing/2014/main" id="{5BD6B15A-D051-7F40-87A5-F42DD50CA467}"/>
              </a:ext>
            </a:extLst>
          </p:cNvPr>
          <p:cNvSpPr txBox="1">
            <a:spLocks/>
          </p:cNvSpPr>
          <p:nvPr/>
        </p:nvSpPr>
        <p:spPr>
          <a:xfrm>
            <a:off x="3467698" y="2369220"/>
            <a:ext cx="1760037" cy="71577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44" name="Subtitle 2">
            <a:extLst>
              <a:ext uri="{FF2B5EF4-FFF2-40B4-BE49-F238E27FC236}">
                <a16:creationId xmlns:a16="http://schemas.microsoft.com/office/drawing/2014/main" id="{D5844268-AD2F-104A-A91D-F6F16C7C3658}"/>
              </a:ext>
            </a:extLst>
          </p:cNvPr>
          <p:cNvSpPr txBox="1">
            <a:spLocks/>
          </p:cNvSpPr>
          <p:nvPr/>
        </p:nvSpPr>
        <p:spPr>
          <a:xfrm>
            <a:off x="3467698" y="3440618"/>
            <a:ext cx="1760037" cy="71577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45" name="Subtitle 2">
            <a:extLst>
              <a:ext uri="{FF2B5EF4-FFF2-40B4-BE49-F238E27FC236}">
                <a16:creationId xmlns:a16="http://schemas.microsoft.com/office/drawing/2014/main" id="{50085F72-1813-5E47-BB24-ACD5B30F5D76}"/>
              </a:ext>
            </a:extLst>
          </p:cNvPr>
          <p:cNvSpPr txBox="1">
            <a:spLocks/>
          </p:cNvSpPr>
          <p:nvPr/>
        </p:nvSpPr>
        <p:spPr>
          <a:xfrm>
            <a:off x="3467698" y="4512016"/>
            <a:ext cx="1760037" cy="71577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46" name="Subtitle 2">
            <a:extLst>
              <a:ext uri="{FF2B5EF4-FFF2-40B4-BE49-F238E27FC236}">
                <a16:creationId xmlns:a16="http://schemas.microsoft.com/office/drawing/2014/main" id="{0AD4BB74-B686-1D46-A8E2-B8E85C5F630F}"/>
              </a:ext>
            </a:extLst>
          </p:cNvPr>
          <p:cNvSpPr txBox="1">
            <a:spLocks/>
          </p:cNvSpPr>
          <p:nvPr/>
        </p:nvSpPr>
        <p:spPr>
          <a:xfrm>
            <a:off x="3467698" y="5583415"/>
            <a:ext cx="1760037" cy="71577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49" name="Subtitle 2">
            <a:extLst>
              <a:ext uri="{FF2B5EF4-FFF2-40B4-BE49-F238E27FC236}">
                <a16:creationId xmlns:a16="http://schemas.microsoft.com/office/drawing/2014/main" id="{C0BA3431-D5AC-0D4F-B262-18EA32BFD9CB}"/>
              </a:ext>
            </a:extLst>
          </p:cNvPr>
          <p:cNvSpPr txBox="1">
            <a:spLocks/>
          </p:cNvSpPr>
          <p:nvPr/>
        </p:nvSpPr>
        <p:spPr>
          <a:xfrm>
            <a:off x="5491207" y="2369220"/>
            <a:ext cx="1760037" cy="71577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50" name="Subtitle 2">
            <a:extLst>
              <a:ext uri="{FF2B5EF4-FFF2-40B4-BE49-F238E27FC236}">
                <a16:creationId xmlns:a16="http://schemas.microsoft.com/office/drawing/2014/main" id="{FC9E5688-D745-E74C-BD65-A4E223CAC5C0}"/>
              </a:ext>
            </a:extLst>
          </p:cNvPr>
          <p:cNvSpPr txBox="1">
            <a:spLocks/>
          </p:cNvSpPr>
          <p:nvPr/>
        </p:nvSpPr>
        <p:spPr>
          <a:xfrm>
            <a:off x="5491207" y="3440618"/>
            <a:ext cx="1760037" cy="71577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51" name="Subtitle 2">
            <a:extLst>
              <a:ext uri="{FF2B5EF4-FFF2-40B4-BE49-F238E27FC236}">
                <a16:creationId xmlns:a16="http://schemas.microsoft.com/office/drawing/2014/main" id="{080729F2-5BC7-944E-82D1-49B02E23E52B}"/>
              </a:ext>
            </a:extLst>
          </p:cNvPr>
          <p:cNvSpPr txBox="1">
            <a:spLocks/>
          </p:cNvSpPr>
          <p:nvPr/>
        </p:nvSpPr>
        <p:spPr>
          <a:xfrm>
            <a:off x="5491207" y="4512016"/>
            <a:ext cx="1760037" cy="71577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52" name="Subtitle 2">
            <a:extLst>
              <a:ext uri="{FF2B5EF4-FFF2-40B4-BE49-F238E27FC236}">
                <a16:creationId xmlns:a16="http://schemas.microsoft.com/office/drawing/2014/main" id="{96B26BD3-2B88-BC46-94E0-D356EE934270}"/>
              </a:ext>
            </a:extLst>
          </p:cNvPr>
          <p:cNvSpPr txBox="1">
            <a:spLocks/>
          </p:cNvSpPr>
          <p:nvPr/>
        </p:nvSpPr>
        <p:spPr>
          <a:xfrm>
            <a:off x="5491207" y="5583415"/>
            <a:ext cx="1760037" cy="71577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54" name="Subtitle 2">
            <a:extLst>
              <a:ext uri="{FF2B5EF4-FFF2-40B4-BE49-F238E27FC236}">
                <a16:creationId xmlns:a16="http://schemas.microsoft.com/office/drawing/2014/main" id="{D1F5C3CD-E57A-6A4B-ACE8-BC627029AFD6}"/>
              </a:ext>
            </a:extLst>
          </p:cNvPr>
          <p:cNvSpPr txBox="1">
            <a:spLocks/>
          </p:cNvSpPr>
          <p:nvPr/>
        </p:nvSpPr>
        <p:spPr>
          <a:xfrm>
            <a:off x="7514717" y="2369220"/>
            <a:ext cx="1760037" cy="71577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55" name="Subtitle 2">
            <a:extLst>
              <a:ext uri="{FF2B5EF4-FFF2-40B4-BE49-F238E27FC236}">
                <a16:creationId xmlns:a16="http://schemas.microsoft.com/office/drawing/2014/main" id="{498A8F75-4E3A-9841-9982-E9ECF8CC9604}"/>
              </a:ext>
            </a:extLst>
          </p:cNvPr>
          <p:cNvSpPr txBox="1">
            <a:spLocks/>
          </p:cNvSpPr>
          <p:nvPr/>
        </p:nvSpPr>
        <p:spPr>
          <a:xfrm>
            <a:off x="7514717" y="3440618"/>
            <a:ext cx="1760037" cy="71577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56" name="Subtitle 2">
            <a:extLst>
              <a:ext uri="{FF2B5EF4-FFF2-40B4-BE49-F238E27FC236}">
                <a16:creationId xmlns:a16="http://schemas.microsoft.com/office/drawing/2014/main" id="{627BF97D-E045-A04A-8245-689C3D87D1BC}"/>
              </a:ext>
            </a:extLst>
          </p:cNvPr>
          <p:cNvSpPr txBox="1">
            <a:spLocks/>
          </p:cNvSpPr>
          <p:nvPr/>
        </p:nvSpPr>
        <p:spPr>
          <a:xfrm>
            <a:off x="7514717" y="4512016"/>
            <a:ext cx="1760037" cy="71577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57" name="Subtitle 2">
            <a:extLst>
              <a:ext uri="{FF2B5EF4-FFF2-40B4-BE49-F238E27FC236}">
                <a16:creationId xmlns:a16="http://schemas.microsoft.com/office/drawing/2014/main" id="{5C570F2E-9C01-5D43-9467-5DCB9F1C382B}"/>
              </a:ext>
            </a:extLst>
          </p:cNvPr>
          <p:cNvSpPr txBox="1">
            <a:spLocks/>
          </p:cNvSpPr>
          <p:nvPr/>
        </p:nvSpPr>
        <p:spPr>
          <a:xfrm>
            <a:off x="7514717" y="5583415"/>
            <a:ext cx="1760037" cy="71577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59" name="Subtitle 2">
            <a:extLst>
              <a:ext uri="{FF2B5EF4-FFF2-40B4-BE49-F238E27FC236}">
                <a16:creationId xmlns:a16="http://schemas.microsoft.com/office/drawing/2014/main" id="{29D41B8E-942D-B64B-8F62-582988284906}"/>
              </a:ext>
            </a:extLst>
          </p:cNvPr>
          <p:cNvSpPr txBox="1">
            <a:spLocks/>
          </p:cNvSpPr>
          <p:nvPr/>
        </p:nvSpPr>
        <p:spPr>
          <a:xfrm>
            <a:off x="9538227" y="2369220"/>
            <a:ext cx="1760037" cy="71577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60" name="Subtitle 2">
            <a:extLst>
              <a:ext uri="{FF2B5EF4-FFF2-40B4-BE49-F238E27FC236}">
                <a16:creationId xmlns:a16="http://schemas.microsoft.com/office/drawing/2014/main" id="{0B8AC178-8AD5-A44F-88AB-C836809CD5BB}"/>
              </a:ext>
            </a:extLst>
          </p:cNvPr>
          <p:cNvSpPr txBox="1">
            <a:spLocks/>
          </p:cNvSpPr>
          <p:nvPr/>
        </p:nvSpPr>
        <p:spPr>
          <a:xfrm>
            <a:off x="9538227" y="3440618"/>
            <a:ext cx="1760037" cy="71577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61" name="Subtitle 2">
            <a:extLst>
              <a:ext uri="{FF2B5EF4-FFF2-40B4-BE49-F238E27FC236}">
                <a16:creationId xmlns:a16="http://schemas.microsoft.com/office/drawing/2014/main" id="{E77DEB03-FC30-A046-8295-E1FC86AB52AB}"/>
              </a:ext>
            </a:extLst>
          </p:cNvPr>
          <p:cNvSpPr txBox="1">
            <a:spLocks/>
          </p:cNvSpPr>
          <p:nvPr/>
        </p:nvSpPr>
        <p:spPr>
          <a:xfrm>
            <a:off x="9538227" y="4512016"/>
            <a:ext cx="1760037" cy="71577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62" name="Subtitle 2">
            <a:extLst>
              <a:ext uri="{FF2B5EF4-FFF2-40B4-BE49-F238E27FC236}">
                <a16:creationId xmlns:a16="http://schemas.microsoft.com/office/drawing/2014/main" id="{15EDC59F-9E86-0F43-ACA7-59A0901B5F34}"/>
              </a:ext>
            </a:extLst>
          </p:cNvPr>
          <p:cNvSpPr txBox="1">
            <a:spLocks/>
          </p:cNvSpPr>
          <p:nvPr/>
        </p:nvSpPr>
        <p:spPr>
          <a:xfrm>
            <a:off x="9538227" y="5583415"/>
            <a:ext cx="1760037" cy="71577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dirty="0">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53" name="Titel 1">
            <a:extLst>
              <a:ext uri="{FF2B5EF4-FFF2-40B4-BE49-F238E27FC236}">
                <a16:creationId xmlns:a16="http://schemas.microsoft.com/office/drawing/2014/main" id="{28FF0C49-5B57-434C-A229-9038481F0709}"/>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Table slide</a:t>
            </a:r>
          </a:p>
        </p:txBody>
      </p:sp>
    </p:spTree>
    <p:custDataLst>
      <p:tags r:id="rId1"/>
    </p:custDataLst>
    <p:extLst>
      <p:ext uri="{BB962C8B-B14F-4D97-AF65-F5344CB8AC3E}">
        <p14:creationId xmlns:p14="http://schemas.microsoft.com/office/powerpoint/2010/main" val="17078259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E116D5B9-F0AF-F440-947A-D52120241203}"/>
              </a:ext>
            </a:extLst>
          </p:cNvPr>
          <p:cNvGrpSpPr/>
          <p:nvPr/>
        </p:nvGrpSpPr>
        <p:grpSpPr>
          <a:xfrm>
            <a:off x="1079037" y="471066"/>
            <a:ext cx="10350964" cy="6386934"/>
            <a:chOff x="2154898" y="942132"/>
            <a:chExt cx="20701927" cy="12773868"/>
          </a:xfrm>
          <a:solidFill>
            <a:schemeClr val="bg1">
              <a:lumMod val="95000"/>
            </a:schemeClr>
          </a:solidFill>
        </p:grpSpPr>
        <p:sp>
          <p:nvSpPr>
            <p:cNvPr id="3075" name="Freeform 3">
              <a:extLst>
                <a:ext uri="{FF2B5EF4-FFF2-40B4-BE49-F238E27FC236}">
                  <a16:creationId xmlns:a16="http://schemas.microsoft.com/office/drawing/2014/main" id="{D8E04B42-315A-1546-A98C-D011E55F9350}"/>
                </a:ext>
              </a:extLst>
            </p:cNvPr>
            <p:cNvSpPr>
              <a:spLocks noChangeArrowheads="1"/>
            </p:cNvSpPr>
            <p:nvPr/>
          </p:nvSpPr>
          <p:spPr bwMode="auto">
            <a:xfrm>
              <a:off x="14696785" y="942132"/>
              <a:ext cx="2614341" cy="2074062"/>
            </a:xfrm>
            <a:custGeom>
              <a:avLst/>
              <a:gdLst>
                <a:gd name="T0" fmla="*/ 3224 w 3840"/>
                <a:gd name="T1" fmla="*/ 983 h 3047"/>
                <a:gd name="T2" fmla="*/ 3224 w 3840"/>
                <a:gd name="T3" fmla="*/ 983 h 3047"/>
                <a:gd name="T4" fmla="*/ 3048 w 3840"/>
                <a:gd name="T5" fmla="*/ 1010 h 3047"/>
                <a:gd name="T6" fmla="*/ 3048 w 3840"/>
                <a:gd name="T7" fmla="*/ 1010 h 3047"/>
                <a:gd name="T8" fmla="*/ 3048 w 3840"/>
                <a:gd name="T9" fmla="*/ 983 h 3047"/>
                <a:gd name="T10" fmla="*/ 3048 w 3840"/>
                <a:gd name="T11" fmla="*/ 983 h 3047"/>
                <a:gd name="T12" fmla="*/ 2065 w 3840"/>
                <a:gd name="T13" fmla="*/ 0 h 3047"/>
                <a:gd name="T14" fmla="*/ 2065 w 3840"/>
                <a:gd name="T15" fmla="*/ 0 h 3047"/>
                <a:gd name="T16" fmla="*/ 1091 w 3840"/>
                <a:gd name="T17" fmla="*/ 847 h 3047"/>
                <a:gd name="T18" fmla="*/ 1091 w 3840"/>
                <a:gd name="T19" fmla="*/ 847 h 3047"/>
                <a:gd name="T20" fmla="*/ 820 w 3840"/>
                <a:gd name="T21" fmla="*/ 801 h 3047"/>
                <a:gd name="T22" fmla="*/ 820 w 3840"/>
                <a:gd name="T23" fmla="*/ 801 h 3047"/>
                <a:gd name="T24" fmla="*/ 0 w 3840"/>
                <a:gd name="T25" fmla="*/ 1621 h 3047"/>
                <a:gd name="T26" fmla="*/ 0 w 3840"/>
                <a:gd name="T27" fmla="*/ 1621 h 3047"/>
                <a:gd name="T28" fmla="*/ 694 w 3840"/>
                <a:gd name="T29" fmla="*/ 2431 h 3047"/>
                <a:gd name="T30" fmla="*/ 694 w 3840"/>
                <a:gd name="T31" fmla="*/ 2431 h 3047"/>
                <a:gd name="T32" fmla="*/ 1472 w 3840"/>
                <a:gd name="T33" fmla="*/ 3046 h 3047"/>
                <a:gd name="T34" fmla="*/ 1472 w 3840"/>
                <a:gd name="T35" fmla="*/ 3046 h 3047"/>
                <a:gd name="T36" fmla="*/ 2181 w 3840"/>
                <a:gd name="T37" fmla="*/ 2618 h 3047"/>
                <a:gd name="T38" fmla="*/ 2181 w 3840"/>
                <a:gd name="T39" fmla="*/ 2618 h 3047"/>
                <a:gd name="T40" fmla="*/ 2653 w 3840"/>
                <a:gd name="T41" fmla="*/ 2866 h 3047"/>
                <a:gd name="T42" fmla="*/ 2653 w 3840"/>
                <a:gd name="T43" fmla="*/ 2866 h 3047"/>
                <a:gd name="T44" fmla="*/ 3224 w 3840"/>
                <a:gd name="T45" fmla="*/ 2295 h 3047"/>
                <a:gd name="T46" fmla="*/ 3224 w 3840"/>
                <a:gd name="T47" fmla="*/ 2295 h 3047"/>
                <a:gd name="T48" fmla="*/ 3218 w 3840"/>
                <a:gd name="T49" fmla="*/ 2213 h 3047"/>
                <a:gd name="T50" fmla="*/ 3218 w 3840"/>
                <a:gd name="T51" fmla="*/ 2213 h 3047"/>
                <a:gd name="T52" fmla="*/ 3224 w 3840"/>
                <a:gd name="T53" fmla="*/ 2213 h 3047"/>
                <a:gd name="T54" fmla="*/ 3224 w 3840"/>
                <a:gd name="T55" fmla="*/ 2213 h 3047"/>
                <a:gd name="T56" fmla="*/ 3839 w 3840"/>
                <a:gd name="T57" fmla="*/ 1598 h 3047"/>
                <a:gd name="T58" fmla="*/ 3839 w 3840"/>
                <a:gd name="T59" fmla="*/ 1598 h 3047"/>
                <a:gd name="T60" fmla="*/ 3224 w 3840"/>
                <a:gd name="T61" fmla="*/ 983 h 3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40" h="3047">
                  <a:moveTo>
                    <a:pt x="3224" y="983"/>
                  </a:moveTo>
                  <a:lnTo>
                    <a:pt x="3224" y="983"/>
                  </a:lnTo>
                  <a:cubicBezTo>
                    <a:pt x="3163" y="983"/>
                    <a:pt x="3104" y="993"/>
                    <a:pt x="3048" y="1010"/>
                  </a:cubicBezTo>
                  <a:lnTo>
                    <a:pt x="3048" y="1010"/>
                  </a:lnTo>
                  <a:cubicBezTo>
                    <a:pt x="3048" y="1001"/>
                    <a:pt x="3048" y="992"/>
                    <a:pt x="3048" y="983"/>
                  </a:cubicBezTo>
                  <a:lnTo>
                    <a:pt x="3048" y="983"/>
                  </a:lnTo>
                  <a:cubicBezTo>
                    <a:pt x="3048" y="440"/>
                    <a:pt x="2608" y="0"/>
                    <a:pt x="2065" y="0"/>
                  </a:cubicBezTo>
                  <a:lnTo>
                    <a:pt x="2065" y="0"/>
                  </a:lnTo>
                  <a:cubicBezTo>
                    <a:pt x="1568" y="0"/>
                    <a:pt x="1157" y="369"/>
                    <a:pt x="1091" y="847"/>
                  </a:cubicBezTo>
                  <a:lnTo>
                    <a:pt x="1091" y="847"/>
                  </a:lnTo>
                  <a:cubicBezTo>
                    <a:pt x="1006" y="817"/>
                    <a:pt x="915" y="801"/>
                    <a:pt x="820" y="801"/>
                  </a:cubicBezTo>
                  <a:lnTo>
                    <a:pt x="820" y="801"/>
                  </a:lnTo>
                  <a:cubicBezTo>
                    <a:pt x="367" y="801"/>
                    <a:pt x="0" y="1168"/>
                    <a:pt x="0" y="1621"/>
                  </a:cubicBezTo>
                  <a:lnTo>
                    <a:pt x="0" y="1621"/>
                  </a:lnTo>
                  <a:cubicBezTo>
                    <a:pt x="0" y="2031"/>
                    <a:pt x="301" y="2370"/>
                    <a:pt x="694" y="2431"/>
                  </a:cubicBezTo>
                  <a:lnTo>
                    <a:pt x="694" y="2431"/>
                  </a:lnTo>
                  <a:cubicBezTo>
                    <a:pt x="779" y="2784"/>
                    <a:pt x="1094" y="3046"/>
                    <a:pt x="1472" y="3046"/>
                  </a:cubicBezTo>
                  <a:lnTo>
                    <a:pt x="1472" y="3046"/>
                  </a:lnTo>
                  <a:cubicBezTo>
                    <a:pt x="1780" y="3046"/>
                    <a:pt x="2047" y="2872"/>
                    <a:pt x="2181" y="2618"/>
                  </a:cubicBezTo>
                  <a:lnTo>
                    <a:pt x="2181" y="2618"/>
                  </a:lnTo>
                  <a:cubicBezTo>
                    <a:pt x="2284" y="2768"/>
                    <a:pt x="2457" y="2866"/>
                    <a:pt x="2653" y="2866"/>
                  </a:cubicBezTo>
                  <a:lnTo>
                    <a:pt x="2653" y="2866"/>
                  </a:lnTo>
                  <a:cubicBezTo>
                    <a:pt x="2968" y="2866"/>
                    <a:pt x="3224" y="2611"/>
                    <a:pt x="3224" y="2295"/>
                  </a:cubicBezTo>
                  <a:lnTo>
                    <a:pt x="3224" y="2295"/>
                  </a:lnTo>
                  <a:cubicBezTo>
                    <a:pt x="3224" y="2267"/>
                    <a:pt x="3222" y="2240"/>
                    <a:pt x="3218" y="2213"/>
                  </a:cubicBezTo>
                  <a:lnTo>
                    <a:pt x="3218" y="2213"/>
                  </a:lnTo>
                  <a:cubicBezTo>
                    <a:pt x="3220" y="2213"/>
                    <a:pt x="3222" y="2213"/>
                    <a:pt x="3224" y="2213"/>
                  </a:cubicBezTo>
                  <a:lnTo>
                    <a:pt x="3224" y="2213"/>
                  </a:lnTo>
                  <a:cubicBezTo>
                    <a:pt x="3564" y="2213"/>
                    <a:pt x="3839" y="1939"/>
                    <a:pt x="3839" y="1598"/>
                  </a:cubicBezTo>
                  <a:lnTo>
                    <a:pt x="3839" y="1598"/>
                  </a:lnTo>
                  <a:cubicBezTo>
                    <a:pt x="3839" y="1259"/>
                    <a:pt x="3564" y="983"/>
                    <a:pt x="3224" y="98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3077" name="Freeform 5">
              <a:extLst>
                <a:ext uri="{FF2B5EF4-FFF2-40B4-BE49-F238E27FC236}">
                  <a16:creationId xmlns:a16="http://schemas.microsoft.com/office/drawing/2014/main" id="{7C636C20-E210-104C-A344-38BEB817C306}"/>
                </a:ext>
              </a:extLst>
            </p:cNvPr>
            <p:cNvSpPr>
              <a:spLocks noChangeArrowheads="1"/>
            </p:cNvSpPr>
            <p:nvPr/>
          </p:nvSpPr>
          <p:spPr bwMode="auto">
            <a:xfrm>
              <a:off x="9750248" y="6549006"/>
              <a:ext cx="1884967" cy="1149588"/>
            </a:xfrm>
            <a:custGeom>
              <a:avLst/>
              <a:gdLst>
                <a:gd name="T0" fmla="*/ 1419 w 2768"/>
                <a:gd name="T1" fmla="*/ 953 h 1690"/>
                <a:gd name="T2" fmla="*/ 1419 w 2768"/>
                <a:gd name="T3" fmla="*/ 953 h 1690"/>
                <a:gd name="T4" fmla="*/ 1397 w 2768"/>
                <a:gd name="T5" fmla="*/ 918 h 1690"/>
                <a:gd name="T6" fmla="*/ 1397 w 2768"/>
                <a:gd name="T7" fmla="*/ 918 h 1690"/>
                <a:gd name="T8" fmla="*/ 1434 w 2768"/>
                <a:gd name="T9" fmla="*/ 938 h 1690"/>
                <a:gd name="T10" fmla="*/ 1434 w 2768"/>
                <a:gd name="T11" fmla="*/ 938 h 1690"/>
                <a:gd name="T12" fmla="*/ 1419 w 2768"/>
                <a:gd name="T13" fmla="*/ 953 h 1690"/>
                <a:gd name="T14" fmla="*/ 2290 w 2768"/>
                <a:gd name="T15" fmla="*/ 495 h 1690"/>
                <a:gd name="T16" fmla="*/ 2290 w 2768"/>
                <a:gd name="T17" fmla="*/ 495 h 1690"/>
                <a:gd name="T18" fmla="*/ 2149 w 2768"/>
                <a:gd name="T19" fmla="*/ 517 h 1690"/>
                <a:gd name="T20" fmla="*/ 2149 w 2768"/>
                <a:gd name="T21" fmla="*/ 517 h 1690"/>
                <a:gd name="T22" fmla="*/ 2150 w 2768"/>
                <a:gd name="T23" fmla="*/ 495 h 1690"/>
                <a:gd name="T24" fmla="*/ 2150 w 2768"/>
                <a:gd name="T25" fmla="*/ 495 h 1690"/>
                <a:gd name="T26" fmla="*/ 1655 w 2768"/>
                <a:gd name="T27" fmla="*/ 0 h 1690"/>
                <a:gd name="T28" fmla="*/ 1655 w 2768"/>
                <a:gd name="T29" fmla="*/ 0 h 1690"/>
                <a:gd name="T30" fmla="*/ 1264 w 2768"/>
                <a:gd name="T31" fmla="*/ 192 h 1690"/>
                <a:gd name="T32" fmla="*/ 1264 w 2768"/>
                <a:gd name="T33" fmla="*/ 192 h 1690"/>
                <a:gd name="T34" fmla="*/ 967 w 2768"/>
                <a:gd name="T35" fmla="*/ 74 h 1690"/>
                <a:gd name="T36" fmla="*/ 967 w 2768"/>
                <a:gd name="T37" fmla="*/ 74 h 1690"/>
                <a:gd name="T38" fmla="*/ 573 w 2768"/>
                <a:gd name="T39" fmla="*/ 328 h 1690"/>
                <a:gd name="T40" fmla="*/ 573 w 2768"/>
                <a:gd name="T41" fmla="*/ 328 h 1690"/>
                <a:gd name="T42" fmla="*/ 421 w 2768"/>
                <a:gd name="T43" fmla="*/ 299 h 1690"/>
                <a:gd name="T44" fmla="*/ 421 w 2768"/>
                <a:gd name="T45" fmla="*/ 299 h 1690"/>
                <a:gd name="T46" fmla="*/ 0 w 2768"/>
                <a:gd name="T47" fmla="*/ 719 h 1690"/>
                <a:gd name="T48" fmla="*/ 0 w 2768"/>
                <a:gd name="T49" fmla="*/ 719 h 1690"/>
                <a:gd name="T50" fmla="*/ 421 w 2768"/>
                <a:gd name="T51" fmla="*/ 1139 h 1690"/>
                <a:gd name="T52" fmla="*/ 421 w 2768"/>
                <a:gd name="T53" fmla="*/ 1139 h 1690"/>
                <a:gd name="T54" fmla="*/ 518 w 2768"/>
                <a:gd name="T55" fmla="*/ 1128 h 1690"/>
                <a:gd name="T56" fmla="*/ 518 w 2768"/>
                <a:gd name="T57" fmla="*/ 1128 h 1690"/>
                <a:gd name="T58" fmla="*/ 515 w 2768"/>
                <a:gd name="T59" fmla="*/ 1184 h 1690"/>
                <a:gd name="T60" fmla="*/ 515 w 2768"/>
                <a:gd name="T61" fmla="*/ 1184 h 1690"/>
                <a:gd name="T62" fmla="*/ 996 w 2768"/>
                <a:gd name="T63" fmla="*/ 1665 h 1690"/>
                <a:gd name="T64" fmla="*/ 996 w 2768"/>
                <a:gd name="T65" fmla="*/ 1665 h 1690"/>
                <a:gd name="T66" fmla="*/ 1361 w 2768"/>
                <a:gd name="T67" fmla="*/ 1497 h 1690"/>
                <a:gd name="T68" fmla="*/ 1361 w 2768"/>
                <a:gd name="T69" fmla="*/ 1497 h 1690"/>
                <a:gd name="T70" fmla="*/ 1720 w 2768"/>
                <a:gd name="T71" fmla="*/ 1689 h 1690"/>
                <a:gd name="T72" fmla="*/ 1720 w 2768"/>
                <a:gd name="T73" fmla="*/ 1689 h 1690"/>
                <a:gd name="T74" fmla="*/ 2120 w 2768"/>
                <a:gd name="T75" fmla="*/ 1416 h 1690"/>
                <a:gd name="T76" fmla="*/ 2120 w 2768"/>
                <a:gd name="T77" fmla="*/ 1416 h 1690"/>
                <a:gd name="T78" fmla="*/ 2290 w 2768"/>
                <a:gd name="T79" fmla="*/ 1448 h 1690"/>
                <a:gd name="T80" fmla="*/ 2290 w 2768"/>
                <a:gd name="T81" fmla="*/ 1448 h 1690"/>
                <a:gd name="T82" fmla="*/ 2767 w 2768"/>
                <a:gd name="T83" fmla="*/ 971 h 1690"/>
                <a:gd name="T84" fmla="*/ 2767 w 2768"/>
                <a:gd name="T85" fmla="*/ 971 h 1690"/>
                <a:gd name="T86" fmla="*/ 2290 w 2768"/>
                <a:gd name="T87" fmla="*/ 495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68" h="1690">
                  <a:moveTo>
                    <a:pt x="1419" y="953"/>
                  </a:moveTo>
                  <a:lnTo>
                    <a:pt x="1419" y="953"/>
                  </a:lnTo>
                  <a:cubicBezTo>
                    <a:pt x="1412" y="941"/>
                    <a:pt x="1404" y="929"/>
                    <a:pt x="1397" y="918"/>
                  </a:cubicBezTo>
                  <a:lnTo>
                    <a:pt x="1397" y="918"/>
                  </a:lnTo>
                  <a:cubicBezTo>
                    <a:pt x="1409" y="924"/>
                    <a:pt x="1421" y="932"/>
                    <a:pt x="1434" y="938"/>
                  </a:cubicBezTo>
                  <a:lnTo>
                    <a:pt x="1434" y="938"/>
                  </a:lnTo>
                  <a:cubicBezTo>
                    <a:pt x="1429" y="943"/>
                    <a:pt x="1424" y="948"/>
                    <a:pt x="1419" y="953"/>
                  </a:cubicBezTo>
                  <a:close/>
                  <a:moveTo>
                    <a:pt x="2290" y="495"/>
                  </a:moveTo>
                  <a:lnTo>
                    <a:pt x="2290" y="495"/>
                  </a:lnTo>
                  <a:cubicBezTo>
                    <a:pt x="2241" y="495"/>
                    <a:pt x="2194" y="503"/>
                    <a:pt x="2149" y="517"/>
                  </a:cubicBezTo>
                  <a:lnTo>
                    <a:pt x="2149" y="517"/>
                  </a:lnTo>
                  <a:cubicBezTo>
                    <a:pt x="2150" y="510"/>
                    <a:pt x="2150" y="503"/>
                    <a:pt x="2150" y="495"/>
                  </a:cubicBezTo>
                  <a:lnTo>
                    <a:pt x="2150" y="495"/>
                  </a:lnTo>
                  <a:cubicBezTo>
                    <a:pt x="2150" y="222"/>
                    <a:pt x="1928" y="0"/>
                    <a:pt x="1655" y="0"/>
                  </a:cubicBezTo>
                  <a:lnTo>
                    <a:pt x="1655" y="0"/>
                  </a:lnTo>
                  <a:cubicBezTo>
                    <a:pt x="1496" y="0"/>
                    <a:pt x="1355" y="75"/>
                    <a:pt x="1264" y="192"/>
                  </a:cubicBezTo>
                  <a:lnTo>
                    <a:pt x="1264" y="192"/>
                  </a:lnTo>
                  <a:cubicBezTo>
                    <a:pt x="1186" y="119"/>
                    <a:pt x="1082" y="74"/>
                    <a:pt x="967" y="74"/>
                  </a:cubicBezTo>
                  <a:lnTo>
                    <a:pt x="967" y="74"/>
                  </a:lnTo>
                  <a:cubicBezTo>
                    <a:pt x="792" y="74"/>
                    <a:pt x="642" y="179"/>
                    <a:pt x="573" y="328"/>
                  </a:cubicBezTo>
                  <a:lnTo>
                    <a:pt x="573" y="328"/>
                  </a:lnTo>
                  <a:cubicBezTo>
                    <a:pt x="526" y="309"/>
                    <a:pt x="475" y="299"/>
                    <a:pt x="421" y="299"/>
                  </a:cubicBezTo>
                  <a:lnTo>
                    <a:pt x="421" y="299"/>
                  </a:lnTo>
                  <a:cubicBezTo>
                    <a:pt x="189" y="299"/>
                    <a:pt x="0" y="487"/>
                    <a:pt x="0" y="719"/>
                  </a:cubicBezTo>
                  <a:lnTo>
                    <a:pt x="0" y="719"/>
                  </a:lnTo>
                  <a:cubicBezTo>
                    <a:pt x="0" y="951"/>
                    <a:pt x="189" y="1139"/>
                    <a:pt x="421" y="1139"/>
                  </a:cubicBezTo>
                  <a:lnTo>
                    <a:pt x="421" y="1139"/>
                  </a:lnTo>
                  <a:cubicBezTo>
                    <a:pt x="454" y="1139"/>
                    <a:pt x="487" y="1135"/>
                    <a:pt x="518" y="1128"/>
                  </a:cubicBezTo>
                  <a:lnTo>
                    <a:pt x="518" y="1128"/>
                  </a:lnTo>
                  <a:cubicBezTo>
                    <a:pt x="516" y="1146"/>
                    <a:pt x="515" y="1165"/>
                    <a:pt x="515" y="1184"/>
                  </a:cubicBezTo>
                  <a:lnTo>
                    <a:pt x="515" y="1184"/>
                  </a:lnTo>
                  <a:cubicBezTo>
                    <a:pt x="515" y="1449"/>
                    <a:pt x="730" y="1665"/>
                    <a:pt x="996" y="1665"/>
                  </a:cubicBezTo>
                  <a:lnTo>
                    <a:pt x="996" y="1665"/>
                  </a:lnTo>
                  <a:cubicBezTo>
                    <a:pt x="1142" y="1665"/>
                    <a:pt x="1273" y="1599"/>
                    <a:pt x="1361" y="1497"/>
                  </a:cubicBezTo>
                  <a:lnTo>
                    <a:pt x="1361" y="1497"/>
                  </a:lnTo>
                  <a:cubicBezTo>
                    <a:pt x="1439" y="1613"/>
                    <a:pt x="1570" y="1689"/>
                    <a:pt x="1720" y="1689"/>
                  </a:cubicBezTo>
                  <a:lnTo>
                    <a:pt x="1720" y="1689"/>
                  </a:lnTo>
                  <a:cubicBezTo>
                    <a:pt x="1902" y="1689"/>
                    <a:pt x="2057" y="1577"/>
                    <a:pt x="2120" y="1416"/>
                  </a:cubicBezTo>
                  <a:lnTo>
                    <a:pt x="2120" y="1416"/>
                  </a:lnTo>
                  <a:cubicBezTo>
                    <a:pt x="2173" y="1437"/>
                    <a:pt x="2230" y="1448"/>
                    <a:pt x="2290" y="1448"/>
                  </a:cubicBezTo>
                  <a:lnTo>
                    <a:pt x="2290" y="1448"/>
                  </a:lnTo>
                  <a:cubicBezTo>
                    <a:pt x="2553" y="1448"/>
                    <a:pt x="2767" y="1234"/>
                    <a:pt x="2767" y="971"/>
                  </a:cubicBezTo>
                  <a:lnTo>
                    <a:pt x="2767" y="971"/>
                  </a:lnTo>
                  <a:cubicBezTo>
                    <a:pt x="2767" y="709"/>
                    <a:pt x="2553" y="495"/>
                    <a:pt x="2290" y="49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3078" name="Freeform 6">
              <a:extLst>
                <a:ext uri="{FF2B5EF4-FFF2-40B4-BE49-F238E27FC236}">
                  <a16:creationId xmlns:a16="http://schemas.microsoft.com/office/drawing/2014/main" id="{368B8DCF-F702-3F47-8B4B-8BB236430C88}"/>
                </a:ext>
              </a:extLst>
            </p:cNvPr>
            <p:cNvSpPr>
              <a:spLocks noChangeArrowheads="1"/>
            </p:cNvSpPr>
            <p:nvPr/>
          </p:nvSpPr>
          <p:spPr bwMode="auto">
            <a:xfrm>
              <a:off x="5947299" y="1740542"/>
              <a:ext cx="3289686" cy="2380219"/>
            </a:xfrm>
            <a:custGeom>
              <a:avLst/>
              <a:gdLst>
                <a:gd name="T0" fmla="*/ 3867 w 4832"/>
                <a:gd name="T1" fmla="*/ 641 h 3495"/>
                <a:gd name="T2" fmla="*/ 3867 w 4832"/>
                <a:gd name="T3" fmla="*/ 641 h 3495"/>
                <a:gd name="T4" fmla="*/ 2850 w 4832"/>
                <a:gd name="T5" fmla="*/ 35 h 3495"/>
                <a:gd name="T6" fmla="*/ 2850 w 4832"/>
                <a:gd name="T7" fmla="*/ 35 h 3495"/>
                <a:gd name="T8" fmla="*/ 2004 w 4832"/>
                <a:gd name="T9" fmla="*/ 571 h 3495"/>
                <a:gd name="T10" fmla="*/ 2004 w 4832"/>
                <a:gd name="T11" fmla="*/ 571 h 3495"/>
                <a:gd name="T12" fmla="*/ 1398 w 4832"/>
                <a:gd name="T13" fmla="*/ 340 h 3495"/>
                <a:gd name="T14" fmla="*/ 1398 w 4832"/>
                <a:gd name="T15" fmla="*/ 340 h 3495"/>
                <a:gd name="T16" fmla="*/ 735 w 4832"/>
                <a:gd name="T17" fmla="*/ 1022 h 3495"/>
                <a:gd name="T18" fmla="*/ 735 w 4832"/>
                <a:gd name="T19" fmla="*/ 1022 h 3495"/>
                <a:gd name="T20" fmla="*/ 750 w 4832"/>
                <a:gd name="T21" fmla="*/ 1111 h 3495"/>
                <a:gd name="T22" fmla="*/ 750 w 4832"/>
                <a:gd name="T23" fmla="*/ 1111 h 3495"/>
                <a:gd name="T24" fmla="*/ 742 w 4832"/>
                <a:gd name="T25" fmla="*/ 1111 h 3495"/>
                <a:gd name="T26" fmla="*/ 742 w 4832"/>
                <a:gd name="T27" fmla="*/ 1111 h 3495"/>
                <a:gd name="T28" fmla="*/ 28 w 4832"/>
                <a:gd name="T29" fmla="*/ 1846 h 3495"/>
                <a:gd name="T30" fmla="*/ 28 w 4832"/>
                <a:gd name="T31" fmla="*/ 1846 h 3495"/>
                <a:gd name="T32" fmla="*/ 842 w 4832"/>
                <a:gd name="T33" fmla="*/ 2466 h 3495"/>
                <a:gd name="T34" fmla="*/ 842 w 4832"/>
                <a:gd name="T35" fmla="*/ 2466 h 3495"/>
                <a:gd name="T36" fmla="*/ 1059 w 4832"/>
                <a:gd name="T37" fmla="*/ 2422 h 3495"/>
                <a:gd name="T38" fmla="*/ 1059 w 4832"/>
                <a:gd name="T39" fmla="*/ 2422 h 3495"/>
                <a:gd name="T40" fmla="*/ 1060 w 4832"/>
                <a:gd name="T41" fmla="*/ 2451 h 3495"/>
                <a:gd name="T42" fmla="*/ 1060 w 4832"/>
                <a:gd name="T43" fmla="*/ 2451 h 3495"/>
                <a:gd name="T44" fmla="*/ 2362 w 4832"/>
                <a:gd name="T45" fmla="*/ 3444 h 3495"/>
                <a:gd name="T46" fmla="*/ 2362 w 4832"/>
                <a:gd name="T47" fmla="*/ 3444 h 3495"/>
                <a:gd name="T48" fmla="*/ 3503 w 4832"/>
                <a:gd name="T49" fmla="*/ 2422 h 3495"/>
                <a:gd name="T50" fmla="*/ 3503 w 4832"/>
                <a:gd name="T51" fmla="*/ 2422 h 3495"/>
                <a:gd name="T52" fmla="*/ 3843 w 4832"/>
                <a:gd name="T53" fmla="*/ 2448 h 3495"/>
                <a:gd name="T54" fmla="*/ 3843 w 4832"/>
                <a:gd name="T55" fmla="*/ 2448 h 3495"/>
                <a:gd name="T56" fmla="*/ 4795 w 4832"/>
                <a:gd name="T57" fmla="*/ 1469 h 3495"/>
                <a:gd name="T58" fmla="*/ 4795 w 4832"/>
                <a:gd name="T59" fmla="*/ 1469 h 3495"/>
                <a:gd name="T60" fmla="*/ 3867 w 4832"/>
                <a:gd name="T61" fmla="*/ 641 h 3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32" h="3495">
                  <a:moveTo>
                    <a:pt x="3867" y="641"/>
                  </a:moveTo>
                  <a:lnTo>
                    <a:pt x="3867" y="641"/>
                  </a:lnTo>
                  <a:cubicBezTo>
                    <a:pt x="3734" y="260"/>
                    <a:pt x="3320" y="0"/>
                    <a:pt x="2850" y="35"/>
                  </a:cubicBezTo>
                  <a:lnTo>
                    <a:pt x="2850" y="35"/>
                  </a:lnTo>
                  <a:cubicBezTo>
                    <a:pt x="2468" y="63"/>
                    <a:pt x="2150" y="279"/>
                    <a:pt x="2004" y="571"/>
                  </a:cubicBezTo>
                  <a:lnTo>
                    <a:pt x="2004" y="571"/>
                  </a:lnTo>
                  <a:cubicBezTo>
                    <a:pt x="1865" y="415"/>
                    <a:pt x="1642" y="322"/>
                    <a:pt x="1398" y="340"/>
                  </a:cubicBezTo>
                  <a:lnTo>
                    <a:pt x="1398" y="340"/>
                  </a:lnTo>
                  <a:cubicBezTo>
                    <a:pt x="1006" y="369"/>
                    <a:pt x="709" y="674"/>
                    <a:pt x="735" y="1022"/>
                  </a:cubicBezTo>
                  <a:lnTo>
                    <a:pt x="735" y="1022"/>
                  </a:lnTo>
                  <a:cubicBezTo>
                    <a:pt x="738" y="1053"/>
                    <a:pt x="743" y="1082"/>
                    <a:pt x="750" y="1111"/>
                  </a:cubicBezTo>
                  <a:lnTo>
                    <a:pt x="750" y="1111"/>
                  </a:lnTo>
                  <a:cubicBezTo>
                    <a:pt x="747" y="1111"/>
                    <a:pt x="745" y="1111"/>
                    <a:pt x="742" y="1111"/>
                  </a:cubicBezTo>
                  <a:lnTo>
                    <a:pt x="742" y="1111"/>
                  </a:lnTo>
                  <a:cubicBezTo>
                    <a:pt x="320" y="1143"/>
                    <a:pt x="0" y="1472"/>
                    <a:pt x="28" y="1846"/>
                  </a:cubicBezTo>
                  <a:lnTo>
                    <a:pt x="28" y="1846"/>
                  </a:lnTo>
                  <a:cubicBezTo>
                    <a:pt x="55" y="2220"/>
                    <a:pt x="420" y="2498"/>
                    <a:pt x="842" y="2466"/>
                  </a:cubicBezTo>
                  <a:lnTo>
                    <a:pt x="842" y="2466"/>
                  </a:lnTo>
                  <a:cubicBezTo>
                    <a:pt x="918" y="2461"/>
                    <a:pt x="991" y="2445"/>
                    <a:pt x="1059" y="2422"/>
                  </a:cubicBezTo>
                  <a:lnTo>
                    <a:pt x="1059" y="2422"/>
                  </a:lnTo>
                  <a:cubicBezTo>
                    <a:pt x="1059" y="2431"/>
                    <a:pt x="1059" y="2441"/>
                    <a:pt x="1060" y="2451"/>
                  </a:cubicBezTo>
                  <a:lnTo>
                    <a:pt x="1060" y="2451"/>
                  </a:lnTo>
                  <a:cubicBezTo>
                    <a:pt x="1104" y="3049"/>
                    <a:pt x="1687" y="3494"/>
                    <a:pt x="2362" y="3444"/>
                  </a:cubicBezTo>
                  <a:lnTo>
                    <a:pt x="2362" y="3444"/>
                  </a:lnTo>
                  <a:cubicBezTo>
                    <a:pt x="2979" y="3399"/>
                    <a:pt x="3459" y="2955"/>
                    <a:pt x="3503" y="2422"/>
                  </a:cubicBezTo>
                  <a:lnTo>
                    <a:pt x="3503" y="2422"/>
                  </a:lnTo>
                  <a:cubicBezTo>
                    <a:pt x="3611" y="2447"/>
                    <a:pt x="3725" y="2456"/>
                    <a:pt x="3843" y="2448"/>
                  </a:cubicBezTo>
                  <a:lnTo>
                    <a:pt x="3843" y="2448"/>
                  </a:lnTo>
                  <a:cubicBezTo>
                    <a:pt x="4405" y="2406"/>
                    <a:pt x="4831" y="1968"/>
                    <a:pt x="4795" y="1469"/>
                  </a:cubicBezTo>
                  <a:lnTo>
                    <a:pt x="4795" y="1469"/>
                  </a:lnTo>
                  <a:cubicBezTo>
                    <a:pt x="4761" y="1018"/>
                    <a:pt x="4360" y="672"/>
                    <a:pt x="3867" y="64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3079" name="Freeform 7">
              <a:extLst>
                <a:ext uri="{FF2B5EF4-FFF2-40B4-BE49-F238E27FC236}">
                  <a16:creationId xmlns:a16="http://schemas.microsoft.com/office/drawing/2014/main" id="{9880C760-FD90-2948-8DE6-FA425E8819AF}"/>
                </a:ext>
              </a:extLst>
            </p:cNvPr>
            <p:cNvSpPr>
              <a:spLocks noChangeArrowheads="1"/>
            </p:cNvSpPr>
            <p:nvPr/>
          </p:nvSpPr>
          <p:spPr bwMode="auto">
            <a:xfrm>
              <a:off x="6520593" y="10454006"/>
              <a:ext cx="2803437" cy="1752899"/>
            </a:xfrm>
            <a:custGeom>
              <a:avLst/>
              <a:gdLst>
                <a:gd name="T0" fmla="*/ 1975 w 4120"/>
                <a:gd name="T1" fmla="*/ 1146 h 2575"/>
                <a:gd name="T2" fmla="*/ 1975 w 4120"/>
                <a:gd name="T3" fmla="*/ 1146 h 2575"/>
                <a:gd name="T4" fmla="*/ 1997 w 4120"/>
                <a:gd name="T5" fmla="*/ 1122 h 2575"/>
                <a:gd name="T6" fmla="*/ 1997 w 4120"/>
                <a:gd name="T7" fmla="*/ 1122 h 2575"/>
                <a:gd name="T8" fmla="*/ 2033 w 4120"/>
                <a:gd name="T9" fmla="*/ 1171 h 2575"/>
                <a:gd name="T10" fmla="*/ 2033 w 4120"/>
                <a:gd name="T11" fmla="*/ 1171 h 2575"/>
                <a:gd name="T12" fmla="*/ 1975 w 4120"/>
                <a:gd name="T13" fmla="*/ 1146 h 2575"/>
                <a:gd name="T14" fmla="*/ 3425 w 4120"/>
                <a:gd name="T15" fmla="*/ 726 h 2575"/>
                <a:gd name="T16" fmla="*/ 3425 w 4120"/>
                <a:gd name="T17" fmla="*/ 726 h 2575"/>
                <a:gd name="T18" fmla="*/ 3286 w 4120"/>
                <a:gd name="T19" fmla="*/ 755 h 2575"/>
                <a:gd name="T20" fmla="*/ 3286 w 4120"/>
                <a:gd name="T21" fmla="*/ 755 h 2575"/>
                <a:gd name="T22" fmla="*/ 3284 w 4120"/>
                <a:gd name="T23" fmla="*/ 673 h 2575"/>
                <a:gd name="T24" fmla="*/ 3284 w 4120"/>
                <a:gd name="T25" fmla="*/ 673 h 2575"/>
                <a:gd name="T26" fmla="*/ 2523 w 4120"/>
                <a:gd name="T27" fmla="*/ 33 h 2575"/>
                <a:gd name="T28" fmla="*/ 2523 w 4120"/>
                <a:gd name="T29" fmla="*/ 33 h 2575"/>
                <a:gd name="T30" fmla="*/ 2012 w 4120"/>
                <a:gd name="T31" fmla="*/ 324 h 2575"/>
                <a:gd name="T32" fmla="*/ 2012 w 4120"/>
                <a:gd name="T33" fmla="*/ 324 h 2575"/>
                <a:gd name="T34" fmla="*/ 1466 w 4120"/>
                <a:gd name="T35" fmla="*/ 88 h 2575"/>
                <a:gd name="T36" fmla="*/ 1466 w 4120"/>
                <a:gd name="T37" fmla="*/ 88 h 2575"/>
                <a:gd name="T38" fmla="*/ 917 w 4120"/>
                <a:gd name="T39" fmla="*/ 535 h 2575"/>
                <a:gd name="T40" fmla="*/ 917 w 4120"/>
                <a:gd name="T41" fmla="*/ 535 h 2575"/>
                <a:gd name="T42" fmla="*/ 667 w 4120"/>
                <a:gd name="T43" fmla="*/ 512 h 2575"/>
                <a:gd name="T44" fmla="*/ 667 w 4120"/>
                <a:gd name="T45" fmla="*/ 512 h 2575"/>
                <a:gd name="T46" fmla="*/ 33 w 4120"/>
                <a:gd name="T47" fmla="*/ 1264 h 2575"/>
                <a:gd name="T48" fmla="*/ 33 w 4120"/>
                <a:gd name="T49" fmla="*/ 1264 h 2575"/>
                <a:gd name="T50" fmla="*/ 786 w 4120"/>
                <a:gd name="T51" fmla="*/ 1899 h 2575"/>
                <a:gd name="T52" fmla="*/ 786 w 4120"/>
                <a:gd name="T53" fmla="*/ 1899 h 2575"/>
                <a:gd name="T54" fmla="*/ 988 w 4120"/>
                <a:gd name="T55" fmla="*/ 1850 h 2575"/>
                <a:gd name="T56" fmla="*/ 988 w 4120"/>
                <a:gd name="T57" fmla="*/ 1850 h 2575"/>
                <a:gd name="T58" fmla="*/ 990 w 4120"/>
                <a:gd name="T59" fmla="*/ 1881 h 2575"/>
                <a:gd name="T60" fmla="*/ 990 w 4120"/>
                <a:gd name="T61" fmla="*/ 1881 h 2575"/>
                <a:gd name="T62" fmla="*/ 1773 w 4120"/>
                <a:gd name="T63" fmla="*/ 2540 h 2575"/>
                <a:gd name="T64" fmla="*/ 1773 w 4120"/>
                <a:gd name="T65" fmla="*/ 2540 h 2575"/>
                <a:gd name="T66" fmla="*/ 2318 w 4120"/>
                <a:gd name="T67" fmla="*/ 2212 h 2575"/>
                <a:gd name="T68" fmla="*/ 2318 w 4120"/>
                <a:gd name="T69" fmla="*/ 2212 h 2575"/>
                <a:gd name="T70" fmla="*/ 2763 w 4120"/>
                <a:gd name="T71" fmla="*/ 2345 h 2575"/>
                <a:gd name="T72" fmla="*/ 2763 w 4120"/>
                <a:gd name="T73" fmla="*/ 2345 h 2575"/>
                <a:gd name="T74" fmla="*/ 3306 w 4120"/>
                <a:gd name="T75" fmla="*/ 1927 h 2575"/>
                <a:gd name="T76" fmla="*/ 3306 w 4120"/>
                <a:gd name="T77" fmla="*/ 1927 h 2575"/>
                <a:gd name="T78" fmla="*/ 3531 w 4120"/>
                <a:gd name="T79" fmla="*/ 1950 h 2575"/>
                <a:gd name="T80" fmla="*/ 3531 w 4120"/>
                <a:gd name="T81" fmla="*/ 1950 h 2575"/>
                <a:gd name="T82" fmla="*/ 4090 w 4120"/>
                <a:gd name="T83" fmla="*/ 1285 h 2575"/>
                <a:gd name="T84" fmla="*/ 4090 w 4120"/>
                <a:gd name="T85" fmla="*/ 1285 h 2575"/>
                <a:gd name="T86" fmla="*/ 3425 w 4120"/>
                <a:gd name="T87" fmla="*/ 726 h 2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20" h="2575">
                  <a:moveTo>
                    <a:pt x="1975" y="1146"/>
                  </a:moveTo>
                  <a:lnTo>
                    <a:pt x="1975" y="1146"/>
                  </a:lnTo>
                  <a:cubicBezTo>
                    <a:pt x="1983" y="1138"/>
                    <a:pt x="1990" y="1129"/>
                    <a:pt x="1997" y="1122"/>
                  </a:cubicBezTo>
                  <a:lnTo>
                    <a:pt x="1997" y="1122"/>
                  </a:lnTo>
                  <a:cubicBezTo>
                    <a:pt x="2008" y="1139"/>
                    <a:pt x="2020" y="1155"/>
                    <a:pt x="2033" y="1171"/>
                  </a:cubicBezTo>
                  <a:lnTo>
                    <a:pt x="2033" y="1171"/>
                  </a:lnTo>
                  <a:cubicBezTo>
                    <a:pt x="2014" y="1162"/>
                    <a:pt x="1995" y="1153"/>
                    <a:pt x="1975" y="1146"/>
                  </a:cubicBezTo>
                  <a:close/>
                  <a:moveTo>
                    <a:pt x="3425" y="726"/>
                  </a:moveTo>
                  <a:lnTo>
                    <a:pt x="3425" y="726"/>
                  </a:lnTo>
                  <a:cubicBezTo>
                    <a:pt x="3377" y="730"/>
                    <a:pt x="3330" y="740"/>
                    <a:pt x="3286" y="755"/>
                  </a:cubicBezTo>
                  <a:lnTo>
                    <a:pt x="3286" y="755"/>
                  </a:lnTo>
                  <a:cubicBezTo>
                    <a:pt x="3287" y="728"/>
                    <a:pt x="3286" y="700"/>
                    <a:pt x="3284" y="673"/>
                  </a:cubicBezTo>
                  <a:lnTo>
                    <a:pt x="3284" y="673"/>
                  </a:lnTo>
                  <a:cubicBezTo>
                    <a:pt x="3250" y="286"/>
                    <a:pt x="2910" y="0"/>
                    <a:pt x="2523" y="33"/>
                  </a:cubicBezTo>
                  <a:lnTo>
                    <a:pt x="2523" y="33"/>
                  </a:lnTo>
                  <a:cubicBezTo>
                    <a:pt x="2310" y="51"/>
                    <a:pt x="2128" y="163"/>
                    <a:pt x="2012" y="324"/>
                  </a:cubicBezTo>
                  <a:lnTo>
                    <a:pt x="2012" y="324"/>
                  </a:lnTo>
                  <a:cubicBezTo>
                    <a:pt x="1886" y="164"/>
                    <a:pt x="1684" y="69"/>
                    <a:pt x="1466" y="88"/>
                  </a:cubicBezTo>
                  <a:lnTo>
                    <a:pt x="1466" y="88"/>
                  </a:lnTo>
                  <a:cubicBezTo>
                    <a:pt x="1201" y="111"/>
                    <a:pt x="989" y="295"/>
                    <a:pt x="917" y="535"/>
                  </a:cubicBezTo>
                  <a:lnTo>
                    <a:pt x="917" y="535"/>
                  </a:lnTo>
                  <a:cubicBezTo>
                    <a:pt x="838" y="513"/>
                    <a:pt x="754" y="504"/>
                    <a:pt x="667" y="512"/>
                  </a:cubicBezTo>
                  <a:lnTo>
                    <a:pt x="667" y="512"/>
                  </a:lnTo>
                  <a:cubicBezTo>
                    <a:pt x="284" y="544"/>
                    <a:pt x="0" y="881"/>
                    <a:pt x="33" y="1264"/>
                  </a:cubicBezTo>
                  <a:lnTo>
                    <a:pt x="33" y="1264"/>
                  </a:lnTo>
                  <a:cubicBezTo>
                    <a:pt x="66" y="1648"/>
                    <a:pt x="403" y="1932"/>
                    <a:pt x="786" y="1899"/>
                  </a:cubicBezTo>
                  <a:lnTo>
                    <a:pt x="786" y="1899"/>
                  </a:lnTo>
                  <a:cubicBezTo>
                    <a:pt x="857" y="1892"/>
                    <a:pt x="925" y="1876"/>
                    <a:pt x="988" y="1850"/>
                  </a:cubicBezTo>
                  <a:lnTo>
                    <a:pt x="988" y="1850"/>
                  </a:lnTo>
                  <a:cubicBezTo>
                    <a:pt x="988" y="1861"/>
                    <a:pt x="989" y="1871"/>
                    <a:pt x="990" y="1881"/>
                  </a:cubicBezTo>
                  <a:lnTo>
                    <a:pt x="990" y="1881"/>
                  </a:lnTo>
                  <a:cubicBezTo>
                    <a:pt x="1024" y="2279"/>
                    <a:pt x="1375" y="2574"/>
                    <a:pt x="1773" y="2540"/>
                  </a:cubicBezTo>
                  <a:lnTo>
                    <a:pt x="1773" y="2540"/>
                  </a:lnTo>
                  <a:cubicBezTo>
                    <a:pt x="2004" y="2520"/>
                    <a:pt x="2201" y="2393"/>
                    <a:pt x="2318" y="2212"/>
                  </a:cubicBezTo>
                  <a:lnTo>
                    <a:pt x="2318" y="2212"/>
                  </a:lnTo>
                  <a:cubicBezTo>
                    <a:pt x="2440" y="2308"/>
                    <a:pt x="2597" y="2359"/>
                    <a:pt x="2763" y="2345"/>
                  </a:cubicBezTo>
                  <a:lnTo>
                    <a:pt x="2763" y="2345"/>
                  </a:lnTo>
                  <a:cubicBezTo>
                    <a:pt x="3018" y="2323"/>
                    <a:pt x="3224" y="2153"/>
                    <a:pt x="3306" y="1927"/>
                  </a:cubicBezTo>
                  <a:lnTo>
                    <a:pt x="3306" y="1927"/>
                  </a:lnTo>
                  <a:cubicBezTo>
                    <a:pt x="3377" y="1948"/>
                    <a:pt x="3453" y="1957"/>
                    <a:pt x="3531" y="1950"/>
                  </a:cubicBezTo>
                  <a:lnTo>
                    <a:pt x="3531" y="1950"/>
                  </a:lnTo>
                  <a:cubicBezTo>
                    <a:pt x="3869" y="1921"/>
                    <a:pt x="4119" y="1623"/>
                    <a:pt x="4090" y="1285"/>
                  </a:cubicBezTo>
                  <a:lnTo>
                    <a:pt x="4090" y="1285"/>
                  </a:lnTo>
                  <a:cubicBezTo>
                    <a:pt x="4061" y="947"/>
                    <a:pt x="3763" y="696"/>
                    <a:pt x="3425" y="72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3080" name="Freeform 8">
              <a:extLst>
                <a:ext uri="{FF2B5EF4-FFF2-40B4-BE49-F238E27FC236}">
                  <a16:creationId xmlns:a16="http://schemas.microsoft.com/office/drawing/2014/main" id="{CA4C4CB2-6599-AB45-BF91-80D74C8FCC05}"/>
                </a:ext>
              </a:extLst>
            </p:cNvPr>
            <p:cNvSpPr>
              <a:spLocks noChangeArrowheads="1"/>
            </p:cNvSpPr>
            <p:nvPr/>
          </p:nvSpPr>
          <p:spPr bwMode="auto">
            <a:xfrm>
              <a:off x="14711793" y="10931252"/>
              <a:ext cx="1245638" cy="777397"/>
            </a:xfrm>
            <a:custGeom>
              <a:avLst/>
              <a:gdLst>
                <a:gd name="T0" fmla="*/ 877 w 1829"/>
                <a:gd name="T1" fmla="*/ 508 h 1143"/>
                <a:gd name="T2" fmla="*/ 877 w 1829"/>
                <a:gd name="T3" fmla="*/ 508 h 1143"/>
                <a:gd name="T4" fmla="*/ 887 w 1829"/>
                <a:gd name="T5" fmla="*/ 498 h 1143"/>
                <a:gd name="T6" fmla="*/ 887 w 1829"/>
                <a:gd name="T7" fmla="*/ 498 h 1143"/>
                <a:gd name="T8" fmla="*/ 903 w 1829"/>
                <a:gd name="T9" fmla="*/ 520 h 1143"/>
                <a:gd name="T10" fmla="*/ 903 w 1829"/>
                <a:gd name="T11" fmla="*/ 520 h 1143"/>
                <a:gd name="T12" fmla="*/ 877 w 1829"/>
                <a:gd name="T13" fmla="*/ 508 h 1143"/>
                <a:gd name="T14" fmla="*/ 1520 w 1829"/>
                <a:gd name="T15" fmla="*/ 322 h 1143"/>
                <a:gd name="T16" fmla="*/ 1520 w 1829"/>
                <a:gd name="T17" fmla="*/ 322 h 1143"/>
                <a:gd name="T18" fmla="*/ 1458 w 1829"/>
                <a:gd name="T19" fmla="*/ 335 h 1143"/>
                <a:gd name="T20" fmla="*/ 1458 w 1829"/>
                <a:gd name="T21" fmla="*/ 335 h 1143"/>
                <a:gd name="T22" fmla="*/ 1457 w 1829"/>
                <a:gd name="T23" fmla="*/ 298 h 1143"/>
                <a:gd name="T24" fmla="*/ 1457 w 1829"/>
                <a:gd name="T25" fmla="*/ 298 h 1143"/>
                <a:gd name="T26" fmla="*/ 1120 w 1829"/>
                <a:gd name="T27" fmla="*/ 15 h 1143"/>
                <a:gd name="T28" fmla="*/ 1120 w 1829"/>
                <a:gd name="T29" fmla="*/ 15 h 1143"/>
                <a:gd name="T30" fmla="*/ 893 w 1829"/>
                <a:gd name="T31" fmla="*/ 143 h 1143"/>
                <a:gd name="T32" fmla="*/ 893 w 1829"/>
                <a:gd name="T33" fmla="*/ 143 h 1143"/>
                <a:gd name="T34" fmla="*/ 651 w 1829"/>
                <a:gd name="T35" fmla="*/ 39 h 1143"/>
                <a:gd name="T36" fmla="*/ 651 w 1829"/>
                <a:gd name="T37" fmla="*/ 39 h 1143"/>
                <a:gd name="T38" fmla="*/ 407 w 1829"/>
                <a:gd name="T39" fmla="*/ 237 h 1143"/>
                <a:gd name="T40" fmla="*/ 407 w 1829"/>
                <a:gd name="T41" fmla="*/ 237 h 1143"/>
                <a:gd name="T42" fmla="*/ 296 w 1829"/>
                <a:gd name="T43" fmla="*/ 227 h 1143"/>
                <a:gd name="T44" fmla="*/ 296 w 1829"/>
                <a:gd name="T45" fmla="*/ 227 h 1143"/>
                <a:gd name="T46" fmla="*/ 15 w 1829"/>
                <a:gd name="T47" fmla="*/ 561 h 1143"/>
                <a:gd name="T48" fmla="*/ 15 w 1829"/>
                <a:gd name="T49" fmla="*/ 561 h 1143"/>
                <a:gd name="T50" fmla="*/ 349 w 1829"/>
                <a:gd name="T51" fmla="*/ 842 h 1143"/>
                <a:gd name="T52" fmla="*/ 349 w 1829"/>
                <a:gd name="T53" fmla="*/ 842 h 1143"/>
                <a:gd name="T54" fmla="*/ 439 w 1829"/>
                <a:gd name="T55" fmla="*/ 821 h 1143"/>
                <a:gd name="T56" fmla="*/ 439 w 1829"/>
                <a:gd name="T57" fmla="*/ 821 h 1143"/>
                <a:gd name="T58" fmla="*/ 440 w 1829"/>
                <a:gd name="T59" fmla="*/ 835 h 1143"/>
                <a:gd name="T60" fmla="*/ 440 w 1829"/>
                <a:gd name="T61" fmla="*/ 835 h 1143"/>
                <a:gd name="T62" fmla="*/ 787 w 1829"/>
                <a:gd name="T63" fmla="*/ 1127 h 1143"/>
                <a:gd name="T64" fmla="*/ 787 w 1829"/>
                <a:gd name="T65" fmla="*/ 1127 h 1143"/>
                <a:gd name="T66" fmla="*/ 1029 w 1829"/>
                <a:gd name="T67" fmla="*/ 981 h 1143"/>
                <a:gd name="T68" fmla="*/ 1029 w 1829"/>
                <a:gd name="T69" fmla="*/ 981 h 1143"/>
                <a:gd name="T70" fmla="*/ 1227 w 1829"/>
                <a:gd name="T71" fmla="*/ 1041 h 1143"/>
                <a:gd name="T72" fmla="*/ 1227 w 1829"/>
                <a:gd name="T73" fmla="*/ 1041 h 1143"/>
                <a:gd name="T74" fmla="*/ 1467 w 1829"/>
                <a:gd name="T75" fmla="*/ 855 h 1143"/>
                <a:gd name="T76" fmla="*/ 1467 w 1829"/>
                <a:gd name="T77" fmla="*/ 855 h 1143"/>
                <a:gd name="T78" fmla="*/ 1567 w 1829"/>
                <a:gd name="T79" fmla="*/ 865 h 1143"/>
                <a:gd name="T80" fmla="*/ 1567 w 1829"/>
                <a:gd name="T81" fmla="*/ 865 h 1143"/>
                <a:gd name="T82" fmla="*/ 1815 w 1829"/>
                <a:gd name="T83" fmla="*/ 570 h 1143"/>
                <a:gd name="T84" fmla="*/ 1815 w 1829"/>
                <a:gd name="T85" fmla="*/ 570 h 1143"/>
                <a:gd name="T86" fmla="*/ 1520 w 1829"/>
                <a:gd name="T87" fmla="*/ 322 h 1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29" h="1143">
                  <a:moveTo>
                    <a:pt x="877" y="508"/>
                  </a:moveTo>
                  <a:lnTo>
                    <a:pt x="877" y="508"/>
                  </a:lnTo>
                  <a:cubicBezTo>
                    <a:pt x="880" y="504"/>
                    <a:pt x="883" y="501"/>
                    <a:pt x="887" y="498"/>
                  </a:cubicBezTo>
                  <a:lnTo>
                    <a:pt x="887" y="498"/>
                  </a:lnTo>
                  <a:cubicBezTo>
                    <a:pt x="891" y="505"/>
                    <a:pt x="897" y="513"/>
                    <a:pt x="903" y="520"/>
                  </a:cubicBezTo>
                  <a:lnTo>
                    <a:pt x="903" y="520"/>
                  </a:lnTo>
                  <a:cubicBezTo>
                    <a:pt x="894" y="516"/>
                    <a:pt x="886" y="511"/>
                    <a:pt x="877" y="508"/>
                  </a:cubicBezTo>
                  <a:close/>
                  <a:moveTo>
                    <a:pt x="1520" y="322"/>
                  </a:moveTo>
                  <a:lnTo>
                    <a:pt x="1520" y="322"/>
                  </a:lnTo>
                  <a:cubicBezTo>
                    <a:pt x="1499" y="324"/>
                    <a:pt x="1478" y="328"/>
                    <a:pt x="1458" y="335"/>
                  </a:cubicBezTo>
                  <a:lnTo>
                    <a:pt x="1458" y="335"/>
                  </a:lnTo>
                  <a:cubicBezTo>
                    <a:pt x="1459" y="323"/>
                    <a:pt x="1458" y="310"/>
                    <a:pt x="1457" y="298"/>
                  </a:cubicBezTo>
                  <a:lnTo>
                    <a:pt x="1457" y="298"/>
                  </a:lnTo>
                  <a:cubicBezTo>
                    <a:pt x="1443" y="127"/>
                    <a:pt x="1291" y="0"/>
                    <a:pt x="1120" y="15"/>
                  </a:cubicBezTo>
                  <a:lnTo>
                    <a:pt x="1120" y="15"/>
                  </a:lnTo>
                  <a:cubicBezTo>
                    <a:pt x="1025" y="23"/>
                    <a:pt x="944" y="72"/>
                    <a:pt x="893" y="143"/>
                  </a:cubicBezTo>
                  <a:lnTo>
                    <a:pt x="893" y="143"/>
                  </a:lnTo>
                  <a:cubicBezTo>
                    <a:pt x="837" y="73"/>
                    <a:pt x="747" y="31"/>
                    <a:pt x="651" y="39"/>
                  </a:cubicBezTo>
                  <a:lnTo>
                    <a:pt x="651" y="39"/>
                  </a:lnTo>
                  <a:cubicBezTo>
                    <a:pt x="533" y="49"/>
                    <a:pt x="439" y="131"/>
                    <a:pt x="407" y="237"/>
                  </a:cubicBezTo>
                  <a:lnTo>
                    <a:pt x="407" y="237"/>
                  </a:lnTo>
                  <a:cubicBezTo>
                    <a:pt x="372" y="227"/>
                    <a:pt x="335" y="223"/>
                    <a:pt x="296" y="227"/>
                  </a:cubicBezTo>
                  <a:lnTo>
                    <a:pt x="296" y="227"/>
                  </a:lnTo>
                  <a:cubicBezTo>
                    <a:pt x="126" y="241"/>
                    <a:pt x="0" y="391"/>
                    <a:pt x="15" y="561"/>
                  </a:cubicBezTo>
                  <a:lnTo>
                    <a:pt x="15" y="561"/>
                  </a:lnTo>
                  <a:cubicBezTo>
                    <a:pt x="29" y="731"/>
                    <a:pt x="179" y="857"/>
                    <a:pt x="349" y="842"/>
                  </a:cubicBezTo>
                  <a:lnTo>
                    <a:pt x="349" y="842"/>
                  </a:lnTo>
                  <a:cubicBezTo>
                    <a:pt x="380" y="840"/>
                    <a:pt x="411" y="832"/>
                    <a:pt x="439" y="821"/>
                  </a:cubicBezTo>
                  <a:lnTo>
                    <a:pt x="439" y="821"/>
                  </a:lnTo>
                  <a:cubicBezTo>
                    <a:pt x="439" y="826"/>
                    <a:pt x="439" y="830"/>
                    <a:pt x="440" y="835"/>
                  </a:cubicBezTo>
                  <a:lnTo>
                    <a:pt x="440" y="835"/>
                  </a:lnTo>
                  <a:cubicBezTo>
                    <a:pt x="455" y="1011"/>
                    <a:pt x="611" y="1142"/>
                    <a:pt x="787" y="1127"/>
                  </a:cubicBezTo>
                  <a:lnTo>
                    <a:pt x="787" y="1127"/>
                  </a:lnTo>
                  <a:cubicBezTo>
                    <a:pt x="890" y="1118"/>
                    <a:pt x="977" y="1062"/>
                    <a:pt x="1029" y="981"/>
                  </a:cubicBezTo>
                  <a:lnTo>
                    <a:pt x="1029" y="981"/>
                  </a:lnTo>
                  <a:cubicBezTo>
                    <a:pt x="1083" y="1024"/>
                    <a:pt x="1153" y="1047"/>
                    <a:pt x="1227" y="1041"/>
                  </a:cubicBezTo>
                  <a:lnTo>
                    <a:pt x="1227" y="1041"/>
                  </a:lnTo>
                  <a:cubicBezTo>
                    <a:pt x="1340" y="1031"/>
                    <a:pt x="1431" y="956"/>
                    <a:pt x="1467" y="855"/>
                  </a:cubicBezTo>
                  <a:lnTo>
                    <a:pt x="1467" y="855"/>
                  </a:lnTo>
                  <a:cubicBezTo>
                    <a:pt x="1499" y="864"/>
                    <a:pt x="1533" y="868"/>
                    <a:pt x="1567" y="865"/>
                  </a:cubicBezTo>
                  <a:lnTo>
                    <a:pt x="1567" y="865"/>
                  </a:lnTo>
                  <a:cubicBezTo>
                    <a:pt x="1717" y="852"/>
                    <a:pt x="1828" y="720"/>
                    <a:pt x="1815" y="570"/>
                  </a:cubicBezTo>
                  <a:lnTo>
                    <a:pt x="1815" y="570"/>
                  </a:lnTo>
                  <a:cubicBezTo>
                    <a:pt x="1802" y="420"/>
                    <a:pt x="1670" y="309"/>
                    <a:pt x="1520" y="32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786" name="Freeform 785">
              <a:extLst>
                <a:ext uri="{FF2B5EF4-FFF2-40B4-BE49-F238E27FC236}">
                  <a16:creationId xmlns:a16="http://schemas.microsoft.com/office/drawing/2014/main" id="{DF976FBF-CAB0-1C4A-AF7E-ED7DB6081B17}"/>
                </a:ext>
              </a:extLst>
            </p:cNvPr>
            <p:cNvSpPr>
              <a:spLocks noChangeArrowheads="1"/>
            </p:cNvSpPr>
            <p:nvPr/>
          </p:nvSpPr>
          <p:spPr bwMode="auto">
            <a:xfrm>
              <a:off x="7625159" y="10850210"/>
              <a:ext cx="10093495" cy="2865790"/>
            </a:xfrm>
            <a:custGeom>
              <a:avLst/>
              <a:gdLst>
                <a:gd name="connsiteX0" fmla="*/ 4848261 w 9685803"/>
                <a:gd name="connsiteY0" fmla="*/ 0 h 2750037"/>
                <a:gd name="connsiteX1" fmla="*/ 5207572 w 9685803"/>
                <a:gd name="connsiteY1" fmla="*/ 986748 h 2750037"/>
                <a:gd name="connsiteX2" fmla="*/ 5281375 w 9685803"/>
                <a:gd name="connsiteY2" fmla="*/ 979303 h 2750037"/>
                <a:gd name="connsiteX3" fmla="*/ 5844912 w 9685803"/>
                <a:gd name="connsiteY3" fmla="*/ 1542986 h 2750037"/>
                <a:gd name="connsiteX4" fmla="*/ 5804426 w 9685803"/>
                <a:gd name="connsiteY4" fmla="*/ 1750692 h 2750037"/>
                <a:gd name="connsiteX5" fmla="*/ 6114253 w 9685803"/>
                <a:gd name="connsiteY5" fmla="*/ 1993273 h 2750037"/>
                <a:gd name="connsiteX6" fmla="*/ 6114807 w 9685803"/>
                <a:gd name="connsiteY6" fmla="*/ 1996252 h 2750037"/>
                <a:gd name="connsiteX7" fmla="*/ 6141905 w 9685803"/>
                <a:gd name="connsiteY7" fmla="*/ 1960187 h 2750037"/>
                <a:gd name="connsiteX8" fmla="*/ 6700539 w 9685803"/>
                <a:gd name="connsiteY8" fmla="*/ 1705127 h 2750037"/>
                <a:gd name="connsiteX9" fmla="*/ 7074269 w 9685803"/>
                <a:gd name="connsiteY9" fmla="*/ 1806327 h 2750037"/>
                <a:gd name="connsiteX10" fmla="*/ 7906667 w 9685803"/>
                <a:gd name="connsiteY10" fmla="*/ 1152121 h 2750037"/>
                <a:gd name="connsiteX11" fmla="*/ 8763893 w 9685803"/>
                <a:gd name="connsiteY11" fmla="*/ 2008726 h 2750037"/>
                <a:gd name="connsiteX12" fmla="*/ 8756053 w 9685803"/>
                <a:gd name="connsiteY12" fmla="*/ 2128860 h 2750037"/>
                <a:gd name="connsiteX13" fmla="*/ 8900449 w 9685803"/>
                <a:gd name="connsiteY13" fmla="*/ 2115802 h 2750037"/>
                <a:gd name="connsiteX14" fmla="*/ 9685803 w 9685803"/>
                <a:gd name="connsiteY14" fmla="*/ 2747156 h 2750037"/>
                <a:gd name="connsiteX15" fmla="*/ 6369959 w 9685803"/>
                <a:gd name="connsiteY15" fmla="*/ 2747156 h 2750037"/>
                <a:gd name="connsiteX16" fmla="*/ 6370575 w 9685803"/>
                <a:gd name="connsiteY16" fmla="*/ 2750037 h 2750037"/>
                <a:gd name="connsiteX17" fmla="*/ 4328651 w 9685803"/>
                <a:gd name="connsiteY17" fmla="*/ 2750037 h 2750037"/>
                <a:gd name="connsiteX18" fmla="*/ 4328650 w 9685803"/>
                <a:gd name="connsiteY18" fmla="*/ 2750036 h 2750037"/>
                <a:gd name="connsiteX19" fmla="*/ 3127922 w 9685803"/>
                <a:gd name="connsiteY19" fmla="*/ 2750036 h 2750037"/>
                <a:gd name="connsiteX20" fmla="*/ 3127497 w 9685803"/>
                <a:gd name="connsiteY20" fmla="*/ 2747155 h 2750037"/>
                <a:gd name="connsiteX21" fmla="*/ 0 w 9685803"/>
                <a:gd name="connsiteY21" fmla="*/ 2747155 h 2750037"/>
                <a:gd name="connsiteX22" fmla="*/ 780641 w 9685803"/>
                <a:gd name="connsiteY22" fmla="*/ 1985183 h 2750037"/>
                <a:gd name="connsiteX23" fmla="*/ 1079179 w 9685803"/>
                <a:gd name="connsiteY23" fmla="*/ 2033500 h 2750037"/>
                <a:gd name="connsiteX24" fmla="*/ 1610276 w 9685803"/>
                <a:gd name="connsiteY24" fmla="*/ 1540537 h 2750037"/>
                <a:gd name="connsiteX25" fmla="*/ 1872885 w 9685803"/>
                <a:gd name="connsiteY25" fmla="*/ 1599953 h 2750037"/>
                <a:gd name="connsiteX26" fmla="*/ 2552925 w 9685803"/>
                <a:gd name="connsiteY26" fmla="*/ 1184036 h 2750037"/>
                <a:gd name="connsiteX27" fmla="*/ 3225524 w 9685803"/>
                <a:gd name="connsiteY27" fmla="*/ 1518562 h 2750037"/>
                <a:gd name="connsiteX28" fmla="*/ 3260022 w 9685803"/>
                <a:gd name="connsiteY28" fmla="*/ 1578192 h 2750037"/>
                <a:gd name="connsiteX29" fmla="*/ 3295691 w 9685803"/>
                <a:gd name="connsiteY29" fmla="*/ 1419747 h 2750037"/>
                <a:gd name="connsiteX30" fmla="*/ 3638317 w 9685803"/>
                <a:gd name="connsiteY30" fmla="*/ 1154705 h 2750037"/>
                <a:gd name="connsiteX31" fmla="*/ 3801997 w 9685803"/>
                <a:gd name="connsiteY31" fmla="*/ 1179438 h 2750037"/>
                <a:gd name="connsiteX32" fmla="*/ 3824926 w 9685803"/>
                <a:gd name="connsiteY32" fmla="*/ 1191256 h 2750037"/>
                <a:gd name="connsiteX33" fmla="*/ 4161425 w 9685803"/>
                <a:gd name="connsiteY33" fmla="*/ 51574 h 275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685803" h="2750037">
                  <a:moveTo>
                    <a:pt x="4848261" y="0"/>
                  </a:moveTo>
                  <a:lnTo>
                    <a:pt x="5207572" y="986748"/>
                  </a:lnTo>
                  <a:lnTo>
                    <a:pt x="5281375" y="979303"/>
                  </a:lnTo>
                  <a:cubicBezTo>
                    <a:pt x="5592855" y="979303"/>
                    <a:pt x="5844912" y="1231425"/>
                    <a:pt x="5844912" y="1542986"/>
                  </a:cubicBezTo>
                  <a:cubicBezTo>
                    <a:pt x="5844912" y="1616140"/>
                    <a:pt x="5830546" y="1686029"/>
                    <a:pt x="5804426" y="1750692"/>
                  </a:cubicBezTo>
                  <a:cubicBezTo>
                    <a:pt x="5946453" y="1768818"/>
                    <a:pt x="6064238" y="1864099"/>
                    <a:pt x="6114253" y="1993273"/>
                  </a:cubicBezTo>
                  <a:lnTo>
                    <a:pt x="6114807" y="1996252"/>
                  </a:lnTo>
                  <a:lnTo>
                    <a:pt x="6141905" y="1960187"/>
                  </a:lnTo>
                  <a:cubicBezTo>
                    <a:pt x="6277399" y="1803919"/>
                    <a:pt x="6477576" y="1705127"/>
                    <a:pt x="6700539" y="1705127"/>
                  </a:cubicBezTo>
                  <a:cubicBezTo>
                    <a:pt x="6837095" y="1705127"/>
                    <a:pt x="6964502" y="1741690"/>
                    <a:pt x="7074269" y="1806327"/>
                  </a:cubicBezTo>
                  <a:cubicBezTo>
                    <a:pt x="7165088" y="1430909"/>
                    <a:pt x="7503536" y="1152121"/>
                    <a:pt x="7906667" y="1152121"/>
                  </a:cubicBezTo>
                  <a:cubicBezTo>
                    <a:pt x="8380363" y="1152121"/>
                    <a:pt x="8763893" y="1535373"/>
                    <a:pt x="8763893" y="2008726"/>
                  </a:cubicBezTo>
                  <a:cubicBezTo>
                    <a:pt x="8763893" y="2049206"/>
                    <a:pt x="8761279" y="2089686"/>
                    <a:pt x="8756053" y="2128860"/>
                  </a:cubicBezTo>
                  <a:cubicBezTo>
                    <a:pt x="8802443" y="2120372"/>
                    <a:pt x="8850791" y="2115802"/>
                    <a:pt x="8900449" y="2115802"/>
                  </a:cubicBezTo>
                  <a:cubicBezTo>
                    <a:pt x="9285939" y="2115802"/>
                    <a:pt x="9607399" y="2386102"/>
                    <a:pt x="9685803" y="2747156"/>
                  </a:cubicBezTo>
                  <a:lnTo>
                    <a:pt x="6369959" y="2747156"/>
                  </a:lnTo>
                  <a:lnTo>
                    <a:pt x="6370575" y="2750037"/>
                  </a:lnTo>
                  <a:lnTo>
                    <a:pt x="4328651" y="2750037"/>
                  </a:lnTo>
                  <a:lnTo>
                    <a:pt x="4328650" y="2750036"/>
                  </a:lnTo>
                  <a:lnTo>
                    <a:pt x="3127922" y="2750036"/>
                  </a:lnTo>
                  <a:lnTo>
                    <a:pt x="3127497" y="2747155"/>
                  </a:lnTo>
                  <a:lnTo>
                    <a:pt x="0" y="2747155"/>
                  </a:lnTo>
                  <a:cubicBezTo>
                    <a:pt x="20251" y="2331890"/>
                    <a:pt x="357984" y="1996283"/>
                    <a:pt x="780641" y="1985183"/>
                  </a:cubicBezTo>
                  <a:cubicBezTo>
                    <a:pt x="885815" y="1982572"/>
                    <a:pt x="986417" y="2000201"/>
                    <a:pt x="1079179" y="2033500"/>
                  </a:cubicBezTo>
                  <a:cubicBezTo>
                    <a:pt x="1105963" y="1763186"/>
                    <a:pt x="1330683" y="1548372"/>
                    <a:pt x="1610276" y="1540537"/>
                  </a:cubicBezTo>
                  <a:cubicBezTo>
                    <a:pt x="1704998" y="1538578"/>
                    <a:pt x="1794495" y="1560125"/>
                    <a:pt x="1872885" y="1599953"/>
                  </a:cubicBezTo>
                  <a:cubicBezTo>
                    <a:pt x="2005496" y="1358369"/>
                    <a:pt x="2258306" y="1191871"/>
                    <a:pt x="2552925" y="1184036"/>
                  </a:cubicBezTo>
                  <a:cubicBezTo>
                    <a:pt x="2828926" y="1176690"/>
                    <a:pt x="3076091" y="1309878"/>
                    <a:pt x="3225524" y="1518562"/>
                  </a:cubicBezTo>
                  <a:lnTo>
                    <a:pt x="3260022" y="1578192"/>
                  </a:lnTo>
                  <a:lnTo>
                    <a:pt x="3295691" y="1419747"/>
                  </a:lnTo>
                  <a:cubicBezTo>
                    <a:pt x="3355748" y="1272052"/>
                    <a:pt x="3483632" y="1165975"/>
                    <a:pt x="3638317" y="1154705"/>
                  </a:cubicBezTo>
                  <a:cubicBezTo>
                    <a:pt x="3695427" y="1150459"/>
                    <a:pt x="3750782" y="1159482"/>
                    <a:pt x="3801997" y="1179438"/>
                  </a:cubicBezTo>
                  <a:lnTo>
                    <a:pt x="3824926" y="1191256"/>
                  </a:lnTo>
                  <a:lnTo>
                    <a:pt x="4161425" y="5157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266" dirty="0">
                <a:latin typeface="Lato Light" panose="020F0502020204030203" pitchFamily="34" charset="0"/>
              </a:endParaRPr>
            </a:p>
          </p:txBody>
        </p:sp>
        <p:sp>
          <p:nvSpPr>
            <p:cNvPr id="820" name="Freeform 7">
              <a:extLst>
                <a:ext uri="{FF2B5EF4-FFF2-40B4-BE49-F238E27FC236}">
                  <a16:creationId xmlns:a16="http://schemas.microsoft.com/office/drawing/2014/main" id="{5E9EE51E-1A63-6D4F-9B3B-96E879951F12}"/>
                </a:ext>
              </a:extLst>
            </p:cNvPr>
            <p:cNvSpPr>
              <a:spLocks noChangeArrowheads="1"/>
            </p:cNvSpPr>
            <p:nvPr/>
          </p:nvSpPr>
          <p:spPr bwMode="auto">
            <a:xfrm>
              <a:off x="2344383" y="4582628"/>
              <a:ext cx="2803437" cy="1752899"/>
            </a:xfrm>
            <a:custGeom>
              <a:avLst/>
              <a:gdLst>
                <a:gd name="T0" fmla="*/ 1975 w 4120"/>
                <a:gd name="T1" fmla="*/ 1146 h 2575"/>
                <a:gd name="T2" fmla="*/ 1975 w 4120"/>
                <a:gd name="T3" fmla="*/ 1146 h 2575"/>
                <a:gd name="T4" fmla="*/ 1997 w 4120"/>
                <a:gd name="T5" fmla="*/ 1122 h 2575"/>
                <a:gd name="T6" fmla="*/ 1997 w 4120"/>
                <a:gd name="T7" fmla="*/ 1122 h 2575"/>
                <a:gd name="T8" fmla="*/ 2033 w 4120"/>
                <a:gd name="T9" fmla="*/ 1171 h 2575"/>
                <a:gd name="T10" fmla="*/ 2033 w 4120"/>
                <a:gd name="T11" fmla="*/ 1171 h 2575"/>
                <a:gd name="T12" fmla="*/ 1975 w 4120"/>
                <a:gd name="T13" fmla="*/ 1146 h 2575"/>
                <a:gd name="T14" fmla="*/ 3425 w 4120"/>
                <a:gd name="T15" fmla="*/ 726 h 2575"/>
                <a:gd name="T16" fmla="*/ 3425 w 4120"/>
                <a:gd name="T17" fmla="*/ 726 h 2575"/>
                <a:gd name="T18" fmla="*/ 3286 w 4120"/>
                <a:gd name="T19" fmla="*/ 755 h 2575"/>
                <a:gd name="T20" fmla="*/ 3286 w 4120"/>
                <a:gd name="T21" fmla="*/ 755 h 2575"/>
                <a:gd name="T22" fmla="*/ 3284 w 4120"/>
                <a:gd name="T23" fmla="*/ 673 h 2575"/>
                <a:gd name="T24" fmla="*/ 3284 w 4120"/>
                <a:gd name="T25" fmla="*/ 673 h 2575"/>
                <a:gd name="T26" fmla="*/ 2523 w 4120"/>
                <a:gd name="T27" fmla="*/ 33 h 2575"/>
                <a:gd name="T28" fmla="*/ 2523 w 4120"/>
                <a:gd name="T29" fmla="*/ 33 h 2575"/>
                <a:gd name="T30" fmla="*/ 2012 w 4120"/>
                <a:gd name="T31" fmla="*/ 324 h 2575"/>
                <a:gd name="T32" fmla="*/ 2012 w 4120"/>
                <a:gd name="T33" fmla="*/ 324 h 2575"/>
                <a:gd name="T34" fmla="*/ 1466 w 4120"/>
                <a:gd name="T35" fmla="*/ 88 h 2575"/>
                <a:gd name="T36" fmla="*/ 1466 w 4120"/>
                <a:gd name="T37" fmla="*/ 88 h 2575"/>
                <a:gd name="T38" fmla="*/ 917 w 4120"/>
                <a:gd name="T39" fmla="*/ 535 h 2575"/>
                <a:gd name="T40" fmla="*/ 917 w 4120"/>
                <a:gd name="T41" fmla="*/ 535 h 2575"/>
                <a:gd name="T42" fmla="*/ 667 w 4120"/>
                <a:gd name="T43" fmla="*/ 512 h 2575"/>
                <a:gd name="T44" fmla="*/ 667 w 4120"/>
                <a:gd name="T45" fmla="*/ 512 h 2575"/>
                <a:gd name="T46" fmla="*/ 33 w 4120"/>
                <a:gd name="T47" fmla="*/ 1264 h 2575"/>
                <a:gd name="T48" fmla="*/ 33 w 4120"/>
                <a:gd name="T49" fmla="*/ 1264 h 2575"/>
                <a:gd name="T50" fmla="*/ 786 w 4120"/>
                <a:gd name="T51" fmla="*/ 1899 h 2575"/>
                <a:gd name="T52" fmla="*/ 786 w 4120"/>
                <a:gd name="T53" fmla="*/ 1899 h 2575"/>
                <a:gd name="T54" fmla="*/ 988 w 4120"/>
                <a:gd name="T55" fmla="*/ 1850 h 2575"/>
                <a:gd name="T56" fmla="*/ 988 w 4120"/>
                <a:gd name="T57" fmla="*/ 1850 h 2575"/>
                <a:gd name="T58" fmla="*/ 990 w 4120"/>
                <a:gd name="T59" fmla="*/ 1881 h 2575"/>
                <a:gd name="T60" fmla="*/ 990 w 4120"/>
                <a:gd name="T61" fmla="*/ 1881 h 2575"/>
                <a:gd name="T62" fmla="*/ 1773 w 4120"/>
                <a:gd name="T63" fmla="*/ 2540 h 2575"/>
                <a:gd name="T64" fmla="*/ 1773 w 4120"/>
                <a:gd name="T65" fmla="*/ 2540 h 2575"/>
                <a:gd name="T66" fmla="*/ 2318 w 4120"/>
                <a:gd name="T67" fmla="*/ 2212 h 2575"/>
                <a:gd name="T68" fmla="*/ 2318 w 4120"/>
                <a:gd name="T69" fmla="*/ 2212 h 2575"/>
                <a:gd name="T70" fmla="*/ 2763 w 4120"/>
                <a:gd name="T71" fmla="*/ 2345 h 2575"/>
                <a:gd name="T72" fmla="*/ 2763 w 4120"/>
                <a:gd name="T73" fmla="*/ 2345 h 2575"/>
                <a:gd name="T74" fmla="*/ 3306 w 4120"/>
                <a:gd name="T75" fmla="*/ 1927 h 2575"/>
                <a:gd name="T76" fmla="*/ 3306 w 4120"/>
                <a:gd name="T77" fmla="*/ 1927 h 2575"/>
                <a:gd name="T78" fmla="*/ 3531 w 4120"/>
                <a:gd name="T79" fmla="*/ 1950 h 2575"/>
                <a:gd name="T80" fmla="*/ 3531 w 4120"/>
                <a:gd name="T81" fmla="*/ 1950 h 2575"/>
                <a:gd name="T82" fmla="*/ 4090 w 4120"/>
                <a:gd name="T83" fmla="*/ 1285 h 2575"/>
                <a:gd name="T84" fmla="*/ 4090 w 4120"/>
                <a:gd name="T85" fmla="*/ 1285 h 2575"/>
                <a:gd name="T86" fmla="*/ 3425 w 4120"/>
                <a:gd name="T87" fmla="*/ 726 h 2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20" h="2575">
                  <a:moveTo>
                    <a:pt x="1975" y="1146"/>
                  </a:moveTo>
                  <a:lnTo>
                    <a:pt x="1975" y="1146"/>
                  </a:lnTo>
                  <a:cubicBezTo>
                    <a:pt x="1983" y="1138"/>
                    <a:pt x="1990" y="1129"/>
                    <a:pt x="1997" y="1122"/>
                  </a:cubicBezTo>
                  <a:lnTo>
                    <a:pt x="1997" y="1122"/>
                  </a:lnTo>
                  <a:cubicBezTo>
                    <a:pt x="2008" y="1139"/>
                    <a:pt x="2020" y="1155"/>
                    <a:pt x="2033" y="1171"/>
                  </a:cubicBezTo>
                  <a:lnTo>
                    <a:pt x="2033" y="1171"/>
                  </a:lnTo>
                  <a:cubicBezTo>
                    <a:pt x="2014" y="1162"/>
                    <a:pt x="1995" y="1153"/>
                    <a:pt x="1975" y="1146"/>
                  </a:cubicBezTo>
                  <a:close/>
                  <a:moveTo>
                    <a:pt x="3425" y="726"/>
                  </a:moveTo>
                  <a:lnTo>
                    <a:pt x="3425" y="726"/>
                  </a:lnTo>
                  <a:cubicBezTo>
                    <a:pt x="3377" y="730"/>
                    <a:pt x="3330" y="740"/>
                    <a:pt x="3286" y="755"/>
                  </a:cubicBezTo>
                  <a:lnTo>
                    <a:pt x="3286" y="755"/>
                  </a:lnTo>
                  <a:cubicBezTo>
                    <a:pt x="3287" y="728"/>
                    <a:pt x="3286" y="700"/>
                    <a:pt x="3284" y="673"/>
                  </a:cubicBezTo>
                  <a:lnTo>
                    <a:pt x="3284" y="673"/>
                  </a:lnTo>
                  <a:cubicBezTo>
                    <a:pt x="3250" y="286"/>
                    <a:pt x="2910" y="0"/>
                    <a:pt x="2523" y="33"/>
                  </a:cubicBezTo>
                  <a:lnTo>
                    <a:pt x="2523" y="33"/>
                  </a:lnTo>
                  <a:cubicBezTo>
                    <a:pt x="2310" y="51"/>
                    <a:pt x="2128" y="163"/>
                    <a:pt x="2012" y="324"/>
                  </a:cubicBezTo>
                  <a:lnTo>
                    <a:pt x="2012" y="324"/>
                  </a:lnTo>
                  <a:cubicBezTo>
                    <a:pt x="1886" y="164"/>
                    <a:pt x="1684" y="69"/>
                    <a:pt x="1466" y="88"/>
                  </a:cubicBezTo>
                  <a:lnTo>
                    <a:pt x="1466" y="88"/>
                  </a:lnTo>
                  <a:cubicBezTo>
                    <a:pt x="1201" y="111"/>
                    <a:pt x="989" y="295"/>
                    <a:pt x="917" y="535"/>
                  </a:cubicBezTo>
                  <a:lnTo>
                    <a:pt x="917" y="535"/>
                  </a:lnTo>
                  <a:cubicBezTo>
                    <a:pt x="838" y="513"/>
                    <a:pt x="754" y="504"/>
                    <a:pt x="667" y="512"/>
                  </a:cubicBezTo>
                  <a:lnTo>
                    <a:pt x="667" y="512"/>
                  </a:lnTo>
                  <a:cubicBezTo>
                    <a:pt x="284" y="544"/>
                    <a:pt x="0" y="881"/>
                    <a:pt x="33" y="1264"/>
                  </a:cubicBezTo>
                  <a:lnTo>
                    <a:pt x="33" y="1264"/>
                  </a:lnTo>
                  <a:cubicBezTo>
                    <a:pt x="66" y="1648"/>
                    <a:pt x="403" y="1932"/>
                    <a:pt x="786" y="1899"/>
                  </a:cubicBezTo>
                  <a:lnTo>
                    <a:pt x="786" y="1899"/>
                  </a:lnTo>
                  <a:cubicBezTo>
                    <a:pt x="857" y="1892"/>
                    <a:pt x="925" y="1876"/>
                    <a:pt x="988" y="1850"/>
                  </a:cubicBezTo>
                  <a:lnTo>
                    <a:pt x="988" y="1850"/>
                  </a:lnTo>
                  <a:cubicBezTo>
                    <a:pt x="988" y="1861"/>
                    <a:pt x="989" y="1871"/>
                    <a:pt x="990" y="1881"/>
                  </a:cubicBezTo>
                  <a:lnTo>
                    <a:pt x="990" y="1881"/>
                  </a:lnTo>
                  <a:cubicBezTo>
                    <a:pt x="1024" y="2279"/>
                    <a:pt x="1375" y="2574"/>
                    <a:pt x="1773" y="2540"/>
                  </a:cubicBezTo>
                  <a:lnTo>
                    <a:pt x="1773" y="2540"/>
                  </a:lnTo>
                  <a:cubicBezTo>
                    <a:pt x="2004" y="2520"/>
                    <a:pt x="2201" y="2393"/>
                    <a:pt x="2318" y="2212"/>
                  </a:cubicBezTo>
                  <a:lnTo>
                    <a:pt x="2318" y="2212"/>
                  </a:lnTo>
                  <a:cubicBezTo>
                    <a:pt x="2440" y="2308"/>
                    <a:pt x="2597" y="2359"/>
                    <a:pt x="2763" y="2345"/>
                  </a:cubicBezTo>
                  <a:lnTo>
                    <a:pt x="2763" y="2345"/>
                  </a:lnTo>
                  <a:cubicBezTo>
                    <a:pt x="3018" y="2323"/>
                    <a:pt x="3224" y="2153"/>
                    <a:pt x="3306" y="1927"/>
                  </a:cubicBezTo>
                  <a:lnTo>
                    <a:pt x="3306" y="1927"/>
                  </a:lnTo>
                  <a:cubicBezTo>
                    <a:pt x="3377" y="1948"/>
                    <a:pt x="3453" y="1957"/>
                    <a:pt x="3531" y="1950"/>
                  </a:cubicBezTo>
                  <a:lnTo>
                    <a:pt x="3531" y="1950"/>
                  </a:lnTo>
                  <a:cubicBezTo>
                    <a:pt x="3869" y="1921"/>
                    <a:pt x="4119" y="1623"/>
                    <a:pt x="4090" y="1285"/>
                  </a:cubicBezTo>
                  <a:lnTo>
                    <a:pt x="4090" y="1285"/>
                  </a:lnTo>
                  <a:cubicBezTo>
                    <a:pt x="4061" y="947"/>
                    <a:pt x="3763" y="696"/>
                    <a:pt x="3425" y="72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821" name="Freeform 6">
              <a:extLst>
                <a:ext uri="{FF2B5EF4-FFF2-40B4-BE49-F238E27FC236}">
                  <a16:creationId xmlns:a16="http://schemas.microsoft.com/office/drawing/2014/main" id="{768C336B-A94E-E741-B91D-BBB8BEE50660}"/>
                </a:ext>
              </a:extLst>
            </p:cNvPr>
            <p:cNvSpPr>
              <a:spLocks noChangeArrowheads="1"/>
            </p:cNvSpPr>
            <p:nvPr/>
          </p:nvSpPr>
          <p:spPr bwMode="auto">
            <a:xfrm>
              <a:off x="19043291" y="4486951"/>
              <a:ext cx="3289686" cy="2380219"/>
            </a:xfrm>
            <a:custGeom>
              <a:avLst/>
              <a:gdLst>
                <a:gd name="T0" fmla="*/ 3867 w 4832"/>
                <a:gd name="T1" fmla="*/ 641 h 3495"/>
                <a:gd name="T2" fmla="*/ 3867 w 4832"/>
                <a:gd name="T3" fmla="*/ 641 h 3495"/>
                <a:gd name="T4" fmla="*/ 2850 w 4832"/>
                <a:gd name="T5" fmla="*/ 35 h 3495"/>
                <a:gd name="T6" fmla="*/ 2850 w 4832"/>
                <a:gd name="T7" fmla="*/ 35 h 3495"/>
                <a:gd name="T8" fmla="*/ 2004 w 4832"/>
                <a:gd name="T9" fmla="*/ 571 h 3495"/>
                <a:gd name="T10" fmla="*/ 2004 w 4832"/>
                <a:gd name="T11" fmla="*/ 571 h 3495"/>
                <a:gd name="T12" fmla="*/ 1398 w 4832"/>
                <a:gd name="T13" fmla="*/ 340 h 3495"/>
                <a:gd name="T14" fmla="*/ 1398 w 4832"/>
                <a:gd name="T15" fmla="*/ 340 h 3495"/>
                <a:gd name="T16" fmla="*/ 735 w 4832"/>
                <a:gd name="T17" fmla="*/ 1022 h 3495"/>
                <a:gd name="T18" fmla="*/ 735 w 4832"/>
                <a:gd name="T19" fmla="*/ 1022 h 3495"/>
                <a:gd name="T20" fmla="*/ 750 w 4832"/>
                <a:gd name="T21" fmla="*/ 1111 h 3495"/>
                <a:gd name="T22" fmla="*/ 750 w 4832"/>
                <a:gd name="T23" fmla="*/ 1111 h 3495"/>
                <a:gd name="T24" fmla="*/ 742 w 4832"/>
                <a:gd name="T25" fmla="*/ 1111 h 3495"/>
                <a:gd name="T26" fmla="*/ 742 w 4832"/>
                <a:gd name="T27" fmla="*/ 1111 h 3495"/>
                <a:gd name="T28" fmla="*/ 28 w 4832"/>
                <a:gd name="T29" fmla="*/ 1846 h 3495"/>
                <a:gd name="T30" fmla="*/ 28 w 4832"/>
                <a:gd name="T31" fmla="*/ 1846 h 3495"/>
                <a:gd name="T32" fmla="*/ 842 w 4832"/>
                <a:gd name="T33" fmla="*/ 2466 h 3495"/>
                <a:gd name="T34" fmla="*/ 842 w 4832"/>
                <a:gd name="T35" fmla="*/ 2466 h 3495"/>
                <a:gd name="T36" fmla="*/ 1059 w 4832"/>
                <a:gd name="T37" fmla="*/ 2422 h 3495"/>
                <a:gd name="T38" fmla="*/ 1059 w 4832"/>
                <a:gd name="T39" fmla="*/ 2422 h 3495"/>
                <a:gd name="T40" fmla="*/ 1060 w 4832"/>
                <a:gd name="T41" fmla="*/ 2451 h 3495"/>
                <a:gd name="T42" fmla="*/ 1060 w 4832"/>
                <a:gd name="T43" fmla="*/ 2451 h 3495"/>
                <a:gd name="T44" fmla="*/ 2362 w 4832"/>
                <a:gd name="T45" fmla="*/ 3444 h 3495"/>
                <a:gd name="T46" fmla="*/ 2362 w 4832"/>
                <a:gd name="T47" fmla="*/ 3444 h 3495"/>
                <a:gd name="T48" fmla="*/ 3503 w 4832"/>
                <a:gd name="T49" fmla="*/ 2422 h 3495"/>
                <a:gd name="T50" fmla="*/ 3503 w 4832"/>
                <a:gd name="T51" fmla="*/ 2422 h 3495"/>
                <a:gd name="T52" fmla="*/ 3843 w 4832"/>
                <a:gd name="T53" fmla="*/ 2448 h 3495"/>
                <a:gd name="T54" fmla="*/ 3843 w 4832"/>
                <a:gd name="T55" fmla="*/ 2448 h 3495"/>
                <a:gd name="T56" fmla="*/ 4795 w 4832"/>
                <a:gd name="T57" fmla="*/ 1469 h 3495"/>
                <a:gd name="T58" fmla="*/ 4795 w 4832"/>
                <a:gd name="T59" fmla="*/ 1469 h 3495"/>
                <a:gd name="T60" fmla="*/ 3867 w 4832"/>
                <a:gd name="T61" fmla="*/ 641 h 3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32" h="3495">
                  <a:moveTo>
                    <a:pt x="3867" y="641"/>
                  </a:moveTo>
                  <a:lnTo>
                    <a:pt x="3867" y="641"/>
                  </a:lnTo>
                  <a:cubicBezTo>
                    <a:pt x="3734" y="260"/>
                    <a:pt x="3320" y="0"/>
                    <a:pt x="2850" y="35"/>
                  </a:cubicBezTo>
                  <a:lnTo>
                    <a:pt x="2850" y="35"/>
                  </a:lnTo>
                  <a:cubicBezTo>
                    <a:pt x="2468" y="63"/>
                    <a:pt x="2150" y="279"/>
                    <a:pt x="2004" y="571"/>
                  </a:cubicBezTo>
                  <a:lnTo>
                    <a:pt x="2004" y="571"/>
                  </a:lnTo>
                  <a:cubicBezTo>
                    <a:pt x="1865" y="415"/>
                    <a:pt x="1642" y="322"/>
                    <a:pt x="1398" y="340"/>
                  </a:cubicBezTo>
                  <a:lnTo>
                    <a:pt x="1398" y="340"/>
                  </a:lnTo>
                  <a:cubicBezTo>
                    <a:pt x="1006" y="369"/>
                    <a:pt x="709" y="674"/>
                    <a:pt x="735" y="1022"/>
                  </a:cubicBezTo>
                  <a:lnTo>
                    <a:pt x="735" y="1022"/>
                  </a:lnTo>
                  <a:cubicBezTo>
                    <a:pt x="738" y="1053"/>
                    <a:pt x="743" y="1082"/>
                    <a:pt x="750" y="1111"/>
                  </a:cubicBezTo>
                  <a:lnTo>
                    <a:pt x="750" y="1111"/>
                  </a:lnTo>
                  <a:cubicBezTo>
                    <a:pt x="747" y="1111"/>
                    <a:pt x="745" y="1111"/>
                    <a:pt x="742" y="1111"/>
                  </a:cubicBezTo>
                  <a:lnTo>
                    <a:pt x="742" y="1111"/>
                  </a:lnTo>
                  <a:cubicBezTo>
                    <a:pt x="320" y="1143"/>
                    <a:pt x="0" y="1472"/>
                    <a:pt x="28" y="1846"/>
                  </a:cubicBezTo>
                  <a:lnTo>
                    <a:pt x="28" y="1846"/>
                  </a:lnTo>
                  <a:cubicBezTo>
                    <a:pt x="55" y="2220"/>
                    <a:pt x="420" y="2498"/>
                    <a:pt x="842" y="2466"/>
                  </a:cubicBezTo>
                  <a:lnTo>
                    <a:pt x="842" y="2466"/>
                  </a:lnTo>
                  <a:cubicBezTo>
                    <a:pt x="918" y="2461"/>
                    <a:pt x="991" y="2445"/>
                    <a:pt x="1059" y="2422"/>
                  </a:cubicBezTo>
                  <a:lnTo>
                    <a:pt x="1059" y="2422"/>
                  </a:lnTo>
                  <a:cubicBezTo>
                    <a:pt x="1059" y="2431"/>
                    <a:pt x="1059" y="2441"/>
                    <a:pt x="1060" y="2451"/>
                  </a:cubicBezTo>
                  <a:lnTo>
                    <a:pt x="1060" y="2451"/>
                  </a:lnTo>
                  <a:cubicBezTo>
                    <a:pt x="1104" y="3049"/>
                    <a:pt x="1687" y="3494"/>
                    <a:pt x="2362" y="3444"/>
                  </a:cubicBezTo>
                  <a:lnTo>
                    <a:pt x="2362" y="3444"/>
                  </a:lnTo>
                  <a:cubicBezTo>
                    <a:pt x="2979" y="3399"/>
                    <a:pt x="3459" y="2955"/>
                    <a:pt x="3503" y="2422"/>
                  </a:cubicBezTo>
                  <a:lnTo>
                    <a:pt x="3503" y="2422"/>
                  </a:lnTo>
                  <a:cubicBezTo>
                    <a:pt x="3611" y="2447"/>
                    <a:pt x="3725" y="2456"/>
                    <a:pt x="3843" y="2448"/>
                  </a:cubicBezTo>
                  <a:lnTo>
                    <a:pt x="3843" y="2448"/>
                  </a:lnTo>
                  <a:cubicBezTo>
                    <a:pt x="4405" y="2406"/>
                    <a:pt x="4831" y="1968"/>
                    <a:pt x="4795" y="1469"/>
                  </a:cubicBezTo>
                  <a:lnTo>
                    <a:pt x="4795" y="1469"/>
                  </a:lnTo>
                  <a:cubicBezTo>
                    <a:pt x="4761" y="1018"/>
                    <a:pt x="4360" y="672"/>
                    <a:pt x="3867" y="64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822" name="Freeform 3">
              <a:extLst>
                <a:ext uri="{FF2B5EF4-FFF2-40B4-BE49-F238E27FC236}">
                  <a16:creationId xmlns:a16="http://schemas.microsoft.com/office/drawing/2014/main" id="{A6D4B07D-840C-694F-89EA-BFF45FD04E99}"/>
                </a:ext>
              </a:extLst>
            </p:cNvPr>
            <p:cNvSpPr>
              <a:spLocks noChangeArrowheads="1"/>
            </p:cNvSpPr>
            <p:nvPr/>
          </p:nvSpPr>
          <p:spPr bwMode="auto">
            <a:xfrm>
              <a:off x="2154898" y="8393562"/>
              <a:ext cx="2614341" cy="2074062"/>
            </a:xfrm>
            <a:custGeom>
              <a:avLst/>
              <a:gdLst>
                <a:gd name="T0" fmla="*/ 3224 w 3840"/>
                <a:gd name="T1" fmla="*/ 983 h 3047"/>
                <a:gd name="T2" fmla="*/ 3224 w 3840"/>
                <a:gd name="T3" fmla="*/ 983 h 3047"/>
                <a:gd name="T4" fmla="*/ 3048 w 3840"/>
                <a:gd name="T5" fmla="*/ 1010 h 3047"/>
                <a:gd name="T6" fmla="*/ 3048 w 3840"/>
                <a:gd name="T7" fmla="*/ 1010 h 3047"/>
                <a:gd name="T8" fmla="*/ 3048 w 3840"/>
                <a:gd name="T9" fmla="*/ 983 h 3047"/>
                <a:gd name="T10" fmla="*/ 3048 w 3840"/>
                <a:gd name="T11" fmla="*/ 983 h 3047"/>
                <a:gd name="T12" fmla="*/ 2065 w 3840"/>
                <a:gd name="T13" fmla="*/ 0 h 3047"/>
                <a:gd name="T14" fmla="*/ 2065 w 3840"/>
                <a:gd name="T15" fmla="*/ 0 h 3047"/>
                <a:gd name="T16" fmla="*/ 1091 w 3840"/>
                <a:gd name="T17" fmla="*/ 847 h 3047"/>
                <a:gd name="T18" fmla="*/ 1091 w 3840"/>
                <a:gd name="T19" fmla="*/ 847 h 3047"/>
                <a:gd name="T20" fmla="*/ 820 w 3840"/>
                <a:gd name="T21" fmla="*/ 801 h 3047"/>
                <a:gd name="T22" fmla="*/ 820 w 3840"/>
                <a:gd name="T23" fmla="*/ 801 h 3047"/>
                <a:gd name="T24" fmla="*/ 0 w 3840"/>
                <a:gd name="T25" fmla="*/ 1621 h 3047"/>
                <a:gd name="T26" fmla="*/ 0 w 3840"/>
                <a:gd name="T27" fmla="*/ 1621 h 3047"/>
                <a:gd name="T28" fmla="*/ 694 w 3840"/>
                <a:gd name="T29" fmla="*/ 2431 h 3047"/>
                <a:gd name="T30" fmla="*/ 694 w 3840"/>
                <a:gd name="T31" fmla="*/ 2431 h 3047"/>
                <a:gd name="T32" fmla="*/ 1472 w 3840"/>
                <a:gd name="T33" fmla="*/ 3046 h 3047"/>
                <a:gd name="T34" fmla="*/ 1472 w 3840"/>
                <a:gd name="T35" fmla="*/ 3046 h 3047"/>
                <a:gd name="T36" fmla="*/ 2181 w 3840"/>
                <a:gd name="T37" fmla="*/ 2618 h 3047"/>
                <a:gd name="T38" fmla="*/ 2181 w 3840"/>
                <a:gd name="T39" fmla="*/ 2618 h 3047"/>
                <a:gd name="T40" fmla="*/ 2653 w 3840"/>
                <a:gd name="T41" fmla="*/ 2866 h 3047"/>
                <a:gd name="T42" fmla="*/ 2653 w 3840"/>
                <a:gd name="T43" fmla="*/ 2866 h 3047"/>
                <a:gd name="T44" fmla="*/ 3224 w 3840"/>
                <a:gd name="T45" fmla="*/ 2295 h 3047"/>
                <a:gd name="T46" fmla="*/ 3224 w 3840"/>
                <a:gd name="T47" fmla="*/ 2295 h 3047"/>
                <a:gd name="T48" fmla="*/ 3218 w 3840"/>
                <a:gd name="T49" fmla="*/ 2213 h 3047"/>
                <a:gd name="T50" fmla="*/ 3218 w 3840"/>
                <a:gd name="T51" fmla="*/ 2213 h 3047"/>
                <a:gd name="T52" fmla="*/ 3224 w 3840"/>
                <a:gd name="T53" fmla="*/ 2213 h 3047"/>
                <a:gd name="T54" fmla="*/ 3224 w 3840"/>
                <a:gd name="T55" fmla="*/ 2213 h 3047"/>
                <a:gd name="T56" fmla="*/ 3839 w 3840"/>
                <a:gd name="T57" fmla="*/ 1598 h 3047"/>
                <a:gd name="T58" fmla="*/ 3839 w 3840"/>
                <a:gd name="T59" fmla="*/ 1598 h 3047"/>
                <a:gd name="T60" fmla="*/ 3224 w 3840"/>
                <a:gd name="T61" fmla="*/ 983 h 3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40" h="3047">
                  <a:moveTo>
                    <a:pt x="3224" y="983"/>
                  </a:moveTo>
                  <a:lnTo>
                    <a:pt x="3224" y="983"/>
                  </a:lnTo>
                  <a:cubicBezTo>
                    <a:pt x="3163" y="983"/>
                    <a:pt x="3104" y="993"/>
                    <a:pt x="3048" y="1010"/>
                  </a:cubicBezTo>
                  <a:lnTo>
                    <a:pt x="3048" y="1010"/>
                  </a:lnTo>
                  <a:cubicBezTo>
                    <a:pt x="3048" y="1001"/>
                    <a:pt x="3048" y="992"/>
                    <a:pt x="3048" y="983"/>
                  </a:cubicBezTo>
                  <a:lnTo>
                    <a:pt x="3048" y="983"/>
                  </a:lnTo>
                  <a:cubicBezTo>
                    <a:pt x="3048" y="440"/>
                    <a:pt x="2608" y="0"/>
                    <a:pt x="2065" y="0"/>
                  </a:cubicBezTo>
                  <a:lnTo>
                    <a:pt x="2065" y="0"/>
                  </a:lnTo>
                  <a:cubicBezTo>
                    <a:pt x="1568" y="0"/>
                    <a:pt x="1157" y="369"/>
                    <a:pt x="1091" y="847"/>
                  </a:cubicBezTo>
                  <a:lnTo>
                    <a:pt x="1091" y="847"/>
                  </a:lnTo>
                  <a:cubicBezTo>
                    <a:pt x="1006" y="817"/>
                    <a:pt x="915" y="801"/>
                    <a:pt x="820" y="801"/>
                  </a:cubicBezTo>
                  <a:lnTo>
                    <a:pt x="820" y="801"/>
                  </a:lnTo>
                  <a:cubicBezTo>
                    <a:pt x="367" y="801"/>
                    <a:pt x="0" y="1168"/>
                    <a:pt x="0" y="1621"/>
                  </a:cubicBezTo>
                  <a:lnTo>
                    <a:pt x="0" y="1621"/>
                  </a:lnTo>
                  <a:cubicBezTo>
                    <a:pt x="0" y="2031"/>
                    <a:pt x="301" y="2370"/>
                    <a:pt x="694" y="2431"/>
                  </a:cubicBezTo>
                  <a:lnTo>
                    <a:pt x="694" y="2431"/>
                  </a:lnTo>
                  <a:cubicBezTo>
                    <a:pt x="779" y="2784"/>
                    <a:pt x="1094" y="3046"/>
                    <a:pt x="1472" y="3046"/>
                  </a:cubicBezTo>
                  <a:lnTo>
                    <a:pt x="1472" y="3046"/>
                  </a:lnTo>
                  <a:cubicBezTo>
                    <a:pt x="1780" y="3046"/>
                    <a:pt x="2047" y="2872"/>
                    <a:pt x="2181" y="2618"/>
                  </a:cubicBezTo>
                  <a:lnTo>
                    <a:pt x="2181" y="2618"/>
                  </a:lnTo>
                  <a:cubicBezTo>
                    <a:pt x="2284" y="2768"/>
                    <a:pt x="2457" y="2866"/>
                    <a:pt x="2653" y="2866"/>
                  </a:cubicBezTo>
                  <a:lnTo>
                    <a:pt x="2653" y="2866"/>
                  </a:lnTo>
                  <a:cubicBezTo>
                    <a:pt x="2968" y="2866"/>
                    <a:pt x="3224" y="2611"/>
                    <a:pt x="3224" y="2295"/>
                  </a:cubicBezTo>
                  <a:lnTo>
                    <a:pt x="3224" y="2295"/>
                  </a:lnTo>
                  <a:cubicBezTo>
                    <a:pt x="3224" y="2267"/>
                    <a:pt x="3222" y="2240"/>
                    <a:pt x="3218" y="2213"/>
                  </a:cubicBezTo>
                  <a:lnTo>
                    <a:pt x="3218" y="2213"/>
                  </a:lnTo>
                  <a:cubicBezTo>
                    <a:pt x="3220" y="2213"/>
                    <a:pt x="3222" y="2213"/>
                    <a:pt x="3224" y="2213"/>
                  </a:cubicBezTo>
                  <a:lnTo>
                    <a:pt x="3224" y="2213"/>
                  </a:lnTo>
                  <a:cubicBezTo>
                    <a:pt x="3564" y="2213"/>
                    <a:pt x="3839" y="1939"/>
                    <a:pt x="3839" y="1598"/>
                  </a:cubicBezTo>
                  <a:lnTo>
                    <a:pt x="3839" y="1598"/>
                  </a:lnTo>
                  <a:cubicBezTo>
                    <a:pt x="3839" y="1259"/>
                    <a:pt x="3564" y="983"/>
                    <a:pt x="3224" y="98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823" name="Freeform 5">
              <a:extLst>
                <a:ext uri="{FF2B5EF4-FFF2-40B4-BE49-F238E27FC236}">
                  <a16:creationId xmlns:a16="http://schemas.microsoft.com/office/drawing/2014/main" id="{AA9BC213-0E33-D946-BC40-C147B4AC5686}"/>
                </a:ext>
              </a:extLst>
            </p:cNvPr>
            <p:cNvSpPr>
              <a:spLocks noChangeArrowheads="1"/>
            </p:cNvSpPr>
            <p:nvPr/>
          </p:nvSpPr>
          <p:spPr bwMode="auto">
            <a:xfrm>
              <a:off x="19112925" y="9686149"/>
              <a:ext cx="1884967" cy="1149588"/>
            </a:xfrm>
            <a:custGeom>
              <a:avLst/>
              <a:gdLst>
                <a:gd name="T0" fmla="*/ 1419 w 2768"/>
                <a:gd name="T1" fmla="*/ 953 h 1690"/>
                <a:gd name="T2" fmla="*/ 1419 w 2768"/>
                <a:gd name="T3" fmla="*/ 953 h 1690"/>
                <a:gd name="T4" fmla="*/ 1397 w 2768"/>
                <a:gd name="T5" fmla="*/ 918 h 1690"/>
                <a:gd name="T6" fmla="*/ 1397 w 2768"/>
                <a:gd name="T7" fmla="*/ 918 h 1690"/>
                <a:gd name="T8" fmla="*/ 1434 w 2768"/>
                <a:gd name="T9" fmla="*/ 938 h 1690"/>
                <a:gd name="T10" fmla="*/ 1434 w 2768"/>
                <a:gd name="T11" fmla="*/ 938 h 1690"/>
                <a:gd name="T12" fmla="*/ 1419 w 2768"/>
                <a:gd name="T13" fmla="*/ 953 h 1690"/>
                <a:gd name="T14" fmla="*/ 2290 w 2768"/>
                <a:gd name="T15" fmla="*/ 495 h 1690"/>
                <a:gd name="T16" fmla="*/ 2290 w 2768"/>
                <a:gd name="T17" fmla="*/ 495 h 1690"/>
                <a:gd name="T18" fmla="*/ 2149 w 2768"/>
                <a:gd name="T19" fmla="*/ 517 h 1690"/>
                <a:gd name="T20" fmla="*/ 2149 w 2768"/>
                <a:gd name="T21" fmla="*/ 517 h 1690"/>
                <a:gd name="T22" fmla="*/ 2150 w 2768"/>
                <a:gd name="T23" fmla="*/ 495 h 1690"/>
                <a:gd name="T24" fmla="*/ 2150 w 2768"/>
                <a:gd name="T25" fmla="*/ 495 h 1690"/>
                <a:gd name="T26" fmla="*/ 1655 w 2768"/>
                <a:gd name="T27" fmla="*/ 0 h 1690"/>
                <a:gd name="T28" fmla="*/ 1655 w 2768"/>
                <a:gd name="T29" fmla="*/ 0 h 1690"/>
                <a:gd name="T30" fmla="*/ 1264 w 2768"/>
                <a:gd name="T31" fmla="*/ 192 h 1690"/>
                <a:gd name="T32" fmla="*/ 1264 w 2768"/>
                <a:gd name="T33" fmla="*/ 192 h 1690"/>
                <a:gd name="T34" fmla="*/ 967 w 2768"/>
                <a:gd name="T35" fmla="*/ 74 h 1690"/>
                <a:gd name="T36" fmla="*/ 967 w 2768"/>
                <a:gd name="T37" fmla="*/ 74 h 1690"/>
                <a:gd name="T38" fmla="*/ 573 w 2768"/>
                <a:gd name="T39" fmla="*/ 328 h 1690"/>
                <a:gd name="T40" fmla="*/ 573 w 2768"/>
                <a:gd name="T41" fmla="*/ 328 h 1690"/>
                <a:gd name="T42" fmla="*/ 421 w 2768"/>
                <a:gd name="T43" fmla="*/ 299 h 1690"/>
                <a:gd name="T44" fmla="*/ 421 w 2768"/>
                <a:gd name="T45" fmla="*/ 299 h 1690"/>
                <a:gd name="T46" fmla="*/ 0 w 2768"/>
                <a:gd name="T47" fmla="*/ 719 h 1690"/>
                <a:gd name="T48" fmla="*/ 0 w 2768"/>
                <a:gd name="T49" fmla="*/ 719 h 1690"/>
                <a:gd name="T50" fmla="*/ 421 w 2768"/>
                <a:gd name="T51" fmla="*/ 1139 h 1690"/>
                <a:gd name="T52" fmla="*/ 421 w 2768"/>
                <a:gd name="T53" fmla="*/ 1139 h 1690"/>
                <a:gd name="T54" fmla="*/ 518 w 2768"/>
                <a:gd name="T55" fmla="*/ 1128 h 1690"/>
                <a:gd name="T56" fmla="*/ 518 w 2768"/>
                <a:gd name="T57" fmla="*/ 1128 h 1690"/>
                <a:gd name="T58" fmla="*/ 515 w 2768"/>
                <a:gd name="T59" fmla="*/ 1184 h 1690"/>
                <a:gd name="T60" fmla="*/ 515 w 2768"/>
                <a:gd name="T61" fmla="*/ 1184 h 1690"/>
                <a:gd name="T62" fmla="*/ 996 w 2768"/>
                <a:gd name="T63" fmla="*/ 1665 h 1690"/>
                <a:gd name="T64" fmla="*/ 996 w 2768"/>
                <a:gd name="T65" fmla="*/ 1665 h 1690"/>
                <a:gd name="T66" fmla="*/ 1361 w 2768"/>
                <a:gd name="T67" fmla="*/ 1497 h 1690"/>
                <a:gd name="T68" fmla="*/ 1361 w 2768"/>
                <a:gd name="T69" fmla="*/ 1497 h 1690"/>
                <a:gd name="T70" fmla="*/ 1720 w 2768"/>
                <a:gd name="T71" fmla="*/ 1689 h 1690"/>
                <a:gd name="T72" fmla="*/ 1720 w 2768"/>
                <a:gd name="T73" fmla="*/ 1689 h 1690"/>
                <a:gd name="T74" fmla="*/ 2120 w 2768"/>
                <a:gd name="T75" fmla="*/ 1416 h 1690"/>
                <a:gd name="T76" fmla="*/ 2120 w 2768"/>
                <a:gd name="T77" fmla="*/ 1416 h 1690"/>
                <a:gd name="T78" fmla="*/ 2290 w 2768"/>
                <a:gd name="T79" fmla="*/ 1448 h 1690"/>
                <a:gd name="T80" fmla="*/ 2290 w 2768"/>
                <a:gd name="T81" fmla="*/ 1448 h 1690"/>
                <a:gd name="T82" fmla="*/ 2767 w 2768"/>
                <a:gd name="T83" fmla="*/ 971 h 1690"/>
                <a:gd name="T84" fmla="*/ 2767 w 2768"/>
                <a:gd name="T85" fmla="*/ 971 h 1690"/>
                <a:gd name="T86" fmla="*/ 2290 w 2768"/>
                <a:gd name="T87" fmla="*/ 495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68" h="1690">
                  <a:moveTo>
                    <a:pt x="1419" y="953"/>
                  </a:moveTo>
                  <a:lnTo>
                    <a:pt x="1419" y="953"/>
                  </a:lnTo>
                  <a:cubicBezTo>
                    <a:pt x="1412" y="941"/>
                    <a:pt x="1404" y="929"/>
                    <a:pt x="1397" y="918"/>
                  </a:cubicBezTo>
                  <a:lnTo>
                    <a:pt x="1397" y="918"/>
                  </a:lnTo>
                  <a:cubicBezTo>
                    <a:pt x="1409" y="924"/>
                    <a:pt x="1421" y="932"/>
                    <a:pt x="1434" y="938"/>
                  </a:cubicBezTo>
                  <a:lnTo>
                    <a:pt x="1434" y="938"/>
                  </a:lnTo>
                  <a:cubicBezTo>
                    <a:pt x="1429" y="943"/>
                    <a:pt x="1424" y="948"/>
                    <a:pt x="1419" y="953"/>
                  </a:cubicBezTo>
                  <a:close/>
                  <a:moveTo>
                    <a:pt x="2290" y="495"/>
                  </a:moveTo>
                  <a:lnTo>
                    <a:pt x="2290" y="495"/>
                  </a:lnTo>
                  <a:cubicBezTo>
                    <a:pt x="2241" y="495"/>
                    <a:pt x="2194" y="503"/>
                    <a:pt x="2149" y="517"/>
                  </a:cubicBezTo>
                  <a:lnTo>
                    <a:pt x="2149" y="517"/>
                  </a:lnTo>
                  <a:cubicBezTo>
                    <a:pt x="2150" y="510"/>
                    <a:pt x="2150" y="503"/>
                    <a:pt x="2150" y="495"/>
                  </a:cubicBezTo>
                  <a:lnTo>
                    <a:pt x="2150" y="495"/>
                  </a:lnTo>
                  <a:cubicBezTo>
                    <a:pt x="2150" y="222"/>
                    <a:pt x="1928" y="0"/>
                    <a:pt x="1655" y="0"/>
                  </a:cubicBezTo>
                  <a:lnTo>
                    <a:pt x="1655" y="0"/>
                  </a:lnTo>
                  <a:cubicBezTo>
                    <a:pt x="1496" y="0"/>
                    <a:pt x="1355" y="75"/>
                    <a:pt x="1264" y="192"/>
                  </a:cubicBezTo>
                  <a:lnTo>
                    <a:pt x="1264" y="192"/>
                  </a:lnTo>
                  <a:cubicBezTo>
                    <a:pt x="1186" y="119"/>
                    <a:pt x="1082" y="74"/>
                    <a:pt x="967" y="74"/>
                  </a:cubicBezTo>
                  <a:lnTo>
                    <a:pt x="967" y="74"/>
                  </a:lnTo>
                  <a:cubicBezTo>
                    <a:pt x="792" y="74"/>
                    <a:pt x="642" y="179"/>
                    <a:pt x="573" y="328"/>
                  </a:cubicBezTo>
                  <a:lnTo>
                    <a:pt x="573" y="328"/>
                  </a:lnTo>
                  <a:cubicBezTo>
                    <a:pt x="526" y="309"/>
                    <a:pt x="475" y="299"/>
                    <a:pt x="421" y="299"/>
                  </a:cubicBezTo>
                  <a:lnTo>
                    <a:pt x="421" y="299"/>
                  </a:lnTo>
                  <a:cubicBezTo>
                    <a:pt x="189" y="299"/>
                    <a:pt x="0" y="487"/>
                    <a:pt x="0" y="719"/>
                  </a:cubicBezTo>
                  <a:lnTo>
                    <a:pt x="0" y="719"/>
                  </a:lnTo>
                  <a:cubicBezTo>
                    <a:pt x="0" y="951"/>
                    <a:pt x="189" y="1139"/>
                    <a:pt x="421" y="1139"/>
                  </a:cubicBezTo>
                  <a:lnTo>
                    <a:pt x="421" y="1139"/>
                  </a:lnTo>
                  <a:cubicBezTo>
                    <a:pt x="454" y="1139"/>
                    <a:pt x="487" y="1135"/>
                    <a:pt x="518" y="1128"/>
                  </a:cubicBezTo>
                  <a:lnTo>
                    <a:pt x="518" y="1128"/>
                  </a:lnTo>
                  <a:cubicBezTo>
                    <a:pt x="516" y="1146"/>
                    <a:pt x="515" y="1165"/>
                    <a:pt x="515" y="1184"/>
                  </a:cubicBezTo>
                  <a:lnTo>
                    <a:pt x="515" y="1184"/>
                  </a:lnTo>
                  <a:cubicBezTo>
                    <a:pt x="515" y="1449"/>
                    <a:pt x="730" y="1665"/>
                    <a:pt x="996" y="1665"/>
                  </a:cubicBezTo>
                  <a:lnTo>
                    <a:pt x="996" y="1665"/>
                  </a:lnTo>
                  <a:cubicBezTo>
                    <a:pt x="1142" y="1665"/>
                    <a:pt x="1273" y="1599"/>
                    <a:pt x="1361" y="1497"/>
                  </a:cubicBezTo>
                  <a:lnTo>
                    <a:pt x="1361" y="1497"/>
                  </a:lnTo>
                  <a:cubicBezTo>
                    <a:pt x="1439" y="1613"/>
                    <a:pt x="1570" y="1689"/>
                    <a:pt x="1720" y="1689"/>
                  </a:cubicBezTo>
                  <a:lnTo>
                    <a:pt x="1720" y="1689"/>
                  </a:lnTo>
                  <a:cubicBezTo>
                    <a:pt x="1902" y="1689"/>
                    <a:pt x="2057" y="1577"/>
                    <a:pt x="2120" y="1416"/>
                  </a:cubicBezTo>
                  <a:lnTo>
                    <a:pt x="2120" y="1416"/>
                  </a:lnTo>
                  <a:cubicBezTo>
                    <a:pt x="2173" y="1437"/>
                    <a:pt x="2230" y="1448"/>
                    <a:pt x="2290" y="1448"/>
                  </a:cubicBezTo>
                  <a:lnTo>
                    <a:pt x="2290" y="1448"/>
                  </a:lnTo>
                  <a:cubicBezTo>
                    <a:pt x="2553" y="1448"/>
                    <a:pt x="2767" y="1234"/>
                    <a:pt x="2767" y="971"/>
                  </a:cubicBezTo>
                  <a:lnTo>
                    <a:pt x="2767" y="971"/>
                  </a:lnTo>
                  <a:cubicBezTo>
                    <a:pt x="2767" y="709"/>
                    <a:pt x="2553" y="495"/>
                    <a:pt x="2290" y="49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824" name="Freeform 8">
              <a:extLst>
                <a:ext uri="{FF2B5EF4-FFF2-40B4-BE49-F238E27FC236}">
                  <a16:creationId xmlns:a16="http://schemas.microsoft.com/office/drawing/2014/main" id="{A8460D73-436A-124F-ABA8-14C0DA5F2141}"/>
                </a:ext>
              </a:extLst>
            </p:cNvPr>
            <p:cNvSpPr>
              <a:spLocks noChangeArrowheads="1"/>
            </p:cNvSpPr>
            <p:nvPr/>
          </p:nvSpPr>
          <p:spPr bwMode="auto">
            <a:xfrm>
              <a:off x="21611187" y="11818206"/>
              <a:ext cx="1245638" cy="777397"/>
            </a:xfrm>
            <a:custGeom>
              <a:avLst/>
              <a:gdLst>
                <a:gd name="T0" fmla="*/ 877 w 1829"/>
                <a:gd name="T1" fmla="*/ 508 h 1143"/>
                <a:gd name="T2" fmla="*/ 877 w 1829"/>
                <a:gd name="T3" fmla="*/ 508 h 1143"/>
                <a:gd name="T4" fmla="*/ 887 w 1829"/>
                <a:gd name="T5" fmla="*/ 498 h 1143"/>
                <a:gd name="T6" fmla="*/ 887 w 1829"/>
                <a:gd name="T7" fmla="*/ 498 h 1143"/>
                <a:gd name="T8" fmla="*/ 903 w 1829"/>
                <a:gd name="T9" fmla="*/ 520 h 1143"/>
                <a:gd name="T10" fmla="*/ 903 w 1829"/>
                <a:gd name="T11" fmla="*/ 520 h 1143"/>
                <a:gd name="T12" fmla="*/ 877 w 1829"/>
                <a:gd name="T13" fmla="*/ 508 h 1143"/>
                <a:gd name="T14" fmla="*/ 1520 w 1829"/>
                <a:gd name="T15" fmla="*/ 322 h 1143"/>
                <a:gd name="T16" fmla="*/ 1520 w 1829"/>
                <a:gd name="T17" fmla="*/ 322 h 1143"/>
                <a:gd name="T18" fmla="*/ 1458 w 1829"/>
                <a:gd name="T19" fmla="*/ 335 h 1143"/>
                <a:gd name="T20" fmla="*/ 1458 w 1829"/>
                <a:gd name="T21" fmla="*/ 335 h 1143"/>
                <a:gd name="T22" fmla="*/ 1457 w 1829"/>
                <a:gd name="T23" fmla="*/ 298 h 1143"/>
                <a:gd name="T24" fmla="*/ 1457 w 1829"/>
                <a:gd name="T25" fmla="*/ 298 h 1143"/>
                <a:gd name="T26" fmla="*/ 1120 w 1829"/>
                <a:gd name="T27" fmla="*/ 15 h 1143"/>
                <a:gd name="T28" fmla="*/ 1120 w 1829"/>
                <a:gd name="T29" fmla="*/ 15 h 1143"/>
                <a:gd name="T30" fmla="*/ 893 w 1829"/>
                <a:gd name="T31" fmla="*/ 143 h 1143"/>
                <a:gd name="T32" fmla="*/ 893 w 1829"/>
                <a:gd name="T33" fmla="*/ 143 h 1143"/>
                <a:gd name="T34" fmla="*/ 651 w 1829"/>
                <a:gd name="T35" fmla="*/ 39 h 1143"/>
                <a:gd name="T36" fmla="*/ 651 w 1829"/>
                <a:gd name="T37" fmla="*/ 39 h 1143"/>
                <a:gd name="T38" fmla="*/ 407 w 1829"/>
                <a:gd name="T39" fmla="*/ 237 h 1143"/>
                <a:gd name="T40" fmla="*/ 407 w 1829"/>
                <a:gd name="T41" fmla="*/ 237 h 1143"/>
                <a:gd name="T42" fmla="*/ 296 w 1829"/>
                <a:gd name="T43" fmla="*/ 227 h 1143"/>
                <a:gd name="T44" fmla="*/ 296 w 1829"/>
                <a:gd name="T45" fmla="*/ 227 h 1143"/>
                <a:gd name="T46" fmla="*/ 15 w 1829"/>
                <a:gd name="T47" fmla="*/ 561 h 1143"/>
                <a:gd name="T48" fmla="*/ 15 w 1829"/>
                <a:gd name="T49" fmla="*/ 561 h 1143"/>
                <a:gd name="T50" fmla="*/ 349 w 1829"/>
                <a:gd name="T51" fmla="*/ 842 h 1143"/>
                <a:gd name="T52" fmla="*/ 349 w 1829"/>
                <a:gd name="T53" fmla="*/ 842 h 1143"/>
                <a:gd name="T54" fmla="*/ 439 w 1829"/>
                <a:gd name="T55" fmla="*/ 821 h 1143"/>
                <a:gd name="T56" fmla="*/ 439 w 1829"/>
                <a:gd name="T57" fmla="*/ 821 h 1143"/>
                <a:gd name="T58" fmla="*/ 440 w 1829"/>
                <a:gd name="T59" fmla="*/ 835 h 1143"/>
                <a:gd name="T60" fmla="*/ 440 w 1829"/>
                <a:gd name="T61" fmla="*/ 835 h 1143"/>
                <a:gd name="T62" fmla="*/ 787 w 1829"/>
                <a:gd name="T63" fmla="*/ 1127 h 1143"/>
                <a:gd name="T64" fmla="*/ 787 w 1829"/>
                <a:gd name="T65" fmla="*/ 1127 h 1143"/>
                <a:gd name="T66" fmla="*/ 1029 w 1829"/>
                <a:gd name="T67" fmla="*/ 981 h 1143"/>
                <a:gd name="T68" fmla="*/ 1029 w 1829"/>
                <a:gd name="T69" fmla="*/ 981 h 1143"/>
                <a:gd name="T70" fmla="*/ 1227 w 1829"/>
                <a:gd name="T71" fmla="*/ 1041 h 1143"/>
                <a:gd name="T72" fmla="*/ 1227 w 1829"/>
                <a:gd name="T73" fmla="*/ 1041 h 1143"/>
                <a:gd name="T74" fmla="*/ 1467 w 1829"/>
                <a:gd name="T75" fmla="*/ 855 h 1143"/>
                <a:gd name="T76" fmla="*/ 1467 w 1829"/>
                <a:gd name="T77" fmla="*/ 855 h 1143"/>
                <a:gd name="T78" fmla="*/ 1567 w 1829"/>
                <a:gd name="T79" fmla="*/ 865 h 1143"/>
                <a:gd name="T80" fmla="*/ 1567 w 1829"/>
                <a:gd name="T81" fmla="*/ 865 h 1143"/>
                <a:gd name="T82" fmla="*/ 1815 w 1829"/>
                <a:gd name="T83" fmla="*/ 570 h 1143"/>
                <a:gd name="T84" fmla="*/ 1815 w 1829"/>
                <a:gd name="T85" fmla="*/ 570 h 1143"/>
                <a:gd name="T86" fmla="*/ 1520 w 1829"/>
                <a:gd name="T87" fmla="*/ 322 h 1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29" h="1143">
                  <a:moveTo>
                    <a:pt x="877" y="508"/>
                  </a:moveTo>
                  <a:lnTo>
                    <a:pt x="877" y="508"/>
                  </a:lnTo>
                  <a:cubicBezTo>
                    <a:pt x="880" y="504"/>
                    <a:pt x="883" y="501"/>
                    <a:pt x="887" y="498"/>
                  </a:cubicBezTo>
                  <a:lnTo>
                    <a:pt x="887" y="498"/>
                  </a:lnTo>
                  <a:cubicBezTo>
                    <a:pt x="891" y="505"/>
                    <a:pt x="897" y="513"/>
                    <a:pt x="903" y="520"/>
                  </a:cubicBezTo>
                  <a:lnTo>
                    <a:pt x="903" y="520"/>
                  </a:lnTo>
                  <a:cubicBezTo>
                    <a:pt x="894" y="516"/>
                    <a:pt x="886" y="511"/>
                    <a:pt x="877" y="508"/>
                  </a:cubicBezTo>
                  <a:close/>
                  <a:moveTo>
                    <a:pt x="1520" y="322"/>
                  </a:moveTo>
                  <a:lnTo>
                    <a:pt x="1520" y="322"/>
                  </a:lnTo>
                  <a:cubicBezTo>
                    <a:pt x="1499" y="324"/>
                    <a:pt x="1478" y="328"/>
                    <a:pt x="1458" y="335"/>
                  </a:cubicBezTo>
                  <a:lnTo>
                    <a:pt x="1458" y="335"/>
                  </a:lnTo>
                  <a:cubicBezTo>
                    <a:pt x="1459" y="323"/>
                    <a:pt x="1458" y="310"/>
                    <a:pt x="1457" y="298"/>
                  </a:cubicBezTo>
                  <a:lnTo>
                    <a:pt x="1457" y="298"/>
                  </a:lnTo>
                  <a:cubicBezTo>
                    <a:pt x="1443" y="127"/>
                    <a:pt x="1291" y="0"/>
                    <a:pt x="1120" y="15"/>
                  </a:cubicBezTo>
                  <a:lnTo>
                    <a:pt x="1120" y="15"/>
                  </a:lnTo>
                  <a:cubicBezTo>
                    <a:pt x="1025" y="23"/>
                    <a:pt x="944" y="72"/>
                    <a:pt x="893" y="143"/>
                  </a:cubicBezTo>
                  <a:lnTo>
                    <a:pt x="893" y="143"/>
                  </a:lnTo>
                  <a:cubicBezTo>
                    <a:pt x="837" y="73"/>
                    <a:pt x="747" y="31"/>
                    <a:pt x="651" y="39"/>
                  </a:cubicBezTo>
                  <a:lnTo>
                    <a:pt x="651" y="39"/>
                  </a:lnTo>
                  <a:cubicBezTo>
                    <a:pt x="533" y="49"/>
                    <a:pt x="439" y="131"/>
                    <a:pt x="407" y="237"/>
                  </a:cubicBezTo>
                  <a:lnTo>
                    <a:pt x="407" y="237"/>
                  </a:lnTo>
                  <a:cubicBezTo>
                    <a:pt x="372" y="227"/>
                    <a:pt x="335" y="223"/>
                    <a:pt x="296" y="227"/>
                  </a:cubicBezTo>
                  <a:lnTo>
                    <a:pt x="296" y="227"/>
                  </a:lnTo>
                  <a:cubicBezTo>
                    <a:pt x="126" y="241"/>
                    <a:pt x="0" y="391"/>
                    <a:pt x="15" y="561"/>
                  </a:cubicBezTo>
                  <a:lnTo>
                    <a:pt x="15" y="561"/>
                  </a:lnTo>
                  <a:cubicBezTo>
                    <a:pt x="29" y="731"/>
                    <a:pt x="179" y="857"/>
                    <a:pt x="349" y="842"/>
                  </a:cubicBezTo>
                  <a:lnTo>
                    <a:pt x="349" y="842"/>
                  </a:lnTo>
                  <a:cubicBezTo>
                    <a:pt x="380" y="840"/>
                    <a:pt x="411" y="832"/>
                    <a:pt x="439" y="821"/>
                  </a:cubicBezTo>
                  <a:lnTo>
                    <a:pt x="439" y="821"/>
                  </a:lnTo>
                  <a:cubicBezTo>
                    <a:pt x="439" y="826"/>
                    <a:pt x="439" y="830"/>
                    <a:pt x="440" y="835"/>
                  </a:cubicBezTo>
                  <a:lnTo>
                    <a:pt x="440" y="835"/>
                  </a:lnTo>
                  <a:cubicBezTo>
                    <a:pt x="455" y="1011"/>
                    <a:pt x="611" y="1142"/>
                    <a:pt x="787" y="1127"/>
                  </a:cubicBezTo>
                  <a:lnTo>
                    <a:pt x="787" y="1127"/>
                  </a:lnTo>
                  <a:cubicBezTo>
                    <a:pt x="890" y="1118"/>
                    <a:pt x="977" y="1062"/>
                    <a:pt x="1029" y="981"/>
                  </a:cubicBezTo>
                  <a:lnTo>
                    <a:pt x="1029" y="981"/>
                  </a:lnTo>
                  <a:cubicBezTo>
                    <a:pt x="1083" y="1024"/>
                    <a:pt x="1153" y="1047"/>
                    <a:pt x="1227" y="1041"/>
                  </a:cubicBezTo>
                  <a:lnTo>
                    <a:pt x="1227" y="1041"/>
                  </a:lnTo>
                  <a:cubicBezTo>
                    <a:pt x="1340" y="1031"/>
                    <a:pt x="1431" y="956"/>
                    <a:pt x="1467" y="855"/>
                  </a:cubicBezTo>
                  <a:lnTo>
                    <a:pt x="1467" y="855"/>
                  </a:lnTo>
                  <a:cubicBezTo>
                    <a:pt x="1499" y="864"/>
                    <a:pt x="1533" y="868"/>
                    <a:pt x="1567" y="865"/>
                  </a:cubicBezTo>
                  <a:lnTo>
                    <a:pt x="1567" y="865"/>
                  </a:lnTo>
                  <a:cubicBezTo>
                    <a:pt x="1717" y="852"/>
                    <a:pt x="1828" y="720"/>
                    <a:pt x="1815" y="570"/>
                  </a:cubicBezTo>
                  <a:lnTo>
                    <a:pt x="1815" y="570"/>
                  </a:lnTo>
                  <a:cubicBezTo>
                    <a:pt x="1802" y="420"/>
                    <a:pt x="1670" y="309"/>
                    <a:pt x="1520" y="32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825" name="Freeform 8">
              <a:extLst>
                <a:ext uri="{FF2B5EF4-FFF2-40B4-BE49-F238E27FC236}">
                  <a16:creationId xmlns:a16="http://schemas.microsoft.com/office/drawing/2014/main" id="{E82D1554-858C-CD40-A70F-E94BBC677763}"/>
                </a:ext>
              </a:extLst>
            </p:cNvPr>
            <p:cNvSpPr>
              <a:spLocks noChangeArrowheads="1"/>
            </p:cNvSpPr>
            <p:nvPr/>
          </p:nvSpPr>
          <p:spPr bwMode="auto">
            <a:xfrm>
              <a:off x="2839249" y="942132"/>
              <a:ext cx="1245638" cy="777397"/>
            </a:xfrm>
            <a:custGeom>
              <a:avLst/>
              <a:gdLst>
                <a:gd name="T0" fmla="*/ 877 w 1829"/>
                <a:gd name="T1" fmla="*/ 508 h 1143"/>
                <a:gd name="T2" fmla="*/ 877 w 1829"/>
                <a:gd name="T3" fmla="*/ 508 h 1143"/>
                <a:gd name="T4" fmla="*/ 887 w 1829"/>
                <a:gd name="T5" fmla="*/ 498 h 1143"/>
                <a:gd name="T6" fmla="*/ 887 w 1829"/>
                <a:gd name="T7" fmla="*/ 498 h 1143"/>
                <a:gd name="T8" fmla="*/ 903 w 1829"/>
                <a:gd name="T9" fmla="*/ 520 h 1143"/>
                <a:gd name="T10" fmla="*/ 903 w 1829"/>
                <a:gd name="T11" fmla="*/ 520 h 1143"/>
                <a:gd name="T12" fmla="*/ 877 w 1829"/>
                <a:gd name="T13" fmla="*/ 508 h 1143"/>
                <a:gd name="T14" fmla="*/ 1520 w 1829"/>
                <a:gd name="T15" fmla="*/ 322 h 1143"/>
                <a:gd name="T16" fmla="*/ 1520 w 1829"/>
                <a:gd name="T17" fmla="*/ 322 h 1143"/>
                <a:gd name="T18" fmla="*/ 1458 w 1829"/>
                <a:gd name="T19" fmla="*/ 335 h 1143"/>
                <a:gd name="T20" fmla="*/ 1458 w 1829"/>
                <a:gd name="T21" fmla="*/ 335 h 1143"/>
                <a:gd name="T22" fmla="*/ 1457 w 1829"/>
                <a:gd name="T23" fmla="*/ 298 h 1143"/>
                <a:gd name="T24" fmla="*/ 1457 w 1829"/>
                <a:gd name="T25" fmla="*/ 298 h 1143"/>
                <a:gd name="T26" fmla="*/ 1120 w 1829"/>
                <a:gd name="T27" fmla="*/ 15 h 1143"/>
                <a:gd name="T28" fmla="*/ 1120 w 1829"/>
                <a:gd name="T29" fmla="*/ 15 h 1143"/>
                <a:gd name="T30" fmla="*/ 893 w 1829"/>
                <a:gd name="T31" fmla="*/ 143 h 1143"/>
                <a:gd name="T32" fmla="*/ 893 w 1829"/>
                <a:gd name="T33" fmla="*/ 143 h 1143"/>
                <a:gd name="T34" fmla="*/ 651 w 1829"/>
                <a:gd name="T35" fmla="*/ 39 h 1143"/>
                <a:gd name="T36" fmla="*/ 651 w 1829"/>
                <a:gd name="T37" fmla="*/ 39 h 1143"/>
                <a:gd name="T38" fmla="*/ 407 w 1829"/>
                <a:gd name="T39" fmla="*/ 237 h 1143"/>
                <a:gd name="T40" fmla="*/ 407 w 1829"/>
                <a:gd name="T41" fmla="*/ 237 h 1143"/>
                <a:gd name="T42" fmla="*/ 296 w 1829"/>
                <a:gd name="T43" fmla="*/ 227 h 1143"/>
                <a:gd name="T44" fmla="*/ 296 w 1829"/>
                <a:gd name="T45" fmla="*/ 227 h 1143"/>
                <a:gd name="T46" fmla="*/ 15 w 1829"/>
                <a:gd name="T47" fmla="*/ 561 h 1143"/>
                <a:gd name="T48" fmla="*/ 15 w 1829"/>
                <a:gd name="T49" fmla="*/ 561 h 1143"/>
                <a:gd name="T50" fmla="*/ 349 w 1829"/>
                <a:gd name="T51" fmla="*/ 842 h 1143"/>
                <a:gd name="T52" fmla="*/ 349 w 1829"/>
                <a:gd name="T53" fmla="*/ 842 h 1143"/>
                <a:gd name="T54" fmla="*/ 439 w 1829"/>
                <a:gd name="T55" fmla="*/ 821 h 1143"/>
                <a:gd name="T56" fmla="*/ 439 w 1829"/>
                <a:gd name="T57" fmla="*/ 821 h 1143"/>
                <a:gd name="T58" fmla="*/ 440 w 1829"/>
                <a:gd name="T59" fmla="*/ 835 h 1143"/>
                <a:gd name="T60" fmla="*/ 440 w 1829"/>
                <a:gd name="T61" fmla="*/ 835 h 1143"/>
                <a:gd name="T62" fmla="*/ 787 w 1829"/>
                <a:gd name="T63" fmla="*/ 1127 h 1143"/>
                <a:gd name="T64" fmla="*/ 787 w 1829"/>
                <a:gd name="T65" fmla="*/ 1127 h 1143"/>
                <a:gd name="T66" fmla="*/ 1029 w 1829"/>
                <a:gd name="T67" fmla="*/ 981 h 1143"/>
                <a:gd name="T68" fmla="*/ 1029 w 1829"/>
                <a:gd name="T69" fmla="*/ 981 h 1143"/>
                <a:gd name="T70" fmla="*/ 1227 w 1829"/>
                <a:gd name="T71" fmla="*/ 1041 h 1143"/>
                <a:gd name="T72" fmla="*/ 1227 w 1829"/>
                <a:gd name="T73" fmla="*/ 1041 h 1143"/>
                <a:gd name="T74" fmla="*/ 1467 w 1829"/>
                <a:gd name="T75" fmla="*/ 855 h 1143"/>
                <a:gd name="T76" fmla="*/ 1467 w 1829"/>
                <a:gd name="T77" fmla="*/ 855 h 1143"/>
                <a:gd name="T78" fmla="*/ 1567 w 1829"/>
                <a:gd name="T79" fmla="*/ 865 h 1143"/>
                <a:gd name="T80" fmla="*/ 1567 w 1829"/>
                <a:gd name="T81" fmla="*/ 865 h 1143"/>
                <a:gd name="T82" fmla="*/ 1815 w 1829"/>
                <a:gd name="T83" fmla="*/ 570 h 1143"/>
                <a:gd name="T84" fmla="*/ 1815 w 1829"/>
                <a:gd name="T85" fmla="*/ 570 h 1143"/>
                <a:gd name="T86" fmla="*/ 1520 w 1829"/>
                <a:gd name="T87" fmla="*/ 322 h 1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29" h="1143">
                  <a:moveTo>
                    <a:pt x="877" y="508"/>
                  </a:moveTo>
                  <a:lnTo>
                    <a:pt x="877" y="508"/>
                  </a:lnTo>
                  <a:cubicBezTo>
                    <a:pt x="880" y="504"/>
                    <a:pt x="883" y="501"/>
                    <a:pt x="887" y="498"/>
                  </a:cubicBezTo>
                  <a:lnTo>
                    <a:pt x="887" y="498"/>
                  </a:lnTo>
                  <a:cubicBezTo>
                    <a:pt x="891" y="505"/>
                    <a:pt x="897" y="513"/>
                    <a:pt x="903" y="520"/>
                  </a:cubicBezTo>
                  <a:lnTo>
                    <a:pt x="903" y="520"/>
                  </a:lnTo>
                  <a:cubicBezTo>
                    <a:pt x="894" y="516"/>
                    <a:pt x="886" y="511"/>
                    <a:pt x="877" y="508"/>
                  </a:cubicBezTo>
                  <a:close/>
                  <a:moveTo>
                    <a:pt x="1520" y="322"/>
                  </a:moveTo>
                  <a:lnTo>
                    <a:pt x="1520" y="322"/>
                  </a:lnTo>
                  <a:cubicBezTo>
                    <a:pt x="1499" y="324"/>
                    <a:pt x="1478" y="328"/>
                    <a:pt x="1458" y="335"/>
                  </a:cubicBezTo>
                  <a:lnTo>
                    <a:pt x="1458" y="335"/>
                  </a:lnTo>
                  <a:cubicBezTo>
                    <a:pt x="1459" y="323"/>
                    <a:pt x="1458" y="310"/>
                    <a:pt x="1457" y="298"/>
                  </a:cubicBezTo>
                  <a:lnTo>
                    <a:pt x="1457" y="298"/>
                  </a:lnTo>
                  <a:cubicBezTo>
                    <a:pt x="1443" y="127"/>
                    <a:pt x="1291" y="0"/>
                    <a:pt x="1120" y="15"/>
                  </a:cubicBezTo>
                  <a:lnTo>
                    <a:pt x="1120" y="15"/>
                  </a:lnTo>
                  <a:cubicBezTo>
                    <a:pt x="1025" y="23"/>
                    <a:pt x="944" y="72"/>
                    <a:pt x="893" y="143"/>
                  </a:cubicBezTo>
                  <a:lnTo>
                    <a:pt x="893" y="143"/>
                  </a:lnTo>
                  <a:cubicBezTo>
                    <a:pt x="837" y="73"/>
                    <a:pt x="747" y="31"/>
                    <a:pt x="651" y="39"/>
                  </a:cubicBezTo>
                  <a:lnTo>
                    <a:pt x="651" y="39"/>
                  </a:lnTo>
                  <a:cubicBezTo>
                    <a:pt x="533" y="49"/>
                    <a:pt x="439" y="131"/>
                    <a:pt x="407" y="237"/>
                  </a:cubicBezTo>
                  <a:lnTo>
                    <a:pt x="407" y="237"/>
                  </a:lnTo>
                  <a:cubicBezTo>
                    <a:pt x="372" y="227"/>
                    <a:pt x="335" y="223"/>
                    <a:pt x="296" y="227"/>
                  </a:cubicBezTo>
                  <a:lnTo>
                    <a:pt x="296" y="227"/>
                  </a:lnTo>
                  <a:cubicBezTo>
                    <a:pt x="126" y="241"/>
                    <a:pt x="0" y="391"/>
                    <a:pt x="15" y="561"/>
                  </a:cubicBezTo>
                  <a:lnTo>
                    <a:pt x="15" y="561"/>
                  </a:lnTo>
                  <a:cubicBezTo>
                    <a:pt x="29" y="731"/>
                    <a:pt x="179" y="857"/>
                    <a:pt x="349" y="842"/>
                  </a:cubicBezTo>
                  <a:lnTo>
                    <a:pt x="349" y="842"/>
                  </a:lnTo>
                  <a:cubicBezTo>
                    <a:pt x="380" y="840"/>
                    <a:pt x="411" y="832"/>
                    <a:pt x="439" y="821"/>
                  </a:cubicBezTo>
                  <a:lnTo>
                    <a:pt x="439" y="821"/>
                  </a:lnTo>
                  <a:cubicBezTo>
                    <a:pt x="439" y="826"/>
                    <a:pt x="439" y="830"/>
                    <a:pt x="440" y="835"/>
                  </a:cubicBezTo>
                  <a:lnTo>
                    <a:pt x="440" y="835"/>
                  </a:lnTo>
                  <a:cubicBezTo>
                    <a:pt x="455" y="1011"/>
                    <a:pt x="611" y="1142"/>
                    <a:pt x="787" y="1127"/>
                  </a:cubicBezTo>
                  <a:lnTo>
                    <a:pt x="787" y="1127"/>
                  </a:lnTo>
                  <a:cubicBezTo>
                    <a:pt x="890" y="1118"/>
                    <a:pt x="977" y="1062"/>
                    <a:pt x="1029" y="981"/>
                  </a:cubicBezTo>
                  <a:lnTo>
                    <a:pt x="1029" y="981"/>
                  </a:lnTo>
                  <a:cubicBezTo>
                    <a:pt x="1083" y="1024"/>
                    <a:pt x="1153" y="1047"/>
                    <a:pt x="1227" y="1041"/>
                  </a:cubicBezTo>
                  <a:lnTo>
                    <a:pt x="1227" y="1041"/>
                  </a:lnTo>
                  <a:cubicBezTo>
                    <a:pt x="1340" y="1031"/>
                    <a:pt x="1431" y="956"/>
                    <a:pt x="1467" y="855"/>
                  </a:cubicBezTo>
                  <a:lnTo>
                    <a:pt x="1467" y="855"/>
                  </a:lnTo>
                  <a:cubicBezTo>
                    <a:pt x="1499" y="864"/>
                    <a:pt x="1533" y="868"/>
                    <a:pt x="1567" y="865"/>
                  </a:cubicBezTo>
                  <a:lnTo>
                    <a:pt x="1567" y="865"/>
                  </a:lnTo>
                  <a:cubicBezTo>
                    <a:pt x="1717" y="852"/>
                    <a:pt x="1828" y="720"/>
                    <a:pt x="1815" y="570"/>
                  </a:cubicBezTo>
                  <a:lnTo>
                    <a:pt x="1815" y="570"/>
                  </a:lnTo>
                  <a:cubicBezTo>
                    <a:pt x="1802" y="420"/>
                    <a:pt x="1670" y="309"/>
                    <a:pt x="1520" y="32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826" name="Freeform 5">
              <a:extLst>
                <a:ext uri="{FF2B5EF4-FFF2-40B4-BE49-F238E27FC236}">
                  <a16:creationId xmlns:a16="http://schemas.microsoft.com/office/drawing/2014/main" id="{C311831C-028E-8C43-BDD2-2D0719D88E28}"/>
                </a:ext>
              </a:extLst>
            </p:cNvPr>
            <p:cNvSpPr>
              <a:spLocks noChangeArrowheads="1"/>
            </p:cNvSpPr>
            <p:nvPr/>
          </p:nvSpPr>
          <p:spPr bwMode="auto">
            <a:xfrm>
              <a:off x="20349039" y="1065288"/>
              <a:ext cx="1884967" cy="1149588"/>
            </a:xfrm>
            <a:custGeom>
              <a:avLst/>
              <a:gdLst>
                <a:gd name="T0" fmla="*/ 1419 w 2768"/>
                <a:gd name="T1" fmla="*/ 953 h 1690"/>
                <a:gd name="T2" fmla="*/ 1419 w 2768"/>
                <a:gd name="T3" fmla="*/ 953 h 1690"/>
                <a:gd name="T4" fmla="*/ 1397 w 2768"/>
                <a:gd name="T5" fmla="*/ 918 h 1690"/>
                <a:gd name="T6" fmla="*/ 1397 w 2768"/>
                <a:gd name="T7" fmla="*/ 918 h 1690"/>
                <a:gd name="T8" fmla="*/ 1434 w 2768"/>
                <a:gd name="T9" fmla="*/ 938 h 1690"/>
                <a:gd name="T10" fmla="*/ 1434 w 2768"/>
                <a:gd name="T11" fmla="*/ 938 h 1690"/>
                <a:gd name="T12" fmla="*/ 1419 w 2768"/>
                <a:gd name="T13" fmla="*/ 953 h 1690"/>
                <a:gd name="T14" fmla="*/ 2290 w 2768"/>
                <a:gd name="T15" fmla="*/ 495 h 1690"/>
                <a:gd name="T16" fmla="*/ 2290 w 2768"/>
                <a:gd name="T17" fmla="*/ 495 h 1690"/>
                <a:gd name="T18" fmla="*/ 2149 w 2768"/>
                <a:gd name="T19" fmla="*/ 517 h 1690"/>
                <a:gd name="T20" fmla="*/ 2149 w 2768"/>
                <a:gd name="T21" fmla="*/ 517 h 1690"/>
                <a:gd name="T22" fmla="*/ 2150 w 2768"/>
                <a:gd name="T23" fmla="*/ 495 h 1690"/>
                <a:gd name="T24" fmla="*/ 2150 w 2768"/>
                <a:gd name="T25" fmla="*/ 495 h 1690"/>
                <a:gd name="T26" fmla="*/ 1655 w 2768"/>
                <a:gd name="T27" fmla="*/ 0 h 1690"/>
                <a:gd name="T28" fmla="*/ 1655 w 2768"/>
                <a:gd name="T29" fmla="*/ 0 h 1690"/>
                <a:gd name="T30" fmla="*/ 1264 w 2768"/>
                <a:gd name="T31" fmla="*/ 192 h 1690"/>
                <a:gd name="T32" fmla="*/ 1264 w 2768"/>
                <a:gd name="T33" fmla="*/ 192 h 1690"/>
                <a:gd name="T34" fmla="*/ 967 w 2768"/>
                <a:gd name="T35" fmla="*/ 74 h 1690"/>
                <a:gd name="T36" fmla="*/ 967 w 2768"/>
                <a:gd name="T37" fmla="*/ 74 h 1690"/>
                <a:gd name="T38" fmla="*/ 573 w 2768"/>
                <a:gd name="T39" fmla="*/ 328 h 1690"/>
                <a:gd name="T40" fmla="*/ 573 w 2768"/>
                <a:gd name="T41" fmla="*/ 328 h 1690"/>
                <a:gd name="T42" fmla="*/ 421 w 2768"/>
                <a:gd name="T43" fmla="*/ 299 h 1690"/>
                <a:gd name="T44" fmla="*/ 421 w 2768"/>
                <a:gd name="T45" fmla="*/ 299 h 1690"/>
                <a:gd name="T46" fmla="*/ 0 w 2768"/>
                <a:gd name="T47" fmla="*/ 719 h 1690"/>
                <a:gd name="T48" fmla="*/ 0 w 2768"/>
                <a:gd name="T49" fmla="*/ 719 h 1690"/>
                <a:gd name="T50" fmla="*/ 421 w 2768"/>
                <a:gd name="T51" fmla="*/ 1139 h 1690"/>
                <a:gd name="T52" fmla="*/ 421 w 2768"/>
                <a:gd name="T53" fmla="*/ 1139 h 1690"/>
                <a:gd name="T54" fmla="*/ 518 w 2768"/>
                <a:gd name="T55" fmla="*/ 1128 h 1690"/>
                <a:gd name="T56" fmla="*/ 518 w 2768"/>
                <a:gd name="T57" fmla="*/ 1128 h 1690"/>
                <a:gd name="T58" fmla="*/ 515 w 2768"/>
                <a:gd name="T59" fmla="*/ 1184 h 1690"/>
                <a:gd name="T60" fmla="*/ 515 w 2768"/>
                <a:gd name="T61" fmla="*/ 1184 h 1690"/>
                <a:gd name="T62" fmla="*/ 996 w 2768"/>
                <a:gd name="T63" fmla="*/ 1665 h 1690"/>
                <a:gd name="T64" fmla="*/ 996 w 2768"/>
                <a:gd name="T65" fmla="*/ 1665 h 1690"/>
                <a:gd name="T66" fmla="*/ 1361 w 2768"/>
                <a:gd name="T67" fmla="*/ 1497 h 1690"/>
                <a:gd name="T68" fmla="*/ 1361 w 2768"/>
                <a:gd name="T69" fmla="*/ 1497 h 1690"/>
                <a:gd name="T70" fmla="*/ 1720 w 2768"/>
                <a:gd name="T71" fmla="*/ 1689 h 1690"/>
                <a:gd name="T72" fmla="*/ 1720 w 2768"/>
                <a:gd name="T73" fmla="*/ 1689 h 1690"/>
                <a:gd name="T74" fmla="*/ 2120 w 2768"/>
                <a:gd name="T75" fmla="*/ 1416 h 1690"/>
                <a:gd name="T76" fmla="*/ 2120 w 2768"/>
                <a:gd name="T77" fmla="*/ 1416 h 1690"/>
                <a:gd name="T78" fmla="*/ 2290 w 2768"/>
                <a:gd name="T79" fmla="*/ 1448 h 1690"/>
                <a:gd name="T80" fmla="*/ 2290 w 2768"/>
                <a:gd name="T81" fmla="*/ 1448 h 1690"/>
                <a:gd name="T82" fmla="*/ 2767 w 2768"/>
                <a:gd name="T83" fmla="*/ 971 h 1690"/>
                <a:gd name="T84" fmla="*/ 2767 w 2768"/>
                <a:gd name="T85" fmla="*/ 971 h 1690"/>
                <a:gd name="T86" fmla="*/ 2290 w 2768"/>
                <a:gd name="T87" fmla="*/ 495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68" h="1690">
                  <a:moveTo>
                    <a:pt x="1419" y="953"/>
                  </a:moveTo>
                  <a:lnTo>
                    <a:pt x="1419" y="953"/>
                  </a:lnTo>
                  <a:cubicBezTo>
                    <a:pt x="1412" y="941"/>
                    <a:pt x="1404" y="929"/>
                    <a:pt x="1397" y="918"/>
                  </a:cubicBezTo>
                  <a:lnTo>
                    <a:pt x="1397" y="918"/>
                  </a:lnTo>
                  <a:cubicBezTo>
                    <a:pt x="1409" y="924"/>
                    <a:pt x="1421" y="932"/>
                    <a:pt x="1434" y="938"/>
                  </a:cubicBezTo>
                  <a:lnTo>
                    <a:pt x="1434" y="938"/>
                  </a:lnTo>
                  <a:cubicBezTo>
                    <a:pt x="1429" y="943"/>
                    <a:pt x="1424" y="948"/>
                    <a:pt x="1419" y="953"/>
                  </a:cubicBezTo>
                  <a:close/>
                  <a:moveTo>
                    <a:pt x="2290" y="495"/>
                  </a:moveTo>
                  <a:lnTo>
                    <a:pt x="2290" y="495"/>
                  </a:lnTo>
                  <a:cubicBezTo>
                    <a:pt x="2241" y="495"/>
                    <a:pt x="2194" y="503"/>
                    <a:pt x="2149" y="517"/>
                  </a:cubicBezTo>
                  <a:lnTo>
                    <a:pt x="2149" y="517"/>
                  </a:lnTo>
                  <a:cubicBezTo>
                    <a:pt x="2150" y="510"/>
                    <a:pt x="2150" y="503"/>
                    <a:pt x="2150" y="495"/>
                  </a:cubicBezTo>
                  <a:lnTo>
                    <a:pt x="2150" y="495"/>
                  </a:lnTo>
                  <a:cubicBezTo>
                    <a:pt x="2150" y="222"/>
                    <a:pt x="1928" y="0"/>
                    <a:pt x="1655" y="0"/>
                  </a:cubicBezTo>
                  <a:lnTo>
                    <a:pt x="1655" y="0"/>
                  </a:lnTo>
                  <a:cubicBezTo>
                    <a:pt x="1496" y="0"/>
                    <a:pt x="1355" y="75"/>
                    <a:pt x="1264" y="192"/>
                  </a:cubicBezTo>
                  <a:lnTo>
                    <a:pt x="1264" y="192"/>
                  </a:lnTo>
                  <a:cubicBezTo>
                    <a:pt x="1186" y="119"/>
                    <a:pt x="1082" y="74"/>
                    <a:pt x="967" y="74"/>
                  </a:cubicBezTo>
                  <a:lnTo>
                    <a:pt x="967" y="74"/>
                  </a:lnTo>
                  <a:cubicBezTo>
                    <a:pt x="792" y="74"/>
                    <a:pt x="642" y="179"/>
                    <a:pt x="573" y="328"/>
                  </a:cubicBezTo>
                  <a:lnTo>
                    <a:pt x="573" y="328"/>
                  </a:lnTo>
                  <a:cubicBezTo>
                    <a:pt x="526" y="309"/>
                    <a:pt x="475" y="299"/>
                    <a:pt x="421" y="299"/>
                  </a:cubicBezTo>
                  <a:lnTo>
                    <a:pt x="421" y="299"/>
                  </a:lnTo>
                  <a:cubicBezTo>
                    <a:pt x="189" y="299"/>
                    <a:pt x="0" y="487"/>
                    <a:pt x="0" y="719"/>
                  </a:cubicBezTo>
                  <a:lnTo>
                    <a:pt x="0" y="719"/>
                  </a:lnTo>
                  <a:cubicBezTo>
                    <a:pt x="0" y="951"/>
                    <a:pt x="189" y="1139"/>
                    <a:pt x="421" y="1139"/>
                  </a:cubicBezTo>
                  <a:lnTo>
                    <a:pt x="421" y="1139"/>
                  </a:lnTo>
                  <a:cubicBezTo>
                    <a:pt x="454" y="1139"/>
                    <a:pt x="487" y="1135"/>
                    <a:pt x="518" y="1128"/>
                  </a:cubicBezTo>
                  <a:lnTo>
                    <a:pt x="518" y="1128"/>
                  </a:lnTo>
                  <a:cubicBezTo>
                    <a:pt x="516" y="1146"/>
                    <a:pt x="515" y="1165"/>
                    <a:pt x="515" y="1184"/>
                  </a:cubicBezTo>
                  <a:lnTo>
                    <a:pt x="515" y="1184"/>
                  </a:lnTo>
                  <a:cubicBezTo>
                    <a:pt x="515" y="1449"/>
                    <a:pt x="730" y="1665"/>
                    <a:pt x="996" y="1665"/>
                  </a:cubicBezTo>
                  <a:lnTo>
                    <a:pt x="996" y="1665"/>
                  </a:lnTo>
                  <a:cubicBezTo>
                    <a:pt x="1142" y="1665"/>
                    <a:pt x="1273" y="1599"/>
                    <a:pt x="1361" y="1497"/>
                  </a:cubicBezTo>
                  <a:lnTo>
                    <a:pt x="1361" y="1497"/>
                  </a:lnTo>
                  <a:cubicBezTo>
                    <a:pt x="1439" y="1613"/>
                    <a:pt x="1570" y="1689"/>
                    <a:pt x="1720" y="1689"/>
                  </a:cubicBezTo>
                  <a:lnTo>
                    <a:pt x="1720" y="1689"/>
                  </a:lnTo>
                  <a:cubicBezTo>
                    <a:pt x="1902" y="1689"/>
                    <a:pt x="2057" y="1577"/>
                    <a:pt x="2120" y="1416"/>
                  </a:cubicBezTo>
                  <a:lnTo>
                    <a:pt x="2120" y="1416"/>
                  </a:lnTo>
                  <a:cubicBezTo>
                    <a:pt x="2173" y="1437"/>
                    <a:pt x="2230" y="1448"/>
                    <a:pt x="2290" y="1448"/>
                  </a:cubicBezTo>
                  <a:lnTo>
                    <a:pt x="2290" y="1448"/>
                  </a:lnTo>
                  <a:cubicBezTo>
                    <a:pt x="2553" y="1448"/>
                    <a:pt x="2767" y="1234"/>
                    <a:pt x="2767" y="971"/>
                  </a:cubicBezTo>
                  <a:lnTo>
                    <a:pt x="2767" y="971"/>
                  </a:lnTo>
                  <a:cubicBezTo>
                    <a:pt x="2767" y="709"/>
                    <a:pt x="2553" y="495"/>
                    <a:pt x="2290" y="49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grpSp>
      <p:grpSp>
        <p:nvGrpSpPr>
          <p:cNvPr id="5" name="Group 4">
            <a:extLst>
              <a:ext uri="{FF2B5EF4-FFF2-40B4-BE49-F238E27FC236}">
                <a16:creationId xmlns:a16="http://schemas.microsoft.com/office/drawing/2014/main" id="{36620808-EDE9-EE4D-87AB-32EDC9DAF6AE}"/>
              </a:ext>
            </a:extLst>
          </p:cNvPr>
          <p:cNvGrpSpPr/>
          <p:nvPr/>
        </p:nvGrpSpPr>
        <p:grpSpPr>
          <a:xfrm>
            <a:off x="2845368" y="474510"/>
            <a:ext cx="6519449" cy="5521946"/>
            <a:chOff x="6586626" y="1710525"/>
            <a:chExt cx="11240765" cy="9520882"/>
          </a:xfrm>
        </p:grpSpPr>
        <p:sp>
          <p:nvSpPr>
            <p:cNvPr id="3081" name="Freeform 9">
              <a:extLst>
                <a:ext uri="{FF2B5EF4-FFF2-40B4-BE49-F238E27FC236}">
                  <a16:creationId xmlns:a16="http://schemas.microsoft.com/office/drawing/2014/main" id="{50370BD8-D791-9C4F-8128-EB49E2BBB7C8}"/>
                </a:ext>
              </a:extLst>
            </p:cNvPr>
            <p:cNvSpPr>
              <a:spLocks noChangeArrowheads="1"/>
            </p:cNvSpPr>
            <p:nvPr/>
          </p:nvSpPr>
          <p:spPr bwMode="auto">
            <a:xfrm>
              <a:off x="6586626" y="7428457"/>
              <a:ext cx="3190637" cy="3802950"/>
            </a:xfrm>
            <a:custGeom>
              <a:avLst/>
              <a:gdLst>
                <a:gd name="T0" fmla="*/ 0 w 4688"/>
                <a:gd name="T1" fmla="*/ 0 h 5587"/>
                <a:gd name="T2" fmla="*/ 0 w 4688"/>
                <a:gd name="T3" fmla="*/ 0 h 5587"/>
                <a:gd name="T4" fmla="*/ 2312 w 4688"/>
                <a:gd name="T5" fmla="*/ 5586 h 5587"/>
                <a:gd name="T6" fmla="*/ 4687 w 4688"/>
                <a:gd name="T7" fmla="*/ 3211 h 5587"/>
                <a:gd name="T8" fmla="*/ 4687 w 4688"/>
                <a:gd name="T9" fmla="*/ 3211 h 5587"/>
                <a:gd name="T10" fmla="*/ 3358 w 4688"/>
                <a:gd name="T11" fmla="*/ 0 h 5587"/>
                <a:gd name="T12" fmla="*/ 0 w 4688"/>
                <a:gd name="T13" fmla="*/ 0 h 5587"/>
              </a:gdLst>
              <a:ahLst/>
              <a:cxnLst>
                <a:cxn ang="0">
                  <a:pos x="T0" y="T1"/>
                </a:cxn>
                <a:cxn ang="0">
                  <a:pos x="T2" y="T3"/>
                </a:cxn>
                <a:cxn ang="0">
                  <a:pos x="T4" y="T5"/>
                </a:cxn>
                <a:cxn ang="0">
                  <a:pos x="T6" y="T7"/>
                </a:cxn>
                <a:cxn ang="0">
                  <a:pos x="T8" y="T9"/>
                </a:cxn>
                <a:cxn ang="0">
                  <a:pos x="T10" y="T11"/>
                </a:cxn>
                <a:cxn ang="0">
                  <a:pos x="T12" y="T13"/>
                </a:cxn>
              </a:cxnLst>
              <a:rect l="0" t="0" r="r" b="b"/>
              <a:pathLst>
                <a:path w="4688" h="5587">
                  <a:moveTo>
                    <a:pt x="0" y="0"/>
                  </a:moveTo>
                  <a:lnTo>
                    <a:pt x="0" y="0"/>
                  </a:lnTo>
                  <a:cubicBezTo>
                    <a:pt x="38" y="2169"/>
                    <a:pt x="911" y="4133"/>
                    <a:pt x="2312" y="5586"/>
                  </a:cubicBezTo>
                  <a:lnTo>
                    <a:pt x="4687" y="3211"/>
                  </a:lnTo>
                  <a:lnTo>
                    <a:pt x="4687" y="3211"/>
                  </a:lnTo>
                  <a:cubicBezTo>
                    <a:pt x="3892" y="2367"/>
                    <a:pt x="3394" y="1242"/>
                    <a:pt x="3358" y="0"/>
                  </a:cubicBezTo>
                  <a:lnTo>
                    <a:pt x="0" y="0"/>
                  </a:lnTo>
                </a:path>
              </a:pathLst>
            </a:custGeom>
            <a:solidFill>
              <a:schemeClr val="accent1"/>
            </a:solidFill>
            <a:ln>
              <a:noFill/>
            </a:ln>
            <a:effectLst/>
          </p:spPr>
          <p:txBody>
            <a:bodyPr wrap="none" anchor="ctr"/>
            <a:lstStyle/>
            <a:p>
              <a:endParaRPr lang="en-US" sz="3266" dirty="0">
                <a:latin typeface="Lato Light" panose="020F0502020204030203" pitchFamily="34" charset="0"/>
              </a:endParaRPr>
            </a:p>
          </p:txBody>
        </p:sp>
        <p:sp>
          <p:nvSpPr>
            <p:cNvPr id="3082" name="Freeform 10">
              <a:extLst>
                <a:ext uri="{FF2B5EF4-FFF2-40B4-BE49-F238E27FC236}">
                  <a16:creationId xmlns:a16="http://schemas.microsoft.com/office/drawing/2014/main" id="{5A2D9074-89E9-FE4D-9331-70F344EB36CA}"/>
                </a:ext>
              </a:extLst>
            </p:cNvPr>
            <p:cNvSpPr>
              <a:spLocks noChangeArrowheads="1"/>
            </p:cNvSpPr>
            <p:nvPr/>
          </p:nvSpPr>
          <p:spPr bwMode="auto">
            <a:xfrm>
              <a:off x="6586626" y="3427406"/>
              <a:ext cx="3190637" cy="3799948"/>
            </a:xfrm>
            <a:custGeom>
              <a:avLst/>
              <a:gdLst>
                <a:gd name="T0" fmla="*/ 0 w 4689"/>
                <a:gd name="T1" fmla="*/ 5582 h 5583"/>
                <a:gd name="T2" fmla="*/ 3358 w 4689"/>
                <a:gd name="T3" fmla="*/ 5582 h 5583"/>
                <a:gd name="T4" fmla="*/ 3358 w 4689"/>
                <a:gd name="T5" fmla="*/ 5582 h 5583"/>
                <a:gd name="T6" fmla="*/ 4688 w 4689"/>
                <a:gd name="T7" fmla="*/ 2374 h 5583"/>
                <a:gd name="T8" fmla="*/ 2314 w 4689"/>
                <a:gd name="T9" fmla="*/ 0 h 5583"/>
                <a:gd name="T10" fmla="*/ 2314 w 4689"/>
                <a:gd name="T11" fmla="*/ 0 h 5583"/>
                <a:gd name="T12" fmla="*/ 0 w 4689"/>
                <a:gd name="T13" fmla="*/ 5582 h 5583"/>
              </a:gdLst>
              <a:ahLst/>
              <a:cxnLst>
                <a:cxn ang="0">
                  <a:pos x="T0" y="T1"/>
                </a:cxn>
                <a:cxn ang="0">
                  <a:pos x="T2" y="T3"/>
                </a:cxn>
                <a:cxn ang="0">
                  <a:pos x="T4" y="T5"/>
                </a:cxn>
                <a:cxn ang="0">
                  <a:pos x="T6" y="T7"/>
                </a:cxn>
                <a:cxn ang="0">
                  <a:pos x="T8" y="T9"/>
                </a:cxn>
                <a:cxn ang="0">
                  <a:pos x="T10" y="T11"/>
                </a:cxn>
                <a:cxn ang="0">
                  <a:pos x="T12" y="T13"/>
                </a:cxn>
              </a:cxnLst>
              <a:rect l="0" t="0" r="r" b="b"/>
              <a:pathLst>
                <a:path w="4689" h="5583">
                  <a:moveTo>
                    <a:pt x="0" y="5582"/>
                  </a:moveTo>
                  <a:lnTo>
                    <a:pt x="3358" y="5582"/>
                  </a:lnTo>
                  <a:lnTo>
                    <a:pt x="3358" y="5582"/>
                  </a:lnTo>
                  <a:cubicBezTo>
                    <a:pt x="3395" y="4343"/>
                    <a:pt x="3894" y="3218"/>
                    <a:pt x="4688" y="2374"/>
                  </a:cubicBezTo>
                  <a:lnTo>
                    <a:pt x="2314" y="0"/>
                  </a:lnTo>
                  <a:lnTo>
                    <a:pt x="2314" y="0"/>
                  </a:lnTo>
                  <a:cubicBezTo>
                    <a:pt x="912" y="1451"/>
                    <a:pt x="39" y="3415"/>
                    <a:pt x="0" y="5582"/>
                  </a:cubicBezTo>
                </a:path>
              </a:pathLst>
            </a:custGeom>
            <a:solidFill>
              <a:schemeClr val="accent2"/>
            </a:solidFill>
            <a:ln>
              <a:noFill/>
            </a:ln>
            <a:effectLst/>
          </p:spPr>
          <p:txBody>
            <a:bodyPr wrap="none" anchor="ctr"/>
            <a:lstStyle/>
            <a:p>
              <a:endParaRPr lang="en-US" sz="3266" dirty="0">
                <a:latin typeface="Lato Light" panose="020F0502020204030203" pitchFamily="34" charset="0"/>
              </a:endParaRPr>
            </a:p>
          </p:txBody>
        </p:sp>
        <p:sp>
          <p:nvSpPr>
            <p:cNvPr id="3083" name="Freeform 11">
              <a:extLst>
                <a:ext uri="{FF2B5EF4-FFF2-40B4-BE49-F238E27FC236}">
                  <a16:creationId xmlns:a16="http://schemas.microsoft.com/office/drawing/2014/main" id="{10E069A9-3D4B-624B-9848-9864D9DD3081}"/>
                </a:ext>
              </a:extLst>
            </p:cNvPr>
            <p:cNvSpPr>
              <a:spLocks noChangeArrowheads="1"/>
            </p:cNvSpPr>
            <p:nvPr/>
          </p:nvSpPr>
          <p:spPr bwMode="auto">
            <a:xfrm>
              <a:off x="8306509" y="1710525"/>
              <a:ext cx="3799949" cy="3190635"/>
            </a:xfrm>
            <a:custGeom>
              <a:avLst/>
              <a:gdLst>
                <a:gd name="T0" fmla="*/ 2375 w 5583"/>
                <a:gd name="T1" fmla="*/ 4686 h 4687"/>
                <a:gd name="T2" fmla="*/ 2375 w 5583"/>
                <a:gd name="T3" fmla="*/ 4686 h 4687"/>
                <a:gd name="T4" fmla="*/ 5582 w 5583"/>
                <a:gd name="T5" fmla="*/ 3358 h 4687"/>
                <a:gd name="T6" fmla="*/ 5582 w 5583"/>
                <a:gd name="T7" fmla="*/ 0 h 4687"/>
                <a:gd name="T8" fmla="*/ 5582 w 5583"/>
                <a:gd name="T9" fmla="*/ 0 h 4687"/>
                <a:gd name="T10" fmla="*/ 0 w 5583"/>
                <a:gd name="T11" fmla="*/ 2312 h 4687"/>
                <a:gd name="T12" fmla="*/ 2375 w 5583"/>
                <a:gd name="T13" fmla="*/ 4686 h 4687"/>
              </a:gdLst>
              <a:ahLst/>
              <a:cxnLst>
                <a:cxn ang="0">
                  <a:pos x="T0" y="T1"/>
                </a:cxn>
                <a:cxn ang="0">
                  <a:pos x="T2" y="T3"/>
                </a:cxn>
                <a:cxn ang="0">
                  <a:pos x="T4" y="T5"/>
                </a:cxn>
                <a:cxn ang="0">
                  <a:pos x="T6" y="T7"/>
                </a:cxn>
                <a:cxn ang="0">
                  <a:pos x="T8" y="T9"/>
                </a:cxn>
                <a:cxn ang="0">
                  <a:pos x="T10" y="T11"/>
                </a:cxn>
                <a:cxn ang="0">
                  <a:pos x="T12" y="T13"/>
                </a:cxn>
              </a:cxnLst>
              <a:rect l="0" t="0" r="r" b="b"/>
              <a:pathLst>
                <a:path w="5583" h="4687">
                  <a:moveTo>
                    <a:pt x="2375" y="4686"/>
                  </a:moveTo>
                  <a:lnTo>
                    <a:pt x="2375" y="4686"/>
                  </a:lnTo>
                  <a:cubicBezTo>
                    <a:pt x="3218" y="3893"/>
                    <a:pt x="4342" y="3395"/>
                    <a:pt x="5582" y="3358"/>
                  </a:cubicBezTo>
                  <a:lnTo>
                    <a:pt x="5582" y="0"/>
                  </a:lnTo>
                  <a:lnTo>
                    <a:pt x="5582" y="0"/>
                  </a:lnTo>
                  <a:cubicBezTo>
                    <a:pt x="3416" y="38"/>
                    <a:pt x="1452" y="912"/>
                    <a:pt x="0" y="2312"/>
                  </a:cubicBezTo>
                  <a:lnTo>
                    <a:pt x="2375" y="4686"/>
                  </a:lnTo>
                </a:path>
              </a:pathLst>
            </a:custGeom>
            <a:solidFill>
              <a:schemeClr val="accent3"/>
            </a:solidFill>
            <a:ln>
              <a:noFill/>
            </a:ln>
            <a:effectLst/>
          </p:spPr>
          <p:txBody>
            <a:bodyPr wrap="none" anchor="ctr"/>
            <a:lstStyle/>
            <a:p>
              <a:endParaRPr lang="en-US" sz="3266" dirty="0">
                <a:latin typeface="Lato Light" panose="020F0502020204030203" pitchFamily="34" charset="0"/>
              </a:endParaRPr>
            </a:p>
          </p:txBody>
        </p:sp>
        <p:sp>
          <p:nvSpPr>
            <p:cNvPr id="3084" name="Freeform 12">
              <a:extLst>
                <a:ext uri="{FF2B5EF4-FFF2-40B4-BE49-F238E27FC236}">
                  <a16:creationId xmlns:a16="http://schemas.microsoft.com/office/drawing/2014/main" id="{98BA90CB-7CFE-ED4C-AD37-DAC3D64F5F2B}"/>
                </a:ext>
              </a:extLst>
            </p:cNvPr>
            <p:cNvSpPr>
              <a:spLocks noChangeArrowheads="1"/>
            </p:cNvSpPr>
            <p:nvPr/>
          </p:nvSpPr>
          <p:spPr bwMode="auto">
            <a:xfrm>
              <a:off x="12307561" y="1710525"/>
              <a:ext cx="3799949" cy="3190635"/>
            </a:xfrm>
            <a:custGeom>
              <a:avLst/>
              <a:gdLst>
                <a:gd name="T0" fmla="*/ 0 w 5584"/>
                <a:gd name="T1" fmla="*/ 3358 h 4688"/>
                <a:gd name="T2" fmla="*/ 0 w 5584"/>
                <a:gd name="T3" fmla="*/ 3358 h 4688"/>
                <a:gd name="T4" fmla="*/ 3208 w 5584"/>
                <a:gd name="T5" fmla="*/ 4687 h 4688"/>
                <a:gd name="T6" fmla="*/ 5583 w 5584"/>
                <a:gd name="T7" fmla="*/ 2312 h 4688"/>
                <a:gd name="T8" fmla="*/ 5583 w 5584"/>
                <a:gd name="T9" fmla="*/ 2312 h 4688"/>
                <a:gd name="T10" fmla="*/ 0 w 5584"/>
                <a:gd name="T11" fmla="*/ 0 h 4688"/>
                <a:gd name="T12" fmla="*/ 0 w 5584"/>
                <a:gd name="T13" fmla="*/ 3358 h 4688"/>
              </a:gdLst>
              <a:ahLst/>
              <a:cxnLst>
                <a:cxn ang="0">
                  <a:pos x="T0" y="T1"/>
                </a:cxn>
                <a:cxn ang="0">
                  <a:pos x="T2" y="T3"/>
                </a:cxn>
                <a:cxn ang="0">
                  <a:pos x="T4" y="T5"/>
                </a:cxn>
                <a:cxn ang="0">
                  <a:pos x="T6" y="T7"/>
                </a:cxn>
                <a:cxn ang="0">
                  <a:pos x="T8" y="T9"/>
                </a:cxn>
                <a:cxn ang="0">
                  <a:pos x="T10" y="T11"/>
                </a:cxn>
                <a:cxn ang="0">
                  <a:pos x="T12" y="T13"/>
                </a:cxn>
              </a:cxnLst>
              <a:rect l="0" t="0" r="r" b="b"/>
              <a:pathLst>
                <a:path w="5584" h="4688">
                  <a:moveTo>
                    <a:pt x="0" y="3358"/>
                  </a:moveTo>
                  <a:lnTo>
                    <a:pt x="0" y="3358"/>
                  </a:lnTo>
                  <a:cubicBezTo>
                    <a:pt x="1241" y="3395"/>
                    <a:pt x="2365" y="3893"/>
                    <a:pt x="3208" y="4687"/>
                  </a:cubicBezTo>
                  <a:lnTo>
                    <a:pt x="5583" y="2312"/>
                  </a:lnTo>
                  <a:lnTo>
                    <a:pt x="5583" y="2312"/>
                  </a:lnTo>
                  <a:cubicBezTo>
                    <a:pt x="4131" y="912"/>
                    <a:pt x="2168" y="38"/>
                    <a:pt x="0" y="0"/>
                  </a:cubicBezTo>
                  <a:lnTo>
                    <a:pt x="0" y="3358"/>
                  </a:lnTo>
                </a:path>
              </a:pathLst>
            </a:custGeom>
            <a:solidFill>
              <a:schemeClr val="accent4"/>
            </a:solidFill>
            <a:ln>
              <a:noFill/>
            </a:ln>
            <a:effectLst/>
          </p:spPr>
          <p:txBody>
            <a:bodyPr wrap="none" anchor="ctr"/>
            <a:lstStyle/>
            <a:p>
              <a:endParaRPr lang="en-US" sz="3266" dirty="0">
                <a:latin typeface="Lato Light" panose="020F0502020204030203" pitchFamily="34" charset="0"/>
              </a:endParaRPr>
            </a:p>
          </p:txBody>
        </p:sp>
        <p:sp>
          <p:nvSpPr>
            <p:cNvPr id="3085" name="Freeform 13">
              <a:extLst>
                <a:ext uri="{FF2B5EF4-FFF2-40B4-BE49-F238E27FC236}">
                  <a16:creationId xmlns:a16="http://schemas.microsoft.com/office/drawing/2014/main" id="{4FF526A3-47C6-EA4A-8D75-0D0A7E95B016}"/>
                </a:ext>
              </a:extLst>
            </p:cNvPr>
            <p:cNvSpPr>
              <a:spLocks noChangeArrowheads="1"/>
            </p:cNvSpPr>
            <p:nvPr/>
          </p:nvSpPr>
          <p:spPr bwMode="auto">
            <a:xfrm>
              <a:off x="14636754" y="7428457"/>
              <a:ext cx="3190637" cy="3802950"/>
            </a:xfrm>
            <a:custGeom>
              <a:avLst/>
              <a:gdLst>
                <a:gd name="T0" fmla="*/ 0 w 4688"/>
                <a:gd name="T1" fmla="*/ 3211 h 5587"/>
                <a:gd name="T2" fmla="*/ 2375 w 4688"/>
                <a:gd name="T3" fmla="*/ 5586 h 5587"/>
                <a:gd name="T4" fmla="*/ 2375 w 4688"/>
                <a:gd name="T5" fmla="*/ 5586 h 5587"/>
                <a:gd name="T6" fmla="*/ 4687 w 4688"/>
                <a:gd name="T7" fmla="*/ 0 h 5587"/>
                <a:gd name="T8" fmla="*/ 1329 w 4688"/>
                <a:gd name="T9" fmla="*/ 0 h 5587"/>
                <a:gd name="T10" fmla="*/ 1329 w 4688"/>
                <a:gd name="T11" fmla="*/ 0 h 5587"/>
                <a:gd name="T12" fmla="*/ 0 w 4688"/>
                <a:gd name="T13" fmla="*/ 3211 h 5587"/>
              </a:gdLst>
              <a:ahLst/>
              <a:cxnLst>
                <a:cxn ang="0">
                  <a:pos x="T0" y="T1"/>
                </a:cxn>
                <a:cxn ang="0">
                  <a:pos x="T2" y="T3"/>
                </a:cxn>
                <a:cxn ang="0">
                  <a:pos x="T4" y="T5"/>
                </a:cxn>
                <a:cxn ang="0">
                  <a:pos x="T6" y="T7"/>
                </a:cxn>
                <a:cxn ang="0">
                  <a:pos x="T8" y="T9"/>
                </a:cxn>
                <a:cxn ang="0">
                  <a:pos x="T10" y="T11"/>
                </a:cxn>
                <a:cxn ang="0">
                  <a:pos x="T12" y="T13"/>
                </a:cxn>
              </a:cxnLst>
              <a:rect l="0" t="0" r="r" b="b"/>
              <a:pathLst>
                <a:path w="4688" h="5587">
                  <a:moveTo>
                    <a:pt x="0" y="3211"/>
                  </a:moveTo>
                  <a:lnTo>
                    <a:pt x="2375" y="5586"/>
                  </a:lnTo>
                  <a:lnTo>
                    <a:pt x="2375" y="5586"/>
                  </a:lnTo>
                  <a:cubicBezTo>
                    <a:pt x="3776" y="4133"/>
                    <a:pt x="4649" y="2169"/>
                    <a:pt x="4687" y="0"/>
                  </a:cubicBezTo>
                  <a:lnTo>
                    <a:pt x="1329" y="0"/>
                  </a:lnTo>
                  <a:lnTo>
                    <a:pt x="1329" y="0"/>
                  </a:lnTo>
                  <a:cubicBezTo>
                    <a:pt x="1292" y="1242"/>
                    <a:pt x="794" y="2367"/>
                    <a:pt x="0" y="3211"/>
                  </a:cubicBezTo>
                </a:path>
              </a:pathLst>
            </a:custGeom>
            <a:solidFill>
              <a:schemeClr val="accent6">
                <a:lumMod val="75000"/>
              </a:schemeClr>
            </a:solidFill>
            <a:ln>
              <a:noFill/>
            </a:ln>
            <a:effectLst/>
          </p:spPr>
          <p:txBody>
            <a:bodyPr wrap="none" anchor="ctr"/>
            <a:lstStyle/>
            <a:p>
              <a:endParaRPr lang="en-US" sz="3266" dirty="0">
                <a:latin typeface="Lato Light" panose="020F0502020204030203" pitchFamily="34" charset="0"/>
              </a:endParaRPr>
            </a:p>
          </p:txBody>
        </p:sp>
        <p:sp>
          <p:nvSpPr>
            <p:cNvPr id="3086" name="Freeform 14">
              <a:extLst>
                <a:ext uri="{FF2B5EF4-FFF2-40B4-BE49-F238E27FC236}">
                  <a16:creationId xmlns:a16="http://schemas.microsoft.com/office/drawing/2014/main" id="{11B8199A-927F-9D48-A79D-CA800FB70B0C}"/>
                </a:ext>
              </a:extLst>
            </p:cNvPr>
            <p:cNvSpPr>
              <a:spLocks noChangeArrowheads="1"/>
            </p:cNvSpPr>
            <p:nvPr/>
          </p:nvSpPr>
          <p:spPr bwMode="auto">
            <a:xfrm>
              <a:off x="14633753" y="3427406"/>
              <a:ext cx="3193638" cy="3799948"/>
            </a:xfrm>
            <a:custGeom>
              <a:avLst/>
              <a:gdLst>
                <a:gd name="T0" fmla="*/ 0 w 4690"/>
                <a:gd name="T1" fmla="*/ 2374 h 5583"/>
                <a:gd name="T2" fmla="*/ 0 w 4690"/>
                <a:gd name="T3" fmla="*/ 2374 h 5583"/>
                <a:gd name="T4" fmla="*/ 1331 w 4690"/>
                <a:gd name="T5" fmla="*/ 5582 h 5583"/>
                <a:gd name="T6" fmla="*/ 4689 w 4690"/>
                <a:gd name="T7" fmla="*/ 5582 h 5583"/>
                <a:gd name="T8" fmla="*/ 4689 w 4690"/>
                <a:gd name="T9" fmla="*/ 5582 h 5583"/>
                <a:gd name="T10" fmla="*/ 2375 w 4690"/>
                <a:gd name="T11" fmla="*/ 0 h 5583"/>
                <a:gd name="T12" fmla="*/ 0 w 4690"/>
                <a:gd name="T13" fmla="*/ 2374 h 5583"/>
              </a:gdLst>
              <a:ahLst/>
              <a:cxnLst>
                <a:cxn ang="0">
                  <a:pos x="T0" y="T1"/>
                </a:cxn>
                <a:cxn ang="0">
                  <a:pos x="T2" y="T3"/>
                </a:cxn>
                <a:cxn ang="0">
                  <a:pos x="T4" y="T5"/>
                </a:cxn>
                <a:cxn ang="0">
                  <a:pos x="T6" y="T7"/>
                </a:cxn>
                <a:cxn ang="0">
                  <a:pos x="T8" y="T9"/>
                </a:cxn>
                <a:cxn ang="0">
                  <a:pos x="T10" y="T11"/>
                </a:cxn>
                <a:cxn ang="0">
                  <a:pos x="T12" y="T13"/>
                </a:cxn>
              </a:cxnLst>
              <a:rect l="0" t="0" r="r" b="b"/>
              <a:pathLst>
                <a:path w="4690" h="5583">
                  <a:moveTo>
                    <a:pt x="0" y="2374"/>
                  </a:moveTo>
                  <a:lnTo>
                    <a:pt x="0" y="2374"/>
                  </a:lnTo>
                  <a:cubicBezTo>
                    <a:pt x="794" y="3218"/>
                    <a:pt x="1293" y="4343"/>
                    <a:pt x="1331" y="5582"/>
                  </a:cubicBezTo>
                  <a:lnTo>
                    <a:pt x="4689" y="5582"/>
                  </a:lnTo>
                  <a:lnTo>
                    <a:pt x="4689" y="5582"/>
                  </a:lnTo>
                  <a:cubicBezTo>
                    <a:pt x="4650" y="3415"/>
                    <a:pt x="3776" y="1451"/>
                    <a:pt x="2375" y="0"/>
                  </a:cubicBezTo>
                  <a:lnTo>
                    <a:pt x="0" y="2374"/>
                  </a:lnTo>
                </a:path>
              </a:pathLst>
            </a:custGeom>
            <a:solidFill>
              <a:schemeClr val="accent5">
                <a:lumMod val="75000"/>
                <a:lumOff val="25000"/>
              </a:schemeClr>
            </a:solidFill>
            <a:ln>
              <a:noFill/>
            </a:ln>
            <a:effectLst/>
          </p:spPr>
          <p:txBody>
            <a:bodyPr wrap="none" anchor="ctr"/>
            <a:lstStyle/>
            <a:p>
              <a:endParaRPr lang="en-US" sz="3266" dirty="0">
                <a:latin typeface="Lato Light" panose="020F0502020204030203" pitchFamily="34" charset="0"/>
              </a:endParaRPr>
            </a:p>
          </p:txBody>
        </p:sp>
        <p:sp>
          <p:nvSpPr>
            <p:cNvPr id="776" name="Freeform 775">
              <a:extLst>
                <a:ext uri="{FF2B5EF4-FFF2-40B4-BE49-F238E27FC236}">
                  <a16:creationId xmlns:a16="http://schemas.microsoft.com/office/drawing/2014/main" id="{C32B2A8A-FF2F-314C-A7B1-2D05422C9B79}"/>
                </a:ext>
              </a:extLst>
            </p:cNvPr>
            <p:cNvSpPr>
              <a:spLocks noChangeArrowheads="1"/>
            </p:cNvSpPr>
            <p:nvPr/>
          </p:nvSpPr>
          <p:spPr bwMode="auto">
            <a:xfrm>
              <a:off x="9921336" y="3994696"/>
              <a:ext cx="2181438" cy="1235955"/>
            </a:xfrm>
            <a:custGeom>
              <a:avLst/>
              <a:gdLst>
                <a:gd name="connsiteX0" fmla="*/ 2093326 w 2093326"/>
                <a:gd name="connsiteY0" fmla="*/ 0 h 1186033"/>
                <a:gd name="connsiteX1" fmla="*/ 2093326 w 2093326"/>
                <a:gd name="connsiteY1" fmla="*/ 451449 h 1186033"/>
                <a:gd name="connsiteX2" fmla="*/ 1354649 w 2093326"/>
                <a:gd name="connsiteY2" fmla="*/ 579578 h 1186033"/>
                <a:gd name="connsiteX3" fmla="*/ 1267152 w 2093326"/>
                <a:gd name="connsiteY3" fmla="*/ 611918 h 1186033"/>
                <a:gd name="connsiteX4" fmla="*/ 1225752 w 2093326"/>
                <a:gd name="connsiteY4" fmla="*/ 949846 h 1186033"/>
                <a:gd name="connsiteX5" fmla="*/ 954079 w 2093326"/>
                <a:gd name="connsiteY5" fmla="*/ 745615 h 1186033"/>
                <a:gd name="connsiteX6" fmla="*/ 905951 w 2093326"/>
                <a:gd name="connsiteY6" fmla="*/ 768460 h 1186033"/>
                <a:gd name="connsiteX7" fmla="*/ 319188 w 2093326"/>
                <a:gd name="connsiteY7" fmla="*/ 1186033 h 1186033"/>
                <a:gd name="connsiteX8" fmla="*/ 0 w 2093326"/>
                <a:gd name="connsiteY8" fmla="*/ 866365 h 1186033"/>
                <a:gd name="connsiteX9" fmla="*/ 2093326 w 2093326"/>
                <a:gd name="connsiteY9" fmla="*/ 0 h 11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3326" h="1186033">
                  <a:moveTo>
                    <a:pt x="2093326" y="0"/>
                  </a:moveTo>
                  <a:lnTo>
                    <a:pt x="2093326" y="451449"/>
                  </a:lnTo>
                  <a:cubicBezTo>
                    <a:pt x="1836556" y="460501"/>
                    <a:pt x="1588781" y="504782"/>
                    <a:pt x="1354649" y="579578"/>
                  </a:cubicBezTo>
                  <a:lnTo>
                    <a:pt x="1267152" y="611918"/>
                  </a:lnTo>
                  <a:lnTo>
                    <a:pt x="1225752" y="949846"/>
                  </a:lnTo>
                  <a:lnTo>
                    <a:pt x="954079" y="745615"/>
                  </a:lnTo>
                  <a:lnTo>
                    <a:pt x="905951" y="768460"/>
                  </a:lnTo>
                  <a:cubicBezTo>
                    <a:pt x="692074" y="881849"/>
                    <a:pt x="494937" y="1022611"/>
                    <a:pt x="319188" y="1186033"/>
                  </a:cubicBezTo>
                  <a:lnTo>
                    <a:pt x="0" y="866365"/>
                  </a:lnTo>
                  <a:cubicBezTo>
                    <a:pt x="550257" y="349025"/>
                    <a:pt x="1283933" y="24138"/>
                    <a:pt x="2093326" y="0"/>
                  </a:cubicBezTo>
                  <a:close/>
                </a:path>
              </a:pathLst>
            </a:custGeom>
            <a:solidFill>
              <a:schemeClr val="accent3">
                <a:lumMod val="75000"/>
              </a:schemeClr>
            </a:solidFill>
            <a:ln>
              <a:noFill/>
            </a:ln>
            <a:effectLst/>
          </p:spPr>
          <p:txBody>
            <a:bodyPr wrap="square" anchor="ctr">
              <a:noAutofit/>
            </a:bodyPr>
            <a:lstStyle/>
            <a:p>
              <a:endParaRPr lang="en-US" sz="3266" dirty="0">
                <a:latin typeface="Lato Light" panose="020F0502020204030203" pitchFamily="34" charset="0"/>
              </a:endParaRPr>
            </a:p>
          </p:txBody>
        </p:sp>
        <p:sp>
          <p:nvSpPr>
            <p:cNvPr id="777" name="Freeform 776">
              <a:extLst>
                <a:ext uri="{FF2B5EF4-FFF2-40B4-BE49-F238E27FC236}">
                  <a16:creationId xmlns:a16="http://schemas.microsoft.com/office/drawing/2014/main" id="{58DF6B7B-B1FB-AA4D-9A7B-8C1C1AF4113B}"/>
                </a:ext>
              </a:extLst>
            </p:cNvPr>
            <p:cNvSpPr>
              <a:spLocks noChangeArrowheads="1"/>
            </p:cNvSpPr>
            <p:nvPr/>
          </p:nvSpPr>
          <p:spPr bwMode="auto">
            <a:xfrm>
              <a:off x="12307561" y="3994696"/>
              <a:ext cx="2184440" cy="1235955"/>
            </a:xfrm>
            <a:custGeom>
              <a:avLst/>
              <a:gdLst>
                <a:gd name="connsiteX0" fmla="*/ 0 w 2096207"/>
                <a:gd name="connsiteY0" fmla="*/ 0 h 1186033"/>
                <a:gd name="connsiteX1" fmla="*/ 2096207 w 2096207"/>
                <a:gd name="connsiteY1" fmla="*/ 867017 h 1186033"/>
                <a:gd name="connsiteX2" fmla="*/ 1776679 w 2096207"/>
                <a:gd name="connsiteY2" fmla="*/ 1186033 h 1186033"/>
                <a:gd name="connsiteX3" fmla="*/ 1189257 w 2096207"/>
                <a:gd name="connsiteY3" fmla="*/ 768460 h 1186033"/>
                <a:gd name="connsiteX4" fmla="*/ 1081426 w 2096207"/>
                <a:gd name="connsiteY4" fmla="*/ 717341 h 1186033"/>
                <a:gd name="connsiteX5" fmla="*/ 805877 w 2096207"/>
                <a:gd name="connsiteY5" fmla="*/ 932567 h 1186033"/>
                <a:gd name="connsiteX6" fmla="*/ 757143 w 2096207"/>
                <a:gd name="connsiteY6" fmla="*/ 585921 h 1186033"/>
                <a:gd name="connsiteX7" fmla="*/ 739957 w 2096207"/>
                <a:gd name="connsiteY7" fmla="*/ 579578 h 1186033"/>
                <a:gd name="connsiteX8" fmla="*/ 0 w 2096207"/>
                <a:gd name="connsiteY8" fmla="*/ 451449 h 11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6207" h="1186033">
                  <a:moveTo>
                    <a:pt x="0" y="0"/>
                  </a:moveTo>
                  <a:cubicBezTo>
                    <a:pt x="810908" y="24138"/>
                    <a:pt x="1545364" y="349025"/>
                    <a:pt x="2096207" y="867017"/>
                  </a:cubicBezTo>
                  <a:lnTo>
                    <a:pt x="1776679" y="1186033"/>
                  </a:lnTo>
                  <a:cubicBezTo>
                    <a:pt x="1600742" y="1022611"/>
                    <a:pt x="1403396" y="881849"/>
                    <a:pt x="1189257" y="768460"/>
                  </a:cubicBezTo>
                  <a:lnTo>
                    <a:pt x="1081426" y="717341"/>
                  </a:lnTo>
                  <a:lnTo>
                    <a:pt x="805877" y="932567"/>
                  </a:lnTo>
                  <a:lnTo>
                    <a:pt x="757143" y="585921"/>
                  </a:lnTo>
                  <a:lnTo>
                    <a:pt x="739957" y="579578"/>
                  </a:lnTo>
                  <a:cubicBezTo>
                    <a:pt x="505480" y="504782"/>
                    <a:pt x="257288" y="460501"/>
                    <a:pt x="0" y="451449"/>
                  </a:cubicBezTo>
                  <a:close/>
                </a:path>
              </a:pathLst>
            </a:custGeom>
            <a:solidFill>
              <a:schemeClr val="accent4">
                <a:lumMod val="75000"/>
              </a:schemeClr>
            </a:solidFill>
            <a:ln>
              <a:noFill/>
            </a:ln>
            <a:effectLst/>
          </p:spPr>
          <p:txBody>
            <a:bodyPr wrap="square" anchor="ctr">
              <a:noAutofit/>
            </a:bodyPr>
            <a:lstStyle/>
            <a:p>
              <a:endParaRPr lang="en-US" sz="3266" dirty="0">
                <a:latin typeface="Lato Light" panose="020F0502020204030203" pitchFamily="34" charset="0"/>
              </a:endParaRPr>
            </a:p>
          </p:txBody>
        </p:sp>
        <p:sp>
          <p:nvSpPr>
            <p:cNvPr id="779" name="Freeform 778">
              <a:extLst>
                <a:ext uri="{FF2B5EF4-FFF2-40B4-BE49-F238E27FC236}">
                  <a16:creationId xmlns:a16="http://schemas.microsoft.com/office/drawing/2014/main" id="{F3A110C9-0FA4-EE48-9D31-0C6C289844EE}"/>
                </a:ext>
              </a:extLst>
            </p:cNvPr>
            <p:cNvSpPr>
              <a:spLocks noChangeArrowheads="1"/>
            </p:cNvSpPr>
            <p:nvPr/>
          </p:nvSpPr>
          <p:spPr bwMode="auto">
            <a:xfrm>
              <a:off x="14303583" y="7428457"/>
              <a:ext cx="1235955" cy="2184439"/>
            </a:xfrm>
            <a:custGeom>
              <a:avLst/>
              <a:gdLst>
                <a:gd name="connsiteX0" fmla="*/ 734583 w 1186033"/>
                <a:gd name="connsiteY0" fmla="*/ 0 h 2096207"/>
                <a:gd name="connsiteX1" fmla="*/ 1186033 w 1186033"/>
                <a:gd name="connsiteY1" fmla="*/ 0 h 2096207"/>
                <a:gd name="connsiteX2" fmla="*/ 319015 w 1186033"/>
                <a:gd name="connsiteY2" fmla="*/ 2096207 h 2096207"/>
                <a:gd name="connsiteX3" fmla="*/ 0 w 1186033"/>
                <a:gd name="connsiteY3" fmla="*/ 1776325 h 2096207"/>
                <a:gd name="connsiteX4" fmla="*/ 417859 w 1186033"/>
                <a:gd name="connsiteY4" fmla="*/ 1189039 h 2096207"/>
                <a:gd name="connsiteX5" fmla="*/ 460963 w 1186033"/>
                <a:gd name="connsiteY5" fmla="*/ 1098064 h 2096207"/>
                <a:gd name="connsiteX6" fmla="*/ 241947 w 1186033"/>
                <a:gd name="connsiteY6" fmla="*/ 818051 h 2096207"/>
                <a:gd name="connsiteX7" fmla="*/ 596239 w 1186033"/>
                <a:gd name="connsiteY7" fmla="*/ 767850 h 2096207"/>
                <a:gd name="connsiteX8" fmla="*/ 606627 w 1186033"/>
                <a:gd name="connsiteY8" fmla="*/ 739679 h 2096207"/>
                <a:gd name="connsiteX9" fmla="*/ 734583 w 1186033"/>
                <a:gd name="connsiteY9" fmla="*/ 0 h 209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6033" h="2096207">
                  <a:moveTo>
                    <a:pt x="734583" y="0"/>
                  </a:moveTo>
                  <a:lnTo>
                    <a:pt x="1186033" y="0"/>
                  </a:lnTo>
                  <a:cubicBezTo>
                    <a:pt x="1161895" y="810803"/>
                    <a:pt x="837008" y="1545227"/>
                    <a:pt x="319015" y="2096207"/>
                  </a:cubicBezTo>
                  <a:lnTo>
                    <a:pt x="0" y="1776325"/>
                  </a:lnTo>
                  <a:cubicBezTo>
                    <a:pt x="163667" y="1600553"/>
                    <a:pt x="304489" y="1403208"/>
                    <a:pt x="417859" y="1189039"/>
                  </a:cubicBezTo>
                  <a:lnTo>
                    <a:pt x="460963" y="1098064"/>
                  </a:lnTo>
                  <a:lnTo>
                    <a:pt x="241947" y="818051"/>
                  </a:lnTo>
                  <a:lnTo>
                    <a:pt x="596239" y="767850"/>
                  </a:lnTo>
                  <a:lnTo>
                    <a:pt x="606627" y="739679"/>
                  </a:lnTo>
                  <a:cubicBezTo>
                    <a:pt x="681343" y="505192"/>
                    <a:pt x="725531" y="257048"/>
                    <a:pt x="734583" y="0"/>
                  </a:cubicBezTo>
                  <a:close/>
                </a:path>
              </a:pathLst>
            </a:custGeom>
            <a:solidFill>
              <a:schemeClr val="accent6">
                <a:lumMod val="50000"/>
              </a:schemeClr>
            </a:solidFill>
            <a:ln>
              <a:noFill/>
            </a:ln>
            <a:effectLst/>
          </p:spPr>
          <p:txBody>
            <a:bodyPr wrap="square" anchor="ctr">
              <a:noAutofit/>
            </a:bodyPr>
            <a:lstStyle/>
            <a:p>
              <a:endParaRPr lang="en-US" sz="3266" dirty="0">
                <a:latin typeface="Lato Light" panose="020F0502020204030203" pitchFamily="34" charset="0"/>
              </a:endParaRPr>
            </a:p>
          </p:txBody>
        </p:sp>
        <p:sp>
          <p:nvSpPr>
            <p:cNvPr id="778" name="Freeform 777">
              <a:extLst>
                <a:ext uri="{FF2B5EF4-FFF2-40B4-BE49-F238E27FC236}">
                  <a16:creationId xmlns:a16="http://schemas.microsoft.com/office/drawing/2014/main" id="{D3592533-C7A6-A147-9DE3-794065E4E6BC}"/>
                </a:ext>
              </a:extLst>
            </p:cNvPr>
            <p:cNvSpPr>
              <a:spLocks noChangeArrowheads="1"/>
            </p:cNvSpPr>
            <p:nvPr/>
          </p:nvSpPr>
          <p:spPr bwMode="auto">
            <a:xfrm>
              <a:off x="14300582" y="5042234"/>
              <a:ext cx="1238956" cy="2184439"/>
            </a:xfrm>
            <a:custGeom>
              <a:avLst/>
              <a:gdLst>
                <a:gd name="connsiteX0" fmla="*/ 319439 w 1188913"/>
                <a:gd name="connsiteY0" fmla="*/ 0 h 2096207"/>
                <a:gd name="connsiteX1" fmla="*/ 1188913 w 1188913"/>
                <a:gd name="connsiteY1" fmla="*/ 2096207 h 2096207"/>
                <a:gd name="connsiteX2" fmla="*/ 736211 w 1188913"/>
                <a:gd name="connsiteY2" fmla="*/ 2096207 h 2096207"/>
                <a:gd name="connsiteX3" fmla="*/ 607878 w 1188913"/>
                <a:gd name="connsiteY3" fmla="*/ 1356744 h 2096207"/>
                <a:gd name="connsiteX4" fmla="*/ 580839 w 1188913"/>
                <a:gd name="connsiteY4" fmla="*/ 1283648 h 2096207"/>
                <a:gd name="connsiteX5" fmla="*/ 227546 w 1188913"/>
                <a:gd name="connsiteY5" fmla="*/ 1240155 h 2096207"/>
                <a:gd name="connsiteX6" fmla="*/ 441289 w 1188913"/>
                <a:gd name="connsiteY6" fmla="*/ 955276 h 2096207"/>
                <a:gd name="connsiteX7" fmla="*/ 418620 w 1188913"/>
                <a:gd name="connsiteY7" fmla="*/ 907569 h 2096207"/>
                <a:gd name="connsiteX8" fmla="*/ 0 w 1188913"/>
                <a:gd name="connsiteY8" fmla="*/ 320181 h 209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8913" h="2096207">
                  <a:moveTo>
                    <a:pt x="319439" y="0"/>
                  </a:moveTo>
                  <a:cubicBezTo>
                    <a:pt x="838118" y="551496"/>
                    <a:pt x="1164089" y="1286606"/>
                    <a:pt x="1188913" y="2096207"/>
                  </a:cubicBezTo>
                  <a:lnTo>
                    <a:pt x="736211" y="2096207"/>
                  </a:lnTo>
                  <a:cubicBezTo>
                    <a:pt x="727147" y="1839163"/>
                    <a:pt x="682808" y="1591125"/>
                    <a:pt x="607878" y="1356744"/>
                  </a:cubicBezTo>
                  <a:lnTo>
                    <a:pt x="580839" y="1283648"/>
                  </a:lnTo>
                  <a:lnTo>
                    <a:pt x="227546" y="1240155"/>
                  </a:lnTo>
                  <a:lnTo>
                    <a:pt x="441289" y="955276"/>
                  </a:lnTo>
                  <a:lnTo>
                    <a:pt x="418620" y="907569"/>
                  </a:lnTo>
                  <a:cubicBezTo>
                    <a:pt x="304985" y="693464"/>
                    <a:pt x="163884" y="496118"/>
                    <a:pt x="0" y="320181"/>
                  </a:cubicBezTo>
                  <a:close/>
                </a:path>
              </a:pathLst>
            </a:custGeom>
            <a:solidFill>
              <a:schemeClr val="accent5"/>
            </a:solidFill>
            <a:ln>
              <a:noFill/>
            </a:ln>
            <a:effectLst/>
          </p:spPr>
          <p:txBody>
            <a:bodyPr wrap="square" anchor="ctr">
              <a:noAutofit/>
            </a:bodyPr>
            <a:lstStyle/>
            <a:p>
              <a:endParaRPr lang="en-US" sz="3266" dirty="0">
                <a:latin typeface="Lato Light" panose="020F0502020204030203" pitchFamily="34" charset="0"/>
              </a:endParaRPr>
            </a:p>
          </p:txBody>
        </p:sp>
        <p:sp>
          <p:nvSpPr>
            <p:cNvPr id="775" name="Freeform 774">
              <a:extLst>
                <a:ext uri="{FF2B5EF4-FFF2-40B4-BE49-F238E27FC236}">
                  <a16:creationId xmlns:a16="http://schemas.microsoft.com/office/drawing/2014/main" id="{0F206F5F-F544-D04F-AC6F-2AD12007B91F}"/>
                </a:ext>
              </a:extLst>
            </p:cNvPr>
            <p:cNvSpPr>
              <a:spLocks noChangeArrowheads="1"/>
            </p:cNvSpPr>
            <p:nvPr/>
          </p:nvSpPr>
          <p:spPr bwMode="auto">
            <a:xfrm>
              <a:off x="8870799" y="5042233"/>
              <a:ext cx="1238954" cy="2184439"/>
            </a:xfrm>
            <a:custGeom>
              <a:avLst/>
              <a:gdLst>
                <a:gd name="connsiteX0" fmla="*/ 868819 w 1188911"/>
                <a:gd name="connsiteY0" fmla="*/ 0 h 2096207"/>
                <a:gd name="connsiteX1" fmla="*/ 1188911 w 1188911"/>
                <a:gd name="connsiteY1" fmla="*/ 320181 h 2096207"/>
                <a:gd name="connsiteX2" fmla="*/ 769970 w 1188911"/>
                <a:gd name="connsiteY2" fmla="*/ 907569 h 2096207"/>
                <a:gd name="connsiteX3" fmla="*/ 717433 w 1188911"/>
                <a:gd name="connsiteY3" fmla="*/ 1018131 h 2096207"/>
                <a:gd name="connsiteX4" fmla="*/ 921044 w 1188911"/>
                <a:gd name="connsiteY4" fmla="*/ 1278809 h 2096207"/>
                <a:gd name="connsiteX5" fmla="*/ 592442 w 1188911"/>
                <a:gd name="connsiteY5" fmla="*/ 1325007 h 2096207"/>
                <a:gd name="connsiteX6" fmla="*/ 580702 w 1188911"/>
                <a:gd name="connsiteY6" fmla="*/ 1356744 h 2096207"/>
                <a:gd name="connsiteX7" fmla="*/ 452047 w 1188911"/>
                <a:gd name="connsiteY7" fmla="*/ 2096207 h 2096207"/>
                <a:gd name="connsiteX8" fmla="*/ 0 w 1188911"/>
                <a:gd name="connsiteY8" fmla="*/ 2096207 h 2096207"/>
                <a:gd name="connsiteX9" fmla="*/ 868819 w 1188911"/>
                <a:gd name="connsiteY9" fmla="*/ 0 h 209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8911" h="2096207">
                  <a:moveTo>
                    <a:pt x="868819" y="0"/>
                  </a:moveTo>
                  <a:lnTo>
                    <a:pt x="1188911" y="320181"/>
                  </a:lnTo>
                  <a:cubicBezTo>
                    <a:pt x="1024782" y="496117"/>
                    <a:pt x="883620" y="693463"/>
                    <a:pt x="769970" y="907569"/>
                  </a:cubicBezTo>
                  <a:lnTo>
                    <a:pt x="717433" y="1018131"/>
                  </a:lnTo>
                  <a:lnTo>
                    <a:pt x="921044" y="1278809"/>
                  </a:lnTo>
                  <a:lnTo>
                    <a:pt x="592442" y="1325007"/>
                  </a:lnTo>
                  <a:lnTo>
                    <a:pt x="580702" y="1356744"/>
                  </a:lnTo>
                  <a:cubicBezTo>
                    <a:pt x="505757" y="1591125"/>
                    <a:pt x="461356" y="1839163"/>
                    <a:pt x="452047" y="2096207"/>
                  </a:cubicBezTo>
                  <a:lnTo>
                    <a:pt x="0" y="2096207"/>
                  </a:lnTo>
                  <a:cubicBezTo>
                    <a:pt x="24170" y="1286606"/>
                    <a:pt x="350141" y="551496"/>
                    <a:pt x="868819" y="0"/>
                  </a:cubicBezTo>
                  <a:close/>
                </a:path>
              </a:pathLst>
            </a:custGeom>
            <a:solidFill>
              <a:schemeClr val="accent2">
                <a:lumMod val="75000"/>
              </a:schemeClr>
            </a:solidFill>
            <a:ln>
              <a:noFill/>
            </a:ln>
            <a:effectLst/>
          </p:spPr>
          <p:txBody>
            <a:bodyPr wrap="square" anchor="ctr">
              <a:noAutofit/>
            </a:bodyPr>
            <a:lstStyle/>
            <a:p>
              <a:endParaRPr lang="en-US" sz="3266" dirty="0">
                <a:latin typeface="Lato Light" panose="020F0502020204030203" pitchFamily="34" charset="0"/>
              </a:endParaRPr>
            </a:p>
          </p:txBody>
        </p:sp>
        <p:sp>
          <p:nvSpPr>
            <p:cNvPr id="774" name="Freeform 773">
              <a:extLst>
                <a:ext uri="{FF2B5EF4-FFF2-40B4-BE49-F238E27FC236}">
                  <a16:creationId xmlns:a16="http://schemas.microsoft.com/office/drawing/2014/main" id="{F41F61D5-A200-9B46-BBC5-0BEF579D4149}"/>
                </a:ext>
              </a:extLst>
            </p:cNvPr>
            <p:cNvSpPr>
              <a:spLocks noChangeArrowheads="1"/>
            </p:cNvSpPr>
            <p:nvPr/>
          </p:nvSpPr>
          <p:spPr bwMode="auto">
            <a:xfrm>
              <a:off x="8870798" y="7428456"/>
              <a:ext cx="1235955" cy="2184439"/>
            </a:xfrm>
            <a:custGeom>
              <a:avLst/>
              <a:gdLst>
                <a:gd name="connsiteX0" fmla="*/ 0 w 1186033"/>
                <a:gd name="connsiteY0" fmla="*/ 0 h 2096207"/>
                <a:gd name="connsiteX1" fmla="*/ 451449 w 1186033"/>
                <a:gd name="connsiteY1" fmla="*/ 0 h 2096207"/>
                <a:gd name="connsiteX2" fmla="*/ 579119 w 1186033"/>
                <a:gd name="connsiteY2" fmla="*/ 739679 h 2096207"/>
                <a:gd name="connsiteX3" fmla="*/ 609367 w 1186033"/>
                <a:gd name="connsiteY3" fmla="*/ 821671 h 2096207"/>
                <a:gd name="connsiteX4" fmla="*/ 935447 w 1186033"/>
                <a:gd name="connsiteY4" fmla="*/ 861814 h 2096207"/>
                <a:gd name="connsiteX5" fmla="*/ 737910 w 1186033"/>
                <a:gd name="connsiteY5" fmla="*/ 1125574 h 2096207"/>
                <a:gd name="connsiteX6" fmla="*/ 768002 w 1186033"/>
                <a:gd name="connsiteY6" fmla="*/ 1189039 h 2096207"/>
                <a:gd name="connsiteX7" fmla="*/ 1186033 w 1186033"/>
                <a:gd name="connsiteY7" fmla="*/ 1776325 h 2096207"/>
                <a:gd name="connsiteX8" fmla="*/ 867017 w 1186033"/>
                <a:gd name="connsiteY8" fmla="*/ 2096207 h 2096207"/>
                <a:gd name="connsiteX9" fmla="*/ 0 w 1186033"/>
                <a:gd name="connsiteY9" fmla="*/ 0 h 209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6033" h="2096207">
                  <a:moveTo>
                    <a:pt x="0" y="0"/>
                  </a:moveTo>
                  <a:lnTo>
                    <a:pt x="451449" y="0"/>
                  </a:lnTo>
                  <a:cubicBezTo>
                    <a:pt x="460256" y="257048"/>
                    <a:pt x="504384" y="505191"/>
                    <a:pt x="579119" y="739679"/>
                  </a:cubicBezTo>
                  <a:lnTo>
                    <a:pt x="609367" y="821671"/>
                  </a:lnTo>
                  <a:lnTo>
                    <a:pt x="935447" y="861814"/>
                  </a:lnTo>
                  <a:lnTo>
                    <a:pt x="737910" y="1125574"/>
                  </a:lnTo>
                  <a:lnTo>
                    <a:pt x="768002" y="1189039"/>
                  </a:lnTo>
                  <a:cubicBezTo>
                    <a:pt x="881451" y="1403208"/>
                    <a:pt x="1022366" y="1600553"/>
                    <a:pt x="1186033" y="1776325"/>
                  </a:cubicBezTo>
                  <a:lnTo>
                    <a:pt x="867017" y="2096207"/>
                  </a:lnTo>
                  <a:cubicBezTo>
                    <a:pt x="348373" y="1545227"/>
                    <a:pt x="23486" y="810803"/>
                    <a:pt x="0" y="0"/>
                  </a:cubicBezTo>
                  <a:close/>
                </a:path>
              </a:pathLst>
            </a:custGeom>
            <a:solidFill>
              <a:schemeClr val="accent1">
                <a:lumMod val="75000"/>
              </a:schemeClr>
            </a:solidFill>
            <a:ln>
              <a:noFill/>
            </a:ln>
            <a:effectLst/>
          </p:spPr>
          <p:txBody>
            <a:bodyPr wrap="square" anchor="ctr">
              <a:noAutofit/>
            </a:bodyPr>
            <a:lstStyle/>
            <a:p>
              <a:endParaRPr lang="en-US" sz="3266" dirty="0">
                <a:latin typeface="Lato Light" panose="020F0502020204030203" pitchFamily="34" charset="0"/>
              </a:endParaRPr>
            </a:p>
          </p:txBody>
        </p:sp>
      </p:grpSp>
      <p:grpSp>
        <p:nvGrpSpPr>
          <p:cNvPr id="9" name="Group 8">
            <a:extLst>
              <a:ext uri="{FF2B5EF4-FFF2-40B4-BE49-F238E27FC236}">
                <a16:creationId xmlns:a16="http://schemas.microsoft.com/office/drawing/2014/main" id="{B4017BE9-0161-FA4A-9078-4F4F0859CEC1}"/>
              </a:ext>
            </a:extLst>
          </p:cNvPr>
          <p:cNvGrpSpPr/>
          <p:nvPr/>
        </p:nvGrpSpPr>
        <p:grpSpPr>
          <a:xfrm>
            <a:off x="5822197" y="5147463"/>
            <a:ext cx="625822" cy="849436"/>
            <a:chOff x="11641219" y="10294926"/>
            <a:chExt cx="1251643" cy="1698871"/>
          </a:xfrm>
        </p:grpSpPr>
        <p:sp>
          <p:nvSpPr>
            <p:cNvPr id="3822" name="Freeform 750">
              <a:extLst>
                <a:ext uri="{FF2B5EF4-FFF2-40B4-BE49-F238E27FC236}">
                  <a16:creationId xmlns:a16="http://schemas.microsoft.com/office/drawing/2014/main" id="{E177F1DB-B020-C145-A362-EE93252D77DF}"/>
                </a:ext>
              </a:extLst>
            </p:cNvPr>
            <p:cNvSpPr>
              <a:spLocks noChangeArrowheads="1"/>
            </p:cNvSpPr>
            <p:nvPr/>
          </p:nvSpPr>
          <p:spPr bwMode="auto">
            <a:xfrm>
              <a:off x="11782292" y="10294926"/>
              <a:ext cx="1110570" cy="1698871"/>
            </a:xfrm>
            <a:custGeom>
              <a:avLst/>
              <a:gdLst>
                <a:gd name="T0" fmla="*/ 795 w 1633"/>
                <a:gd name="T1" fmla="*/ 12 h 2497"/>
                <a:gd name="T2" fmla="*/ 795 w 1633"/>
                <a:gd name="T3" fmla="*/ 12 h 2497"/>
                <a:gd name="T4" fmla="*/ 9 w 1633"/>
                <a:gd name="T5" fmla="*/ 850 h 2497"/>
                <a:gd name="T6" fmla="*/ 9 w 1633"/>
                <a:gd name="T7" fmla="*/ 850 h 2497"/>
                <a:gd name="T8" fmla="*/ 858 w 1633"/>
                <a:gd name="T9" fmla="*/ 2496 h 2497"/>
                <a:gd name="T10" fmla="*/ 858 w 1633"/>
                <a:gd name="T11" fmla="*/ 2496 h 2497"/>
                <a:gd name="T12" fmla="*/ 1624 w 1633"/>
                <a:gd name="T13" fmla="*/ 809 h 2497"/>
                <a:gd name="T14" fmla="*/ 1624 w 1633"/>
                <a:gd name="T15" fmla="*/ 809 h 2497"/>
                <a:gd name="T16" fmla="*/ 795 w 1633"/>
                <a:gd name="T17" fmla="*/ 12 h 2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3" h="2497">
                  <a:moveTo>
                    <a:pt x="795" y="12"/>
                  </a:moveTo>
                  <a:lnTo>
                    <a:pt x="795" y="12"/>
                  </a:lnTo>
                  <a:cubicBezTo>
                    <a:pt x="367" y="22"/>
                    <a:pt x="0" y="506"/>
                    <a:pt x="9" y="850"/>
                  </a:cubicBezTo>
                  <a:lnTo>
                    <a:pt x="9" y="850"/>
                  </a:lnTo>
                  <a:cubicBezTo>
                    <a:pt x="17" y="1194"/>
                    <a:pt x="858" y="2496"/>
                    <a:pt x="858" y="2496"/>
                  </a:cubicBezTo>
                  <a:lnTo>
                    <a:pt x="858" y="2496"/>
                  </a:lnTo>
                  <a:cubicBezTo>
                    <a:pt x="1095" y="1899"/>
                    <a:pt x="1632" y="1147"/>
                    <a:pt x="1624" y="809"/>
                  </a:cubicBezTo>
                  <a:lnTo>
                    <a:pt x="1624" y="809"/>
                  </a:lnTo>
                  <a:cubicBezTo>
                    <a:pt x="1615" y="471"/>
                    <a:pt x="1224" y="0"/>
                    <a:pt x="795" y="12"/>
                  </a:cubicBezTo>
                </a:path>
              </a:pathLst>
            </a:custGeom>
            <a:solidFill>
              <a:schemeClr val="bg1">
                <a:lumMod val="75000"/>
              </a:schemeClr>
            </a:solidFill>
            <a:ln>
              <a:noFill/>
            </a:ln>
            <a:effectLst/>
          </p:spPr>
          <p:txBody>
            <a:bodyPr wrap="none" anchor="ctr"/>
            <a:lstStyle/>
            <a:p>
              <a:endParaRPr lang="en-US" sz="3266" dirty="0">
                <a:latin typeface="Lato Light" panose="020F0502020204030203" pitchFamily="34" charset="0"/>
              </a:endParaRPr>
            </a:p>
          </p:txBody>
        </p:sp>
        <p:sp>
          <p:nvSpPr>
            <p:cNvPr id="3823" name="Freeform 751">
              <a:extLst>
                <a:ext uri="{FF2B5EF4-FFF2-40B4-BE49-F238E27FC236}">
                  <a16:creationId xmlns:a16="http://schemas.microsoft.com/office/drawing/2014/main" id="{49D05CA1-48ED-A84E-8A1A-116378DDF8FD}"/>
                </a:ext>
              </a:extLst>
            </p:cNvPr>
            <p:cNvSpPr>
              <a:spLocks noChangeArrowheads="1"/>
            </p:cNvSpPr>
            <p:nvPr/>
          </p:nvSpPr>
          <p:spPr bwMode="auto">
            <a:xfrm>
              <a:off x="11881341" y="10312935"/>
              <a:ext cx="909468" cy="1389711"/>
            </a:xfrm>
            <a:custGeom>
              <a:avLst/>
              <a:gdLst>
                <a:gd name="T0" fmla="*/ 650 w 1335"/>
                <a:gd name="T1" fmla="*/ 9 h 2040"/>
                <a:gd name="T2" fmla="*/ 650 w 1335"/>
                <a:gd name="T3" fmla="*/ 9 h 2040"/>
                <a:gd name="T4" fmla="*/ 7 w 1335"/>
                <a:gd name="T5" fmla="*/ 695 h 2040"/>
                <a:gd name="T6" fmla="*/ 7 w 1335"/>
                <a:gd name="T7" fmla="*/ 695 h 2040"/>
                <a:gd name="T8" fmla="*/ 701 w 1335"/>
                <a:gd name="T9" fmla="*/ 2039 h 2040"/>
                <a:gd name="T10" fmla="*/ 701 w 1335"/>
                <a:gd name="T11" fmla="*/ 2039 h 2040"/>
                <a:gd name="T12" fmla="*/ 1327 w 1335"/>
                <a:gd name="T13" fmla="*/ 661 h 2040"/>
                <a:gd name="T14" fmla="*/ 1327 w 1335"/>
                <a:gd name="T15" fmla="*/ 661 h 2040"/>
                <a:gd name="T16" fmla="*/ 650 w 1335"/>
                <a:gd name="T17" fmla="*/ 9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5" h="2040">
                  <a:moveTo>
                    <a:pt x="650" y="9"/>
                  </a:moveTo>
                  <a:lnTo>
                    <a:pt x="650" y="9"/>
                  </a:lnTo>
                  <a:cubicBezTo>
                    <a:pt x="299" y="18"/>
                    <a:pt x="0" y="413"/>
                    <a:pt x="7" y="695"/>
                  </a:cubicBezTo>
                  <a:lnTo>
                    <a:pt x="7" y="695"/>
                  </a:lnTo>
                  <a:cubicBezTo>
                    <a:pt x="14" y="975"/>
                    <a:pt x="701" y="2039"/>
                    <a:pt x="701" y="2039"/>
                  </a:cubicBezTo>
                  <a:lnTo>
                    <a:pt x="701" y="2039"/>
                  </a:lnTo>
                  <a:cubicBezTo>
                    <a:pt x="896" y="1552"/>
                    <a:pt x="1334" y="937"/>
                    <a:pt x="1327" y="661"/>
                  </a:cubicBezTo>
                  <a:lnTo>
                    <a:pt x="1327" y="661"/>
                  </a:lnTo>
                  <a:cubicBezTo>
                    <a:pt x="1320" y="385"/>
                    <a:pt x="1000" y="0"/>
                    <a:pt x="650" y="9"/>
                  </a:cubicBezTo>
                </a:path>
              </a:pathLst>
            </a:custGeom>
            <a:solidFill>
              <a:schemeClr val="bg1">
                <a:lumMod val="95000"/>
              </a:schemeClr>
            </a:solidFill>
            <a:ln>
              <a:noFill/>
            </a:ln>
            <a:effectLst/>
          </p:spPr>
          <p:txBody>
            <a:bodyPr wrap="none" anchor="ctr"/>
            <a:lstStyle/>
            <a:p>
              <a:endParaRPr lang="en-US" sz="3266" dirty="0">
                <a:latin typeface="Lato Light" panose="020F0502020204030203" pitchFamily="34" charset="0"/>
              </a:endParaRPr>
            </a:p>
          </p:txBody>
        </p:sp>
        <p:sp>
          <p:nvSpPr>
            <p:cNvPr id="3824" name="Freeform 752">
              <a:extLst>
                <a:ext uri="{FF2B5EF4-FFF2-40B4-BE49-F238E27FC236}">
                  <a16:creationId xmlns:a16="http://schemas.microsoft.com/office/drawing/2014/main" id="{DA0E771C-F395-3F42-82C3-C70B6A383080}"/>
                </a:ext>
              </a:extLst>
            </p:cNvPr>
            <p:cNvSpPr>
              <a:spLocks noChangeArrowheads="1"/>
            </p:cNvSpPr>
            <p:nvPr/>
          </p:nvSpPr>
          <p:spPr bwMode="auto">
            <a:xfrm>
              <a:off x="11983393" y="10312935"/>
              <a:ext cx="699359" cy="1068548"/>
            </a:xfrm>
            <a:custGeom>
              <a:avLst/>
              <a:gdLst>
                <a:gd name="T0" fmla="*/ 500 w 1029"/>
                <a:gd name="T1" fmla="*/ 6 h 1571"/>
                <a:gd name="T2" fmla="*/ 500 w 1029"/>
                <a:gd name="T3" fmla="*/ 6 h 1571"/>
                <a:gd name="T4" fmla="*/ 6 w 1029"/>
                <a:gd name="T5" fmla="*/ 534 h 1571"/>
                <a:gd name="T6" fmla="*/ 6 w 1029"/>
                <a:gd name="T7" fmla="*/ 534 h 1571"/>
                <a:gd name="T8" fmla="*/ 540 w 1029"/>
                <a:gd name="T9" fmla="*/ 1570 h 1571"/>
                <a:gd name="T10" fmla="*/ 540 w 1029"/>
                <a:gd name="T11" fmla="*/ 1570 h 1571"/>
                <a:gd name="T12" fmla="*/ 1022 w 1029"/>
                <a:gd name="T13" fmla="*/ 508 h 1571"/>
                <a:gd name="T14" fmla="*/ 1022 w 1029"/>
                <a:gd name="T15" fmla="*/ 508 h 1571"/>
                <a:gd name="T16" fmla="*/ 500 w 1029"/>
                <a:gd name="T17" fmla="*/ 6 h 1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9" h="1571">
                  <a:moveTo>
                    <a:pt x="500" y="6"/>
                  </a:moveTo>
                  <a:lnTo>
                    <a:pt x="500" y="6"/>
                  </a:lnTo>
                  <a:cubicBezTo>
                    <a:pt x="230" y="13"/>
                    <a:pt x="0" y="318"/>
                    <a:pt x="6" y="534"/>
                  </a:cubicBezTo>
                  <a:lnTo>
                    <a:pt x="6" y="534"/>
                  </a:lnTo>
                  <a:cubicBezTo>
                    <a:pt x="11" y="751"/>
                    <a:pt x="540" y="1570"/>
                    <a:pt x="540" y="1570"/>
                  </a:cubicBezTo>
                  <a:lnTo>
                    <a:pt x="540" y="1570"/>
                  </a:lnTo>
                  <a:cubicBezTo>
                    <a:pt x="690" y="1195"/>
                    <a:pt x="1028" y="722"/>
                    <a:pt x="1022" y="508"/>
                  </a:cubicBezTo>
                  <a:lnTo>
                    <a:pt x="1022" y="508"/>
                  </a:lnTo>
                  <a:cubicBezTo>
                    <a:pt x="1017" y="296"/>
                    <a:pt x="771" y="0"/>
                    <a:pt x="500" y="6"/>
                  </a:cubicBezTo>
                </a:path>
              </a:pathLst>
            </a:custGeom>
            <a:solidFill>
              <a:schemeClr val="bg1"/>
            </a:solidFill>
            <a:ln>
              <a:noFill/>
            </a:ln>
            <a:effectLst/>
          </p:spPr>
          <p:txBody>
            <a:bodyPr wrap="none" anchor="ctr"/>
            <a:lstStyle/>
            <a:p>
              <a:endParaRPr lang="en-US" sz="3266" dirty="0">
                <a:latin typeface="Lato Light" panose="020F0502020204030203" pitchFamily="34" charset="0"/>
              </a:endParaRPr>
            </a:p>
          </p:txBody>
        </p:sp>
        <p:sp>
          <p:nvSpPr>
            <p:cNvPr id="3825" name="Freeform 753">
              <a:extLst>
                <a:ext uri="{FF2B5EF4-FFF2-40B4-BE49-F238E27FC236}">
                  <a16:creationId xmlns:a16="http://schemas.microsoft.com/office/drawing/2014/main" id="{8EA68751-C4E8-D84F-A908-8161976DCB1A}"/>
                </a:ext>
              </a:extLst>
            </p:cNvPr>
            <p:cNvSpPr>
              <a:spLocks noChangeArrowheads="1"/>
            </p:cNvSpPr>
            <p:nvPr/>
          </p:nvSpPr>
          <p:spPr bwMode="auto">
            <a:xfrm>
              <a:off x="11641219" y="10384974"/>
              <a:ext cx="777399" cy="1143585"/>
            </a:xfrm>
            <a:custGeom>
              <a:avLst/>
              <a:gdLst>
                <a:gd name="T0" fmla="*/ 677 w 1143"/>
                <a:gd name="T1" fmla="*/ 56 h 1678"/>
                <a:gd name="T2" fmla="*/ 677 w 1143"/>
                <a:gd name="T3" fmla="*/ 56 h 1678"/>
                <a:gd name="T4" fmla="*/ 45 w 1143"/>
                <a:gd name="T5" fmla="*/ 485 h 1678"/>
                <a:gd name="T6" fmla="*/ 45 w 1143"/>
                <a:gd name="T7" fmla="*/ 485 h 1678"/>
                <a:gd name="T8" fmla="*/ 357 w 1143"/>
                <a:gd name="T9" fmla="*/ 1677 h 1678"/>
                <a:gd name="T10" fmla="*/ 357 w 1143"/>
                <a:gd name="T11" fmla="*/ 1677 h 1678"/>
                <a:gd name="T12" fmla="*/ 1099 w 1143"/>
                <a:gd name="T13" fmla="*/ 694 h 1678"/>
                <a:gd name="T14" fmla="*/ 1099 w 1143"/>
                <a:gd name="T15" fmla="*/ 694 h 1678"/>
                <a:gd name="T16" fmla="*/ 677 w 1143"/>
                <a:gd name="T17" fmla="*/ 56 h 1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3" h="1678">
                  <a:moveTo>
                    <a:pt x="677" y="56"/>
                  </a:moveTo>
                  <a:lnTo>
                    <a:pt x="677" y="56"/>
                  </a:lnTo>
                  <a:cubicBezTo>
                    <a:pt x="398" y="0"/>
                    <a:pt x="89" y="261"/>
                    <a:pt x="45" y="485"/>
                  </a:cubicBezTo>
                  <a:lnTo>
                    <a:pt x="45" y="485"/>
                  </a:lnTo>
                  <a:cubicBezTo>
                    <a:pt x="0" y="710"/>
                    <a:pt x="357" y="1677"/>
                    <a:pt x="357" y="1677"/>
                  </a:cubicBezTo>
                  <a:lnTo>
                    <a:pt x="357" y="1677"/>
                  </a:lnTo>
                  <a:cubicBezTo>
                    <a:pt x="598" y="1325"/>
                    <a:pt x="1055" y="915"/>
                    <a:pt x="1099" y="694"/>
                  </a:cubicBezTo>
                  <a:lnTo>
                    <a:pt x="1099" y="694"/>
                  </a:lnTo>
                  <a:cubicBezTo>
                    <a:pt x="1142" y="474"/>
                    <a:pt x="957" y="111"/>
                    <a:pt x="677" y="56"/>
                  </a:cubicBezTo>
                </a:path>
              </a:pathLst>
            </a:custGeom>
            <a:solidFill>
              <a:schemeClr val="bg1">
                <a:lumMod val="75000"/>
              </a:schemeClr>
            </a:solidFill>
            <a:ln>
              <a:noFill/>
            </a:ln>
            <a:effectLst/>
          </p:spPr>
          <p:txBody>
            <a:bodyPr wrap="none" anchor="ctr"/>
            <a:lstStyle/>
            <a:p>
              <a:endParaRPr lang="en-US" sz="3266" dirty="0">
                <a:latin typeface="Lato Light" panose="020F0502020204030203" pitchFamily="34" charset="0"/>
              </a:endParaRPr>
            </a:p>
          </p:txBody>
        </p:sp>
        <p:sp>
          <p:nvSpPr>
            <p:cNvPr id="3826" name="Freeform 754">
              <a:extLst>
                <a:ext uri="{FF2B5EF4-FFF2-40B4-BE49-F238E27FC236}">
                  <a16:creationId xmlns:a16="http://schemas.microsoft.com/office/drawing/2014/main" id="{65437BB1-E02F-C048-A3A0-AF1E85F537C4}"/>
                </a:ext>
              </a:extLst>
            </p:cNvPr>
            <p:cNvSpPr>
              <a:spLocks noChangeArrowheads="1"/>
            </p:cNvSpPr>
            <p:nvPr/>
          </p:nvSpPr>
          <p:spPr bwMode="auto">
            <a:xfrm>
              <a:off x="11722260" y="10405983"/>
              <a:ext cx="636326" cy="933479"/>
            </a:xfrm>
            <a:custGeom>
              <a:avLst/>
              <a:gdLst>
                <a:gd name="T0" fmla="*/ 553 w 935"/>
                <a:gd name="T1" fmla="*/ 45 h 1371"/>
                <a:gd name="T2" fmla="*/ 553 w 935"/>
                <a:gd name="T3" fmla="*/ 45 h 1371"/>
                <a:gd name="T4" fmla="*/ 37 w 935"/>
                <a:gd name="T5" fmla="*/ 396 h 1371"/>
                <a:gd name="T6" fmla="*/ 37 w 935"/>
                <a:gd name="T7" fmla="*/ 396 h 1371"/>
                <a:gd name="T8" fmla="*/ 292 w 935"/>
                <a:gd name="T9" fmla="*/ 1370 h 1371"/>
                <a:gd name="T10" fmla="*/ 292 w 935"/>
                <a:gd name="T11" fmla="*/ 1370 h 1371"/>
                <a:gd name="T12" fmla="*/ 898 w 935"/>
                <a:gd name="T13" fmla="*/ 567 h 1371"/>
                <a:gd name="T14" fmla="*/ 898 w 935"/>
                <a:gd name="T15" fmla="*/ 567 h 1371"/>
                <a:gd name="T16" fmla="*/ 553 w 935"/>
                <a:gd name="T17" fmla="*/ 45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1371">
                  <a:moveTo>
                    <a:pt x="553" y="45"/>
                  </a:moveTo>
                  <a:lnTo>
                    <a:pt x="553" y="45"/>
                  </a:lnTo>
                  <a:cubicBezTo>
                    <a:pt x="325" y="0"/>
                    <a:pt x="73" y="212"/>
                    <a:pt x="37" y="396"/>
                  </a:cubicBezTo>
                  <a:lnTo>
                    <a:pt x="37" y="396"/>
                  </a:lnTo>
                  <a:cubicBezTo>
                    <a:pt x="0" y="579"/>
                    <a:pt x="292" y="1370"/>
                    <a:pt x="292" y="1370"/>
                  </a:cubicBezTo>
                  <a:lnTo>
                    <a:pt x="292" y="1370"/>
                  </a:lnTo>
                  <a:cubicBezTo>
                    <a:pt x="489" y="1082"/>
                    <a:pt x="862" y="747"/>
                    <a:pt x="898" y="567"/>
                  </a:cubicBezTo>
                  <a:lnTo>
                    <a:pt x="898" y="567"/>
                  </a:lnTo>
                  <a:cubicBezTo>
                    <a:pt x="934" y="386"/>
                    <a:pt x="782" y="90"/>
                    <a:pt x="553" y="45"/>
                  </a:cubicBezTo>
                </a:path>
              </a:pathLst>
            </a:custGeom>
            <a:solidFill>
              <a:schemeClr val="bg1">
                <a:lumMod val="95000"/>
              </a:schemeClr>
            </a:solidFill>
            <a:ln>
              <a:noFill/>
            </a:ln>
            <a:effectLst/>
          </p:spPr>
          <p:txBody>
            <a:bodyPr wrap="none" anchor="ctr"/>
            <a:lstStyle/>
            <a:p>
              <a:endParaRPr lang="en-US" sz="3266" dirty="0">
                <a:latin typeface="Lato Light" panose="020F0502020204030203" pitchFamily="34" charset="0"/>
              </a:endParaRPr>
            </a:p>
          </p:txBody>
        </p:sp>
        <p:sp>
          <p:nvSpPr>
            <p:cNvPr id="3827" name="Freeform 755">
              <a:extLst>
                <a:ext uri="{FF2B5EF4-FFF2-40B4-BE49-F238E27FC236}">
                  <a16:creationId xmlns:a16="http://schemas.microsoft.com/office/drawing/2014/main" id="{2BA40098-4273-BA42-B7FF-892964B05323}"/>
                </a:ext>
              </a:extLst>
            </p:cNvPr>
            <p:cNvSpPr>
              <a:spLocks noChangeArrowheads="1"/>
            </p:cNvSpPr>
            <p:nvPr/>
          </p:nvSpPr>
          <p:spPr bwMode="auto">
            <a:xfrm>
              <a:off x="11809305" y="10411986"/>
              <a:ext cx="489252" cy="717368"/>
            </a:xfrm>
            <a:custGeom>
              <a:avLst/>
              <a:gdLst>
                <a:gd name="T0" fmla="*/ 426 w 720"/>
                <a:gd name="T1" fmla="*/ 34 h 1056"/>
                <a:gd name="T2" fmla="*/ 426 w 720"/>
                <a:gd name="T3" fmla="*/ 34 h 1056"/>
                <a:gd name="T4" fmla="*/ 28 w 720"/>
                <a:gd name="T5" fmla="*/ 304 h 1056"/>
                <a:gd name="T6" fmla="*/ 28 w 720"/>
                <a:gd name="T7" fmla="*/ 304 h 1056"/>
                <a:gd name="T8" fmla="*/ 225 w 720"/>
                <a:gd name="T9" fmla="*/ 1055 h 1056"/>
                <a:gd name="T10" fmla="*/ 225 w 720"/>
                <a:gd name="T11" fmla="*/ 1055 h 1056"/>
                <a:gd name="T12" fmla="*/ 691 w 720"/>
                <a:gd name="T13" fmla="*/ 436 h 1056"/>
                <a:gd name="T14" fmla="*/ 691 w 720"/>
                <a:gd name="T15" fmla="*/ 436 h 1056"/>
                <a:gd name="T16" fmla="*/ 426 w 720"/>
                <a:gd name="T17" fmla="*/ 34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 h="1056">
                  <a:moveTo>
                    <a:pt x="426" y="34"/>
                  </a:moveTo>
                  <a:lnTo>
                    <a:pt x="426" y="34"/>
                  </a:lnTo>
                  <a:cubicBezTo>
                    <a:pt x="250" y="0"/>
                    <a:pt x="56" y="163"/>
                    <a:pt x="28" y="304"/>
                  </a:cubicBezTo>
                  <a:lnTo>
                    <a:pt x="28" y="304"/>
                  </a:lnTo>
                  <a:cubicBezTo>
                    <a:pt x="0" y="446"/>
                    <a:pt x="225" y="1055"/>
                    <a:pt x="225" y="1055"/>
                  </a:cubicBezTo>
                  <a:lnTo>
                    <a:pt x="225" y="1055"/>
                  </a:lnTo>
                  <a:cubicBezTo>
                    <a:pt x="376" y="834"/>
                    <a:pt x="664" y="575"/>
                    <a:pt x="691" y="436"/>
                  </a:cubicBezTo>
                  <a:lnTo>
                    <a:pt x="691" y="436"/>
                  </a:lnTo>
                  <a:cubicBezTo>
                    <a:pt x="719" y="297"/>
                    <a:pt x="602" y="70"/>
                    <a:pt x="426" y="34"/>
                  </a:cubicBezTo>
                </a:path>
              </a:pathLst>
            </a:custGeom>
            <a:solidFill>
              <a:schemeClr val="bg1"/>
            </a:solidFill>
            <a:ln>
              <a:noFill/>
            </a:ln>
            <a:effectLst/>
          </p:spPr>
          <p:txBody>
            <a:bodyPr wrap="none" anchor="ctr"/>
            <a:lstStyle/>
            <a:p>
              <a:endParaRPr lang="en-US" sz="3266" dirty="0">
                <a:latin typeface="Lato Light" panose="020F0502020204030203" pitchFamily="34" charset="0"/>
              </a:endParaRPr>
            </a:p>
          </p:txBody>
        </p:sp>
        <p:sp>
          <p:nvSpPr>
            <p:cNvPr id="3828" name="Freeform 756">
              <a:extLst>
                <a:ext uri="{FF2B5EF4-FFF2-40B4-BE49-F238E27FC236}">
                  <a16:creationId xmlns:a16="http://schemas.microsoft.com/office/drawing/2014/main" id="{562A0238-1049-8D40-841B-94C417162BF7}"/>
                </a:ext>
              </a:extLst>
            </p:cNvPr>
            <p:cNvSpPr>
              <a:spLocks noChangeArrowheads="1"/>
            </p:cNvSpPr>
            <p:nvPr/>
          </p:nvSpPr>
          <p:spPr bwMode="auto">
            <a:xfrm>
              <a:off x="12028417" y="10327943"/>
              <a:ext cx="504259" cy="705363"/>
            </a:xfrm>
            <a:custGeom>
              <a:avLst/>
              <a:gdLst>
                <a:gd name="T0" fmla="*/ 233 w 742"/>
                <a:gd name="T1" fmla="*/ 72 h 1036"/>
                <a:gd name="T2" fmla="*/ 233 w 742"/>
                <a:gd name="T3" fmla="*/ 72 h 1036"/>
                <a:gd name="T4" fmla="*/ 58 w 742"/>
                <a:gd name="T5" fmla="*/ 525 h 1036"/>
                <a:gd name="T6" fmla="*/ 58 w 742"/>
                <a:gd name="T7" fmla="*/ 525 h 1036"/>
                <a:gd name="T8" fmla="*/ 651 w 742"/>
                <a:gd name="T9" fmla="*/ 1035 h 1036"/>
                <a:gd name="T10" fmla="*/ 651 w 742"/>
                <a:gd name="T11" fmla="*/ 1035 h 1036"/>
                <a:gd name="T12" fmla="*/ 684 w 742"/>
                <a:gd name="T13" fmla="*/ 253 h 1036"/>
                <a:gd name="T14" fmla="*/ 684 w 742"/>
                <a:gd name="T15" fmla="*/ 253 h 1036"/>
                <a:gd name="T16" fmla="*/ 233 w 742"/>
                <a:gd name="T17" fmla="*/ 72 h 1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2" h="1036">
                  <a:moveTo>
                    <a:pt x="233" y="72"/>
                  </a:moveTo>
                  <a:lnTo>
                    <a:pt x="233" y="72"/>
                  </a:lnTo>
                  <a:cubicBezTo>
                    <a:pt x="67" y="144"/>
                    <a:pt x="0" y="392"/>
                    <a:pt x="58" y="525"/>
                  </a:cubicBezTo>
                  <a:lnTo>
                    <a:pt x="58" y="525"/>
                  </a:lnTo>
                  <a:cubicBezTo>
                    <a:pt x="115" y="659"/>
                    <a:pt x="651" y="1035"/>
                    <a:pt x="651" y="1035"/>
                  </a:cubicBezTo>
                  <a:lnTo>
                    <a:pt x="651" y="1035"/>
                  </a:lnTo>
                  <a:cubicBezTo>
                    <a:pt x="650" y="764"/>
                    <a:pt x="741" y="384"/>
                    <a:pt x="684" y="253"/>
                  </a:cubicBezTo>
                  <a:lnTo>
                    <a:pt x="684" y="253"/>
                  </a:lnTo>
                  <a:cubicBezTo>
                    <a:pt x="627" y="122"/>
                    <a:pt x="399" y="0"/>
                    <a:pt x="233" y="72"/>
                  </a:cubicBezTo>
                </a:path>
              </a:pathLst>
            </a:custGeom>
            <a:solidFill>
              <a:schemeClr val="bg1">
                <a:lumMod val="75000"/>
              </a:schemeClr>
            </a:solidFill>
            <a:ln>
              <a:noFill/>
            </a:ln>
            <a:effectLst/>
          </p:spPr>
          <p:txBody>
            <a:bodyPr wrap="none" anchor="ctr"/>
            <a:lstStyle/>
            <a:p>
              <a:endParaRPr lang="en-US" sz="3266" dirty="0">
                <a:latin typeface="Lato Light" panose="020F0502020204030203" pitchFamily="34" charset="0"/>
              </a:endParaRPr>
            </a:p>
          </p:txBody>
        </p:sp>
        <p:sp>
          <p:nvSpPr>
            <p:cNvPr id="3829" name="Freeform 757">
              <a:extLst>
                <a:ext uri="{FF2B5EF4-FFF2-40B4-BE49-F238E27FC236}">
                  <a16:creationId xmlns:a16="http://schemas.microsoft.com/office/drawing/2014/main" id="{5992227E-8DD8-D848-8F93-13897ACFA1B8}"/>
                </a:ext>
              </a:extLst>
            </p:cNvPr>
            <p:cNvSpPr>
              <a:spLocks noChangeArrowheads="1"/>
            </p:cNvSpPr>
            <p:nvPr/>
          </p:nvSpPr>
          <p:spPr bwMode="auto">
            <a:xfrm>
              <a:off x="12061433" y="10345951"/>
              <a:ext cx="411211" cy="576295"/>
            </a:xfrm>
            <a:custGeom>
              <a:avLst/>
              <a:gdLst>
                <a:gd name="T0" fmla="*/ 190 w 606"/>
                <a:gd name="T1" fmla="*/ 59 h 846"/>
                <a:gd name="T2" fmla="*/ 190 w 606"/>
                <a:gd name="T3" fmla="*/ 59 h 846"/>
                <a:gd name="T4" fmla="*/ 47 w 606"/>
                <a:gd name="T5" fmla="*/ 429 h 846"/>
                <a:gd name="T6" fmla="*/ 47 w 606"/>
                <a:gd name="T7" fmla="*/ 429 h 846"/>
                <a:gd name="T8" fmla="*/ 532 w 606"/>
                <a:gd name="T9" fmla="*/ 845 h 846"/>
                <a:gd name="T10" fmla="*/ 532 w 606"/>
                <a:gd name="T11" fmla="*/ 845 h 846"/>
                <a:gd name="T12" fmla="*/ 559 w 606"/>
                <a:gd name="T13" fmla="*/ 207 h 846"/>
                <a:gd name="T14" fmla="*/ 559 w 606"/>
                <a:gd name="T15" fmla="*/ 207 h 846"/>
                <a:gd name="T16" fmla="*/ 190 w 606"/>
                <a:gd name="T17" fmla="*/ 59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6" h="846">
                  <a:moveTo>
                    <a:pt x="190" y="59"/>
                  </a:moveTo>
                  <a:lnTo>
                    <a:pt x="190" y="59"/>
                  </a:lnTo>
                  <a:cubicBezTo>
                    <a:pt x="54" y="118"/>
                    <a:pt x="0" y="320"/>
                    <a:pt x="47" y="429"/>
                  </a:cubicBezTo>
                  <a:lnTo>
                    <a:pt x="47" y="429"/>
                  </a:lnTo>
                  <a:cubicBezTo>
                    <a:pt x="94" y="538"/>
                    <a:pt x="532" y="845"/>
                    <a:pt x="532" y="845"/>
                  </a:cubicBezTo>
                  <a:lnTo>
                    <a:pt x="532" y="845"/>
                  </a:lnTo>
                  <a:cubicBezTo>
                    <a:pt x="531" y="624"/>
                    <a:pt x="605" y="314"/>
                    <a:pt x="559" y="207"/>
                  </a:cubicBezTo>
                  <a:lnTo>
                    <a:pt x="559" y="207"/>
                  </a:lnTo>
                  <a:cubicBezTo>
                    <a:pt x="512" y="99"/>
                    <a:pt x="326" y="0"/>
                    <a:pt x="190" y="59"/>
                  </a:cubicBezTo>
                </a:path>
              </a:pathLst>
            </a:custGeom>
            <a:solidFill>
              <a:schemeClr val="bg1">
                <a:lumMod val="95000"/>
              </a:schemeClr>
            </a:solidFill>
            <a:ln>
              <a:noFill/>
            </a:ln>
            <a:effectLst/>
          </p:spPr>
          <p:txBody>
            <a:bodyPr wrap="none" anchor="ctr"/>
            <a:lstStyle/>
            <a:p>
              <a:endParaRPr lang="en-US" sz="3266" dirty="0">
                <a:latin typeface="Lato Light" panose="020F0502020204030203" pitchFamily="34" charset="0"/>
              </a:endParaRPr>
            </a:p>
          </p:txBody>
        </p:sp>
        <p:sp>
          <p:nvSpPr>
            <p:cNvPr id="3830" name="Freeform 758">
              <a:extLst>
                <a:ext uri="{FF2B5EF4-FFF2-40B4-BE49-F238E27FC236}">
                  <a16:creationId xmlns:a16="http://schemas.microsoft.com/office/drawing/2014/main" id="{633CDBDF-5251-7043-8EDA-09E2EFC51A36}"/>
                </a:ext>
              </a:extLst>
            </p:cNvPr>
            <p:cNvSpPr>
              <a:spLocks noChangeArrowheads="1"/>
            </p:cNvSpPr>
            <p:nvPr/>
          </p:nvSpPr>
          <p:spPr bwMode="auto">
            <a:xfrm>
              <a:off x="12091450" y="10351954"/>
              <a:ext cx="318163" cy="444228"/>
            </a:xfrm>
            <a:custGeom>
              <a:avLst/>
              <a:gdLst>
                <a:gd name="T0" fmla="*/ 146 w 468"/>
                <a:gd name="T1" fmla="*/ 46 h 653"/>
                <a:gd name="T2" fmla="*/ 146 w 468"/>
                <a:gd name="T3" fmla="*/ 46 h 653"/>
                <a:gd name="T4" fmla="*/ 36 w 468"/>
                <a:gd name="T5" fmla="*/ 331 h 653"/>
                <a:gd name="T6" fmla="*/ 36 w 468"/>
                <a:gd name="T7" fmla="*/ 331 h 653"/>
                <a:gd name="T8" fmla="*/ 410 w 468"/>
                <a:gd name="T9" fmla="*/ 652 h 653"/>
                <a:gd name="T10" fmla="*/ 410 w 468"/>
                <a:gd name="T11" fmla="*/ 652 h 653"/>
                <a:gd name="T12" fmla="*/ 431 w 468"/>
                <a:gd name="T13" fmla="*/ 160 h 653"/>
                <a:gd name="T14" fmla="*/ 431 w 468"/>
                <a:gd name="T15" fmla="*/ 160 h 653"/>
                <a:gd name="T16" fmla="*/ 146 w 468"/>
                <a:gd name="T17" fmla="*/ 4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8" h="653">
                  <a:moveTo>
                    <a:pt x="146" y="46"/>
                  </a:moveTo>
                  <a:lnTo>
                    <a:pt x="146" y="46"/>
                  </a:lnTo>
                  <a:cubicBezTo>
                    <a:pt x="42" y="91"/>
                    <a:pt x="0" y="247"/>
                    <a:pt x="36" y="331"/>
                  </a:cubicBezTo>
                  <a:lnTo>
                    <a:pt x="36" y="331"/>
                  </a:lnTo>
                  <a:cubicBezTo>
                    <a:pt x="73" y="415"/>
                    <a:pt x="410" y="652"/>
                    <a:pt x="410" y="652"/>
                  </a:cubicBezTo>
                  <a:lnTo>
                    <a:pt x="410" y="652"/>
                  </a:lnTo>
                  <a:cubicBezTo>
                    <a:pt x="409" y="481"/>
                    <a:pt x="467" y="242"/>
                    <a:pt x="431" y="160"/>
                  </a:cubicBezTo>
                  <a:lnTo>
                    <a:pt x="431" y="160"/>
                  </a:lnTo>
                  <a:cubicBezTo>
                    <a:pt x="395" y="77"/>
                    <a:pt x="252" y="0"/>
                    <a:pt x="146" y="46"/>
                  </a:cubicBezTo>
                </a:path>
              </a:pathLst>
            </a:custGeom>
            <a:solidFill>
              <a:schemeClr val="bg1"/>
            </a:solidFill>
            <a:ln>
              <a:noFill/>
            </a:ln>
            <a:effectLst/>
          </p:spPr>
          <p:txBody>
            <a:bodyPr wrap="none" anchor="ctr"/>
            <a:lstStyle/>
            <a:p>
              <a:endParaRPr lang="en-US" sz="3266" dirty="0">
                <a:latin typeface="Lato Light" panose="020F0502020204030203" pitchFamily="34" charset="0"/>
              </a:endParaRPr>
            </a:p>
          </p:txBody>
        </p:sp>
      </p:grpSp>
      <p:grpSp>
        <p:nvGrpSpPr>
          <p:cNvPr id="10" name="Group 9">
            <a:extLst>
              <a:ext uri="{FF2B5EF4-FFF2-40B4-BE49-F238E27FC236}">
                <a16:creationId xmlns:a16="http://schemas.microsoft.com/office/drawing/2014/main" id="{8C60FF22-2B4B-F443-AA70-C099429DD5E8}"/>
              </a:ext>
            </a:extLst>
          </p:cNvPr>
          <p:cNvGrpSpPr/>
          <p:nvPr/>
        </p:nvGrpSpPr>
        <p:grpSpPr>
          <a:xfrm>
            <a:off x="5320940" y="2770244"/>
            <a:ext cx="1566464" cy="2454919"/>
            <a:chOff x="10638704" y="5540488"/>
            <a:chExt cx="3132927" cy="4909838"/>
          </a:xfrm>
        </p:grpSpPr>
        <p:sp>
          <p:nvSpPr>
            <p:cNvPr id="782" name="Freeform 781">
              <a:extLst>
                <a:ext uri="{FF2B5EF4-FFF2-40B4-BE49-F238E27FC236}">
                  <a16:creationId xmlns:a16="http://schemas.microsoft.com/office/drawing/2014/main" id="{D7AD66F2-0DC9-E94D-ACEB-A1D68C41E6F1}"/>
                </a:ext>
              </a:extLst>
            </p:cNvPr>
            <p:cNvSpPr>
              <a:spLocks noChangeArrowheads="1"/>
            </p:cNvSpPr>
            <p:nvPr/>
          </p:nvSpPr>
          <p:spPr bwMode="auto">
            <a:xfrm>
              <a:off x="10638704" y="5540488"/>
              <a:ext cx="3132927" cy="3941546"/>
            </a:xfrm>
            <a:custGeom>
              <a:avLst/>
              <a:gdLst>
                <a:gd name="connsiteX0" fmla="*/ 1502865 w 3006383"/>
                <a:gd name="connsiteY0" fmla="*/ 0 h 3782342"/>
                <a:gd name="connsiteX1" fmla="*/ 3006383 w 3006383"/>
                <a:gd name="connsiteY1" fmla="*/ 1502881 h 3782342"/>
                <a:gd name="connsiteX2" fmla="*/ 3005555 w 3006383"/>
                <a:gd name="connsiteY2" fmla="*/ 1503934 h 3782342"/>
                <a:gd name="connsiteX3" fmla="*/ 2998135 w 3006383"/>
                <a:gd name="connsiteY3" fmla="*/ 1625546 h 3782342"/>
                <a:gd name="connsiteX4" fmla="*/ 2222674 w 3006383"/>
                <a:gd name="connsiteY4" fmla="*/ 3607440 h 3782342"/>
                <a:gd name="connsiteX5" fmla="*/ 864519 w 3006383"/>
                <a:gd name="connsiteY5" fmla="*/ 3536900 h 3782342"/>
                <a:gd name="connsiteX6" fmla="*/ 1 w 3006383"/>
                <a:gd name="connsiteY6" fmla="*/ 1503664 h 3782342"/>
                <a:gd name="connsiteX7" fmla="*/ 170 w 3006383"/>
                <a:gd name="connsiteY7" fmla="*/ 1503041 h 3782342"/>
                <a:gd name="connsiteX8" fmla="*/ 0 w 3006383"/>
                <a:gd name="connsiteY8" fmla="*/ 1502881 h 3782342"/>
                <a:gd name="connsiteX9" fmla="*/ 1502865 w 3006383"/>
                <a:gd name="connsiteY9" fmla="*/ 0 h 378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06383" h="3782342">
                  <a:moveTo>
                    <a:pt x="1502865" y="0"/>
                  </a:moveTo>
                  <a:cubicBezTo>
                    <a:pt x="2333000" y="0"/>
                    <a:pt x="3006383" y="672445"/>
                    <a:pt x="3006383" y="1502881"/>
                  </a:cubicBezTo>
                  <a:lnTo>
                    <a:pt x="3005555" y="1503934"/>
                  </a:lnTo>
                  <a:lnTo>
                    <a:pt x="2998135" y="1625546"/>
                  </a:lnTo>
                  <a:cubicBezTo>
                    <a:pt x="2925229" y="2229562"/>
                    <a:pt x="2338370" y="2761211"/>
                    <a:pt x="2222674" y="3607440"/>
                  </a:cubicBezTo>
                  <a:cubicBezTo>
                    <a:pt x="1360115" y="3811221"/>
                    <a:pt x="1400598" y="3893517"/>
                    <a:pt x="864519" y="3536900"/>
                  </a:cubicBezTo>
                  <a:cubicBezTo>
                    <a:pt x="617700" y="2555878"/>
                    <a:pt x="164547" y="2441578"/>
                    <a:pt x="1" y="1503664"/>
                  </a:cubicBezTo>
                  <a:lnTo>
                    <a:pt x="170" y="1503041"/>
                  </a:lnTo>
                  <a:lnTo>
                    <a:pt x="0" y="1502881"/>
                  </a:lnTo>
                  <a:cubicBezTo>
                    <a:pt x="0" y="672445"/>
                    <a:pt x="672730" y="0"/>
                    <a:pt x="1502865" y="0"/>
                  </a:cubicBezTo>
                  <a:close/>
                </a:path>
              </a:pathLst>
            </a:custGeom>
            <a:solidFill>
              <a:schemeClr val="bg1">
                <a:lumMod val="85000"/>
              </a:schemeClr>
            </a:solidFill>
            <a:ln>
              <a:noFill/>
            </a:ln>
            <a:effectLst/>
          </p:spPr>
          <p:txBody>
            <a:bodyPr wrap="square" anchor="ctr">
              <a:noAutofit/>
            </a:bodyPr>
            <a:lstStyle/>
            <a:p>
              <a:endParaRPr lang="en-US" sz="3266" dirty="0">
                <a:latin typeface="Lato Light" panose="020F0502020204030203" pitchFamily="34" charset="0"/>
              </a:endParaRPr>
            </a:p>
          </p:txBody>
        </p:sp>
        <p:sp>
          <p:nvSpPr>
            <p:cNvPr id="781" name="Freeform 780">
              <a:extLst>
                <a:ext uri="{FF2B5EF4-FFF2-40B4-BE49-F238E27FC236}">
                  <a16:creationId xmlns:a16="http://schemas.microsoft.com/office/drawing/2014/main" id="{2B30222B-F2E2-4449-AED8-18D673F93CED}"/>
                </a:ext>
              </a:extLst>
            </p:cNvPr>
            <p:cNvSpPr>
              <a:spLocks noChangeArrowheads="1"/>
            </p:cNvSpPr>
            <p:nvPr/>
          </p:nvSpPr>
          <p:spPr bwMode="auto">
            <a:xfrm>
              <a:off x="11443116" y="9103314"/>
              <a:ext cx="1614148" cy="1347012"/>
            </a:xfrm>
            <a:custGeom>
              <a:avLst/>
              <a:gdLst>
                <a:gd name="connsiteX0" fmla="*/ 0 w 1548950"/>
                <a:gd name="connsiteY0" fmla="*/ 0 h 1292604"/>
                <a:gd name="connsiteX1" fmla="*/ 1548950 w 1548950"/>
                <a:gd name="connsiteY1" fmla="*/ 0 h 1292604"/>
                <a:gd name="connsiteX2" fmla="*/ 1548950 w 1548950"/>
                <a:gd name="connsiteY2" fmla="*/ 752362 h 1292604"/>
                <a:gd name="connsiteX3" fmla="*/ 1290247 w 1548950"/>
                <a:gd name="connsiteY3" fmla="*/ 1010334 h 1292604"/>
                <a:gd name="connsiteX4" fmla="*/ 1289721 w 1548950"/>
                <a:gd name="connsiteY4" fmla="*/ 1010334 h 1292604"/>
                <a:gd name="connsiteX5" fmla="*/ 1289721 w 1548950"/>
                <a:gd name="connsiteY5" fmla="*/ 1034638 h 1292604"/>
                <a:gd name="connsiteX6" fmla="*/ 1083177 w 1548950"/>
                <a:gd name="connsiteY6" fmla="*/ 1292604 h 1292604"/>
                <a:gd name="connsiteX7" fmla="*/ 462891 w 1548950"/>
                <a:gd name="connsiteY7" fmla="*/ 1292604 h 1292604"/>
                <a:gd name="connsiteX8" fmla="*/ 256347 w 1548950"/>
                <a:gd name="connsiteY8" fmla="*/ 1034638 h 1292604"/>
                <a:gd name="connsiteX9" fmla="*/ 256347 w 1548950"/>
                <a:gd name="connsiteY9" fmla="*/ 1010098 h 1292604"/>
                <a:gd name="connsiteX10" fmla="*/ 206510 w 1548950"/>
                <a:gd name="connsiteY10" fmla="*/ 1005116 h 1292604"/>
                <a:gd name="connsiteX11" fmla="*/ 0 w 1548950"/>
                <a:gd name="connsiteY11" fmla="*/ 752362 h 129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48950" h="1292604">
                  <a:moveTo>
                    <a:pt x="0" y="0"/>
                  </a:moveTo>
                  <a:lnTo>
                    <a:pt x="1548950" y="0"/>
                  </a:lnTo>
                  <a:lnTo>
                    <a:pt x="1548950" y="752362"/>
                  </a:lnTo>
                  <a:cubicBezTo>
                    <a:pt x="1548950" y="895390"/>
                    <a:pt x="1433317" y="1010334"/>
                    <a:pt x="1290247" y="1010334"/>
                  </a:cubicBezTo>
                  <a:lnTo>
                    <a:pt x="1289721" y="1010334"/>
                  </a:lnTo>
                  <a:lnTo>
                    <a:pt x="1289721" y="1034638"/>
                  </a:lnTo>
                  <a:cubicBezTo>
                    <a:pt x="1289721" y="1177009"/>
                    <a:pt x="1197561" y="1292604"/>
                    <a:pt x="1083177" y="1292604"/>
                  </a:cubicBezTo>
                  <a:lnTo>
                    <a:pt x="462891" y="1292604"/>
                  </a:lnTo>
                  <a:cubicBezTo>
                    <a:pt x="348508" y="1292604"/>
                    <a:pt x="256347" y="1177009"/>
                    <a:pt x="256347" y="1034638"/>
                  </a:cubicBezTo>
                  <a:lnTo>
                    <a:pt x="256347" y="1010098"/>
                  </a:lnTo>
                  <a:lnTo>
                    <a:pt x="206510" y="1005116"/>
                  </a:lnTo>
                  <a:cubicBezTo>
                    <a:pt x="88531" y="981159"/>
                    <a:pt x="0" y="877512"/>
                    <a:pt x="0" y="752362"/>
                  </a:cubicBezTo>
                  <a:close/>
                </a:path>
              </a:pathLst>
            </a:custGeom>
            <a:solidFill>
              <a:schemeClr val="bg1">
                <a:lumMod val="65000"/>
              </a:schemeClr>
            </a:solidFill>
            <a:ln>
              <a:noFill/>
            </a:ln>
            <a:effectLst/>
          </p:spPr>
          <p:txBody>
            <a:bodyPr wrap="square" anchor="ctr">
              <a:noAutofit/>
            </a:bodyPr>
            <a:lstStyle/>
            <a:p>
              <a:endParaRPr lang="en-US" sz="3266" dirty="0">
                <a:latin typeface="Lato Light" panose="020F0502020204030203" pitchFamily="34" charset="0"/>
              </a:endParaRPr>
            </a:p>
          </p:txBody>
        </p:sp>
        <p:grpSp>
          <p:nvGrpSpPr>
            <p:cNvPr id="2" name="Group 1">
              <a:extLst>
                <a:ext uri="{FF2B5EF4-FFF2-40B4-BE49-F238E27FC236}">
                  <a16:creationId xmlns:a16="http://schemas.microsoft.com/office/drawing/2014/main" id="{932998FF-3837-6B41-A80D-83A79F59E8B1}"/>
                </a:ext>
              </a:extLst>
            </p:cNvPr>
            <p:cNvGrpSpPr/>
            <p:nvPr/>
          </p:nvGrpSpPr>
          <p:grpSpPr>
            <a:xfrm>
              <a:off x="11497144" y="7404444"/>
              <a:ext cx="1524781" cy="1791919"/>
              <a:chOff x="11771182" y="6757191"/>
              <a:chExt cx="1463193" cy="1719541"/>
            </a:xfrm>
          </p:grpSpPr>
          <p:sp>
            <p:nvSpPr>
              <p:cNvPr id="3833" name="Freeform 761">
                <a:extLst>
                  <a:ext uri="{FF2B5EF4-FFF2-40B4-BE49-F238E27FC236}">
                    <a16:creationId xmlns:a16="http://schemas.microsoft.com/office/drawing/2014/main" id="{C2650DAA-7460-EB4F-826E-F9DE72B27289}"/>
                  </a:ext>
                </a:extLst>
              </p:cNvPr>
              <p:cNvSpPr>
                <a:spLocks noChangeArrowheads="1"/>
              </p:cNvSpPr>
              <p:nvPr/>
            </p:nvSpPr>
            <p:spPr bwMode="auto">
              <a:xfrm>
                <a:off x="11771182" y="6757191"/>
                <a:ext cx="460848" cy="1719541"/>
              </a:xfrm>
              <a:custGeom>
                <a:avLst/>
                <a:gdLst>
                  <a:gd name="T0" fmla="*/ 0 w 705"/>
                  <a:gd name="T1" fmla="*/ 0 h 2633"/>
                  <a:gd name="T2" fmla="*/ 0 w 705"/>
                  <a:gd name="T3" fmla="*/ 0 h 2633"/>
                  <a:gd name="T4" fmla="*/ 569 w 705"/>
                  <a:gd name="T5" fmla="*/ 1373 h 2633"/>
                  <a:gd name="T6" fmla="*/ 569 w 705"/>
                  <a:gd name="T7" fmla="*/ 1373 h 2633"/>
                  <a:gd name="T8" fmla="*/ 704 w 705"/>
                  <a:gd name="T9" fmla="*/ 2632 h 2633"/>
                </a:gdLst>
                <a:ahLst/>
                <a:cxnLst>
                  <a:cxn ang="0">
                    <a:pos x="T0" y="T1"/>
                  </a:cxn>
                  <a:cxn ang="0">
                    <a:pos x="T2" y="T3"/>
                  </a:cxn>
                  <a:cxn ang="0">
                    <a:pos x="T4" y="T5"/>
                  </a:cxn>
                  <a:cxn ang="0">
                    <a:pos x="T6" y="T7"/>
                  </a:cxn>
                  <a:cxn ang="0">
                    <a:pos x="T8" y="T9"/>
                  </a:cxn>
                </a:cxnLst>
                <a:rect l="0" t="0" r="r" b="b"/>
                <a:pathLst>
                  <a:path w="705" h="2633">
                    <a:moveTo>
                      <a:pt x="0" y="0"/>
                    </a:moveTo>
                    <a:lnTo>
                      <a:pt x="0" y="0"/>
                    </a:lnTo>
                    <a:cubicBezTo>
                      <a:pt x="0" y="0"/>
                      <a:pt x="437" y="1002"/>
                      <a:pt x="569" y="1373"/>
                    </a:cubicBezTo>
                    <a:lnTo>
                      <a:pt x="569" y="1373"/>
                    </a:lnTo>
                    <a:cubicBezTo>
                      <a:pt x="700" y="1745"/>
                      <a:pt x="704" y="2632"/>
                      <a:pt x="704" y="2632"/>
                    </a:cubicBezTo>
                  </a:path>
                </a:pathLst>
              </a:custGeom>
              <a:noFill/>
              <a:ln w="50800" cap="flat">
                <a:solidFill>
                  <a:srgbClr val="403F4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3266" dirty="0">
                  <a:latin typeface="Lato Light" panose="020F0502020204030203" pitchFamily="34" charset="0"/>
                </a:endParaRPr>
              </a:p>
            </p:txBody>
          </p:sp>
          <p:sp>
            <p:nvSpPr>
              <p:cNvPr id="3834" name="Freeform 762">
                <a:extLst>
                  <a:ext uri="{FF2B5EF4-FFF2-40B4-BE49-F238E27FC236}">
                    <a16:creationId xmlns:a16="http://schemas.microsoft.com/office/drawing/2014/main" id="{D289ECD0-ED42-9746-9976-B5470D8DE783}"/>
                  </a:ext>
                </a:extLst>
              </p:cNvPr>
              <p:cNvSpPr>
                <a:spLocks noChangeArrowheads="1"/>
              </p:cNvSpPr>
              <p:nvPr/>
            </p:nvSpPr>
            <p:spPr bwMode="auto">
              <a:xfrm>
                <a:off x="12773527" y="6757191"/>
                <a:ext cx="460848" cy="1719541"/>
              </a:xfrm>
              <a:custGeom>
                <a:avLst/>
                <a:gdLst>
                  <a:gd name="T0" fmla="*/ 704 w 705"/>
                  <a:gd name="T1" fmla="*/ 0 h 2633"/>
                  <a:gd name="T2" fmla="*/ 704 w 705"/>
                  <a:gd name="T3" fmla="*/ 0 h 2633"/>
                  <a:gd name="T4" fmla="*/ 136 w 705"/>
                  <a:gd name="T5" fmla="*/ 1373 h 2633"/>
                  <a:gd name="T6" fmla="*/ 136 w 705"/>
                  <a:gd name="T7" fmla="*/ 1373 h 2633"/>
                  <a:gd name="T8" fmla="*/ 0 w 705"/>
                  <a:gd name="T9" fmla="*/ 2632 h 2633"/>
                </a:gdLst>
                <a:ahLst/>
                <a:cxnLst>
                  <a:cxn ang="0">
                    <a:pos x="T0" y="T1"/>
                  </a:cxn>
                  <a:cxn ang="0">
                    <a:pos x="T2" y="T3"/>
                  </a:cxn>
                  <a:cxn ang="0">
                    <a:pos x="T4" y="T5"/>
                  </a:cxn>
                  <a:cxn ang="0">
                    <a:pos x="T6" y="T7"/>
                  </a:cxn>
                  <a:cxn ang="0">
                    <a:pos x="T8" y="T9"/>
                  </a:cxn>
                </a:cxnLst>
                <a:rect l="0" t="0" r="r" b="b"/>
                <a:pathLst>
                  <a:path w="705" h="2633">
                    <a:moveTo>
                      <a:pt x="704" y="0"/>
                    </a:moveTo>
                    <a:lnTo>
                      <a:pt x="704" y="0"/>
                    </a:lnTo>
                    <a:cubicBezTo>
                      <a:pt x="704" y="0"/>
                      <a:pt x="268" y="1002"/>
                      <a:pt x="136" y="1373"/>
                    </a:cubicBezTo>
                    <a:lnTo>
                      <a:pt x="136" y="1373"/>
                    </a:lnTo>
                    <a:cubicBezTo>
                      <a:pt x="4" y="1745"/>
                      <a:pt x="0" y="2632"/>
                      <a:pt x="0" y="2632"/>
                    </a:cubicBezTo>
                  </a:path>
                </a:pathLst>
              </a:custGeom>
              <a:noFill/>
              <a:ln w="50800" cap="flat">
                <a:solidFill>
                  <a:srgbClr val="403F4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3266" dirty="0">
                  <a:latin typeface="Lato Light" panose="020F0502020204030203" pitchFamily="34" charset="0"/>
                </a:endParaRPr>
              </a:p>
            </p:txBody>
          </p:sp>
          <p:sp>
            <p:nvSpPr>
              <p:cNvPr id="784" name="Freeform 783">
                <a:extLst>
                  <a:ext uri="{FF2B5EF4-FFF2-40B4-BE49-F238E27FC236}">
                    <a16:creationId xmlns:a16="http://schemas.microsoft.com/office/drawing/2014/main" id="{A9E3EC91-D887-AA4D-9930-ABB0444ABC80}"/>
                  </a:ext>
                </a:extLst>
              </p:cNvPr>
              <p:cNvSpPr>
                <a:spLocks noChangeArrowheads="1"/>
              </p:cNvSpPr>
              <p:nvPr/>
            </p:nvSpPr>
            <p:spPr bwMode="auto">
              <a:xfrm>
                <a:off x="11903676" y="6797516"/>
                <a:ext cx="1200431" cy="393949"/>
              </a:xfrm>
              <a:custGeom>
                <a:avLst/>
                <a:gdLst>
                  <a:gd name="connsiteX0" fmla="*/ 1050199 w 1200431"/>
                  <a:gd name="connsiteY0" fmla="*/ 0 h 393949"/>
                  <a:gd name="connsiteX1" fmla="*/ 1200431 w 1200431"/>
                  <a:gd name="connsiteY1" fmla="*/ 197301 h 393949"/>
                  <a:gd name="connsiteX2" fmla="*/ 1050199 w 1200431"/>
                  <a:gd name="connsiteY2" fmla="*/ 393949 h 393949"/>
                  <a:gd name="connsiteX3" fmla="*/ 898654 w 1200431"/>
                  <a:gd name="connsiteY3" fmla="*/ 197301 h 393949"/>
                  <a:gd name="connsiteX4" fmla="*/ 1050199 w 1200431"/>
                  <a:gd name="connsiteY4" fmla="*/ 0 h 393949"/>
                  <a:gd name="connsiteX5" fmla="*/ 748878 w 1200431"/>
                  <a:gd name="connsiteY5" fmla="*/ 0 h 393949"/>
                  <a:gd name="connsiteX6" fmla="*/ 898003 w 1200431"/>
                  <a:gd name="connsiteY6" fmla="*/ 197301 h 393949"/>
                  <a:gd name="connsiteX7" fmla="*/ 748878 w 1200431"/>
                  <a:gd name="connsiteY7" fmla="*/ 393949 h 393949"/>
                  <a:gd name="connsiteX8" fmla="*/ 599103 w 1200431"/>
                  <a:gd name="connsiteY8" fmla="*/ 197301 h 393949"/>
                  <a:gd name="connsiteX9" fmla="*/ 748878 w 1200431"/>
                  <a:gd name="connsiteY9" fmla="*/ 0 h 393949"/>
                  <a:gd name="connsiteX10" fmla="*/ 449001 w 1200431"/>
                  <a:gd name="connsiteY10" fmla="*/ 0 h 393949"/>
                  <a:gd name="connsiteX11" fmla="*/ 598450 w 1200431"/>
                  <a:gd name="connsiteY11" fmla="*/ 197301 h 393949"/>
                  <a:gd name="connsiteX12" fmla="*/ 449001 w 1200431"/>
                  <a:gd name="connsiteY12" fmla="*/ 393949 h 393949"/>
                  <a:gd name="connsiteX13" fmla="*/ 299552 w 1200431"/>
                  <a:gd name="connsiteY13" fmla="*/ 197301 h 393949"/>
                  <a:gd name="connsiteX14" fmla="*/ 449001 w 1200431"/>
                  <a:gd name="connsiteY14" fmla="*/ 0 h 393949"/>
                  <a:gd name="connsiteX15" fmla="*/ 149124 w 1200431"/>
                  <a:gd name="connsiteY15" fmla="*/ 0 h 393949"/>
                  <a:gd name="connsiteX16" fmla="*/ 298900 w 1200431"/>
                  <a:gd name="connsiteY16" fmla="*/ 197301 h 393949"/>
                  <a:gd name="connsiteX17" fmla="*/ 149124 w 1200431"/>
                  <a:gd name="connsiteY17" fmla="*/ 393949 h 393949"/>
                  <a:gd name="connsiteX18" fmla="*/ 0 w 1200431"/>
                  <a:gd name="connsiteY18" fmla="*/ 197301 h 393949"/>
                  <a:gd name="connsiteX19" fmla="*/ 149124 w 1200431"/>
                  <a:gd name="connsiteY19" fmla="*/ 0 h 393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0431" h="393949">
                    <a:moveTo>
                      <a:pt x="1050199" y="0"/>
                    </a:moveTo>
                    <a:cubicBezTo>
                      <a:pt x="1132859" y="0"/>
                      <a:pt x="1200431" y="88198"/>
                      <a:pt x="1200431" y="197301"/>
                    </a:cubicBezTo>
                    <a:cubicBezTo>
                      <a:pt x="1200431" y="305751"/>
                      <a:pt x="1132859" y="393949"/>
                      <a:pt x="1050199" y="393949"/>
                    </a:cubicBezTo>
                    <a:cubicBezTo>
                      <a:pt x="966882" y="393949"/>
                      <a:pt x="898654" y="305751"/>
                      <a:pt x="898654" y="197301"/>
                    </a:cubicBezTo>
                    <a:cubicBezTo>
                      <a:pt x="898654" y="88198"/>
                      <a:pt x="966882" y="0"/>
                      <a:pt x="1050199" y="0"/>
                    </a:cubicBezTo>
                    <a:close/>
                    <a:moveTo>
                      <a:pt x="748878" y="0"/>
                    </a:moveTo>
                    <a:cubicBezTo>
                      <a:pt x="831581" y="0"/>
                      <a:pt x="898003" y="88198"/>
                      <a:pt x="898003" y="197301"/>
                    </a:cubicBezTo>
                    <a:cubicBezTo>
                      <a:pt x="898003" y="305751"/>
                      <a:pt x="831581" y="393949"/>
                      <a:pt x="748878" y="393949"/>
                    </a:cubicBezTo>
                    <a:cubicBezTo>
                      <a:pt x="666176" y="393949"/>
                      <a:pt x="599103" y="305751"/>
                      <a:pt x="599103" y="197301"/>
                    </a:cubicBezTo>
                    <a:cubicBezTo>
                      <a:pt x="599103" y="88198"/>
                      <a:pt x="666176" y="0"/>
                      <a:pt x="748878" y="0"/>
                    </a:cubicBezTo>
                    <a:close/>
                    <a:moveTo>
                      <a:pt x="449001" y="0"/>
                    </a:moveTo>
                    <a:cubicBezTo>
                      <a:pt x="531231" y="0"/>
                      <a:pt x="598450" y="88198"/>
                      <a:pt x="598450" y="197301"/>
                    </a:cubicBezTo>
                    <a:cubicBezTo>
                      <a:pt x="598450" y="305751"/>
                      <a:pt x="531231" y="393949"/>
                      <a:pt x="449001" y="393949"/>
                    </a:cubicBezTo>
                    <a:cubicBezTo>
                      <a:pt x="366772" y="393949"/>
                      <a:pt x="299552" y="305751"/>
                      <a:pt x="299552" y="197301"/>
                    </a:cubicBezTo>
                    <a:cubicBezTo>
                      <a:pt x="299552" y="88198"/>
                      <a:pt x="366772" y="0"/>
                      <a:pt x="449001" y="0"/>
                    </a:cubicBezTo>
                    <a:close/>
                    <a:moveTo>
                      <a:pt x="149124" y="0"/>
                    </a:moveTo>
                    <a:cubicBezTo>
                      <a:pt x="231826" y="0"/>
                      <a:pt x="298900" y="88198"/>
                      <a:pt x="298900" y="197301"/>
                    </a:cubicBezTo>
                    <a:cubicBezTo>
                      <a:pt x="298900" y="305751"/>
                      <a:pt x="231826" y="393949"/>
                      <a:pt x="149124" y="393949"/>
                    </a:cubicBezTo>
                    <a:cubicBezTo>
                      <a:pt x="66422" y="393949"/>
                      <a:pt x="0" y="305751"/>
                      <a:pt x="0" y="197301"/>
                    </a:cubicBezTo>
                    <a:cubicBezTo>
                      <a:pt x="0" y="88198"/>
                      <a:pt x="66422" y="0"/>
                      <a:pt x="149124" y="0"/>
                    </a:cubicBezTo>
                    <a:close/>
                  </a:path>
                </a:pathLst>
              </a:custGeom>
              <a:noFill/>
              <a:ln w="50800" cap="flat">
                <a:solidFill>
                  <a:srgbClr val="403F4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266" dirty="0">
                  <a:latin typeface="Lato Light" panose="020F0502020204030203" pitchFamily="34" charset="0"/>
                </a:endParaRPr>
              </a:p>
            </p:txBody>
          </p:sp>
        </p:grpSp>
        <p:sp>
          <p:nvSpPr>
            <p:cNvPr id="3841" name="Freeform 769">
              <a:extLst>
                <a:ext uri="{FF2B5EF4-FFF2-40B4-BE49-F238E27FC236}">
                  <a16:creationId xmlns:a16="http://schemas.microsoft.com/office/drawing/2014/main" id="{806C06EB-80E7-9E42-808A-7773276D9605}"/>
                </a:ext>
              </a:extLst>
            </p:cNvPr>
            <p:cNvSpPr>
              <a:spLocks noChangeArrowheads="1"/>
            </p:cNvSpPr>
            <p:nvPr/>
          </p:nvSpPr>
          <p:spPr bwMode="auto">
            <a:xfrm>
              <a:off x="11326058" y="5540490"/>
              <a:ext cx="2335197" cy="2653360"/>
            </a:xfrm>
            <a:custGeom>
              <a:avLst/>
              <a:gdLst>
                <a:gd name="T0" fmla="*/ 2521 w 3429"/>
                <a:gd name="T1" fmla="*/ 630 h 3897"/>
                <a:gd name="T2" fmla="*/ 2521 w 3429"/>
                <a:gd name="T3" fmla="*/ 630 h 3897"/>
                <a:gd name="T4" fmla="*/ 565 w 3429"/>
                <a:gd name="T5" fmla="*/ 420 h 3897"/>
                <a:gd name="T6" fmla="*/ 565 w 3429"/>
                <a:gd name="T7" fmla="*/ 420 h 3897"/>
                <a:gd name="T8" fmla="*/ 956 w 3429"/>
                <a:gd name="T9" fmla="*/ 1212 h 3897"/>
                <a:gd name="T10" fmla="*/ 956 w 3429"/>
                <a:gd name="T11" fmla="*/ 1212 h 3897"/>
                <a:gd name="T12" fmla="*/ 2718 w 3429"/>
                <a:gd name="T13" fmla="*/ 2194 h 3897"/>
                <a:gd name="T14" fmla="*/ 2718 w 3429"/>
                <a:gd name="T15" fmla="*/ 2194 h 3897"/>
                <a:gd name="T16" fmla="*/ 2866 w 3429"/>
                <a:gd name="T17" fmla="*/ 3717 h 3897"/>
                <a:gd name="T18" fmla="*/ 2866 w 3429"/>
                <a:gd name="T19" fmla="*/ 3717 h 3897"/>
                <a:gd name="T20" fmla="*/ 3368 w 3429"/>
                <a:gd name="T21" fmla="*/ 2387 h 3897"/>
                <a:gd name="T22" fmla="*/ 3368 w 3429"/>
                <a:gd name="T23" fmla="*/ 2387 h 3897"/>
                <a:gd name="T24" fmla="*/ 2521 w 3429"/>
                <a:gd name="T25" fmla="*/ 630 h 3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897">
                  <a:moveTo>
                    <a:pt x="2521" y="630"/>
                  </a:moveTo>
                  <a:lnTo>
                    <a:pt x="2521" y="630"/>
                  </a:lnTo>
                  <a:cubicBezTo>
                    <a:pt x="2145" y="357"/>
                    <a:pt x="1132" y="0"/>
                    <a:pt x="565" y="420"/>
                  </a:cubicBezTo>
                  <a:lnTo>
                    <a:pt x="565" y="420"/>
                  </a:lnTo>
                  <a:cubicBezTo>
                    <a:pt x="0" y="837"/>
                    <a:pt x="549" y="1164"/>
                    <a:pt x="956" y="1212"/>
                  </a:cubicBezTo>
                  <a:lnTo>
                    <a:pt x="956" y="1212"/>
                  </a:lnTo>
                  <a:cubicBezTo>
                    <a:pt x="1537" y="1279"/>
                    <a:pt x="2414" y="1465"/>
                    <a:pt x="2718" y="2194"/>
                  </a:cubicBezTo>
                  <a:lnTo>
                    <a:pt x="2718" y="2194"/>
                  </a:lnTo>
                  <a:cubicBezTo>
                    <a:pt x="3125" y="3171"/>
                    <a:pt x="2790" y="3896"/>
                    <a:pt x="2866" y="3717"/>
                  </a:cubicBezTo>
                  <a:lnTo>
                    <a:pt x="2866" y="3717"/>
                  </a:lnTo>
                  <a:cubicBezTo>
                    <a:pt x="3078" y="3213"/>
                    <a:pt x="3308" y="2928"/>
                    <a:pt x="3368" y="2387"/>
                  </a:cubicBezTo>
                  <a:lnTo>
                    <a:pt x="3368" y="2387"/>
                  </a:lnTo>
                  <a:cubicBezTo>
                    <a:pt x="3428" y="1846"/>
                    <a:pt x="3043" y="1009"/>
                    <a:pt x="2521" y="630"/>
                  </a:cubicBezTo>
                </a:path>
              </a:pathLst>
            </a:custGeom>
            <a:solidFill>
              <a:schemeClr val="bg1">
                <a:lumMod val="95000"/>
              </a:schemeClr>
            </a:solidFill>
            <a:ln>
              <a:noFill/>
            </a:ln>
            <a:effectLst/>
          </p:spPr>
          <p:txBody>
            <a:bodyPr wrap="none" anchor="ctr"/>
            <a:lstStyle/>
            <a:p>
              <a:endParaRPr lang="en-US" sz="3266" dirty="0">
                <a:latin typeface="Lato Light" panose="020F0502020204030203" pitchFamily="34" charset="0"/>
              </a:endParaRPr>
            </a:p>
          </p:txBody>
        </p:sp>
        <p:sp>
          <p:nvSpPr>
            <p:cNvPr id="780" name="Freeform 779">
              <a:extLst>
                <a:ext uri="{FF2B5EF4-FFF2-40B4-BE49-F238E27FC236}">
                  <a16:creationId xmlns:a16="http://schemas.microsoft.com/office/drawing/2014/main" id="{9B5106E7-2871-1344-82CF-0CA69BA86D8F}"/>
                </a:ext>
              </a:extLst>
            </p:cNvPr>
            <p:cNvSpPr>
              <a:spLocks noChangeArrowheads="1"/>
            </p:cNvSpPr>
            <p:nvPr/>
          </p:nvSpPr>
          <p:spPr bwMode="auto">
            <a:xfrm>
              <a:off x="11380086" y="9235382"/>
              <a:ext cx="1734208" cy="608625"/>
            </a:xfrm>
            <a:custGeom>
              <a:avLst/>
              <a:gdLst>
                <a:gd name="connsiteX0" fmla="*/ 38809 w 1664161"/>
                <a:gd name="connsiteY0" fmla="*/ 443566 h 584042"/>
                <a:gd name="connsiteX1" fmla="*/ 1628884 w 1664161"/>
                <a:gd name="connsiteY1" fmla="*/ 443566 h 584042"/>
                <a:gd name="connsiteX2" fmla="*/ 1664161 w 1664161"/>
                <a:gd name="connsiteY2" fmla="*/ 481158 h 584042"/>
                <a:gd name="connsiteX3" fmla="*/ 1664161 w 1664161"/>
                <a:gd name="connsiteY3" fmla="*/ 546450 h 584042"/>
                <a:gd name="connsiteX4" fmla="*/ 1628884 w 1664161"/>
                <a:gd name="connsiteY4" fmla="*/ 584042 h 584042"/>
                <a:gd name="connsiteX5" fmla="*/ 38809 w 1664161"/>
                <a:gd name="connsiteY5" fmla="*/ 584042 h 584042"/>
                <a:gd name="connsiteX6" fmla="*/ 2879 w 1664161"/>
                <a:gd name="connsiteY6" fmla="*/ 546450 h 584042"/>
                <a:gd name="connsiteX7" fmla="*/ 2879 w 1664161"/>
                <a:gd name="connsiteY7" fmla="*/ 481158 h 584042"/>
                <a:gd name="connsiteX8" fmla="*/ 38809 w 1664161"/>
                <a:gd name="connsiteY8" fmla="*/ 443566 h 584042"/>
                <a:gd name="connsiteX9" fmla="*/ 35291 w 1664161"/>
                <a:gd name="connsiteY9" fmla="*/ 221785 h 584042"/>
                <a:gd name="connsiteX10" fmla="*/ 1625990 w 1664161"/>
                <a:gd name="connsiteY10" fmla="*/ 221785 h 584042"/>
                <a:gd name="connsiteX11" fmla="*/ 1661280 w 1664161"/>
                <a:gd name="connsiteY11" fmla="*/ 259377 h 584042"/>
                <a:gd name="connsiteX12" fmla="*/ 1661280 w 1664161"/>
                <a:gd name="connsiteY12" fmla="*/ 324668 h 584042"/>
                <a:gd name="connsiteX13" fmla="*/ 1625990 w 1664161"/>
                <a:gd name="connsiteY13" fmla="*/ 362259 h 584042"/>
                <a:gd name="connsiteX14" fmla="*/ 35291 w 1664161"/>
                <a:gd name="connsiteY14" fmla="*/ 362259 h 584042"/>
                <a:gd name="connsiteX15" fmla="*/ 0 w 1664161"/>
                <a:gd name="connsiteY15" fmla="*/ 324668 h 584042"/>
                <a:gd name="connsiteX16" fmla="*/ 0 w 1664161"/>
                <a:gd name="connsiteY16" fmla="*/ 259377 h 584042"/>
                <a:gd name="connsiteX17" fmla="*/ 35291 w 1664161"/>
                <a:gd name="connsiteY17" fmla="*/ 221785 h 584042"/>
                <a:gd name="connsiteX18" fmla="*/ 35291 w 1664161"/>
                <a:gd name="connsiteY18" fmla="*/ 0 h 584042"/>
                <a:gd name="connsiteX19" fmla="*/ 1625990 w 1664161"/>
                <a:gd name="connsiteY19" fmla="*/ 0 h 584042"/>
                <a:gd name="connsiteX20" fmla="*/ 1661280 w 1664161"/>
                <a:gd name="connsiteY20" fmla="*/ 37592 h 584042"/>
                <a:gd name="connsiteX21" fmla="*/ 1661280 w 1664161"/>
                <a:gd name="connsiteY21" fmla="*/ 102884 h 584042"/>
                <a:gd name="connsiteX22" fmla="*/ 1625990 w 1664161"/>
                <a:gd name="connsiteY22" fmla="*/ 140476 h 584042"/>
                <a:gd name="connsiteX23" fmla="*/ 35291 w 1664161"/>
                <a:gd name="connsiteY23" fmla="*/ 140476 h 584042"/>
                <a:gd name="connsiteX24" fmla="*/ 0 w 1664161"/>
                <a:gd name="connsiteY24" fmla="*/ 102884 h 584042"/>
                <a:gd name="connsiteX25" fmla="*/ 0 w 1664161"/>
                <a:gd name="connsiteY25" fmla="*/ 37592 h 584042"/>
                <a:gd name="connsiteX26" fmla="*/ 35291 w 1664161"/>
                <a:gd name="connsiteY26" fmla="*/ 0 h 584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64161" h="584042">
                  <a:moveTo>
                    <a:pt x="38809" y="443566"/>
                  </a:moveTo>
                  <a:lnTo>
                    <a:pt x="1628884" y="443566"/>
                  </a:lnTo>
                  <a:cubicBezTo>
                    <a:pt x="1648482" y="443566"/>
                    <a:pt x="1664161" y="460713"/>
                    <a:pt x="1664161" y="481158"/>
                  </a:cubicBezTo>
                  <a:lnTo>
                    <a:pt x="1664161" y="546450"/>
                  </a:lnTo>
                  <a:cubicBezTo>
                    <a:pt x="1664161" y="567555"/>
                    <a:pt x="1648482" y="584042"/>
                    <a:pt x="1628884" y="584042"/>
                  </a:cubicBezTo>
                  <a:lnTo>
                    <a:pt x="38809" y="584042"/>
                  </a:lnTo>
                  <a:cubicBezTo>
                    <a:pt x="19211" y="584042"/>
                    <a:pt x="2879" y="567555"/>
                    <a:pt x="2879" y="546450"/>
                  </a:cubicBezTo>
                  <a:lnTo>
                    <a:pt x="2879" y="481158"/>
                  </a:lnTo>
                  <a:cubicBezTo>
                    <a:pt x="2879" y="460713"/>
                    <a:pt x="19211" y="443566"/>
                    <a:pt x="38809" y="443566"/>
                  </a:cubicBezTo>
                  <a:close/>
                  <a:moveTo>
                    <a:pt x="35291" y="221785"/>
                  </a:moveTo>
                  <a:lnTo>
                    <a:pt x="1625990" y="221785"/>
                  </a:lnTo>
                  <a:cubicBezTo>
                    <a:pt x="1645596" y="221785"/>
                    <a:pt x="1661280" y="238932"/>
                    <a:pt x="1661280" y="259377"/>
                  </a:cubicBezTo>
                  <a:lnTo>
                    <a:pt x="1661280" y="324668"/>
                  </a:lnTo>
                  <a:cubicBezTo>
                    <a:pt x="1661280" y="345772"/>
                    <a:pt x="1645596" y="362259"/>
                    <a:pt x="1625990" y="362259"/>
                  </a:cubicBezTo>
                  <a:lnTo>
                    <a:pt x="35291" y="362259"/>
                  </a:lnTo>
                  <a:cubicBezTo>
                    <a:pt x="15685" y="362259"/>
                    <a:pt x="0" y="345772"/>
                    <a:pt x="0" y="324668"/>
                  </a:cubicBezTo>
                  <a:lnTo>
                    <a:pt x="0" y="259377"/>
                  </a:lnTo>
                  <a:cubicBezTo>
                    <a:pt x="0" y="238932"/>
                    <a:pt x="15685" y="221785"/>
                    <a:pt x="35291" y="221785"/>
                  </a:cubicBezTo>
                  <a:close/>
                  <a:moveTo>
                    <a:pt x="35291" y="0"/>
                  </a:moveTo>
                  <a:lnTo>
                    <a:pt x="1625990" y="0"/>
                  </a:lnTo>
                  <a:cubicBezTo>
                    <a:pt x="1645596" y="0"/>
                    <a:pt x="1661280" y="17147"/>
                    <a:pt x="1661280" y="37592"/>
                  </a:cubicBezTo>
                  <a:lnTo>
                    <a:pt x="1661280" y="102884"/>
                  </a:lnTo>
                  <a:cubicBezTo>
                    <a:pt x="1661280" y="123989"/>
                    <a:pt x="1645596" y="140476"/>
                    <a:pt x="1625990" y="140476"/>
                  </a:cubicBezTo>
                  <a:lnTo>
                    <a:pt x="35291" y="140476"/>
                  </a:lnTo>
                  <a:cubicBezTo>
                    <a:pt x="15685" y="140476"/>
                    <a:pt x="0" y="123989"/>
                    <a:pt x="0" y="102884"/>
                  </a:cubicBezTo>
                  <a:lnTo>
                    <a:pt x="0" y="37592"/>
                  </a:lnTo>
                  <a:cubicBezTo>
                    <a:pt x="0" y="17147"/>
                    <a:pt x="15685" y="0"/>
                    <a:pt x="35291" y="0"/>
                  </a:cubicBezTo>
                  <a:close/>
                </a:path>
              </a:pathLst>
            </a:custGeom>
            <a:solidFill>
              <a:schemeClr val="bg1">
                <a:lumMod val="75000"/>
              </a:schemeClr>
            </a:solidFill>
            <a:ln>
              <a:noFill/>
            </a:ln>
            <a:effectLst/>
          </p:spPr>
          <p:txBody>
            <a:bodyPr wrap="square" anchor="ctr">
              <a:noAutofit/>
            </a:bodyPr>
            <a:lstStyle/>
            <a:p>
              <a:endParaRPr lang="en-US" sz="3266" dirty="0">
                <a:latin typeface="Lato Light" panose="020F0502020204030203" pitchFamily="34" charset="0"/>
              </a:endParaRPr>
            </a:p>
          </p:txBody>
        </p:sp>
      </p:grpSp>
      <p:grpSp>
        <p:nvGrpSpPr>
          <p:cNvPr id="8" name="Group 7">
            <a:extLst>
              <a:ext uri="{FF2B5EF4-FFF2-40B4-BE49-F238E27FC236}">
                <a16:creationId xmlns:a16="http://schemas.microsoft.com/office/drawing/2014/main" id="{5E54C2F0-694B-AA40-B259-0B5349B7DB9F}"/>
              </a:ext>
            </a:extLst>
          </p:cNvPr>
          <p:cNvGrpSpPr/>
          <p:nvPr/>
        </p:nvGrpSpPr>
        <p:grpSpPr>
          <a:xfrm>
            <a:off x="3260682" y="4098783"/>
            <a:ext cx="1076175" cy="1032012"/>
            <a:chOff x="6518189" y="8197565"/>
            <a:chExt cx="2152349" cy="2064024"/>
          </a:xfrm>
        </p:grpSpPr>
        <p:sp>
          <p:nvSpPr>
            <p:cNvPr id="4" name="TextBox 3">
              <a:extLst>
                <a:ext uri="{FF2B5EF4-FFF2-40B4-BE49-F238E27FC236}">
                  <a16:creationId xmlns:a16="http://schemas.microsoft.com/office/drawing/2014/main" id="{4A495FAF-5D62-0045-AC0A-158D503AEA15}"/>
                </a:ext>
              </a:extLst>
            </p:cNvPr>
            <p:cNvSpPr txBox="1"/>
            <p:nvPr/>
          </p:nvSpPr>
          <p:spPr>
            <a:xfrm>
              <a:off x="7248219" y="8197565"/>
              <a:ext cx="678390" cy="769442"/>
            </a:xfrm>
            <a:prstGeom prst="rect">
              <a:avLst/>
            </a:prstGeom>
            <a:noFill/>
          </p:spPr>
          <p:txBody>
            <a:bodyPr wrap="none" lIns="45720" tIns="22860" rIns="45720" bIns="22860" rtlCol="0">
              <a:spAutoFit/>
            </a:bodyPr>
            <a:lstStyle/>
            <a:p>
              <a:pPr algn="ctr"/>
              <a:r>
                <a:rPr lang="en-US" sz="2200" b="1" dirty="0">
                  <a:solidFill>
                    <a:schemeClr val="bg1"/>
                  </a:solidFill>
                  <a:latin typeface="Segoe UI Light" panose="020B0502040204020203" pitchFamily="34" charset="0"/>
                  <a:cs typeface="Poppins" pitchFamily="2" charset="77"/>
                </a:rPr>
                <a:t>01</a:t>
              </a:r>
            </a:p>
          </p:txBody>
        </p:sp>
        <p:sp>
          <p:nvSpPr>
            <p:cNvPr id="789" name="Subtitle 2">
              <a:extLst>
                <a:ext uri="{FF2B5EF4-FFF2-40B4-BE49-F238E27FC236}">
                  <a16:creationId xmlns:a16="http://schemas.microsoft.com/office/drawing/2014/main" id="{57FF862F-AF90-D043-BC03-30760DEEF787}"/>
                </a:ext>
              </a:extLst>
            </p:cNvPr>
            <p:cNvSpPr txBox="1">
              <a:spLocks/>
            </p:cNvSpPr>
            <p:nvPr/>
          </p:nvSpPr>
          <p:spPr>
            <a:xfrm>
              <a:off x="6518189" y="9430593"/>
              <a:ext cx="2152349" cy="830996"/>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8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791" name="TextBox 790">
              <a:extLst>
                <a:ext uri="{FF2B5EF4-FFF2-40B4-BE49-F238E27FC236}">
                  <a16:creationId xmlns:a16="http://schemas.microsoft.com/office/drawing/2014/main" id="{362FB521-EBC7-B344-8615-1981DEF453B0}"/>
                </a:ext>
              </a:extLst>
            </p:cNvPr>
            <p:cNvSpPr txBox="1"/>
            <p:nvPr/>
          </p:nvSpPr>
          <p:spPr>
            <a:xfrm>
              <a:off x="6518189" y="9021007"/>
              <a:ext cx="1648529" cy="492442"/>
            </a:xfrm>
            <a:prstGeom prst="rect">
              <a:avLst/>
            </a:prstGeom>
            <a:noFill/>
          </p:spPr>
          <p:txBody>
            <a:bodyPr wrap="none" rtlCol="0" anchor="ctr" anchorCtr="0">
              <a:spAutoFit/>
            </a:bodyPr>
            <a:lstStyle/>
            <a:p>
              <a:r>
                <a:rPr lang="en-US" sz="1000" b="1" dirty="0">
                  <a:solidFill>
                    <a:schemeClr val="bg1"/>
                  </a:solidFill>
                  <a:latin typeface="Segoe UI Light" panose="020B0502040204020203" pitchFamily="34" charset="0"/>
                  <a:ea typeface="League Spartan" charset="0"/>
                  <a:cs typeface="Poppins" pitchFamily="2" charset="77"/>
                </a:rPr>
                <a:t>YOUR TITLE</a:t>
              </a:r>
            </a:p>
          </p:txBody>
        </p:sp>
        <p:cxnSp>
          <p:nvCxnSpPr>
            <p:cNvPr id="7" name="Straight Connector 6">
              <a:extLst>
                <a:ext uri="{FF2B5EF4-FFF2-40B4-BE49-F238E27FC236}">
                  <a16:creationId xmlns:a16="http://schemas.microsoft.com/office/drawing/2014/main" id="{FCD8C1F8-9D7E-B746-BA14-DC1660C3C91D}"/>
                </a:ext>
              </a:extLst>
            </p:cNvPr>
            <p:cNvCxnSpPr/>
            <p:nvPr/>
          </p:nvCxnSpPr>
          <p:spPr>
            <a:xfrm>
              <a:off x="6607763" y="8951979"/>
              <a:ext cx="184099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795" name="Group 794">
            <a:extLst>
              <a:ext uri="{FF2B5EF4-FFF2-40B4-BE49-F238E27FC236}">
                <a16:creationId xmlns:a16="http://schemas.microsoft.com/office/drawing/2014/main" id="{D4284EFE-3D1F-6846-898A-1B188DAAE949}"/>
              </a:ext>
            </a:extLst>
          </p:cNvPr>
          <p:cNvGrpSpPr/>
          <p:nvPr/>
        </p:nvGrpSpPr>
        <p:grpSpPr>
          <a:xfrm>
            <a:off x="3188147" y="2194708"/>
            <a:ext cx="1076175" cy="1032012"/>
            <a:chOff x="6518189" y="8197565"/>
            <a:chExt cx="2152349" cy="2064024"/>
          </a:xfrm>
        </p:grpSpPr>
        <p:sp>
          <p:nvSpPr>
            <p:cNvPr id="796" name="TextBox 795">
              <a:extLst>
                <a:ext uri="{FF2B5EF4-FFF2-40B4-BE49-F238E27FC236}">
                  <a16:creationId xmlns:a16="http://schemas.microsoft.com/office/drawing/2014/main" id="{D8B1427F-3321-3A47-90CB-FF3645F647E6}"/>
                </a:ext>
              </a:extLst>
            </p:cNvPr>
            <p:cNvSpPr txBox="1"/>
            <p:nvPr/>
          </p:nvSpPr>
          <p:spPr>
            <a:xfrm>
              <a:off x="7203335" y="8197565"/>
              <a:ext cx="768160" cy="769442"/>
            </a:xfrm>
            <a:prstGeom prst="rect">
              <a:avLst/>
            </a:prstGeom>
            <a:noFill/>
          </p:spPr>
          <p:txBody>
            <a:bodyPr wrap="none" lIns="45720" tIns="22860" rIns="45720" bIns="22860" rtlCol="0">
              <a:spAutoFit/>
            </a:bodyPr>
            <a:lstStyle/>
            <a:p>
              <a:pPr algn="ctr"/>
              <a:r>
                <a:rPr lang="en-US" sz="2200" b="1" dirty="0">
                  <a:solidFill>
                    <a:schemeClr val="bg1"/>
                  </a:solidFill>
                  <a:latin typeface="Segoe UI Light" panose="020B0502040204020203" pitchFamily="34" charset="0"/>
                  <a:cs typeface="Poppins" pitchFamily="2" charset="77"/>
                </a:rPr>
                <a:t>02</a:t>
              </a:r>
            </a:p>
          </p:txBody>
        </p:sp>
        <p:sp>
          <p:nvSpPr>
            <p:cNvPr id="797" name="Subtitle 2">
              <a:extLst>
                <a:ext uri="{FF2B5EF4-FFF2-40B4-BE49-F238E27FC236}">
                  <a16:creationId xmlns:a16="http://schemas.microsoft.com/office/drawing/2014/main" id="{6070C4B6-3146-0C40-A6B8-9D30FA5C3D91}"/>
                </a:ext>
              </a:extLst>
            </p:cNvPr>
            <p:cNvSpPr txBox="1">
              <a:spLocks/>
            </p:cNvSpPr>
            <p:nvPr/>
          </p:nvSpPr>
          <p:spPr>
            <a:xfrm>
              <a:off x="6518189" y="9430593"/>
              <a:ext cx="2152349" cy="830996"/>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8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798" name="TextBox 797">
              <a:extLst>
                <a:ext uri="{FF2B5EF4-FFF2-40B4-BE49-F238E27FC236}">
                  <a16:creationId xmlns:a16="http://schemas.microsoft.com/office/drawing/2014/main" id="{419A36DB-4987-4844-A3F5-89639E1C5C49}"/>
                </a:ext>
              </a:extLst>
            </p:cNvPr>
            <p:cNvSpPr txBox="1"/>
            <p:nvPr/>
          </p:nvSpPr>
          <p:spPr>
            <a:xfrm>
              <a:off x="6518189" y="9021007"/>
              <a:ext cx="1648529" cy="492442"/>
            </a:xfrm>
            <a:prstGeom prst="rect">
              <a:avLst/>
            </a:prstGeom>
            <a:noFill/>
          </p:spPr>
          <p:txBody>
            <a:bodyPr wrap="none" rtlCol="0" anchor="ctr" anchorCtr="0">
              <a:spAutoFit/>
            </a:bodyPr>
            <a:lstStyle/>
            <a:p>
              <a:r>
                <a:rPr lang="en-US" sz="1000" b="1" dirty="0">
                  <a:solidFill>
                    <a:schemeClr val="bg1"/>
                  </a:solidFill>
                  <a:latin typeface="Segoe UI Light" panose="020B0502040204020203" pitchFamily="34" charset="0"/>
                  <a:ea typeface="League Spartan" charset="0"/>
                  <a:cs typeface="Poppins" pitchFamily="2" charset="77"/>
                </a:rPr>
                <a:t>YOUR TITLE</a:t>
              </a:r>
            </a:p>
          </p:txBody>
        </p:sp>
        <p:cxnSp>
          <p:nvCxnSpPr>
            <p:cNvPr id="799" name="Straight Connector 798">
              <a:extLst>
                <a:ext uri="{FF2B5EF4-FFF2-40B4-BE49-F238E27FC236}">
                  <a16:creationId xmlns:a16="http://schemas.microsoft.com/office/drawing/2014/main" id="{940A2C4D-3C17-6941-B94F-3896A51F029C}"/>
                </a:ext>
              </a:extLst>
            </p:cNvPr>
            <p:cNvCxnSpPr/>
            <p:nvPr/>
          </p:nvCxnSpPr>
          <p:spPr>
            <a:xfrm>
              <a:off x="6607763" y="8951979"/>
              <a:ext cx="184099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00" name="Group 799">
            <a:extLst>
              <a:ext uri="{FF2B5EF4-FFF2-40B4-BE49-F238E27FC236}">
                <a16:creationId xmlns:a16="http://schemas.microsoft.com/office/drawing/2014/main" id="{8037B3B0-E7FC-9142-90F2-551ECB7FC688}"/>
              </a:ext>
            </a:extLst>
          </p:cNvPr>
          <p:cNvGrpSpPr/>
          <p:nvPr/>
        </p:nvGrpSpPr>
        <p:grpSpPr>
          <a:xfrm>
            <a:off x="4638995" y="731668"/>
            <a:ext cx="1076175" cy="1032012"/>
            <a:chOff x="6518189" y="8197565"/>
            <a:chExt cx="2152349" cy="2064024"/>
          </a:xfrm>
        </p:grpSpPr>
        <p:sp>
          <p:nvSpPr>
            <p:cNvPr id="801" name="TextBox 800">
              <a:extLst>
                <a:ext uri="{FF2B5EF4-FFF2-40B4-BE49-F238E27FC236}">
                  <a16:creationId xmlns:a16="http://schemas.microsoft.com/office/drawing/2014/main" id="{8876887E-C24F-2743-A601-C2730435DA63}"/>
                </a:ext>
              </a:extLst>
            </p:cNvPr>
            <p:cNvSpPr txBox="1"/>
            <p:nvPr/>
          </p:nvSpPr>
          <p:spPr>
            <a:xfrm>
              <a:off x="7203335" y="8197565"/>
              <a:ext cx="768160" cy="769442"/>
            </a:xfrm>
            <a:prstGeom prst="rect">
              <a:avLst/>
            </a:prstGeom>
            <a:noFill/>
          </p:spPr>
          <p:txBody>
            <a:bodyPr wrap="none" lIns="45720" tIns="22860" rIns="45720" bIns="22860" rtlCol="0">
              <a:spAutoFit/>
            </a:bodyPr>
            <a:lstStyle/>
            <a:p>
              <a:pPr algn="ctr"/>
              <a:r>
                <a:rPr lang="en-US" sz="2200" b="1" dirty="0">
                  <a:solidFill>
                    <a:schemeClr val="bg1"/>
                  </a:solidFill>
                  <a:latin typeface="Segoe UI Light" panose="020B0502040204020203" pitchFamily="34" charset="0"/>
                  <a:cs typeface="Poppins" pitchFamily="2" charset="77"/>
                </a:rPr>
                <a:t>03</a:t>
              </a:r>
            </a:p>
          </p:txBody>
        </p:sp>
        <p:sp>
          <p:nvSpPr>
            <p:cNvPr id="802" name="Subtitle 2">
              <a:extLst>
                <a:ext uri="{FF2B5EF4-FFF2-40B4-BE49-F238E27FC236}">
                  <a16:creationId xmlns:a16="http://schemas.microsoft.com/office/drawing/2014/main" id="{3F5F8DDB-1FDB-C14B-B839-C63970B8069A}"/>
                </a:ext>
              </a:extLst>
            </p:cNvPr>
            <p:cNvSpPr txBox="1">
              <a:spLocks/>
            </p:cNvSpPr>
            <p:nvPr/>
          </p:nvSpPr>
          <p:spPr>
            <a:xfrm>
              <a:off x="6518189" y="9430593"/>
              <a:ext cx="2152349" cy="830996"/>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8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803" name="TextBox 802">
              <a:extLst>
                <a:ext uri="{FF2B5EF4-FFF2-40B4-BE49-F238E27FC236}">
                  <a16:creationId xmlns:a16="http://schemas.microsoft.com/office/drawing/2014/main" id="{DDF11872-F6F7-0247-8D78-6008B6790F1D}"/>
                </a:ext>
              </a:extLst>
            </p:cNvPr>
            <p:cNvSpPr txBox="1"/>
            <p:nvPr/>
          </p:nvSpPr>
          <p:spPr>
            <a:xfrm>
              <a:off x="6518189" y="9021007"/>
              <a:ext cx="1648529" cy="492442"/>
            </a:xfrm>
            <a:prstGeom prst="rect">
              <a:avLst/>
            </a:prstGeom>
            <a:noFill/>
          </p:spPr>
          <p:txBody>
            <a:bodyPr wrap="none" rtlCol="0" anchor="ctr" anchorCtr="0">
              <a:spAutoFit/>
            </a:bodyPr>
            <a:lstStyle/>
            <a:p>
              <a:r>
                <a:rPr lang="en-US" sz="1000" b="1" dirty="0">
                  <a:solidFill>
                    <a:schemeClr val="bg1"/>
                  </a:solidFill>
                  <a:latin typeface="Segoe UI Light" panose="020B0502040204020203" pitchFamily="34" charset="0"/>
                  <a:ea typeface="League Spartan" charset="0"/>
                  <a:cs typeface="Poppins" pitchFamily="2" charset="77"/>
                </a:rPr>
                <a:t>YOUR TITLE</a:t>
              </a:r>
            </a:p>
          </p:txBody>
        </p:sp>
        <p:cxnSp>
          <p:nvCxnSpPr>
            <p:cNvPr id="804" name="Straight Connector 803">
              <a:extLst>
                <a:ext uri="{FF2B5EF4-FFF2-40B4-BE49-F238E27FC236}">
                  <a16:creationId xmlns:a16="http://schemas.microsoft.com/office/drawing/2014/main" id="{DAF3CDAA-8900-7D4E-95E0-2650FE225CC6}"/>
                </a:ext>
              </a:extLst>
            </p:cNvPr>
            <p:cNvCxnSpPr/>
            <p:nvPr/>
          </p:nvCxnSpPr>
          <p:spPr>
            <a:xfrm>
              <a:off x="6607763" y="8951979"/>
              <a:ext cx="184099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05" name="Group 804">
            <a:extLst>
              <a:ext uri="{FF2B5EF4-FFF2-40B4-BE49-F238E27FC236}">
                <a16:creationId xmlns:a16="http://schemas.microsoft.com/office/drawing/2014/main" id="{3CBB6120-141F-5B4E-A73E-D51761018D58}"/>
              </a:ext>
            </a:extLst>
          </p:cNvPr>
          <p:cNvGrpSpPr/>
          <p:nvPr/>
        </p:nvGrpSpPr>
        <p:grpSpPr>
          <a:xfrm>
            <a:off x="6603643" y="731668"/>
            <a:ext cx="1076175" cy="1032012"/>
            <a:chOff x="6518189" y="8197565"/>
            <a:chExt cx="2152349" cy="2064024"/>
          </a:xfrm>
        </p:grpSpPr>
        <p:sp>
          <p:nvSpPr>
            <p:cNvPr id="806" name="TextBox 805">
              <a:extLst>
                <a:ext uri="{FF2B5EF4-FFF2-40B4-BE49-F238E27FC236}">
                  <a16:creationId xmlns:a16="http://schemas.microsoft.com/office/drawing/2014/main" id="{23C711EB-2757-B84A-B353-64B832C10E74}"/>
                </a:ext>
              </a:extLst>
            </p:cNvPr>
            <p:cNvSpPr txBox="1"/>
            <p:nvPr/>
          </p:nvSpPr>
          <p:spPr>
            <a:xfrm>
              <a:off x="7198527" y="8197565"/>
              <a:ext cx="777778" cy="769442"/>
            </a:xfrm>
            <a:prstGeom prst="rect">
              <a:avLst/>
            </a:prstGeom>
            <a:noFill/>
          </p:spPr>
          <p:txBody>
            <a:bodyPr wrap="none" lIns="45720" tIns="22860" rIns="45720" bIns="22860" rtlCol="0">
              <a:spAutoFit/>
            </a:bodyPr>
            <a:lstStyle/>
            <a:p>
              <a:pPr algn="ctr"/>
              <a:r>
                <a:rPr lang="en-US" sz="2200" b="1" dirty="0">
                  <a:solidFill>
                    <a:schemeClr val="bg1"/>
                  </a:solidFill>
                  <a:latin typeface="Segoe UI Light" panose="020B0502040204020203" pitchFamily="34" charset="0"/>
                  <a:cs typeface="Poppins" pitchFamily="2" charset="77"/>
                </a:rPr>
                <a:t>04</a:t>
              </a:r>
            </a:p>
          </p:txBody>
        </p:sp>
        <p:sp>
          <p:nvSpPr>
            <p:cNvPr id="807" name="Subtitle 2">
              <a:extLst>
                <a:ext uri="{FF2B5EF4-FFF2-40B4-BE49-F238E27FC236}">
                  <a16:creationId xmlns:a16="http://schemas.microsoft.com/office/drawing/2014/main" id="{9170FEC8-DA4E-E044-A6D7-DC6089277E7C}"/>
                </a:ext>
              </a:extLst>
            </p:cNvPr>
            <p:cNvSpPr txBox="1">
              <a:spLocks/>
            </p:cNvSpPr>
            <p:nvPr/>
          </p:nvSpPr>
          <p:spPr>
            <a:xfrm>
              <a:off x="6518189" y="9430593"/>
              <a:ext cx="2152349" cy="830996"/>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8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808" name="TextBox 807">
              <a:extLst>
                <a:ext uri="{FF2B5EF4-FFF2-40B4-BE49-F238E27FC236}">
                  <a16:creationId xmlns:a16="http://schemas.microsoft.com/office/drawing/2014/main" id="{A1E06ED9-195E-FD4D-A602-53916FFB6A7A}"/>
                </a:ext>
              </a:extLst>
            </p:cNvPr>
            <p:cNvSpPr txBox="1"/>
            <p:nvPr/>
          </p:nvSpPr>
          <p:spPr>
            <a:xfrm>
              <a:off x="6518189" y="9021007"/>
              <a:ext cx="1648529" cy="492442"/>
            </a:xfrm>
            <a:prstGeom prst="rect">
              <a:avLst/>
            </a:prstGeom>
            <a:noFill/>
          </p:spPr>
          <p:txBody>
            <a:bodyPr wrap="none" rtlCol="0" anchor="ctr" anchorCtr="0">
              <a:spAutoFit/>
            </a:bodyPr>
            <a:lstStyle/>
            <a:p>
              <a:r>
                <a:rPr lang="en-US" sz="1000" b="1" dirty="0">
                  <a:solidFill>
                    <a:schemeClr val="bg1"/>
                  </a:solidFill>
                  <a:latin typeface="Segoe UI Light" panose="020B0502040204020203" pitchFamily="34" charset="0"/>
                  <a:ea typeface="League Spartan" charset="0"/>
                  <a:cs typeface="Poppins" pitchFamily="2" charset="77"/>
                </a:rPr>
                <a:t>YOUR TITLE</a:t>
              </a:r>
            </a:p>
          </p:txBody>
        </p:sp>
        <p:cxnSp>
          <p:nvCxnSpPr>
            <p:cNvPr id="809" name="Straight Connector 808">
              <a:extLst>
                <a:ext uri="{FF2B5EF4-FFF2-40B4-BE49-F238E27FC236}">
                  <a16:creationId xmlns:a16="http://schemas.microsoft.com/office/drawing/2014/main" id="{9E2D5F3A-7F0F-1C4D-B4F2-5EF51912BBFC}"/>
                </a:ext>
              </a:extLst>
            </p:cNvPr>
            <p:cNvCxnSpPr/>
            <p:nvPr/>
          </p:nvCxnSpPr>
          <p:spPr>
            <a:xfrm>
              <a:off x="6607763" y="8951979"/>
              <a:ext cx="184099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10" name="Group 809">
            <a:extLst>
              <a:ext uri="{FF2B5EF4-FFF2-40B4-BE49-F238E27FC236}">
                <a16:creationId xmlns:a16="http://schemas.microsoft.com/office/drawing/2014/main" id="{272C7477-D1D0-F246-9681-93A5427B0BC8}"/>
              </a:ext>
            </a:extLst>
          </p:cNvPr>
          <p:cNvGrpSpPr/>
          <p:nvPr/>
        </p:nvGrpSpPr>
        <p:grpSpPr>
          <a:xfrm>
            <a:off x="8010575" y="2194708"/>
            <a:ext cx="1076175" cy="1032012"/>
            <a:chOff x="6518189" y="8197565"/>
            <a:chExt cx="2152349" cy="2064024"/>
          </a:xfrm>
        </p:grpSpPr>
        <p:sp>
          <p:nvSpPr>
            <p:cNvPr id="811" name="TextBox 810">
              <a:extLst>
                <a:ext uri="{FF2B5EF4-FFF2-40B4-BE49-F238E27FC236}">
                  <a16:creationId xmlns:a16="http://schemas.microsoft.com/office/drawing/2014/main" id="{2216BBEA-15F6-8945-83C7-8C1572E7D815}"/>
                </a:ext>
              </a:extLst>
            </p:cNvPr>
            <p:cNvSpPr txBox="1"/>
            <p:nvPr/>
          </p:nvSpPr>
          <p:spPr>
            <a:xfrm>
              <a:off x="7203335" y="8197565"/>
              <a:ext cx="768160" cy="769442"/>
            </a:xfrm>
            <a:prstGeom prst="rect">
              <a:avLst/>
            </a:prstGeom>
            <a:noFill/>
          </p:spPr>
          <p:txBody>
            <a:bodyPr wrap="none" lIns="45720" tIns="22860" rIns="45720" bIns="22860" rtlCol="0">
              <a:spAutoFit/>
            </a:bodyPr>
            <a:lstStyle/>
            <a:p>
              <a:pPr algn="ctr"/>
              <a:r>
                <a:rPr lang="en-US" sz="2200" b="1" dirty="0">
                  <a:solidFill>
                    <a:schemeClr val="bg1"/>
                  </a:solidFill>
                  <a:latin typeface="Segoe UI Light" panose="020B0502040204020203" pitchFamily="34" charset="0"/>
                  <a:cs typeface="Poppins" pitchFamily="2" charset="77"/>
                </a:rPr>
                <a:t>05</a:t>
              </a:r>
            </a:p>
          </p:txBody>
        </p:sp>
        <p:sp>
          <p:nvSpPr>
            <p:cNvPr id="812" name="Subtitle 2">
              <a:extLst>
                <a:ext uri="{FF2B5EF4-FFF2-40B4-BE49-F238E27FC236}">
                  <a16:creationId xmlns:a16="http://schemas.microsoft.com/office/drawing/2014/main" id="{A6482032-6BBE-EB4E-AC34-12839BA7ED07}"/>
                </a:ext>
              </a:extLst>
            </p:cNvPr>
            <p:cNvSpPr txBox="1">
              <a:spLocks/>
            </p:cNvSpPr>
            <p:nvPr/>
          </p:nvSpPr>
          <p:spPr>
            <a:xfrm>
              <a:off x="6518189" y="9430593"/>
              <a:ext cx="2152349" cy="830996"/>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8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813" name="TextBox 812">
              <a:extLst>
                <a:ext uri="{FF2B5EF4-FFF2-40B4-BE49-F238E27FC236}">
                  <a16:creationId xmlns:a16="http://schemas.microsoft.com/office/drawing/2014/main" id="{003888AB-A9BB-A64F-8AA8-B076FA9DF5A4}"/>
                </a:ext>
              </a:extLst>
            </p:cNvPr>
            <p:cNvSpPr txBox="1"/>
            <p:nvPr/>
          </p:nvSpPr>
          <p:spPr>
            <a:xfrm>
              <a:off x="6518189" y="9021007"/>
              <a:ext cx="1648529" cy="492442"/>
            </a:xfrm>
            <a:prstGeom prst="rect">
              <a:avLst/>
            </a:prstGeom>
            <a:noFill/>
          </p:spPr>
          <p:txBody>
            <a:bodyPr wrap="none" rtlCol="0" anchor="ctr" anchorCtr="0">
              <a:spAutoFit/>
            </a:bodyPr>
            <a:lstStyle/>
            <a:p>
              <a:r>
                <a:rPr lang="en-US" sz="1000" b="1" dirty="0">
                  <a:solidFill>
                    <a:schemeClr val="bg1"/>
                  </a:solidFill>
                  <a:latin typeface="Segoe UI Light" panose="020B0502040204020203" pitchFamily="34" charset="0"/>
                  <a:ea typeface="League Spartan" charset="0"/>
                  <a:cs typeface="Poppins" pitchFamily="2" charset="77"/>
                </a:rPr>
                <a:t>YOUR TITLE</a:t>
              </a:r>
            </a:p>
          </p:txBody>
        </p:sp>
        <p:cxnSp>
          <p:nvCxnSpPr>
            <p:cNvPr id="814" name="Straight Connector 813">
              <a:extLst>
                <a:ext uri="{FF2B5EF4-FFF2-40B4-BE49-F238E27FC236}">
                  <a16:creationId xmlns:a16="http://schemas.microsoft.com/office/drawing/2014/main" id="{EBDD54FC-36EC-974C-BEB4-F94FD73F56EC}"/>
                </a:ext>
              </a:extLst>
            </p:cNvPr>
            <p:cNvCxnSpPr/>
            <p:nvPr/>
          </p:nvCxnSpPr>
          <p:spPr>
            <a:xfrm>
              <a:off x="6607763" y="8951979"/>
              <a:ext cx="184099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15" name="Group 814">
            <a:extLst>
              <a:ext uri="{FF2B5EF4-FFF2-40B4-BE49-F238E27FC236}">
                <a16:creationId xmlns:a16="http://schemas.microsoft.com/office/drawing/2014/main" id="{50B1FD4B-B2E1-DF4E-902F-351A5E0A5002}"/>
              </a:ext>
            </a:extLst>
          </p:cNvPr>
          <p:cNvGrpSpPr/>
          <p:nvPr/>
        </p:nvGrpSpPr>
        <p:grpSpPr>
          <a:xfrm>
            <a:off x="7871486" y="4098783"/>
            <a:ext cx="1076175" cy="1032012"/>
            <a:chOff x="6518189" y="8197565"/>
            <a:chExt cx="2152349" cy="2064024"/>
          </a:xfrm>
        </p:grpSpPr>
        <p:sp>
          <p:nvSpPr>
            <p:cNvPr id="816" name="TextBox 815">
              <a:extLst>
                <a:ext uri="{FF2B5EF4-FFF2-40B4-BE49-F238E27FC236}">
                  <a16:creationId xmlns:a16="http://schemas.microsoft.com/office/drawing/2014/main" id="{F5FE790D-D8F4-224B-A2B2-30698AA715C8}"/>
                </a:ext>
              </a:extLst>
            </p:cNvPr>
            <p:cNvSpPr txBox="1"/>
            <p:nvPr/>
          </p:nvSpPr>
          <p:spPr>
            <a:xfrm>
              <a:off x="7203335" y="8197565"/>
              <a:ext cx="768160" cy="769442"/>
            </a:xfrm>
            <a:prstGeom prst="rect">
              <a:avLst/>
            </a:prstGeom>
            <a:noFill/>
          </p:spPr>
          <p:txBody>
            <a:bodyPr wrap="none" lIns="45720" tIns="22860" rIns="45720" bIns="22860" rtlCol="0">
              <a:spAutoFit/>
            </a:bodyPr>
            <a:lstStyle/>
            <a:p>
              <a:pPr algn="ctr"/>
              <a:r>
                <a:rPr lang="en-US" sz="2200" b="1" dirty="0">
                  <a:solidFill>
                    <a:schemeClr val="bg1"/>
                  </a:solidFill>
                  <a:latin typeface="Segoe UI Light" panose="020B0502040204020203" pitchFamily="34" charset="0"/>
                  <a:cs typeface="Poppins" pitchFamily="2" charset="77"/>
                </a:rPr>
                <a:t>06</a:t>
              </a:r>
            </a:p>
          </p:txBody>
        </p:sp>
        <p:sp>
          <p:nvSpPr>
            <p:cNvPr id="817" name="Subtitle 2">
              <a:extLst>
                <a:ext uri="{FF2B5EF4-FFF2-40B4-BE49-F238E27FC236}">
                  <a16:creationId xmlns:a16="http://schemas.microsoft.com/office/drawing/2014/main" id="{41E96E01-7D78-0544-B440-3073E0A1F586}"/>
                </a:ext>
              </a:extLst>
            </p:cNvPr>
            <p:cNvSpPr txBox="1">
              <a:spLocks/>
            </p:cNvSpPr>
            <p:nvPr/>
          </p:nvSpPr>
          <p:spPr>
            <a:xfrm>
              <a:off x="6518189" y="9430593"/>
              <a:ext cx="2152349" cy="830996"/>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800" dirty="0">
                  <a:solidFill>
                    <a:schemeClr val="bg1"/>
                  </a:solidFill>
                  <a:latin typeface="Segoe UI Light" panose="020B0502040204020203" pitchFamily="34" charset="0"/>
                  <a:ea typeface="Lato Light" panose="020F0502020204030203" pitchFamily="34" charset="0"/>
                  <a:cs typeface="Mukta ExtraLight" panose="020B0000000000000000" pitchFamily="34" charset="77"/>
                </a:rPr>
                <a:t>Lorem ipsum dolor sit amet, consectetuer adipiscing elit.</a:t>
              </a:r>
            </a:p>
          </p:txBody>
        </p:sp>
        <p:sp>
          <p:nvSpPr>
            <p:cNvPr id="818" name="TextBox 817">
              <a:extLst>
                <a:ext uri="{FF2B5EF4-FFF2-40B4-BE49-F238E27FC236}">
                  <a16:creationId xmlns:a16="http://schemas.microsoft.com/office/drawing/2014/main" id="{0D8AE676-8E52-3142-B8E2-8EB2B3869302}"/>
                </a:ext>
              </a:extLst>
            </p:cNvPr>
            <p:cNvSpPr txBox="1"/>
            <p:nvPr/>
          </p:nvSpPr>
          <p:spPr>
            <a:xfrm>
              <a:off x="6518189" y="9021007"/>
              <a:ext cx="1648529" cy="492442"/>
            </a:xfrm>
            <a:prstGeom prst="rect">
              <a:avLst/>
            </a:prstGeom>
            <a:noFill/>
          </p:spPr>
          <p:txBody>
            <a:bodyPr wrap="none" rtlCol="0" anchor="ctr" anchorCtr="0">
              <a:spAutoFit/>
            </a:bodyPr>
            <a:lstStyle/>
            <a:p>
              <a:r>
                <a:rPr lang="en-US" sz="1000" b="1" dirty="0">
                  <a:solidFill>
                    <a:schemeClr val="bg1"/>
                  </a:solidFill>
                  <a:latin typeface="Segoe UI Light" panose="020B0502040204020203" pitchFamily="34" charset="0"/>
                  <a:ea typeface="League Spartan" charset="0"/>
                  <a:cs typeface="Poppins" pitchFamily="2" charset="77"/>
                </a:rPr>
                <a:t>YOUR TITLE</a:t>
              </a:r>
            </a:p>
          </p:txBody>
        </p:sp>
        <p:cxnSp>
          <p:nvCxnSpPr>
            <p:cNvPr id="819" name="Straight Connector 818">
              <a:extLst>
                <a:ext uri="{FF2B5EF4-FFF2-40B4-BE49-F238E27FC236}">
                  <a16:creationId xmlns:a16="http://schemas.microsoft.com/office/drawing/2014/main" id="{DB6B9752-69E2-6C49-8C66-D040378F552D}"/>
                </a:ext>
              </a:extLst>
            </p:cNvPr>
            <p:cNvCxnSpPr/>
            <p:nvPr/>
          </p:nvCxnSpPr>
          <p:spPr>
            <a:xfrm>
              <a:off x="6607763" y="8951979"/>
              <a:ext cx="184099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950188511"/>
      </p:ext>
    </p:extLst>
  </p:cSld>
  <p:clrMapOvr>
    <a:masterClrMapping/>
  </p:clrMapOvr>
  <mc:AlternateContent xmlns:mc="http://schemas.openxmlformats.org/markup-compatibility/2006" xmlns:p14="http://schemas.microsoft.com/office/powerpoint/2010/main">
    <mc:Choice Requires="p14">
      <p:transition spd="med">
        <p14:pan/>
      </p:transition>
    </mc:Choice>
    <mc:Fallback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Technology">
            <a:extLst>
              <a:ext uri="{FF2B5EF4-FFF2-40B4-BE49-F238E27FC236}">
                <a16:creationId xmlns:a16="http://schemas.microsoft.com/office/drawing/2014/main" id="{B622A80F-C853-4D69-949B-1ED6B34AB935}"/>
              </a:ext>
            </a:extLst>
          </p:cNvPr>
          <p:cNvPicPr>
            <a:picLocks noGrp="1" noChangeAspect="1"/>
          </p:cNvPicPr>
          <p:nvPr>
            <p:ph type="pic" sz="quarter" idx="13"/>
            <p:custDataLst>
              <p:tags r:id="rId1"/>
            </p:custDataLst>
          </p:nvPr>
        </p:nvPicPr>
        <p:blipFill>
          <a:blip r:embed="rId3" cstate="screen">
            <a:extLst>
              <a:ext uri="{28A0092B-C50C-407E-A947-70E740481C1C}">
                <a14:useLocalDpi xmlns:a14="http://schemas.microsoft.com/office/drawing/2010/main"/>
              </a:ext>
            </a:extLst>
          </a:blip>
          <a:srcRect t="14142" b="14142"/>
          <a:stretch>
            <a:fillRect/>
          </a:stretch>
        </p:blipFill>
        <p:spPr>
          <a:xfrm>
            <a:off x="1" y="96839"/>
            <a:ext cx="12191345" cy="6760799"/>
          </a:xfrm>
          <a:prstGeom prst="rect">
            <a:avLst/>
          </a:prstGeom>
        </p:spPr>
      </p:pic>
      <p:sp>
        <p:nvSpPr>
          <p:cNvPr id="4" name="Text Placeholder 3">
            <a:extLst>
              <a:ext uri="{FF2B5EF4-FFF2-40B4-BE49-F238E27FC236}">
                <a16:creationId xmlns:a16="http://schemas.microsoft.com/office/drawing/2014/main" id="{F8D85818-55C9-4A18-8D9A-8823D06B4289}"/>
              </a:ext>
            </a:extLst>
          </p:cNvPr>
          <p:cNvSpPr>
            <a:spLocks noGrp="1"/>
          </p:cNvSpPr>
          <p:nvPr>
            <p:ph type="body" sz="quarter" idx="14"/>
          </p:nvPr>
        </p:nvSpPr>
        <p:spPr>
          <a:xfrm>
            <a:off x="0" y="3914775"/>
            <a:ext cx="4473982" cy="738664"/>
          </a:xfrm>
        </p:spPr>
        <p:txBody>
          <a:bodyPr/>
          <a:lstStyle/>
          <a:p>
            <a:r>
              <a:rPr lang="de-DE" dirty="0"/>
              <a:t>Social Media</a:t>
            </a:r>
            <a:endParaRPr lang="en-US" dirty="0"/>
          </a:p>
        </p:txBody>
      </p:sp>
    </p:spTree>
    <p:extLst>
      <p:ext uri="{BB962C8B-B14F-4D97-AF65-F5344CB8AC3E}">
        <p14:creationId xmlns:p14="http://schemas.microsoft.com/office/powerpoint/2010/main" val="1833401732"/>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17">
            <a:extLst>
              <a:ext uri="{FF2B5EF4-FFF2-40B4-BE49-F238E27FC236}">
                <a16:creationId xmlns:a16="http://schemas.microsoft.com/office/drawing/2014/main" id="{AD7EB315-7072-A54B-92CC-3878D4A4F887}"/>
              </a:ext>
            </a:extLst>
          </p:cNvPr>
          <p:cNvSpPr>
            <a:spLocks/>
          </p:cNvSpPr>
          <p:nvPr/>
        </p:nvSpPr>
        <p:spPr bwMode="auto">
          <a:xfrm>
            <a:off x="3699637" y="3332387"/>
            <a:ext cx="1443213" cy="531342"/>
          </a:xfrm>
          <a:custGeom>
            <a:avLst/>
            <a:gdLst>
              <a:gd name="T0" fmla="*/ 84 w 347"/>
              <a:gd name="T1" fmla="*/ 0 h 128"/>
              <a:gd name="T2" fmla="*/ 263 w 347"/>
              <a:gd name="T3" fmla="*/ 0 h 128"/>
              <a:gd name="T4" fmla="*/ 263 w 347"/>
              <a:gd name="T5" fmla="*/ 128 h 128"/>
              <a:gd name="T6" fmla="*/ 84 w 347"/>
              <a:gd name="T7" fmla="*/ 128 h 128"/>
              <a:gd name="T8" fmla="*/ 84 w 347"/>
              <a:gd name="T9" fmla="*/ 0 h 128"/>
            </a:gdLst>
            <a:ahLst/>
            <a:cxnLst>
              <a:cxn ang="0">
                <a:pos x="T0" y="T1"/>
              </a:cxn>
              <a:cxn ang="0">
                <a:pos x="T2" y="T3"/>
              </a:cxn>
              <a:cxn ang="0">
                <a:pos x="T4" y="T5"/>
              </a:cxn>
              <a:cxn ang="0">
                <a:pos x="T6" y="T7"/>
              </a:cxn>
              <a:cxn ang="0">
                <a:pos x="T8" y="T9"/>
              </a:cxn>
            </a:cxnLst>
            <a:rect l="0" t="0" r="r" b="b"/>
            <a:pathLst>
              <a:path w="347" h="128">
                <a:moveTo>
                  <a:pt x="84" y="0"/>
                </a:moveTo>
                <a:cubicBezTo>
                  <a:pt x="263" y="0"/>
                  <a:pt x="263" y="0"/>
                  <a:pt x="263" y="0"/>
                </a:cubicBezTo>
                <a:cubicBezTo>
                  <a:pt x="347" y="0"/>
                  <a:pt x="347" y="128"/>
                  <a:pt x="263" y="128"/>
                </a:cubicBezTo>
                <a:cubicBezTo>
                  <a:pt x="84" y="128"/>
                  <a:pt x="84" y="128"/>
                  <a:pt x="84" y="128"/>
                </a:cubicBezTo>
                <a:cubicBezTo>
                  <a:pt x="0" y="128"/>
                  <a:pt x="0" y="0"/>
                  <a:pt x="84" y="0"/>
                </a:cubicBezTo>
                <a:close/>
              </a:path>
            </a:pathLst>
          </a:custGeom>
          <a:solidFill>
            <a:srgbClr val="3B5998"/>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9" name="Freeform 18">
            <a:extLst>
              <a:ext uri="{FF2B5EF4-FFF2-40B4-BE49-F238E27FC236}">
                <a16:creationId xmlns:a16="http://schemas.microsoft.com/office/drawing/2014/main" id="{5D042E50-2B14-9040-9844-E76388BA6CD9}"/>
              </a:ext>
            </a:extLst>
          </p:cNvPr>
          <p:cNvSpPr>
            <a:spLocks/>
          </p:cNvSpPr>
          <p:nvPr/>
        </p:nvSpPr>
        <p:spPr bwMode="auto">
          <a:xfrm>
            <a:off x="1751388" y="1394659"/>
            <a:ext cx="3000410" cy="4552344"/>
          </a:xfrm>
          <a:custGeom>
            <a:avLst/>
            <a:gdLst>
              <a:gd name="T0" fmla="*/ 71 w 722"/>
              <a:gd name="T1" fmla="*/ 528 h 1095"/>
              <a:gd name="T2" fmla="*/ 354 w 722"/>
              <a:gd name="T3" fmla="*/ 362 h 1095"/>
              <a:gd name="T4" fmla="*/ 535 w 722"/>
              <a:gd name="T5" fmla="*/ 160 h 1095"/>
              <a:gd name="T6" fmla="*/ 680 w 722"/>
              <a:gd name="T7" fmla="*/ 247 h 1095"/>
              <a:gd name="T8" fmla="*/ 555 w 722"/>
              <a:gd name="T9" fmla="*/ 436 h 1095"/>
              <a:gd name="T10" fmla="*/ 483 w 722"/>
              <a:gd name="T11" fmla="*/ 604 h 1095"/>
              <a:gd name="T12" fmla="*/ 443 w 722"/>
              <a:gd name="T13" fmla="*/ 769 h 1095"/>
              <a:gd name="T14" fmla="*/ 448 w 722"/>
              <a:gd name="T15" fmla="*/ 936 h 1095"/>
              <a:gd name="T16" fmla="*/ 430 w 722"/>
              <a:gd name="T17" fmla="*/ 1085 h 1095"/>
              <a:gd name="T18" fmla="*/ 71 w 722"/>
              <a:gd name="T19" fmla="*/ 949 h 1095"/>
              <a:gd name="T20" fmla="*/ 71 w 722"/>
              <a:gd name="T21" fmla="*/ 528 h 1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2" h="1095">
                <a:moveTo>
                  <a:pt x="71" y="528"/>
                </a:moveTo>
                <a:cubicBezTo>
                  <a:pt x="185" y="498"/>
                  <a:pt x="274" y="441"/>
                  <a:pt x="354" y="362"/>
                </a:cubicBezTo>
                <a:cubicBezTo>
                  <a:pt x="425" y="293"/>
                  <a:pt x="494" y="258"/>
                  <a:pt x="535" y="160"/>
                </a:cubicBezTo>
                <a:cubicBezTo>
                  <a:pt x="586" y="0"/>
                  <a:pt x="722" y="112"/>
                  <a:pt x="680" y="247"/>
                </a:cubicBezTo>
                <a:cubicBezTo>
                  <a:pt x="648" y="327"/>
                  <a:pt x="613" y="379"/>
                  <a:pt x="555" y="436"/>
                </a:cubicBezTo>
                <a:cubicBezTo>
                  <a:pt x="449" y="436"/>
                  <a:pt x="430" y="547"/>
                  <a:pt x="483" y="604"/>
                </a:cubicBezTo>
                <a:cubicBezTo>
                  <a:pt x="401" y="620"/>
                  <a:pt x="397" y="723"/>
                  <a:pt x="443" y="769"/>
                </a:cubicBezTo>
                <a:cubicBezTo>
                  <a:pt x="377" y="805"/>
                  <a:pt x="384" y="917"/>
                  <a:pt x="448" y="936"/>
                </a:cubicBezTo>
                <a:cubicBezTo>
                  <a:pt x="410" y="950"/>
                  <a:pt x="379" y="1024"/>
                  <a:pt x="430" y="1085"/>
                </a:cubicBezTo>
                <a:cubicBezTo>
                  <a:pt x="180" y="1095"/>
                  <a:pt x="143" y="1002"/>
                  <a:pt x="71" y="949"/>
                </a:cubicBezTo>
                <a:cubicBezTo>
                  <a:pt x="0" y="897"/>
                  <a:pt x="0" y="547"/>
                  <a:pt x="71" y="528"/>
                </a:cubicBezTo>
                <a:close/>
              </a:path>
            </a:pathLst>
          </a:custGeom>
          <a:solidFill>
            <a:schemeClr val="tx1">
              <a:lumMod val="50000"/>
            </a:schemeClr>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10" name="Freeform 19">
            <a:extLst>
              <a:ext uri="{FF2B5EF4-FFF2-40B4-BE49-F238E27FC236}">
                <a16:creationId xmlns:a16="http://schemas.microsoft.com/office/drawing/2014/main" id="{250B344B-F654-3844-9CB5-B4975250E44B}"/>
              </a:ext>
            </a:extLst>
          </p:cNvPr>
          <p:cNvSpPr>
            <a:spLocks/>
          </p:cNvSpPr>
          <p:nvPr/>
        </p:nvSpPr>
        <p:spPr bwMode="auto">
          <a:xfrm>
            <a:off x="3459394" y="4673891"/>
            <a:ext cx="1644877" cy="533094"/>
          </a:xfrm>
          <a:custGeom>
            <a:avLst/>
            <a:gdLst>
              <a:gd name="T0" fmla="*/ 84 w 396"/>
              <a:gd name="T1" fmla="*/ 0 h 128"/>
              <a:gd name="T2" fmla="*/ 312 w 396"/>
              <a:gd name="T3" fmla="*/ 0 h 128"/>
              <a:gd name="T4" fmla="*/ 312 w 396"/>
              <a:gd name="T5" fmla="*/ 128 h 128"/>
              <a:gd name="T6" fmla="*/ 84 w 396"/>
              <a:gd name="T7" fmla="*/ 128 h 128"/>
              <a:gd name="T8" fmla="*/ 84 w 396"/>
              <a:gd name="T9" fmla="*/ 0 h 128"/>
            </a:gdLst>
            <a:ahLst/>
            <a:cxnLst>
              <a:cxn ang="0">
                <a:pos x="T0" y="T1"/>
              </a:cxn>
              <a:cxn ang="0">
                <a:pos x="T2" y="T3"/>
              </a:cxn>
              <a:cxn ang="0">
                <a:pos x="T4" y="T5"/>
              </a:cxn>
              <a:cxn ang="0">
                <a:pos x="T6" y="T7"/>
              </a:cxn>
              <a:cxn ang="0">
                <a:pos x="T8" y="T9"/>
              </a:cxn>
            </a:cxnLst>
            <a:rect l="0" t="0" r="r" b="b"/>
            <a:pathLst>
              <a:path w="396" h="128">
                <a:moveTo>
                  <a:pt x="84" y="0"/>
                </a:moveTo>
                <a:cubicBezTo>
                  <a:pt x="312" y="0"/>
                  <a:pt x="312" y="0"/>
                  <a:pt x="312" y="0"/>
                </a:cubicBezTo>
                <a:cubicBezTo>
                  <a:pt x="396" y="0"/>
                  <a:pt x="396" y="128"/>
                  <a:pt x="312" y="128"/>
                </a:cubicBezTo>
                <a:cubicBezTo>
                  <a:pt x="84" y="128"/>
                  <a:pt x="84" y="128"/>
                  <a:pt x="84" y="128"/>
                </a:cubicBezTo>
                <a:cubicBezTo>
                  <a:pt x="0" y="128"/>
                  <a:pt x="0" y="0"/>
                  <a:pt x="84" y="0"/>
                </a:cubicBezTo>
                <a:close/>
              </a:path>
            </a:pathLst>
          </a:custGeom>
          <a:solidFill>
            <a:srgbClr val="6CB5E3"/>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11" name="Freeform 20">
            <a:extLst>
              <a:ext uri="{FF2B5EF4-FFF2-40B4-BE49-F238E27FC236}">
                <a16:creationId xmlns:a16="http://schemas.microsoft.com/office/drawing/2014/main" id="{6880B196-5C42-F24B-BE50-F7ED837DD990}"/>
              </a:ext>
            </a:extLst>
          </p:cNvPr>
          <p:cNvSpPr>
            <a:spLocks/>
          </p:cNvSpPr>
          <p:nvPr/>
        </p:nvSpPr>
        <p:spPr bwMode="auto">
          <a:xfrm>
            <a:off x="3468161" y="5338505"/>
            <a:ext cx="1341505" cy="533094"/>
          </a:xfrm>
          <a:custGeom>
            <a:avLst/>
            <a:gdLst>
              <a:gd name="T0" fmla="*/ 85 w 323"/>
              <a:gd name="T1" fmla="*/ 0 h 128"/>
              <a:gd name="T2" fmla="*/ 238 w 323"/>
              <a:gd name="T3" fmla="*/ 0 h 128"/>
              <a:gd name="T4" fmla="*/ 238 w 323"/>
              <a:gd name="T5" fmla="*/ 128 h 128"/>
              <a:gd name="T6" fmla="*/ 85 w 323"/>
              <a:gd name="T7" fmla="*/ 128 h 128"/>
              <a:gd name="T8" fmla="*/ 85 w 323"/>
              <a:gd name="T9" fmla="*/ 0 h 128"/>
            </a:gdLst>
            <a:ahLst/>
            <a:cxnLst>
              <a:cxn ang="0">
                <a:pos x="T0" y="T1"/>
              </a:cxn>
              <a:cxn ang="0">
                <a:pos x="T2" y="T3"/>
              </a:cxn>
              <a:cxn ang="0">
                <a:pos x="T4" y="T5"/>
              </a:cxn>
              <a:cxn ang="0">
                <a:pos x="T6" y="T7"/>
              </a:cxn>
              <a:cxn ang="0">
                <a:pos x="T8" y="T9"/>
              </a:cxn>
            </a:cxnLst>
            <a:rect l="0" t="0" r="r" b="b"/>
            <a:pathLst>
              <a:path w="323" h="128">
                <a:moveTo>
                  <a:pt x="85" y="0"/>
                </a:moveTo>
                <a:cubicBezTo>
                  <a:pt x="238" y="0"/>
                  <a:pt x="238" y="0"/>
                  <a:pt x="238" y="0"/>
                </a:cubicBezTo>
                <a:cubicBezTo>
                  <a:pt x="323" y="0"/>
                  <a:pt x="323" y="128"/>
                  <a:pt x="238" y="128"/>
                </a:cubicBezTo>
                <a:cubicBezTo>
                  <a:pt x="85" y="128"/>
                  <a:pt x="85" y="128"/>
                  <a:pt x="85" y="128"/>
                </a:cubicBezTo>
                <a:cubicBezTo>
                  <a:pt x="0" y="128"/>
                  <a:pt x="0" y="0"/>
                  <a:pt x="85" y="0"/>
                </a:cubicBezTo>
                <a:close/>
              </a:path>
            </a:pathLst>
          </a:custGeom>
          <a:gradFill flip="none" rotWithShape="1">
            <a:gsLst>
              <a:gs pos="61000">
                <a:srgbClr val="EE2346"/>
              </a:gs>
              <a:gs pos="28000">
                <a:srgbClr val="9C36AF"/>
              </a:gs>
              <a:gs pos="0">
                <a:srgbClr val="5548D4"/>
              </a:gs>
              <a:gs pos="100000">
                <a:srgbClr val="FCC05D"/>
              </a:gs>
            </a:gsLst>
            <a:lin ang="2700000" scaled="1"/>
            <a:tileRect/>
          </a:gra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12" name="Freeform 21">
            <a:extLst>
              <a:ext uri="{FF2B5EF4-FFF2-40B4-BE49-F238E27FC236}">
                <a16:creationId xmlns:a16="http://schemas.microsoft.com/office/drawing/2014/main" id="{CB9E6F63-192F-0447-8268-CB2563E17DAC}"/>
              </a:ext>
            </a:extLst>
          </p:cNvPr>
          <p:cNvSpPr>
            <a:spLocks/>
          </p:cNvSpPr>
          <p:nvPr/>
        </p:nvSpPr>
        <p:spPr bwMode="auto">
          <a:xfrm>
            <a:off x="3526030" y="4005769"/>
            <a:ext cx="1802701" cy="531342"/>
          </a:xfrm>
          <a:custGeom>
            <a:avLst/>
            <a:gdLst>
              <a:gd name="T0" fmla="*/ 84 w 434"/>
              <a:gd name="T1" fmla="*/ 0 h 128"/>
              <a:gd name="T2" fmla="*/ 349 w 434"/>
              <a:gd name="T3" fmla="*/ 0 h 128"/>
              <a:gd name="T4" fmla="*/ 349 w 434"/>
              <a:gd name="T5" fmla="*/ 128 h 128"/>
              <a:gd name="T6" fmla="*/ 84 w 434"/>
              <a:gd name="T7" fmla="*/ 128 h 128"/>
              <a:gd name="T8" fmla="*/ 84 w 434"/>
              <a:gd name="T9" fmla="*/ 0 h 128"/>
            </a:gdLst>
            <a:ahLst/>
            <a:cxnLst>
              <a:cxn ang="0">
                <a:pos x="T0" y="T1"/>
              </a:cxn>
              <a:cxn ang="0">
                <a:pos x="T2" y="T3"/>
              </a:cxn>
              <a:cxn ang="0">
                <a:pos x="T4" y="T5"/>
              </a:cxn>
              <a:cxn ang="0">
                <a:pos x="T6" y="T7"/>
              </a:cxn>
              <a:cxn ang="0">
                <a:pos x="T8" y="T9"/>
              </a:cxn>
            </a:cxnLst>
            <a:rect l="0" t="0" r="r" b="b"/>
            <a:pathLst>
              <a:path w="434" h="128">
                <a:moveTo>
                  <a:pt x="84" y="0"/>
                </a:moveTo>
                <a:cubicBezTo>
                  <a:pt x="349" y="0"/>
                  <a:pt x="349" y="0"/>
                  <a:pt x="349" y="0"/>
                </a:cubicBezTo>
                <a:cubicBezTo>
                  <a:pt x="434" y="0"/>
                  <a:pt x="434" y="128"/>
                  <a:pt x="349" y="128"/>
                </a:cubicBezTo>
                <a:cubicBezTo>
                  <a:pt x="84" y="128"/>
                  <a:pt x="84" y="128"/>
                  <a:pt x="84" y="128"/>
                </a:cubicBezTo>
                <a:cubicBezTo>
                  <a:pt x="0" y="128"/>
                  <a:pt x="0" y="0"/>
                  <a:pt x="84" y="0"/>
                </a:cubicBezTo>
                <a:close/>
              </a:path>
            </a:pathLst>
          </a:custGeom>
          <a:solidFill>
            <a:srgbClr val="FC0D1B"/>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13" name="Freeform 25">
            <a:extLst>
              <a:ext uri="{FF2B5EF4-FFF2-40B4-BE49-F238E27FC236}">
                <a16:creationId xmlns:a16="http://schemas.microsoft.com/office/drawing/2014/main" id="{3AEF3010-564F-4445-8EBB-A1FC7A8BD7C7}"/>
              </a:ext>
            </a:extLst>
          </p:cNvPr>
          <p:cNvSpPr>
            <a:spLocks/>
          </p:cNvSpPr>
          <p:nvPr/>
        </p:nvSpPr>
        <p:spPr bwMode="auto">
          <a:xfrm>
            <a:off x="4081115" y="4766556"/>
            <a:ext cx="352529" cy="342498"/>
          </a:xfrm>
          <a:custGeom>
            <a:avLst/>
            <a:gdLst>
              <a:gd name="T0" fmla="*/ 0 w 208"/>
              <a:gd name="T1" fmla="*/ 68 h 202"/>
              <a:gd name="T2" fmla="*/ 8 w 208"/>
              <a:gd name="T3" fmla="*/ 79 h 202"/>
              <a:gd name="T4" fmla="*/ 30 w 208"/>
              <a:gd name="T5" fmla="*/ 72 h 202"/>
              <a:gd name="T6" fmla="*/ 64 w 208"/>
              <a:gd name="T7" fmla="*/ 172 h 202"/>
              <a:gd name="T8" fmla="*/ 105 w 208"/>
              <a:gd name="T9" fmla="*/ 190 h 202"/>
              <a:gd name="T10" fmla="*/ 197 w 208"/>
              <a:gd name="T11" fmla="*/ 63 h 202"/>
              <a:gd name="T12" fmla="*/ 113 w 208"/>
              <a:gd name="T13" fmla="*/ 68 h 202"/>
              <a:gd name="T14" fmla="*/ 137 w 208"/>
              <a:gd name="T15" fmla="*/ 95 h 202"/>
              <a:gd name="T16" fmla="*/ 109 w 208"/>
              <a:gd name="T17" fmla="*/ 130 h 202"/>
              <a:gd name="T18" fmla="*/ 93 w 208"/>
              <a:gd name="T19" fmla="*/ 91 h 202"/>
              <a:gd name="T20" fmla="*/ 59 w 208"/>
              <a:gd name="T21" fmla="*/ 23 h 202"/>
              <a:gd name="T22" fmla="*/ 0 w 208"/>
              <a:gd name="T23" fmla="*/ 68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8" h="202">
                <a:moveTo>
                  <a:pt x="0" y="68"/>
                </a:moveTo>
                <a:cubicBezTo>
                  <a:pt x="8" y="79"/>
                  <a:pt x="8" y="79"/>
                  <a:pt x="8" y="79"/>
                </a:cubicBezTo>
                <a:cubicBezTo>
                  <a:pt x="8" y="79"/>
                  <a:pt x="24" y="66"/>
                  <a:pt x="30" y="72"/>
                </a:cubicBezTo>
                <a:cubicBezTo>
                  <a:pt x="36" y="79"/>
                  <a:pt x="57" y="157"/>
                  <a:pt x="64" y="172"/>
                </a:cubicBezTo>
                <a:cubicBezTo>
                  <a:pt x="70" y="185"/>
                  <a:pt x="87" y="202"/>
                  <a:pt x="105" y="190"/>
                </a:cubicBezTo>
                <a:cubicBezTo>
                  <a:pt x="124" y="178"/>
                  <a:pt x="186" y="125"/>
                  <a:pt x="197" y="63"/>
                </a:cubicBezTo>
                <a:cubicBezTo>
                  <a:pt x="208" y="0"/>
                  <a:pt x="122" y="13"/>
                  <a:pt x="113" y="68"/>
                </a:cubicBezTo>
                <a:cubicBezTo>
                  <a:pt x="136" y="54"/>
                  <a:pt x="148" y="73"/>
                  <a:pt x="137" y="95"/>
                </a:cubicBezTo>
                <a:cubicBezTo>
                  <a:pt x="125" y="116"/>
                  <a:pt x="114" y="130"/>
                  <a:pt x="109" y="130"/>
                </a:cubicBezTo>
                <a:cubicBezTo>
                  <a:pt x="103" y="130"/>
                  <a:pt x="99" y="116"/>
                  <a:pt x="93" y="91"/>
                </a:cubicBezTo>
                <a:cubicBezTo>
                  <a:pt x="86" y="65"/>
                  <a:pt x="86" y="17"/>
                  <a:pt x="59" y="23"/>
                </a:cubicBezTo>
                <a:cubicBezTo>
                  <a:pt x="34" y="28"/>
                  <a:pt x="0" y="68"/>
                  <a:pt x="0" y="68"/>
                </a:cubicBez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29" name="TextBox 28">
            <a:extLst>
              <a:ext uri="{FF2B5EF4-FFF2-40B4-BE49-F238E27FC236}">
                <a16:creationId xmlns:a16="http://schemas.microsoft.com/office/drawing/2014/main" id="{61442E81-62C2-5A4A-B551-0F07E1ACF6A0}"/>
              </a:ext>
            </a:extLst>
          </p:cNvPr>
          <p:cNvSpPr txBox="1"/>
          <p:nvPr/>
        </p:nvSpPr>
        <p:spPr>
          <a:xfrm>
            <a:off x="7633273" y="5057901"/>
            <a:ext cx="1172052" cy="323165"/>
          </a:xfrm>
          <a:prstGeom prst="rect">
            <a:avLst/>
          </a:prstGeom>
          <a:noFill/>
        </p:spPr>
        <p:txBody>
          <a:bodyPr wrap="none" rtlCol="0" anchor="ctr" anchorCtr="0">
            <a:spAutoFit/>
          </a:bodyPr>
          <a:lstStyle/>
          <a:p>
            <a:r>
              <a:rPr lang="en-US" sz="1500" b="1" dirty="0">
                <a:solidFill>
                  <a:schemeClr val="tx2"/>
                </a:solidFill>
                <a:latin typeface="Segoe UI Light" panose="020B0502040204020203" pitchFamily="34" charset="0"/>
                <a:ea typeface="League Spartan" charset="0"/>
                <a:cs typeface="Poppins" pitchFamily="2" charset="77"/>
              </a:rPr>
              <a:t>INSTAGRAM</a:t>
            </a:r>
          </a:p>
        </p:txBody>
      </p:sp>
      <p:sp>
        <p:nvSpPr>
          <p:cNvPr id="30" name="Subtitle 2">
            <a:extLst>
              <a:ext uri="{FF2B5EF4-FFF2-40B4-BE49-F238E27FC236}">
                <a16:creationId xmlns:a16="http://schemas.microsoft.com/office/drawing/2014/main" id="{F9F11B88-DB2C-2B46-8B18-66303222A051}"/>
              </a:ext>
            </a:extLst>
          </p:cNvPr>
          <p:cNvSpPr txBox="1">
            <a:spLocks/>
          </p:cNvSpPr>
          <p:nvPr/>
        </p:nvSpPr>
        <p:spPr>
          <a:xfrm>
            <a:off x="7578000" y="5383383"/>
            <a:ext cx="3859521" cy="642774"/>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150"/>
              </a:lnSpc>
            </a:pPr>
            <a:r>
              <a:rPr lang="en-US" sz="135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adipiscing elit.</a:t>
            </a:r>
          </a:p>
        </p:txBody>
      </p:sp>
      <p:sp>
        <p:nvSpPr>
          <p:cNvPr id="31" name="TextBox 30">
            <a:extLst>
              <a:ext uri="{FF2B5EF4-FFF2-40B4-BE49-F238E27FC236}">
                <a16:creationId xmlns:a16="http://schemas.microsoft.com/office/drawing/2014/main" id="{7D67BF52-77B7-0F43-9146-5BE1290813C0}"/>
              </a:ext>
            </a:extLst>
          </p:cNvPr>
          <p:cNvSpPr txBox="1"/>
          <p:nvPr/>
        </p:nvSpPr>
        <p:spPr>
          <a:xfrm>
            <a:off x="7633273" y="680421"/>
            <a:ext cx="1086708" cy="323165"/>
          </a:xfrm>
          <a:prstGeom prst="rect">
            <a:avLst/>
          </a:prstGeom>
          <a:noFill/>
        </p:spPr>
        <p:txBody>
          <a:bodyPr wrap="none" rtlCol="0" anchor="ctr" anchorCtr="0">
            <a:spAutoFit/>
          </a:bodyPr>
          <a:lstStyle/>
          <a:p>
            <a:r>
              <a:rPr lang="en-US" sz="1500" b="1" dirty="0">
                <a:solidFill>
                  <a:schemeClr val="tx2"/>
                </a:solidFill>
                <a:latin typeface="Segoe UI Light" panose="020B0502040204020203" pitchFamily="34" charset="0"/>
                <a:ea typeface="League Spartan" charset="0"/>
                <a:cs typeface="Poppins" pitchFamily="2" charset="77"/>
              </a:rPr>
              <a:t>FACEBOOK</a:t>
            </a:r>
          </a:p>
        </p:txBody>
      </p:sp>
      <p:sp>
        <p:nvSpPr>
          <p:cNvPr id="32" name="Subtitle 2">
            <a:extLst>
              <a:ext uri="{FF2B5EF4-FFF2-40B4-BE49-F238E27FC236}">
                <a16:creationId xmlns:a16="http://schemas.microsoft.com/office/drawing/2014/main" id="{61DFEC9A-ED86-6F42-BEBC-AB80FF595C6B}"/>
              </a:ext>
            </a:extLst>
          </p:cNvPr>
          <p:cNvSpPr txBox="1">
            <a:spLocks/>
          </p:cNvSpPr>
          <p:nvPr/>
        </p:nvSpPr>
        <p:spPr>
          <a:xfrm>
            <a:off x="7578000" y="1005903"/>
            <a:ext cx="3859521" cy="642774"/>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150"/>
              </a:lnSpc>
            </a:pPr>
            <a:r>
              <a:rPr lang="en-US" sz="135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adipiscing elit.</a:t>
            </a:r>
          </a:p>
        </p:txBody>
      </p:sp>
      <p:sp>
        <p:nvSpPr>
          <p:cNvPr id="33" name="TextBox 32">
            <a:extLst>
              <a:ext uri="{FF2B5EF4-FFF2-40B4-BE49-F238E27FC236}">
                <a16:creationId xmlns:a16="http://schemas.microsoft.com/office/drawing/2014/main" id="{86549824-2C0B-F54A-9D8F-8A16022FE500}"/>
              </a:ext>
            </a:extLst>
          </p:cNvPr>
          <p:cNvSpPr txBox="1"/>
          <p:nvPr/>
        </p:nvSpPr>
        <p:spPr>
          <a:xfrm>
            <a:off x="7633273" y="2139205"/>
            <a:ext cx="976549" cy="323165"/>
          </a:xfrm>
          <a:prstGeom prst="rect">
            <a:avLst/>
          </a:prstGeom>
          <a:noFill/>
        </p:spPr>
        <p:txBody>
          <a:bodyPr wrap="none" rtlCol="0" anchor="ctr" anchorCtr="0">
            <a:spAutoFit/>
          </a:bodyPr>
          <a:lstStyle/>
          <a:p>
            <a:r>
              <a:rPr lang="en-US" sz="1500" b="1" dirty="0">
                <a:solidFill>
                  <a:schemeClr val="tx2"/>
                </a:solidFill>
                <a:latin typeface="Segoe UI Light" panose="020B0502040204020203" pitchFamily="34" charset="0"/>
                <a:ea typeface="League Spartan" charset="0"/>
                <a:cs typeface="Poppins" pitchFamily="2" charset="77"/>
              </a:rPr>
              <a:t>YOUTUBE</a:t>
            </a:r>
          </a:p>
        </p:txBody>
      </p:sp>
      <p:sp>
        <p:nvSpPr>
          <p:cNvPr id="34" name="Subtitle 2">
            <a:extLst>
              <a:ext uri="{FF2B5EF4-FFF2-40B4-BE49-F238E27FC236}">
                <a16:creationId xmlns:a16="http://schemas.microsoft.com/office/drawing/2014/main" id="{F875FFFD-E7AD-3B43-9C48-19E5391D6D8C}"/>
              </a:ext>
            </a:extLst>
          </p:cNvPr>
          <p:cNvSpPr txBox="1">
            <a:spLocks/>
          </p:cNvSpPr>
          <p:nvPr/>
        </p:nvSpPr>
        <p:spPr>
          <a:xfrm>
            <a:off x="7578000" y="2464687"/>
            <a:ext cx="3859521" cy="642774"/>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150"/>
              </a:lnSpc>
            </a:pPr>
            <a:r>
              <a:rPr lang="en-US" sz="135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adipiscing elit.</a:t>
            </a:r>
          </a:p>
        </p:txBody>
      </p:sp>
      <p:sp>
        <p:nvSpPr>
          <p:cNvPr id="35" name="TextBox 34">
            <a:extLst>
              <a:ext uri="{FF2B5EF4-FFF2-40B4-BE49-F238E27FC236}">
                <a16:creationId xmlns:a16="http://schemas.microsoft.com/office/drawing/2014/main" id="{C9C6D6B6-3B30-9744-ABAD-7BCDF6DECB10}"/>
              </a:ext>
            </a:extLst>
          </p:cNvPr>
          <p:cNvSpPr txBox="1"/>
          <p:nvPr/>
        </p:nvSpPr>
        <p:spPr>
          <a:xfrm>
            <a:off x="7633273" y="3636180"/>
            <a:ext cx="747320" cy="323165"/>
          </a:xfrm>
          <a:prstGeom prst="rect">
            <a:avLst/>
          </a:prstGeom>
          <a:noFill/>
        </p:spPr>
        <p:txBody>
          <a:bodyPr wrap="none" rtlCol="0" anchor="ctr" anchorCtr="0">
            <a:spAutoFit/>
          </a:bodyPr>
          <a:lstStyle/>
          <a:p>
            <a:r>
              <a:rPr lang="en-US" sz="1500" b="1" dirty="0">
                <a:solidFill>
                  <a:schemeClr val="tx2"/>
                </a:solidFill>
                <a:latin typeface="Segoe UI Light" panose="020B0502040204020203" pitchFamily="34" charset="0"/>
                <a:ea typeface="League Spartan" charset="0"/>
                <a:cs typeface="Poppins" pitchFamily="2" charset="77"/>
              </a:rPr>
              <a:t>VIMEO</a:t>
            </a:r>
          </a:p>
        </p:txBody>
      </p:sp>
      <p:sp>
        <p:nvSpPr>
          <p:cNvPr id="36" name="Subtitle 2">
            <a:extLst>
              <a:ext uri="{FF2B5EF4-FFF2-40B4-BE49-F238E27FC236}">
                <a16:creationId xmlns:a16="http://schemas.microsoft.com/office/drawing/2014/main" id="{A1CCD8B3-D08F-934D-8F31-F062FFDF7C67}"/>
              </a:ext>
            </a:extLst>
          </p:cNvPr>
          <p:cNvSpPr txBox="1">
            <a:spLocks/>
          </p:cNvSpPr>
          <p:nvPr/>
        </p:nvSpPr>
        <p:spPr>
          <a:xfrm>
            <a:off x="7578000" y="3961662"/>
            <a:ext cx="3859521" cy="642774"/>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150"/>
              </a:lnSpc>
            </a:pPr>
            <a:r>
              <a:rPr lang="en-US" sz="135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adipiscing elit.</a:t>
            </a:r>
          </a:p>
        </p:txBody>
      </p:sp>
      <p:sp>
        <p:nvSpPr>
          <p:cNvPr id="39" name="TextBox 38">
            <a:extLst>
              <a:ext uri="{FF2B5EF4-FFF2-40B4-BE49-F238E27FC236}">
                <a16:creationId xmlns:a16="http://schemas.microsoft.com/office/drawing/2014/main" id="{A4745926-4CD9-DA4C-AEFA-99BA3C8EE1AC}"/>
              </a:ext>
            </a:extLst>
          </p:cNvPr>
          <p:cNvSpPr txBox="1"/>
          <p:nvPr/>
        </p:nvSpPr>
        <p:spPr>
          <a:xfrm>
            <a:off x="6516688" y="840661"/>
            <a:ext cx="952505" cy="600164"/>
          </a:xfrm>
          <a:prstGeom prst="rect">
            <a:avLst/>
          </a:prstGeom>
          <a:noFill/>
        </p:spPr>
        <p:txBody>
          <a:bodyPr wrap="none" rtlCol="0">
            <a:spAutoFit/>
          </a:bodyPr>
          <a:lstStyle/>
          <a:p>
            <a:r>
              <a:rPr lang="en-US" sz="3300" b="1" dirty="0">
                <a:solidFill>
                  <a:srgbClr val="002060"/>
                </a:solidFill>
                <a:latin typeface="Segoe UI Light" panose="020B0502040204020203" pitchFamily="34" charset="0"/>
                <a:ea typeface="Roboto" panose="02000000000000000000" pitchFamily="2" charset="0"/>
              </a:rPr>
              <a:t>38%</a:t>
            </a:r>
          </a:p>
        </p:txBody>
      </p:sp>
      <p:sp>
        <p:nvSpPr>
          <p:cNvPr id="40" name="TextBox 39">
            <a:extLst>
              <a:ext uri="{FF2B5EF4-FFF2-40B4-BE49-F238E27FC236}">
                <a16:creationId xmlns:a16="http://schemas.microsoft.com/office/drawing/2014/main" id="{AC53D1FA-11C8-3845-A829-BBAF5FCE1455}"/>
              </a:ext>
            </a:extLst>
          </p:cNvPr>
          <p:cNvSpPr txBox="1"/>
          <p:nvPr/>
        </p:nvSpPr>
        <p:spPr>
          <a:xfrm>
            <a:off x="6516688" y="2300787"/>
            <a:ext cx="952505" cy="600164"/>
          </a:xfrm>
          <a:prstGeom prst="rect">
            <a:avLst/>
          </a:prstGeom>
          <a:noFill/>
        </p:spPr>
        <p:txBody>
          <a:bodyPr wrap="none" rtlCol="0">
            <a:spAutoFit/>
          </a:bodyPr>
          <a:lstStyle/>
          <a:p>
            <a:r>
              <a:rPr lang="en-US" sz="3300" b="1" dirty="0">
                <a:solidFill>
                  <a:srgbClr val="FC0D1B"/>
                </a:solidFill>
                <a:latin typeface="Segoe UI Light" panose="020B0502040204020203" pitchFamily="34" charset="0"/>
                <a:ea typeface="Roboto" panose="02000000000000000000" pitchFamily="2" charset="0"/>
              </a:rPr>
              <a:t>56%</a:t>
            </a:r>
          </a:p>
        </p:txBody>
      </p:sp>
      <p:sp>
        <p:nvSpPr>
          <p:cNvPr id="41" name="TextBox 40">
            <a:extLst>
              <a:ext uri="{FF2B5EF4-FFF2-40B4-BE49-F238E27FC236}">
                <a16:creationId xmlns:a16="http://schemas.microsoft.com/office/drawing/2014/main" id="{F52E61E4-45EA-3E46-9C7B-B94585418291}"/>
              </a:ext>
            </a:extLst>
          </p:cNvPr>
          <p:cNvSpPr txBox="1"/>
          <p:nvPr/>
        </p:nvSpPr>
        <p:spPr>
          <a:xfrm>
            <a:off x="6516688" y="3797763"/>
            <a:ext cx="885179" cy="600164"/>
          </a:xfrm>
          <a:prstGeom prst="rect">
            <a:avLst/>
          </a:prstGeom>
          <a:noFill/>
        </p:spPr>
        <p:txBody>
          <a:bodyPr wrap="none" rtlCol="0">
            <a:spAutoFit/>
          </a:bodyPr>
          <a:lstStyle/>
          <a:p>
            <a:r>
              <a:rPr lang="en-US" sz="3300" b="1" dirty="0">
                <a:solidFill>
                  <a:srgbClr val="6CB5E3"/>
                </a:solidFill>
                <a:latin typeface="Segoe UI Light" panose="020B0502040204020203" pitchFamily="34" charset="0"/>
                <a:ea typeface="Roboto" panose="02000000000000000000" pitchFamily="2" charset="0"/>
              </a:rPr>
              <a:t>21%</a:t>
            </a:r>
          </a:p>
        </p:txBody>
      </p:sp>
      <p:sp>
        <p:nvSpPr>
          <p:cNvPr id="42" name="TextBox 41">
            <a:extLst>
              <a:ext uri="{FF2B5EF4-FFF2-40B4-BE49-F238E27FC236}">
                <a16:creationId xmlns:a16="http://schemas.microsoft.com/office/drawing/2014/main" id="{C89F2968-6916-5B44-B8A1-B0113196E7FE}"/>
              </a:ext>
            </a:extLst>
          </p:cNvPr>
          <p:cNvSpPr txBox="1"/>
          <p:nvPr/>
        </p:nvSpPr>
        <p:spPr>
          <a:xfrm>
            <a:off x="6516688" y="5219484"/>
            <a:ext cx="952505" cy="600164"/>
          </a:xfrm>
          <a:prstGeom prst="rect">
            <a:avLst/>
          </a:prstGeom>
          <a:noFill/>
        </p:spPr>
        <p:txBody>
          <a:bodyPr wrap="none" rtlCol="0">
            <a:spAutoFit/>
          </a:bodyPr>
          <a:lstStyle/>
          <a:p>
            <a:r>
              <a:rPr lang="en-US" sz="3300" b="1" dirty="0">
                <a:gradFill>
                  <a:gsLst>
                    <a:gs pos="68000">
                      <a:srgbClr val="EE2346"/>
                    </a:gs>
                    <a:gs pos="32000">
                      <a:srgbClr val="9C36AF"/>
                    </a:gs>
                    <a:gs pos="0">
                      <a:srgbClr val="5548D4"/>
                    </a:gs>
                    <a:gs pos="100000">
                      <a:srgbClr val="FCC05D"/>
                    </a:gs>
                  </a:gsLst>
                  <a:lin ang="2700000" scaled="1"/>
                </a:gradFill>
                <a:latin typeface="Segoe UI Light" panose="020B0502040204020203" pitchFamily="34" charset="0"/>
                <a:ea typeface="Roboto" panose="02000000000000000000" pitchFamily="2" charset="0"/>
              </a:rPr>
              <a:t>93%</a:t>
            </a:r>
          </a:p>
        </p:txBody>
      </p:sp>
      <p:sp>
        <p:nvSpPr>
          <p:cNvPr id="43" name="Freeform 1">
            <a:extLst>
              <a:ext uri="{FF2B5EF4-FFF2-40B4-BE49-F238E27FC236}">
                <a16:creationId xmlns:a16="http://schemas.microsoft.com/office/drawing/2014/main" id="{D7E0D005-548D-EC4E-88C2-48679D52E5A7}"/>
              </a:ext>
            </a:extLst>
          </p:cNvPr>
          <p:cNvSpPr>
            <a:spLocks noChangeArrowheads="1"/>
          </p:cNvSpPr>
          <p:nvPr/>
        </p:nvSpPr>
        <p:spPr bwMode="auto">
          <a:xfrm>
            <a:off x="4326933" y="3416055"/>
            <a:ext cx="167193" cy="358046"/>
          </a:xfrm>
          <a:custGeom>
            <a:avLst/>
            <a:gdLst>
              <a:gd name="T0" fmla="*/ 303 w 1401"/>
              <a:gd name="T1" fmla="*/ 582 h 3001"/>
              <a:gd name="T2" fmla="*/ 303 w 1401"/>
              <a:gd name="T3" fmla="*/ 994 h 3001"/>
              <a:gd name="T4" fmla="*/ 0 w 1401"/>
              <a:gd name="T5" fmla="*/ 994 h 3001"/>
              <a:gd name="T6" fmla="*/ 0 w 1401"/>
              <a:gd name="T7" fmla="*/ 1499 h 3001"/>
              <a:gd name="T8" fmla="*/ 303 w 1401"/>
              <a:gd name="T9" fmla="*/ 1499 h 3001"/>
              <a:gd name="T10" fmla="*/ 303 w 1401"/>
              <a:gd name="T11" fmla="*/ 3000 h 3001"/>
              <a:gd name="T12" fmla="*/ 924 w 1401"/>
              <a:gd name="T13" fmla="*/ 3000 h 3001"/>
              <a:gd name="T14" fmla="*/ 924 w 1401"/>
              <a:gd name="T15" fmla="*/ 1500 h 3001"/>
              <a:gd name="T16" fmla="*/ 1341 w 1401"/>
              <a:gd name="T17" fmla="*/ 1500 h 3001"/>
              <a:gd name="T18" fmla="*/ 1341 w 1401"/>
              <a:gd name="T19" fmla="*/ 1500 h 3001"/>
              <a:gd name="T20" fmla="*/ 1399 w 1401"/>
              <a:gd name="T21" fmla="*/ 993 h 3001"/>
              <a:gd name="T22" fmla="*/ 926 w 1401"/>
              <a:gd name="T23" fmla="*/ 993 h 3001"/>
              <a:gd name="T24" fmla="*/ 926 w 1401"/>
              <a:gd name="T25" fmla="*/ 647 h 3001"/>
              <a:gd name="T26" fmla="*/ 926 w 1401"/>
              <a:gd name="T27" fmla="*/ 647 h 3001"/>
              <a:gd name="T28" fmla="*/ 1061 w 1401"/>
              <a:gd name="T29" fmla="*/ 526 h 3001"/>
              <a:gd name="T30" fmla="*/ 1400 w 1401"/>
              <a:gd name="T31" fmla="*/ 526 h 3001"/>
              <a:gd name="T32" fmla="*/ 1400 w 1401"/>
              <a:gd name="T33" fmla="*/ 0 h 3001"/>
              <a:gd name="T34" fmla="*/ 939 w 1401"/>
              <a:gd name="T35" fmla="*/ 0 h 3001"/>
              <a:gd name="T36" fmla="*/ 939 w 1401"/>
              <a:gd name="T37" fmla="*/ 0 h 3001"/>
              <a:gd name="T38" fmla="*/ 303 w 1401"/>
              <a:gd name="T39" fmla="*/ 582 h 3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1" h="3001">
                <a:moveTo>
                  <a:pt x="303" y="582"/>
                </a:moveTo>
                <a:lnTo>
                  <a:pt x="303" y="994"/>
                </a:lnTo>
                <a:lnTo>
                  <a:pt x="0" y="994"/>
                </a:lnTo>
                <a:lnTo>
                  <a:pt x="0" y="1499"/>
                </a:lnTo>
                <a:lnTo>
                  <a:pt x="303" y="1499"/>
                </a:lnTo>
                <a:lnTo>
                  <a:pt x="303" y="3000"/>
                </a:lnTo>
                <a:lnTo>
                  <a:pt x="924" y="3000"/>
                </a:lnTo>
                <a:lnTo>
                  <a:pt x="924" y="1500"/>
                </a:lnTo>
                <a:lnTo>
                  <a:pt x="1341" y="1500"/>
                </a:lnTo>
                <a:lnTo>
                  <a:pt x="1341" y="1500"/>
                </a:lnTo>
                <a:cubicBezTo>
                  <a:pt x="1341" y="1500"/>
                  <a:pt x="1380" y="1257"/>
                  <a:pt x="1399" y="993"/>
                </a:cubicBezTo>
                <a:lnTo>
                  <a:pt x="926" y="993"/>
                </a:lnTo>
                <a:lnTo>
                  <a:pt x="926" y="647"/>
                </a:lnTo>
                <a:lnTo>
                  <a:pt x="926" y="647"/>
                </a:lnTo>
                <a:cubicBezTo>
                  <a:pt x="926" y="596"/>
                  <a:pt x="994" y="526"/>
                  <a:pt x="1061" y="526"/>
                </a:cubicBezTo>
                <a:lnTo>
                  <a:pt x="1400" y="526"/>
                </a:lnTo>
                <a:lnTo>
                  <a:pt x="1400" y="0"/>
                </a:lnTo>
                <a:lnTo>
                  <a:pt x="939" y="0"/>
                </a:lnTo>
                <a:lnTo>
                  <a:pt x="939" y="0"/>
                </a:lnTo>
                <a:cubicBezTo>
                  <a:pt x="287" y="0"/>
                  <a:pt x="303" y="506"/>
                  <a:pt x="303" y="582"/>
                </a:cubicBezTo>
              </a:path>
            </a:pathLst>
          </a:custGeom>
          <a:solidFill>
            <a:schemeClr val="bg1"/>
          </a:solidFill>
          <a:ln>
            <a:noFill/>
          </a:ln>
          <a:effectLst/>
        </p:spPr>
        <p:txBody>
          <a:bodyPr wrap="none" anchor="ctr"/>
          <a:lstStyle/>
          <a:p>
            <a:endParaRPr lang="en-US" sz="900" dirty="0"/>
          </a:p>
        </p:txBody>
      </p:sp>
      <p:sp>
        <p:nvSpPr>
          <p:cNvPr id="45" name="Freeform 3">
            <a:extLst>
              <a:ext uri="{FF2B5EF4-FFF2-40B4-BE49-F238E27FC236}">
                <a16:creationId xmlns:a16="http://schemas.microsoft.com/office/drawing/2014/main" id="{98D1F8D3-6F99-6C4D-BDCB-3213AD2E44A9}"/>
              </a:ext>
            </a:extLst>
          </p:cNvPr>
          <p:cNvSpPr>
            <a:spLocks noChangeArrowheads="1"/>
          </p:cNvSpPr>
          <p:nvPr/>
        </p:nvSpPr>
        <p:spPr bwMode="auto">
          <a:xfrm>
            <a:off x="4177045" y="4111060"/>
            <a:ext cx="466969" cy="320759"/>
          </a:xfrm>
          <a:custGeom>
            <a:avLst/>
            <a:gdLst>
              <a:gd name="T0" fmla="*/ 1880 w 5013"/>
              <a:gd name="T1" fmla="*/ 2663 h 3446"/>
              <a:gd name="T2" fmla="*/ 1880 w 5013"/>
              <a:gd name="T3" fmla="*/ 783 h 3446"/>
              <a:gd name="T4" fmla="*/ 3446 w 5013"/>
              <a:gd name="T5" fmla="*/ 1723 h 3446"/>
              <a:gd name="T6" fmla="*/ 1880 w 5013"/>
              <a:gd name="T7" fmla="*/ 2663 h 3446"/>
              <a:gd name="T8" fmla="*/ 4799 w 5013"/>
              <a:gd name="T9" fmla="*/ 332 h 3446"/>
              <a:gd name="T10" fmla="*/ 4799 w 5013"/>
              <a:gd name="T11" fmla="*/ 332 h 3446"/>
              <a:gd name="T12" fmla="*/ 4215 w 5013"/>
              <a:gd name="T13" fmla="*/ 28 h 3446"/>
              <a:gd name="T14" fmla="*/ 4215 w 5013"/>
              <a:gd name="T15" fmla="*/ 28 h 3446"/>
              <a:gd name="T16" fmla="*/ 2507 w 5013"/>
              <a:gd name="T17" fmla="*/ 0 h 3446"/>
              <a:gd name="T18" fmla="*/ 2507 w 5013"/>
              <a:gd name="T19" fmla="*/ 0 h 3446"/>
              <a:gd name="T20" fmla="*/ 797 w 5013"/>
              <a:gd name="T21" fmla="*/ 28 h 3446"/>
              <a:gd name="T22" fmla="*/ 797 w 5013"/>
              <a:gd name="T23" fmla="*/ 28 h 3446"/>
              <a:gd name="T24" fmla="*/ 212 w 5013"/>
              <a:gd name="T25" fmla="*/ 332 h 3446"/>
              <a:gd name="T26" fmla="*/ 212 w 5013"/>
              <a:gd name="T27" fmla="*/ 332 h 3446"/>
              <a:gd name="T28" fmla="*/ 0 w 5013"/>
              <a:gd name="T29" fmla="*/ 1722 h 3446"/>
              <a:gd name="T30" fmla="*/ 0 w 5013"/>
              <a:gd name="T31" fmla="*/ 1723 h 3446"/>
              <a:gd name="T32" fmla="*/ 0 w 5013"/>
              <a:gd name="T33" fmla="*/ 1723 h 3446"/>
              <a:gd name="T34" fmla="*/ 0 w 5013"/>
              <a:gd name="T35" fmla="*/ 1724 h 3446"/>
              <a:gd name="T36" fmla="*/ 0 w 5013"/>
              <a:gd name="T37" fmla="*/ 1724 h 3446"/>
              <a:gd name="T38" fmla="*/ 212 w 5013"/>
              <a:gd name="T39" fmla="*/ 3111 h 3446"/>
              <a:gd name="T40" fmla="*/ 212 w 5013"/>
              <a:gd name="T41" fmla="*/ 3111 h 3446"/>
              <a:gd name="T42" fmla="*/ 797 w 5013"/>
              <a:gd name="T43" fmla="*/ 3418 h 3446"/>
              <a:gd name="T44" fmla="*/ 797 w 5013"/>
              <a:gd name="T45" fmla="*/ 3418 h 3446"/>
              <a:gd name="T46" fmla="*/ 2507 w 5013"/>
              <a:gd name="T47" fmla="*/ 3445 h 3446"/>
              <a:gd name="T48" fmla="*/ 2507 w 5013"/>
              <a:gd name="T49" fmla="*/ 3445 h 3446"/>
              <a:gd name="T50" fmla="*/ 4215 w 5013"/>
              <a:gd name="T51" fmla="*/ 3418 h 3446"/>
              <a:gd name="T52" fmla="*/ 4215 w 5013"/>
              <a:gd name="T53" fmla="*/ 3418 h 3446"/>
              <a:gd name="T54" fmla="*/ 4799 w 5013"/>
              <a:gd name="T55" fmla="*/ 3112 h 3446"/>
              <a:gd name="T56" fmla="*/ 4799 w 5013"/>
              <a:gd name="T57" fmla="*/ 3112 h 3446"/>
              <a:gd name="T58" fmla="*/ 5012 w 5013"/>
              <a:gd name="T59" fmla="*/ 1725 h 3446"/>
              <a:gd name="T60" fmla="*/ 5012 w 5013"/>
              <a:gd name="T61" fmla="*/ 1723 h 3446"/>
              <a:gd name="T62" fmla="*/ 5012 w 5013"/>
              <a:gd name="T63" fmla="*/ 1722 h 3446"/>
              <a:gd name="T64" fmla="*/ 5012 w 5013"/>
              <a:gd name="T65" fmla="*/ 1722 h 3446"/>
              <a:gd name="T66" fmla="*/ 4799 w 5013"/>
              <a:gd name="T67" fmla="*/ 332 h 3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13" h="3446">
                <a:moveTo>
                  <a:pt x="1880" y="2663"/>
                </a:moveTo>
                <a:lnTo>
                  <a:pt x="1880" y="783"/>
                </a:lnTo>
                <a:lnTo>
                  <a:pt x="3446" y="1723"/>
                </a:lnTo>
                <a:lnTo>
                  <a:pt x="1880" y="2663"/>
                </a:lnTo>
                <a:close/>
                <a:moveTo>
                  <a:pt x="4799" y="332"/>
                </a:moveTo>
                <a:lnTo>
                  <a:pt x="4799" y="332"/>
                </a:lnTo>
                <a:cubicBezTo>
                  <a:pt x="4663" y="90"/>
                  <a:pt x="4515" y="45"/>
                  <a:pt x="4215" y="28"/>
                </a:cubicBezTo>
                <a:lnTo>
                  <a:pt x="4215" y="28"/>
                </a:lnTo>
                <a:cubicBezTo>
                  <a:pt x="3915" y="8"/>
                  <a:pt x="3160" y="0"/>
                  <a:pt x="2507" y="0"/>
                </a:cubicBezTo>
                <a:lnTo>
                  <a:pt x="2507" y="0"/>
                </a:lnTo>
                <a:cubicBezTo>
                  <a:pt x="1852" y="0"/>
                  <a:pt x="1097" y="8"/>
                  <a:pt x="797" y="28"/>
                </a:cubicBezTo>
                <a:lnTo>
                  <a:pt x="797" y="28"/>
                </a:lnTo>
                <a:cubicBezTo>
                  <a:pt x="497" y="45"/>
                  <a:pt x="350" y="89"/>
                  <a:pt x="212" y="332"/>
                </a:cubicBezTo>
                <a:lnTo>
                  <a:pt x="212" y="332"/>
                </a:lnTo>
                <a:cubicBezTo>
                  <a:pt x="72" y="573"/>
                  <a:pt x="0" y="989"/>
                  <a:pt x="0" y="1722"/>
                </a:cubicBezTo>
                <a:lnTo>
                  <a:pt x="0" y="1723"/>
                </a:lnTo>
                <a:lnTo>
                  <a:pt x="0" y="1723"/>
                </a:lnTo>
                <a:lnTo>
                  <a:pt x="0" y="1724"/>
                </a:lnTo>
                <a:lnTo>
                  <a:pt x="0" y="1724"/>
                </a:lnTo>
                <a:cubicBezTo>
                  <a:pt x="0" y="2453"/>
                  <a:pt x="72" y="2873"/>
                  <a:pt x="212" y="3111"/>
                </a:cubicBezTo>
                <a:lnTo>
                  <a:pt x="212" y="3111"/>
                </a:lnTo>
                <a:cubicBezTo>
                  <a:pt x="350" y="3353"/>
                  <a:pt x="497" y="3397"/>
                  <a:pt x="797" y="3418"/>
                </a:cubicBezTo>
                <a:lnTo>
                  <a:pt x="797" y="3418"/>
                </a:lnTo>
                <a:cubicBezTo>
                  <a:pt x="1097" y="3435"/>
                  <a:pt x="1852" y="3445"/>
                  <a:pt x="2507" y="3445"/>
                </a:cubicBezTo>
                <a:lnTo>
                  <a:pt x="2507" y="3445"/>
                </a:lnTo>
                <a:cubicBezTo>
                  <a:pt x="3160" y="3445"/>
                  <a:pt x="3915" y="3435"/>
                  <a:pt x="4215" y="3418"/>
                </a:cubicBezTo>
                <a:lnTo>
                  <a:pt x="4215" y="3418"/>
                </a:lnTo>
                <a:cubicBezTo>
                  <a:pt x="4516" y="3397"/>
                  <a:pt x="4664" y="3354"/>
                  <a:pt x="4799" y="3112"/>
                </a:cubicBezTo>
                <a:lnTo>
                  <a:pt x="4799" y="3112"/>
                </a:lnTo>
                <a:cubicBezTo>
                  <a:pt x="4941" y="2873"/>
                  <a:pt x="5012" y="2453"/>
                  <a:pt x="5012" y="1725"/>
                </a:cubicBezTo>
                <a:lnTo>
                  <a:pt x="5012" y="1723"/>
                </a:lnTo>
                <a:lnTo>
                  <a:pt x="5012" y="1722"/>
                </a:lnTo>
                <a:lnTo>
                  <a:pt x="5012" y="1722"/>
                </a:lnTo>
                <a:cubicBezTo>
                  <a:pt x="5012" y="989"/>
                  <a:pt x="4941" y="573"/>
                  <a:pt x="4799" y="332"/>
                </a:cubicBezTo>
                <a:close/>
              </a:path>
            </a:pathLst>
          </a:custGeom>
          <a:solidFill>
            <a:schemeClr val="bg1"/>
          </a:solidFill>
          <a:ln>
            <a:noFill/>
          </a:ln>
          <a:effectLst/>
        </p:spPr>
        <p:txBody>
          <a:bodyPr wrap="none" anchor="ctr"/>
          <a:lstStyle/>
          <a:p>
            <a:endParaRPr lang="en-US" sz="900" dirty="0"/>
          </a:p>
        </p:txBody>
      </p:sp>
      <p:sp>
        <p:nvSpPr>
          <p:cNvPr id="46" name="Freeform 45">
            <a:extLst>
              <a:ext uri="{FF2B5EF4-FFF2-40B4-BE49-F238E27FC236}">
                <a16:creationId xmlns:a16="http://schemas.microsoft.com/office/drawing/2014/main" id="{453D23EA-1D1E-7C43-AEF1-CF4F6423CD11}"/>
              </a:ext>
            </a:extLst>
          </p:cNvPr>
          <p:cNvSpPr>
            <a:spLocks noChangeArrowheads="1"/>
          </p:cNvSpPr>
          <p:nvPr/>
        </p:nvSpPr>
        <p:spPr bwMode="auto">
          <a:xfrm>
            <a:off x="3968132" y="5433641"/>
            <a:ext cx="341562" cy="341562"/>
          </a:xfrm>
          <a:custGeom>
            <a:avLst/>
            <a:gdLst>
              <a:gd name="connsiteX0" fmla="*/ 902928 w 1804628"/>
              <a:gd name="connsiteY0" fmla="*/ 620127 h 1804628"/>
              <a:gd name="connsiteX1" fmla="*/ 621192 w 1804628"/>
              <a:gd name="connsiteY1" fmla="*/ 902494 h 1804628"/>
              <a:gd name="connsiteX2" fmla="*/ 902928 w 1804628"/>
              <a:gd name="connsiteY2" fmla="*/ 1184502 h 1804628"/>
              <a:gd name="connsiteX3" fmla="*/ 1185024 w 1804628"/>
              <a:gd name="connsiteY3" fmla="*/ 902494 h 1804628"/>
              <a:gd name="connsiteX4" fmla="*/ 902928 w 1804628"/>
              <a:gd name="connsiteY4" fmla="*/ 620127 h 1804628"/>
              <a:gd name="connsiteX5" fmla="*/ 902928 w 1804628"/>
              <a:gd name="connsiteY5" fmla="*/ 450850 h 1804628"/>
              <a:gd name="connsiteX6" fmla="*/ 1353778 w 1804628"/>
              <a:gd name="connsiteY6" fmla="*/ 902494 h 1804628"/>
              <a:gd name="connsiteX7" fmla="*/ 902928 w 1804628"/>
              <a:gd name="connsiteY7" fmla="*/ 1353778 h 1804628"/>
              <a:gd name="connsiteX8" fmla="*/ 452438 w 1804628"/>
              <a:gd name="connsiteY8" fmla="*/ 902494 h 1804628"/>
              <a:gd name="connsiteX9" fmla="*/ 902928 w 1804628"/>
              <a:gd name="connsiteY9" fmla="*/ 450850 h 1804628"/>
              <a:gd name="connsiteX10" fmla="*/ 1387295 w 1804628"/>
              <a:gd name="connsiteY10" fmla="*/ 357188 h 1804628"/>
              <a:gd name="connsiteX11" fmla="*/ 1447440 w 1804628"/>
              <a:gd name="connsiteY11" fmla="*/ 416973 h 1804628"/>
              <a:gd name="connsiteX12" fmla="*/ 1387295 w 1804628"/>
              <a:gd name="connsiteY12" fmla="*/ 477478 h 1804628"/>
              <a:gd name="connsiteX13" fmla="*/ 1327150 w 1804628"/>
              <a:gd name="connsiteY13" fmla="*/ 416973 h 1804628"/>
              <a:gd name="connsiteX14" fmla="*/ 1387295 w 1804628"/>
              <a:gd name="connsiteY14" fmla="*/ 357188 h 1804628"/>
              <a:gd name="connsiteX15" fmla="*/ 563968 w 1804628"/>
              <a:gd name="connsiteY15" fmla="*/ 169262 h 1804628"/>
              <a:gd name="connsiteX16" fmla="*/ 168902 w 1804628"/>
              <a:gd name="connsiteY16" fmla="*/ 563969 h 1804628"/>
              <a:gd name="connsiteX17" fmla="*/ 168902 w 1804628"/>
              <a:gd name="connsiteY17" fmla="*/ 1241019 h 1804628"/>
              <a:gd name="connsiteX18" fmla="*/ 563968 w 1804628"/>
              <a:gd name="connsiteY18" fmla="*/ 1635365 h 1804628"/>
              <a:gd name="connsiteX19" fmla="*/ 1240659 w 1804628"/>
              <a:gd name="connsiteY19" fmla="*/ 1635365 h 1804628"/>
              <a:gd name="connsiteX20" fmla="*/ 1635365 w 1804628"/>
              <a:gd name="connsiteY20" fmla="*/ 1241019 h 1804628"/>
              <a:gd name="connsiteX21" fmla="*/ 1635365 w 1804628"/>
              <a:gd name="connsiteY21" fmla="*/ 563969 h 1804628"/>
              <a:gd name="connsiteX22" fmla="*/ 1240659 w 1804628"/>
              <a:gd name="connsiteY22" fmla="*/ 169262 h 1804628"/>
              <a:gd name="connsiteX23" fmla="*/ 563968 w 1804628"/>
              <a:gd name="connsiteY23" fmla="*/ 0 h 1804628"/>
              <a:gd name="connsiteX24" fmla="*/ 1240659 w 1804628"/>
              <a:gd name="connsiteY24" fmla="*/ 0 h 1804628"/>
              <a:gd name="connsiteX25" fmla="*/ 1804628 w 1804628"/>
              <a:gd name="connsiteY25" fmla="*/ 563969 h 1804628"/>
              <a:gd name="connsiteX26" fmla="*/ 1804628 w 1804628"/>
              <a:gd name="connsiteY26" fmla="*/ 1241019 h 1804628"/>
              <a:gd name="connsiteX27" fmla="*/ 1240659 w 1804628"/>
              <a:gd name="connsiteY27" fmla="*/ 1804628 h 1804628"/>
              <a:gd name="connsiteX28" fmla="*/ 563968 w 1804628"/>
              <a:gd name="connsiteY28" fmla="*/ 1804628 h 1804628"/>
              <a:gd name="connsiteX29" fmla="*/ 0 w 1804628"/>
              <a:gd name="connsiteY29" fmla="*/ 1241019 h 1804628"/>
              <a:gd name="connsiteX30" fmla="*/ 0 w 1804628"/>
              <a:gd name="connsiteY30" fmla="*/ 563969 h 1804628"/>
              <a:gd name="connsiteX31" fmla="*/ 563968 w 1804628"/>
              <a:gd name="connsiteY31" fmla="*/ 0 h 180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804628" h="1804628">
                <a:moveTo>
                  <a:pt x="902928" y="620127"/>
                </a:moveTo>
                <a:cubicBezTo>
                  <a:pt x="747847" y="620127"/>
                  <a:pt x="621192" y="746544"/>
                  <a:pt x="621192" y="902494"/>
                </a:cubicBezTo>
                <a:cubicBezTo>
                  <a:pt x="621192" y="1057724"/>
                  <a:pt x="747847" y="1184502"/>
                  <a:pt x="902928" y="1184502"/>
                </a:cubicBezTo>
                <a:cubicBezTo>
                  <a:pt x="1058369" y="1184502"/>
                  <a:pt x="1185024" y="1057724"/>
                  <a:pt x="1185024" y="902494"/>
                </a:cubicBezTo>
                <a:cubicBezTo>
                  <a:pt x="1185024" y="746544"/>
                  <a:pt x="1058369" y="620127"/>
                  <a:pt x="902928" y="620127"/>
                </a:cubicBezTo>
                <a:close/>
                <a:moveTo>
                  <a:pt x="902928" y="450850"/>
                </a:moveTo>
                <a:cubicBezTo>
                  <a:pt x="1152281" y="450850"/>
                  <a:pt x="1353778" y="653262"/>
                  <a:pt x="1353778" y="902494"/>
                </a:cubicBezTo>
                <a:cubicBezTo>
                  <a:pt x="1353778" y="1151367"/>
                  <a:pt x="1152281" y="1353778"/>
                  <a:pt x="902928" y="1353778"/>
                </a:cubicBezTo>
                <a:cubicBezTo>
                  <a:pt x="653935" y="1353778"/>
                  <a:pt x="452438" y="1151367"/>
                  <a:pt x="452438" y="902494"/>
                </a:cubicBezTo>
                <a:cubicBezTo>
                  <a:pt x="452438" y="653262"/>
                  <a:pt x="653935" y="450850"/>
                  <a:pt x="902928" y="450850"/>
                </a:cubicBezTo>
                <a:close/>
                <a:moveTo>
                  <a:pt x="1387295" y="357188"/>
                </a:moveTo>
                <a:cubicBezTo>
                  <a:pt x="1420789" y="357188"/>
                  <a:pt x="1447440" y="383839"/>
                  <a:pt x="1447440" y="416973"/>
                </a:cubicBezTo>
                <a:cubicBezTo>
                  <a:pt x="1447440" y="450467"/>
                  <a:pt x="1420789" y="477478"/>
                  <a:pt x="1387295" y="477478"/>
                </a:cubicBezTo>
                <a:cubicBezTo>
                  <a:pt x="1354161" y="477478"/>
                  <a:pt x="1327150" y="450467"/>
                  <a:pt x="1327150" y="416973"/>
                </a:cubicBezTo>
                <a:cubicBezTo>
                  <a:pt x="1327150" y="383839"/>
                  <a:pt x="1354161" y="357188"/>
                  <a:pt x="1387295" y="357188"/>
                </a:cubicBezTo>
                <a:close/>
                <a:moveTo>
                  <a:pt x="563968" y="169262"/>
                </a:moveTo>
                <a:cubicBezTo>
                  <a:pt x="346088" y="169262"/>
                  <a:pt x="168902" y="346088"/>
                  <a:pt x="168902" y="563969"/>
                </a:cubicBezTo>
                <a:lnTo>
                  <a:pt x="168902" y="1241019"/>
                </a:lnTo>
                <a:cubicBezTo>
                  <a:pt x="168902" y="1458540"/>
                  <a:pt x="346088" y="1635365"/>
                  <a:pt x="563968" y="1635365"/>
                </a:cubicBezTo>
                <a:lnTo>
                  <a:pt x="1240659" y="1635365"/>
                </a:lnTo>
                <a:cubicBezTo>
                  <a:pt x="1458540" y="1635365"/>
                  <a:pt x="1635365" y="1458540"/>
                  <a:pt x="1635365" y="1241019"/>
                </a:cubicBezTo>
                <a:lnTo>
                  <a:pt x="1635365" y="563969"/>
                </a:lnTo>
                <a:cubicBezTo>
                  <a:pt x="1635365" y="346088"/>
                  <a:pt x="1458540" y="169262"/>
                  <a:pt x="1240659" y="169262"/>
                </a:cubicBezTo>
                <a:close/>
                <a:moveTo>
                  <a:pt x="563968" y="0"/>
                </a:moveTo>
                <a:lnTo>
                  <a:pt x="1240659" y="0"/>
                </a:lnTo>
                <a:cubicBezTo>
                  <a:pt x="1552175" y="0"/>
                  <a:pt x="1804628" y="252453"/>
                  <a:pt x="1804628" y="563969"/>
                </a:cubicBezTo>
                <a:lnTo>
                  <a:pt x="1804628" y="1241019"/>
                </a:lnTo>
                <a:cubicBezTo>
                  <a:pt x="1804628" y="1552175"/>
                  <a:pt x="1552175" y="1804628"/>
                  <a:pt x="1240659" y="1804628"/>
                </a:cubicBezTo>
                <a:lnTo>
                  <a:pt x="563968" y="1804628"/>
                </a:lnTo>
                <a:cubicBezTo>
                  <a:pt x="252453" y="1804628"/>
                  <a:pt x="0" y="1552175"/>
                  <a:pt x="0" y="1241019"/>
                </a:cubicBezTo>
                <a:lnTo>
                  <a:pt x="0" y="563969"/>
                </a:lnTo>
                <a:cubicBezTo>
                  <a:pt x="0" y="252453"/>
                  <a:pt x="252453" y="0"/>
                  <a:pt x="563968" y="0"/>
                </a:cubicBezTo>
                <a:close/>
              </a:path>
            </a:pathLst>
          </a:custGeom>
          <a:solidFill>
            <a:schemeClr val="bg1"/>
          </a:solidFill>
          <a:ln>
            <a:noFill/>
          </a:ln>
          <a:effectLst/>
        </p:spPr>
        <p:txBody>
          <a:bodyPr wrap="square" anchor="ctr">
            <a:noAutofit/>
          </a:bodyPr>
          <a:lstStyle/>
          <a:p>
            <a:endParaRPr lang="en-US" sz="900" dirty="0"/>
          </a:p>
        </p:txBody>
      </p:sp>
      <p:sp>
        <p:nvSpPr>
          <p:cNvPr id="25" name="Titel 1">
            <a:extLst>
              <a:ext uri="{FF2B5EF4-FFF2-40B4-BE49-F238E27FC236}">
                <a16:creationId xmlns:a16="http://schemas.microsoft.com/office/drawing/2014/main" id="{5681784F-8030-4C97-870C-D8611BF44134}"/>
              </a:ext>
            </a:extLst>
          </p:cNvPr>
          <p:cNvSpPr txBox="1">
            <a:spLocks/>
          </p:cNvSpPr>
          <p:nvPr/>
        </p:nvSpPr>
        <p:spPr>
          <a:xfrm>
            <a:off x="458400" y="318601"/>
            <a:ext cx="5783374"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Social Media</a:t>
            </a:r>
          </a:p>
        </p:txBody>
      </p:sp>
    </p:spTree>
    <p:custDataLst>
      <p:tags r:id="rId1"/>
    </p:custDataLst>
    <p:extLst>
      <p:ext uri="{BB962C8B-B14F-4D97-AF65-F5344CB8AC3E}">
        <p14:creationId xmlns:p14="http://schemas.microsoft.com/office/powerpoint/2010/main" val="49974481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A8D6CEB0-CCD8-F947-A47E-D3958DA28B14}"/>
              </a:ext>
            </a:extLst>
          </p:cNvPr>
          <p:cNvSpPr/>
          <p:nvPr/>
        </p:nvSpPr>
        <p:spPr>
          <a:xfrm>
            <a:off x="9067113" y="1370927"/>
            <a:ext cx="2829670" cy="4592212"/>
          </a:xfrm>
          <a:prstGeom prst="roundRect">
            <a:avLst>
              <a:gd name="adj" fmla="val 658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p>
        </p:txBody>
      </p:sp>
      <p:graphicFrame>
        <p:nvGraphicFramePr>
          <p:cNvPr id="96" name="Chart 95">
            <a:extLst>
              <a:ext uri="{FF2B5EF4-FFF2-40B4-BE49-F238E27FC236}">
                <a16:creationId xmlns:a16="http://schemas.microsoft.com/office/drawing/2014/main" id="{AAFEDEFF-E02A-4943-A009-2FB0B4E09834}"/>
              </a:ext>
            </a:extLst>
          </p:cNvPr>
          <p:cNvGraphicFramePr/>
          <p:nvPr/>
        </p:nvGraphicFramePr>
        <p:xfrm>
          <a:off x="9076619" y="3960448"/>
          <a:ext cx="2820162" cy="1880108"/>
        </p:xfrm>
        <a:graphic>
          <a:graphicData uri="http://schemas.openxmlformats.org/drawingml/2006/chart">
            <c:chart xmlns:c="http://schemas.openxmlformats.org/drawingml/2006/chart" xmlns:r="http://schemas.openxmlformats.org/officeDocument/2006/relationships" r:id="rId4"/>
          </a:graphicData>
        </a:graphic>
      </p:graphicFrame>
      <p:sp>
        <p:nvSpPr>
          <p:cNvPr id="6" name="Rectangle: Rounded Corners 5">
            <a:extLst>
              <a:ext uri="{FF2B5EF4-FFF2-40B4-BE49-F238E27FC236}">
                <a16:creationId xmlns:a16="http://schemas.microsoft.com/office/drawing/2014/main" id="{5164F90C-6C8E-564D-8A33-7456F9FCC7A6}"/>
              </a:ext>
            </a:extLst>
          </p:cNvPr>
          <p:cNvSpPr/>
          <p:nvPr/>
        </p:nvSpPr>
        <p:spPr>
          <a:xfrm>
            <a:off x="6154720" y="1370927"/>
            <a:ext cx="2829670" cy="4592212"/>
          </a:xfrm>
          <a:prstGeom prst="roundRect">
            <a:avLst>
              <a:gd name="adj" fmla="val 6583"/>
            </a:avLst>
          </a:prstGeom>
          <a:solidFill>
            <a:srgbClr val="1EB2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p>
        </p:txBody>
      </p:sp>
      <p:graphicFrame>
        <p:nvGraphicFramePr>
          <p:cNvPr id="80" name="Chart 79">
            <a:extLst>
              <a:ext uri="{FF2B5EF4-FFF2-40B4-BE49-F238E27FC236}">
                <a16:creationId xmlns:a16="http://schemas.microsoft.com/office/drawing/2014/main" id="{EA981A2C-89B9-2347-AEA4-62E94802ACA8}"/>
              </a:ext>
            </a:extLst>
          </p:cNvPr>
          <p:cNvGraphicFramePr/>
          <p:nvPr/>
        </p:nvGraphicFramePr>
        <p:xfrm>
          <a:off x="6154720" y="3941925"/>
          <a:ext cx="2829670" cy="1886447"/>
        </p:xfrm>
        <a:graphic>
          <a:graphicData uri="http://schemas.openxmlformats.org/drawingml/2006/chart">
            <c:chart xmlns:c="http://schemas.openxmlformats.org/drawingml/2006/chart" xmlns:r="http://schemas.openxmlformats.org/officeDocument/2006/relationships" r:id="rId5"/>
          </a:graphicData>
        </a:graphic>
      </p:graphicFrame>
      <p:sp>
        <p:nvSpPr>
          <p:cNvPr id="5" name="Rectangle: Rounded Corners 4">
            <a:extLst>
              <a:ext uri="{FF2B5EF4-FFF2-40B4-BE49-F238E27FC236}">
                <a16:creationId xmlns:a16="http://schemas.microsoft.com/office/drawing/2014/main" id="{934196EA-1985-6F46-88F5-38E7744B6BD5}"/>
              </a:ext>
            </a:extLst>
          </p:cNvPr>
          <p:cNvSpPr/>
          <p:nvPr/>
        </p:nvSpPr>
        <p:spPr>
          <a:xfrm>
            <a:off x="3219184" y="1370927"/>
            <a:ext cx="2829670" cy="4592212"/>
          </a:xfrm>
          <a:prstGeom prst="roundRect">
            <a:avLst>
              <a:gd name="adj" fmla="val 6583"/>
            </a:avLst>
          </a:prstGeom>
          <a:solidFill>
            <a:srgbClr val="4F77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p>
        </p:txBody>
      </p:sp>
      <p:graphicFrame>
        <p:nvGraphicFramePr>
          <p:cNvPr id="65" name="Chart 64">
            <a:extLst>
              <a:ext uri="{FF2B5EF4-FFF2-40B4-BE49-F238E27FC236}">
                <a16:creationId xmlns:a16="http://schemas.microsoft.com/office/drawing/2014/main" id="{46DDAFAF-3B8F-DF45-A80D-002ED8FF4900}"/>
              </a:ext>
            </a:extLst>
          </p:cNvPr>
          <p:cNvGraphicFramePr/>
          <p:nvPr/>
        </p:nvGraphicFramePr>
        <p:xfrm>
          <a:off x="3219184" y="3941925"/>
          <a:ext cx="2829670" cy="1886447"/>
        </p:xfrm>
        <a:graphic>
          <a:graphicData uri="http://schemas.openxmlformats.org/drawingml/2006/chart">
            <c:chart xmlns:c="http://schemas.openxmlformats.org/drawingml/2006/chart" xmlns:r="http://schemas.openxmlformats.org/officeDocument/2006/relationships" r:id="rId6"/>
          </a:graphicData>
        </a:graphic>
      </p:graphicFrame>
      <p:sp>
        <p:nvSpPr>
          <p:cNvPr id="4" name="Rectangle: Rounded Corners 3">
            <a:extLst>
              <a:ext uri="{FF2B5EF4-FFF2-40B4-BE49-F238E27FC236}">
                <a16:creationId xmlns:a16="http://schemas.microsoft.com/office/drawing/2014/main" id="{BF6BDA27-573D-404E-B403-A9F42DDB9E63}"/>
              </a:ext>
            </a:extLst>
          </p:cNvPr>
          <p:cNvSpPr/>
          <p:nvPr/>
        </p:nvSpPr>
        <p:spPr>
          <a:xfrm>
            <a:off x="295220" y="1370927"/>
            <a:ext cx="2829670" cy="4592212"/>
          </a:xfrm>
          <a:prstGeom prst="roundRect">
            <a:avLst>
              <a:gd name="adj" fmla="val 6583"/>
            </a:avLst>
          </a:prstGeom>
          <a:solidFill>
            <a:srgbClr val="CA25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p>
        </p:txBody>
      </p:sp>
      <p:sp>
        <p:nvSpPr>
          <p:cNvPr id="10" name="Freeform 1">
            <a:extLst>
              <a:ext uri="{FF2B5EF4-FFF2-40B4-BE49-F238E27FC236}">
                <a16:creationId xmlns:a16="http://schemas.microsoft.com/office/drawing/2014/main" id="{4D75278D-E920-B645-B369-FCB3BBDF308E}"/>
              </a:ext>
            </a:extLst>
          </p:cNvPr>
          <p:cNvSpPr>
            <a:spLocks noChangeArrowheads="1"/>
          </p:cNvSpPr>
          <p:nvPr/>
        </p:nvSpPr>
        <p:spPr bwMode="auto">
          <a:xfrm>
            <a:off x="4488116" y="1564980"/>
            <a:ext cx="298051" cy="638280"/>
          </a:xfrm>
          <a:custGeom>
            <a:avLst/>
            <a:gdLst>
              <a:gd name="T0" fmla="*/ 303 w 1401"/>
              <a:gd name="T1" fmla="*/ 582 h 3001"/>
              <a:gd name="T2" fmla="*/ 303 w 1401"/>
              <a:gd name="T3" fmla="*/ 994 h 3001"/>
              <a:gd name="T4" fmla="*/ 0 w 1401"/>
              <a:gd name="T5" fmla="*/ 994 h 3001"/>
              <a:gd name="T6" fmla="*/ 0 w 1401"/>
              <a:gd name="T7" fmla="*/ 1499 h 3001"/>
              <a:gd name="T8" fmla="*/ 303 w 1401"/>
              <a:gd name="T9" fmla="*/ 1499 h 3001"/>
              <a:gd name="T10" fmla="*/ 303 w 1401"/>
              <a:gd name="T11" fmla="*/ 3000 h 3001"/>
              <a:gd name="T12" fmla="*/ 924 w 1401"/>
              <a:gd name="T13" fmla="*/ 3000 h 3001"/>
              <a:gd name="T14" fmla="*/ 924 w 1401"/>
              <a:gd name="T15" fmla="*/ 1500 h 3001"/>
              <a:gd name="T16" fmla="*/ 1341 w 1401"/>
              <a:gd name="T17" fmla="*/ 1500 h 3001"/>
              <a:gd name="T18" fmla="*/ 1341 w 1401"/>
              <a:gd name="T19" fmla="*/ 1500 h 3001"/>
              <a:gd name="T20" fmla="*/ 1399 w 1401"/>
              <a:gd name="T21" fmla="*/ 993 h 3001"/>
              <a:gd name="T22" fmla="*/ 926 w 1401"/>
              <a:gd name="T23" fmla="*/ 993 h 3001"/>
              <a:gd name="T24" fmla="*/ 926 w 1401"/>
              <a:gd name="T25" fmla="*/ 647 h 3001"/>
              <a:gd name="T26" fmla="*/ 926 w 1401"/>
              <a:gd name="T27" fmla="*/ 647 h 3001"/>
              <a:gd name="T28" fmla="*/ 1061 w 1401"/>
              <a:gd name="T29" fmla="*/ 526 h 3001"/>
              <a:gd name="T30" fmla="*/ 1400 w 1401"/>
              <a:gd name="T31" fmla="*/ 526 h 3001"/>
              <a:gd name="T32" fmla="*/ 1400 w 1401"/>
              <a:gd name="T33" fmla="*/ 0 h 3001"/>
              <a:gd name="T34" fmla="*/ 939 w 1401"/>
              <a:gd name="T35" fmla="*/ 0 h 3001"/>
              <a:gd name="T36" fmla="*/ 939 w 1401"/>
              <a:gd name="T37" fmla="*/ 0 h 3001"/>
              <a:gd name="T38" fmla="*/ 303 w 1401"/>
              <a:gd name="T39" fmla="*/ 582 h 3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1" h="3001">
                <a:moveTo>
                  <a:pt x="303" y="582"/>
                </a:moveTo>
                <a:lnTo>
                  <a:pt x="303" y="994"/>
                </a:lnTo>
                <a:lnTo>
                  <a:pt x="0" y="994"/>
                </a:lnTo>
                <a:lnTo>
                  <a:pt x="0" y="1499"/>
                </a:lnTo>
                <a:lnTo>
                  <a:pt x="303" y="1499"/>
                </a:lnTo>
                <a:lnTo>
                  <a:pt x="303" y="3000"/>
                </a:lnTo>
                <a:lnTo>
                  <a:pt x="924" y="3000"/>
                </a:lnTo>
                <a:lnTo>
                  <a:pt x="924" y="1500"/>
                </a:lnTo>
                <a:lnTo>
                  <a:pt x="1341" y="1500"/>
                </a:lnTo>
                <a:lnTo>
                  <a:pt x="1341" y="1500"/>
                </a:lnTo>
                <a:cubicBezTo>
                  <a:pt x="1341" y="1500"/>
                  <a:pt x="1380" y="1257"/>
                  <a:pt x="1399" y="993"/>
                </a:cubicBezTo>
                <a:lnTo>
                  <a:pt x="926" y="993"/>
                </a:lnTo>
                <a:lnTo>
                  <a:pt x="926" y="647"/>
                </a:lnTo>
                <a:lnTo>
                  <a:pt x="926" y="647"/>
                </a:lnTo>
                <a:cubicBezTo>
                  <a:pt x="926" y="596"/>
                  <a:pt x="994" y="526"/>
                  <a:pt x="1061" y="526"/>
                </a:cubicBezTo>
                <a:lnTo>
                  <a:pt x="1400" y="526"/>
                </a:lnTo>
                <a:lnTo>
                  <a:pt x="1400" y="0"/>
                </a:lnTo>
                <a:lnTo>
                  <a:pt x="939" y="0"/>
                </a:lnTo>
                <a:lnTo>
                  <a:pt x="939" y="0"/>
                </a:lnTo>
                <a:cubicBezTo>
                  <a:pt x="287" y="0"/>
                  <a:pt x="303" y="506"/>
                  <a:pt x="303" y="582"/>
                </a:cubicBezTo>
              </a:path>
            </a:pathLst>
          </a:custGeom>
          <a:solidFill>
            <a:schemeClr val="bg1"/>
          </a:solidFill>
          <a:ln>
            <a:noFill/>
          </a:ln>
          <a:effectLst/>
        </p:spPr>
        <p:txBody>
          <a:bodyPr wrap="none" anchor="ctr"/>
          <a:lstStyle/>
          <a:p>
            <a:endParaRPr lang="en-US" sz="900" dirty="0"/>
          </a:p>
        </p:txBody>
      </p:sp>
      <p:sp>
        <p:nvSpPr>
          <p:cNvPr id="13" name="Freeform 1">
            <a:extLst>
              <a:ext uri="{FF2B5EF4-FFF2-40B4-BE49-F238E27FC236}">
                <a16:creationId xmlns:a16="http://schemas.microsoft.com/office/drawing/2014/main" id="{BC1A1E7E-4E74-C141-899A-3AC27F6870EB}"/>
              </a:ext>
            </a:extLst>
          </p:cNvPr>
          <p:cNvSpPr>
            <a:spLocks noChangeArrowheads="1"/>
          </p:cNvSpPr>
          <p:nvPr/>
        </p:nvSpPr>
        <p:spPr bwMode="auto">
          <a:xfrm>
            <a:off x="1460576" y="1528758"/>
            <a:ext cx="501155" cy="632890"/>
          </a:xfrm>
          <a:custGeom>
            <a:avLst/>
            <a:gdLst>
              <a:gd name="T0" fmla="*/ 3790 w 3942"/>
              <a:gd name="T1" fmla="*/ 1455 h 4977"/>
              <a:gd name="T2" fmla="*/ 3790 w 3942"/>
              <a:gd name="T3" fmla="*/ 1455 h 4977"/>
              <a:gd name="T4" fmla="*/ 1673 w 3942"/>
              <a:gd name="T5" fmla="*/ 115 h 4977"/>
              <a:gd name="T6" fmla="*/ 1673 w 3942"/>
              <a:gd name="T7" fmla="*/ 115 h 4977"/>
              <a:gd name="T8" fmla="*/ 21 w 3942"/>
              <a:gd name="T9" fmla="*/ 1798 h 4977"/>
              <a:gd name="T10" fmla="*/ 21 w 3942"/>
              <a:gd name="T11" fmla="*/ 1798 h 4977"/>
              <a:gd name="T12" fmla="*/ 707 w 3942"/>
              <a:gd name="T13" fmla="*/ 2919 h 4977"/>
              <a:gd name="T14" fmla="*/ 707 w 3942"/>
              <a:gd name="T15" fmla="*/ 2919 h 4977"/>
              <a:gd name="T16" fmla="*/ 582 w 3942"/>
              <a:gd name="T17" fmla="*/ 2109 h 4977"/>
              <a:gd name="T18" fmla="*/ 582 w 3942"/>
              <a:gd name="T19" fmla="*/ 2109 h 4977"/>
              <a:gd name="T20" fmla="*/ 2856 w 3942"/>
              <a:gd name="T21" fmla="*/ 893 h 4977"/>
              <a:gd name="T22" fmla="*/ 2856 w 3942"/>
              <a:gd name="T23" fmla="*/ 893 h 4977"/>
              <a:gd name="T24" fmla="*/ 2109 w 3942"/>
              <a:gd name="T25" fmla="*/ 3136 h 4977"/>
              <a:gd name="T26" fmla="*/ 2109 w 3942"/>
              <a:gd name="T27" fmla="*/ 3136 h 4977"/>
              <a:gd name="T28" fmla="*/ 1829 w 3942"/>
              <a:gd name="T29" fmla="*/ 1206 h 4977"/>
              <a:gd name="T30" fmla="*/ 1829 w 3942"/>
              <a:gd name="T31" fmla="*/ 1206 h 4977"/>
              <a:gd name="T32" fmla="*/ 1206 w 3942"/>
              <a:gd name="T33" fmla="*/ 2389 h 4977"/>
              <a:gd name="T34" fmla="*/ 1206 w 3942"/>
              <a:gd name="T35" fmla="*/ 2389 h 4977"/>
              <a:gd name="T36" fmla="*/ 832 w 3942"/>
              <a:gd name="T37" fmla="*/ 4976 h 4977"/>
              <a:gd name="T38" fmla="*/ 832 w 3942"/>
              <a:gd name="T39" fmla="*/ 4976 h 4977"/>
              <a:gd name="T40" fmla="*/ 1579 w 3942"/>
              <a:gd name="T41" fmla="*/ 3324 h 4977"/>
              <a:gd name="T42" fmla="*/ 1579 w 3942"/>
              <a:gd name="T43" fmla="*/ 3324 h 4977"/>
              <a:gd name="T44" fmla="*/ 2234 w 3942"/>
              <a:gd name="T45" fmla="*/ 3636 h 4977"/>
              <a:gd name="T46" fmla="*/ 2234 w 3942"/>
              <a:gd name="T47" fmla="*/ 3636 h 4977"/>
              <a:gd name="T48" fmla="*/ 3790 w 3942"/>
              <a:gd name="T49" fmla="*/ 1455 h 4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2" h="4977">
                <a:moveTo>
                  <a:pt x="3790" y="1455"/>
                </a:moveTo>
                <a:lnTo>
                  <a:pt x="3790" y="1455"/>
                </a:lnTo>
                <a:cubicBezTo>
                  <a:pt x="3658" y="491"/>
                  <a:pt x="2697" y="0"/>
                  <a:pt x="1673" y="115"/>
                </a:cubicBezTo>
                <a:lnTo>
                  <a:pt x="1673" y="115"/>
                </a:lnTo>
                <a:cubicBezTo>
                  <a:pt x="862" y="206"/>
                  <a:pt x="55" y="860"/>
                  <a:pt x="21" y="1798"/>
                </a:cubicBezTo>
                <a:lnTo>
                  <a:pt x="21" y="1798"/>
                </a:lnTo>
                <a:cubicBezTo>
                  <a:pt x="0" y="2370"/>
                  <a:pt x="162" y="2799"/>
                  <a:pt x="707" y="2919"/>
                </a:cubicBezTo>
                <a:lnTo>
                  <a:pt x="707" y="2919"/>
                </a:lnTo>
                <a:cubicBezTo>
                  <a:pt x="942" y="2503"/>
                  <a:pt x="631" y="2412"/>
                  <a:pt x="582" y="2109"/>
                </a:cubicBezTo>
                <a:lnTo>
                  <a:pt x="582" y="2109"/>
                </a:lnTo>
                <a:cubicBezTo>
                  <a:pt x="382" y="874"/>
                  <a:pt x="2006" y="32"/>
                  <a:pt x="2856" y="893"/>
                </a:cubicBezTo>
                <a:lnTo>
                  <a:pt x="2856" y="893"/>
                </a:lnTo>
                <a:cubicBezTo>
                  <a:pt x="3445" y="1492"/>
                  <a:pt x="3057" y="3328"/>
                  <a:pt x="2109" y="3136"/>
                </a:cubicBezTo>
                <a:lnTo>
                  <a:pt x="2109" y="3136"/>
                </a:lnTo>
                <a:cubicBezTo>
                  <a:pt x="1200" y="2955"/>
                  <a:pt x="2553" y="1493"/>
                  <a:pt x="1829" y="1206"/>
                </a:cubicBezTo>
                <a:lnTo>
                  <a:pt x="1829" y="1206"/>
                </a:lnTo>
                <a:cubicBezTo>
                  <a:pt x="1240" y="972"/>
                  <a:pt x="925" y="1919"/>
                  <a:pt x="1206" y="2389"/>
                </a:cubicBezTo>
                <a:lnTo>
                  <a:pt x="1206" y="2389"/>
                </a:lnTo>
                <a:cubicBezTo>
                  <a:pt x="1042" y="3199"/>
                  <a:pt x="689" y="3961"/>
                  <a:pt x="832" y="4976"/>
                </a:cubicBezTo>
                <a:lnTo>
                  <a:pt x="832" y="4976"/>
                </a:lnTo>
                <a:cubicBezTo>
                  <a:pt x="1295" y="4639"/>
                  <a:pt x="1451" y="3995"/>
                  <a:pt x="1579" y="3324"/>
                </a:cubicBezTo>
                <a:lnTo>
                  <a:pt x="1579" y="3324"/>
                </a:lnTo>
                <a:cubicBezTo>
                  <a:pt x="1813" y="3465"/>
                  <a:pt x="1937" y="3612"/>
                  <a:pt x="2234" y="3636"/>
                </a:cubicBezTo>
                <a:lnTo>
                  <a:pt x="2234" y="3636"/>
                </a:lnTo>
                <a:cubicBezTo>
                  <a:pt x="3329" y="3720"/>
                  <a:pt x="3941" y="2542"/>
                  <a:pt x="3790" y="1455"/>
                </a:cubicBezTo>
              </a:path>
            </a:pathLst>
          </a:custGeom>
          <a:solidFill>
            <a:schemeClr val="bg1"/>
          </a:solidFill>
          <a:ln>
            <a:noFill/>
          </a:ln>
          <a:effectLst/>
        </p:spPr>
        <p:txBody>
          <a:bodyPr wrap="none" anchor="ctr"/>
          <a:lstStyle/>
          <a:p>
            <a:endParaRPr lang="en-US" sz="900" dirty="0"/>
          </a:p>
        </p:txBody>
      </p:sp>
      <p:sp>
        <p:nvSpPr>
          <p:cNvPr id="14" name="Freeform 2">
            <a:extLst>
              <a:ext uri="{FF2B5EF4-FFF2-40B4-BE49-F238E27FC236}">
                <a16:creationId xmlns:a16="http://schemas.microsoft.com/office/drawing/2014/main" id="{3D5C679B-E126-494D-84FC-3B5660480654}"/>
              </a:ext>
            </a:extLst>
          </p:cNvPr>
          <p:cNvSpPr>
            <a:spLocks noChangeArrowheads="1"/>
          </p:cNvSpPr>
          <p:nvPr/>
        </p:nvSpPr>
        <p:spPr bwMode="auto">
          <a:xfrm>
            <a:off x="7253631" y="1574369"/>
            <a:ext cx="664369" cy="538957"/>
          </a:xfrm>
          <a:custGeom>
            <a:avLst/>
            <a:gdLst>
              <a:gd name="T0" fmla="*/ 3688 w 3689"/>
              <a:gd name="T1" fmla="*/ 354 h 2995"/>
              <a:gd name="T2" fmla="*/ 3688 w 3689"/>
              <a:gd name="T3" fmla="*/ 354 h 2995"/>
              <a:gd name="T4" fmla="*/ 3253 w 3689"/>
              <a:gd name="T5" fmla="*/ 474 h 2995"/>
              <a:gd name="T6" fmla="*/ 3253 w 3689"/>
              <a:gd name="T7" fmla="*/ 474 h 2995"/>
              <a:gd name="T8" fmla="*/ 3586 w 3689"/>
              <a:gd name="T9" fmla="*/ 54 h 2995"/>
              <a:gd name="T10" fmla="*/ 3586 w 3689"/>
              <a:gd name="T11" fmla="*/ 54 h 2995"/>
              <a:gd name="T12" fmla="*/ 3104 w 3689"/>
              <a:gd name="T13" fmla="*/ 238 h 2995"/>
              <a:gd name="T14" fmla="*/ 3104 w 3689"/>
              <a:gd name="T15" fmla="*/ 238 h 2995"/>
              <a:gd name="T16" fmla="*/ 2553 w 3689"/>
              <a:gd name="T17" fmla="*/ 0 h 2995"/>
              <a:gd name="T18" fmla="*/ 2553 w 3689"/>
              <a:gd name="T19" fmla="*/ 0 h 2995"/>
              <a:gd name="T20" fmla="*/ 1797 w 3689"/>
              <a:gd name="T21" fmla="*/ 756 h 2995"/>
              <a:gd name="T22" fmla="*/ 1797 w 3689"/>
              <a:gd name="T23" fmla="*/ 756 h 2995"/>
              <a:gd name="T24" fmla="*/ 1816 w 3689"/>
              <a:gd name="T25" fmla="*/ 928 h 2995"/>
              <a:gd name="T26" fmla="*/ 1816 w 3689"/>
              <a:gd name="T27" fmla="*/ 928 h 2995"/>
              <a:gd name="T28" fmla="*/ 257 w 3689"/>
              <a:gd name="T29" fmla="*/ 138 h 2995"/>
              <a:gd name="T30" fmla="*/ 257 w 3689"/>
              <a:gd name="T31" fmla="*/ 138 h 2995"/>
              <a:gd name="T32" fmla="*/ 154 w 3689"/>
              <a:gd name="T33" fmla="*/ 518 h 2995"/>
              <a:gd name="T34" fmla="*/ 154 w 3689"/>
              <a:gd name="T35" fmla="*/ 518 h 2995"/>
              <a:gd name="T36" fmla="*/ 491 w 3689"/>
              <a:gd name="T37" fmla="*/ 1147 h 2995"/>
              <a:gd name="T38" fmla="*/ 491 w 3689"/>
              <a:gd name="T39" fmla="*/ 1147 h 2995"/>
              <a:gd name="T40" fmla="*/ 149 w 3689"/>
              <a:gd name="T41" fmla="*/ 1053 h 2995"/>
              <a:gd name="T42" fmla="*/ 149 w 3689"/>
              <a:gd name="T43" fmla="*/ 1062 h 2995"/>
              <a:gd name="T44" fmla="*/ 149 w 3689"/>
              <a:gd name="T45" fmla="*/ 1062 h 2995"/>
              <a:gd name="T46" fmla="*/ 755 w 3689"/>
              <a:gd name="T47" fmla="*/ 1804 h 2995"/>
              <a:gd name="T48" fmla="*/ 755 w 3689"/>
              <a:gd name="T49" fmla="*/ 1804 h 2995"/>
              <a:gd name="T50" fmla="*/ 556 w 3689"/>
              <a:gd name="T51" fmla="*/ 1830 h 2995"/>
              <a:gd name="T52" fmla="*/ 556 w 3689"/>
              <a:gd name="T53" fmla="*/ 1830 h 2995"/>
              <a:gd name="T54" fmla="*/ 413 w 3689"/>
              <a:gd name="T55" fmla="*/ 1817 h 2995"/>
              <a:gd name="T56" fmla="*/ 413 w 3689"/>
              <a:gd name="T57" fmla="*/ 1817 h 2995"/>
              <a:gd name="T58" fmla="*/ 1120 w 3689"/>
              <a:gd name="T59" fmla="*/ 2342 h 2995"/>
              <a:gd name="T60" fmla="*/ 1120 w 3689"/>
              <a:gd name="T61" fmla="*/ 2342 h 2995"/>
              <a:gd name="T62" fmla="*/ 180 w 3689"/>
              <a:gd name="T63" fmla="*/ 2665 h 2995"/>
              <a:gd name="T64" fmla="*/ 180 w 3689"/>
              <a:gd name="T65" fmla="*/ 2665 h 2995"/>
              <a:gd name="T66" fmla="*/ 0 w 3689"/>
              <a:gd name="T67" fmla="*/ 2655 h 2995"/>
              <a:gd name="T68" fmla="*/ 0 w 3689"/>
              <a:gd name="T69" fmla="*/ 2655 h 2995"/>
              <a:gd name="T70" fmla="*/ 1160 w 3689"/>
              <a:gd name="T71" fmla="*/ 2994 h 2995"/>
              <a:gd name="T72" fmla="*/ 1160 w 3689"/>
              <a:gd name="T73" fmla="*/ 2994 h 2995"/>
              <a:gd name="T74" fmla="*/ 3312 w 3689"/>
              <a:gd name="T75" fmla="*/ 844 h 2995"/>
              <a:gd name="T76" fmla="*/ 3309 w 3689"/>
              <a:gd name="T77" fmla="*/ 746 h 2995"/>
              <a:gd name="T78" fmla="*/ 3309 w 3689"/>
              <a:gd name="T79" fmla="*/ 746 h 2995"/>
              <a:gd name="T80" fmla="*/ 3688 w 3689"/>
              <a:gd name="T81" fmla="*/ 354 h 2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89" h="2995">
                <a:moveTo>
                  <a:pt x="3688" y="354"/>
                </a:moveTo>
                <a:lnTo>
                  <a:pt x="3688" y="354"/>
                </a:lnTo>
                <a:cubicBezTo>
                  <a:pt x="3552" y="414"/>
                  <a:pt x="3406" y="455"/>
                  <a:pt x="3253" y="474"/>
                </a:cubicBezTo>
                <a:lnTo>
                  <a:pt x="3253" y="474"/>
                </a:lnTo>
                <a:cubicBezTo>
                  <a:pt x="3409" y="380"/>
                  <a:pt x="3528" y="232"/>
                  <a:pt x="3586" y="54"/>
                </a:cubicBezTo>
                <a:lnTo>
                  <a:pt x="3586" y="54"/>
                </a:lnTo>
                <a:cubicBezTo>
                  <a:pt x="3440" y="141"/>
                  <a:pt x="3277" y="205"/>
                  <a:pt x="3104" y="238"/>
                </a:cubicBezTo>
                <a:lnTo>
                  <a:pt x="3104" y="238"/>
                </a:lnTo>
                <a:cubicBezTo>
                  <a:pt x="2967" y="92"/>
                  <a:pt x="2770" y="0"/>
                  <a:pt x="2553" y="0"/>
                </a:cubicBezTo>
                <a:lnTo>
                  <a:pt x="2553" y="0"/>
                </a:lnTo>
                <a:cubicBezTo>
                  <a:pt x="2136" y="0"/>
                  <a:pt x="1797" y="338"/>
                  <a:pt x="1797" y="756"/>
                </a:cubicBezTo>
                <a:lnTo>
                  <a:pt x="1797" y="756"/>
                </a:lnTo>
                <a:cubicBezTo>
                  <a:pt x="1797" y="815"/>
                  <a:pt x="1804" y="872"/>
                  <a:pt x="1816" y="928"/>
                </a:cubicBezTo>
                <a:lnTo>
                  <a:pt x="1816" y="928"/>
                </a:lnTo>
                <a:cubicBezTo>
                  <a:pt x="1187" y="896"/>
                  <a:pt x="631" y="596"/>
                  <a:pt x="257" y="138"/>
                </a:cubicBezTo>
                <a:lnTo>
                  <a:pt x="257" y="138"/>
                </a:lnTo>
                <a:cubicBezTo>
                  <a:pt x="191" y="249"/>
                  <a:pt x="154" y="380"/>
                  <a:pt x="154" y="518"/>
                </a:cubicBezTo>
                <a:lnTo>
                  <a:pt x="154" y="518"/>
                </a:lnTo>
                <a:cubicBezTo>
                  <a:pt x="154" y="780"/>
                  <a:pt x="288" y="1012"/>
                  <a:pt x="491" y="1147"/>
                </a:cubicBezTo>
                <a:lnTo>
                  <a:pt x="491" y="1147"/>
                </a:lnTo>
                <a:cubicBezTo>
                  <a:pt x="367" y="1144"/>
                  <a:pt x="251" y="1109"/>
                  <a:pt x="149" y="1053"/>
                </a:cubicBezTo>
                <a:lnTo>
                  <a:pt x="149" y="1062"/>
                </a:lnTo>
                <a:lnTo>
                  <a:pt x="149" y="1062"/>
                </a:lnTo>
                <a:cubicBezTo>
                  <a:pt x="149" y="1429"/>
                  <a:pt x="410" y="1735"/>
                  <a:pt x="755" y="1804"/>
                </a:cubicBezTo>
                <a:lnTo>
                  <a:pt x="755" y="1804"/>
                </a:lnTo>
                <a:cubicBezTo>
                  <a:pt x="692" y="1821"/>
                  <a:pt x="625" y="1830"/>
                  <a:pt x="556" y="1830"/>
                </a:cubicBezTo>
                <a:lnTo>
                  <a:pt x="556" y="1830"/>
                </a:lnTo>
                <a:cubicBezTo>
                  <a:pt x="508" y="1830"/>
                  <a:pt x="460" y="1826"/>
                  <a:pt x="413" y="1817"/>
                </a:cubicBezTo>
                <a:lnTo>
                  <a:pt x="413" y="1817"/>
                </a:lnTo>
                <a:cubicBezTo>
                  <a:pt x="510" y="2117"/>
                  <a:pt x="788" y="2335"/>
                  <a:pt x="1120" y="2342"/>
                </a:cubicBezTo>
                <a:lnTo>
                  <a:pt x="1120" y="2342"/>
                </a:lnTo>
                <a:cubicBezTo>
                  <a:pt x="861" y="2544"/>
                  <a:pt x="534" y="2665"/>
                  <a:pt x="180" y="2665"/>
                </a:cubicBezTo>
                <a:lnTo>
                  <a:pt x="180" y="2665"/>
                </a:lnTo>
                <a:cubicBezTo>
                  <a:pt x="119" y="2665"/>
                  <a:pt x="60" y="2662"/>
                  <a:pt x="0" y="2655"/>
                </a:cubicBezTo>
                <a:lnTo>
                  <a:pt x="0" y="2655"/>
                </a:lnTo>
                <a:cubicBezTo>
                  <a:pt x="335" y="2870"/>
                  <a:pt x="733" y="2994"/>
                  <a:pt x="1160" y="2994"/>
                </a:cubicBezTo>
                <a:lnTo>
                  <a:pt x="1160" y="2994"/>
                </a:lnTo>
                <a:cubicBezTo>
                  <a:pt x="2550" y="2994"/>
                  <a:pt x="3312" y="1843"/>
                  <a:pt x="3312" y="844"/>
                </a:cubicBezTo>
                <a:lnTo>
                  <a:pt x="3309" y="746"/>
                </a:lnTo>
                <a:lnTo>
                  <a:pt x="3309" y="746"/>
                </a:lnTo>
                <a:cubicBezTo>
                  <a:pt x="3458" y="639"/>
                  <a:pt x="3586" y="506"/>
                  <a:pt x="3688" y="354"/>
                </a:cubicBezTo>
              </a:path>
            </a:pathLst>
          </a:custGeom>
          <a:solidFill>
            <a:schemeClr val="bg1"/>
          </a:solidFill>
          <a:ln>
            <a:noFill/>
          </a:ln>
          <a:effectLst/>
        </p:spPr>
        <p:txBody>
          <a:bodyPr wrap="none" anchor="ctr"/>
          <a:lstStyle/>
          <a:p>
            <a:endParaRPr lang="en-US" sz="900" dirty="0"/>
          </a:p>
        </p:txBody>
      </p:sp>
      <p:sp>
        <p:nvSpPr>
          <p:cNvPr id="15" name="TextBox 14">
            <a:extLst>
              <a:ext uri="{FF2B5EF4-FFF2-40B4-BE49-F238E27FC236}">
                <a16:creationId xmlns:a16="http://schemas.microsoft.com/office/drawing/2014/main" id="{DE4B59AF-6078-B04A-86CC-FD30F43D9BC1}"/>
              </a:ext>
            </a:extLst>
          </p:cNvPr>
          <p:cNvSpPr txBox="1"/>
          <p:nvPr/>
        </p:nvSpPr>
        <p:spPr>
          <a:xfrm>
            <a:off x="1212964" y="2642869"/>
            <a:ext cx="994182" cy="600164"/>
          </a:xfrm>
          <a:prstGeom prst="rect">
            <a:avLst/>
          </a:prstGeom>
          <a:noFill/>
        </p:spPr>
        <p:txBody>
          <a:bodyPr wrap="none" rtlCol="0">
            <a:spAutoFit/>
          </a:bodyPr>
          <a:lstStyle/>
          <a:p>
            <a:pPr algn="ctr"/>
            <a:r>
              <a:rPr lang="en-US" sz="3300" b="1" dirty="0">
                <a:solidFill>
                  <a:schemeClr val="bg1"/>
                </a:solidFill>
                <a:latin typeface="Segoe UI Light" panose="020B0502040204020203" pitchFamily="34" charset="0"/>
                <a:ea typeface="Roboto" panose="02000000000000000000" pitchFamily="2" charset="0"/>
              </a:rPr>
              <a:t>591K</a:t>
            </a:r>
          </a:p>
        </p:txBody>
      </p:sp>
      <p:sp>
        <p:nvSpPr>
          <p:cNvPr id="31" name="Title 1">
            <a:extLst>
              <a:ext uri="{FF2B5EF4-FFF2-40B4-BE49-F238E27FC236}">
                <a16:creationId xmlns:a16="http://schemas.microsoft.com/office/drawing/2014/main" id="{DF0A7E03-6E79-1C46-8697-640D5D5551E8}"/>
              </a:ext>
            </a:extLst>
          </p:cNvPr>
          <p:cNvSpPr txBox="1"/>
          <p:nvPr/>
        </p:nvSpPr>
        <p:spPr>
          <a:xfrm>
            <a:off x="390910" y="2298011"/>
            <a:ext cx="2625065" cy="307777"/>
          </a:xfrm>
          <a:prstGeom prst="rect">
            <a:avLst/>
          </a:prstGeom>
          <a:noFill/>
        </p:spPr>
        <p:txBody>
          <a:bodyPr wrap="square" rtlCol="0">
            <a:spAutoFit/>
          </a:bodyPr>
          <a:lstStyle/>
          <a:p>
            <a:pPr algn="ctr"/>
            <a:r>
              <a:rPr lang="en-US" sz="1400">
                <a:solidFill>
                  <a:schemeClr val="bg2"/>
                </a:solidFill>
                <a:latin typeface="Segoe UI Light" panose="020B0502040204020203" pitchFamily="34" charset="0"/>
                <a:ea typeface="Open Sans Light" panose="020B0606030504020204" pitchFamily="34" charset="0"/>
                <a:cs typeface="Open Sans Light" panose="020B0606030504020204" pitchFamily="34" charset="0"/>
              </a:rPr>
              <a:t>Description</a:t>
            </a:r>
            <a:endParaRPr lang="en-US" sz="1400" dirty="0">
              <a:solidFill>
                <a:schemeClr val="bg2"/>
              </a:solidFill>
              <a:latin typeface="Segoe UI Light" panose="020B0502040204020203" pitchFamily="34" charset="0"/>
              <a:ea typeface="Open Sans Light" panose="020B0606030504020204" pitchFamily="34" charset="0"/>
              <a:cs typeface="Open Sans Light" panose="020B0606030504020204" pitchFamily="34" charset="0"/>
            </a:endParaRPr>
          </a:p>
        </p:txBody>
      </p:sp>
      <p:cxnSp>
        <p:nvCxnSpPr>
          <p:cNvPr id="32" name="Straight Connector 31">
            <a:extLst>
              <a:ext uri="{FF2B5EF4-FFF2-40B4-BE49-F238E27FC236}">
                <a16:creationId xmlns:a16="http://schemas.microsoft.com/office/drawing/2014/main" id="{A5584A19-3AC6-B645-9957-6C3E1119C4CE}"/>
              </a:ext>
            </a:extLst>
          </p:cNvPr>
          <p:cNvCxnSpPr>
            <a:cxnSpLocks/>
          </p:cNvCxnSpPr>
          <p:nvPr/>
        </p:nvCxnSpPr>
        <p:spPr>
          <a:xfrm>
            <a:off x="479497" y="2452256"/>
            <a:ext cx="53986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D409CEA-637A-AB42-9D4B-849A179DF642}"/>
              </a:ext>
            </a:extLst>
          </p:cNvPr>
          <p:cNvCxnSpPr>
            <a:cxnSpLocks/>
          </p:cNvCxnSpPr>
          <p:nvPr/>
        </p:nvCxnSpPr>
        <p:spPr>
          <a:xfrm>
            <a:off x="2362375" y="2452256"/>
            <a:ext cx="53986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Title 1">
            <a:extLst>
              <a:ext uri="{FF2B5EF4-FFF2-40B4-BE49-F238E27FC236}">
                <a16:creationId xmlns:a16="http://schemas.microsoft.com/office/drawing/2014/main" id="{9F3F5489-FFF3-A14A-AD27-9FFBFFCB577D}"/>
              </a:ext>
            </a:extLst>
          </p:cNvPr>
          <p:cNvSpPr txBox="1"/>
          <p:nvPr/>
        </p:nvSpPr>
        <p:spPr>
          <a:xfrm>
            <a:off x="397187" y="3573034"/>
            <a:ext cx="2625065" cy="307777"/>
          </a:xfrm>
          <a:prstGeom prst="rect">
            <a:avLst/>
          </a:prstGeom>
          <a:noFill/>
        </p:spPr>
        <p:txBody>
          <a:bodyPr wrap="square" rtlCol="0">
            <a:spAutoFit/>
          </a:bodyPr>
          <a:lstStyle>
            <a:defPPr>
              <a:defRPr lang="en-US"/>
            </a:defPPr>
            <a:lvl1pPr algn="ctr">
              <a:defRPr sz="2799" b="1">
                <a:solidFill>
                  <a:schemeClr val="bg2"/>
                </a:solidFill>
                <a:latin typeface="Roboto" panose="02000000000000000000" pitchFamily="2" charset="0"/>
                <a:ea typeface="Roboto" panose="02000000000000000000" pitchFamily="2" charset="0"/>
              </a:defRPr>
            </a:lvl1pPr>
          </a:lstStyle>
          <a:p>
            <a:r>
              <a:rPr lang="en-US" sz="1400" b="0">
                <a:latin typeface="Segoe UI Light" panose="020B0502040204020203" pitchFamily="34" charset="0"/>
                <a:ea typeface="Open Sans Light" panose="020B0606030504020204" pitchFamily="34" charset="0"/>
                <a:cs typeface="Open Sans Light" panose="020B0606030504020204" pitchFamily="34" charset="0"/>
              </a:rPr>
              <a:t>Description</a:t>
            </a:r>
            <a:endParaRPr lang="en-US" sz="1400" b="0" dirty="0">
              <a:latin typeface="Segoe UI Light" panose="020B0502040204020203" pitchFamily="34" charset="0"/>
              <a:ea typeface="Open Sans Light" panose="020B0606030504020204" pitchFamily="34" charset="0"/>
              <a:cs typeface="Open Sans Light" panose="020B0606030504020204" pitchFamily="34" charset="0"/>
            </a:endParaRPr>
          </a:p>
        </p:txBody>
      </p:sp>
      <p:cxnSp>
        <p:nvCxnSpPr>
          <p:cNvPr id="35" name="Straight Connector 34">
            <a:extLst>
              <a:ext uri="{FF2B5EF4-FFF2-40B4-BE49-F238E27FC236}">
                <a16:creationId xmlns:a16="http://schemas.microsoft.com/office/drawing/2014/main" id="{DB610120-093F-3D4A-9E23-D0569B14AE0C}"/>
              </a:ext>
            </a:extLst>
          </p:cNvPr>
          <p:cNvCxnSpPr>
            <a:cxnSpLocks/>
          </p:cNvCxnSpPr>
          <p:nvPr/>
        </p:nvCxnSpPr>
        <p:spPr>
          <a:xfrm>
            <a:off x="479497" y="3726882"/>
            <a:ext cx="53986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BA276F8-9C6C-604C-B830-77B60BC2EF38}"/>
              </a:ext>
            </a:extLst>
          </p:cNvPr>
          <p:cNvCxnSpPr>
            <a:cxnSpLocks/>
          </p:cNvCxnSpPr>
          <p:nvPr/>
        </p:nvCxnSpPr>
        <p:spPr>
          <a:xfrm>
            <a:off x="2362375" y="3726882"/>
            <a:ext cx="53986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42" name="Chart 41">
            <a:extLst>
              <a:ext uri="{FF2B5EF4-FFF2-40B4-BE49-F238E27FC236}">
                <a16:creationId xmlns:a16="http://schemas.microsoft.com/office/drawing/2014/main" id="{81BC634F-2053-0B4A-BA8A-37B085C90175}"/>
              </a:ext>
            </a:extLst>
          </p:cNvPr>
          <p:cNvGraphicFramePr/>
          <p:nvPr>
            <p:extLst>
              <p:ext uri="{D42A27DB-BD31-4B8C-83A1-F6EECF244321}">
                <p14:modId xmlns:p14="http://schemas.microsoft.com/office/powerpoint/2010/main" val="15511472"/>
              </p:ext>
            </p:extLst>
          </p:nvPr>
        </p:nvGraphicFramePr>
        <p:xfrm>
          <a:off x="295218" y="3960448"/>
          <a:ext cx="2829672" cy="1886448"/>
        </p:xfrm>
        <a:graphic>
          <a:graphicData uri="http://schemas.openxmlformats.org/drawingml/2006/chart">
            <c:chart xmlns:c="http://schemas.openxmlformats.org/drawingml/2006/chart" xmlns:r="http://schemas.openxmlformats.org/officeDocument/2006/relationships" r:id="rId7"/>
          </a:graphicData>
        </a:graphic>
      </p:graphicFrame>
      <p:sp>
        <p:nvSpPr>
          <p:cNvPr id="47" name="TextBox 46">
            <a:extLst>
              <a:ext uri="{FF2B5EF4-FFF2-40B4-BE49-F238E27FC236}">
                <a16:creationId xmlns:a16="http://schemas.microsoft.com/office/drawing/2014/main" id="{F48A925D-AE05-B84E-80CF-5D3B35E09674}"/>
              </a:ext>
            </a:extLst>
          </p:cNvPr>
          <p:cNvSpPr txBox="1"/>
          <p:nvPr/>
        </p:nvSpPr>
        <p:spPr>
          <a:xfrm>
            <a:off x="960134" y="3189569"/>
            <a:ext cx="1601849" cy="307777"/>
          </a:xfrm>
          <a:prstGeom prst="rect">
            <a:avLst/>
          </a:prstGeom>
          <a:noFill/>
        </p:spPr>
        <p:txBody>
          <a:bodyPr wrap="none" rtlCol="0">
            <a:spAutoFit/>
          </a:bodyPr>
          <a:lstStyle/>
          <a:p>
            <a:pPr algn="ctr"/>
            <a:r>
              <a:rPr lang="en-US" sz="1400" b="1" dirty="0">
                <a:solidFill>
                  <a:schemeClr val="bg1"/>
                </a:solidFill>
                <a:latin typeface="Segoe UI Light" panose="020B0502040204020203" pitchFamily="34" charset="0"/>
                <a:ea typeface="Roboto" panose="02000000000000000000" pitchFamily="2" charset="0"/>
                <a:cs typeface="Open Sans Light" panose="020B0606030504020204" pitchFamily="34" charset="0"/>
              </a:rPr>
              <a:t>Users on the world</a:t>
            </a:r>
          </a:p>
        </p:txBody>
      </p:sp>
      <p:sp>
        <p:nvSpPr>
          <p:cNvPr id="48" name="TextBox 47">
            <a:extLst>
              <a:ext uri="{FF2B5EF4-FFF2-40B4-BE49-F238E27FC236}">
                <a16:creationId xmlns:a16="http://schemas.microsoft.com/office/drawing/2014/main" id="{22866CCD-4F26-1F47-AF7D-379B4C575E57}"/>
              </a:ext>
            </a:extLst>
          </p:cNvPr>
          <p:cNvSpPr txBox="1"/>
          <p:nvPr/>
        </p:nvSpPr>
        <p:spPr>
          <a:xfrm>
            <a:off x="1007728" y="5044660"/>
            <a:ext cx="787395" cy="246221"/>
          </a:xfrm>
          <a:prstGeom prst="rect">
            <a:avLst/>
          </a:prstGeom>
          <a:noFill/>
        </p:spPr>
        <p:txBody>
          <a:bodyPr wrap="none" rtlCol="0">
            <a:spAutoFit/>
          </a:bodyPr>
          <a:lstStyle/>
          <a:p>
            <a:pPr algn="ctr"/>
            <a:r>
              <a:rPr lang="en-US" sz="1000" dirty="0">
                <a:solidFill>
                  <a:srgbClr val="CA252D"/>
                </a:solidFill>
                <a:latin typeface="Segoe UI Light" panose="020B0502040204020203" pitchFamily="34" charset="0"/>
                <a:ea typeface="Open Sans Light" panose="020B0606030504020204" pitchFamily="34" charset="0"/>
                <a:cs typeface="Open Sans Light" panose="020B0606030504020204" pitchFamily="34" charset="0"/>
              </a:rPr>
              <a:t>Description</a:t>
            </a:r>
          </a:p>
        </p:txBody>
      </p:sp>
      <p:sp>
        <p:nvSpPr>
          <p:cNvPr id="49" name="TextBox 48">
            <a:extLst>
              <a:ext uri="{FF2B5EF4-FFF2-40B4-BE49-F238E27FC236}">
                <a16:creationId xmlns:a16="http://schemas.microsoft.com/office/drawing/2014/main" id="{847D12F9-B958-1D43-9051-65B2E6B7441C}"/>
              </a:ext>
            </a:extLst>
          </p:cNvPr>
          <p:cNvSpPr txBox="1"/>
          <p:nvPr/>
        </p:nvSpPr>
        <p:spPr>
          <a:xfrm>
            <a:off x="1025441" y="4706498"/>
            <a:ext cx="697627" cy="430887"/>
          </a:xfrm>
          <a:prstGeom prst="rect">
            <a:avLst/>
          </a:prstGeom>
          <a:noFill/>
        </p:spPr>
        <p:txBody>
          <a:bodyPr wrap="none" rtlCol="0">
            <a:spAutoFit/>
          </a:bodyPr>
          <a:lstStyle/>
          <a:p>
            <a:r>
              <a:rPr lang="en-US" sz="2200" b="1" dirty="0">
                <a:solidFill>
                  <a:srgbClr val="CA252D"/>
                </a:solidFill>
                <a:latin typeface="Segoe UI Light" panose="020B0502040204020203" pitchFamily="34" charset="0"/>
                <a:ea typeface="Roboto" panose="02000000000000000000" pitchFamily="2" charset="0"/>
              </a:rPr>
              <a:t>60%</a:t>
            </a:r>
          </a:p>
        </p:txBody>
      </p:sp>
      <p:sp>
        <p:nvSpPr>
          <p:cNvPr id="50" name="TextBox 49">
            <a:extLst>
              <a:ext uri="{FF2B5EF4-FFF2-40B4-BE49-F238E27FC236}">
                <a16:creationId xmlns:a16="http://schemas.microsoft.com/office/drawing/2014/main" id="{C754219A-738E-C94B-98E6-6610E4613D63}"/>
              </a:ext>
            </a:extLst>
          </p:cNvPr>
          <p:cNvSpPr txBox="1"/>
          <p:nvPr/>
        </p:nvSpPr>
        <p:spPr>
          <a:xfrm>
            <a:off x="1748872" y="4791136"/>
            <a:ext cx="787395" cy="246221"/>
          </a:xfrm>
          <a:prstGeom prst="rect">
            <a:avLst/>
          </a:prstGeom>
          <a:noFill/>
        </p:spPr>
        <p:txBody>
          <a:bodyPr wrap="none" rtlCol="0">
            <a:spAutoFit/>
          </a:bodyPr>
          <a:lstStyle/>
          <a:p>
            <a:pPr algn="r"/>
            <a:r>
              <a:rPr lang="en-US" sz="1000" dirty="0">
                <a:solidFill>
                  <a:schemeClr val="bg1"/>
                </a:solidFill>
                <a:latin typeface="Segoe UI Light" panose="020B0502040204020203" pitchFamily="34" charset="0"/>
                <a:ea typeface="Open Sans Light" panose="020B0606030504020204" pitchFamily="34" charset="0"/>
                <a:cs typeface="Open Sans Light" panose="020B0606030504020204" pitchFamily="34" charset="0"/>
              </a:rPr>
              <a:t>Description</a:t>
            </a:r>
          </a:p>
        </p:txBody>
      </p:sp>
      <p:sp>
        <p:nvSpPr>
          <p:cNvPr id="51" name="TextBox 50">
            <a:extLst>
              <a:ext uri="{FF2B5EF4-FFF2-40B4-BE49-F238E27FC236}">
                <a16:creationId xmlns:a16="http://schemas.microsoft.com/office/drawing/2014/main" id="{5CAED226-1759-104C-9EB4-76B3744C8CBD}"/>
              </a:ext>
            </a:extLst>
          </p:cNvPr>
          <p:cNvSpPr txBox="1"/>
          <p:nvPr/>
        </p:nvSpPr>
        <p:spPr>
          <a:xfrm>
            <a:off x="1786521" y="4452974"/>
            <a:ext cx="702435" cy="430887"/>
          </a:xfrm>
          <a:prstGeom prst="rect">
            <a:avLst/>
          </a:prstGeom>
          <a:noFill/>
        </p:spPr>
        <p:txBody>
          <a:bodyPr wrap="none" rtlCol="0">
            <a:spAutoFit/>
          </a:bodyPr>
          <a:lstStyle/>
          <a:p>
            <a:pPr algn="r"/>
            <a:r>
              <a:rPr lang="en-US" sz="2200" b="1" dirty="0">
                <a:solidFill>
                  <a:schemeClr val="bg1"/>
                </a:solidFill>
                <a:latin typeface="Segoe UI Light" panose="020B0502040204020203" pitchFamily="34" charset="0"/>
                <a:ea typeface="Roboto" panose="02000000000000000000" pitchFamily="2" charset="0"/>
              </a:rPr>
              <a:t>40%</a:t>
            </a:r>
          </a:p>
        </p:txBody>
      </p:sp>
      <p:sp>
        <p:nvSpPr>
          <p:cNvPr id="53" name="TextBox 52">
            <a:extLst>
              <a:ext uri="{FF2B5EF4-FFF2-40B4-BE49-F238E27FC236}">
                <a16:creationId xmlns:a16="http://schemas.microsoft.com/office/drawing/2014/main" id="{6EF0F1F1-55B3-C544-93DF-600A90282178}"/>
              </a:ext>
            </a:extLst>
          </p:cNvPr>
          <p:cNvSpPr txBox="1"/>
          <p:nvPr/>
        </p:nvSpPr>
        <p:spPr>
          <a:xfrm>
            <a:off x="4282746" y="2642869"/>
            <a:ext cx="688009" cy="600164"/>
          </a:xfrm>
          <a:prstGeom prst="rect">
            <a:avLst/>
          </a:prstGeom>
          <a:noFill/>
        </p:spPr>
        <p:txBody>
          <a:bodyPr wrap="none" rtlCol="0">
            <a:spAutoFit/>
          </a:bodyPr>
          <a:lstStyle/>
          <a:p>
            <a:pPr algn="ctr"/>
            <a:r>
              <a:rPr lang="en-US" sz="3300" b="1" dirty="0">
                <a:solidFill>
                  <a:schemeClr val="bg1"/>
                </a:solidFill>
                <a:latin typeface="Segoe UI Light" panose="020B0502040204020203" pitchFamily="34" charset="0"/>
                <a:ea typeface="Roboto" panose="02000000000000000000" pitchFamily="2" charset="0"/>
              </a:rPr>
              <a:t>1M</a:t>
            </a:r>
          </a:p>
        </p:txBody>
      </p:sp>
      <p:cxnSp>
        <p:nvCxnSpPr>
          <p:cNvPr id="54" name="Straight Connector 53">
            <a:extLst>
              <a:ext uri="{FF2B5EF4-FFF2-40B4-BE49-F238E27FC236}">
                <a16:creationId xmlns:a16="http://schemas.microsoft.com/office/drawing/2014/main" id="{7A5A82E1-8919-9F4F-946A-B30B6847AF03}"/>
              </a:ext>
            </a:extLst>
          </p:cNvPr>
          <p:cNvCxnSpPr>
            <a:cxnSpLocks/>
          </p:cNvCxnSpPr>
          <p:nvPr/>
        </p:nvCxnSpPr>
        <p:spPr>
          <a:xfrm>
            <a:off x="3393930" y="2452256"/>
            <a:ext cx="53986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66FF653-6C60-E642-9AFA-8C13F366067B}"/>
              </a:ext>
            </a:extLst>
          </p:cNvPr>
          <p:cNvCxnSpPr>
            <a:cxnSpLocks/>
          </p:cNvCxnSpPr>
          <p:nvPr/>
        </p:nvCxnSpPr>
        <p:spPr>
          <a:xfrm>
            <a:off x="5276809" y="2452256"/>
            <a:ext cx="53986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695DA26-127B-314B-B989-693B4C714425}"/>
              </a:ext>
            </a:extLst>
          </p:cNvPr>
          <p:cNvCxnSpPr>
            <a:cxnSpLocks/>
          </p:cNvCxnSpPr>
          <p:nvPr/>
        </p:nvCxnSpPr>
        <p:spPr>
          <a:xfrm>
            <a:off x="3393930" y="3726882"/>
            <a:ext cx="53986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B867ED2-35E9-9944-9DC2-28ADF0016CF3}"/>
              </a:ext>
            </a:extLst>
          </p:cNvPr>
          <p:cNvCxnSpPr>
            <a:cxnSpLocks/>
          </p:cNvCxnSpPr>
          <p:nvPr/>
        </p:nvCxnSpPr>
        <p:spPr>
          <a:xfrm>
            <a:off x="5276809" y="3726882"/>
            <a:ext cx="53986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DF1F0E5E-C2B5-8B41-AAEC-D8D5225B4DE1}"/>
              </a:ext>
            </a:extLst>
          </p:cNvPr>
          <p:cNvSpPr txBox="1"/>
          <p:nvPr/>
        </p:nvSpPr>
        <p:spPr>
          <a:xfrm>
            <a:off x="3833003" y="3189569"/>
            <a:ext cx="1601849" cy="307777"/>
          </a:xfrm>
          <a:prstGeom prst="rect">
            <a:avLst/>
          </a:prstGeom>
          <a:noFill/>
        </p:spPr>
        <p:txBody>
          <a:bodyPr wrap="none" rtlCol="0">
            <a:spAutoFit/>
          </a:bodyPr>
          <a:lstStyle/>
          <a:p>
            <a:pPr algn="ctr"/>
            <a:r>
              <a:rPr lang="en-US" sz="1400" b="1" dirty="0">
                <a:solidFill>
                  <a:schemeClr val="bg1"/>
                </a:solidFill>
                <a:latin typeface="Segoe UI Light" panose="020B0502040204020203" pitchFamily="34" charset="0"/>
                <a:ea typeface="Roboto" panose="02000000000000000000" pitchFamily="2" charset="0"/>
                <a:cs typeface="Open Sans Light" panose="020B0606030504020204" pitchFamily="34" charset="0"/>
              </a:rPr>
              <a:t>Users on the world</a:t>
            </a:r>
          </a:p>
        </p:txBody>
      </p:sp>
      <p:sp>
        <p:nvSpPr>
          <p:cNvPr id="59" name="TextBox 58">
            <a:extLst>
              <a:ext uri="{FF2B5EF4-FFF2-40B4-BE49-F238E27FC236}">
                <a16:creationId xmlns:a16="http://schemas.microsoft.com/office/drawing/2014/main" id="{67DC4543-531E-684C-936E-6DBB9F4F531B}"/>
              </a:ext>
            </a:extLst>
          </p:cNvPr>
          <p:cNvSpPr txBox="1"/>
          <p:nvPr/>
        </p:nvSpPr>
        <p:spPr>
          <a:xfrm>
            <a:off x="3880597" y="4670586"/>
            <a:ext cx="787395" cy="246221"/>
          </a:xfrm>
          <a:prstGeom prst="rect">
            <a:avLst/>
          </a:prstGeom>
          <a:noFill/>
        </p:spPr>
        <p:txBody>
          <a:bodyPr wrap="none" rtlCol="0">
            <a:spAutoFit/>
          </a:bodyPr>
          <a:lstStyle/>
          <a:p>
            <a:pPr algn="ctr"/>
            <a:r>
              <a:rPr lang="en-US" sz="1000" dirty="0">
                <a:solidFill>
                  <a:srgbClr val="5178B3"/>
                </a:solidFill>
                <a:latin typeface="Segoe UI Light" panose="020B0502040204020203" pitchFamily="34" charset="0"/>
                <a:ea typeface="Open Sans Light" panose="020B0606030504020204" pitchFamily="34" charset="0"/>
                <a:cs typeface="Open Sans Light" panose="020B0606030504020204" pitchFamily="34" charset="0"/>
              </a:rPr>
              <a:t>Description</a:t>
            </a:r>
          </a:p>
        </p:txBody>
      </p:sp>
      <p:sp>
        <p:nvSpPr>
          <p:cNvPr id="60" name="TextBox 59">
            <a:extLst>
              <a:ext uri="{FF2B5EF4-FFF2-40B4-BE49-F238E27FC236}">
                <a16:creationId xmlns:a16="http://schemas.microsoft.com/office/drawing/2014/main" id="{B8F17C19-F47B-AA4B-B75C-DB76AF4E7678}"/>
              </a:ext>
            </a:extLst>
          </p:cNvPr>
          <p:cNvSpPr txBox="1"/>
          <p:nvPr/>
        </p:nvSpPr>
        <p:spPr>
          <a:xfrm>
            <a:off x="3898310" y="4332425"/>
            <a:ext cx="697627" cy="430887"/>
          </a:xfrm>
          <a:prstGeom prst="rect">
            <a:avLst/>
          </a:prstGeom>
          <a:noFill/>
        </p:spPr>
        <p:txBody>
          <a:bodyPr wrap="none" rtlCol="0">
            <a:spAutoFit/>
          </a:bodyPr>
          <a:lstStyle/>
          <a:p>
            <a:r>
              <a:rPr lang="en-US" sz="2200" b="1" dirty="0">
                <a:solidFill>
                  <a:srgbClr val="5178B3"/>
                </a:solidFill>
                <a:latin typeface="Segoe UI Light" panose="020B0502040204020203" pitchFamily="34" charset="0"/>
                <a:ea typeface="Roboto" panose="02000000000000000000" pitchFamily="2" charset="0"/>
              </a:rPr>
              <a:t>22%</a:t>
            </a:r>
          </a:p>
        </p:txBody>
      </p:sp>
      <p:sp>
        <p:nvSpPr>
          <p:cNvPr id="61" name="TextBox 60">
            <a:extLst>
              <a:ext uri="{FF2B5EF4-FFF2-40B4-BE49-F238E27FC236}">
                <a16:creationId xmlns:a16="http://schemas.microsoft.com/office/drawing/2014/main" id="{9A429FCC-1B6B-DD49-94B8-610A9AAC25E5}"/>
              </a:ext>
            </a:extLst>
          </p:cNvPr>
          <p:cNvSpPr txBox="1"/>
          <p:nvPr/>
        </p:nvSpPr>
        <p:spPr>
          <a:xfrm>
            <a:off x="4567680" y="5180301"/>
            <a:ext cx="787395" cy="246221"/>
          </a:xfrm>
          <a:prstGeom prst="rect">
            <a:avLst/>
          </a:prstGeom>
          <a:noFill/>
        </p:spPr>
        <p:txBody>
          <a:bodyPr wrap="none" rtlCol="0">
            <a:spAutoFit/>
          </a:bodyPr>
          <a:lstStyle/>
          <a:p>
            <a:pPr algn="r"/>
            <a:r>
              <a:rPr lang="en-US" sz="1000" dirty="0">
                <a:solidFill>
                  <a:schemeClr val="bg1"/>
                </a:solidFill>
                <a:latin typeface="Segoe UI Light" panose="020B0502040204020203" pitchFamily="34" charset="0"/>
                <a:ea typeface="Open Sans Light" panose="020B0606030504020204" pitchFamily="34" charset="0"/>
                <a:cs typeface="Open Sans Light" panose="020B0606030504020204" pitchFamily="34" charset="0"/>
              </a:rPr>
              <a:t>Description</a:t>
            </a:r>
          </a:p>
        </p:txBody>
      </p:sp>
      <p:sp>
        <p:nvSpPr>
          <p:cNvPr id="62" name="TextBox 61">
            <a:extLst>
              <a:ext uri="{FF2B5EF4-FFF2-40B4-BE49-F238E27FC236}">
                <a16:creationId xmlns:a16="http://schemas.microsoft.com/office/drawing/2014/main" id="{55A55164-6917-5E43-A471-B69322B32F5C}"/>
              </a:ext>
            </a:extLst>
          </p:cNvPr>
          <p:cNvSpPr txBox="1"/>
          <p:nvPr/>
        </p:nvSpPr>
        <p:spPr>
          <a:xfrm>
            <a:off x="4614947" y="4842140"/>
            <a:ext cx="692817" cy="430887"/>
          </a:xfrm>
          <a:prstGeom prst="rect">
            <a:avLst/>
          </a:prstGeom>
          <a:noFill/>
        </p:spPr>
        <p:txBody>
          <a:bodyPr wrap="none" rtlCol="0">
            <a:spAutoFit/>
          </a:bodyPr>
          <a:lstStyle/>
          <a:p>
            <a:pPr algn="r"/>
            <a:r>
              <a:rPr lang="en-US" sz="2200" b="1" dirty="0">
                <a:solidFill>
                  <a:schemeClr val="bg1"/>
                </a:solidFill>
                <a:latin typeface="Segoe UI Light" panose="020B0502040204020203" pitchFamily="34" charset="0"/>
                <a:ea typeface="Roboto" panose="02000000000000000000" pitchFamily="2" charset="0"/>
              </a:rPr>
              <a:t>73%</a:t>
            </a:r>
          </a:p>
        </p:txBody>
      </p:sp>
      <p:sp>
        <p:nvSpPr>
          <p:cNvPr id="63" name="Title 1">
            <a:extLst>
              <a:ext uri="{FF2B5EF4-FFF2-40B4-BE49-F238E27FC236}">
                <a16:creationId xmlns:a16="http://schemas.microsoft.com/office/drawing/2014/main" id="{3A5E14D8-9455-0A47-A0E6-B1CD69B4BCA1}"/>
              </a:ext>
            </a:extLst>
          </p:cNvPr>
          <p:cNvSpPr txBox="1"/>
          <p:nvPr/>
        </p:nvSpPr>
        <p:spPr>
          <a:xfrm>
            <a:off x="3313281" y="2298011"/>
            <a:ext cx="2625065" cy="307777"/>
          </a:xfrm>
          <a:prstGeom prst="rect">
            <a:avLst/>
          </a:prstGeom>
          <a:noFill/>
        </p:spPr>
        <p:txBody>
          <a:bodyPr wrap="square" rtlCol="0">
            <a:spAutoFit/>
          </a:bodyPr>
          <a:lstStyle/>
          <a:p>
            <a:pPr algn="ctr"/>
            <a:r>
              <a:rPr lang="en-US" sz="1400">
                <a:solidFill>
                  <a:schemeClr val="bg2"/>
                </a:solidFill>
                <a:latin typeface="Segoe UI Light" panose="020B0502040204020203" pitchFamily="34" charset="0"/>
                <a:ea typeface="Open Sans Light" panose="020B0606030504020204" pitchFamily="34" charset="0"/>
                <a:cs typeface="Open Sans Light" panose="020B0606030504020204" pitchFamily="34" charset="0"/>
              </a:rPr>
              <a:t>Description</a:t>
            </a:r>
            <a:endParaRPr lang="en-US" sz="1400" dirty="0">
              <a:solidFill>
                <a:schemeClr val="bg2"/>
              </a:solidFill>
              <a:latin typeface="Segoe UI Light" panose="020B0502040204020203" pitchFamily="34" charset="0"/>
              <a:ea typeface="Open Sans Light" panose="020B0606030504020204" pitchFamily="34" charset="0"/>
              <a:cs typeface="Open Sans Light" panose="020B0606030504020204" pitchFamily="34" charset="0"/>
            </a:endParaRPr>
          </a:p>
        </p:txBody>
      </p:sp>
      <p:sp>
        <p:nvSpPr>
          <p:cNvPr id="64" name="Title 1">
            <a:extLst>
              <a:ext uri="{FF2B5EF4-FFF2-40B4-BE49-F238E27FC236}">
                <a16:creationId xmlns:a16="http://schemas.microsoft.com/office/drawing/2014/main" id="{4E29FB5B-C9AF-504B-8E48-B06BFF8A7B7D}"/>
              </a:ext>
            </a:extLst>
          </p:cNvPr>
          <p:cNvSpPr txBox="1"/>
          <p:nvPr/>
        </p:nvSpPr>
        <p:spPr>
          <a:xfrm>
            <a:off x="3319558" y="3573034"/>
            <a:ext cx="2625065" cy="307777"/>
          </a:xfrm>
          <a:prstGeom prst="rect">
            <a:avLst/>
          </a:prstGeom>
          <a:noFill/>
        </p:spPr>
        <p:txBody>
          <a:bodyPr wrap="square" rtlCol="0">
            <a:spAutoFit/>
          </a:bodyPr>
          <a:lstStyle>
            <a:defPPr>
              <a:defRPr lang="en-US"/>
            </a:defPPr>
            <a:lvl1pPr algn="ctr">
              <a:defRPr sz="2799" b="1">
                <a:solidFill>
                  <a:schemeClr val="bg2"/>
                </a:solidFill>
                <a:latin typeface="Roboto" panose="02000000000000000000" pitchFamily="2" charset="0"/>
                <a:ea typeface="Roboto" panose="02000000000000000000" pitchFamily="2" charset="0"/>
              </a:defRPr>
            </a:lvl1pPr>
          </a:lstStyle>
          <a:p>
            <a:r>
              <a:rPr lang="en-US" sz="1400" b="0">
                <a:latin typeface="Segoe UI Light" panose="020B0502040204020203" pitchFamily="34" charset="0"/>
                <a:ea typeface="Open Sans Light" panose="020B0606030504020204" pitchFamily="34" charset="0"/>
                <a:cs typeface="Open Sans Light" panose="020B0606030504020204" pitchFamily="34" charset="0"/>
              </a:rPr>
              <a:t>Description</a:t>
            </a:r>
            <a:endParaRPr lang="en-US" sz="1400" b="0" dirty="0">
              <a:latin typeface="Segoe UI Light" panose="020B0502040204020203" pitchFamily="34" charset="0"/>
              <a:ea typeface="Open Sans Light" panose="020B0606030504020204" pitchFamily="34" charset="0"/>
              <a:cs typeface="Open Sans Light" panose="020B0606030504020204" pitchFamily="34" charset="0"/>
            </a:endParaRPr>
          </a:p>
        </p:txBody>
      </p:sp>
      <p:sp>
        <p:nvSpPr>
          <p:cNvPr id="68" name="TextBox 67">
            <a:extLst>
              <a:ext uri="{FF2B5EF4-FFF2-40B4-BE49-F238E27FC236}">
                <a16:creationId xmlns:a16="http://schemas.microsoft.com/office/drawing/2014/main" id="{42606836-6223-914E-9E5E-5C9821E6E1AA}"/>
              </a:ext>
            </a:extLst>
          </p:cNvPr>
          <p:cNvSpPr txBox="1"/>
          <p:nvPr/>
        </p:nvSpPr>
        <p:spPr>
          <a:xfrm>
            <a:off x="7028327" y="2642869"/>
            <a:ext cx="1067921" cy="600164"/>
          </a:xfrm>
          <a:prstGeom prst="rect">
            <a:avLst/>
          </a:prstGeom>
          <a:noFill/>
        </p:spPr>
        <p:txBody>
          <a:bodyPr wrap="none" rtlCol="0">
            <a:spAutoFit/>
          </a:bodyPr>
          <a:lstStyle/>
          <a:p>
            <a:pPr algn="ctr"/>
            <a:r>
              <a:rPr lang="en-US" sz="3300" b="1" dirty="0">
                <a:solidFill>
                  <a:schemeClr val="bg1"/>
                </a:solidFill>
                <a:latin typeface="Segoe UI Light" panose="020B0502040204020203" pitchFamily="34" charset="0"/>
                <a:ea typeface="Roboto" panose="02000000000000000000" pitchFamily="2" charset="0"/>
              </a:rPr>
              <a:t>345K</a:t>
            </a:r>
          </a:p>
        </p:txBody>
      </p:sp>
      <p:cxnSp>
        <p:nvCxnSpPr>
          <p:cNvPr id="69" name="Straight Connector 68">
            <a:extLst>
              <a:ext uri="{FF2B5EF4-FFF2-40B4-BE49-F238E27FC236}">
                <a16:creationId xmlns:a16="http://schemas.microsoft.com/office/drawing/2014/main" id="{F81F49E6-7F14-974C-AE6D-D33DEE590363}"/>
              </a:ext>
            </a:extLst>
          </p:cNvPr>
          <p:cNvCxnSpPr>
            <a:cxnSpLocks/>
          </p:cNvCxnSpPr>
          <p:nvPr/>
        </p:nvCxnSpPr>
        <p:spPr>
          <a:xfrm>
            <a:off x="6329467" y="2452256"/>
            <a:ext cx="53986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A5AE60F-7024-8647-A3AF-4A29800DA8EC}"/>
              </a:ext>
            </a:extLst>
          </p:cNvPr>
          <p:cNvCxnSpPr>
            <a:cxnSpLocks/>
          </p:cNvCxnSpPr>
          <p:nvPr/>
        </p:nvCxnSpPr>
        <p:spPr>
          <a:xfrm>
            <a:off x="8212345" y="2452256"/>
            <a:ext cx="53986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CA948DB-4DCA-1B4D-BF38-AC1F7E5BBC4B}"/>
              </a:ext>
            </a:extLst>
          </p:cNvPr>
          <p:cNvCxnSpPr>
            <a:cxnSpLocks/>
          </p:cNvCxnSpPr>
          <p:nvPr/>
        </p:nvCxnSpPr>
        <p:spPr>
          <a:xfrm>
            <a:off x="6329467" y="3726882"/>
            <a:ext cx="53986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601DF69-B50C-A247-92C5-E42E684CFF3C}"/>
              </a:ext>
            </a:extLst>
          </p:cNvPr>
          <p:cNvCxnSpPr>
            <a:cxnSpLocks/>
          </p:cNvCxnSpPr>
          <p:nvPr/>
        </p:nvCxnSpPr>
        <p:spPr>
          <a:xfrm>
            <a:off x="8212345" y="3726882"/>
            <a:ext cx="53986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5B17C99C-BEEE-1142-9DCE-92482832151D}"/>
              </a:ext>
            </a:extLst>
          </p:cNvPr>
          <p:cNvSpPr txBox="1"/>
          <p:nvPr/>
        </p:nvSpPr>
        <p:spPr>
          <a:xfrm>
            <a:off x="6768540" y="3189569"/>
            <a:ext cx="1601849" cy="307777"/>
          </a:xfrm>
          <a:prstGeom prst="rect">
            <a:avLst/>
          </a:prstGeom>
          <a:noFill/>
        </p:spPr>
        <p:txBody>
          <a:bodyPr wrap="none" rtlCol="0">
            <a:spAutoFit/>
          </a:bodyPr>
          <a:lstStyle/>
          <a:p>
            <a:pPr algn="ctr"/>
            <a:r>
              <a:rPr lang="en-US" sz="1400" b="1" dirty="0">
                <a:solidFill>
                  <a:schemeClr val="bg1"/>
                </a:solidFill>
                <a:latin typeface="Segoe UI Light" panose="020B0502040204020203" pitchFamily="34" charset="0"/>
                <a:ea typeface="Roboto" panose="02000000000000000000" pitchFamily="2" charset="0"/>
                <a:cs typeface="Open Sans Light" panose="020B0606030504020204" pitchFamily="34" charset="0"/>
              </a:rPr>
              <a:t>Users on the world</a:t>
            </a:r>
          </a:p>
        </p:txBody>
      </p:sp>
      <p:sp>
        <p:nvSpPr>
          <p:cNvPr id="74" name="TextBox 73">
            <a:extLst>
              <a:ext uri="{FF2B5EF4-FFF2-40B4-BE49-F238E27FC236}">
                <a16:creationId xmlns:a16="http://schemas.microsoft.com/office/drawing/2014/main" id="{C08D4090-9BF9-1F46-AD14-91C387AD2D8E}"/>
              </a:ext>
            </a:extLst>
          </p:cNvPr>
          <p:cNvSpPr txBox="1"/>
          <p:nvPr/>
        </p:nvSpPr>
        <p:spPr>
          <a:xfrm>
            <a:off x="6816134" y="4670586"/>
            <a:ext cx="787395" cy="246221"/>
          </a:xfrm>
          <a:prstGeom prst="rect">
            <a:avLst/>
          </a:prstGeom>
          <a:noFill/>
        </p:spPr>
        <p:txBody>
          <a:bodyPr wrap="none" rtlCol="0">
            <a:spAutoFit/>
          </a:bodyPr>
          <a:lstStyle/>
          <a:p>
            <a:pPr algn="ctr"/>
            <a:r>
              <a:rPr lang="en-US" sz="1000" dirty="0">
                <a:solidFill>
                  <a:srgbClr val="2CB3EB"/>
                </a:solidFill>
                <a:latin typeface="Segoe UI Light" panose="020B0502040204020203" pitchFamily="34" charset="0"/>
                <a:ea typeface="Open Sans Light" panose="020B0606030504020204" pitchFamily="34" charset="0"/>
                <a:cs typeface="Open Sans Light" panose="020B0606030504020204" pitchFamily="34" charset="0"/>
              </a:rPr>
              <a:t>Description</a:t>
            </a:r>
          </a:p>
        </p:txBody>
      </p:sp>
      <p:sp>
        <p:nvSpPr>
          <p:cNvPr id="75" name="TextBox 74">
            <a:extLst>
              <a:ext uri="{FF2B5EF4-FFF2-40B4-BE49-F238E27FC236}">
                <a16:creationId xmlns:a16="http://schemas.microsoft.com/office/drawing/2014/main" id="{4B34C15D-1AB9-FC43-8972-5982F115B367}"/>
              </a:ext>
            </a:extLst>
          </p:cNvPr>
          <p:cNvSpPr txBox="1"/>
          <p:nvPr/>
        </p:nvSpPr>
        <p:spPr>
          <a:xfrm>
            <a:off x="6833847" y="4332425"/>
            <a:ext cx="702436" cy="430887"/>
          </a:xfrm>
          <a:prstGeom prst="rect">
            <a:avLst/>
          </a:prstGeom>
          <a:noFill/>
        </p:spPr>
        <p:txBody>
          <a:bodyPr wrap="none" rtlCol="0">
            <a:spAutoFit/>
          </a:bodyPr>
          <a:lstStyle/>
          <a:p>
            <a:r>
              <a:rPr lang="en-US" sz="2200" b="1" dirty="0">
                <a:solidFill>
                  <a:srgbClr val="2CB3EB"/>
                </a:solidFill>
                <a:latin typeface="Segoe UI Light" panose="020B0502040204020203" pitchFamily="34" charset="0"/>
                <a:ea typeface="Roboto" panose="02000000000000000000" pitchFamily="2" charset="0"/>
              </a:rPr>
              <a:t>43%</a:t>
            </a:r>
          </a:p>
        </p:txBody>
      </p:sp>
      <p:sp>
        <p:nvSpPr>
          <p:cNvPr id="76" name="TextBox 75">
            <a:extLst>
              <a:ext uri="{FF2B5EF4-FFF2-40B4-BE49-F238E27FC236}">
                <a16:creationId xmlns:a16="http://schemas.microsoft.com/office/drawing/2014/main" id="{C029DEDC-CEA5-9D49-A16A-1936E163F5BF}"/>
              </a:ext>
            </a:extLst>
          </p:cNvPr>
          <p:cNvSpPr txBox="1"/>
          <p:nvPr/>
        </p:nvSpPr>
        <p:spPr>
          <a:xfrm>
            <a:off x="7503216" y="5180301"/>
            <a:ext cx="787395" cy="246221"/>
          </a:xfrm>
          <a:prstGeom prst="rect">
            <a:avLst/>
          </a:prstGeom>
          <a:noFill/>
        </p:spPr>
        <p:txBody>
          <a:bodyPr wrap="none" rtlCol="0">
            <a:spAutoFit/>
          </a:bodyPr>
          <a:lstStyle/>
          <a:p>
            <a:pPr algn="r"/>
            <a:r>
              <a:rPr lang="en-US" sz="1000" dirty="0">
                <a:solidFill>
                  <a:schemeClr val="bg1"/>
                </a:solidFill>
                <a:latin typeface="Segoe UI Light" panose="020B0502040204020203" pitchFamily="34" charset="0"/>
                <a:ea typeface="Open Sans Light" panose="020B0606030504020204" pitchFamily="34" charset="0"/>
                <a:cs typeface="Open Sans Light" panose="020B0606030504020204" pitchFamily="34" charset="0"/>
              </a:rPr>
              <a:t>Description</a:t>
            </a:r>
          </a:p>
        </p:txBody>
      </p:sp>
      <p:sp>
        <p:nvSpPr>
          <p:cNvPr id="77" name="TextBox 76">
            <a:extLst>
              <a:ext uri="{FF2B5EF4-FFF2-40B4-BE49-F238E27FC236}">
                <a16:creationId xmlns:a16="http://schemas.microsoft.com/office/drawing/2014/main" id="{62C7BC84-05AB-7349-B78D-96F1970BBEF8}"/>
              </a:ext>
            </a:extLst>
          </p:cNvPr>
          <p:cNvSpPr txBox="1"/>
          <p:nvPr/>
        </p:nvSpPr>
        <p:spPr>
          <a:xfrm>
            <a:off x="7550483" y="4842140"/>
            <a:ext cx="692817" cy="430887"/>
          </a:xfrm>
          <a:prstGeom prst="rect">
            <a:avLst/>
          </a:prstGeom>
          <a:noFill/>
        </p:spPr>
        <p:txBody>
          <a:bodyPr wrap="none" rtlCol="0">
            <a:spAutoFit/>
          </a:bodyPr>
          <a:lstStyle/>
          <a:p>
            <a:pPr algn="r"/>
            <a:r>
              <a:rPr lang="en-US" sz="2200" b="1" dirty="0">
                <a:solidFill>
                  <a:schemeClr val="bg1"/>
                </a:solidFill>
                <a:latin typeface="Segoe UI Light" panose="020B0502040204020203" pitchFamily="34" charset="0"/>
                <a:ea typeface="Roboto" panose="02000000000000000000" pitchFamily="2" charset="0"/>
              </a:rPr>
              <a:t>57%</a:t>
            </a:r>
          </a:p>
        </p:txBody>
      </p:sp>
      <p:sp>
        <p:nvSpPr>
          <p:cNvPr id="78" name="Title 1">
            <a:extLst>
              <a:ext uri="{FF2B5EF4-FFF2-40B4-BE49-F238E27FC236}">
                <a16:creationId xmlns:a16="http://schemas.microsoft.com/office/drawing/2014/main" id="{6FA4B408-075D-FD42-AB4A-37F880322607}"/>
              </a:ext>
            </a:extLst>
          </p:cNvPr>
          <p:cNvSpPr txBox="1"/>
          <p:nvPr/>
        </p:nvSpPr>
        <p:spPr>
          <a:xfrm>
            <a:off x="6248817" y="2298011"/>
            <a:ext cx="2625065" cy="307777"/>
          </a:xfrm>
          <a:prstGeom prst="rect">
            <a:avLst/>
          </a:prstGeom>
          <a:noFill/>
        </p:spPr>
        <p:txBody>
          <a:bodyPr wrap="square" rtlCol="0">
            <a:spAutoFit/>
          </a:bodyPr>
          <a:lstStyle/>
          <a:p>
            <a:pPr algn="ctr"/>
            <a:r>
              <a:rPr lang="en-US" sz="1400">
                <a:solidFill>
                  <a:schemeClr val="bg2"/>
                </a:solidFill>
                <a:latin typeface="Segoe UI Light" panose="020B0502040204020203" pitchFamily="34" charset="0"/>
                <a:ea typeface="Open Sans Light" panose="020B0606030504020204" pitchFamily="34" charset="0"/>
                <a:cs typeface="Open Sans Light" panose="020B0606030504020204" pitchFamily="34" charset="0"/>
              </a:rPr>
              <a:t>Description</a:t>
            </a:r>
            <a:endParaRPr lang="en-US" sz="1400" dirty="0">
              <a:solidFill>
                <a:schemeClr val="bg2"/>
              </a:solidFill>
              <a:latin typeface="Segoe UI Light" panose="020B0502040204020203" pitchFamily="34" charset="0"/>
              <a:ea typeface="Open Sans Light" panose="020B0606030504020204" pitchFamily="34" charset="0"/>
              <a:cs typeface="Open Sans Light" panose="020B0606030504020204" pitchFamily="34" charset="0"/>
            </a:endParaRPr>
          </a:p>
        </p:txBody>
      </p:sp>
      <p:sp>
        <p:nvSpPr>
          <p:cNvPr id="79" name="Title 1">
            <a:extLst>
              <a:ext uri="{FF2B5EF4-FFF2-40B4-BE49-F238E27FC236}">
                <a16:creationId xmlns:a16="http://schemas.microsoft.com/office/drawing/2014/main" id="{77EDBE3C-C792-F646-B1B9-9F0007DE7203}"/>
              </a:ext>
            </a:extLst>
          </p:cNvPr>
          <p:cNvSpPr txBox="1"/>
          <p:nvPr/>
        </p:nvSpPr>
        <p:spPr>
          <a:xfrm>
            <a:off x="6255094" y="3573034"/>
            <a:ext cx="2625065" cy="307777"/>
          </a:xfrm>
          <a:prstGeom prst="rect">
            <a:avLst/>
          </a:prstGeom>
          <a:noFill/>
        </p:spPr>
        <p:txBody>
          <a:bodyPr wrap="square" rtlCol="0">
            <a:spAutoFit/>
          </a:bodyPr>
          <a:lstStyle>
            <a:defPPr>
              <a:defRPr lang="en-US"/>
            </a:defPPr>
            <a:lvl1pPr algn="ctr">
              <a:defRPr sz="2799" b="1">
                <a:solidFill>
                  <a:schemeClr val="bg2"/>
                </a:solidFill>
                <a:latin typeface="Roboto" panose="02000000000000000000" pitchFamily="2" charset="0"/>
                <a:ea typeface="Roboto" panose="02000000000000000000" pitchFamily="2" charset="0"/>
              </a:defRPr>
            </a:lvl1pPr>
          </a:lstStyle>
          <a:p>
            <a:r>
              <a:rPr lang="en-US" sz="1400" b="0">
                <a:latin typeface="Segoe UI Light" panose="020B0502040204020203" pitchFamily="34" charset="0"/>
                <a:ea typeface="Open Sans Light" panose="020B0606030504020204" pitchFamily="34" charset="0"/>
                <a:cs typeface="Open Sans Light" panose="020B0606030504020204" pitchFamily="34" charset="0"/>
              </a:rPr>
              <a:t>Description</a:t>
            </a:r>
            <a:endParaRPr lang="en-US" sz="1400" b="0" dirty="0">
              <a:latin typeface="Segoe UI Light" panose="020B0502040204020203" pitchFamily="34" charset="0"/>
              <a:ea typeface="Open Sans Light" panose="020B0606030504020204" pitchFamily="34" charset="0"/>
              <a:cs typeface="Open Sans Light" panose="020B0606030504020204" pitchFamily="34" charset="0"/>
            </a:endParaRPr>
          </a:p>
        </p:txBody>
      </p:sp>
      <p:sp>
        <p:nvSpPr>
          <p:cNvPr id="81" name="Freeform 3">
            <a:extLst>
              <a:ext uri="{FF2B5EF4-FFF2-40B4-BE49-F238E27FC236}">
                <a16:creationId xmlns:a16="http://schemas.microsoft.com/office/drawing/2014/main" id="{F01A8FE1-F1EC-7949-A2BC-227634C7D832}"/>
              </a:ext>
            </a:extLst>
          </p:cNvPr>
          <p:cNvSpPr>
            <a:spLocks noChangeArrowheads="1"/>
          </p:cNvSpPr>
          <p:nvPr/>
        </p:nvSpPr>
        <p:spPr bwMode="auto">
          <a:xfrm>
            <a:off x="10089634" y="1574369"/>
            <a:ext cx="784628" cy="538957"/>
          </a:xfrm>
          <a:custGeom>
            <a:avLst/>
            <a:gdLst>
              <a:gd name="T0" fmla="*/ 1880 w 5013"/>
              <a:gd name="T1" fmla="*/ 2663 h 3446"/>
              <a:gd name="T2" fmla="*/ 1880 w 5013"/>
              <a:gd name="T3" fmla="*/ 783 h 3446"/>
              <a:gd name="T4" fmla="*/ 3446 w 5013"/>
              <a:gd name="T5" fmla="*/ 1723 h 3446"/>
              <a:gd name="T6" fmla="*/ 1880 w 5013"/>
              <a:gd name="T7" fmla="*/ 2663 h 3446"/>
              <a:gd name="T8" fmla="*/ 4799 w 5013"/>
              <a:gd name="T9" fmla="*/ 332 h 3446"/>
              <a:gd name="T10" fmla="*/ 4799 w 5013"/>
              <a:gd name="T11" fmla="*/ 332 h 3446"/>
              <a:gd name="T12" fmla="*/ 4215 w 5013"/>
              <a:gd name="T13" fmla="*/ 28 h 3446"/>
              <a:gd name="T14" fmla="*/ 4215 w 5013"/>
              <a:gd name="T15" fmla="*/ 28 h 3446"/>
              <a:gd name="T16" fmla="*/ 2507 w 5013"/>
              <a:gd name="T17" fmla="*/ 0 h 3446"/>
              <a:gd name="T18" fmla="*/ 2507 w 5013"/>
              <a:gd name="T19" fmla="*/ 0 h 3446"/>
              <a:gd name="T20" fmla="*/ 797 w 5013"/>
              <a:gd name="T21" fmla="*/ 28 h 3446"/>
              <a:gd name="T22" fmla="*/ 797 w 5013"/>
              <a:gd name="T23" fmla="*/ 28 h 3446"/>
              <a:gd name="T24" fmla="*/ 212 w 5013"/>
              <a:gd name="T25" fmla="*/ 332 h 3446"/>
              <a:gd name="T26" fmla="*/ 212 w 5013"/>
              <a:gd name="T27" fmla="*/ 332 h 3446"/>
              <a:gd name="T28" fmla="*/ 0 w 5013"/>
              <a:gd name="T29" fmla="*/ 1722 h 3446"/>
              <a:gd name="T30" fmla="*/ 0 w 5013"/>
              <a:gd name="T31" fmla="*/ 1723 h 3446"/>
              <a:gd name="T32" fmla="*/ 0 w 5013"/>
              <a:gd name="T33" fmla="*/ 1723 h 3446"/>
              <a:gd name="T34" fmla="*/ 0 w 5013"/>
              <a:gd name="T35" fmla="*/ 1724 h 3446"/>
              <a:gd name="T36" fmla="*/ 0 w 5013"/>
              <a:gd name="T37" fmla="*/ 1724 h 3446"/>
              <a:gd name="T38" fmla="*/ 212 w 5013"/>
              <a:gd name="T39" fmla="*/ 3111 h 3446"/>
              <a:gd name="T40" fmla="*/ 212 w 5013"/>
              <a:gd name="T41" fmla="*/ 3111 h 3446"/>
              <a:gd name="T42" fmla="*/ 797 w 5013"/>
              <a:gd name="T43" fmla="*/ 3418 h 3446"/>
              <a:gd name="T44" fmla="*/ 797 w 5013"/>
              <a:gd name="T45" fmla="*/ 3418 h 3446"/>
              <a:gd name="T46" fmla="*/ 2507 w 5013"/>
              <a:gd name="T47" fmla="*/ 3445 h 3446"/>
              <a:gd name="T48" fmla="*/ 2507 w 5013"/>
              <a:gd name="T49" fmla="*/ 3445 h 3446"/>
              <a:gd name="T50" fmla="*/ 4215 w 5013"/>
              <a:gd name="T51" fmla="*/ 3418 h 3446"/>
              <a:gd name="T52" fmla="*/ 4215 w 5013"/>
              <a:gd name="T53" fmla="*/ 3418 h 3446"/>
              <a:gd name="T54" fmla="*/ 4799 w 5013"/>
              <a:gd name="T55" fmla="*/ 3112 h 3446"/>
              <a:gd name="T56" fmla="*/ 4799 w 5013"/>
              <a:gd name="T57" fmla="*/ 3112 h 3446"/>
              <a:gd name="T58" fmla="*/ 5012 w 5013"/>
              <a:gd name="T59" fmla="*/ 1725 h 3446"/>
              <a:gd name="T60" fmla="*/ 5012 w 5013"/>
              <a:gd name="T61" fmla="*/ 1723 h 3446"/>
              <a:gd name="T62" fmla="*/ 5012 w 5013"/>
              <a:gd name="T63" fmla="*/ 1722 h 3446"/>
              <a:gd name="T64" fmla="*/ 5012 w 5013"/>
              <a:gd name="T65" fmla="*/ 1722 h 3446"/>
              <a:gd name="T66" fmla="*/ 4799 w 5013"/>
              <a:gd name="T67" fmla="*/ 332 h 3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13" h="3446">
                <a:moveTo>
                  <a:pt x="1880" y="2663"/>
                </a:moveTo>
                <a:lnTo>
                  <a:pt x="1880" y="783"/>
                </a:lnTo>
                <a:lnTo>
                  <a:pt x="3446" y="1723"/>
                </a:lnTo>
                <a:lnTo>
                  <a:pt x="1880" y="2663"/>
                </a:lnTo>
                <a:close/>
                <a:moveTo>
                  <a:pt x="4799" y="332"/>
                </a:moveTo>
                <a:lnTo>
                  <a:pt x="4799" y="332"/>
                </a:lnTo>
                <a:cubicBezTo>
                  <a:pt x="4663" y="90"/>
                  <a:pt x="4515" y="45"/>
                  <a:pt x="4215" y="28"/>
                </a:cubicBezTo>
                <a:lnTo>
                  <a:pt x="4215" y="28"/>
                </a:lnTo>
                <a:cubicBezTo>
                  <a:pt x="3915" y="8"/>
                  <a:pt x="3160" y="0"/>
                  <a:pt x="2507" y="0"/>
                </a:cubicBezTo>
                <a:lnTo>
                  <a:pt x="2507" y="0"/>
                </a:lnTo>
                <a:cubicBezTo>
                  <a:pt x="1852" y="0"/>
                  <a:pt x="1097" y="8"/>
                  <a:pt x="797" y="28"/>
                </a:cubicBezTo>
                <a:lnTo>
                  <a:pt x="797" y="28"/>
                </a:lnTo>
                <a:cubicBezTo>
                  <a:pt x="497" y="45"/>
                  <a:pt x="350" y="89"/>
                  <a:pt x="212" y="332"/>
                </a:cubicBezTo>
                <a:lnTo>
                  <a:pt x="212" y="332"/>
                </a:lnTo>
                <a:cubicBezTo>
                  <a:pt x="72" y="573"/>
                  <a:pt x="0" y="989"/>
                  <a:pt x="0" y="1722"/>
                </a:cubicBezTo>
                <a:lnTo>
                  <a:pt x="0" y="1723"/>
                </a:lnTo>
                <a:lnTo>
                  <a:pt x="0" y="1723"/>
                </a:lnTo>
                <a:lnTo>
                  <a:pt x="0" y="1724"/>
                </a:lnTo>
                <a:lnTo>
                  <a:pt x="0" y="1724"/>
                </a:lnTo>
                <a:cubicBezTo>
                  <a:pt x="0" y="2453"/>
                  <a:pt x="72" y="2873"/>
                  <a:pt x="212" y="3111"/>
                </a:cubicBezTo>
                <a:lnTo>
                  <a:pt x="212" y="3111"/>
                </a:lnTo>
                <a:cubicBezTo>
                  <a:pt x="350" y="3353"/>
                  <a:pt x="497" y="3397"/>
                  <a:pt x="797" y="3418"/>
                </a:cubicBezTo>
                <a:lnTo>
                  <a:pt x="797" y="3418"/>
                </a:lnTo>
                <a:cubicBezTo>
                  <a:pt x="1097" y="3435"/>
                  <a:pt x="1852" y="3445"/>
                  <a:pt x="2507" y="3445"/>
                </a:cubicBezTo>
                <a:lnTo>
                  <a:pt x="2507" y="3445"/>
                </a:lnTo>
                <a:cubicBezTo>
                  <a:pt x="3160" y="3445"/>
                  <a:pt x="3915" y="3435"/>
                  <a:pt x="4215" y="3418"/>
                </a:cubicBezTo>
                <a:lnTo>
                  <a:pt x="4215" y="3418"/>
                </a:lnTo>
                <a:cubicBezTo>
                  <a:pt x="4516" y="3397"/>
                  <a:pt x="4664" y="3354"/>
                  <a:pt x="4799" y="3112"/>
                </a:cubicBezTo>
                <a:lnTo>
                  <a:pt x="4799" y="3112"/>
                </a:lnTo>
                <a:cubicBezTo>
                  <a:pt x="4941" y="2873"/>
                  <a:pt x="5012" y="2453"/>
                  <a:pt x="5012" y="1725"/>
                </a:cubicBezTo>
                <a:lnTo>
                  <a:pt x="5012" y="1723"/>
                </a:lnTo>
                <a:lnTo>
                  <a:pt x="5012" y="1722"/>
                </a:lnTo>
                <a:lnTo>
                  <a:pt x="5012" y="1722"/>
                </a:lnTo>
                <a:cubicBezTo>
                  <a:pt x="5012" y="989"/>
                  <a:pt x="4941" y="573"/>
                  <a:pt x="4799" y="332"/>
                </a:cubicBezTo>
                <a:close/>
              </a:path>
            </a:pathLst>
          </a:custGeom>
          <a:solidFill>
            <a:schemeClr val="bg1"/>
          </a:solidFill>
          <a:ln>
            <a:noFill/>
          </a:ln>
          <a:effectLst/>
        </p:spPr>
        <p:txBody>
          <a:bodyPr wrap="none" anchor="ctr"/>
          <a:lstStyle/>
          <a:p>
            <a:endParaRPr lang="en-US" sz="900" dirty="0"/>
          </a:p>
        </p:txBody>
      </p:sp>
      <p:sp>
        <p:nvSpPr>
          <p:cNvPr id="84" name="TextBox 83">
            <a:extLst>
              <a:ext uri="{FF2B5EF4-FFF2-40B4-BE49-F238E27FC236}">
                <a16:creationId xmlns:a16="http://schemas.microsoft.com/office/drawing/2014/main" id="{979A14A4-D74A-6548-A594-450656CE0D96}"/>
              </a:ext>
            </a:extLst>
          </p:cNvPr>
          <p:cNvSpPr txBox="1"/>
          <p:nvPr/>
        </p:nvSpPr>
        <p:spPr>
          <a:xfrm>
            <a:off x="9943990" y="2642869"/>
            <a:ext cx="1061508" cy="600164"/>
          </a:xfrm>
          <a:prstGeom prst="rect">
            <a:avLst/>
          </a:prstGeom>
          <a:noFill/>
        </p:spPr>
        <p:txBody>
          <a:bodyPr wrap="none" rtlCol="0">
            <a:spAutoFit/>
          </a:bodyPr>
          <a:lstStyle/>
          <a:p>
            <a:pPr algn="ctr"/>
            <a:r>
              <a:rPr lang="en-US" sz="3300" b="1" dirty="0">
                <a:solidFill>
                  <a:schemeClr val="bg1"/>
                </a:solidFill>
                <a:latin typeface="Segoe UI Light" panose="020B0502040204020203" pitchFamily="34" charset="0"/>
                <a:ea typeface="Roboto" panose="02000000000000000000" pitchFamily="2" charset="0"/>
              </a:rPr>
              <a:t>974K</a:t>
            </a:r>
          </a:p>
        </p:txBody>
      </p:sp>
      <p:cxnSp>
        <p:nvCxnSpPr>
          <p:cNvPr id="85" name="Straight Connector 84">
            <a:extLst>
              <a:ext uri="{FF2B5EF4-FFF2-40B4-BE49-F238E27FC236}">
                <a16:creationId xmlns:a16="http://schemas.microsoft.com/office/drawing/2014/main" id="{CCCB411C-B6D2-D048-BC73-85559E689F76}"/>
              </a:ext>
            </a:extLst>
          </p:cNvPr>
          <p:cNvCxnSpPr>
            <a:cxnSpLocks/>
          </p:cNvCxnSpPr>
          <p:nvPr/>
        </p:nvCxnSpPr>
        <p:spPr>
          <a:xfrm>
            <a:off x="9241924" y="2452256"/>
            <a:ext cx="53986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0D5BA19-CC3C-2E4C-ABA3-6195703111FD}"/>
              </a:ext>
            </a:extLst>
          </p:cNvPr>
          <p:cNvCxnSpPr>
            <a:cxnSpLocks/>
          </p:cNvCxnSpPr>
          <p:nvPr/>
        </p:nvCxnSpPr>
        <p:spPr>
          <a:xfrm>
            <a:off x="11124802" y="2452256"/>
            <a:ext cx="53986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81738F9E-E6D5-5A4C-A594-552A925D239B}"/>
              </a:ext>
            </a:extLst>
          </p:cNvPr>
          <p:cNvCxnSpPr>
            <a:cxnSpLocks/>
          </p:cNvCxnSpPr>
          <p:nvPr/>
        </p:nvCxnSpPr>
        <p:spPr>
          <a:xfrm>
            <a:off x="9241924" y="3726882"/>
            <a:ext cx="53986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832B114B-AC72-324E-817A-CFD5F36B67BF}"/>
              </a:ext>
            </a:extLst>
          </p:cNvPr>
          <p:cNvCxnSpPr>
            <a:cxnSpLocks/>
          </p:cNvCxnSpPr>
          <p:nvPr/>
        </p:nvCxnSpPr>
        <p:spPr>
          <a:xfrm>
            <a:off x="11124802" y="3726882"/>
            <a:ext cx="53986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F8B9C919-54A4-754D-9FDE-CC7AE66EBA3B}"/>
              </a:ext>
            </a:extLst>
          </p:cNvPr>
          <p:cNvSpPr txBox="1"/>
          <p:nvPr/>
        </p:nvSpPr>
        <p:spPr>
          <a:xfrm>
            <a:off x="9680997" y="3189569"/>
            <a:ext cx="1601849" cy="307777"/>
          </a:xfrm>
          <a:prstGeom prst="rect">
            <a:avLst/>
          </a:prstGeom>
          <a:noFill/>
        </p:spPr>
        <p:txBody>
          <a:bodyPr wrap="none" rtlCol="0">
            <a:spAutoFit/>
          </a:bodyPr>
          <a:lstStyle/>
          <a:p>
            <a:pPr algn="ctr"/>
            <a:r>
              <a:rPr lang="en-US" sz="1400" b="1" dirty="0">
                <a:solidFill>
                  <a:schemeClr val="bg1"/>
                </a:solidFill>
                <a:latin typeface="Segoe UI Light" panose="020B0502040204020203" pitchFamily="34" charset="0"/>
                <a:ea typeface="Roboto" panose="02000000000000000000" pitchFamily="2" charset="0"/>
                <a:cs typeface="Open Sans Light" panose="020B0606030504020204" pitchFamily="34" charset="0"/>
              </a:rPr>
              <a:t>Users on the world</a:t>
            </a:r>
          </a:p>
        </p:txBody>
      </p:sp>
      <p:sp>
        <p:nvSpPr>
          <p:cNvPr id="90" name="TextBox 89">
            <a:extLst>
              <a:ext uri="{FF2B5EF4-FFF2-40B4-BE49-F238E27FC236}">
                <a16:creationId xmlns:a16="http://schemas.microsoft.com/office/drawing/2014/main" id="{1839C750-A95B-7C40-A7B4-351BB77DB01D}"/>
              </a:ext>
            </a:extLst>
          </p:cNvPr>
          <p:cNvSpPr txBox="1"/>
          <p:nvPr/>
        </p:nvSpPr>
        <p:spPr>
          <a:xfrm>
            <a:off x="9728591" y="4670586"/>
            <a:ext cx="787395" cy="246221"/>
          </a:xfrm>
          <a:prstGeom prst="rect">
            <a:avLst/>
          </a:prstGeom>
          <a:noFill/>
        </p:spPr>
        <p:txBody>
          <a:bodyPr wrap="none" rtlCol="0">
            <a:spAutoFit/>
          </a:bodyPr>
          <a:lstStyle/>
          <a:p>
            <a:pPr algn="ctr"/>
            <a:r>
              <a:rPr lang="en-US" sz="1000" dirty="0">
                <a:solidFill>
                  <a:srgbClr val="FC0D1B"/>
                </a:solidFill>
                <a:latin typeface="Segoe UI Light" panose="020B0502040204020203" pitchFamily="34" charset="0"/>
                <a:ea typeface="Open Sans Light" panose="020B0606030504020204" pitchFamily="34" charset="0"/>
                <a:cs typeface="Open Sans Light" panose="020B0606030504020204" pitchFamily="34" charset="0"/>
              </a:rPr>
              <a:t>Description</a:t>
            </a:r>
          </a:p>
        </p:txBody>
      </p:sp>
      <p:sp>
        <p:nvSpPr>
          <p:cNvPr id="91" name="TextBox 90">
            <a:extLst>
              <a:ext uri="{FF2B5EF4-FFF2-40B4-BE49-F238E27FC236}">
                <a16:creationId xmlns:a16="http://schemas.microsoft.com/office/drawing/2014/main" id="{F755B7ED-5BDF-9342-B683-E6E8526F2FA4}"/>
              </a:ext>
            </a:extLst>
          </p:cNvPr>
          <p:cNvSpPr txBox="1"/>
          <p:nvPr/>
        </p:nvSpPr>
        <p:spPr>
          <a:xfrm>
            <a:off x="9746304" y="4332425"/>
            <a:ext cx="697627" cy="430887"/>
          </a:xfrm>
          <a:prstGeom prst="rect">
            <a:avLst/>
          </a:prstGeom>
          <a:noFill/>
        </p:spPr>
        <p:txBody>
          <a:bodyPr wrap="none" rtlCol="0">
            <a:spAutoFit/>
          </a:bodyPr>
          <a:lstStyle/>
          <a:p>
            <a:r>
              <a:rPr lang="en-US" sz="2200" b="1" dirty="0">
                <a:solidFill>
                  <a:srgbClr val="FC0D1B"/>
                </a:solidFill>
                <a:latin typeface="Segoe UI Light" panose="020B0502040204020203" pitchFamily="34" charset="0"/>
                <a:ea typeface="Roboto" panose="02000000000000000000" pitchFamily="2" charset="0"/>
              </a:rPr>
              <a:t>33%</a:t>
            </a:r>
          </a:p>
        </p:txBody>
      </p:sp>
      <p:sp>
        <p:nvSpPr>
          <p:cNvPr id="92" name="TextBox 91">
            <a:extLst>
              <a:ext uri="{FF2B5EF4-FFF2-40B4-BE49-F238E27FC236}">
                <a16:creationId xmlns:a16="http://schemas.microsoft.com/office/drawing/2014/main" id="{5A2AA377-1864-4F4E-AC67-F0F47D45AD5A}"/>
              </a:ext>
            </a:extLst>
          </p:cNvPr>
          <p:cNvSpPr txBox="1"/>
          <p:nvPr/>
        </p:nvSpPr>
        <p:spPr>
          <a:xfrm>
            <a:off x="10415673" y="5180301"/>
            <a:ext cx="787395" cy="246221"/>
          </a:xfrm>
          <a:prstGeom prst="rect">
            <a:avLst/>
          </a:prstGeom>
          <a:noFill/>
        </p:spPr>
        <p:txBody>
          <a:bodyPr wrap="none" rtlCol="0">
            <a:spAutoFit/>
          </a:bodyPr>
          <a:lstStyle/>
          <a:p>
            <a:pPr algn="r"/>
            <a:r>
              <a:rPr lang="en-US" sz="1000" dirty="0">
                <a:solidFill>
                  <a:schemeClr val="bg1"/>
                </a:solidFill>
                <a:latin typeface="Segoe UI Light" panose="020B0502040204020203" pitchFamily="34" charset="0"/>
                <a:ea typeface="Open Sans Light" panose="020B0606030504020204" pitchFamily="34" charset="0"/>
                <a:cs typeface="Open Sans Light" panose="020B0606030504020204" pitchFamily="34" charset="0"/>
              </a:rPr>
              <a:t>Description</a:t>
            </a:r>
          </a:p>
        </p:txBody>
      </p:sp>
      <p:sp>
        <p:nvSpPr>
          <p:cNvPr id="93" name="TextBox 92">
            <a:extLst>
              <a:ext uri="{FF2B5EF4-FFF2-40B4-BE49-F238E27FC236}">
                <a16:creationId xmlns:a16="http://schemas.microsoft.com/office/drawing/2014/main" id="{CB3F933B-90F3-ED4E-92CA-86AA8C13167E}"/>
              </a:ext>
            </a:extLst>
          </p:cNvPr>
          <p:cNvSpPr txBox="1"/>
          <p:nvPr/>
        </p:nvSpPr>
        <p:spPr>
          <a:xfrm>
            <a:off x="10462940" y="4842140"/>
            <a:ext cx="692817" cy="430887"/>
          </a:xfrm>
          <a:prstGeom prst="rect">
            <a:avLst/>
          </a:prstGeom>
          <a:noFill/>
        </p:spPr>
        <p:txBody>
          <a:bodyPr wrap="none" rtlCol="0">
            <a:spAutoFit/>
          </a:bodyPr>
          <a:lstStyle/>
          <a:p>
            <a:pPr algn="r"/>
            <a:r>
              <a:rPr lang="en-US" sz="2200" b="1" dirty="0">
                <a:solidFill>
                  <a:schemeClr val="bg1"/>
                </a:solidFill>
                <a:latin typeface="Segoe UI Light" panose="020B0502040204020203" pitchFamily="34" charset="0"/>
                <a:ea typeface="Roboto" panose="02000000000000000000" pitchFamily="2" charset="0"/>
              </a:rPr>
              <a:t>67%</a:t>
            </a:r>
          </a:p>
        </p:txBody>
      </p:sp>
      <p:sp>
        <p:nvSpPr>
          <p:cNvPr id="94" name="Title 1">
            <a:extLst>
              <a:ext uri="{FF2B5EF4-FFF2-40B4-BE49-F238E27FC236}">
                <a16:creationId xmlns:a16="http://schemas.microsoft.com/office/drawing/2014/main" id="{B143CA7F-C849-754B-8D7F-989169E70862}"/>
              </a:ext>
            </a:extLst>
          </p:cNvPr>
          <p:cNvSpPr txBox="1"/>
          <p:nvPr/>
        </p:nvSpPr>
        <p:spPr>
          <a:xfrm>
            <a:off x="9161274" y="2298011"/>
            <a:ext cx="2625065" cy="307777"/>
          </a:xfrm>
          <a:prstGeom prst="rect">
            <a:avLst/>
          </a:prstGeom>
          <a:noFill/>
        </p:spPr>
        <p:txBody>
          <a:bodyPr wrap="square" rtlCol="0">
            <a:spAutoFit/>
          </a:bodyPr>
          <a:lstStyle/>
          <a:p>
            <a:pPr algn="ctr"/>
            <a:r>
              <a:rPr lang="en-US" sz="1400">
                <a:solidFill>
                  <a:schemeClr val="bg2"/>
                </a:solidFill>
                <a:latin typeface="Segoe UI Light" panose="020B0502040204020203" pitchFamily="34" charset="0"/>
                <a:ea typeface="Open Sans Light" panose="020B0606030504020204" pitchFamily="34" charset="0"/>
                <a:cs typeface="Open Sans Light" panose="020B0606030504020204" pitchFamily="34" charset="0"/>
              </a:rPr>
              <a:t>Description</a:t>
            </a:r>
            <a:endParaRPr lang="en-US" sz="1400" dirty="0">
              <a:solidFill>
                <a:schemeClr val="bg2"/>
              </a:solidFill>
              <a:latin typeface="Segoe UI Light" panose="020B0502040204020203" pitchFamily="34" charset="0"/>
              <a:ea typeface="Open Sans Light" panose="020B0606030504020204" pitchFamily="34" charset="0"/>
              <a:cs typeface="Open Sans Light" panose="020B0606030504020204" pitchFamily="34" charset="0"/>
            </a:endParaRPr>
          </a:p>
        </p:txBody>
      </p:sp>
      <p:sp>
        <p:nvSpPr>
          <p:cNvPr id="95" name="Title 1">
            <a:extLst>
              <a:ext uri="{FF2B5EF4-FFF2-40B4-BE49-F238E27FC236}">
                <a16:creationId xmlns:a16="http://schemas.microsoft.com/office/drawing/2014/main" id="{05FD207B-0A7A-F24F-9377-9C543B2D95F1}"/>
              </a:ext>
            </a:extLst>
          </p:cNvPr>
          <p:cNvSpPr txBox="1"/>
          <p:nvPr/>
        </p:nvSpPr>
        <p:spPr>
          <a:xfrm>
            <a:off x="9167551" y="3573034"/>
            <a:ext cx="2625065" cy="307777"/>
          </a:xfrm>
          <a:prstGeom prst="rect">
            <a:avLst/>
          </a:prstGeom>
          <a:noFill/>
        </p:spPr>
        <p:txBody>
          <a:bodyPr wrap="square" rtlCol="0">
            <a:spAutoFit/>
          </a:bodyPr>
          <a:lstStyle>
            <a:defPPr>
              <a:defRPr lang="en-US"/>
            </a:defPPr>
            <a:lvl1pPr algn="ctr">
              <a:defRPr sz="2799" b="1">
                <a:solidFill>
                  <a:schemeClr val="bg2"/>
                </a:solidFill>
                <a:latin typeface="Roboto" panose="02000000000000000000" pitchFamily="2" charset="0"/>
                <a:ea typeface="Roboto" panose="02000000000000000000" pitchFamily="2" charset="0"/>
              </a:defRPr>
            </a:lvl1pPr>
          </a:lstStyle>
          <a:p>
            <a:r>
              <a:rPr lang="en-US" sz="1400" b="0">
                <a:latin typeface="Segoe UI Light" panose="020B0502040204020203" pitchFamily="34" charset="0"/>
                <a:ea typeface="Open Sans Light" panose="020B0606030504020204" pitchFamily="34" charset="0"/>
                <a:cs typeface="Open Sans Light" panose="020B0606030504020204" pitchFamily="34" charset="0"/>
              </a:rPr>
              <a:t>Description</a:t>
            </a:r>
            <a:endParaRPr lang="en-US" sz="1400" b="0" dirty="0">
              <a:latin typeface="Segoe UI Light" panose="020B0502040204020203" pitchFamily="34" charset="0"/>
              <a:ea typeface="Open Sans Light" panose="020B0606030504020204" pitchFamily="34" charset="0"/>
              <a:cs typeface="Open Sans Light" panose="020B0606030504020204" pitchFamily="34" charset="0"/>
            </a:endParaRPr>
          </a:p>
        </p:txBody>
      </p:sp>
      <p:sp>
        <p:nvSpPr>
          <p:cNvPr id="66" name="Titel 1">
            <a:extLst>
              <a:ext uri="{FF2B5EF4-FFF2-40B4-BE49-F238E27FC236}">
                <a16:creationId xmlns:a16="http://schemas.microsoft.com/office/drawing/2014/main" id="{4A62B7AE-A2E6-4042-9AD1-287BB7CC604F}"/>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Social Media</a:t>
            </a:r>
          </a:p>
        </p:txBody>
      </p:sp>
    </p:spTree>
    <p:custDataLst>
      <p:tags r:id="rId1"/>
    </p:custDataLst>
    <p:extLst>
      <p:ext uri="{BB962C8B-B14F-4D97-AF65-F5344CB8AC3E}">
        <p14:creationId xmlns:p14="http://schemas.microsoft.com/office/powerpoint/2010/main" val="26174419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5">
            <a:extLst>
              <a:ext uri="{FF2B5EF4-FFF2-40B4-BE49-F238E27FC236}">
                <a16:creationId xmlns:a16="http://schemas.microsoft.com/office/drawing/2014/main" id="{3D5FE12F-5F52-5543-A9CC-45476CCC34E1}"/>
              </a:ext>
            </a:extLst>
          </p:cNvPr>
          <p:cNvSpPr>
            <a:spLocks/>
          </p:cNvSpPr>
          <p:nvPr/>
        </p:nvSpPr>
        <p:spPr bwMode="auto">
          <a:xfrm>
            <a:off x="1372312" y="2814956"/>
            <a:ext cx="2162278" cy="1751540"/>
          </a:xfrm>
          <a:custGeom>
            <a:avLst/>
            <a:gdLst>
              <a:gd name="T0" fmla="*/ 1119 w 1119"/>
              <a:gd name="T1" fmla="*/ 102 h 906"/>
              <a:gd name="T2" fmla="*/ 987 w 1119"/>
              <a:gd name="T3" fmla="*/ 139 h 906"/>
              <a:gd name="T4" fmla="*/ 1090 w 1119"/>
              <a:gd name="T5" fmla="*/ 15 h 906"/>
              <a:gd name="T6" fmla="*/ 943 w 1119"/>
              <a:gd name="T7" fmla="*/ 66 h 906"/>
              <a:gd name="T8" fmla="*/ 775 w 1119"/>
              <a:gd name="T9" fmla="*/ 0 h 906"/>
              <a:gd name="T10" fmla="*/ 548 w 1119"/>
              <a:gd name="T11" fmla="*/ 226 h 906"/>
              <a:gd name="T12" fmla="*/ 556 w 1119"/>
              <a:gd name="T13" fmla="*/ 278 h 906"/>
              <a:gd name="T14" fmla="*/ 80 w 1119"/>
              <a:gd name="T15" fmla="*/ 36 h 906"/>
              <a:gd name="T16" fmla="*/ 51 w 1119"/>
              <a:gd name="T17" fmla="*/ 153 h 906"/>
              <a:gd name="T18" fmla="*/ 153 w 1119"/>
              <a:gd name="T19" fmla="*/ 343 h 906"/>
              <a:gd name="T20" fmla="*/ 43 w 1119"/>
              <a:gd name="T21" fmla="*/ 314 h 906"/>
              <a:gd name="T22" fmla="*/ 43 w 1119"/>
              <a:gd name="T23" fmla="*/ 321 h 906"/>
              <a:gd name="T24" fmla="*/ 234 w 1119"/>
              <a:gd name="T25" fmla="*/ 541 h 906"/>
              <a:gd name="T26" fmla="*/ 168 w 1119"/>
              <a:gd name="T27" fmla="*/ 555 h 906"/>
              <a:gd name="T28" fmla="*/ 124 w 1119"/>
              <a:gd name="T29" fmla="*/ 548 h 906"/>
              <a:gd name="T30" fmla="*/ 343 w 1119"/>
              <a:gd name="T31" fmla="*/ 709 h 906"/>
              <a:gd name="T32" fmla="*/ 58 w 1119"/>
              <a:gd name="T33" fmla="*/ 804 h 906"/>
              <a:gd name="T34" fmla="*/ 0 w 1119"/>
              <a:gd name="T35" fmla="*/ 804 h 906"/>
              <a:gd name="T36" fmla="*/ 351 w 1119"/>
              <a:gd name="T37" fmla="*/ 906 h 906"/>
              <a:gd name="T38" fmla="*/ 1009 w 1119"/>
              <a:gd name="T39" fmla="*/ 256 h 906"/>
              <a:gd name="T40" fmla="*/ 1009 w 1119"/>
              <a:gd name="T41" fmla="*/ 226 h 906"/>
              <a:gd name="T42" fmla="*/ 1119 w 1119"/>
              <a:gd name="T43" fmla="*/ 102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9" h="906">
                <a:moveTo>
                  <a:pt x="1119" y="102"/>
                </a:moveTo>
                <a:cubicBezTo>
                  <a:pt x="1082" y="124"/>
                  <a:pt x="1038" y="131"/>
                  <a:pt x="987" y="139"/>
                </a:cubicBezTo>
                <a:cubicBezTo>
                  <a:pt x="1038" y="110"/>
                  <a:pt x="1075" y="66"/>
                  <a:pt x="1090" y="15"/>
                </a:cubicBezTo>
                <a:cubicBezTo>
                  <a:pt x="1046" y="36"/>
                  <a:pt x="995" y="58"/>
                  <a:pt x="943" y="66"/>
                </a:cubicBezTo>
                <a:cubicBezTo>
                  <a:pt x="907" y="22"/>
                  <a:pt x="841" y="0"/>
                  <a:pt x="775" y="0"/>
                </a:cubicBezTo>
                <a:cubicBezTo>
                  <a:pt x="651" y="0"/>
                  <a:pt x="548" y="102"/>
                  <a:pt x="548" y="226"/>
                </a:cubicBezTo>
                <a:cubicBezTo>
                  <a:pt x="548" y="241"/>
                  <a:pt x="548" y="263"/>
                  <a:pt x="556" y="278"/>
                </a:cubicBezTo>
                <a:cubicBezTo>
                  <a:pt x="365" y="270"/>
                  <a:pt x="190" y="175"/>
                  <a:pt x="80" y="36"/>
                </a:cubicBezTo>
                <a:cubicBezTo>
                  <a:pt x="58" y="73"/>
                  <a:pt x="51" y="110"/>
                  <a:pt x="51" y="153"/>
                </a:cubicBezTo>
                <a:cubicBezTo>
                  <a:pt x="51" y="234"/>
                  <a:pt x="87" y="307"/>
                  <a:pt x="153" y="343"/>
                </a:cubicBezTo>
                <a:cubicBezTo>
                  <a:pt x="117" y="343"/>
                  <a:pt x="80" y="336"/>
                  <a:pt x="43" y="314"/>
                </a:cubicBezTo>
                <a:cubicBezTo>
                  <a:pt x="43" y="321"/>
                  <a:pt x="43" y="321"/>
                  <a:pt x="43" y="321"/>
                </a:cubicBezTo>
                <a:cubicBezTo>
                  <a:pt x="43" y="431"/>
                  <a:pt x="124" y="526"/>
                  <a:pt x="234" y="541"/>
                </a:cubicBezTo>
                <a:cubicBezTo>
                  <a:pt x="212" y="548"/>
                  <a:pt x="190" y="555"/>
                  <a:pt x="168" y="555"/>
                </a:cubicBezTo>
                <a:cubicBezTo>
                  <a:pt x="153" y="555"/>
                  <a:pt x="139" y="548"/>
                  <a:pt x="124" y="548"/>
                </a:cubicBezTo>
                <a:cubicBezTo>
                  <a:pt x="153" y="636"/>
                  <a:pt x="241" y="709"/>
                  <a:pt x="343" y="709"/>
                </a:cubicBezTo>
                <a:cubicBezTo>
                  <a:pt x="263" y="767"/>
                  <a:pt x="168" y="804"/>
                  <a:pt x="58" y="804"/>
                </a:cubicBezTo>
                <a:cubicBezTo>
                  <a:pt x="36" y="804"/>
                  <a:pt x="22" y="804"/>
                  <a:pt x="0" y="804"/>
                </a:cubicBezTo>
                <a:cubicBezTo>
                  <a:pt x="102" y="869"/>
                  <a:pt x="226" y="906"/>
                  <a:pt x="351" y="906"/>
                </a:cubicBezTo>
                <a:cubicBezTo>
                  <a:pt x="775" y="906"/>
                  <a:pt x="1009" y="555"/>
                  <a:pt x="1009" y="256"/>
                </a:cubicBezTo>
                <a:cubicBezTo>
                  <a:pt x="1009" y="241"/>
                  <a:pt x="1009" y="234"/>
                  <a:pt x="1009" y="226"/>
                </a:cubicBezTo>
                <a:cubicBezTo>
                  <a:pt x="1053" y="190"/>
                  <a:pt x="1090" y="153"/>
                  <a:pt x="1119" y="102"/>
                </a:cubicBezTo>
                <a:close/>
              </a:path>
            </a:pathLst>
          </a:custGeom>
          <a:solidFill>
            <a:srgbClr val="AAE1F6"/>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15" name="Rectangle 14">
            <a:extLst>
              <a:ext uri="{FF2B5EF4-FFF2-40B4-BE49-F238E27FC236}">
                <a16:creationId xmlns:a16="http://schemas.microsoft.com/office/drawing/2014/main" id="{4C12AB13-6E1D-BE47-BF51-6BA882D085F7}"/>
              </a:ext>
            </a:extLst>
          </p:cNvPr>
          <p:cNvSpPr>
            <a:spLocks noChangeArrowheads="1"/>
          </p:cNvSpPr>
          <p:nvPr/>
        </p:nvSpPr>
        <p:spPr bwMode="auto">
          <a:xfrm>
            <a:off x="1372312" y="4092953"/>
            <a:ext cx="2162278" cy="548847"/>
          </a:xfrm>
          <a:prstGeom prst="rect">
            <a:avLst/>
          </a:prstGeom>
          <a:solidFill>
            <a:srgbClr val="1EB2EE"/>
          </a:solidFill>
          <a:ln>
            <a:noFill/>
          </a:ln>
        </p:spPr>
        <p:txBody>
          <a:bodyPr vert="horz" wrap="square" lIns="91416" tIns="45708" rIns="91416" bIns="45708" numCol="1" anchor="t" anchorCtr="0" compatLnSpc="1">
            <a:prstTxWarp prst="textNoShape">
              <a:avLst/>
            </a:prstTxWarp>
            <a:noAutofit/>
          </a:bodyPr>
          <a:lstStyle/>
          <a:p>
            <a:endParaRPr lang="en-US" sz="3599" dirty="0"/>
          </a:p>
        </p:txBody>
      </p:sp>
      <p:cxnSp>
        <p:nvCxnSpPr>
          <p:cNvPr id="20" name="Straight Connector 19">
            <a:extLst>
              <a:ext uri="{FF2B5EF4-FFF2-40B4-BE49-F238E27FC236}">
                <a16:creationId xmlns:a16="http://schemas.microsoft.com/office/drawing/2014/main" id="{43490028-8085-4646-A435-0BE83B969D47}"/>
              </a:ext>
            </a:extLst>
          </p:cNvPr>
          <p:cNvCxnSpPr>
            <a:cxnSpLocks/>
          </p:cNvCxnSpPr>
          <p:nvPr/>
        </p:nvCxnSpPr>
        <p:spPr>
          <a:xfrm flipV="1">
            <a:off x="4275188" y="2019300"/>
            <a:ext cx="0" cy="38227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DBA6F5A-1E51-5647-BED1-5DED4614FFA2}"/>
              </a:ext>
            </a:extLst>
          </p:cNvPr>
          <p:cNvCxnSpPr>
            <a:cxnSpLocks/>
          </p:cNvCxnSpPr>
          <p:nvPr/>
        </p:nvCxnSpPr>
        <p:spPr>
          <a:xfrm flipV="1">
            <a:off x="7854694" y="2019300"/>
            <a:ext cx="0" cy="38227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7" name="Freeform 11">
            <a:extLst>
              <a:ext uri="{FF2B5EF4-FFF2-40B4-BE49-F238E27FC236}">
                <a16:creationId xmlns:a16="http://schemas.microsoft.com/office/drawing/2014/main" id="{3F247BFC-EA63-CD48-AF2B-B4563D1064EE}"/>
              </a:ext>
            </a:extLst>
          </p:cNvPr>
          <p:cNvSpPr>
            <a:spLocks/>
          </p:cNvSpPr>
          <p:nvPr/>
        </p:nvSpPr>
        <p:spPr bwMode="auto">
          <a:xfrm flipH="1">
            <a:off x="922504" y="2194178"/>
            <a:ext cx="1536300" cy="542784"/>
          </a:xfrm>
          <a:custGeom>
            <a:avLst/>
            <a:gdLst>
              <a:gd name="T0" fmla="*/ 1409 w 1474"/>
              <a:gd name="T1" fmla="*/ 0 h 518"/>
              <a:gd name="T2" fmla="*/ 1266 w 1474"/>
              <a:gd name="T3" fmla="*/ 0 h 518"/>
              <a:gd name="T4" fmla="*/ 1238 w 1474"/>
              <a:gd name="T5" fmla="*/ 0 h 518"/>
              <a:gd name="T6" fmla="*/ 65 w 1474"/>
              <a:gd name="T7" fmla="*/ 0 h 518"/>
              <a:gd name="T8" fmla="*/ 0 w 1474"/>
              <a:gd name="T9" fmla="*/ 65 h 518"/>
              <a:gd name="T10" fmla="*/ 0 w 1474"/>
              <a:gd name="T11" fmla="*/ 126 h 518"/>
              <a:gd name="T12" fmla="*/ 0 w 1474"/>
              <a:gd name="T13" fmla="*/ 138 h 518"/>
              <a:gd name="T14" fmla="*/ 0 w 1474"/>
              <a:gd name="T15" fmla="*/ 198 h 518"/>
              <a:gd name="T16" fmla="*/ 0 w 1474"/>
              <a:gd name="T17" fmla="*/ 206 h 518"/>
              <a:gd name="T18" fmla="*/ 0 w 1474"/>
              <a:gd name="T19" fmla="*/ 518 h 518"/>
              <a:gd name="T20" fmla="*/ 130 w 1474"/>
              <a:gd name="T21" fmla="*/ 388 h 518"/>
              <a:gd name="T22" fmla="*/ 1238 w 1474"/>
              <a:gd name="T23" fmla="*/ 388 h 518"/>
              <a:gd name="T24" fmla="*/ 1266 w 1474"/>
              <a:gd name="T25" fmla="*/ 388 h 518"/>
              <a:gd name="T26" fmla="*/ 1409 w 1474"/>
              <a:gd name="T27" fmla="*/ 388 h 518"/>
              <a:gd name="T28" fmla="*/ 1474 w 1474"/>
              <a:gd name="T29" fmla="*/ 323 h 518"/>
              <a:gd name="T30" fmla="*/ 1474 w 1474"/>
              <a:gd name="T31" fmla="*/ 206 h 518"/>
              <a:gd name="T32" fmla="*/ 1474 w 1474"/>
              <a:gd name="T33" fmla="*/ 198 h 518"/>
              <a:gd name="T34" fmla="*/ 1474 w 1474"/>
              <a:gd name="T35" fmla="*/ 138 h 518"/>
              <a:gd name="T36" fmla="*/ 1474 w 1474"/>
              <a:gd name="T37" fmla="*/ 126 h 518"/>
              <a:gd name="T38" fmla="*/ 1474 w 1474"/>
              <a:gd name="T39" fmla="*/ 65 h 518"/>
              <a:gd name="T40" fmla="*/ 1409 w 1474"/>
              <a:gd name="T4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74" h="518">
                <a:moveTo>
                  <a:pt x="1409" y="0"/>
                </a:moveTo>
                <a:cubicBezTo>
                  <a:pt x="1266" y="0"/>
                  <a:pt x="1266" y="0"/>
                  <a:pt x="1266" y="0"/>
                </a:cubicBezTo>
                <a:cubicBezTo>
                  <a:pt x="1238" y="0"/>
                  <a:pt x="1238" y="0"/>
                  <a:pt x="1238" y="0"/>
                </a:cubicBezTo>
                <a:cubicBezTo>
                  <a:pt x="65" y="0"/>
                  <a:pt x="65" y="0"/>
                  <a:pt x="65" y="0"/>
                </a:cubicBezTo>
                <a:cubicBezTo>
                  <a:pt x="29" y="0"/>
                  <a:pt x="0" y="29"/>
                  <a:pt x="0" y="65"/>
                </a:cubicBezTo>
                <a:cubicBezTo>
                  <a:pt x="0" y="126"/>
                  <a:pt x="0" y="126"/>
                  <a:pt x="0" y="126"/>
                </a:cubicBezTo>
                <a:cubicBezTo>
                  <a:pt x="0" y="138"/>
                  <a:pt x="0" y="138"/>
                  <a:pt x="0" y="138"/>
                </a:cubicBezTo>
                <a:cubicBezTo>
                  <a:pt x="0" y="198"/>
                  <a:pt x="0" y="198"/>
                  <a:pt x="0" y="198"/>
                </a:cubicBezTo>
                <a:cubicBezTo>
                  <a:pt x="0" y="206"/>
                  <a:pt x="0" y="206"/>
                  <a:pt x="0" y="206"/>
                </a:cubicBezTo>
                <a:cubicBezTo>
                  <a:pt x="0" y="518"/>
                  <a:pt x="0" y="518"/>
                  <a:pt x="0" y="518"/>
                </a:cubicBezTo>
                <a:cubicBezTo>
                  <a:pt x="130" y="388"/>
                  <a:pt x="130" y="388"/>
                  <a:pt x="130" y="388"/>
                </a:cubicBezTo>
                <a:cubicBezTo>
                  <a:pt x="1238" y="388"/>
                  <a:pt x="1238" y="388"/>
                  <a:pt x="1238" y="388"/>
                </a:cubicBezTo>
                <a:cubicBezTo>
                  <a:pt x="1266" y="388"/>
                  <a:pt x="1266" y="388"/>
                  <a:pt x="1266" y="388"/>
                </a:cubicBezTo>
                <a:cubicBezTo>
                  <a:pt x="1409" y="388"/>
                  <a:pt x="1409" y="388"/>
                  <a:pt x="1409" y="388"/>
                </a:cubicBezTo>
                <a:cubicBezTo>
                  <a:pt x="1445" y="388"/>
                  <a:pt x="1474" y="359"/>
                  <a:pt x="1474" y="323"/>
                </a:cubicBezTo>
                <a:cubicBezTo>
                  <a:pt x="1474" y="206"/>
                  <a:pt x="1474" y="206"/>
                  <a:pt x="1474" y="206"/>
                </a:cubicBezTo>
                <a:cubicBezTo>
                  <a:pt x="1474" y="198"/>
                  <a:pt x="1474" y="198"/>
                  <a:pt x="1474" y="198"/>
                </a:cubicBezTo>
                <a:cubicBezTo>
                  <a:pt x="1474" y="138"/>
                  <a:pt x="1474" y="138"/>
                  <a:pt x="1474" y="138"/>
                </a:cubicBezTo>
                <a:cubicBezTo>
                  <a:pt x="1474" y="126"/>
                  <a:pt x="1474" y="126"/>
                  <a:pt x="1474" y="126"/>
                </a:cubicBezTo>
                <a:cubicBezTo>
                  <a:pt x="1474" y="65"/>
                  <a:pt x="1474" y="65"/>
                  <a:pt x="1474" y="65"/>
                </a:cubicBezTo>
                <a:cubicBezTo>
                  <a:pt x="1474" y="29"/>
                  <a:pt x="1445" y="0"/>
                  <a:pt x="1409" y="0"/>
                </a:cubicBezTo>
                <a:close/>
              </a:path>
            </a:pathLst>
          </a:custGeom>
          <a:solidFill>
            <a:srgbClr val="1EB2EE"/>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28" name="Freeform 11">
            <a:extLst>
              <a:ext uri="{FF2B5EF4-FFF2-40B4-BE49-F238E27FC236}">
                <a16:creationId xmlns:a16="http://schemas.microsoft.com/office/drawing/2014/main" id="{55DD3761-8ADF-C343-8AAF-03C4A197CB44}"/>
              </a:ext>
            </a:extLst>
          </p:cNvPr>
          <p:cNvSpPr>
            <a:spLocks/>
          </p:cNvSpPr>
          <p:nvPr/>
        </p:nvSpPr>
        <p:spPr bwMode="auto">
          <a:xfrm>
            <a:off x="2587728" y="1935738"/>
            <a:ext cx="1233544" cy="542784"/>
          </a:xfrm>
          <a:custGeom>
            <a:avLst/>
            <a:gdLst>
              <a:gd name="T0" fmla="*/ 1409 w 1474"/>
              <a:gd name="T1" fmla="*/ 0 h 518"/>
              <a:gd name="T2" fmla="*/ 1266 w 1474"/>
              <a:gd name="T3" fmla="*/ 0 h 518"/>
              <a:gd name="T4" fmla="*/ 1238 w 1474"/>
              <a:gd name="T5" fmla="*/ 0 h 518"/>
              <a:gd name="T6" fmla="*/ 65 w 1474"/>
              <a:gd name="T7" fmla="*/ 0 h 518"/>
              <a:gd name="T8" fmla="*/ 0 w 1474"/>
              <a:gd name="T9" fmla="*/ 65 h 518"/>
              <a:gd name="T10" fmla="*/ 0 w 1474"/>
              <a:gd name="T11" fmla="*/ 126 h 518"/>
              <a:gd name="T12" fmla="*/ 0 w 1474"/>
              <a:gd name="T13" fmla="*/ 138 h 518"/>
              <a:gd name="T14" fmla="*/ 0 w 1474"/>
              <a:gd name="T15" fmla="*/ 198 h 518"/>
              <a:gd name="T16" fmla="*/ 0 w 1474"/>
              <a:gd name="T17" fmla="*/ 206 h 518"/>
              <a:gd name="T18" fmla="*/ 0 w 1474"/>
              <a:gd name="T19" fmla="*/ 518 h 518"/>
              <a:gd name="T20" fmla="*/ 130 w 1474"/>
              <a:gd name="T21" fmla="*/ 388 h 518"/>
              <a:gd name="T22" fmla="*/ 1238 w 1474"/>
              <a:gd name="T23" fmla="*/ 388 h 518"/>
              <a:gd name="T24" fmla="*/ 1266 w 1474"/>
              <a:gd name="T25" fmla="*/ 388 h 518"/>
              <a:gd name="T26" fmla="*/ 1409 w 1474"/>
              <a:gd name="T27" fmla="*/ 388 h 518"/>
              <a:gd name="T28" fmla="*/ 1474 w 1474"/>
              <a:gd name="T29" fmla="*/ 323 h 518"/>
              <a:gd name="T30" fmla="*/ 1474 w 1474"/>
              <a:gd name="T31" fmla="*/ 206 h 518"/>
              <a:gd name="T32" fmla="*/ 1474 w 1474"/>
              <a:gd name="T33" fmla="*/ 198 h 518"/>
              <a:gd name="T34" fmla="*/ 1474 w 1474"/>
              <a:gd name="T35" fmla="*/ 138 h 518"/>
              <a:gd name="T36" fmla="*/ 1474 w 1474"/>
              <a:gd name="T37" fmla="*/ 126 h 518"/>
              <a:gd name="T38" fmla="*/ 1474 w 1474"/>
              <a:gd name="T39" fmla="*/ 65 h 518"/>
              <a:gd name="T40" fmla="*/ 1409 w 1474"/>
              <a:gd name="T4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74" h="518">
                <a:moveTo>
                  <a:pt x="1409" y="0"/>
                </a:moveTo>
                <a:cubicBezTo>
                  <a:pt x="1266" y="0"/>
                  <a:pt x="1266" y="0"/>
                  <a:pt x="1266" y="0"/>
                </a:cubicBezTo>
                <a:cubicBezTo>
                  <a:pt x="1238" y="0"/>
                  <a:pt x="1238" y="0"/>
                  <a:pt x="1238" y="0"/>
                </a:cubicBezTo>
                <a:cubicBezTo>
                  <a:pt x="65" y="0"/>
                  <a:pt x="65" y="0"/>
                  <a:pt x="65" y="0"/>
                </a:cubicBezTo>
                <a:cubicBezTo>
                  <a:pt x="29" y="0"/>
                  <a:pt x="0" y="29"/>
                  <a:pt x="0" y="65"/>
                </a:cubicBezTo>
                <a:cubicBezTo>
                  <a:pt x="0" y="126"/>
                  <a:pt x="0" y="126"/>
                  <a:pt x="0" y="126"/>
                </a:cubicBezTo>
                <a:cubicBezTo>
                  <a:pt x="0" y="138"/>
                  <a:pt x="0" y="138"/>
                  <a:pt x="0" y="138"/>
                </a:cubicBezTo>
                <a:cubicBezTo>
                  <a:pt x="0" y="198"/>
                  <a:pt x="0" y="198"/>
                  <a:pt x="0" y="198"/>
                </a:cubicBezTo>
                <a:cubicBezTo>
                  <a:pt x="0" y="206"/>
                  <a:pt x="0" y="206"/>
                  <a:pt x="0" y="206"/>
                </a:cubicBezTo>
                <a:cubicBezTo>
                  <a:pt x="0" y="518"/>
                  <a:pt x="0" y="518"/>
                  <a:pt x="0" y="518"/>
                </a:cubicBezTo>
                <a:cubicBezTo>
                  <a:pt x="130" y="388"/>
                  <a:pt x="130" y="388"/>
                  <a:pt x="130" y="388"/>
                </a:cubicBezTo>
                <a:cubicBezTo>
                  <a:pt x="1238" y="388"/>
                  <a:pt x="1238" y="388"/>
                  <a:pt x="1238" y="388"/>
                </a:cubicBezTo>
                <a:cubicBezTo>
                  <a:pt x="1266" y="388"/>
                  <a:pt x="1266" y="388"/>
                  <a:pt x="1266" y="388"/>
                </a:cubicBezTo>
                <a:cubicBezTo>
                  <a:pt x="1409" y="388"/>
                  <a:pt x="1409" y="388"/>
                  <a:pt x="1409" y="388"/>
                </a:cubicBezTo>
                <a:cubicBezTo>
                  <a:pt x="1445" y="388"/>
                  <a:pt x="1474" y="359"/>
                  <a:pt x="1474" y="323"/>
                </a:cubicBezTo>
                <a:cubicBezTo>
                  <a:pt x="1474" y="206"/>
                  <a:pt x="1474" y="206"/>
                  <a:pt x="1474" y="206"/>
                </a:cubicBezTo>
                <a:cubicBezTo>
                  <a:pt x="1474" y="198"/>
                  <a:pt x="1474" y="198"/>
                  <a:pt x="1474" y="198"/>
                </a:cubicBezTo>
                <a:cubicBezTo>
                  <a:pt x="1474" y="138"/>
                  <a:pt x="1474" y="138"/>
                  <a:pt x="1474" y="138"/>
                </a:cubicBezTo>
                <a:cubicBezTo>
                  <a:pt x="1474" y="126"/>
                  <a:pt x="1474" y="126"/>
                  <a:pt x="1474" y="126"/>
                </a:cubicBezTo>
                <a:cubicBezTo>
                  <a:pt x="1474" y="65"/>
                  <a:pt x="1474" y="65"/>
                  <a:pt x="1474" y="65"/>
                </a:cubicBezTo>
                <a:cubicBezTo>
                  <a:pt x="1474" y="29"/>
                  <a:pt x="1445" y="0"/>
                  <a:pt x="1409" y="0"/>
                </a:cubicBezTo>
                <a:close/>
              </a:path>
            </a:pathLst>
          </a:custGeom>
          <a:solidFill>
            <a:srgbClr val="1EB2EE"/>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31" name="Title 1">
            <a:extLst>
              <a:ext uri="{FF2B5EF4-FFF2-40B4-BE49-F238E27FC236}">
                <a16:creationId xmlns:a16="http://schemas.microsoft.com/office/drawing/2014/main" id="{C84B1087-9B0C-C24B-8714-9013C4E72581}"/>
              </a:ext>
            </a:extLst>
          </p:cNvPr>
          <p:cNvSpPr txBox="1"/>
          <p:nvPr/>
        </p:nvSpPr>
        <p:spPr>
          <a:xfrm>
            <a:off x="1166944" y="2262842"/>
            <a:ext cx="1032655" cy="307777"/>
          </a:xfrm>
          <a:prstGeom prst="rect">
            <a:avLst/>
          </a:prstGeom>
          <a:noFill/>
        </p:spPr>
        <p:txBody>
          <a:bodyPr wrap="none" rtlCol="0">
            <a:spAutoFit/>
          </a:bodyPr>
          <a:lstStyle/>
          <a:p>
            <a:pPr algn="ctr"/>
            <a:r>
              <a:rPr lang="en-US" sz="1400" b="1">
                <a:solidFill>
                  <a:schemeClr val="bg2"/>
                </a:solidFill>
                <a:latin typeface="Segoe UI Light" panose="020B0502040204020203" pitchFamily="34" charset="0"/>
                <a:ea typeface="Roboto" panose="02000000000000000000" pitchFamily="2" charset="0"/>
              </a:rPr>
              <a:t>Description</a:t>
            </a:r>
            <a:endParaRPr lang="en-US" sz="1400" b="1" dirty="0">
              <a:solidFill>
                <a:schemeClr val="bg2"/>
              </a:solidFill>
              <a:latin typeface="Segoe UI Light" panose="020B0502040204020203" pitchFamily="34" charset="0"/>
              <a:ea typeface="Roboto" panose="02000000000000000000" pitchFamily="2" charset="0"/>
            </a:endParaRPr>
          </a:p>
        </p:txBody>
      </p:sp>
      <p:sp>
        <p:nvSpPr>
          <p:cNvPr id="32" name="Title 1">
            <a:extLst>
              <a:ext uri="{FF2B5EF4-FFF2-40B4-BE49-F238E27FC236}">
                <a16:creationId xmlns:a16="http://schemas.microsoft.com/office/drawing/2014/main" id="{1B3ED4FC-5894-A44A-952E-12DC1D6BB2AC}"/>
              </a:ext>
            </a:extLst>
          </p:cNvPr>
          <p:cNvSpPr txBox="1"/>
          <p:nvPr/>
        </p:nvSpPr>
        <p:spPr>
          <a:xfrm>
            <a:off x="2688171" y="2006943"/>
            <a:ext cx="1032655" cy="307777"/>
          </a:xfrm>
          <a:prstGeom prst="rect">
            <a:avLst/>
          </a:prstGeom>
          <a:noFill/>
        </p:spPr>
        <p:txBody>
          <a:bodyPr wrap="none" rtlCol="0">
            <a:spAutoFit/>
          </a:bodyPr>
          <a:lstStyle/>
          <a:p>
            <a:pPr algn="ctr"/>
            <a:r>
              <a:rPr lang="en-US" sz="1400" b="1">
                <a:solidFill>
                  <a:schemeClr val="bg2"/>
                </a:solidFill>
                <a:latin typeface="Segoe UI Light" panose="020B0502040204020203" pitchFamily="34" charset="0"/>
                <a:ea typeface="Roboto" panose="02000000000000000000" pitchFamily="2" charset="0"/>
              </a:rPr>
              <a:t>Description</a:t>
            </a:r>
            <a:endParaRPr lang="en-US" sz="1400" b="1" dirty="0">
              <a:solidFill>
                <a:schemeClr val="bg2"/>
              </a:solidFill>
              <a:latin typeface="Segoe UI Light" panose="020B0502040204020203" pitchFamily="34" charset="0"/>
              <a:ea typeface="Roboto" panose="02000000000000000000" pitchFamily="2" charset="0"/>
            </a:endParaRPr>
          </a:p>
        </p:txBody>
      </p:sp>
      <p:sp>
        <p:nvSpPr>
          <p:cNvPr id="37" name="Freeform 11">
            <a:extLst>
              <a:ext uri="{FF2B5EF4-FFF2-40B4-BE49-F238E27FC236}">
                <a16:creationId xmlns:a16="http://schemas.microsoft.com/office/drawing/2014/main" id="{108265D9-D17B-5648-8FC2-C2911F51BE0D}"/>
              </a:ext>
            </a:extLst>
          </p:cNvPr>
          <p:cNvSpPr>
            <a:spLocks/>
          </p:cNvSpPr>
          <p:nvPr/>
        </p:nvSpPr>
        <p:spPr bwMode="auto">
          <a:xfrm flipH="1">
            <a:off x="4558488" y="2194178"/>
            <a:ext cx="1536300" cy="542784"/>
          </a:xfrm>
          <a:custGeom>
            <a:avLst/>
            <a:gdLst>
              <a:gd name="T0" fmla="*/ 1409 w 1474"/>
              <a:gd name="T1" fmla="*/ 0 h 518"/>
              <a:gd name="T2" fmla="*/ 1266 w 1474"/>
              <a:gd name="T3" fmla="*/ 0 h 518"/>
              <a:gd name="T4" fmla="*/ 1238 w 1474"/>
              <a:gd name="T5" fmla="*/ 0 h 518"/>
              <a:gd name="T6" fmla="*/ 65 w 1474"/>
              <a:gd name="T7" fmla="*/ 0 h 518"/>
              <a:gd name="T8" fmla="*/ 0 w 1474"/>
              <a:gd name="T9" fmla="*/ 65 h 518"/>
              <a:gd name="T10" fmla="*/ 0 w 1474"/>
              <a:gd name="T11" fmla="*/ 126 h 518"/>
              <a:gd name="T12" fmla="*/ 0 w 1474"/>
              <a:gd name="T13" fmla="*/ 138 h 518"/>
              <a:gd name="T14" fmla="*/ 0 w 1474"/>
              <a:gd name="T15" fmla="*/ 198 h 518"/>
              <a:gd name="T16" fmla="*/ 0 w 1474"/>
              <a:gd name="T17" fmla="*/ 206 h 518"/>
              <a:gd name="T18" fmla="*/ 0 w 1474"/>
              <a:gd name="T19" fmla="*/ 518 h 518"/>
              <a:gd name="T20" fmla="*/ 130 w 1474"/>
              <a:gd name="T21" fmla="*/ 388 h 518"/>
              <a:gd name="T22" fmla="*/ 1238 w 1474"/>
              <a:gd name="T23" fmla="*/ 388 h 518"/>
              <a:gd name="T24" fmla="*/ 1266 w 1474"/>
              <a:gd name="T25" fmla="*/ 388 h 518"/>
              <a:gd name="T26" fmla="*/ 1409 w 1474"/>
              <a:gd name="T27" fmla="*/ 388 h 518"/>
              <a:gd name="T28" fmla="*/ 1474 w 1474"/>
              <a:gd name="T29" fmla="*/ 323 h 518"/>
              <a:gd name="T30" fmla="*/ 1474 w 1474"/>
              <a:gd name="T31" fmla="*/ 206 h 518"/>
              <a:gd name="T32" fmla="*/ 1474 w 1474"/>
              <a:gd name="T33" fmla="*/ 198 h 518"/>
              <a:gd name="T34" fmla="*/ 1474 w 1474"/>
              <a:gd name="T35" fmla="*/ 138 h 518"/>
              <a:gd name="T36" fmla="*/ 1474 w 1474"/>
              <a:gd name="T37" fmla="*/ 126 h 518"/>
              <a:gd name="T38" fmla="*/ 1474 w 1474"/>
              <a:gd name="T39" fmla="*/ 65 h 518"/>
              <a:gd name="T40" fmla="*/ 1409 w 1474"/>
              <a:gd name="T4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74" h="518">
                <a:moveTo>
                  <a:pt x="1409" y="0"/>
                </a:moveTo>
                <a:cubicBezTo>
                  <a:pt x="1266" y="0"/>
                  <a:pt x="1266" y="0"/>
                  <a:pt x="1266" y="0"/>
                </a:cubicBezTo>
                <a:cubicBezTo>
                  <a:pt x="1238" y="0"/>
                  <a:pt x="1238" y="0"/>
                  <a:pt x="1238" y="0"/>
                </a:cubicBezTo>
                <a:cubicBezTo>
                  <a:pt x="65" y="0"/>
                  <a:pt x="65" y="0"/>
                  <a:pt x="65" y="0"/>
                </a:cubicBezTo>
                <a:cubicBezTo>
                  <a:pt x="29" y="0"/>
                  <a:pt x="0" y="29"/>
                  <a:pt x="0" y="65"/>
                </a:cubicBezTo>
                <a:cubicBezTo>
                  <a:pt x="0" y="126"/>
                  <a:pt x="0" y="126"/>
                  <a:pt x="0" y="126"/>
                </a:cubicBezTo>
                <a:cubicBezTo>
                  <a:pt x="0" y="138"/>
                  <a:pt x="0" y="138"/>
                  <a:pt x="0" y="138"/>
                </a:cubicBezTo>
                <a:cubicBezTo>
                  <a:pt x="0" y="198"/>
                  <a:pt x="0" y="198"/>
                  <a:pt x="0" y="198"/>
                </a:cubicBezTo>
                <a:cubicBezTo>
                  <a:pt x="0" y="206"/>
                  <a:pt x="0" y="206"/>
                  <a:pt x="0" y="206"/>
                </a:cubicBezTo>
                <a:cubicBezTo>
                  <a:pt x="0" y="518"/>
                  <a:pt x="0" y="518"/>
                  <a:pt x="0" y="518"/>
                </a:cubicBezTo>
                <a:cubicBezTo>
                  <a:pt x="130" y="388"/>
                  <a:pt x="130" y="388"/>
                  <a:pt x="130" y="388"/>
                </a:cubicBezTo>
                <a:cubicBezTo>
                  <a:pt x="1238" y="388"/>
                  <a:pt x="1238" y="388"/>
                  <a:pt x="1238" y="388"/>
                </a:cubicBezTo>
                <a:cubicBezTo>
                  <a:pt x="1266" y="388"/>
                  <a:pt x="1266" y="388"/>
                  <a:pt x="1266" y="388"/>
                </a:cubicBezTo>
                <a:cubicBezTo>
                  <a:pt x="1409" y="388"/>
                  <a:pt x="1409" y="388"/>
                  <a:pt x="1409" y="388"/>
                </a:cubicBezTo>
                <a:cubicBezTo>
                  <a:pt x="1445" y="388"/>
                  <a:pt x="1474" y="359"/>
                  <a:pt x="1474" y="323"/>
                </a:cubicBezTo>
                <a:cubicBezTo>
                  <a:pt x="1474" y="206"/>
                  <a:pt x="1474" y="206"/>
                  <a:pt x="1474" y="206"/>
                </a:cubicBezTo>
                <a:cubicBezTo>
                  <a:pt x="1474" y="198"/>
                  <a:pt x="1474" y="198"/>
                  <a:pt x="1474" y="198"/>
                </a:cubicBezTo>
                <a:cubicBezTo>
                  <a:pt x="1474" y="138"/>
                  <a:pt x="1474" y="138"/>
                  <a:pt x="1474" y="138"/>
                </a:cubicBezTo>
                <a:cubicBezTo>
                  <a:pt x="1474" y="126"/>
                  <a:pt x="1474" y="126"/>
                  <a:pt x="1474" y="126"/>
                </a:cubicBezTo>
                <a:cubicBezTo>
                  <a:pt x="1474" y="65"/>
                  <a:pt x="1474" y="65"/>
                  <a:pt x="1474" y="65"/>
                </a:cubicBezTo>
                <a:cubicBezTo>
                  <a:pt x="1474" y="29"/>
                  <a:pt x="1445" y="0"/>
                  <a:pt x="1409" y="0"/>
                </a:cubicBezTo>
                <a:close/>
              </a:path>
            </a:pathLst>
          </a:custGeom>
          <a:solidFill>
            <a:srgbClr val="1EB2EE"/>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38" name="Freeform 11">
            <a:extLst>
              <a:ext uri="{FF2B5EF4-FFF2-40B4-BE49-F238E27FC236}">
                <a16:creationId xmlns:a16="http://schemas.microsoft.com/office/drawing/2014/main" id="{0728139C-701F-E041-B060-2E4F01971809}"/>
              </a:ext>
            </a:extLst>
          </p:cNvPr>
          <p:cNvSpPr>
            <a:spLocks/>
          </p:cNvSpPr>
          <p:nvPr/>
        </p:nvSpPr>
        <p:spPr bwMode="auto">
          <a:xfrm>
            <a:off x="6223712" y="1935738"/>
            <a:ext cx="1233544" cy="542784"/>
          </a:xfrm>
          <a:custGeom>
            <a:avLst/>
            <a:gdLst>
              <a:gd name="T0" fmla="*/ 1409 w 1474"/>
              <a:gd name="T1" fmla="*/ 0 h 518"/>
              <a:gd name="T2" fmla="*/ 1266 w 1474"/>
              <a:gd name="T3" fmla="*/ 0 h 518"/>
              <a:gd name="T4" fmla="*/ 1238 w 1474"/>
              <a:gd name="T5" fmla="*/ 0 h 518"/>
              <a:gd name="T6" fmla="*/ 65 w 1474"/>
              <a:gd name="T7" fmla="*/ 0 h 518"/>
              <a:gd name="T8" fmla="*/ 0 w 1474"/>
              <a:gd name="T9" fmla="*/ 65 h 518"/>
              <a:gd name="T10" fmla="*/ 0 w 1474"/>
              <a:gd name="T11" fmla="*/ 126 h 518"/>
              <a:gd name="T12" fmla="*/ 0 w 1474"/>
              <a:gd name="T13" fmla="*/ 138 h 518"/>
              <a:gd name="T14" fmla="*/ 0 w 1474"/>
              <a:gd name="T15" fmla="*/ 198 h 518"/>
              <a:gd name="T16" fmla="*/ 0 w 1474"/>
              <a:gd name="T17" fmla="*/ 206 h 518"/>
              <a:gd name="T18" fmla="*/ 0 w 1474"/>
              <a:gd name="T19" fmla="*/ 518 h 518"/>
              <a:gd name="T20" fmla="*/ 130 w 1474"/>
              <a:gd name="T21" fmla="*/ 388 h 518"/>
              <a:gd name="T22" fmla="*/ 1238 w 1474"/>
              <a:gd name="T23" fmla="*/ 388 h 518"/>
              <a:gd name="T24" fmla="*/ 1266 w 1474"/>
              <a:gd name="T25" fmla="*/ 388 h 518"/>
              <a:gd name="T26" fmla="*/ 1409 w 1474"/>
              <a:gd name="T27" fmla="*/ 388 h 518"/>
              <a:gd name="T28" fmla="*/ 1474 w 1474"/>
              <a:gd name="T29" fmla="*/ 323 h 518"/>
              <a:gd name="T30" fmla="*/ 1474 w 1474"/>
              <a:gd name="T31" fmla="*/ 206 h 518"/>
              <a:gd name="T32" fmla="*/ 1474 w 1474"/>
              <a:gd name="T33" fmla="*/ 198 h 518"/>
              <a:gd name="T34" fmla="*/ 1474 w 1474"/>
              <a:gd name="T35" fmla="*/ 138 h 518"/>
              <a:gd name="T36" fmla="*/ 1474 w 1474"/>
              <a:gd name="T37" fmla="*/ 126 h 518"/>
              <a:gd name="T38" fmla="*/ 1474 w 1474"/>
              <a:gd name="T39" fmla="*/ 65 h 518"/>
              <a:gd name="T40" fmla="*/ 1409 w 1474"/>
              <a:gd name="T4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74" h="518">
                <a:moveTo>
                  <a:pt x="1409" y="0"/>
                </a:moveTo>
                <a:cubicBezTo>
                  <a:pt x="1266" y="0"/>
                  <a:pt x="1266" y="0"/>
                  <a:pt x="1266" y="0"/>
                </a:cubicBezTo>
                <a:cubicBezTo>
                  <a:pt x="1238" y="0"/>
                  <a:pt x="1238" y="0"/>
                  <a:pt x="1238" y="0"/>
                </a:cubicBezTo>
                <a:cubicBezTo>
                  <a:pt x="65" y="0"/>
                  <a:pt x="65" y="0"/>
                  <a:pt x="65" y="0"/>
                </a:cubicBezTo>
                <a:cubicBezTo>
                  <a:pt x="29" y="0"/>
                  <a:pt x="0" y="29"/>
                  <a:pt x="0" y="65"/>
                </a:cubicBezTo>
                <a:cubicBezTo>
                  <a:pt x="0" y="126"/>
                  <a:pt x="0" y="126"/>
                  <a:pt x="0" y="126"/>
                </a:cubicBezTo>
                <a:cubicBezTo>
                  <a:pt x="0" y="138"/>
                  <a:pt x="0" y="138"/>
                  <a:pt x="0" y="138"/>
                </a:cubicBezTo>
                <a:cubicBezTo>
                  <a:pt x="0" y="198"/>
                  <a:pt x="0" y="198"/>
                  <a:pt x="0" y="198"/>
                </a:cubicBezTo>
                <a:cubicBezTo>
                  <a:pt x="0" y="206"/>
                  <a:pt x="0" y="206"/>
                  <a:pt x="0" y="206"/>
                </a:cubicBezTo>
                <a:cubicBezTo>
                  <a:pt x="0" y="518"/>
                  <a:pt x="0" y="518"/>
                  <a:pt x="0" y="518"/>
                </a:cubicBezTo>
                <a:cubicBezTo>
                  <a:pt x="130" y="388"/>
                  <a:pt x="130" y="388"/>
                  <a:pt x="130" y="388"/>
                </a:cubicBezTo>
                <a:cubicBezTo>
                  <a:pt x="1238" y="388"/>
                  <a:pt x="1238" y="388"/>
                  <a:pt x="1238" y="388"/>
                </a:cubicBezTo>
                <a:cubicBezTo>
                  <a:pt x="1266" y="388"/>
                  <a:pt x="1266" y="388"/>
                  <a:pt x="1266" y="388"/>
                </a:cubicBezTo>
                <a:cubicBezTo>
                  <a:pt x="1409" y="388"/>
                  <a:pt x="1409" y="388"/>
                  <a:pt x="1409" y="388"/>
                </a:cubicBezTo>
                <a:cubicBezTo>
                  <a:pt x="1445" y="388"/>
                  <a:pt x="1474" y="359"/>
                  <a:pt x="1474" y="323"/>
                </a:cubicBezTo>
                <a:cubicBezTo>
                  <a:pt x="1474" y="206"/>
                  <a:pt x="1474" y="206"/>
                  <a:pt x="1474" y="206"/>
                </a:cubicBezTo>
                <a:cubicBezTo>
                  <a:pt x="1474" y="198"/>
                  <a:pt x="1474" y="198"/>
                  <a:pt x="1474" y="198"/>
                </a:cubicBezTo>
                <a:cubicBezTo>
                  <a:pt x="1474" y="138"/>
                  <a:pt x="1474" y="138"/>
                  <a:pt x="1474" y="138"/>
                </a:cubicBezTo>
                <a:cubicBezTo>
                  <a:pt x="1474" y="126"/>
                  <a:pt x="1474" y="126"/>
                  <a:pt x="1474" y="126"/>
                </a:cubicBezTo>
                <a:cubicBezTo>
                  <a:pt x="1474" y="65"/>
                  <a:pt x="1474" y="65"/>
                  <a:pt x="1474" y="65"/>
                </a:cubicBezTo>
                <a:cubicBezTo>
                  <a:pt x="1474" y="29"/>
                  <a:pt x="1445" y="0"/>
                  <a:pt x="1409" y="0"/>
                </a:cubicBezTo>
                <a:close/>
              </a:path>
            </a:pathLst>
          </a:custGeom>
          <a:solidFill>
            <a:srgbClr val="1EB2EE"/>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39" name="Title 1">
            <a:extLst>
              <a:ext uri="{FF2B5EF4-FFF2-40B4-BE49-F238E27FC236}">
                <a16:creationId xmlns:a16="http://schemas.microsoft.com/office/drawing/2014/main" id="{0E84C7D6-F5A4-3049-9ADA-77EF4B47AAE7}"/>
              </a:ext>
            </a:extLst>
          </p:cNvPr>
          <p:cNvSpPr txBox="1"/>
          <p:nvPr/>
        </p:nvSpPr>
        <p:spPr>
          <a:xfrm>
            <a:off x="4802928" y="2262842"/>
            <a:ext cx="1032655" cy="307777"/>
          </a:xfrm>
          <a:prstGeom prst="rect">
            <a:avLst/>
          </a:prstGeom>
          <a:noFill/>
        </p:spPr>
        <p:txBody>
          <a:bodyPr wrap="none" rtlCol="0">
            <a:spAutoFit/>
          </a:bodyPr>
          <a:lstStyle/>
          <a:p>
            <a:pPr algn="ctr"/>
            <a:r>
              <a:rPr lang="en-US" sz="1400" b="1">
                <a:solidFill>
                  <a:schemeClr val="bg2"/>
                </a:solidFill>
                <a:latin typeface="Segoe UI Light" panose="020B0502040204020203" pitchFamily="34" charset="0"/>
                <a:ea typeface="Roboto" panose="02000000000000000000" pitchFamily="2" charset="0"/>
              </a:rPr>
              <a:t>Description</a:t>
            </a:r>
            <a:endParaRPr lang="en-US" sz="1400" b="1" dirty="0">
              <a:solidFill>
                <a:schemeClr val="bg2"/>
              </a:solidFill>
              <a:latin typeface="Segoe UI Light" panose="020B0502040204020203" pitchFamily="34" charset="0"/>
              <a:ea typeface="Roboto" panose="02000000000000000000" pitchFamily="2" charset="0"/>
            </a:endParaRPr>
          </a:p>
        </p:txBody>
      </p:sp>
      <p:sp>
        <p:nvSpPr>
          <p:cNvPr id="40" name="Title 1">
            <a:extLst>
              <a:ext uri="{FF2B5EF4-FFF2-40B4-BE49-F238E27FC236}">
                <a16:creationId xmlns:a16="http://schemas.microsoft.com/office/drawing/2014/main" id="{E93D54FB-A7D9-4A43-B266-32DBC6E823B3}"/>
              </a:ext>
            </a:extLst>
          </p:cNvPr>
          <p:cNvSpPr txBox="1"/>
          <p:nvPr/>
        </p:nvSpPr>
        <p:spPr>
          <a:xfrm>
            <a:off x="6324155" y="2006943"/>
            <a:ext cx="1032655" cy="307777"/>
          </a:xfrm>
          <a:prstGeom prst="rect">
            <a:avLst/>
          </a:prstGeom>
          <a:noFill/>
        </p:spPr>
        <p:txBody>
          <a:bodyPr wrap="none" rtlCol="0">
            <a:spAutoFit/>
          </a:bodyPr>
          <a:lstStyle/>
          <a:p>
            <a:pPr algn="ctr"/>
            <a:r>
              <a:rPr lang="en-US" sz="1400" b="1">
                <a:solidFill>
                  <a:schemeClr val="bg2"/>
                </a:solidFill>
                <a:latin typeface="Segoe UI Light" panose="020B0502040204020203" pitchFamily="34" charset="0"/>
                <a:ea typeface="Roboto" panose="02000000000000000000" pitchFamily="2" charset="0"/>
              </a:rPr>
              <a:t>Description</a:t>
            </a:r>
            <a:endParaRPr lang="en-US" sz="1400" b="1" dirty="0">
              <a:solidFill>
                <a:schemeClr val="bg2"/>
              </a:solidFill>
              <a:latin typeface="Segoe UI Light" panose="020B0502040204020203" pitchFamily="34" charset="0"/>
              <a:ea typeface="Roboto" panose="02000000000000000000" pitchFamily="2" charset="0"/>
            </a:endParaRPr>
          </a:p>
        </p:txBody>
      </p:sp>
      <p:sp>
        <p:nvSpPr>
          <p:cNvPr id="41" name="Freeform 11">
            <a:extLst>
              <a:ext uri="{FF2B5EF4-FFF2-40B4-BE49-F238E27FC236}">
                <a16:creationId xmlns:a16="http://schemas.microsoft.com/office/drawing/2014/main" id="{0FE93068-EACA-8844-ABD5-A819F61E378B}"/>
              </a:ext>
            </a:extLst>
          </p:cNvPr>
          <p:cNvSpPr>
            <a:spLocks/>
          </p:cNvSpPr>
          <p:nvPr/>
        </p:nvSpPr>
        <p:spPr bwMode="auto">
          <a:xfrm flipH="1">
            <a:off x="8199945" y="2194178"/>
            <a:ext cx="1536300" cy="542784"/>
          </a:xfrm>
          <a:custGeom>
            <a:avLst/>
            <a:gdLst>
              <a:gd name="T0" fmla="*/ 1409 w 1474"/>
              <a:gd name="T1" fmla="*/ 0 h 518"/>
              <a:gd name="T2" fmla="*/ 1266 w 1474"/>
              <a:gd name="T3" fmla="*/ 0 h 518"/>
              <a:gd name="T4" fmla="*/ 1238 w 1474"/>
              <a:gd name="T5" fmla="*/ 0 h 518"/>
              <a:gd name="T6" fmla="*/ 65 w 1474"/>
              <a:gd name="T7" fmla="*/ 0 h 518"/>
              <a:gd name="T8" fmla="*/ 0 w 1474"/>
              <a:gd name="T9" fmla="*/ 65 h 518"/>
              <a:gd name="T10" fmla="*/ 0 w 1474"/>
              <a:gd name="T11" fmla="*/ 126 h 518"/>
              <a:gd name="T12" fmla="*/ 0 w 1474"/>
              <a:gd name="T13" fmla="*/ 138 h 518"/>
              <a:gd name="T14" fmla="*/ 0 w 1474"/>
              <a:gd name="T15" fmla="*/ 198 h 518"/>
              <a:gd name="T16" fmla="*/ 0 w 1474"/>
              <a:gd name="T17" fmla="*/ 206 h 518"/>
              <a:gd name="T18" fmla="*/ 0 w 1474"/>
              <a:gd name="T19" fmla="*/ 518 h 518"/>
              <a:gd name="T20" fmla="*/ 130 w 1474"/>
              <a:gd name="T21" fmla="*/ 388 h 518"/>
              <a:gd name="T22" fmla="*/ 1238 w 1474"/>
              <a:gd name="T23" fmla="*/ 388 h 518"/>
              <a:gd name="T24" fmla="*/ 1266 w 1474"/>
              <a:gd name="T25" fmla="*/ 388 h 518"/>
              <a:gd name="T26" fmla="*/ 1409 w 1474"/>
              <a:gd name="T27" fmla="*/ 388 h 518"/>
              <a:gd name="T28" fmla="*/ 1474 w 1474"/>
              <a:gd name="T29" fmla="*/ 323 h 518"/>
              <a:gd name="T30" fmla="*/ 1474 w 1474"/>
              <a:gd name="T31" fmla="*/ 206 h 518"/>
              <a:gd name="T32" fmla="*/ 1474 w 1474"/>
              <a:gd name="T33" fmla="*/ 198 h 518"/>
              <a:gd name="T34" fmla="*/ 1474 w 1474"/>
              <a:gd name="T35" fmla="*/ 138 h 518"/>
              <a:gd name="T36" fmla="*/ 1474 w 1474"/>
              <a:gd name="T37" fmla="*/ 126 h 518"/>
              <a:gd name="T38" fmla="*/ 1474 w 1474"/>
              <a:gd name="T39" fmla="*/ 65 h 518"/>
              <a:gd name="T40" fmla="*/ 1409 w 1474"/>
              <a:gd name="T4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74" h="518">
                <a:moveTo>
                  <a:pt x="1409" y="0"/>
                </a:moveTo>
                <a:cubicBezTo>
                  <a:pt x="1266" y="0"/>
                  <a:pt x="1266" y="0"/>
                  <a:pt x="1266" y="0"/>
                </a:cubicBezTo>
                <a:cubicBezTo>
                  <a:pt x="1238" y="0"/>
                  <a:pt x="1238" y="0"/>
                  <a:pt x="1238" y="0"/>
                </a:cubicBezTo>
                <a:cubicBezTo>
                  <a:pt x="65" y="0"/>
                  <a:pt x="65" y="0"/>
                  <a:pt x="65" y="0"/>
                </a:cubicBezTo>
                <a:cubicBezTo>
                  <a:pt x="29" y="0"/>
                  <a:pt x="0" y="29"/>
                  <a:pt x="0" y="65"/>
                </a:cubicBezTo>
                <a:cubicBezTo>
                  <a:pt x="0" y="126"/>
                  <a:pt x="0" y="126"/>
                  <a:pt x="0" y="126"/>
                </a:cubicBezTo>
                <a:cubicBezTo>
                  <a:pt x="0" y="138"/>
                  <a:pt x="0" y="138"/>
                  <a:pt x="0" y="138"/>
                </a:cubicBezTo>
                <a:cubicBezTo>
                  <a:pt x="0" y="198"/>
                  <a:pt x="0" y="198"/>
                  <a:pt x="0" y="198"/>
                </a:cubicBezTo>
                <a:cubicBezTo>
                  <a:pt x="0" y="206"/>
                  <a:pt x="0" y="206"/>
                  <a:pt x="0" y="206"/>
                </a:cubicBezTo>
                <a:cubicBezTo>
                  <a:pt x="0" y="518"/>
                  <a:pt x="0" y="518"/>
                  <a:pt x="0" y="518"/>
                </a:cubicBezTo>
                <a:cubicBezTo>
                  <a:pt x="130" y="388"/>
                  <a:pt x="130" y="388"/>
                  <a:pt x="130" y="388"/>
                </a:cubicBezTo>
                <a:cubicBezTo>
                  <a:pt x="1238" y="388"/>
                  <a:pt x="1238" y="388"/>
                  <a:pt x="1238" y="388"/>
                </a:cubicBezTo>
                <a:cubicBezTo>
                  <a:pt x="1266" y="388"/>
                  <a:pt x="1266" y="388"/>
                  <a:pt x="1266" y="388"/>
                </a:cubicBezTo>
                <a:cubicBezTo>
                  <a:pt x="1409" y="388"/>
                  <a:pt x="1409" y="388"/>
                  <a:pt x="1409" y="388"/>
                </a:cubicBezTo>
                <a:cubicBezTo>
                  <a:pt x="1445" y="388"/>
                  <a:pt x="1474" y="359"/>
                  <a:pt x="1474" y="323"/>
                </a:cubicBezTo>
                <a:cubicBezTo>
                  <a:pt x="1474" y="206"/>
                  <a:pt x="1474" y="206"/>
                  <a:pt x="1474" y="206"/>
                </a:cubicBezTo>
                <a:cubicBezTo>
                  <a:pt x="1474" y="198"/>
                  <a:pt x="1474" y="198"/>
                  <a:pt x="1474" y="198"/>
                </a:cubicBezTo>
                <a:cubicBezTo>
                  <a:pt x="1474" y="138"/>
                  <a:pt x="1474" y="138"/>
                  <a:pt x="1474" y="138"/>
                </a:cubicBezTo>
                <a:cubicBezTo>
                  <a:pt x="1474" y="126"/>
                  <a:pt x="1474" y="126"/>
                  <a:pt x="1474" y="126"/>
                </a:cubicBezTo>
                <a:cubicBezTo>
                  <a:pt x="1474" y="65"/>
                  <a:pt x="1474" y="65"/>
                  <a:pt x="1474" y="65"/>
                </a:cubicBezTo>
                <a:cubicBezTo>
                  <a:pt x="1474" y="29"/>
                  <a:pt x="1445" y="0"/>
                  <a:pt x="1409" y="0"/>
                </a:cubicBezTo>
                <a:close/>
              </a:path>
            </a:pathLst>
          </a:custGeom>
          <a:solidFill>
            <a:srgbClr val="1EB2EE"/>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42" name="Freeform 11">
            <a:extLst>
              <a:ext uri="{FF2B5EF4-FFF2-40B4-BE49-F238E27FC236}">
                <a16:creationId xmlns:a16="http://schemas.microsoft.com/office/drawing/2014/main" id="{69F51428-2EE9-0C4D-83CA-26C730CF07EF}"/>
              </a:ext>
            </a:extLst>
          </p:cNvPr>
          <p:cNvSpPr>
            <a:spLocks/>
          </p:cNvSpPr>
          <p:nvPr/>
        </p:nvSpPr>
        <p:spPr bwMode="auto">
          <a:xfrm>
            <a:off x="9865169" y="1935738"/>
            <a:ext cx="1233544" cy="542784"/>
          </a:xfrm>
          <a:custGeom>
            <a:avLst/>
            <a:gdLst>
              <a:gd name="T0" fmla="*/ 1409 w 1474"/>
              <a:gd name="T1" fmla="*/ 0 h 518"/>
              <a:gd name="T2" fmla="*/ 1266 w 1474"/>
              <a:gd name="T3" fmla="*/ 0 h 518"/>
              <a:gd name="T4" fmla="*/ 1238 w 1474"/>
              <a:gd name="T5" fmla="*/ 0 h 518"/>
              <a:gd name="T6" fmla="*/ 65 w 1474"/>
              <a:gd name="T7" fmla="*/ 0 h 518"/>
              <a:gd name="T8" fmla="*/ 0 w 1474"/>
              <a:gd name="T9" fmla="*/ 65 h 518"/>
              <a:gd name="T10" fmla="*/ 0 w 1474"/>
              <a:gd name="T11" fmla="*/ 126 h 518"/>
              <a:gd name="T12" fmla="*/ 0 w 1474"/>
              <a:gd name="T13" fmla="*/ 138 h 518"/>
              <a:gd name="T14" fmla="*/ 0 w 1474"/>
              <a:gd name="T15" fmla="*/ 198 h 518"/>
              <a:gd name="T16" fmla="*/ 0 w 1474"/>
              <a:gd name="T17" fmla="*/ 206 h 518"/>
              <a:gd name="T18" fmla="*/ 0 w 1474"/>
              <a:gd name="T19" fmla="*/ 518 h 518"/>
              <a:gd name="T20" fmla="*/ 130 w 1474"/>
              <a:gd name="T21" fmla="*/ 388 h 518"/>
              <a:gd name="T22" fmla="*/ 1238 w 1474"/>
              <a:gd name="T23" fmla="*/ 388 h 518"/>
              <a:gd name="T24" fmla="*/ 1266 w 1474"/>
              <a:gd name="T25" fmla="*/ 388 h 518"/>
              <a:gd name="T26" fmla="*/ 1409 w 1474"/>
              <a:gd name="T27" fmla="*/ 388 h 518"/>
              <a:gd name="T28" fmla="*/ 1474 w 1474"/>
              <a:gd name="T29" fmla="*/ 323 h 518"/>
              <a:gd name="T30" fmla="*/ 1474 w 1474"/>
              <a:gd name="T31" fmla="*/ 206 h 518"/>
              <a:gd name="T32" fmla="*/ 1474 w 1474"/>
              <a:gd name="T33" fmla="*/ 198 h 518"/>
              <a:gd name="T34" fmla="*/ 1474 w 1474"/>
              <a:gd name="T35" fmla="*/ 138 h 518"/>
              <a:gd name="T36" fmla="*/ 1474 w 1474"/>
              <a:gd name="T37" fmla="*/ 126 h 518"/>
              <a:gd name="T38" fmla="*/ 1474 w 1474"/>
              <a:gd name="T39" fmla="*/ 65 h 518"/>
              <a:gd name="T40" fmla="*/ 1409 w 1474"/>
              <a:gd name="T4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74" h="518">
                <a:moveTo>
                  <a:pt x="1409" y="0"/>
                </a:moveTo>
                <a:cubicBezTo>
                  <a:pt x="1266" y="0"/>
                  <a:pt x="1266" y="0"/>
                  <a:pt x="1266" y="0"/>
                </a:cubicBezTo>
                <a:cubicBezTo>
                  <a:pt x="1238" y="0"/>
                  <a:pt x="1238" y="0"/>
                  <a:pt x="1238" y="0"/>
                </a:cubicBezTo>
                <a:cubicBezTo>
                  <a:pt x="65" y="0"/>
                  <a:pt x="65" y="0"/>
                  <a:pt x="65" y="0"/>
                </a:cubicBezTo>
                <a:cubicBezTo>
                  <a:pt x="29" y="0"/>
                  <a:pt x="0" y="29"/>
                  <a:pt x="0" y="65"/>
                </a:cubicBezTo>
                <a:cubicBezTo>
                  <a:pt x="0" y="126"/>
                  <a:pt x="0" y="126"/>
                  <a:pt x="0" y="126"/>
                </a:cubicBezTo>
                <a:cubicBezTo>
                  <a:pt x="0" y="138"/>
                  <a:pt x="0" y="138"/>
                  <a:pt x="0" y="138"/>
                </a:cubicBezTo>
                <a:cubicBezTo>
                  <a:pt x="0" y="198"/>
                  <a:pt x="0" y="198"/>
                  <a:pt x="0" y="198"/>
                </a:cubicBezTo>
                <a:cubicBezTo>
                  <a:pt x="0" y="206"/>
                  <a:pt x="0" y="206"/>
                  <a:pt x="0" y="206"/>
                </a:cubicBezTo>
                <a:cubicBezTo>
                  <a:pt x="0" y="518"/>
                  <a:pt x="0" y="518"/>
                  <a:pt x="0" y="518"/>
                </a:cubicBezTo>
                <a:cubicBezTo>
                  <a:pt x="130" y="388"/>
                  <a:pt x="130" y="388"/>
                  <a:pt x="130" y="388"/>
                </a:cubicBezTo>
                <a:cubicBezTo>
                  <a:pt x="1238" y="388"/>
                  <a:pt x="1238" y="388"/>
                  <a:pt x="1238" y="388"/>
                </a:cubicBezTo>
                <a:cubicBezTo>
                  <a:pt x="1266" y="388"/>
                  <a:pt x="1266" y="388"/>
                  <a:pt x="1266" y="388"/>
                </a:cubicBezTo>
                <a:cubicBezTo>
                  <a:pt x="1409" y="388"/>
                  <a:pt x="1409" y="388"/>
                  <a:pt x="1409" y="388"/>
                </a:cubicBezTo>
                <a:cubicBezTo>
                  <a:pt x="1445" y="388"/>
                  <a:pt x="1474" y="359"/>
                  <a:pt x="1474" y="323"/>
                </a:cubicBezTo>
                <a:cubicBezTo>
                  <a:pt x="1474" y="206"/>
                  <a:pt x="1474" y="206"/>
                  <a:pt x="1474" y="206"/>
                </a:cubicBezTo>
                <a:cubicBezTo>
                  <a:pt x="1474" y="198"/>
                  <a:pt x="1474" y="198"/>
                  <a:pt x="1474" y="198"/>
                </a:cubicBezTo>
                <a:cubicBezTo>
                  <a:pt x="1474" y="138"/>
                  <a:pt x="1474" y="138"/>
                  <a:pt x="1474" y="138"/>
                </a:cubicBezTo>
                <a:cubicBezTo>
                  <a:pt x="1474" y="126"/>
                  <a:pt x="1474" y="126"/>
                  <a:pt x="1474" y="126"/>
                </a:cubicBezTo>
                <a:cubicBezTo>
                  <a:pt x="1474" y="65"/>
                  <a:pt x="1474" y="65"/>
                  <a:pt x="1474" y="65"/>
                </a:cubicBezTo>
                <a:cubicBezTo>
                  <a:pt x="1474" y="29"/>
                  <a:pt x="1445" y="0"/>
                  <a:pt x="1409" y="0"/>
                </a:cubicBezTo>
                <a:close/>
              </a:path>
            </a:pathLst>
          </a:custGeom>
          <a:solidFill>
            <a:srgbClr val="1EB2EE"/>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43" name="Title 1">
            <a:extLst>
              <a:ext uri="{FF2B5EF4-FFF2-40B4-BE49-F238E27FC236}">
                <a16:creationId xmlns:a16="http://schemas.microsoft.com/office/drawing/2014/main" id="{FE209408-7E44-FF41-A912-BC0892330023}"/>
              </a:ext>
            </a:extLst>
          </p:cNvPr>
          <p:cNvSpPr txBox="1"/>
          <p:nvPr/>
        </p:nvSpPr>
        <p:spPr>
          <a:xfrm>
            <a:off x="8444385" y="2262842"/>
            <a:ext cx="1032655" cy="307777"/>
          </a:xfrm>
          <a:prstGeom prst="rect">
            <a:avLst/>
          </a:prstGeom>
          <a:noFill/>
        </p:spPr>
        <p:txBody>
          <a:bodyPr wrap="none" rtlCol="0">
            <a:spAutoFit/>
          </a:bodyPr>
          <a:lstStyle/>
          <a:p>
            <a:pPr algn="ctr"/>
            <a:r>
              <a:rPr lang="en-US" sz="1400" b="1">
                <a:solidFill>
                  <a:schemeClr val="bg2"/>
                </a:solidFill>
                <a:latin typeface="Segoe UI Light" panose="020B0502040204020203" pitchFamily="34" charset="0"/>
                <a:ea typeface="Roboto" panose="02000000000000000000" pitchFamily="2" charset="0"/>
              </a:rPr>
              <a:t>Description</a:t>
            </a:r>
            <a:endParaRPr lang="en-US" sz="1400" b="1" dirty="0">
              <a:solidFill>
                <a:schemeClr val="bg2"/>
              </a:solidFill>
              <a:latin typeface="Segoe UI Light" panose="020B0502040204020203" pitchFamily="34" charset="0"/>
              <a:ea typeface="Roboto" panose="02000000000000000000" pitchFamily="2" charset="0"/>
            </a:endParaRPr>
          </a:p>
        </p:txBody>
      </p:sp>
      <p:sp>
        <p:nvSpPr>
          <p:cNvPr id="44" name="Title 1">
            <a:extLst>
              <a:ext uri="{FF2B5EF4-FFF2-40B4-BE49-F238E27FC236}">
                <a16:creationId xmlns:a16="http://schemas.microsoft.com/office/drawing/2014/main" id="{AFCBCFD7-0307-0747-9E8D-F5D20731863B}"/>
              </a:ext>
            </a:extLst>
          </p:cNvPr>
          <p:cNvSpPr txBox="1"/>
          <p:nvPr/>
        </p:nvSpPr>
        <p:spPr>
          <a:xfrm>
            <a:off x="9965612" y="2006943"/>
            <a:ext cx="1032655" cy="307777"/>
          </a:xfrm>
          <a:prstGeom prst="rect">
            <a:avLst/>
          </a:prstGeom>
          <a:noFill/>
        </p:spPr>
        <p:txBody>
          <a:bodyPr wrap="none" rtlCol="0">
            <a:spAutoFit/>
          </a:bodyPr>
          <a:lstStyle/>
          <a:p>
            <a:pPr algn="ctr"/>
            <a:r>
              <a:rPr lang="en-US" sz="1400" b="1">
                <a:solidFill>
                  <a:schemeClr val="bg2"/>
                </a:solidFill>
                <a:latin typeface="Segoe UI Light" panose="020B0502040204020203" pitchFamily="34" charset="0"/>
                <a:ea typeface="Roboto" panose="02000000000000000000" pitchFamily="2" charset="0"/>
              </a:rPr>
              <a:t>Description</a:t>
            </a:r>
            <a:endParaRPr lang="en-US" sz="1400" b="1" dirty="0">
              <a:solidFill>
                <a:schemeClr val="bg2"/>
              </a:solidFill>
              <a:latin typeface="Segoe UI Light" panose="020B0502040204020203" pitchFamily="34" charset="0"/>
              <a:ea typeface="Roboto" panose="02000000000000000000" pitchFamily="2" charset="0"/>
            </a:endParaRPr>
          </a:p>
        </p:txBody>
      </p:sp>
      <p:sp>
        <p:nvSpPr>
          <p:cNvPr id="45" name="Subtitle 2">
            <a:extLst>
              <a:ext uri="{FF2B5EF4-FFF2-40B4-BE49-F238E27FC236}">
                <a16:creationId xmlns:a16="http://schemas.microsoft.com/office/drawing/2014/main" id="{118FA2B2-0A73-484C-AD19-E8DD6CDF7FCE}"/>
              </a:ext>
            </a:extLst>
          </p:cNvPr>
          <p:cNvSpPr txBox="1">
            <a:spLocks/>
          </p:cNvSpPr>
          <p:nvPr/>
        </p:nvSpPr>
        <p:spPr>
          <a:xfrm>
            <a:off x="4887114" y="5545357"/>
            <a:ext cx="2418130" cy="642774"/>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150"/>
              </a:lnSpc>
            </a:pPr>
            <a:r>
              <a:rPr lang="en-US" sz="135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adipiscing elit.</a:t>
            </a:r>
          </a:p>
        </p:txBody>
      </p:sp>
      <p:sp>
        <p:nvSpPr>
          <p:cNvPr id="46" name="Subtitle 2">
            <a:extLst>
              <a:ext uri="{FF2B5EF4-FFF2-40B4-BE49-F238E27FC236}">
                <a16:creationId xmlns:a16="http://schemas.microsoft.com/office/drawing/2014/main" id="{45A5797D-02B9-3F40-AD28-E7D76DCA356E}"/>
              </a:ext>
            </a:extLst>
          </p:cNvPr>
          <p:cNvSpPr txBox="1">
            <a:spLocks/>
          </p:cNvSpPr>
          <p:nvPr/>
        </p:nvSpPr>
        <p:spPr>
          <a:xfrm>
            <a:off x="8530658" y="5545357"/>
            <a:ext cx="2418130" cy="642774"/>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150"/>
              </a:lnSpc>
            </a:pPr>
            <a:r>
              <a:rPr lang="en-US" sz="135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adipiscing elit.</a:t>
            </a:r>
          </a:p>
        </p:txBody>
      </p:sp>
      <p:sp>
        <p:nvSpPr>
          <p:cNvPr id="47" name="Subtitle 2">
            <a:extLst>
              <a:ext uri="{FF2B5EF4-FFF2-40B4-BE49-F238E27FC236}">
                <a16:creationId xmlns:a16="http://schemas.microsoft.com/office/drawing/2014/main" id="{A0C04EB3-5179-A54F-9A66-C5A53284059B}"/>
              </a:ext>
            </a:extLst>
          </p:cNvPr>
          <p:cNvSpPr txBox="1">
            <a:spLocks/>
          </p:cNvSpPr>
          <p:nvPr/>
        </p:nvSpPr>
        <p:spPr>
          <a:xfrm>
            <a:off x="1253152" y="5545357"/>
            <a:ext cx="2418130" cy="642774"/>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2150"/>
              </a:lnSpc>
            </a:pPr>
            <a:r>
              <a:rPr lang="en-US" sz="135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adipiscing elit.</a:t>
            </a:r>
          </a:p>
        </p:txBody>
      </p:sp>
      <p:sp>
        <p:nvSpPr>
          <p:cNvPr id="48" name="TextBox 47">
            <a:extLst>
              <a:ext uri="{FF2B5EF4-FFF2-40B4-BE49-F238E27FC236}">
                <a16:creationId xmlns:a16="http://schemas.microsoft.com/office/drawing/2014/main" id="{0A855F19-83A7-1840-A8EA-29AFEE55BEA6}"/>
              </a:ext>
            </a:extLst>
          </p:cNvPr>
          <p:cNvSpPr txBox="1"/>
          <p:nvPr/>
        </p:nvSpPr>
        <p:spPr>
          <a:xfrm>
            <a:off x="5621298" y="4934388"/>
            <a:ext cx="952505" cy="600164"/>
          </a:xfrm>
          <a:prstGeom prst="rect">
            <a:avLst/>
          </a:prstGeom>
          <a:noFill/>
        </p:spPr>
        <p:txBody>
          <a:bodyPr wrap="none" rtlCol="0">
            <a:spAutoFit/>
          </a:bodyPr>
          <a:lstStyle/>
          <a:p>
            <a:pPr algn="ctr"/>
            <a:r>
              <a:rPr lang="en-US" sz="3300" b="1" dirty="0">
                <a:solidFill>
                  <a:srgbClr val="2CB3EB"/>
                </a:solidFill>
                <a:latin typeface="Segoe UI Light" panose="020B0502040204020203" pitchFamily="34" charset="0"/>
                <a:ea typeface="Roboto" panose="02000000000000000000" pitchFamily="2" charset="0"/>
              </a:rPr>
              <a:t>50%</a:t>
            </a:r>
          </a:p>
        </p:txBody>
      </p:sp>
      <p:sp>
        <p:nvSpPr>
          <p:cNvPr id="49" name="TextBox 48">
            <a:extLst>
              <a:ext uri="{FF2B5EF4-FFF2-40B4-BE49-F238E27FC236}">
                <a16:creationId xmlns:a16="http://schemas.microsoft.com/office/drawing/2014/main" id="{0CD9183D-EF5F-D84E-A0F7-50739BAEC8CE}"/>
              </a:ext>
            </a:extLst>
          </p:cNvPr>
          <p:cNvSpPr txBox="1"/>
          <p:nvPr/>
        </p:nvSpPr>
        <p:spPr>
          <a:xfrm>
            <a:off x="9267920" y="4934388"/>
            <a:ext cx="946093" cy="600164"/>
          </a:xfrm>
          <a:prstGeom prst="rect">
            <a:avLst/>
          </a:prstGeom>
          <a:noFill/>
        </p:spPr>
        <p:txBody>
          <a:bodyPr wrap="none" rtlCol="0">
            <a:spAutoFit/>
          </a:bodyPr>
          <a:lstStyle/>
          <a:p>
            <a:pPr algn="ctr"/>
            <a:r>
              <a:rPr lang="en-US" sz="3300" b="1" dirty="0">
                <a:solidFill>
                  <a:srgbClr val="2CB3EB"/>
                </a:solidFill>
                <a:latin typeface="Segoe UI Light" panose="020B0502040204020203" pitchFamily="34" charset="0"/>
                <a:ea typeface="Roboto" panose="02000000000000000000" pitchFamily="2" charset="0"/>
              </a:rPr>
              <a:t>75%</a:t>
            </a:r>
          </a:p>
        </p:txBody>
      </p:sp>
      <p:sp>
        <p:nvSpPr>
          <p:cNvPr id="50" name="TextBox 49">
            <a:extLst>
              <a:ext uri="{FF2B5EF4-FFF2-40B4-BE49-F238E27FC236}">
                <a16:creationId xmlns:a16="http://schemas.microsoft.com/office/drawing/2014/main" id="{C0385115-85CF-C245-8C75-46BEFC6CA3A7}"/>
              </a:ext>
            </a:extLst>
          </p:cNvPr>
          <p:cNvSpPr txBox="1"/>
          <p:nvPr/>
        </p:nvSpPr>
        <p:spPr>
          <a:xfrm>
            <a:off x="1985965" y="4934388"/>
            <a:ext cx="952505" cy="600164"/>
          </a:xfrm>
          <a:prstGeom prst="rect">
            <a:avLst/>
          </a:prstGeom>
          <a:noFill/>
        </p:spPr>
        <p:txBody>
          <a:bodyPr wrap="none" rtlCol="0">
            <a:spAutoFit/>
          </a:bodyPr>
          <a:lstStyle/>
          <a:p>
            <a:pPr algn="ctr"/>
            <a:r>
              <a:rPr lang="en-US" sz="3300" b="1" dirty="0">
                <a:solidFill>
                  <a:srgbClr val="2CB3EB"/>
                </a:solidFill>
                <a:latin typeface="Segoe UI Light" panose="020B0502040204020203" pitchFamily="34" charset="0"/>
                <a:ea typeface="Roboto" panose="02000000000000000000" pitchFamily="2" charset="0"/>
              </a:rPr>
              <a:t>25%</a:t>
            </a:r>
          </a:p>
        </p:txBody>
      </p:sp>
      <p:sp>
        <p:nvSpPr>
          <p:cNvPr id="34" name="Freeform 33">
            <a:extLst>
              <a:ext uri="{FF2B5EF4-FFF2-40B4-BE49-F238E27FC236}">
                <a16:creationId xmlns:a16="http://schemas.microsoft.com/office/drawing/2014/main" id="{3609D26B-ECC4-1D4F-9FE9-4A462A79E8F2}"/>
              </a:ext>
            </a:extLst>
          </p:cNvPr>
          <p:cNvSpPr/>
          <p:nvPr/>
        </p:nvSpPr>
        <p:spPr>
          <a:xfrm>
            <a:off x="1101137" y="2739651"/>
            <a:ext cx="2510353" cy="2012839"/>
          </a:xfrm>
          <a:custGeom>
            <a:avLst/>
            <a:gdLst>
              <a:gd name="connsiteX0" fmla="*/ 3539459 w 5020705"/>
              <a:gd name="connsiteY0" fmla="*/ 155491 h 4025677"/>
              <a:gd name="connsiteX1" fmla="*/ 2662181 w 5020705"/>
              <a:gd name="connsiteY1" fmla="*/ 1029328 h 4025677"/>
              <a:gd name="connsiteX2" fmla="*/ 2693098 w 5020705"/>
              <a:gd name="connsiteY2" fmla="*/ 1230388 h 4025677"/>
              <a:gd name="connsiteX3" fmla="*/ 853519 w 5020705"/>
              <a:gd name="connsiteY3" fmla="*/ 294686 h 4025677"/>
              <a:gd name="connsiteX4" fmla="*/ 741444 w 5020705"/>
              <a:gd name="connsiteY4" fmla="*/ 747071 h 4025677"/>
              <a:gd name="connsiteX5" fmla="*/ 1135639 w 5020705"/>
              <a:gd name="connsiteY5" fmla="*/ 1481712 h 4025677"/>
              <a:gd name="connsiteX6" fmla="*/ 710527 w 5020705"/>
              <a:gd name="connsiteY6" fmla="*/ 1369583 h 4025677"/>
              <a:gd name="connsiteX7" fmla="*/ 710527 w 5020705"/>
              <a:gd name="connsiteY7" fmla="*/ 1396649 h 4025677"/>
              <a:gd name="connsiteX8" fmla="*/ 1448677 w 5020705"/>
              <a:gd name="connsiteY8" fmla="*/ 2247286 h 4025677"/>
              <a:gd name="connsiteX9" fmla="*/ 1193609 w 5020705"/>
              <a:gd name="connsiteY9" fmla="*/ 2301418 h 4025677"/>
              <a:gd name="connsiteX10" fmla="*/ 1023564 w 5020705"/>
              <a:gd name="connsiteY10" fmla="*/ 2274352 h 4025677"/>
              <a:gd name="connsiteX11" fmla="*/ 1869925 w 5020705"/>
              <a:gd name="connsiteY11" fmla="*/ 2896864 h 4025677"/>
              <a:gd name="connsiteX12" fmla="*/ 768496 w 5020705"/>
              <a:gd name="connsiteY12" fmla="*/ 3264185 h 4025677"/>
              <a:gd name="connsiteX13" fmla="*/ 544346 w 5020705"/>
              <a:gd name="connsiteY13" fmla="*/ 3264185 h 4025677"/>
              <a:gd name="connsiteX14" fmla="*/ 1900842 w 5020705"/>
              <a:gd name="connsiteY14" fmla="*/ 3658571 h 4025677"/>
              <a:gd name="connsiteX15" fmla="*/ 4443789 w 5020705"/>
              <a:gd name="connsiteY15" fmla="*/ 1145324 h 4025677"/>
              <a:gd name="connsiteX16" fmla="*/ 4443789 w 5020705"/>
              <a:gd name="connsiteY16" fmla="*/ 1029328 h 4025677"/>
              <a:gd name="connsiteX17" fmla="*/ 4868902 w 5020705"/>
              <a:gd name="connsiteY17" fmla="*/ 549878 h 4025677"/>
              <a:gd name="connsiteX18" fmla="*/ 4358767 w 5020705"/>
              <a:gd name="connsiteY18" fmla="*/ 692939 h 4025677"/>
              <a:gd name="connsiteX19" fmla="*/ 4756827 w 5020705"/>
              <a:gd name="connsiteY19" fmla="*/ 213489 h 4025677"/>
              <a:gd name="connsiteX20" fmla="*/ 4188722 w 5020705"/>
              <a:gd name="connsiteY20" fmla="*/ 410683 h 4025677"/>
              <a:gd name="connsiteX21" fmla="*/ 3539459 w 5020705"/>
              <a:gd name="connsiteY21" fmla="*/ 155491 h 4025677"/>
              <a:gd name="connsiteX22" fmla="*/ 0 w 5020705"/>
              <a:gd name="connsiteY22" fmla="*/ 0 h 4025677"/>
              <a:gd name="connsiteX23" fmla="*/ 5020705 w 5020705"/>
              <a:gd name="connsiteY23" fmla="*/ 0 h 4025677"/>
              <a:gd name="connsiteX24" fmla="*/ 5020705 w 5020705"/>
              <a:gd name="connsiteY24" fmla="*/ 4025677 h 4025677"/>
              <a:gd name="connsiteX25" fmla="*/ 0 w 5020705"/>
              <a:gd name="connsiteY25" fmla="*/ 4025677 h 4025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020705" h="4025677">
                <a:moveTo>
                  <a:pt x="3539459" y="155491"/>
                </a:moveTo>
                <a:cubicBezTo>
                  <a:pt x="3060241" y="155491"/>
                  <a:pt x="2662181" y="549878"/>
                  <a:pt x="2662181" y="1029328"/>
                </a:cubicBezTo>
                <a:cubicBezTo>
                  <a:pt x="2662181" y="1087326"/>
                  <a:pt x="2662181" y="1172390"/>
                  <a:pt x="2693098" y="1230388"/>
                </a:cubicBezTo>
                <a:cubicBezTo>
                  <a:pt x="1954948" y="1199455"/>
                  <a:pt x="1278632" y="832135"/>
                  <a:pt x="853519" y="294686"/>
                </a:cubicBezTo>
                <a:cubicBezTo>
                  <a:pt x="768496" y="437748"/>
                  <a:pt x="741444" y="580810"/>
                  <a:pt x="741444" y="747071"/>
                </a:cubicBezTo>
                <a:cubicBezTo>
                  <a:pt x="741444" y="1060260"/>
                  <a:pt x="880572" y="1342517"/>
                  <a:pt x="1135639" y="1481712"/>
                </a:cubicBezTo>
                <a:cubicBezTo>
                  <a:pt x="996512" y="1481712"/>
                  <a:pt x="853519" y="1454647"/>
                  <a:pt x="710527" y="1369583"/>
                </a:cubicBezTo>
                <a:cubicBezTo>
                  <a:pt x="710527" y="1396649"/>
                  <a:pt x="710527" y="1396649"/>
                  <a:pt x="710527" y="1396649"/>
                </a:cubicBezTo>
                <a:cubicBezTo>
                  <a:pt x="710527" y="1821967"/>
                  <a:pt x="1023564" y="2189288"/>
                  <a:pt x="1448677" y="2247286"/>
                </a:cubicBezTo>
                <a:cubicBezTo>
                  <a:pt x="1363654" y="2274352"/>
                  <a:pt x="1278632" y="2301418"/>
                  <a:pt x="1193609" y="2301418"/>
                </a:cubicBezTo>
                <a:cubicBezTo>
                  <a:pt x="1135639" y="2301418"/>
                  <a:pt x="1081534" y="2274352"/>
                  <a:pt x="1023564" y="2274352"/>
                </a:cubicBezTo>
                <a:cubicBezTo>
                  <a:pt x="1135639" y="2614607"/>
                  <a:pt x="1475730" y="2896864"/>
                  <a:pt x="1869925" y="2896864"/>
                </a:cubicBezTo>
                <a:cubicBezTo>
                  <a:pt x="1560752" y="3121123"/>
                  <a:pt x="1193609" y="3264185"/>
                  <a:pt x="768496" y="3264185"/>
                </a:cubicBezTo>
                <a:cubicBezTo>
                  <a:pt x="683474" y="3264185"/>
                  <a:pt x="629369" y="3264185"/>
                  <a:pt x="544346" y="3264185"/>
                </a:cubicBezTo>
                <a:cubicBezTo>
                  <a:pt x="938542" y="3515509"/>
                  <a:pt x="1417760" y="3658571"/>
                  <a:pt x="1900842" y="3658571"/>
                </a:cubicBezTo>
                <a:cubicBezTo>
                  <a:pt x="3539459" y="3658571"/>
                  <a:pt x="4443789" y="2301418"/>
                  <a:pt x="4443789" y="1145324"/>
                </a:cubicBezTo>
                <a:cubicBezTo>
                  <a:pt x="4443789" y="1087326"/>
                  <a:pt x="4443789" y="1060260"/>
                  <a:pt x="4443789" y="1029328"/>
                </a:cubicBezTo>
                <a:cubicBezTo>
                  <a:pt x="4613834" y="890133"/>
                  <a:pt x="4756827" y="747071"/>
                  <a:pt x="4868902" y="549878"/>
                </a:cubicBezTo>
                <a:cubicBezTo>
                  <a:pt x="4725910" y="634941"/>
                  <a:pt x="4555865" y="662007"/>
                  <a:pt x="4358767" y="692939"/>
                </a:cubicBezTo>
                <a:cubicBezTo>
                  <a:pt x="4555865" y="580810"/>
                  <a:pt x="4698857" y="410683"/>
                  <a:pt x="4756827" y="213489"/>
                </a:cubicBezTo>
                <a:cubicBezTo>
                  <a:pt x="4586782" y="294686"/>
                  <a:pt x="4389684" y="379750"/>
                  <a:pt x="4188722" y="410683"/>
                </a:cubicBezTo>
                <a:cubicBezTo>
                  <a:pt x="4049594" y="240555"/>
                  <a:pt x="3794526" y="155491"/>
                  <a:pt x="3539459" y="155491"/>
                </a:cubicBezTo>
                <a:close/>
                <a:moveTo>
                  <a:pt x="0" y="0"/>
                </a:moveTo>
                <a:lnTo>
                  <a:pt x="5020705" y="0"/>
                </a:lnTo>
                <a:lnTo>
                  <a:pt x="5020705" y="4025677"/>
                </a:lnTo>
                <a:lnTo>
                  <a:pt x="0" y="402567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35" name="Freeform 5">
            <a:extLst>
              <a:ext uri="{FF2B5EF4-FFF2-40B4-BE49-F238E27FC236}">
                <a16:creationId xmlns:a16="http://schemas.microsoft.com/office/drawing/2014/main" id="{E32C0B04-C522-1647-A010-F79429ED868B}"/>
              </a:ext>
            </a:extLst>
          </p:cNvPr>
          <p:cNvSpPr>
            <a:spLocks/>
          </p:cNvSpPr>
          <p:nvPr/>
        </p:nvSpPr>
        <p:spPr bwMode="auto">
          <a:xfrm>
            <a:off x="5002007" y="2814956"/>
            <a:ext cx="2162278" cy="1751540"/>
          </a:xfrm>
          <a:custGeom>
            <a:avLst/>
            <a:gdLst>
              <a:gd name="T0" fmla="*/ 1119 w 1119"/>
              <a:gd name="T1" fmla="*/ 102 h 906"/>
              <a:gd name="T2" fmla="*/ 987 w 1119"/>
              <a:gd name="T3" fmla="*/ 139 h 906"/>
              <a:gd name="T4" fmla="*/ 1090 w 1119"/>
              <a:gd name="T5" fmla="*/ 15 h 906"/>
              <a:gd name="T6" fmla="*/ 943 w 1119"/>
              <a:gd name="T7" fmla="*/ 66 h 906"/>
              <a:gd name="T8" fmla="*/ 775 w 1119"/>
              <a:gd name="T9" fmla="*/ 0 h 906"/>
              <a:gd name="T10" fmla="*/ 548 w 1119"/>
              <a:gd name="T11" fmla="*/ 226 h 906"/>
              <a:gd name="T12" fmla="*/ 556 w 1119"/>
              <a:gd name="T13" fmla="*/ 278 h 906"/>
              <a:gd name="T14" fmla="*/ 80 w 1119"/>
              <a:gd name="T15" fmla="*/ 36 h 906"/>
              <a:gd name="T16" fmla="*/ 51 w 1119"/>
              <a:gd name="T17" fmla="*/ 153 h 906"/>
              <a:gd name="T18" fmla="*/ 153 w 1119"/>
              <a:gd name="T19" fmla="*/ 343 h 906"/>
              <a:gd name="T20" fmla="*/ 43 w 1119"/>
              <a:gd name="T21" fmla="*/ 314 h 906"/>
              <a:gd name="T22" fmla="*/ 43 w 1119"/>
              <a:gd name="T23" fmla="*/ 321 h 906"/>
              <a:gd name="T24" fmla="*/ 234 w 1119"/>
              <a:gd name="T25" fmla="*/ 541 h 906"/>
              <a:gd name="T26" fmla="*/ 168 w 1119"/>
              <a:gd name="T27" fmla="*/ 555 h 906"/>
              <a:gd name="T28" fmla="*/ 124 w 1119"/>
              <a:gd name="T29" fmla="*/ 548 h 906"/>
              <a:gd name="T30" fmla="*/ 343 w 1119"/>
              <a:gd name="T31" fmla="*/ 709 h 906"/>
              <a:gd name="T32" fmla="*/ 58 w 1119"/>
              <a:gd name="T33" fmla="*/ 804 h 906"/>
              <a:gd name="T34" fmla="*/ 0 w 1119"/>
              <a:gd name="T35" fmla="*/ 804 h 906"/>
              <a:gd name="T36" fmla="*/ 351 w 1119"/>
              <a:gd name="T37" fmla="*/ 906 h 906"/>
              <a:gd name="T38" fmla="*/ 1009 w 1119"/>
              <a:gd name="T39" fmla="*/ 256 h 906"/>
              <a:gd name="T40" fmla="*/ 1009 w 1119"/>
              <a:gd name="T41" fmla="*/ 226 h 906"/>
              <a:gd name="T42" fmla="*/ 1119 w 1119"/>
              <a:gd name="T43" fmla="*/ 102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9" h="906">
                <a:moveTo>
                  <a:pt x="1119" y="102"/>
                </a:moveTo>
                <a:cubicBezTo>
                  <a:pt x="1082" y="124"/>
                  <a:pt x="1038" y="131"/>
                  <a:pt x="987" y="139"/>
                </a:cubicBezTo>
                <a:cubicBezTo>
                  <a:pt x="1038" y="110"/>
                  <a:pt x="1075" y="66"/>
                  <a:pt x="1090" y="15"/>
                </a:cubicBezTo>
                <a:cubicBezTo>
                  <a:pt x="1046" y="36"/>
                  <a:pt x="995" y="58"/>
                  <a:pt x="943" y="66"/>
                </a:cubicBezTo>
                <a:cubicBezTo>
                  <a:pt x="907" y="22"/>
                  <a:pt x="841" y="0"/>
                  <a:pt x="775" y="0"/>
                </a:cubicBezTo>
                <a:cubicBezTo>
                  <a:pt x="651" y="0"/>
                  <a:pt x="548" y="102"/>
                  <a:pt x="548" y="226"/>
                </a:cubicBezTo>
                <a:cubicBezTo>
                  <a:pt x="548" y="241"/>
                  <a:pt x="548" y="263"/>
                  <a:pt x="556" y="278"/>
                </a:cubicBezTo>
                <a:cubicBezTo>
                  <a:pt x="365" y="270"/>
                  <a:pt x="190" y="175"/>
                  <a:pt x="80" y="36"/>
                </a:cubicBezTo>
                <a:cubicBezTo>
                  <a:pt x="58" y="73"/>
                  <a:pt x="51" y="110"/>
                  <a:pt x="51" y="153"/>
                </a:cubicBezTo>
                <a:cubicBezTo>
                  <a:pt x="51" y="234"/>
                  <a:pt x="87" y="307"/>
                  <a:pt x="153" y="343"/>
                </a:cubicBezTo>
                <a:cubicBezTo>
                  <a:pt x="117" y="343"/>
                  <a:pt x="80" y="336"/>
                  <a:pt x="43" y="314"/>
                </a:cubicBezTo>
                <a:cubicBezTo>
                  <a:pt x="43" y="321"/>
                  <a:pt x="43" y="321"/>
                  <a:pt x="43" y="321"/>
                </a:cubicBezTo>
                <a:cubicBezTo>
                  <a:pt x="43" y="431"/>
                  <a:pt x="124" y="526"/>
                  <a:pt x="234" y="541"/>
                </a:cubicBezTo>
                <a:cubicBezTo>
                  <a:pt x="212" y="548"/>
                  <a:pt x="190" y="555"/>
                  <a:pt x="168" y="555"/>
                </a:cubicBezTo>
                <a:cubicBezTo>
                  <a:pt x="153" y="555"/>
                  <a:pt x="139" y="548"/>
                  <a:pt x="124" y="548"/>
                </a:cubicBezTo>
                <a:cubicBezTo>
                  <a:pt x="153" y="636"/>
                  <a:pt x="241" y="709"/>
                  <a:pt x="343" y="709"/>
                </a:cubicBezTo>
                <a:cubicBezTo>
                  <a:pt x="263" y="767"/>
                  <a:pt x="168" y="804"/>
                  <a:pt x="58" y="804"/>
                </a:cubicBezTo>
                <a:cubicBezTo>
                  <a:pt x="36" y="804"/>
                  <a:pt x="22" y="804"/>
                  <a:pt x="0" y="804"/>
                </a:cubicBezTo>
                <a:cubicBezTo>
                  <a:pt x="102" y="869"/>
                  <a:pt x="226" y="906"/>
                  <a:pt x="351" y="906"/>
                </a:cubicBezTo>
                <a:cubicBezTo>
                  <a:pt x="775" y="906"/>
                  <a:pt x="1009" y="555"/>
                  <a:pt x="1009" y="256"/>
                </a:cubicBezTo>
                <a:cubicBezTo>
                  <a:pt x="1009" y="241"/>
                  <a:pt x="1009" y="234"/>
                  <a:pt x="1009" y="226"/>
                </a:cubicBezTo>
                <a:cubicBezTo>
                  <a:pt x="1053" y="190"/>
                  <a:pt x="1090" y="153"/>
                  <a:pt x="1119" y="102"/>
                </a:cubicBezTo>
                <a:close/>
              </a:path>
            </a:pathLst>
          </a:custGeom>
          <a:solidFill>
            <a:srgbClr val="AAE1F6"/>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36" name="Rectangle 35">
            <a:extLst>
              <a:ext uri="{FF2B5EF4-FFF2-40B4-BE49-F238E27FC236}">
                <a16:creationId xmlns:a16="http://schemas.microsoft.com/office/drawing/2014/main" id="{8276A0E9-50A0-C24A-B3F9-FF6AB0855C64}"/>
              </a:ext>
            </a:extLst>
          </p:cNvPr>
          <p:cNvSpPr>
            <a:spLocks noChangeArrowheads="1"/>
          </p:cNvSpPr>
          <p:nvPr/>
        </p:nvSpPr>
        <p:spPr bwMode="auto">
          <a:xfrm>
            <a:off x="5002007" y="3755536"/>
            <a:ext cx="2162278" cy="886264"/>
          </a:xfrm>
          <a:prstGeom prst="rect">
            <a:avLst/>
          </a:prstGeom>
          <a:solidFill>
            <a:srgbClr val="1EB2EE"/>
          </a:solidFill>
          <a:ln>
            <a:noFill/>
          </a:ln>
        </p:spPr>
        <p:txBody>
          <a:bodyPr vert="horz" wrap="square" lIns="91416" tIns="45708" rIns="91416" bIns="45708" numCol="1" anchor="t" anchorCtr="0" compatLnSpc="1">
            <a:prstTxWarp prst="textNoShape">
              <a:avLst/>
            </a:prstTxWarp>
            <a:noAutofit/>
          </a:bodyPr>
          <a:lstStyle/>
          <a:p>
            <a:endParaRPr lang="en-US" sz="3599" dirty="0"/>
          </a:p>
        </p:txBody>
      </p:sp>
      <p:sp>
        <p:nvSpPr>
          <p:cNvPr id="51" name="Freeform 50">
            <a:extLst>
              <a:ext uri="{FF2B5EF4-FFF2-40B4-BE49-F238E27FC236}">
                <a16:creationId xmlns:a16="http://schemas.microsoft.com/office/drawing/2014/main" id="{336AF5EC-9D1D-4E41-886F-A1604CC973B3}"/>
              </a:ext>
            </a:extLst>
          </p:cNvPr>
          <p:cNvSpPr/>
          <p:nvPr/>
        </p:nvSpPr>
        <p:spPr>
          <a:xfrm>
            <a:off x="4730832" y="2739651"/>
            <a:ext cx="2510353" cy="2012839"/>
          </a:xfrm>
          <a:custGeom>
            <a:avLst/>
            <a:gdLst>
              <a:gd name="connsiteX0" fmla="*/ 3539459 w 5020705"/>
              <a:gd name="connsiteY0" fmla="*/ 155491 h 4025677"/>
              <a:gd name="connsiteX1" fmla="*/ 2662181 w 5020705"/>
              <a:gd name="connsiteY1" fmla="*/ 1029328 h 4025677"/>
              <a:gd name="connsiteX2" fmla="*/ 2693098 w 5020705"/>
              <a:gd name="connsiteY2" fmla="*/ 1230388 h 4025677"/>
              <a:gd name="connsiteX3" fmla="*/ 853519 w 5020705"/>
              <a:gd name="connsiteY3" fmla="*/ 294686 h 4025677"/>
              <a:gd name="connsiteX4" fmla="*/ 741444 w 5020705"/>
              <a:gd name="connsiteY4" fmla="*/ 747071 h 4025677"/>
              <a:gd name="connsiteX5" fmla="*/ 1135639 w 5020705"/>
              <a:gd name="connsiteY5" fmla="*/ 1481712 h 4025677"/>
              <a:gd name="connsiteX6" fmla="*/ 710527 w 5020705"/>
              <a:gd name="connsiteY6" fmla="*/ 1369583 h 4025677"/>
              <a:gd name="connsiteX7" fmla="*/ 710527 w 5020705"/>
              <a:gd name="connsiteY7" fmla="*/ 1396649 h 4025677"/>
              <a:gd name="connsiteX8" fmla="*/ 1448677 w 5020705"/>
              <a:gd name="connsiteY8" fmla="*/ 2247286 h 4025677"/>
              <a:gd name="connsiteX9" fmla="*/ 1193609 w 5020705"/>
              <a:gd name="connsiteY9" fmla="*/ 2301418 h 4025677"/>
              <a:gd name="connsiteX10" fmla="*/ 1023564 w 5020705"/>
              <a:gd name="connsiteY10" fmla="*/ 2274352 h 4025677"/>
              <a:gd name="connsiteX11" fmla="*/ 1869925 w 5020705"/>
              <a:gd name="connsiteY11" fmla="*/ 2896864 h 4025677"/>
              <a:gd name="connsiteX12" fmla="*/ 768496 w 5020705"/>
              <a:gd name="connsiteY12" fmla="*/ 3264185 h 4025677"/>
              <a:gd name="connsiteX13" fmla="*/ 544346 w 5020705"/>
              <a:gd name="connsiteY13" fmla="*/ 3264185 h 4025677"/>
              <a:gd name="connsiteX14" fmla="*/ 1900842 w 5020705"/>
              <a:gd name="connsiteY14" fmla="*/ 3658571 h 4025677"/>
              <a:gd name="connsiteX15" fmla="*/ 4443789 w 5020705"/>
              <a:gd name="connsiteY15" fmla="*/ 1145324 h 4025677"/>
              <a:gd name="connsiteX16" fmla="*/ 4443789 w 5020705"/>
              <a:gd name="connsiteY16" fmla="*/ 1029328 h 4025677"/>
              <a:gd name="connsiteX17" fmla="*/ 4868902 w 5020705"/>
              <a:gd name="connsiteY17" fmla="*/ 549878 h 4025677"/>
              <a:gd name="connsiteX18" fmla="*/ 4358767 w 5020705"/>
              <a:gd name="connsiteY18" fmla="*/ 692939 h 4025677"/>
              <a:gd name="connsiteX19" fmla="*/ 4756827 w 5020705"/>
              <a:gd name="connsiteY19" fmla="*/ 213489 h 4025677"/>
              <a:gd name="connsiteX20" fmla="*/ 4188722 w 5020705"/>
              <a:gd name="connsiteY20" fmla="*/ 410683 h 4025677"/>
              <a:gd name="connsiteX21" fmla="*/ 3539459 w 5020705"/>
              <a:gd name="connsiteY21" fmla="*/ 155491 h 4025677"/>
              <a:gd name="connsiteX22" fmla="*/ 0 w 5020705"/>
              <a:gd name="connsiteY22" fmla="*/ 0 h 4025677"/>
              <a:gd name="connsiteX23" fmla="*/ 5020705 w 5020705"/>
              <a:gd name="connsiteY23" fmla="*/ 0 h 4025677"/>
              <a:gd name="connsiteX24" fmla="*/ 5020705 w 5020705"/>
              <a:gd name="connsiteY24" fmla="*/ 4025677 h 4025677"/>
              <a:gd name="connsiteX25" fmla="*/ 0 w 5020705"/>
              <a:gd name="connsiteY25" fmla="*/ 4025677 h 4025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020705" h="4025677">
                <a:moveTo>
                  <a:pt x="3539459" y="155491"/>
                </a:moveTo>
                <a:cubicBezTo>
                  <a:pt x="3060241" y="155491"/>
                  <a:pt x="2662181" y="549878"/>
                  <a:pt x="2662181" y="1029328"/>
                </a:cubicBezTo>
                <a:cubicBezTo>
                  <a:pt x="2662181" y="1087326"/>
                  <a:pt x="2662181" y="1172390"/>
                  <a:pt x="2693098" y="1230388"/>
                </a:cubicBezTo>
                <a:cubicBezTo>
                  <a:pt x="1954948" y="1199455"/>
                  <a:pt x="1278632" y="832135"/>
                  <a:pt x="853519" y="294686"/>
                </a:cubicBezTo>
                <a:cubicBezTo>
                  <a:pt x="768496" y="437748"/>
                  <a:pt x="741444" y="580810"/>
                  <a:pt x="741444" y="747071"/>
                </a:cubicBezTo>
                <a:cubicBezTo>
                  <a:pt x="741444" y="1060260"/>
                  <a:pt x="880572" y="1342517"/>
                  <a:pt x="1135639" y="1481712"/>
                </a:cubicBezTo>
                <a:cubicBezTo>
                  <a:pt x="996512" y="1481712"/>
                  <a:pt x="853519" y="1454647"/>
                  <a:pt x="710527" y="1369583"/>
                </a:cubicBezTo>
                <a:cubicBezTo>
                  <a:pt x="710527" y="1396649"/>
                  <a:pt x="710527" y="1396649"/>
                  <a:pt x="710527" y="1396649"/>
                </a:cubicBezTo>
                <a:cubicBezTo>
                  <a:pt x="710527" y="1821967"/>
                  <a:pt x="1023564" y="2189288"/>
                  <a:pt x="1448677" y="2247286"/>
                </a:cubicBezTo>
                <a:cubicBezTo>
                  <a:pt x="1363654" y="2274352"/>
                  <a:pt x="1278632" y="2301418"/>
                  <a:pt x="1193609" y="2301418"/>
                </a:cubicBezTo>
                <a:cubicBezTo>
                  <a:pt x="1135639" y="2301418"/>
                  <a:pt x="1081534" y="2274352"/>
                  <a:pt x="1023564" y="2274352"/>
                </a:cubicBezTo>
                <a:cubicBezTo>
                  <a:pt x="1135639" y="2614607"/>
                  <a:pt x="1475730" y="2896864"/>
                  <a:pt x="1869925" y="2896864"/>
                </a:cubicBezTo>
                <a:cubicBezTo>
                  <a:pt x="1560752" y="3121123"/>
                  <a:pt x="1193609" y="3264185"/>
                  <a:pt x="768496" y="3264185"/>
                </a:cubicBezTo>
                <a:cubicBezTo>
                  <a:pt x="683474" y="3264185"/>
                  <a:pt x="629369" y="3264185"/>
                  <a:pt x="544346" y="3264185"/>
                </a:cubicBezTo>
                <a:cubicBezTo>
                  <a:pt x="938542" y="3515509"/>
                  <a:pt x="1417760" y="3658571"/>
                  <a:pt x="1900842" y="3658571"/>
                </a:cubicBezTo>
                <a:cubicBezTo>
                  <a:pt x="3539459" y="3658571"/>
                  <a:pt x="4443789" y="2301418"/>
                  <a:pt x="4443789" y="1145324"/>
                </a:cubicBezTo>
                <a:cubicBezTo>
                  <a:pt x="4443789" y="1087326"/>
                  <a:pt x="4443789" y="1060260"/>
                  <a:pt x="4443789" y="1029328"/>
                </a:cubicBezTo>
                <a:cubicBezTo>
                  <a:pt x="4613834" y="890133"/>
                  <a:pt x="4756827" y="747071"/>
                  <a:pt x="4868902" y="549878"/>
                </a:cubicBezTo>
                <a:cubicBezTo>
                  <a:pt x="4725910" y="634941"/>
                  <a:pt x="4555865" y="662007"/>
                  <a:pt x="4358767" y="692939"/>
                </a:cubicBezTo>
                <a:cubicBezTo>
                  <a:pt x="4555865" y="580810"/>
                  <a:pt x="4698857" y="410683"/>
                  <a:pt x="4756827" y="213489"/>
                </a:cubicBezTo>
                <a:cubicBezTo>
                  <a:pt x="4586782" y="294686"/>
                  <a:pt x="4389684" y="379750"/>
                  <a:pt x="4188722" y="410683"/>
                </a:cubicBezTo>
                <a:cubicBezTo>
                  <a:pt x="4049594" y="240555"/>
                  <a:pt x="3794526" y="155491"/>
                  <a:pt x="3539459" y="155491"/>
                </a:cubicBezTo>
                <a:close/>
                <a:moveTo>
                  <a:pt x="0" y="0"/>
                </a:moveTo>
                <a:lnTo>
                  <a:pt x="5020705" y="0"/>
                </a:lnTo>
                <a:lnTo>
                  <a:pt x="5020705" y="4025677"/>
                </a:lnTo>
                <a:lnTo>
                  <a:pt x="0" y="402567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52" name="Freeform 5">
            <a:extLst>
              <a:ext uri="{FF2B5EF4-FFF2-40B4-BE49-F238E27FC236}">
                <a16:creationId xmlns:a16="http://schemas.microsoft.com/office/drawing/2014/main" id="{2CB60C33-2DA8-534A-9ADC-034C88EDC1B0}"/>
              </a:ext>
            </a:extLst>
          </p:cNvPr>
          <p:cNvSpPr>
            <a:spLocks/>
          </p:cNvSpPr>
          <p:nvPr/>
        </p:nvSpPr>
        <p:spPr bwMode="auto">
          <a:xfrm>
            <a:off x="8637661" y="2814956"/>
            <a:ext cx="2162278" cy="1751540"/>
          </a:xfrm>
          <a:custGeom>
            <a:avLst/>
            <a:gdLst>
              <a:gd name="T0" fmla="*/ 1119 w 1119"/>
              <a:gd name="T1" fmla="*/ 102 h 906"/>
              <a:gd name="T2" fmla="*/ 987 w 1119"/>
              <a:gd name="T3" fmla="*/ 139 h 906"/>
              <a:gd name="T4" fmla="*/ 1090 w 1119"/>
              <a:gd name="T5" fmla="*/ 15 h 906"/>
              <a:gd name="T6" fmla="*/ 943 w 1119"/>
              <a:gd name="T7" fmla="*/ 66 h 906"/>
              <a:gd name="T8" fmla="*/ 775 w 1119"/>
              <a:gd name="T9" fmla="*/ 0 h 906"/>
              <a:gd name="T10" fmla="*/ 548 w 1119"/>
              <a:gd name="T11" fmla="*/ 226 h 906"/>
              <a:gd name="T12" fmla="*/ 556 w 1119"/>
              <a:gd name="T13" fmla="*/ 278 h 906"/>
              <a:gd name="T14" fmla="*/ 80 w 1119"/>
              <a:gd name="T15" fmla="*/ 36 h 906"/>
              <a:gd name="T16" fmla="*/ 51 w 1119"/>
              <a:gd name="T17" fmla="*/ 153 h 906"/>
              <a:gd name="T18" fmla="*/ 153 w 1119"/>
              <a:gd name="T19" fmla="*/ 343 h 906"/>
              <a:gd name="T20" fmla="*/ 43 w 1119"/>
              <a:gd name="T21" fmla="*/ 314 h 906"/>
              <a:gd name="T22" fmla="*/ 43 w 1119"/>
              <a:gd name="T23" fmla="*/ 321 h 906"/>
              <a:gd name="T24" fmla="*/ 234 w 1119"/>
              <a:gd name="T25" fmla="*/ 541 h 906"/>
              <a:gd name="T26" fmla="*/ 168 w 1119"/>
              <a:gd name="T27" fmla="*/ 555 h 906"/>
              <a:gd name="T28" fmla="*/ 124 w 1119"/>
              <a:gd name="T29" fmla="*/ 548 h 906"/>
              <a:gd name="T30" fmla="*/ 343 w 1119"/>
              <a:gd name="T31" fmla="*/ 709 h 906"/>
              <a:gd name="T32" fmla="*/ 58 w 1119"/>
              <a:gd name="T33" fmla="*/ 804 h 906"/>
              <a:gd name="T34" fmla="*/ 0 w 1119"/>
              <a:gd name="T35" fmla="*/ 804 h 906"/>
              <a:gd name="T36" fmla="*/ 351 w 1119"/>
              <a:gd name="T37" fmla="*/ 906 h 906"/>
              <a:gd name="T38" fmla="*/ 1009 w 1119"/>
              <a:gd name="T39" fmla="*/ 256 h 906"/>
              <a:gd name="T40" fmla="*/ 1009 w 1119"/>
              <a:gd name="T41" fmla="*/ 226 h 906"/>
              <a:gd name="T42" fmla="*/ 1119 w 1119"/>
              <a:gd name="T43" fmla="*/ 102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9" h="906">
                <a:moveTo>
                  <a:pt x="1119" y="102"/>
                </a:moveTo>
                <a:cubicBezTo>
                  <a:pt x="1082" y="124"/>
                  <a:pt x="1038" y="131"/>
                  <a:pt x="987" y="139"/>
                </a:cubicBezTo>
                <a:cubicBezTo>
                  <a:pt x="1038" y="110"/>
                  <a:pt x="1075" y="66"/>
                  <a:pt x="1090" y="15"/>
                </a:cubicBezTo>
                <a:cubicBezTo>
                  <a:pt x="1046" y="36"/>
                  <a:pt x="995" y="58"/>
                  <a:pt x="943" y="66"/>
                </a:cubicBezTo>
                <a:cubicBezTo>
                  <a:pt x="907" y="22"/>
                  <a:pt x="841" y="0"/>
                  <a:pt x="775" y="0"/>
                </a:cubicBezTo>
                <a:cubicBezTo>
                  <a:pt x="651" y="0"/>
                  <a:pt x="548" y="102"/>
                  <a:pt x="548" y="226"/>
                </a:cubicBezTo>
                <a:cubicBezTo>
                  <a:pt x="548" y="241"/>
                  <a:pt x="548" y="263"/>
                  <a:pt x="556" y="278"/>
                </a:cubicBezTo>
                <a:cubicBezTo>
                  <a:pt x="365" y="270"/>
                  <a:pt x="190" y="175"/>
                  <a:pt x="80" y="36"/>
                </a:cubicBezTo>
                <a:cubicBezTo>
                  <a:pt x="58" y="73"/>
                  <a:pt x="51" y="110"/>
                  <a:pt x="51" y="153"/>
                </a:cubicBezTo>
                <a:cubicBezTo>
                  <a:pt x="51" y="234"/>
                  <a:pt x="87" y="307"/>
                  <a:pt x="153" y="343"/>
                </a:cubicBezTo>
                <a:cubicBezTo>
                  <a:pt x="117" y="343"/>
                  <a:pt x="80" y="336"/>
                  <a:pt x="43" y="314"/>
                </a:cubicBezTo>
                <a:cubicBezTo>
                  <a:pt x="43" y="321"/>
                  <a:pt x="43" y="321"/>
                  <a:pt x="43" y="321"/>
                </a:cubicBezTo>
                <a:cubicBezTo>
                  <a:pt x="43" y="431"/>
                  <a:pt x="124" y="526"/>
                  <a:pt x="234" y="541"/>
                </a:cubicBezTo>
                <a:cubicBezTo>
                  <a:pt x="212" y="548"/>
                  <a:pt x="190" y="555"/>
                  <a:pt x="168" y="555"/>
                </a:cubicBezTo>
                <a:cubicBezTo>
                  <a:pt x="153" y="555"/>
                  <a:pt x="139" y="548"/>
                  <a:pt x="124" y="548"/>
                </a:cubicBezTo>
                <a:cubicBezTo>
                  <a:pt x="153" y="636"/>
                  <a:pt x="241" y="709"/>
                  <a:pt x="343" y="709"/>
                </a:cubicBezTo>
                <a:cubicBezTo>
                  <a:pt x="263" y="767"/>
                  <a:pt x="168" y="804"/>
                  <a:pt x="58" y="804"/>
                </a:cubicBezTo>
                <a:cubicBezTo>
                  <a:pt x="36" y="804"/>
                  <a:pt x="22" y="804"/>
                  <a:pt x="0" y="804"/>
                </a:cubicBezTo>
                <a:cubicBezTo>
                  <a:pt x="102" y="869"/>
                  <a:pt x="226" y="906"/>
                  <a:pt x="351" y="906"/>
                </a:cubicBezTo>
                <a:cubicBezTo>
                  <a:pt x="775" y="906"/>
                  <a:pt x="1009" y="555"/>
                  <a:pt x="1009" y="256"/>
                </a:cubicBezTo>
                <a:cubicBezTo>
                  <a:pt x="1009" y="241"/>
                  <a:pt x="1009" y="234"/>
                  <a:pt x="1009" y="226"/>
                </a:cubicBezTo>
                <a:cubicBezTo>
                  <a:pt x="1053" y="190"/>
                  <a:pt x="1090" y="153"/>
                  <a:pt x="1119" y="102"/>
                </a:cubicBezTo>
                <a:close/>
              </a:path>
            </a:pathLst>
          </a:custGeom>
          <a:solidFill>
            <a:srgbClr val="AAE1F6"/>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53" name="Rectangle 52">
            <a:extLst>
              <a:ext uri="{FF2B5EF4-FFF2-40B4-BE49-F238E27FC236}">
                <a16:creationId xmlns:a16="http://schemas.microsoft.com/office/drawing/2014/main" id="{E9C902B8-9E23-B647-B108-4B06EDF3E6EF}"/>
              </a:ext>
            </a:extLst>
          </p:cNvPr>
          <p:cNvSpPr>
            <a:spLocks noChangeArrowheads="1"/>
          </p:cNvSpPr>
          <p:nvPr/>
        </p:nvSpPr>
        <p:spPr bwMode="auto">
          <a:xfrm>
            <a:off x="8637661" y="3154680"/>
            <a:ext cx="2162278" cy="1487120"/>
          </a:xfrm>
          <a:prstGeom prst="rect">
            <a:avLst/>
          </a:prstGeom>
          <a:solidFill>
            <a:srgbClr val="1EB2EE"/>
          </a:solidFill>
          <a:ln>
            <a:noFill/>
          </a:ln>
        </p:spPr>
        <p:txBody>
          <a:bodyPr vert="horz" wrap="square" lIns="91416" tIns="45708" rIns="91416" bIns="45708" numCol="1" anchor="t" anchorCtr="0" compatLnSpc="1">
            <a:prstTxWarp prst="textNoShape">
              <a:avLst/>
            </a:prstTxWarp>
            <a:noAutofit/>
          </a:bodyPr>
          <a:lstStyle/>
          <a:p>
            <a:endParaRPr lang="en-US" sz="3599" dirty="0"/>
          </a:p>
        </p:txBody>
      </p:sp>
      <p:sp>
        <p:nvSpPr>
          <p:cNvPr id="54" name="Freeform 53">
            <a:extLst>
              <a:ext uri="{FF2B5EF4-FFF2-40B4-BE49-F238E27FC236}">
                <a16:creationId xmlns:a16="http://schemas.microsoft.com/office/drawing/2014/main" id="{98C390BB-A20C-F648-B445-87E4666C862F}"/>
              </a:ext>
            </a:extLst>
          </p:cNvPr>
          <p:cNvSpPr/>
          <p:nvPr/>
        </p:nvSpPr>
        <p:spPr>
          <a:xfrm>
            <a:off x="8366486" y="2739651"/>
            <a:ext cx="2510353" cy="2012839"/>
          </a:xfrm>
          <a:custGeom>
            <a:avLst/>
            <a:gdLst>
              <a:gd name="connsiteX0" fmla="*/ 3539459 w 5020705"/>
              <a:gd name="connsiteY0" fmla="*/ 155491 h 4025677"/>
              <a:gd name="connsiteX1" fmla="*/ 2662181 w 5020705"/>
              <a:gd name="connsiteY1" fmla="*/ 1029328 h 4025677"/>
              <a:gd name="connsiteX2" fmla="*/ 2693098 w 5020705"/>
              <a:gd name="connsiteY2" fmla="*/ 1230388 h 4025677"/>
              <a:gd name="connsiteX3" fmla="*/ 853519 w 5020705"/>
              <a:gd name="connsiteY3" fmla="*/ 294686 h 4025677"/>
              <a:gd name="connsiteX4" fmla="*/ 741444 w 5020705"/>
              <a:gd name="connsiteY4" fmla="*/ 747071 h 4025677"/>
              <a:gd name="connsiteX5" fmla="*/ 1135639 w 5020705"/>
              <a:gd name="connsiteY5" fmla="*/ 1481712 h 4025677"/>
              <a:gd name="connsiteX6" fmla="*/ 710527 w 5020705"/>
              <a:gd name="connsiteY6" fmla="*/ 1369583 h 4025677"/>
              <a:gd name="connsiteX7" fmla="*/ 710527 w 5020705"/>
              <a:gd name="connsiteY7" fmla="*/ 1396649 h 4025677"/>
              <a:gd name="connsiteX8" fmla="*/ 1448677 w 5020705"/>
              <a:gd name="connsiteY8" fmla="*/ 2247286 h 4025677"/>
              <a:gd name="connsiteX9" fmla="*/ 1193609 w 5020705"/>
              <a:gd name="connsiteY9" fmla="*/ 2301418 h 4025677"/>
              <a:gd name="connsiteX10" fmla="*/ 1023564 w 5020705"/>
              <a:gd name="connsiteY10" fmla="*/ 2274352 h 4025677"/>
              <a:gd name="connsiteX11" fmla="*/ 1869925 w 5020705"/>
              <a:gd name="connsiteY11" fmla="*/ 2896864 h 4025677"/>
              <a:gd name="connsiteX12" fmla="*/ 768496 w 5020705"/>
              <a:gd name="connsiteY12" fmla="*/ 3264185 h 4025677"/>
              <a:gd name="connsiteX13" fmla="*/ 544346 w 5020705"/>
              <a:gd name="connsiteY13" fmla="*/ 3264185 h 4025677"/>
              <a:gd name="connsiteX14" fmla="*/ 1900842 w 5020705"/>
              <a:gd name="connsiteY14" fmla="*/ 3658571 h 4025677"/>
              <a:gd name="connsiteX15" fmla="*/ 4443789 w 5020705"/>
              <a:gd name="connsiteY15" fmla="*/ 1145324 h 4025677"/>
              <a:gd name="connsiteX16" fmla="*/ 4443789 w 5020705"/>
              <a:gd name="connsiteY16" fmla="*/ 1029328 h 4025677"/>
              <a:gd name="connsiteX17" fmla="*/ 4868902 w 5020705"/>
              <a:gd name="connsiteY17" fmla="*/ 549878 h 4025677"/>
              <a:gd name="connsiteX18" fmla="*/ 4358767 w 5020705"/>
              <a:gd name="connsiteY18" fmla="*/ 692939 h 4025677"/>
              <a:gd name="connsiteX19" fmla="*/ 4756827 w 5020705"/>
              <a:gd name="connsiteY19" fmla="*/ 213489 h 4025677"/>
              <a:gd name="connsiteX20" fmla="*/ 4188722 w 5020705"/>
              <a:gd name="connsiteY20" fmla="*/ 410683 h 4025677"/>
              <a:gd name="connsiteX21" fmla="*/ 3539459 w 5020705"/>
              <a:gd name="connsiteY21" fmla="*/ 155491 h 4025677"/>
              <a:gd name="connsiteX22" fmla="*/ 0 w 5020705"/>
              <a:gd name="connsiteY22" fmla="*/ 0 h 4025677"/>
              <a:gd name="connsiteX23" fmla="*/ 5020705 w 5020705"/>
              <a:gd name="connsiteY23" fmla="*/ 0 h 4025677"/>
              <a:gd name="connsiteX24" fmla="*/ 5020705 w 5020705"/>
              <a:gd name="connsiteY24" fmla="*/ 4025677 h 4025677"/>
              <a:gd name="connsiteX25" fmla="*/ 0 w 5020705"/>
              <a:gd name="connsiteY25" fmla="*/ 4025677 h 4025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020705" h="4025677">
                <a:moveTo>
                  <a:pt x="3539459" y="155491"/>
                </a:moveTo>
                <a:cubicBezTo>
                  <a:pt x="3060241" y="155491"/>
                  <a:pt x="2662181" y="549878"/>
                  <a:pt x="2662181" y="1029328"/>
                </a:cubicBezTo>
                <a:cubicBezTo>
                  <a:pt x="2662181" y="1087326"/>
                  <a:pt x="2662181" y="1172390"/>
                  <a:pt x="2693098" y="1230388"/>
                </a:cubicBezTo>
                <a:cubicBezTo>
                  <a:pt x="1954948" y="1199455"/>
                  <a:pt x="1278632" y="832135"/>
                  <a:pt x="853519" y="294686"/>
                </a:cubicBezTo>
                <a:cubicBezTo>
                  <a:pt x="768496" y="437748"/>
                  <a:pt x="741444" y="580810"/>
                  <a:pt x="741444" y="747071"/>
                </a:cubicBezTo>
                <a:cubicBezTo>
                  <a:pt x="741444" y="1060260"/>
                  <a:pt x="880572" y="1342517"/>
                  <a:pt x="1135639" y="1481712"/>
                </a:cubicBezTo>
                <a:cubicBezTo>
                  <a:pt x="996512" y="1481712"/>
                  <a:pt x="853519" y="1454647"/>
                  <a:pt x="710527" y="1369583"/>
                </a:cubicBezTo>
                <a:cubicBezTo>
                  <a:pt x="710527" y="1396649"/>
                  <a:pt x="710527" y="1396649"/>
                  <a:pt x="710527" y="1396649"/>
                </a:cubicBezTo>
                <a:cubicBezTo>
                  <a:pt x="710527" y="1821967"/>
                  <a:pt x="1023564" y="2189288"/>
                  <a:pt x="1448677" y="2247286"/>
                </a:cubicBezTo>
                <a:cubicBezTo>
                  <a:pt x="1363654" y="2274352"/>
                  <a:pt x="1278632" y="2301418"/>
                  <a:pt x="1193609" y="2301418"/>
                </a:cubicBezTo>
                <a:cubicBezTo>
                  <a:pt x="1135639" y="2301418"/>
                  <a:pt x="1081534" y="2274352"/>
                  <a:pt x="1023564" y="2274352"/>
                </a:cubicBezTo>
                <a:cubicBezTo>
                  <a:pt x="1135639" y="2614607"/>
                  <a:pt x="1475730" y="2896864"/>
                  <a:pt x="1869925" y="2896864"/>
                </a:cubicBezTo>
                <a:cubicBezTo>
                  <a:pt x="1560752" y="3121123"/>
                  <a:pt x="1193609" y="3264185"/>
                  <a:pt x="768496" y="3264185"/>
                </a:cubicBezTo>
                <a:cubicBezTo>
                  <a:pt x="683474" y="3264185"/>
                  <a:pt x="629369" y="3264185"/>
                  <a:pt x="544346" y="3264185"/>
                </a:cubicBezTo>
                <a:cubicBezTo>
                  <a:pt x="938542" y="3515509"/>
                  <a:pt x="1417760" y="3658571"/>
                  <a:pt x="1900842" y="3658571"/>
                </a:cubicBezTo>
                <a:cubicBezTo>
                  <a:pt x="3539459" y="3658571"/>
                  <a:pt x="4443789" y="2301418"/>
                  <a:pt x="4443789" y="1145324"/>
                </a:cubicBezTo>
                <a:cubicBezTo>
                  <a:pt x="4443789" y="1087326"/>
                  <a:pt x="4443789" y="1060260"/>
                  <a:pt x="4443789" y="1029328"/>
                </a:cubicBezTo>
                <a:cubicBezTo>
                  <a:pt x="4613834" y="890133"/>
                  <a:pt x="4756827" y="747071"/>
                  <a:pt x="4868902" y="549878"/>
                </a:cubicBezTo>
                <a:cubicBezTo>
                  <a:pt x="4725910" y="634941"/>
                  <a:pt x="4555865" y="662007"/>
                  <a:pt x="4358767" y="692939"/>
                </a:cubicBezTo>
                <a:cubicBezTo>
                  <a:pt x="4555865" y="580810"/>
                  <a:pt x="4698857" y="410683"/>
                  <a:pt x="4756827" y="213489"/>
                </a:cubicBezTo>
                <a:cubicBezTo>
                  <a:pt x="4586782" y="294686"/>
                  <a:pt x="4389684" y="379750"/>
                  <a:pt x="4188722" y="410683"/>
                </a:cubicBezTo>
                <a:cubicBezTo>
                  <a:pt x="4049594" y="240555"/>
                  <a:pt x="3794526" y="155491"/>
                  <a:pt x="3539459" y="155491"/>
                </a:cubicBezTo>
                <a:close/>
                <a:moveTo>
                  <a:pt x="0" y="0"/>
                </a:moveTo>
                <a:lnTo>
                  <a:pt x="5020705" y="0"/>
                </a:lnTo>
                <a:lnTo>
                  <a:pt x="5020705" y="4025677"/>
                </a:lnTo>
                <a:lnTo>
                  <a:pt x="0" y="402567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33" name="Titel 1">
            <a:extLst>
              <a:ext uri="{FF2B5EF4-FFF2-40B4-BE49-F238E27FC236}">
                <a16:creationId xmlns:a16="http://schemas.microsoft.com/office/drawing/2014/main" id="{047EC7C6-6F25-4D36-B820-66B25493C097}"/>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Twitter Analytics</a:t>
            </a:r>
          </a:p>
        </p:txBody>
      </p:sp>
    </p:spTree>
    <p:custDataLst>
      <p:tags r:id="rId1"/>
    </p:custDataLst>
    <p:extLst>
      <p:ext uri="{BB962C8B-B14F-4D97-AF65-F5344CB8AC3E}">
        <p14:creationId xmlns:p14="http://schemas.microsoft.com/office/powerpoint/2010/main" val="15923744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7" name="Gruppieren 86">
            <a:extLst>
              <a:ext uri="{FF2B5EF4-FFF2-40B4-BE49-F238E27FC236}">
                <a16:creationId xmlns:a16="http://schemas.microsoft.com/office/drawing/2014/main" id="{A15D2483-7350-44CC-84BF-6F9509183DA5}"/>
              </a:ext>
            </a:extLst>
          </p:cNvPr>
          <p:cNvGrpSpPr/>
          <p:nvPr/>
        </p:nvGrpSpPr>
        <p:grpSpPr>
          <a:xfrm>
            <a:off x="3459147" y="1391368"/>
            <a:ext cx="5392821" cy="5047264"/>
            <a:chOff x="3579558" y="1272559"/>
            <a:chExt cx="5032883" cy="5032883"/>
          </a:xfrm>
          <a:solidFill>
            <a:schemeClr val="accent1"/>
          </a:solidFill>
        </p:grpSpPr>
        <p:sp>
          <p:nvSpPr>
            <p:cNvPr id="88" name="Pfeil: gebogen 87">
              <a:extLst>
                <a:ext uri="{FF2B5EF4-FFF2-40B4-BE49-F238E27FC236}">
                  <a16:creationId xmlns:a16="http://schemas.microsoft.com/office/drawing/2014/main" id="{C7E275AE-D8C6-4E4F-87C3-D4C28243973E}"/>
                </a:ext>
              </a:extLst>
            </p:cNvPr>
            <p:cNvSpPr/>
            <p:nvPr/>
          </p:nvSpPr>
          <p:spPr>
            <a:xfrm>
              <a:off x="3579558" y="1272559"/>
              <a:ext cx="5032883" cy="5032883"/>
            </a:xfrm>
            <a:prstGeom prst="circularArrow">
              <a:avLst>
                <a:gd name="adj1" fmla="val 3994"/>
                <a:gd name="adj2" fmla="val 250559"/>
                <a:gd name="adj3" fmla="val 20572053"/>
                <a:gd name="adj4" fmla="val 18984193"/>
                <a:gd name="adj5" fmla="val 4659"/>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dirty="0"/>
            </a:p>
          </p:txBody>
        </p:sp>
        <p:sp>
          <p:nvSpPr>
            <p:cNvPr id="89" name="Pfeil: gebogen 88">
              <a:extLst>
                <a:ext uri="{FF2B5EF4-FFF2-40B4-BE49-F238E27FC236}">
                  <a16:creationId xmlns:a16="http://schemas.microsoft.com/office/drawing/2014/main" id="{1EA72788-87E8-4CD9-9618-63C404DF3183}"/>
                </a:ext>
              </a:extLst>
            </p:cNvPr>
            <p:cNvSpPr/>
            <p:nvPr/>
          </p:nvSpPr>
          <p:spPr>
            <a:xfrm>
              <a:off x="3579558" y="1272559"/>
              <a:ext cx="5032883" cy="5032883"/>
            </a:xfrm>
            <a:prstGeom prst="circularArrow">
              <a:avLst>
                <a:gd name="adj1" fmla="val 3994"/>
                <a:gd name="adj2" fmla="val 250559"/>
                <a:gd name="adj3" fmla="val 2365248"/>
                <a:gd name="adj4" fmla="val 777388"/>
                <a:gd name="adj5" fmla="val 4659"/>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dirty="0"/>
            </a:p>
          </p:txBody>
        </p:sp>
        <p:sp>
          <p:nvSpPr>
            <p:cNvPr id="90" name="Pfeil: gebogen 89">
              <a:extLst>
                <a:ext uri="{FF2B5EF4-FFF2-40B4-BE49-F238E27FC236}">
                  <a16:creationId xmlns:a16="http://schemas.microsoft.com/office/drawing/2014/main" id="{6C4866FF-5BA7-453F-895B-74E11EC5B6A1}"/>
                </a:ext>
              </a:extLst>
            </p:cNvPr>
            <p:cNvSpPr/>
            <p:nvPr/>
          </p:nvSpPr>
          <p:spPr>
            <a:xfrm>
              <a:off x="3579558" y="1272559"/>
              <a:ext cx="5032883" cy="5032883"/>
            </a:xfrm>
            <a:prstGeom prst="circularArrow">
              <a:avLst>
                <a:gd name="adj1" fmla="val 3994"/>
                <a:gd name="adj2" fmla="val 250559"/>
                <a:gd name="adj3" fmla="val 6109985"/>
                <a:gd name="adj4" fmla="val 4439456"/>
                <a:gd name="adj5" fmla="val 4659"/>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dirty="0"/>
            </a:p>
          </p:txBody>
        </p:sp>
        <p:sp>
          <p:nvSpPr>
            <p:cNvPr id="91" name="Pfeil: gebogen 90">
              <a:extLst>
                <a:ext uri="{FF2B5EF4-FFF2-40B4-BE49-F238E27FC236}">
                  <a16:creationId xmlns:a16="http://schemas.microsoft.com/office/drawing/2014/main" id="{724EE207-B038-43E7-AE87-06107E0AA8DD}"/>
                </a:ext>
              </a:extLst>
            </p:cNvPr>
            <p:cNvSpPr/>
            <p:nvPr/>
          </p:nvSpPr>
          <p:spPr>
            <a:xfrm>
              <a:off x="3579558" y="1272559"/>
              <a:ext cx="5032883" cy="5032883"/>
            </a:xfrm>
            <a:prstGeom prst="circularArrow">
              <a:avLst>
                <a:gd name="adj1" fmla="val 3994"/>
                <a:gd name="adj2" fmla="val 250559"/>
                <a:gd name="adj3" fmla="val 9772053"/>
                <a:gd name="adj4" fmla="val 8184193"/>
                <a:gd name="adj5" fmla="val 4659"/>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dirty="0"/>
            </a:p>
          </p:txBody>
        </p:sp>
        <p:sp>
          <p:nvSpPr>
            <p:cNvPr id="92" name="Pfeil: gebogen 91">
              <a:extLst>
                <a:ext uri="{FF2B5EF4-FFF2-40B4-BE49-F238E27FC236}">
                  <a16:creationId xmlns:a16="http://schemas.microsoft.com/office/drawing/2014/main" id="{3CCAA668-4622-4496-92E5-372ED207BFB9}"/>
                </a:ext>
              </a:extLst>
            </p:cNvPr>
            <p:cNvSpPr/>
            <p:nvPr/>
          </p:nvSpPr>
          <p:spPr>
            <a:xfrm>
              <a:off x="3579558" y="1272559"/>
              <a:ext cx="5032883" cy="5032883"/>
            </a:xfrm>
            <a:prstGeom prst="circularArrow">
              <a:avLst>
                <a:gd name="adj1" fmla="val 3994"/>
                <a:gd name="adj2" fmla="val 250559"/>
                <a:gd name="adj3" fmla="val 13165248"/>
                <a:gd name="adj4" fmla="val 11577388"/>
                <a:gd name="adj5" fmla="val 4659"/>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dirty="0"/>
            </a:p>
          </p:txBody>
        </p:sp>
        <p:sp>
          <p:nvSpPr>
            <p:cNvPr id="93" name="Pfeil: gebogen 92">
              <a:extLst>
                <a:ext uri="{FF2B5EF4-FFF2-40B4-BE49-F238E27FC236}">
                  <a16:creationId xmlns:a16="http://schemas.microsoft.com/office/drawing/2014/main" id="{DC6DFE2A-1161-4D78-8EA1-162191CF0D37}"/>
                </a:ext>
              </a:extLst>
            </p:cNvPr>
            <p:cNvSpPr/>
            <p:nvPr/>
          </p:nvSpPr>
          <p:spPr>
            <a:xfrm>
              <a:off x="3579558" y="1272559"/>
              <a:ext cx="5032883" cy="5032883"/>
            </a:xfrm>
            <a:prstGeom prst="circularArrow">
              <a:avLst>
                <a:gd name="adj1" fmla="val 3994"/>
                <a:gd name="adj2" fmla="val 250559"/>
                <a:gd name="adj3" fmla="val 16909985"/>
                <a:gd name="adj4" fmla="val 15239456"/>
                <a:gd name="adj5" fmla="val 4659"/>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dirty="0"/>
            </a:p>
          </p:txBody>
        </p:sp>
      </p:grpSp>
      <p:pic>
        <p:nvPicPr>
          <p:cNvPr id="95" name="MIO_PICTOGRAM_PART2" descr="Glühlampe">
            <a:extLst>
              <a:ext uri="{FF2B5EF4-FFF2-40B4-BE49-F238E27FC236}">
                <a16:creationId xmlns:a16="http://schemas.microsoft.com/office/drawing/2014/main" id="{1D87CDDB-4196-45E9-A549-F34F528141C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532781" y="5520289"/>
            <a:ext cx="665946" cy="623274"/>
          </a:xfrm>
          <a:prstGeom prst="rect">
            <a:avLst/>
          </a:prstGeom>
        </p:spPr>
      </p:pic>
      <p:pic>
        <p:nvPicPr>
          <p:cNvPr id="97" name="MIO_PICTOGRAM_PART2" descr="Forschung">
            <a:extLst>
              <a:ext uri="{FF2B5EF4-FFF2-40B4-BE49-F238E27FC236}">
                <a16:creationId xmlns:a16="http://schemas.microsoft.com/office/drawing/2014/main" id="{BC354377-4F38-44A1-971B-0B105266822A}"/>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119934" y="5503181"/>
            <a:ext cx="665946" cy="623274"/>
          </a:xfrm>
          <a:prstGeom prst="rect">
            <a:avLst/>
          </a:prstGeom>
        </p:spPr>
      </p:pic>
      <p:pic>
        <p:nvPicPr>
          <p:cNvPr id="99" name="MIO_PICTOGRAM_PART2" descr="Raute">
            <a:extLst>
              <a:ext uri="{FF2B5EF4-FFF2-40B4-BE49-F238E27FC236}">
                <a16:creationId xmlns:a16="http://schemas.microsoft.com/office/drawing/2014/main" id="{663EAD1A-3D43-4896-BC3F-4BFA98DC048A}"/>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532780" y="1716908"/>
            <a:ext cx="665946" cy="623274"/>
          </a:xfrm>
          <a:prstGeom prst="rect">
            <a:avLst/>
          </a:prstGeom>
        </p:spPr>
      </p:pic>
      <p:pic>
        <p:nvPicPr>
          <p:cNvPr id="101" name="MIO_PICTOGRAM_PART2" descr="Puzzle">
            <a:extLst>
              <a:ext uri="{FF2B5EF4-FFF2-40B4-BE49-F238E27FC236}">
                <a16:creationId xmlns:a16="http://schemas.microsoft.com/office/drawing/2014/main" id="{B03E119F-22D5-451D-AEA4-7EB65C8812EA}"/>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186021" y="3610872"/>
            <a:ext cx="665946" cy="623274"/>
          </a:xfrm>
          <a:prstGeom prst="rect">
            <a:avLst/>
          </a:prstGeom>
        </p:spPr>
      </p:pic>
      <p:pic>
        <p:nvPicPr>
          <p:cNvPr id="103" name="MIO_PICTOGRAM_PART2" descr="Rakete">
            <a:extLst>
              <a:ext uri="{FF2B5EF4-FFF2-40B4-BE49-F238E27FC236}">
                <a16:creationId xmlns:a16="http://schemas.microsoft.com/office/drawing/2014/main" id="{7CA379C3-879D-46A4-A758-544CF52014FE}"/>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957067" y="1708740"/>
            <a:ext cx="665946" cy="623274"/>
          </a:xfrm>
          <a:prstGeom prst="rect">
            <a:avLst/>
          </a:prstGeom>
        </p:spPr>
      </p:pic>
      <p:pic>
        <p:nvPicPr>
          <p:cNvPr id="105" name="MIO_PICTOGRAM_PART2" descr="Besprechung">
            <a:extLst>
              <a:ext uri="{FF2B5EF4-FFF2-40B4-BE49-F238E27FC236}">
                <a16:creationId xmlns:a16="http://schemas.microsoft.com/office/drawing/2014/main" id="{772E236C-C1BC-40E2-AE60-09CC7134C832}"/>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340028" y="3659326"/>
            <a:ext cx="665946" cy="623274"/>
          </a:xfrm>
          <a:prstGeom prst="rect">
            <a:avLst/>
          </a:prstGeom>
        </p:spPr>
      </p:pic>
      <p:sp>
        <p:nvSpPr>
          <p:cNvPr id="76" name="Textfeld">
            <a:extLst>
              <a:ext uri="{FF2B5EF4-FFF2-40B4-BE49-F238E27FC236}">
                <a16:creationId xmlns:a16="http://schemas.microsoft.com/office/drawing/2014/main" id="{25BEDC69-841D-4659-A885-E6ABFC9B28F6}"/>
              </a:ext>
            </a:extLst>
          </p:cNvPr>
          <p:cNvSpPr txBox="1"/>
          <p:nvPr/>
        </p:nvSpPr>
        <p:spPr>
          <a:xfrm>
            <a:off x="9226248" y="5423832"/>
            <a:ext cx="2507351" cy="1018368"/>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sz="1400" dirty="0"/>
              <a:t>Lorem ipsum dolor sit amet, consectetuer elit. Aenean commodo ligula eget dolor. Aenean massa.</a:t>
            </a:r>
          </a:p>
        </p:txBody>
      </p:sp>
      <p:sp>
        <p:nvSpPr>
          <p:cNvPr id="77" name="MIO_TEXTBOX_SUBHEADER">
            <a:extLst>
              <a:ext uri="{FF2B5EF4-FFF2-40B4-BE49-F238E27FC236}">
                <a16:creationId xmlns:a16="http://schemas.microsoft.com/office/drawing/2014/main" id="{6491A74C-B377-4F6C-8554-BA549453A80D}"/>
              </a:ext>
            </a:extLst>
          </p:cNvPr>
          <p:cNvSpPr txBox="1"/>
          <p:nvPr/>
        </p:nvSpPr>
        <p:spPr>
          <a:xfrm>
            <a:off x="9226248" y="5046668"/>
            <a:ext cx="2507351" cy="268852"/>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400" dirty="0">
                <a:solidFill>
                  <a:schemeClr val="tx1"/>
                </a:solidFill>
              </a:rPr>
              <a:t>Lorem ipsum</a:t>
            </a:r>
          </a:p>
        </p:txBody>
      </p:sp>
      <p:sp>
        <p:nvSpPr>
          <p:cNvPr id="73" name="Textfeld">
            <a:extLst>
              <a:ext uri="{FF2B5EF4-FFF2-40B4-BE49-F238E27FC236}">
                <a16:creationId xmlns:a16="http://schemas.microsoft.com/office/drawing/2014/main" id="{AF4D8D93-932D-4A15-946C-85347CA4B5F0}"/>
              </a:ext>
            </a:extLst>
          </p:cNvPr>
          <p:cNvSpPr txBox="1"/>
          <p:nvPr/>
        </p:nvSpPr>
        <p:spPr>
          <a:xfrm>
            <a:off x="9226248" y="3594398"/>
            <a:ext cx="2507351" cy="1018368"/>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sz="1400" dirty="0"/>
              <a:t>Lorem ipsum dolor sit amet, consectetuer elit. Aenean commodo ligula eget dolor. Aenean massa.</a:t>
            </a:r>
          </a:p>
        </p:txBody>
      </p:sp>
      <p:sp>
        <p:nvSpPr>
          <p:cNvPr id="74" name="MIO_TEXTBOX_SUBHEADER">
            <a:extLst>
              <a:ext uri="{FF2B5EF4-FFF2-40B4-BE49-F238E27FC236}">
                <a16:creationId xmlns:a16="http://schemas.microsoft.com/office/drawing/2014/main" id="{29B5D4FB-349E-466E-8CFD-6013739E811B}"/>
              </a:ext>
            </a:extLst>
          </p:cNvPr>
          <p:cNvSpPr txBox="1"/>
          <p:nvPr/>
        </p:nvSpPr>
        <p:spPr>
          <a:xfrm>
            <a:off x="9226248" y="3217233"/>
            <a:ext cx="2507351" cy="268852"/>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400" dirty="0">
                <a:solidFill>
                  <a:schemeClr val="tx1"/>
                </a:solidFill>
              </a:rPr>
              <a:t>Lorem ipsum</a:t>
            </a:r>
          </a:p>
        </p:txBody>
      </p:sp>
      <p:sp>
        <p:nvSpPr>
          <p:cNvPr id="33" name="Textfeld">
            <a:extLst>
              <a:ext uri="{FF2B5EF4-FFF2-40B4-BE49-F238E27FC236}">
                <a16:creationId xmlns:a16="http://schemas.microsoft.com/office/drawing/2014/main" id="{64DB907E-9675-4D97-8D66-77EA998F4971}"/>
              </a:ext>
            </a:extLst>
          </p:cNvPr>
          <p:cNvSpPr txBox="1"/>
          <p:nvPr/>
        </p:nvSpPr>
        <p:spPr>
          <a:xfrm>
            <a:off x="9226248" y="1764965"/>
            <a:ext cx="2507351" cy="1018368"/>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sz="1400" dirty="0"/>
              <a:t>Lorem ipsum dolor sit amet, consectetuer elit. Aenean commodo ligula eget dolor. Aenean massa.</a:t>
            </a:r>
          </a:p>
        </p:txBody>
      </p:sp>
      <p:sp>
        <p:nvSpPr>
          <p:cNvPr id="34" name="MIO_TEXTBOX_SUBHEADER">
            <a:extLst>
              <a:ext uri="{FF2B5EF4-FFF2-40B4-BE49-F238E27FC236}">
                <a16:creationId xmlns:a16="http://schemas.microsoft.com/office/drawing/2014/main" id="{4FDFA190-0EFC-443D-875E-9B7DDE58FD39}"/>
              </a:ext>
            </a:extLst>
          </p:cNvPr>
          <p:cNvSpPr txBox="1"/>
          <p:nvPr/>
        </p:nvSpPr>
        <p:spPr>
          <a:xfrm>
            <a:off x="9226248" y="1387800"/>
            <a:ext cx="2507351" cy="268852"/>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r>
              <a:rPr lang="en-US" sz="1400" dirty="0">
                <a:solidFill>
                  <a:schemeClr val="tx1"/>
                </a:solidFill>
              </a:rPr>
              <a:t>Lorem ipsum</a:t>
            </a:r>
          </a:p>
        </p:txBody>
      </p:sp>
      <p:sp>
        <p:nvSpPr>
          <p:cNvPr id="79" name="Textfeld">
            <a:extLst>
              <a:ext uri="{FF2B5EF4-FFF2-40B4-BE49-F238E27FC236}">
                <a16:creationId xmlns:a16="http://schemas.microsoft.com/office/drawing/2014/main" id="{311E76DE-D58E-4B40-A513-0352741633C5}"/>
              </a:ext>
            </a:extLst>
          </p:cNvPr>
          <p:cNvSpPr txBox="1"/>
          <p:nvPr/>
        </p:nvSpPr>
        <p:spPr>
          <a:xfrm>
            <a:off x="458399" y="5423832"/>
            <a:ext cx="2507351" cy="1018368"/>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lgn="r">
              <a:buSzPct val="100000"/>
              <a:buNone/>
            </a:pPr>
            <a:r>
              <a:rPr lang="en-US" sz="1400" dirty="0"/>
              <a:t>Lorem ipsum dolor sit amet, consectetuer elit. Aenean commodo ligula eget dolor. Aenean massa.</a:t>
            </a:r>
          </a:p>
        </p:txBody>
      </p:sp>
      <p:sp>
        <p:nvSpPr>
          <p:cNvPr id="80" name="MIO_TEXTBOX_SUBHEADER">
            <a:extLst>
              <a:ext uri="{FF2B5EF4-FFF2-40B4-BE49-F238E27FC236}">
                <a16:creationId xmlns:a16="http://schemas.microsoft.com/office/drawing/2014/main" id="{134D4409-16DC-4B31-91A0-2D961F37E05D}"/>
              </a:ext>
            </a:extLst>
          </p:cNvPr>
          <p:cNvSpPr txBox="1"/>
          <p:nvPr/>
        </p:nvSpPr>
        <p:spPr>
          <a:xfrm>
            <a:off x="458399" y="5046668"/>
            <a:ext cx="2507351" cy="268852"/>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r"/>
            <a:r>
              <a:rPr lang="en-US" sz="1400" dirty="0">
                <a:solidFill>
                  <a:schemeClr val="tx1"/>
                </a:solidFill>
              </a:rPr>
              <a:t>Lorem ipsum</a:t>
            </a:r>
          </a:p>
        </p:txBody>
      </p:sp>
      <p:sp>
        <p:nvSpPr>
          <p:cNvPr id="82" name="Textfeld">
            <a:extLst>
              <a:ext uri="{FF2B5EF4-FFF2-40B4-BE49-F238E27FC236}">
                <a16:creationId xmlns:a16="http://schemas.microsoft.com/office/drawing/2014/main" id="{F230E209-8417-409F-B677-D3A3D6C5BC61}"/>
              </a:ext>
            </a:extLst>
          </p:cNvPr>
          <p:cNvSpPr txBox="1"/>
          <p:nvPr/>
        </p:nvSpPr>
        <p:spPr>
          <a:xfrm>
            <a:off x="458399" y="3594398"/>
            <a:ext cx="2507351" cy="1018368"/>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lgn="r">
              <a:buSzPct val="100000"/>
              <a:buNone/>
            </a:pPr>
            <a:r>
              <a:rPr lang="en-US" sz="1400" dirty="0"/>
              <a:t>Lorem ipsum dolor sit amet, consectetuer elit. Aenean commodo ligula eget dolor. Aenean massa.</a:t>
            </a:r>
          </a:p>
        </p:txBody>
      </p:sp>
      <p:sp>
        <p:nvSpPr>
          <p:cNvPr id="83" name="MIO_TEXTBOX_SUBHEADER">
            <a:extLst>
              <a:ext uri="{FF2B5EF4-FFF2-40B4-BE49-F238E27FC236}">
                <a16:creationId xmlns:a16="http://schemas.microsoft.com/office/drawing/2014/main" id="{74788BA8-F57C-4996-9214-3D0290DA87CD}"/>
              </a:ext>
            </a:extLst>
          </p:cNvPr>
          <p:cNvSpPr txBox="1"/>
          <p:nvPr/>
        </p:nvSpPr>
        <p:spPr>
          <a:xfrm>
            <a:off x="458399" y="3217233"/>
            <a:ext cx="2507351" cy="268852"/>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r"/>
            <a:r>
              <a:rPr lang="en-US" sz="1400" dirty="0">
                <a:solidFill>
                  <a:schemeClr val="tx1"/>
                </a:solidFill>
              </a:rPr>
              <a:t>Lorem ipsum</a:t>
            </a:r>
          </a:p>
        </p:txBody>
      </p:sp>
      <p:sp>
        <p:nvSpPr>
          <p:cNvPr id="85" name="Textfeld">
            <a:extLst>
              <a:ext uri="{FF2B5EF4-FFF2-40B4-BE49-F238E27FC236}">
                <a16:creationId xmlns:a16="http://schemas.microsoft.com/office/drawing/2014/main" id="{4BB517AF-F7C5-47F5-A57F-D1482B8D1B39}"/>
              </a:ext>
            </a:extLst>
          </p:cNvPr>
          <p:cNvSpPr txBox="1"/>
          <p:nvPr/>
        </p:nvSpPr>
        <p:spPr>
          <a:xfrm>
            <a:off x="458399" y="1764965"/>
            <a:ext cx="2507351" cy="1018368"/>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lgn="r">
              <a:buSzPct val="100000"/>
              <a:buNone/>
            </a:pPr>
            <a:r>
              <a:rPr lang="en-US" sz="1400" dirty="0"/>
              <a:t>Lorem ipsum dolor sit amet, consectetuer elit. Aenean commodo ligula eget dolor. Aenean massa.</a:t>
            </a:r>
          </a:p>
        </p:txBody>
      </p:sp>
      <p:sp>
        <p:nvSpPr>
          <p:cNvPr id="86" name="MIO_TEXTBOX_SUBHEADER">
            <a:extLst>
              <a:ext uri="{FF2B5EF4-FFF2-40B4-BE49-F238E27FC236}">
                <a16:creationId xmlns:a16="http://schemas.microsoft.com/office/drawing/2014/main" id="{426BBF87-5845-4527-8C64-053226F749FE}"/>
              </a:ext>
            </a:extLst>
          </p:cNvPr>
          <p:cNvSpPr txBox="1"/>
          <p:nvPr/>
        </p:nvSpPr>
        <p:spPr>
          <a:xfrm>
            <a:off x="458399" y="1387800"/>
            <a:ext cx="2507351" cy="268852"/>
          </a:xfrm>
          <a:prstGeom prst="rect">
            <a:avLst/>
          </a:prstGeom>
          <a:noFill/>
        </p:spPr>
        <p:txBody>
          <a:bodyPr wrap="square" lIns="0" tIns="0" rIns="0" bIns="0" rtlCol="0">
            <a:noAutofit/>
          </a:bodyPr>
          <a:lstStyle>
            <a:defPPr>
              <a:defRPr lang="de-DE"/>
            </a:defPPr>
            <a:lvl1pPr>
              <a:lnSpc>
                <a:spcPct val="120000"/>
              </a:lnSpc>
              <a:spcBef>
                <a:spcPts val="500"/>
              </a:spcBef>
              <a:buClr>
                <a:schemeClr val="accent1"/>
              </a:buClr>
              <a:buSzPct val="100000"/>
              <a:defRPr sz="2000">
                <a:solidFill>
                  <a:schemeClr val="tx2"/>
                </a:solidFill>
                <a:latin typeface="Segoe UI Semibold" panose="020B0702040204020203" pitchFamily="34" charset="0"/>
              </a:defRPr>
            </a:lvl1pPr>
          </a:lstStyle>
          <a:p>
            <a:pPr algn="r"/>
            <a:r>
              <a:rPr lang="en-US" sz="1400" dirty="0">
                <a:solidFill>
                  <a:schemeClr val="tx1"/>
                </a:solidFill>
              </a:rPr>
              <a:t>Lorem ipsum</a:t>
            </a:r>
          </a:p>
        </p:txBody>
      </p:sp>
      <p:pic>
        <p:nvPicPr>
          <p:cNvPr id="107" name="MIO_PICTOGRAM_PART2" descr="Rakete">
            <a:extLst>
              <a:ext uri="{FF2B5EF4-FFF2-40B4-BE49-F238E27FC236}">
                <a16:creationId xmlns:a16="http://schemas.microsoft.com/office/drawing/2014/main" id="{001F018B-0181-44BE-AAB3-EA86DD940501}"/>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1246861" y="1387800"/>
            <a:ext cx="287259" cy="268852"/>
          </a:xfrm>
          <a:prstGeom prst="rect">
            <a:avLst/>
          </a:prstGeom>
        </p:spPr>
      </p:pic>
      <p:pic>
        <p:nvPicPr>
          <p:cNvPr id="108" name="MIO_PICTOGRAM_PART2" descr="Forschung">
            <a:extLst>
              <a:ext uri="{FF2B5EF4-FFF2-40B4-BE49-F238E27FC236}">
                <a16:creationId xmlns:a16="http://schemas.microsoft.com/office/drawing/2014/main" id="{BE71CFC5-04F1-4689-A582-0D05A92A6AF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46861" y="5046668"/>
            <a:ext cx="287259" cy="268852"/>
          </a:xfrm>
          <a:prstGeom prst="rect">
            <a:avLst/>
          </a:prstGeom>
        </p:spPr>
      </p:pic>
      <p:pic>
        <p:nvPicPr>
          <p:cNvPr id="109" name="MIO_PICTOGRAM_PART2" descr="Puzzle">
            <a:extLst>
              <a:ext uri="{FF2B5EF4-FFF2-40B4-BE49-F238E27FC236}">
                <a16:creationId xmlns:a16="http://schemas.microsoft.com/office/drawing/2014/main" id="{93B2E515-89A3-423B-97CC-31D3941CAF41}"/>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246861" y="3217233"/>
            <a:ext cx="287259" cy="268852"/>
          </a:xfrm>
          <a:prstGeom prst="rect">
            <a:avLst/>
          </a:prstGeom>
        </p:spPr>
      </p:pic>
      <p:pic>
        <p:nvPicPr>
          <p:cNvPr id="110" name="MIO_PICTOGRAM_PART2" descr="Glühlampe">
            <a:extLst>
              <a:ext uri="{FF2B5EF4-FFF2-40B4-BE49-F238E27FC236}">
                <a16:creationId xmlns:a16="http://schemas.microsoft.com/office/drawing/2014/main" id="{10CE5F66-4D21-4AF9-8B01-8243CA9FDD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57877" y="5046668"/>
            <a:ext cx="287259" cy="268852"/>
          </a:xfrm>
          <a:prstGeom prst="rect">
            <a:avLst/>
          </a:prstGeom>
        </p:spPr>
      </p:pic>
      <p:pic>
        <p:nvPicPr>
          <p:cNvPr id="111" name="MIO_PICTOGRAM_PART2" descr="Raute">
            <a:extLst>
              <a:ext uri="{FF2B5EF4-FFF2-40B4-BE49-F238E27FC236}">
                <a16:creationId xmlns:a16="http://schemas.microsoft.com/office/drawing/2014/main" id="{4748387A-E1FE-4BD7-A948-BF18D1A621E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57877" y="1387800"/>
            <a:ext cx="287259" cy="268852"/>
          </a:xfrm>
          <a:prstGeom prst="rect">
            <a:avLst/>
          </a:prstGeom>
        </p:spPr>
      </p:pic>
      <p:pic>
        <p:nvPicPr>
          <p:cNvPr id="112" name="MIO_PICTOGRAM_PART2" descr="Besprechung">
            <a:extLst>
              <a:ext uri="{FF2B5EF4-FFF2-40B4-BE49-F238E27FC236}">
                <a16:creationId xmlns:a16="http://schemas.microsoft.com/office/drawing/2014/main" id="{09257EC7-C49C-43FF-A875-BBD3C37646ED}"/>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57877" y="3217233"/>
            <a:ext cx="287259" cy="268852"/>
          </a:xfrm>
          <a:prstGeom prst="rect">
            <a:avLst/>
          </a:prstGeom>
        </p:spPr>
      </p:pic>
      <p:sp>
        <p:nvSpPr>
          <p:cNvPr id="39" name="Titel 1">
            <a:extLst>
              <a:ext uri="{FF2B5EF4-FFF2-40B4-BE49-F238E27FC236}">
                <a16:creationId xmlns:a16="http://schemas.microsoft.com/office/drawing/2014/main" id="{E6027677-553D-48AF-BC88-220EBA30280A}"/>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Process circle</a:t>
            </a:r>
          </a:p>
        </p:txBody>
      </p:sp>
    </p:spTree>
    <p:custDataLst>
      <p:tags r:id="rId1"/>
    </p:custDataLst>
    <p:extLst>
      <p:ext uri="{BB962C8B-B14F-4D97-AF65-F5344CB8AC3E}">
        <p14:creationId xmlns:p14="http://schemas.microsoft.com/office/powerpoint/2010/main" val="1153757754"/>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44966732"/>
      </p:ext>
    </p:extLst>
  </p:cSld>
  <p:clrMapOvr>
    <a:masterClrMapping/>
  </p:clrMapOvr>
  <mc:AlternateContent xmlns:mc="http://schemas.openxmlformats.org/markup-compatibility/2006" xmlns:p14="http://schemas.microsoft.com/office/powerpoint/2010/main">
    <mc:Choice Requires="p14">
      <p:transition spd="med">
        <p14:pan/>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1B21231D-D91F-4C4A-A943-5FA2B14D7B7E}"/>
              </a:ext>
            </a:extLst>
          </p:cNvPr>
          <p:cNvSpPr>
            <a:spLocks/>
          </p:cNvSpPr>
          <p:nvPr/>
        </p:nvSpPr>
        <p:spPr bwMode="auto">
          <a:xfrm>
            <a:off x="5196373" y="1614382"/>
            <a:ext cx="900184" cy="1127379"/>
          </a:xfrm>
          <a:custGeom>
            <a:avLst/>
            <a:gdLst>
              <a:gd name="T0" fmla="*/ 0 w 393"/>
              <a:gd name="T1" fmla="*/ 162 h 387"/>
              <a:gd name="T2" fmla="*/ 393 w 393"/>
              <a:gd name="T3" fmla="*/ 0 h 387"/>
              <a:gd name="T4" fmla="*/ 393 w 393"/>
              <a:gd name="T5" fmla="*/ 387 h 387"/>
              <a:gd name="T6" fmla="*/ 0 w 393"/>
              <a:gd name="T7" fmla="*/ 387 h 387"/>
              <a:gd name="T8" fmla="*/ 0 w 393"/>
              <a:gd name="T9" fmla="*/ 162 h 387"/>
              <a:gd name="T10" fmla="*/ 0 w 393"/>
              <a:gd name="T11" fmla="*/ 162 h 387"/>
            </a:gdLst>
            <a:ahLst/>
            <a:cxnLst>
              <a:cxn ang="0">
                <a:pos x="T0" y="T1"/>
              </a:cxn>
              <a:cxn ang="0">
                <a:pos x="T2" y="T3"/>
              </a:cxn>
              <a:cxn ang="0">
                <a:pos x="T4" y="T5"/>
              </a:cxn>
              <a:cxn ang="0">
                <a:pos x="T6" y="T7"/>
              </a:cxn>
              <a:cxn ang="0">
                <a:pos x="T8" y="T9"/>
              </a:cxn>
              <a:cxn ang="0">
                <a:pos x="T10" y="T11"/>
              </a:cxn>
            </a:cxnLst>
            <a:rect l="0" t="0" r="r" b="b"/>
            <a:pathLst>
              <a:path w="393" h="387">
                <a:moveTo>
                  <a:pt x="0" y="162"/>
                </a:moveTo>
                <a:lnTo>
                  <a:pt x="393" y="0"/>
                </a:lnTo>
                <a:lnTo>
                  <a:pt x="393" y="387"/>
                </a:lnTo>
                <a:lnTo>
                  <a:pt x="0" y="387"/>
                </a:lnTo>
                <a:lnTo>
                  <a:pt x="0" y="162"/>
                </a:lnTo>
                <a:lnTo>
                  <a:pt x="0" y="162"/>
                </a:lnTo>
                <a:close/>
              </a:path>
            </a:pathLst>
          </a:custGeom>
          <a:solidFill>
            <a:schemeClr val="accent6">
              <a:lumMod val="75000"/>
            </a:schemeClr>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4" name="Freeform 6">
            <a:extLst>
              <a:ext uri="{FF2B5EF4-FFF2-40B4-BE49-F238E27FC236}">
                <a16:creationId xmlns:a16="http://schemas.microsoft.com/office/drawing/2014/main" id="{6A50D528-C1E3-7A42-A014-42D689B2AC01}"/>
              </a:ext>
            </a:extLst>
          </p:cNvPr>
          <p:cNvSpPr>
            <a:spLocks/>
          </p:cNvSpPr>
          <p:nvPr/>
        </p:nvSpPr>
        <p:spPr bwMode="auto">
          <a:xfrm>
            <a:off x="6096556" y="1614382"/>
            <a:ext cx="918508" cy="1127379"/>
          </a:xfrm>
          <a:custGeom>
            <a:avLst/>
            <a:gdLst>
              <a:gd name="T0" fmla="*/ 401 w 401"/>
              <a:gd name="T1" fmla="*/ 162 h 387"/>
              <a:gd name="T2" fmla="*/ 0 w 401"/>
              <a:gd name="T3" fmla="*/ 0 h 387"/>
              <a:gd name="T4" fmla="*/ 0 w 401"/>
              <a:gd name="T5" fmla="*/ 387 h 387"/>
              <a:gd name="T6" fmla="*/ 401 w 401"/>
              <a:gd name="T7" fmla="*/ 387 h 387"/>
              <a:gd name="T8" fmla="*/ 401 w 401"/>
              <a:gd name="T9" fmla="*/ 162 h 387"/>
              <a:gd name="T10" fmla="*/ 401 w 401"/>
              <a:gd name="T11" fmla="*/ 162 h 387"/>
            </a:gdLst>
            <a:ahLst/>
            <a:cxnLst>
              <a:cxn ang="0">
                <a:pos x="T0" y="T1"/>
              </a:cxn>
              <a:cxn ang="0">
                <a:pos x="T2" y="T3"/>
              </a:cxn>
              <a:cxn ang="0">
                <a:pos x="T4" y="T5"/>
              </a:cxn>
              <a:cxn ang="0">
                <a:pos x="T6" y="T7"/>
              </a:cxn>
              <a:cxn ang="0">
                <a:pos x="T8" y="T9"/>
              </a:cxn>
              <a:cxn ang="0">
                <a:pos x="T10" y="T11"/>
              </a:cxn>
            </a:cxnLst>
            <a:rect l="0" t="0" r="r" b="b"/>
            <a:pathLst>
              <a:path w="401" h="387">
                <a:moveTo>
                  <a:pt x="401" y="162"/>
                </a:moveTo>
                <a:lnTo>
                  <a:pt x="0" y="0"/>
                </a:lnTo>
                <a:lnTo>
                  <a:pt x="0" y="387"/>
                </a:lnTo>
                <a:lnTo>
                  <a:pt x="401" y="387"/>
                </a:lnTo>
                <a:lnTo>
                  <a:pt x="401" y="162"/>
                </a:lnTo>
                <a:lnTo>
                  <a:pt x="401" y="162"/>
                </a:lnTo>
                <a:close/>
              </a:path>
            </a:pathLst>
          </a:custGeom>
          <a:solidFill>
            <a:schemeClr val="accent6"/>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6" name="Freeform 5">
            <a:extLst>
              <a:ext uri="{FF2B5EF4-FFF2-40B4-BE49-F238E27FC236}">
                <a16:creationId xmlns:a16="http://schemas.microsoft.com/office/drawing/2014/main" id="{4F137EA6-8FC7-F440-B148-52A5C43CED21}"/>
              </a:ext>
            </a:extLst>
          </p:cNvPr>
          <p:cNvSpPr>
            <a:spLocks/>
          </p:cNvSpPr>
          <p:nvPr/>
        </p:nvSpPr>
        <p:spPr bwMode="auto">
          <a:xfrm>
            <a:off x="4955263" y="2181730"/>
            <a:ext cx="1140499" cy="1428347"/>
          </a:xfrm>
          <a:custGeom>
            <a:avLst/>
            <a:gdLst>
              <a:gd name="T0" fmla="*/ 0 w 393"/>
              <a:gd name="T1" fmla="*/ 162 h 387"/>
              <a:gd name="T2" fmla="*/ 393 w 393"/>
              <a:gd name="T3" fmla="*/ 0 h 387"/>
              <a:gd name="T4" fmla="*/ 393 w 393"/>
              <a:gd name="T5" fmla="*/ 387 h 387"/>
              <a:gd name="T6" fmla="*/ 0 w 393"/>
              <a:gd name="T7" fmla="*/ 387 h 387"/>
              <a:gd name="T8" fmla="*/ 0 w 393"/>
              <a:gd name="T9" fmla="*/ 162 h 387"/>
              <a:gd name="T10" fmla="*/ 0 w 393"/>
              <a:gd name="T11" fmla="*/ 162 h 387"/>
            </a:gdLst>
            <a:ahLst/>
            <a:cxnLst>
              <a:cxn ang="0">
                <a:pos x="T0" y="T1"/>
              </a:cxn>
              <a:cxn ang="0">
                <a:pos x="T2" y="T3"/>
              </a:cxn>
              <a:cxn ang="0">
                <a:pos x="T4" y="T5"/>
              </a:cxn>
              <a:cxn ang="0">
                <a:pos x="T6" y="T7"/>
              </a:cxn>
              <a:cxn ang="0">
                <a:pos x="T8" y="T9"/>
              </a:cxn>
              <a:cxn ang="0">
                <a:pos x="T10" y="T11"/>
              </a:cxn>
            </a:cxnLst>
            <a:rect l="0" t="0" r="r" b="b"/>
            <a:pathLst>
              <a:path w="393" h="387">
                <a:moveTo>
                  <a:pt x="0" y="162"/>
                </a:moveTo>
                <a:lnTo>
                  <a:pt x="393" y="0"/>
                </a:lnTo>
                <a:lnTo>
                  <a:pt x="393" y="387"/>
                </a:lnTo>
                <a:lnTo>
                  <a:pt x="0" y="387"/>
                </a:lnTo>
                <a:lnTo>
                  <a:pt x="0" y="162"/>
                </a:lnTo>
                <a:lnTo>
                  <a:pt x="0" y="162"/>
                </a:lnTo>
                <a:close/>
              </a:path>
            </a:pathLst>
          </a:custGeom>
          <a:solidFill>
            <a:schemeClr val="accent5">
              <a:lumMod val="75000"/>
            </a:schemeClr>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7" name="Freeform 6">
            <a:extLst>
              <a:ext uri="{FF2B5EF4-FFF2-40B4-BE49-F238E27FC236}">
                <a16:creationId xmlns:a16="http://schemas.microsoft.com/office/drawing/2014/main" id="{0DC06598-E73A-7945-86EE-E612C7D3741D}"/>
              </a:ext>
            </a:extLst>
          </p:cNvPr>
          <p:cNvSpPr>
            <a:spLocks/>
          </p:cNvSpPr>
          <p:nvPr/>
        </p:nvSpPr>
        <p:spPr bwMode="auto">
          <a:xfrm>
            <a:off x="6095761" y="2181730"/>
            <a:ext cx="1163716" cy="1428347"/>
          </a:xfrm>
          <a:custGeom>
            <a:avLst/>
            <a:gdLst>
              <a:gd name="T0" fmla="*/ 401 w 401"/>
              <a:gd name="T1" fmla="*/ 162 h 387"/>
              <a:gd name="T2" fmla="*/ 0 w 401"/>
              <a:gd name="T3" fmla="*/ 0 h 387"/>
              <a:gd name="T4" fmla="*/ 0 w 401"/>
              <a:gd name="T5" fmla="*/ 387 h 387"/>
              <a:gd name="T6" fmla="*/ 401 w 401"/>
              <a:gd name="T7" fmla="*/ 387 h 387"/>
              <a:gd name="T8" fmla="*/ 401 w 401"/>
              <a:gd name="T9" fmla="*/ 162 h 387"/>
              <a:gd name="T10" fmla="*/ 401 w 401"/>
              <a:gd name="T11" fmla="*/ 162 h 387"/>
            </a:gdLst>
            <a:ahLst/>
            <a:cxnLst>
              <a:cxn ang="0">
                <a:pos x="T0" y="T1"/>
              </a:cxn>
              <a:cxn ang="0">
                <a:pos x="T2" y="T3"/>
              </a:cxn>
              <a:cxn ang="0">
                <a:pos x="T4" y="T5"/>
              </a:cxn>
              <a:cxn ang="0">
                <a:pos x="T6" y="T7"/>
              </a:cxn>
              <a:cxn ang="0">
                <a:pos x="T8" y="T9"/>
              </a:cxn>
              <a:cxn ang="0">
                <a:pos x="T10" y="T11"/>
              </a:cxn>
            </a:cxnLst>
            <a:rect l="0" t="0" r="r" b="b"/>
            <a:pathLst>
              <a:path w="401" h="387">
                <a:moveTo>
                  <a:pt x="401" y="162"/>
                </a:moveTo>
                <a:lnTo>
                  <a:pt x="0" y="0"/>
                </a:lnTo>
                <a:lnTo>
                  <a:pt x="0" y="387"/>
                </a:lnTo>
                <a:lnTo>
                  <a:pt x="401" y="387"/>
                </a:lnTo>
                <a:lnTo>
                  <a:pt x="401" y="162"/>
                </a:lnTo>
                <a:lnTo>
                  <a:pt x="401" y="162"/>
                </a:lnTo>
                <a:close/>
              </a:path>
            </a:pathLst>
          </a:custGeom>
          <a:solidFill>
            <a:schemeClr val="accent5"/>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9" name="Freeform 7">
            <a:extLst>
              <a:ext uri="{FF2B5EF4-FFF2-40B4-BE49-F238E27FC236}">
                <a16:creationId xmlns:a16="http://schemas.microsoft.com/office/drawing/2014/main" id="{8B771EF9-95A1-D946-B574-DF3FC38B3BC1}"/>
              </a:ext>
            </a:extLst>
          </p:cNvPr>
          <p:cNvSpPr>
            <a:spLocks/>
          </p:cNvSpPr>
          <p:nvPr/>
        </p:nvSpPr>
        <p:spPr bwMode="auto">
          <a:xfrm>
            <a:off x="4560586" y="2956802"/>
            <a:ext cx="1535176" cy="1457874"/>
          </a:xfrm>
          <a:custGeom>
            <a:avLst/>
            <a:gdLst>
              <a:gd name="T0" fmla="*/ 0 w 66"/>
              <a:gd name="T1" fmla="*/ 20 h 49"/>
              <a:gd name="T2" fmla="*/ 66 w 66"/>
              <a:gd name="T3" fmla="*/ 0 h 49"/>
              <a:gd name="T4" fmla="*/ 66 w 66"/>
              <a:gd name="T5" fmla="*/ 49 h 49"/>
              <a:gd name="T6" fmla="*/ 0 w 66"/>
              <a:gd name="T7" fmla="*/ 49 h 49"/>
              <a:gd name="T8" fmla="*/ 0 w 66"/>
              <a:gd name="T9" fmla="*/ 20 h 49"/>
            </a:gdLst>
            <a:ahLst/>
            <a:cxnLst>
              <a:cxn ang="0">
                <a:pos x="T0" y="T1"/>
              </a:cxn>
              <a:cxn ang="0">
                <a:pos x="T2" y="T3"/>
              </a:cxn>
              <a:cxn ang="0">
                <a:pos x="T4" y="T5"/>
              </a:cxn>
              <a:cxn ang="0">
                <a:pos x="T6" y="T7"/>
              </a:cxn>
              <a:cxn ang="0">
                <a:pos x="T8" y="T9"/>
              </a:cxn>
            </a:cxnLst>
            <a:rect l="0" t="0" r="r" b="b"/>
            <a:pathLst>
              <a:path w="66" h="49">
                <a:moveTo>
                  <a:pt x="0" y="20"/>
                </a:moveTo>
                <a:cubicBezTo>
                  <a:pt x="22" y="14"/>
                  <a:pt x="44" y="7"/>
                  <a:pt x="66" y="0"/>
                </a:cubicBezTo>
                <a:cubicBezTo>
                  <a:pt x="66" y="17"/>
                  <a:pt x="66" y="33"/>
                  <a:pt x="66" y="49"/>
                </a:cubicBezTo>
                <a:cubicBezTo>
                  <a:pt x="44" y="49"/>
                  <a:pt x="22" y="49"/>
                  <a:pt x="0" y="49"/>
                </a:cubicBezTo>
                <a:cubicBezTo>
                  <a:pt x="0" y="40"/>
                  <a:pt x="0" y="30"/>
                  <a:pt x="0" y="20"/>
                </a:cubicBezTo>
                <a:close/>
              </a:path>
            </a:pathLst>
          </a:custGeom>
          <a:solidFill>
            <a:schemeClr val="accent4">
              <a:lumMod val="75000"/>
            </a:schemeClr>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10" name="Freeform 8">
            <a:extLst>
              <a:ext uri="{FF2B5EF4-FFF2-40B4-BE49-F238E27FC236}">
                <a16:creationId xmlns:a16="http://schemas.microsoft.com/office/drawing/2014/main" id="{48F57C2A-C8C3-354E-A7DF-66B01BD7027B}"/>
              </a:ext>
            </a:extLst>
          </p:cNvPr>
          <p:cNvSpPr>
            <a:spLocks/>
          </p:cNvSpPr>
          <p:nvPr/>
        </p:nvSpPr>
        <p:spPr bwMode="auto">
          <a:xfrm>
            <a:off x="6095760" y="2956802"/>
            <a:ext cx="1561293" cy="1457874"/>
          </a:xfrm>
          <a:custGeom>
            <a:avLst/>
            <a:gdLst>
              <a:gd name="T0" fmla="*/ 67 w 67"/>
              <a:gd name="T1" fmla="*/ 20 h 49"/>
              <a:gd name="T2" fmla="*/ 0 w 67"/>
              <a:gd name="T3" fmla="*/ 0 h 49"/>
              <a:gd name="T4" fmla="*/ 0 w 67"/>
              <a:gd name="T5" fmla="*/ 49 h 49"/>
              <a:gd name="T6" fmla="*/ 67 w 67"/>
              <a:gd name="T7" fmla="*/ 49 h 49"/>
              <a:gd name="T8" fmla="*/ 67 w 67"/>
              <a:gd name="T9" fmla="*/ 20 h 49"/>
            </a:gdLst>
            <a:ahLst/>
            <a:cxnLst>
              <a:cxn ang="0">
                <a:pos x="T0" y="T1"/>
              </a:cxn>
              <a:cxn ang="0">
                <a:pos x="T2" y="T3"/>
              </a:cxn>
              <a:cxn ang="0">
                <a:pos x="T4" y="T5"/>
              </a:cxn>
              <a:cxn ang="0">
                <a:pos x="T6" y="T7"/>
              </a:cxn>
              <a:cxn ang="0">
                <a:pos x="T8" y="T9"/>
              </a:cxn>
            </a:cxnLst>
            <a:rect l="0" t="0" r="r" b="b"/>
            <a:pathLst>
              <a:path w="67" h="49">
                <a:moveTo>
                  <a:pt x="67" y="20"/>
                </a:moveTo>
                <a:cubicBezTo>
                  <a:pt x="44" y="14"/>
                  <a:pt x="22" y="7"/>
                  <a:pt x="0" y="0"/>
                </a:cubicBezTo>
                <a:cubicBezTo>
                  <a:pt x="0" y="17"/>
                  <a:pt x="0" y="33"/>
                  <a:pt x="0" y="49"/>
                </a:cubicBezTo>
                <a:cubicBezTo>
                  <a:pt x="22" y="49"/>
                  <a:pt x="44" y="49"/>
                  <a:pt x="67" y="49"/>
                </a:cubicBezTo>
                <a:cubicBezTo>
                  <a:pt x="67" y="40"/>
                  <a:pt x="67" y="30"/>
                  <a:pt x="67" y="20"/>
                </a:cubicBezTo>
                <a:close/>
              </a:path>
            </a:pathLst>
          </a:custGeom>
          <a:solidFill>
            <a:schemeClr val="accent4"/>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12" name="Freeform 9">
            <a:extLst>
              <a:ext uri="{FF2B5EF4-FFF2-40B4-BE49-F238E27FC236}">
                <a16:creationId xmlns:a16="http://schemas.microsoft.com/office/drawing/2014/main" id="{D2945FD4-DB26-B142-A612-FA47F0529D3D}"/>
              </a:ext>
            </a:extLst>
          </p:cNvPr>
          <p:cNvSpPr>
            <a:spLocks/>
          </p:cNvSpPr>
          <p:nvPr/>
        </p:nvSpPr>
        <p:spPr bwMode="auto">
          <a:xfrm>
            <a:off x="4163007" y="3761402"/>
            <a:ext cx="1932754" cy="1457874"/>
          </a:xfrm>
          <a:custGeom>
            <a:avLst/>
            <a:gdLst>
              <a:gd name="T0" fmla="*/ 0 w 83"/>
              <a:gd name="T1" fmla="*/ 20 h 49"/>
              <a:gd name="T2" fmla="*/ 83 w 83"/>
              <a:gd name="T3" fmla="*/ 0 h 49"/>
              <a:gd name="T4" fmla="*/ 83 w 83"/>
              <a:gd name="T5" fmla="*/ 49 h 49"/>
              <a:gd name="T6" fmla="*/ 0 w 83"/>
              <a:gd name="T7" fmla="*/ 49 h 49"/>
              <a:gd name="T8" fmla="*/ 0 w 83"/>
              <a:gd name="T9" fmla="*/ 20 h 49"/>
            </a:gdLst>
            <a:ahLst/>
            <a:cxnLst>
              <a:cxn ang="0">
                <a:pos x="T0" y="T1"/>
              </a:cxn>
              <a:cxn ang="0">
                <a:pos x="T2" y="T3"/>
              </a:cxn>
              <a:cxn ang="0">
                <a:pos x="T4" y="T5"/>
              </a:cxn>
              <a:cxn ang="0">
                <a:pos x="T6" y="T7"/>
              </a:cxn>
              <a:cxn ang="0">
                <a:pos x="T8" y="T9"/>
              </a:cxn>
            </a:cxnLst>
            <a:rect l="0" t="0" r="r" b="b"/>
            <a:pathLst>
              <a:path w="83" h="49">
                <a:moveTo>
                  <a:pt x="0" y="20"/>
                </a:moveTo>
                <a:cubicBezTo>
                  <a:pt x="28" y="14"/>
                  <a:pt x="56" y="7"/>
                  <a:pt x="83" y="0"/>
                </a:cubicBezTo>
                <a:cubicBezTo>
                  <a:pt x="83" y="17"/>
                  <a:pt x="83" y="33"/>
                  <a:pt x="83" y="49"/>
                </a:cubicBezTo>
                <a:cubicBezTo>
                  <a:pt x="56" y="49"/>
                  <a:pt x="28" y="49"/>
                  <a:pt x="0" y="49"/>
                </a:cubicBezTo>
                <a:cubicBezTo>
                  <a:pt x="0" y="40"/>
                  <a:pt x="0" y="30"/>
                  <a:pt x="0" y="20"/>
                </a:cubicBezTo>
                <a:close/>
              </a:path>
            </a:pathLst>
          </a:custGeom>
          <a:solidFill>
            <a:schemeClr val="accent3">
              <a:lumMod val="75000"/>
            </a:schemeClr>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13" name="Freeform 10">
            <a:extLst>
              <a:ext uri="{FF2B5EF4-FFF2-40B4-BE49-F238E27FC236}">
                <a16:creationId xmlns:a16="http://schemas.microsoft.com/office/drawing/2014/main" id="{217FEAAA-850F-354D-A4FF-E502185E030D}"/>
              </a:ext>
            </a:extLst>
          </p:cNvPr>
          <p:cNvSpPr>
            <a:spLocks/>
          </p:cNvSpPr>
          <p:nvPr/>
        </p:nvSpPr>
        <p:spPr bwMode="auto">
          <a:xfrm>
            <a:off x="6095761" y="3761402"/>
            <a:ext cx="1932754" cy="1457874"/>
          </a:xfrm>
          <a:custGeom>
            <a:avLst/>
            <a:gdLst>
              <a:gd name="T0" fmla="*/ 83 w 83"/>
              <a:gd name="T1" fmla="*/ 20 h 49"/>
              <a:gd name="T2" fmla="*/ 0 w 83"/>
              <a:gd name="T3" fmla="*/ 0 h 49"/>
              <a:gd name="T4" fmla="*/ 0 w 83"/>
              <a:gd name="T5" fmla="*/ 49 h 49"/>
              <a:gd name="T6" fmla="*/ 83 w 83"/>
              <a:gd name="T7" fmla="*/ 49 h 49"/>
              <a:gd name="T8" fmla="*/ 83 w 83"/>
              <a:gd name="T9" fmla="*/ 20 h 49"/>
            </a:gdLst>
            <a:ahLst/>
            <a:cxnLst>
              <a:cxn ang="0">
                <a:pos x="T0" y="T1"/>
              </a:cxn>
              <a:cxn ang="0">
                <a:pos x="T2" y="T3"/>
              </a:cxn>
              <a:cxn ang="0">
                <a:pos x="T4" y="T5"/>
              </a:cxn>
              <a:cxn ang="0">
                <a:pos x="T6" y="T7"/>
              </a:cxn>
              <a:cxn ang="0">
                <a:pos x="T8" y="T9"/>
              </a:cxn>
            </a:cxnLst>
            <a:rect l="0" t="0" r="r" b="b"/>
            <a:pathLst>
              <a:path w="83" h="49">
                <a:moveTo>
                  <a:pt x="83" y="20"/>
                </a:moveTo>
                <a:cubicBezTo>
                  <a:pt x="56" y="14"/>
                  <a:pt x="28" y="7"/>
                  <a:pt x="0" y="0"/>
                </a:cubicBezTo>
                <a:cubicBezTo>
                  <a:pt x="0" y="17"/>
                  <a:pt x="0" y="33"/>
                  <a:pt x="0" y="49"/>
                </a:cubicBezTo>
                <a:cubicBezTo>
                  <a:pt x="28" y="49"/>
                  <a:pt x="56" y="49"/>
                  <a:pt x="83" y="49"/>
                </a:cubicBezTo>
                <a:cubicBezTo>
                  <a:pt x="83" y="40"/>
                  <a:pt x="83" y="30"/>
                  <a:pt x="83" y="20"/>
                </a:cubicBezTo>
                <a:close/>
              </a:path>
            </a:pathLst>
          </a:custGeom>
          <a:solidFill>
            <a:schemeClr val="accent3"/>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15" name="Freeform 11">
            <a:extLst>
              <a:ext uri="{FF2B5EF4-FFF2-40B4-BE49-F238E27FC236}">
                <a16:creationId xmlns:a16="http://schemas.microsoft.com/office/drawing/2014/main" id="{462F38FD-2ABB-E747-B20A-1630D4EACFBE}"/>
              </a:ext>
            </a:extLst>
          </p:cNvPr>
          <p:cNvSpPr>
            <a:spLocks/>
          </p:cNvSpPr>
          <p:nvPr/>
        </p:nvSpPr>
        <p:spPr bwMode="auto">
          <a:xfrm>
            <a:off x="3768331" y="4566000"/>
            <a:ext cx="2327430" cy="1487401"/>
          </a:xfrm>
          <a:custGeom>
            <a:avLst/>
            <a:gdLst>
              <a:gd name="T0" fmla="*/ 0 w 100"/>
              <a:gd name="T1" fmla="*/ 20 h 50"/>
              <a:gd name="T2" fmla="*/ 100 w 100"/>
              <a:gd name="T3" fmla="*/ 0 h 50"/>
              <a:gd name="T4" fmla="*/ 100 w 100"/>
              <a:gd name="T5" fmla="*/ 50 h 50"/>
              <a:gd name="T6" fmla="*/ 0 w 100"/>
              <a:gd name="T7" fmla="*/ 50 h 50"/>
              <a:gd name="T8" fmla="*/ 0 w 100"/>
              <a:gd name="T9" fmla="*/ 20 h 50"/>
            </a:gdLst>
            <a:ahLst/>
            <a:cxnLst>
              <a:cxn ang="0">
                <a:pos x="T0" y="T1"/>
              </a:cxn>
              <a:cxn ang="0">
                <a:pos x="T2" y="T3"/>
              </a:cxn>
              <a:cxn ang="0">
                <a:pos x="T4" y="T5"/>
              </a:cxn>
              <a:cxn ang="0">
                <a:pos x="T6" y="T7"/>
              </a:cxn>
              <a:cxn ang="0">
                <a:pos x="T8" y="T9"/>
              </a:cxn>
            </a:cxnLst>
            <a:rect l="0" t="0" r="r" b="b"/>
            <a:pathLst>
              <a:path w="100" h="50">
                <a:moveTo>
                  <a:pt x="0" y="20"/>
                </a:moveTo>
                <a:cubicBezTo>
                  <a:pt x="34" y="13"/>
                  <a:pt x="67" y="7"/>
                  <a:pt x="100" y="0"/>
                </a:cubicBezTo>
                <a:cubicBezTo>
                  <a:pt x="100" y="16"/>
                  <a:pt x="100" y="33"/>
                  <a:pt x="100" y="50"/>
                </a:cubicBezTo>
                <a:cubicBezTo>
                  <a:pt x="67" y="50"/>
                  <a:pt x="34" y="50"/>
                  <a:pt x="0" y="50"/>
                </a:cubicBezTo>
                <a:cubicBezTo>
                  <a:pt x="0" y="40"/>
                  <a:pt x="0" y="30"/>
                  <a:pt x="0" y="20"/>
                </a:cubicBezTo>
                <a:close/>
              </a:path>
            </a:pathLst>
          </a:custGeom>
          <a:solidFill>
            <a:schemeClr val="accent2">
              <a:lumMod val="75000"/>
            </a:schemeClr>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16" name="Freeform 12">
            <a:extLst>
              <a:ext uri="{FF2B5EF4-FFF2-40B4-BE49-F238E27FC236}">
                <a16:creationId xmlns:a16="http://schemas.microsoft.com/office/drawing/2014/main" id="{F37BE4E2-972C-BA41-A607-3BA2D92D1264}"/>
              </a:ext>
            </a:extLst>
          </p:cNvPr>
          <p:cNvSpPr>
            <a:spLocks/>
          </p:cNvSpPr>
          <p:nvPr/>
        </p:nvSpPr>
        <p:spPr bwMode="auto">
          <a:xfrm>
            <a:off x="6095761" y="4566000"/>
            <a:ext cx="2330332" cy="1487401"/>
          </a:xfrm>
          <a:custGeom>
            <a:avLst/>
            <a:gdLst>
              <a:gd name="T0" fmla="*/ 100 w 100"/>
              <a:gd name="T1" fmla="*/ 20 h 50"/>
              <a:gd name="T2" fmla="*/ 0 w 100"/>
              <a:gd name="T3" fmla="*/ 0 h 50"/>
              <a:gd name="T4" fmla="*/ 0 w 100"/>
              <a:gd name="T5" fmla="*/ 50 h 50"/>
              <a:gd name="T6" fmla="*/ 100 w 100"/>
              <a:gd name="T7" fmla="*/ 50 h 50"/>
              <a:gd name="T8" fmla="*/ 100 w 100"/>
              <a:gd name="T9" fmla="*/ 20 h 50"/>
            </a:gdLst>
            <a:ahLst/>
            <a:cxnLst>
              <a:cxn ang="0">
                <a:pos x="T0" y="T1"/>
              </a:cxn>
              <a:cxn ang="0">
                <a:pos x="T2" y="T3"/>
              </a:cxn>
              <a:cxn ang="0">
                <a:pos x="T4" y="T5"/>
              </a:cxn>
              <a:cxn ang="0">
                <a:pos x="T6" y="T7"/>
              </a:cxn>
              <a:cxn ang="0">
                <a:pos x="T8" y="T9"/>
              </a:cxn>
            </a:cxnLst>
            <a:rect l="0" t="0" r="r" b="b"/>
            <a:pathLst>
              <a:path w="100" h="50">
                <a:moveTo>
                  <a:pt x="100" y="20"/>
                </a:moveTo>
                <a:cubicBezTo>
                  <a:pt x="67" y="13"/>
                  <a:pt x="33" y="7"/>
                  <a:pt x="0" y="0"/>
                </a:cubicBezTo>
                <a:cubicBezTo>
                  <a:pt x="0" y="16"/>
                  <a:pt x="0" y="33"/>
                  <a:pt x="0" y="50"/>
                </a:cubicBezTo>
                <a:cubicBezTo>
                  <a:pt x="33" y="50"/>
                  <a:pt x="67" y="50"/>
                  <a:pt x="100" y="50"/>
                </a:cubicBezTo>
                <a:cubicBezTo>
                  <a:pt x="100" y="40"/>
                  <a:pt x="100" y="30"/>
                  <a:pt x="100" y="20"/>
                </a:cubicBez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18" name="Freeform 13">
            <a:extLst>
              <a:ext uri="{FF2B5EF4-FFF2-40B4-BE49-F238E27FC236}">
                <a16:creationId xmlns:a16="http://schemas.microsoft.com/office/drawing/2014/main" id="{C514B968-86EC-4945-B6BA-5613697A3BA8}"/>
              </a:ext>
            </a:extLst>
          </p:cNvPr>
          <p:cNvSpPr>
            <a:spLocks/>
          </p:cNvSpPr>
          <p:nvPr/>
        </p:nvSpPr>
        <p:spPr bwMode="auto">
          <a:xfrm>
            <a:off x="3396870" y="5341073"/>
            <a:ext cx="2698890" cy="1516927"/>
          </a:xfrm>
          <a:custGeom>
            <a:avLst/>
            <a:gdLst>
              <a:gd name="T0" fmla="*/ 0 w 116"/>
              <a:gd name="T1" fmla="*/ 21 h 51"/>
              <a:gd name="T2" fmla="*/ 116 w 116"/>
              <a:gd name="T3" fmla="*/ 0 h 51"/>
              <a:gd name="T4" fmla="*/ 116 w 116"/>
              <a:gd name="T5" fmla="*/ 51 h 51"/>
              <a:gd name="T6" fmla="*/ 0 w 116"/>
              <a:gd name="T7" fmla="*/ 51 h 51"/>
              <a:gd name="T8" fmla="*/ 0 w 116"/>
              <a:gd name="T9" fmla="*/ 21 h 51"/>
            </a:gdLst>
            <a:ahLst/>
            <a:cxnLst>
              <a:cxn ang="0">
                <a:pos x="T0" y="T1"/>
              </a:cxn>
              <a:cxn ang="0">
                <a:pos x="T2" y="T3"/>
              </a:cxn>
              <a:cxn ang="0">
                <a:pos x="T4" y="T5"/>
              </a:cxn>
              <a:cxn ang="0">
                <a:pos x="T6" y="T7"/>
              </a:cxn>
              <a:cxn ang="0">
                <a:pos x="T8" y="T9"/>
              </a:cxn>
            </a:cxnLst>
            <a:rect l="0" t="0" r="r" b="b"/>
            <a:pathLst>
              <a:path w="116" h="51">
                <a:moveTo>
                  <a:pt x="0" y="21"/>
                </a:moveTo>
                <a:cubicBezTo>
                  <a:pt x="39" y="14"/>
                  <a:pt x="77" y="7"/>
                  <a:pt x="116" y="0"/>
                </a:cubicBezTo>
                <a:cubicBezTo>
                  <a:pt x="116" y="17"/>
                  <a:pt x="116" y="34"/>
                  <a:pt x="116" y="51"/>
                </a:cubicBezTo>
                <a:cubicBezTo>
                  <a:pt x="77" y="51"/>
                  <a:pt x="39" y="51"/>
                  <a:pt x="0" y="51"/>
                </a:cubicBezTo>
                <a:cubicBezTo>
                  <a:pt x="0" y="41"/>
                  <a:pt x="0" y="31"/>
                  <a:pt x="0" y="21"/>
                </a:cubicBezTo>
                <a:close/>
              </a:path>
            </a:pathLst>
          </a:custGeom>
          <a:solidFill>
            <a:schemeClr val="accent1">
              <a:lumMod val="75000"/>
            </a:schemeClr>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19" name="Freeform 14">
            <a:extLst>
              <a:ext uri="{FF2B5EF4-FFF2-40B4-BE49-F238E27FC236}">
                <a16:creationId xmlns:a16="http://schemas.microsoft.com/office/drawing/2014/main" id="{3A014DE5-F6F0-1D46-AA20-0FDD668949A9}"/>
              </a:ext>
            </a:extLst>
          </p:cNvPr>
          <p:cNvSpPr>
            <a:spLocks/>
          </p:cNvSpPr>
          <p:nvPr/>
        </p:nvSpPr>
        <p:spPr bwMode="auto">
          <a:xfrm>
            <a:off x="6095759" y="5341073"/>
            <a:ext cx="2725010" cy="1516927"/>
          </a:xfrm>
          <a:custGeom>
            <a:avLst/>
            <a:gdLst>
              <a:gd name="T0" fmla="*/ 117 w 117"/>
              <a:gd name="T1" fmla="*/ 21 h 51"/>
              <a:gd name="T2" fmla="*/ 0 w 117"/>
              <a:gd name="T3" fmla="*/ 0 h 51"/>
              <a:gd name="T4" fmla="*/ 0 w 117"/>
              <a:gd name="T5" fmla="*/ 51 h 51"/>
              <a:gd name="T6" fmla="*/ 117 w 117"/>
              <a:gd name="T7" fmla="*/ 51 h 51"/>
              <a:gd name="T8" fmla="*/ 117 w 117"/>
              <a:gd name="T9" fmla="*/ 21 h 51"/>
            </a:gdLst>
            <a:ahLst/>
            <a:cxnLst>
              <a:cxn ang="0">
                <a:pos x="T0" y="T1"/>
              </a:cxn>
              <a:cxn ang="0">
                <a:pos x="T2" y="T3"/>
              </a:cxn>
              <a:cxn ang="0">
                <a:pos x="T4" y="T5"/>
              </a:cxn>
              <a:cxn ang="0">
                <a:pos x="T6" y="T7"/>
              </a:cxn>
              <a:cxn ang="0">
                <a:pos x="T8" y="T9"/>
              </a:cxn>
            </a:cxnLst>
            <a:rect l="0" t="0" r="r" b="b"/>
            <a:pathLst>
              <a:path w="117" h="51">
                <a:moveTo>
                  <a:pt x="117" y="21"/>
                </a:moveTo>
                <a:cubicBezTo>
                  <a:pt x="78" y="14"/>
                  <a:pt x="39" y="7"/>
                  <a:pt x="0" y="0"/>
                </a:cubicBezTo>
                <a:cubicBezTo>
                  <a:pt x="0" y="17"/>
                  <a:pt x="0" y="34"/>
                  <a:pt x="0" y="51"/>
                </a:cubicBezTo>
                <a:cubicBezTo>
                  <a:pt x="39" y="51"/>
                  <a:pt x="78" y="51"/>
                  <a:pt x="117" y="51"/>
                </a:cubicBezTo>
                <a:cubicBezTo>
                  <a:pt x="117" y="41"/>
                  <a:pt x="117" y="31"/>
                  <a:pt x="117" y="21"/>
                </a:cubicBez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US" sz="3599" dirty="0"/>
          </a:p>
        </p:txBody>
      </p:sp>
      <p:sp>
        <p:nvSpPr>
          <p:cNvPr id="38" name="Freeform 1021">
            <a:extLst>
              <a:ext uri="{FF2B5EF4-FFF2-40B4-BE49-F238E27FC236}">
                <a16:creationId xmlns:a16="http://schemas.microsoft.com/office/drawing/2014/main" id="{0468AD9D-3BEB-0544-8819-E1F809D9815E}"/>
              </a:ext>
            </a:extLst>
          </p:cNvPr>
          <p:cNvSpPr>
            <a:spLocks noChangeAspect="1" noChangeArrowheads="1"/>
          </p:cNvSpPr>
          <p:nvPr/>
        </p:nvSpPr>
        <p:spPr bwMode="auto">
          <a:xfrm>
            <a:off x="8643724" y="2097148"/>
            <a:ext cx="506564" cy="506564"/>
          </a:xfrm>
          <a:custGeom>
            <a:avLst/>
            <a:gdLst>
              <a:gd name="T0" fmla="*/ 160839 w 290150"/>
              <a:gd name="T1" fmla="*/ 282538 h 290152"/>
              <a:gd name="T2" fmla="*/ 235772 w 290150"/>
              <a:gd name="T3" fmla="*/ 242352 h 290152"/>
              <a:gd name="T4" fmla="*/ 282847 w 290150"/>
              <a:gd name="T5" fmla="*/ 282543 h 290152"/>
              <a:gd name="T6" fmla="*/ 285767 w 290150"/>
              <a:gd name="T7" fmla="*/ 243076 h 290152"/>
              <a:gd name="T8" fmla="*/ 228109 w 290150"/>
              <a:gd name="T9" fmla="*/ 291594 h 290152"/>
              <a:gd name="T10" fmla="*/ 235772 w 290150"/>
              <a:gd name="T11" fmla="*/ 242352 h 290152"/>
              <a:gd name="T12" fmla="*/ 8601 w 290150"/>
              <a:gd name="T13" fmla="*/ 282543 h 290152"/>
              <a:gd name="T14" fmla="*/ 54825 w 290150"/>
              <a:gd name="T15" fmla="*/ 242352 h 290152"/>
              <a:gd name="T16" fmla="*/ 62352 w 290150"/>
              <a:gd name="T17" fmla="*/ 291594 h 290152"/>
              <a:gd name="T18" fmla="*/ 6093 w 290150"/>
              <a:gd name="T19" fmla="*/ 243076 h 290152"/>
              <a:gd name="T20" fmla="*/ 187287 w 290150"/>
              <a:gd name="T21" fmla="*/ 256094 h 290152"/>
              <a:gd name="T22" fmla="*/ 246394 w 290150"/>
              <a:gd name="T23" fmla="*/ 224950 h 290152"/>
              <a:gd name="T24" fmla="*/ 33142 w 290150"/>
              <a:gd name="T25" fmla="*/ 214475 h 290152"/>
              <a:gd name="T26" fmla="*/ 33142 w 290150"/>
              <a:gd name="T27" fmla="*/ 214475 h 290152"/>
              <a:gd name="T28" fmla="*/ 237724 w 290150"/>
              <a:gd name="T29" fmla="*/ 224950 h 290152"/>
              <a:gd name="T30" fmla="*/ 33142 w 290150"/>
              <a:gd name="T31" fmla="*/ 243734 h 290152"/>
              <a:gd name="T32" fmla="*/ 132579 w 290150"/>
              <a:gd name="T33" fmla="*/ 229650 h 290152"/>
              <a:gd name="T34" fmla="*/ 176418 w 290150"/>
              <a:gd name="T35" fmla="*/ 164806 h 290152"/>
              <a:gd name="T36" fmla="*/ 185476 w 290150"/>
              <a:gd name="T37" fmla="*/ 173500 h 290152"/>
              <a:gd name="T38" fmla="*/ 114826 w 290150"/>
              <a:gd name="T39" fmla="*/ 182557 h 290152"/>
              <a:gd name="T40" fmla="*/ 18083 w 290150"/>
              <a:gd name="T41" fmla="*/ 100509 h 290152"/>
              <a:gd name="T42" fmla="*/ 20565 w 290150"/>
              <a:gd name="T43" fmla="*/ 198699 h 290152"/>
              <a:gd name="T44" fmla="*/ 0 w 290150"/>
              <a:gd name="T45" fmla="*/ 118987 h 290152"/>
              <a:gd name="T46" fmla="*/ 281745 w 290150"/>
              <a:gd name="T47" fmla="*/ 175699 h 290152"/>
              <a:gd name="T48" fmla="*/ 273115 w 290150"/>
              <a:gd name="T49" fmla="*/ 172817 h 290152"/>
              <a:gd name="T50" fmla="*/ 203494 w 290150"/>
              <a:gd name="T51" fmla="*/ 136551 h 290152"/>
              <a:gd name="T52" fmla="*/ 144752 w 290150"/>
              <a:gd name="T53" fmla="*/ 95217 h 290152"/>
              <a:gd name="T54" fmla="*/ 67728 w 290150"/>
              <a:gd name="T55" fmla="*/ 145607 h 290152"/>
              <a:gd name="T56" fmla="*/ 123885 w 290150"/>
              <a:gd name="T57" fmla="*/ 191251 h 290152"/>
              <a:gd name="T58" fmla="*/ 132579 w 290150"/>
              <a:gd name="T59" fmla="*/ 173500 h 290152"/>
              <a:gd name="T60" fmla="*/ 176418 w 290150"/>
              <a:gd name="T61" fmla="*/ 156112 h 290152"/>
              <a:gd name="T62" fmla="*/ 167723 w 290150"/>
              <a:gd name="T63" fmla="*/ 229650 h 290152"/>
              <a:gd name="T64" fmla="*/ 145623 w 290150"/>
              <a:gd name="T65" fmla="*/ 67724 h 290152"/>
              <a:gd name="T66" fmla="*/ 196344 w 290150"/>
              <a:gd name="T67" fmla="*/ 235083 h 290152"/>
              <a:gd name="T68" fmla="*/ 182940 w 290150"/>
              <a:gd name="T69" fmla="*/ 269498 h 290152"/>
              <a:gd name="T70" fmla="*/ 109393 w 290150"/>
              <a:gd name="T71" fmla="*/ 264788 h 290152"/>
              <a:gd name="T72" fmla="*/ 84393 w 290150"/>
              <a:gd name="T73" fmla="*/ 206827 h 290152"/>
              <a:gd name="T74" fmla="*/ 236502 w 290150"/>
              <a:gd name="T75" fmla="*/ 42703 h 290152"/>
              <a:gd name="T76" fmla="*/ 282847 w 290150"/>
              <a:gd name="T77" fmla="*/ 53928 h 290152"/>
              <a:gd name="T78" fmla="*/ 291604 w 290150"/>
              <a:gd name="T79" fmla="*/ 53928 h 290152"/>
              <a:gd name="T80" fmla="*/ 223364 w 290150"/>
              <a:gd name="T81" fmla="*/ 81446 h 290152"/>
              <a:gd name="T82" fmla="*/ 11826 w 290150"/>
              <a:gd name="T83" fmla="*/ 36910 h 290152"/>
              <a:gd name="T84" fmla="*/ 58050 w 290150"/>
              <a:gd name="T85" fmla="*/ 77099 h 290152"/>
              <a:gd name="T86" fmla="*/ 60918 w 290150"/>
              <a:gd name="T87" fmla="*/ 37270 h 290152"/>
              <a:gd name="T88" fmla="*/ 4298 w 290150"/>
              <a:gd name="T89" fmla="*/ 85789 h 290152"/>
              <a:gd name="T90" fmla="*/ 11826 w 290150"/>
              <a:gd name="T91" fmla="*/ 36910 h 290152"/>
              <a:gd name="T92" fmla="*/ 266984 w 290150"/>
              <a:gd name="T93" fmla="*/ 18965 h 290152"/>
              <a:gd name="T94" fmla="*/ 33142 w 290150"/>
              <a:gd name="T95" fmla="*/ 29342 h 290152"/>
              <a:gd name="T96" fmla="*/ 198091 w 290150"/>
              <a:gd name="T97" fmla="*/ 16473 h 290152"/>
              <a:gd name="T98" fmla="*/ 194457 w 290150"/>
              <a:gd name="T99" fmla="*/ 23997 h 290152"/>
              <a:gd name="T100" fmla="*/ 72745 w 290150"/>
              <a:gd name="T101" fmla="*/ 26504 h 290152"/>
              <a:gd name="T102" fmla="*/ 256870 w 290150"/>
              <a:gd name="T103" fmla="*/ 37932 h 290152"/>
              <a:gd name="T104" fmla="*/ 52288 w 290150"/>
              <a:gd name="T105" fmla="*/ 18965 h 29015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0150" h="290152">
                <a:moveTo>
                  <a:pt x="117499" y="263478"/>
                </a:moveTo>
                <a:lnTo>
                  <a:pt x="117499" y="268164"/>
                </a:lnTo>
                <a:cubicBezTo>
                  <a:pt x="117499" y="275373"/>
                  <a:pt x="123627" y="281140"/>
                  <a:pt x="130837" y="281140"/>
                </a:cubicBezTo>
                <a:lnTo>
                  <a:pt x="160037" y="281140"/>
                </a:lnTo>
                <a:cubicBezTo>
                  <a:pt x="167247" y="281140"/>
                  <a:pt x="173015" y="275373"/>
                  <a:pt x="173015" y="268164"/>
                </a:cubicBezTo>
                <a:lnTo>
                  <a:pt x="173015" y="263478"/>
                </a:lnTo>
                <a:lnTo>
                  <a:pt x="117499" y="263478"/>
                </a:lnTo>
                <a:close/>
                <a:moveTo>
                  <a:pt x="234596" y="241153"/>
                </a:moveTo>
                <a:cubicBezTo>
                  <a:pt x="236774" y="242955"/>
                  <a:pt x="236774" y="245477"/>
                  <a:pt x="235322" y="247278"/>
                </a:cubicBezTo>
                <a:cubicBezTo>
                  <a:pt x="232417" y="250521"/>
                  <a:pt x="231328" y="254124"/>
                  <a:pt x="231328" y="258447"/>
                </a:cubicBezTo>
                <a:lnTo>
                  <a:pt x="231328" y="281145"/>
                </a:lnTo>
                <a:lnTo>
                  <a:pt x="281436" y="281145"/>
                </a:lnTo>
                <a:lnTo>
                  <a:pt x="281436" y="258447"/>
                </a:lnTo>
                <a:cubicBezTo>
                  <a:pt x="281436" y="254124"/>
                  <a:pt x="279983" y="250521"/>
                  <a:pt x="277442" y="247278"/>
                </a:cubicBezTo>
                <a:cubicBezTo>
                  <a:pt x="275626" y="245477"/>
                  <a:pt x="275989" y="242955"/>
                  <a:pt x="278168" y="241153"/>
                </a:cubicBezTo>
                <a:cubicBezTo>
                  <a:pt x="279983" y="239712"/>
                  <a:pt x="282525" y="239712"/>
                  <a:pt x="284341" y="241874"/>
                </a:cubicBezTo>
                <a:cubicBezTo>
                  <a:pt x="287972" y="246558"/>
                  <a:pt x="290150" y="252322"/>
                  <a:pt x="290150" y="258447"/>
                </a:cubicBezTo>
                <a:lnTo>
                  <a:pt x="290150" y="285829"/>
                </a:lnTo>
                <a:cubicBezTo>
                  <a:pt x="290150" y="287990"/>
                  <a:pt x="288335" y="290152"/>
                  <a:pt x="285793" y="290152"/>
                </a:cubicBezTo>
                <a:lnTo>
                  <a:pt x="226971" y="290152"/>
                </a:lnTo>
                <a:cubicBezTo>
                  <a:pt x="224429" y="290152"/>
                  <a:pt x="222250" y="287990"/>
                  <a:pt x="222250" y="285829"/>
                </a:cubicBezTo>
                <a:lnTo>
                  <a:pt x="222250" y="258447"/>
                </a:lnTo>
                <a:cubicBezTo>
                  <a:pt x="222250" y="252322"/>
                  <a:pt x="224429" y="246558"/>
                  <a:pt x="228423" y="241874"/>
                </a:cubicBezTo>
                <a:cubicBezTo>
                  <a:pt x="229875" y="239712"/>
                  <a:pt x="232780" y="239712"/>
                  <a:pt x="234596" y="241153"/>
                </a:cubicBezTo>
                <a:close/>
                <a:moveTo>
                  <a:pt x="11766" y="241153"/>
                </a:moveTo>
                <a:cubicBezTo>
                  <a:pt x="13905" y="242955"/>
                  <a:pt x="14262" y="245477"/>
                  <a:pt x="12479" y="247278"/>
                </a:cubicBezTo>
                <a:cubicBezTo>
                  <a:pt x="9983" y="250521"/>
                  <a:pt x="8557" y="254124"/>
                  <a:pt x="8557" y="258447"/>
                </a:cubicBezTo>
                <a:lnTo>
                  <a:pt x="8557" y="281145"/>
                </a:lnTo>
                <a:lnTo>
                  <a:pt x="57761" y="281145"/>
                </a:lnTo>
                <a:lnTo>
                  <a:pt x="57761" y="258447"/>
                </a:lnTo>
                <a:cubicBezTo>
                  <a:pt x="57761" y="254124"/>
                  <a:pt x="56335" y="250521"/>
                  <a:pt x="53839" y="247278"/>
                </a:cubicBezTo>
                <a:cubicBezTo>
                  <a:pt x="52413" y="245477"/>
                  <a:pt x="52413" y="242955"/>
                  <a:pt x="54552" y="241153"/>
                </a:cubicBezTo>
                <a:cubicBezTo>
                  <a:pt x="56335" y="239712"/>
                  <a:pt x="59188" y="239712"/>
                  <a:pt x="60614" y="241874"/>
                </a:cubicBezTo>
                <a:cubicBezTo>
                  <a:pt x="64179" y="246558"/>
                  <a:pt x="66319" y="252322"/>
                  <a:pt x="66319" y="258447"/>
                </a:cubicBezTo>
                <a:lnTo>
                  <a:pt x="66319" y="285829"/>
                </a:lnTo>
                <a:cubicBezTo>
                  <a:pt x="66319" y="287990"/>
                  <a:pt x="64536" y="290152"/>
                  <a:pt x="62040" y="290152"/>
                </a:cubicBezTo>
                <a:lnTo>
                  <a:pt x="4278" y="290152"/>
                </a:lnTo>
                <a:cubicBezTo>
                  <a:pt x="1783" y="290152"/>
                  <a:pt x="0" y="287990"/>
                  <a:pt x="0" y="285829"/>
                </a:cubicBezTo>
                <a:lnTo>
                  <a:pt x="0" y="258447"/>
                </a:lnTo>
                <a:cubicBezTo>
                  <a:pt x="0" y="252322"/>
                  <a:pt x="2139" y="246558"/>
                  <a:pt x="6061" y="241874"/>
                </a:cubicBezTo>
                <a:cubicBezTo>
                  <a:pt x="7487" y="239712"/>
                  <a:pt x="9983" y="239712"/>
                  <a:pt x="11766" y="241153"/>
                </a:cubicBezTo>
                <a:close/>
                <a:moveTo>
                  <a:pt x="104160" y="237525"/>
                </a:moveTo>
                <a:lnTo>
                  <a:pt x="104160" y="254827"/>
                </a:lnTo>
                <a:lnTo>
                  <a:pt x="186353" y="254827"/>
                </a:lnTo>
                <a:lnTo>
                  <a:pt x="186353" y="237525"/>
                </a:lnTo>
                <a:lnTo>
                  <a:pt x="104160" y="237525"/>
                </a:lnTo>
                <a:close/>
                <a:moveTo>
                  <a:pt x="255588" y="213414"/>
                </a:moveTo>
                <a:cubicBezTo>
                  <a:pt x="249837" y="213414"/>
                  <a:pt x="245165" y="218086"/>
                  <a:pt x="245165" y="223837"/>
                </a:cubicBezTo>
                <a:cubicBezTo>
                  <a:pt x="245165" y="229229"/>
                  <a:pt x="249837" y="233901"/>
                  <a:pt x="255588" y="233901"/>
                </a:cubicBezTo>
                <a:cubicBezTo>
                  <a:pt x="260980" y="233901"/>
                  <a:pt x="265652" y="229229"/>
                  <a:pt x="265652" y="223837"/>
                </a:cubicBezTo>
                <a:cubicBezTo>
                  <a:pt x="265652" y="218086"/>
                  <a:pt x="260980" y="213414"/>
                  <a:pt x="255588" y="213414"/>
                </a:cubicBezTo>
                <a:close/>
                <a:moveTo>
                  <a:pt x="32978" y="213414"/>
                </a:moveTo>
                <a:cubicBezTo>
                  <a:pt x="27587" y="213414"/>
                  <a:pt x="22914" y="218086"/>
                  <a:pt x="22914" y="223837"/>
                </a:cubicBezTo>
                <a:cubicBezTo>
                  <a:pt x="22914" y="229229"/>
                  <a:pt x="27587" y="233901"/>
                  <a:pt x="32978" y="233901"/>
                </a:cubicBezTo>
                <a:cubicBezTo>
                  <a:pt x="38729" y="233901"/>
                  <a:pt x="43402" y="229229"/>
                  <a:pt x="43402" y="223837"/>
                </a:cubicBezTo>
                <a:cubicBezTo>
                  <a:pt x="43402" y="218086"/>
                  <a:pt x="38729" y="213414"/>
                  <a:pt x="32978" y="213414"/>
                </a:cubicBezTo>
                <a:close/>
                <a:moveTo>
                  <a:pt x="255588" y="204787"/>
                </a:moveTo>
                <a:cubicBezTo>
                  <a:pt x="266012" y="204787"/>
                  <a:pt x="274279" y="213414"/>
                  <a:pt x="274279" y="223837"/>
                </a:cubicBezTo>
                <a:cubicBezTo>
                  <a:pt x="274279" y="234261"/>
                  <a:pt x="266012" y="242528"/>
                  <a:pt x="255588" y="242528"/>
                </a:cubicBezTo>
                <a:cubicBezTo>
                  <a:pt x="245165" y="242528"/>
                  <a:pt x="236538" y="234261"/>
                  <a:pt x="236538" y="223837"/>
                </a:cubicBezTo>
                <a:cubicBezTo>
                  <a:pt x="236538" y="213414"/>
                  <a:pt x="245165" y="204787"/>
                  <a:pt x="255588" y="204787"/>
                </a:cubicBezTo>
                <a:close/>
                <a:moveTo>
                  <a:pt x="32978" y="204787"/>
                </a:moveTo>
                <a:cubicBezTo>
                  <a:pt x="43402" y="204787"/>
                  <a:pt x="52028" y="213414"/>
                  <a:pt x="52028" y="223837"/>
                </a:cubicBezTo>
                <a:cubicBezTo>
                  <a:pt x="52028" y="234261"/>
                  <a:pt x="43402" y="242528"/>
                  <a:pt x="32978" y="242528"/>
                </a:cubicBezTo>
                <a:cubicBezTo>
                  <a:pt x="22555" y="242528"/>
                  <a:pt x="14288" y="234261"/>
                  <a:pt x="14288" y="223837"/>
                </a:cubicBezTo>
                <a:cubicBezTo>
                  <a:pt x="14288" y="213414"/>
                  <a:pt x="22555" y="204787"/>
                  <a:pt x="32978" y="204787"/>
                </a:cubicBezTo>
                <a:close/>
                <a:moveTo>
                  <a:pt x="131918" y="190305"/>
                </a:moveTo>
                <a:lnTo>
                  <a:pt x="131918" y="228513"/>
                </a:lnTo>
                <a:lnTo>
                  <a:pt x="158235" y="228513"/>
                </a:lnTo>
                <a:lnTo>
                  <a:pt x="158235" y="190305"/>
                </a:lnTo>
                <a:lnTo>
                  <a:pt x="131918" y="190305"/>
                </a:lnTo>
                <a:close/>
                <a:moveTo>
                  <a:pt x="175538" y="163991"/>
                </a:moveTo>
                <a:cubicBezTo>
                  <a:pt x="171212" y="163991"/>
                  <a:pt x="166886" y="168317"/>
                  <a:pt x="166886" y="172642"/>
                </a:cubicBezTo>
                <a:lnTo>
                  <a:pt x="166886" y="181654"/>
                </a:lnTo>
                <a:lnTo>
                  <a:pt x="175538" y="181654"/>
                </a:lnTo>
                <a:cubicBezTo>
                  <a:pt x="180585" y="181654"/>
                  <a:pt x="184551" y="177689"/>
                  <a:pt x="184551" y="172642"/>
                </a:cubicBezTo>
                <a:cubicBezTo>
                  <a:pt x="184551" y="168317"/>
                  <a:pt x="180585" y="163991"/>
                  <a:pt x="175538" y="163991"/>
                </a:cubicBezTo>
                <a:close/>
                <a:moveTo>
                  <a:pt x="114254" y="163991"/>
                </a:moveTo>
                <a:cubicBezTo>
                  <a:pt x="109568" y="163991"/>
                  <a:pt x="105602" y="168317"/>
                  <a:pt x="105602" y="172642"/>
                </a:cubicBezTo>
                <a:cubicBezTo>
                  <a:pt x="105602" y="177689"/>
                  <a:pt x="109568" y="181654"/>
                  <a:pt x="114254" y="181654"/>
                </a:cubicBezTo>
                <a:lnTo>
                  <a:pt x="123267" y="181654"/>
                </a:lnTo>
                <a:lnTo>
                  <a:pt x="123267" y="172642"/>
                </a:lnTo>
                <a:cubicBezTo>
                  <a:pt x="123267" y="168317"/>
                  <a:pt x="119301" y="163991"/>
                  <a:pt x="114254" y="163991"/>
                </a:cubicBezTo>
                <a:close/>
                <a:moveTo>
                  <a:pt x="17991" y="100012"/>
                </a:moveTo>
                <a:lnTo>
                  <a:pt x="25047" y="125249"/>
                </a:lnTo>
                <a:lnTo>
                  <a:pt x="16580" y="123086"/>
                </a:lnTo>
                <a:cubicBezTo>
                  <a:pt x="12700" y="146160"/>
                  <a:pt x="14816" y="169955"/>
                  <a:pt x="22930" y="191948"/>
                </a:cubicBezTo>
                <a:cubicBezTo>
                  <a:pt x="23636" y="194471"/>
                  <a:pt x="22578" y="196995"/>
                  <a:pt x="20461" y="197716"/>
                </a:cubicBezTo>
                <a:cubicBezTo>
                  <a:pt x="19755" y="198077"/>
                  <a:pt x="19403" y="198077"/>
                  <a:pt x="18697" y="198077"/>
                </a:cubicBezTo>
                <a:cubicBezTo>
                  <a:pt x="17286" y="198077"/>
                  <a:pt x="15522" y="196995"/>
                  <a:pt x="14816" y="195192"/>
                </a:cubicBezTo>
                <a:cubicBezTo>
                  <a:pt x="5997" y="171397"/>
                  <a:pt x="3880" y="145800"/>
                  <a:pt x="8114" y="120923"/>
                </a:cubicBezTo>
                <a:lnTo>
                  <a:pt x="0" y="118399"/>
                </a:lnTo>
                <a:lnTo>
                  <a:pt x="17991" y="100012"/>
                </a:lnTo>
                <a:close/>
                <a:moveTo>
                  <a:pt x="270322" y="95609"/>
                </a:moveTo>
                <a:cubicBezTo>
                  <a:pt x="272469" y="95250"/>
                  <a:pt x="274615" y="95967"/>
                  <a:pt x="275689" y="98476"/>
                </a:cubicBezTo>
                <a:cubicBezTo>
                  <a:pt x="284275" y="123211"/>
                  <a:pt x="285706" y="149020"/>
                  <a:pt x="280339" y="174830"/>
                </a:cubicBezTo>
                <a:lnTo>
                  <a:pt x="288568" y="176980"/>
                </a:lnTo>
                <a:lnTo>
                  <a:pt x="269249" y="194904"/>
                </a:lnTo>
                <a:lnTo>
                  <a:pt x="263525" y="169453"/>
                </a:lnTo>
                <a:lnTo>
                  <a:pt x="271753" y="171962"/>
                </a:lnTo>
                <a:cubicBezTo>
                  <a:pt x="276762" y="148662"/>
                  <a:pt x="275331" y="124286"/>
                  <a:pt x="267460" y="101344"/>
                </a:cubicBezTo>
                <a:cubicBezTo>
                  <a:pt x="266745" y="99193"/>
                  <a:pt x="267818" y="96326"/>
                  <a:pt x="270322" y="95609"/>
                </a:cubicBezTo>
                <a:close/>
                <a:moveTo>
                  <a:pt x="144030" y="85725"/>
                </a:moveTo>
                <a:cubicBezTo>
                  <a:pt x="173615" y="85725"/>
                  <a:pt x="197788" y="107012"/>
                  <a:pt x="202479" y="135875"/>
                </a:cubicBezTo>
                <a:cubicBezTo>
                  <a:pt x="202839" y="138401"/>
                  <a:pt x="201396" y="140205"/>
                  <a:pt x="198871" y="140926"/>
                </a:cubicBezTo>
                <a:cubicBezTo>
                  <a:pt x="198510" y="140926"/>
                  <a:pt x="198149" y="140926"/>
                  <a:pt x="198149" y="140926"/>
                </a:cubicBezTo>
                <a:cubicBezTo>
                  <a:pt x="195984" y="140926"/>
                  <a:pt x="194180" y="139483"/>
                  <a:pt x="193820" y="137319"/>
                </a:cubicBezTo>
                <a:cubicBezTo>
                  <a:pt x="190212" y="112785"/>
                  <a:pt x="168925" y="94745"/>
                  <a:pt x="144030" y="94745"/>
                </a:cubicBezTo>
                <a:cubicBezTo>
                  <a:pt x="141865" y="94745"/>
                  <a:pt x="139700" y="92580"/>
                  <a:pt x="139700" y="90416"/>
                </a:cubicBezTo>
                <a:cubicBezTo>
                  <a:pt x="139700" y="87890"/>
                  <a:pt x="141865" y="85725"/>
                  <a:pt x="144030" y="85725"/>
                </a:cubicBezTo>
                <a:close/>
                <a:moveTo>
                  <a:pt x="144896" y="67388"/>
                </a:moveTo>
                <a:cubicBezTo>
                  <a:pt x="102358" y="67388"/>
                  <a:pt x="67390" y="102353"/>
                  <a:pt x="67390" y="144887"/>
                </a:cubicBezTo>
                <a:cubicBezTo>
                  <a:pt x="67390" y="165433"/>
                  <a:pt x="75681" y="184898"/>
                  <a:pt x="89741" y="199677"/>
                </a:cubicBezTo>
                <a:cubicBezTo>
                  <a:pt x="97672" y="207607"/>
                  <a:pt x="102718" y="217700"/>
                  <a:pt x="103800" y="228513"/>
                </a:cubicBezTo>
                <a:lnTo>
                  <a:pt x="123267" y="228513"/>
                </a:lnTo>
                <a:lnTo>
                  <a:pt x="123267" y="190305"/>
                </a:lnTo>
                <a:lnTo>
                  <a:pt x="114254" y="190305"/>
                </a:lnTo>
                <a:cubicBezTo>
                  <a:pt x="104881" y="190305"/>
                  <a:pt x="96590" y="182375"/>
                  <a:pt x="96590" y="172642"/>
                </a:cubicBezTo>
                <a:cubicBezTo>
                  <a:pt x="96590" y="163270"/>
                  <a:pt x="104881" y="155340"/>
                  <a:pt x="114254" y="155340"/>
                </a:cubicBezTo>
                <a:cubicBezTo>
                  <a:pt x="123988" y="155340"/>
                  <a:pt x="131918" y="163270"/>
                  <a:pt x="131918" y="172642"/>
                </a:cubicBezTo>
                <a:lnTo>
                  <a:pt x="131918" y="181654"/>
                </a:lnTo>
                <a:lnTo>
                  <a:pt x="158235" y="181654"/>
                </a:lnTo>
                <a:lnTo>
                  <a:pt x="158235" y="172642"/>
                </a:lnTo>
                <a:cubicBezTo>
                  <a:pt x="158235" y="163270"/>
                  <a:pt x="166165" y="155340"/>
                  <a:pt x="175538" y="155340"/>
                </a:cubicBezTo>
                <a:cubicBezTo>
                  <a:pt x="185272" y="155340"/>
                  <a:pt x="193202" y="163270"/>
                  <a:pt x="193202" y="172642"/>
                </a:cubicBezTo>
                <a:cubicBezTo>
                  <a:pt x="193202" y="182375"/>
                  <a:pt x="185272" y="190305"/>
                  <a:pt x="175538" y="190305"/>
                </a:cubicBezTo>
                <a:lnTo>
                  <a:pt x="166886" y="190305"/>
                </a:lnTo>
                <a:lnTo>
                  <a:pt x="166886" y="228513"/>
                </a:lnTo>
                <a:lnTo>
                  <a:pt x="187074" y="228513"/>
                </a:lnTo>
                <a:cubicBezTo>
                  <a:pt x="187795" y="217339"/>
                  <a:pt x="192842" y="207246"/>
                  <a:pt x="200412" y="199316"/>
                </a:cubicBezTo>
                <a:cubicBezTo>
                  <a:pt x="214832" y="184537"/>
                  <a:pt x="222402" y="165433"/>
                  <a:pt x="222402" y="144887"/>
                </a:cubicBezTo>
                <a:cubicBezTo>
                  <a:pt x="222402" y="102353"/>
                  <a:pt x="187795" y="67388"/>
                  <a:pt x="144896" y="67388"/>
                </a:cubicBezTo>
                <a:close/>
                <a:moveTo>
                  <a:pt x="144896" y="58737"/>
                </a:moveTo>
                <a:cubicBezTo>
                  <a:pt x="192481" y="58737"/>
                  <a:pt x="231415" y="97306"/>
                  <a:pt x="231415" y="144887"/>
                </a:cubicBezTo>
                <a:cubicBezTo>
                  <a:pt x="231415" y="167596"/>
                  <a:pt x="222763" y="189223"/>
                  <a:pt x="206901" y="205444"/>
                </a:cubicBezTo>
                <a:cubicBezTo>
                  <a:pt x="199331" y="213014"/>
                  <a:pt x="195365" y="223106"/>
                  <a:pt x="195365" y="233920"/>
                </a:cubicBezTo>
                <a:lnTo>
                  <a:pt x="195365" y="254827"/>
                </a:lnTo>
                <a:cubicBezTo>
                  <a:pt x="195365" y="259513"/>
                  <a:pt x="191400" y="263478"/>
                  <a:pt x="186353" y="263478"/>
                </a:cubicBezTo>
                <a:lnTo>
                  <a:pt x="182027" y="263478"/>
                </a:lnTo>
                <a:lnTo>
                  <a:pt x="182027" y="268164"/>
                </a:lnTo>
                <a:cubicBezTo>
                  <a:pt x="182027" y="280059"/>
                  <a:pt x="171933" y="290152"/>
                  <a:pt x="160037" y="290152"/>
                </a:cubicBezTo>
                <a:lnTo>
                  <a:pt x="130837" y="290152"/>
                </a:lnTo>
                <a:cubicBezTo>
                  <a:pt x="118580" y="290152"/>
                  <a:pt x="108847" y="280059"/>
                  <a:pt x="108847" y="268164"/>
                </a:cubicBezTo>
                <a:lnTo>
                  <a:pt x="108847" y="263478"/>
                </a:lnTo>
                <a:lnTo>
                  <a:pt x="104521" y="263478"/>
                </a:lnTo>
                <a:cubicBezTo>
                  <a:pt x="99474" y="263478"/>
                  <a:pt x="95509" y="259513"/>
                  <a:pt x="95509" y="254827"/>
                </a:cubicBezTo>
                <a:lnTo>
                  <a:pt x="95509" y="234641"/>
                </a:lnTo>
                <a:cubicBezTo>
                  <a:pt x="95509" y="223467"/>
                  <a:pt x="91543" y="213374"/>
                  <a:pt x="83973" y="205804"/>
                </a:cubicBezTo>
                <a:cubicBezTo>
                  <a:pt x="67751" y="189584"/>
                  <a:pt x="58738" y="167956"/>
                  <a:pt x="58738" y="144887"/>
                </a:cubicBezTo>
                <a:cubicBezTo>
                  <a:pt x="58738" y="97306"/>
                  <a:pt x="97672" y="58737"/>
                  <a:pt x="144896" y="58737"/>
                </a:cubicBezTo>
                <a:close/>
                <a:moveTo>
                  <a:pt x="234596" y="36726"/>
                </a:moveTo>
                <a:cubicBezTo>
                  <a:pt x="236774" y="38167"/>
                  <a:pt x="236774" y="40689"/>
                  <a:pt x="235322" y="42491"/>
                </a:cubicBezTo>
                <a:cubicBezTo>
                  <a:pt x="232417" y="45733"/>
                  <a:pt x="231328" y="49696"/>
                  <a:pt x="231328" y="53660"/>
                </a:cubicBezTo>
                <a:lnTo>
                  <a:pt x="231328" y="76718"/>
                </a:lnTo>
                <a:lnTo>
                  <a:pt x="281436" y="76718"/>
                </a:lnTo>
                <a:lnTo>
                  <a:pt x="281436" y="53660"/>
                </a:lnTo>
                <a:cubicBezTo>
                  <a:pt x="281436" y="49696"/>
                  <a:pt x="279983" y="45733"/>
                  <a:pt x="277442" y="42491"/>
                </a:cubicBezTo>
                <a:cubicBezTo>
                  <a:pt x="275626" y="40689"/>
                  <a:pt x="275989" y="38167"/>
                  <a:pt x="278168" y="36726"/>
                </a:cubicBezTo>
                <a:cubicBezTo>
                  <a:pt x="279983" y="34925"/>
                  <a:pt x="282525" y="35285"/>
                  <a:pt x="284341" y="37086"/>
                </a:cubicBezTo>
                <a:cubicBezTo>
                  <a:pt x="287972" y="41770"/>
                  <a:pt x="290150" y="47895"/>
                  <a:pt x="290150" y="53660"/>
                </a:cubicBezTo>
                <a:lnTo>
                  <a:pt x="290150" y="81042"/>
                </a:lnTo>
                <a:cubicBezTo>
                  <a:pt x="290150" y="83203"/>
                  <a:pt x="288335" y="85365"/>
                  <a:pt x="285793" y="85365"/>
                </a:cubicBezTo>
                <a:lnTo>
                  <a:pt x="226971" y="85365"/>
                </a:lnTo>
                <a:cubicBezTo>
                  <a:pt x="224429" y="85365"/>
                  <a:pt x="222250" y="83203"/>
                  <a:pt x="222250" y="81042"/>
                </a:cubicBezTo>
                <a:lnTo>
                  <a:pt x="222250" y="53660"/>
                </a:lnTo>
                <a:cubicBezTo>
                  <a:pt x="222250" y="47895"/>
                  <a:pt x="224429" y="41770"/>
                  <a:pt x="228423" y="37086"/>
                </a:cubicBezTo>
                <a:cubicBezTo>
                  <a:pt x="229875" y="35285"/>
                  <a:pt x="232780" y="34925"/>
                  <a:pt x="234596" y="36726"/>
                </a:cubicBezTo>
                <a:close/>
                <a:moveTo>
                  <a:pt x="11766" y="36726"/>
                </a:moveTo>
                <a:cubicBezTo>
                  <a:pt x="13905" y="38167"/>
                  <a:pt x="14262" y="40689"/>
                  <a:pt x="12479" y="42491"/>
                </a:cubicBezTo>
                <a:cubicBezTo>
                  <a:pt x="9983" y="45733"/>
                  <a:pt x="8557" y="49696"/>
                  <a:pt x="8557" y="53660"/>
                </a:cubicBezTo>
                <a:lnTo>
                  <a:pt x="8557" y="76718"/>
                </a:lnTo>
                <a:lnTo>
                  <a:pt x="57761" y="76718"/>
                </a:lnTo>
                <a:lnTo>
                  <a:pt x="57761" y="53660"/>
                </a:lnTo>
                <a:cubicBezTo>
                  <a:pt x="57761" y="49696"/>
                  <a:pt x="56335" y="45733"/>
                  <a:pt x="53839" y="42491"/>
                </a:cubicBezTo>
                <a:cubicBezTo>
                  <a:pt x="52413" y="40689"/>
                  <a:pt x="52413" y="38167"/>
                  <a:pt x="54552" y="36726"/>
                </a:cubicBezTo>
                <a:cubicBezTo>
                  <a:pt x="56335" y="34925"/>
                  <a:pt x="59188" y="35285"/>
                  <a:pt x="60614" y="37086"/>
                </a:cubicBezTo>
                <a:cubicBezTo>
                  <a:pt x="64179" y="41770"/>
                  <a:pt x="66319" y="47895"/>
                  <a:pt x="66319" y="53660"/>
                </a:cubicBezTo>
                <a:lnTo>
                  <a:pt x="66319" y="81042"/>
                </a:lnTo>
                <a:cubicBezTo>
                  <a:pt x="66319" y="83203"/>
                  <a:pt x="64536" y="85365"/>
                  <a:pt x="62040" y="85365"/>
                </a:cubicBezTo>
                <a:lnTo>
                  <a:pt x="4278" y="85365"/>
                </a:lnTo>
                <a:cubicBezTo>
                  <a:pt x="1783" y="85365"/>
                  <a:pt x="0" y="83203"/>
                  <a:pt x="0" y="81042"/>
                </a:cubicBezTo>
                <a:lnTo>
                  <a:pt x="0" y="53660"/>
                </a:lnTo>
                <a:cubicBezTo>
                  <a:pt x="0" y="47895"/>
                  <a:pt x="2139" y="41770"/>
                  <a:pt x="6061" y="37086"/>
                </a:cubicBezTo>
                <a:cubicBezTo>
                  <a:pt x="7487" y="35285"/>
                  <a:pt x="9983" y="34925"/>
                  <a:pt x="11766" y="36726"/>
                </a:cubicBezTo>
                <a:close/>
                <a:moveTo>
                  <a:pt x="255588" y="8902"/>
                </a:moveTo>
                <a:cubicBezTo>
                  <a:pt x="249837" y="8902"/>
                  <a:pt x="245165" y="13531"/>
                  <a:pt x="245165" y="18872"/>
                </a:cubicBezTo>
                <a:cubicBezTo>
                  <a:pt x="245165" y="24569"/>
                  <a:pt x="249837" y="29198"/>
                  <a:pt x="255588" y="29198"/>
                </a:cubicBezTo>
                <a:cubicBezTo>
                  <a:pt x="260980" y="29198"/>
                  <a:pt x="265652" y="24569"/>
                  <a:pt x="265652" y="18872"/>
                </a:cubicBezTo>
                <a:cubicBezTo>
                  <a:pt x="265652" y="13531"/>
                  <a:pt x="260980" y="8902"/>
                  <a:pt x="255588" y="8902"/>
                </a:cubicBezTo>
                <a:close/>
                <a:moveTo>
                  <a:pt x="32978" y="8902"/>
                </a:moveTo>
                <a:cubicBezTo>
                  <a:pt x="27587" y="8902"/>
                  <a:pt x="22914" y="13531"/>
                  <a:pt x="22914" y="18872"/>
                </a:cubicBezTo>
                <a:cubicBezTo>
                  <a:pt x="22914" y="24569"/>
                  <a:pt x="27587" y="29198"/>
                  <a:pt x="32978" y="29198"/>
                </a:cubicBezTo>
                <a:cubicBezTo>
                  <a:pt x="38729" y="29198"/>
                  <a:pt x="43402" y="24569"/>
                  <a:pt x="43402" y="18872"/>
                </a:cubicBezTo>
                <a:cubicBezTo>
                  <a:pt x="43402" y="13531"/>
                  <a:pt x="38729" y="8902"/>
                  <a:pt x="32978" y="8902"/>
                </a:cubicBezTo>
                <a:close/>
                <a:moveTo>
                  <a:pt x="133521" y="6815"/>
                </a:moveTo>
                <a:cubicBezTo>
                  <a:pt x="154896" y="5078"/>
                  <a:pt x="176676" y="8197"/>
                  <a:pt x="197102" y="16393"/>
                </a:cubicBezTo>
                <a:lnTo>
                  <a:pt x="201078" y="8553"/>
                </a:lnTo>
                <a:lnTo>
                  <a:pt x="215539" y="30292"/>
                </a:lnTo>
                <a:lnTo>
                  <a:pt x="189149" y="31717"/>
                </a:lnTo>
                <a:lnTo>
                  <a:pt x="193487" y="23877"/>
                </a:lnTo>
                <a:cubicBezTo>
                  <a:pt x="155167" y="9266"/>
                  <a:pt x="112147" y="12829"/>
                  <a:pt x="77080" y="33856"/>
                </a:cubicBezTo>
                <a:cubicBezTo>
                  <a:pt x="76357" y="34212"/>
                  <a:pt x="75634" y="34568"/>
                  <a:pt x="74911" y="34568"/>
                </a:cubicBezTo>
                <a:cubicBezTo>
                  <a:pt x="73465" y="34568"/>
                  <a:pt x="72019" y="33856"/>
                  <a:pt x="70935" y="32430"/>
                </a:cubicBezTo>
                <a:cubicBezTo>
                  <a:pt x="69850" y="30292"/>
                  <a:pt x="70212" y="27441"/>
                  <a:pt x="72381" y="26372"/>
                </a:cubicBezTo>
                <a:cubicBezTo>
                  <a:pt x="91179" y="15146"/>
                  <a:pt x="112147" y="8553"/>
                  <a:pt x="133521" y="6815"/>
                </a:cubicBezTo>
                <a:close/>
                <a:moveTo>
                  <a:pt x="255588" y="0"/>
                </a:moveTo>
                <a:cubicBezTo>
                  <a:pt x="266012" y="0"/>
                  <a:pt x="274279" y="8546"/>
                  <a:pt x="274279" y="18872"/>
                </a:cubicBezTo>
                <a:cubicBezTo>
                  <a:pt x="274279" y="29198"/>
                  <a:pt x="266012" y="37744"/>
                  <a:pt x="255588" y="37744"/>
                </a:cubicBezTo>
                <a:cubicBezTo>
                  <a:pt x="245165" y="37744"/>
                  <a:pt x="236538" y="29198"/>
                  <a:pt x="236538" y="18872"/>
                </a:cubicBezTo>
                <a:cubicBezTo>
                  <a:pt x="236538" y="8546"/>
                  <a:pt x="245165" y="0"/>
                  <a:pt x="255588" y="0"/>
                </a:cubicBezTo>
                <a:close/>
                <a:moveTo>
                  <a:pt x="32978" y="0"/>
                </a:moveTo>
                <a:cubicBezTo>
                  <a:pt x="43402" y="0"/>
                  <a:pt x="52028" y="8546"/>
                  <a:pt x="52028" y="18872"/>
                </a:cubicBezTo>
                <a:cubicBezTo>
                  <a:pt x="52028" y="29198"/>
                  <a:pt x="43402" y="37744"/>
                  <a:pt x="32978" y="37744"/>
                </a:cubicBezTo>
                <a:cubicBezTo>
                  <a:pt x="22555" y="37744"/>
                  <a:pt x="14288" y="29198"/>
                  <a:pt x="14288" y="18872"/>
                </a:cubicBezTo>
                <a:cubicBezTo>
                  <a:pt x="14288" y="8546"/>
                  <a:pt x="22555" y="0"/>
                  <a:pt x="32978" y="0"/>
                </a:cubicBezTo>
                <a:close/>
              </a:path>
            </a:pathLst>
          </a:custGeom>
          <a:solidFill>
            <a:schemeClr val="accent6"/>
          </a:solidFill>
          <a:ln>
            <a:noFill/>
          </a:ln>
          <a:effectLst/>
        </p:spPr>
        <p:txBody>
          <a:bodyPr anchor="ctr"/>
          <a:lstStyle/>
          <a:p>
            <a:endParaRPr lang="en-US" sz="900" dirty="0"/>
          </a:p>
        </p:txBody>
      </p:sp>
      <p:sp>
        <p:nvSpPr>
          <p:cNvPr id="39" name="Freeform 1034">
            <a:extLst>
              <a:ext uri="{FF2B5EF4-FFF2-40B4-BE49-F238E27FC236}">
                <a16:creationId xmlns:a16="http://schemas.microsoft.com/office/drawing/2014/main" id="{0D4062ED-A466-EC45-944F-3283A0E12309}"/>
              </a:ext>
            </a:extLst>
          </p:cNvPr>
          <p:cNvSpPr>
            <a:spLocks noChangeAspect="1" noChangeArrowheads="1"/>
          </p:cNvSpPr>
          <p:nvPr/>
        </p:nvSpPr>
        <p:spPr bwMode="auto">
          <a:xfrm>
            <a:off x="8643724" y="3658727"/>
            <a:ext cx="506564" cy="506563"/>
          </a:xfrm>
          <a:custGeom>
            <a:avLst/>
            <a:gdLst>
              <a:gd name="T0" fmla="*/ 97077 w 290153"/>
              <a:gd name="T1" fmla="*/ 282532 h 290152"/>
              <a:gd name="T2" fmla="*/ 194156 w 290153"/>
              <a:gd name="T3" fmla="*/ 256056 h 290152"/>
              <a:gd name="T4" fmla="*/ 9055 w 290153"/>
              <a:gd name="T5" fmla="*/ 220875 h 290152"/>
              <a:gd name="T6" fmla="*/ 22095 w 290153"/>
              <a:gd name="T7" fmla="*/ 247351 h 290152"/>
              <a:gd name="T8" fmla="*/ 282540 w 290153"/>
              <a:gd name="T9" fmla="*/ 233933 h 290152"/>
              <a:gd name="T10" fmla="*/ 9055 w 290153"/>
              <a:gd name="T11" fmla="*/ 220875 h 290152"/>
              <a:gd name="T12" fmla="*/ 244143 w 290153"/>
              <a:gd name="T13" fmla="*/ 176628 h 290152"/>
              <a:gd name="T14" fmla="*/ 282540 w 290153"/>
              <a:gd name="T15" fmla="*/ 138547 h 290152"/>
              <a:gd name="T16" fmla="*/ 156103 w 290153"/>
              <a:gd name="T17" fmla="*/ 118215 h 290152"/>
              <a:gd name="T18" fmla="*/ 195955 w 290153"/>
              <a:gd name="T19" fmla="*/ 176034 h 290152"/>
              <a:gd name="T20" fmla="*/ 244143 w 290153"/>
              <a:gd name="T21" fmla="*/ 91035 h 290152"/>
              <a:gd name="T22" fmla="*/ 282540 w 290153"/>
              <a:gd name="T23" fmla="*/ 129478 h 290152"/>
              <a:gd name="T24" fmla="*/ 244143 w 290153"/>
              <a:gd name="T25" fmla="*/ 91035 h 290152"/>
              <a:gd name="T26" fmla="*/ 44157 w 290153"/>
              <a:gd name="T27" fmla="*/ 138812 h 290152"/>
              <a:gd name="T28" fmla="*/ 105382 w 290153"/>
              <a:gd name="T29" fmla="*/ 176034 h 290152"/>
              <a:gd name="T30" fmla="*/ 77847 w 290153"/>
              <a:gd name="T31" fmla="*/ 90389 h 290152"/>
              <a:gd name="T32" fmla="*/ 129920 w 290153"/>
              <a:gd name="T33" fmla="*/ 77998 h 290152"/>
              <a:gd name="T34" fmla="*/ 150509 w 290153"/>
              <a:gd name="T35" fmla="*/ 77998 h 290152"/>
              <a:gd name="T36" fmla="*/ 140034 w 290153"/>
              <a:gd name="T37" fmla="*/ 59030 h 290152"/>
              <a:gd name="T38" fmla="*/ 140034 w 290153"/>
              <a:gd name="T39" fmla="*/ 96962 h 290152"/>
              <a:gd name="T40" fmla="*/ 140034 w 290153"/>
              <a:gd name="T41" fmla="*/ 59030 h 290152"/>
              <a:gd name="T42" fmla="*/ 244143 w 290153"/>
              <a:gd name="T43" fmla="*/ 82329 h 290152"/>
              <a:gd name="T44" fmla="*/ 282540 w 290153"/>
              <a:gd name="T45" fmla="*/ 43884 h 290152"/>
              <a:gd name="T46" fmla="*/ 44157 w 290153"/>
              <a:gd name="T47" fmla="*/ 43771 h 290152"/>
              <a:gd name="T48" fmla="*/ 74226 w 290153"/>
              <a:gd name="T49" fmla="*/ 79909 h 290152"/>
              <a:gd name="T50" fmla="*/ 126758 w 290153"/>
              <a:gd name="T51" fmla="*/ 145318 h 290152"/>
              <a:gd name="T52" fmla="*/ 160088 w 290153"/>
              <a:gd name="T53" fmla="*/ 108096 h 290152"/>
              <a:gd name="T54" fmla="*/ 200302 w 290153"/>
              <a:gd name="T55" fmla="*/ 43771 h 290152"/>
              <a:gd name="T56" fmla="*/ 39807 w 290153"/>
              <a:gd name="T57" fmla="*/ 35100 h 290152"/>
              <a:gd name="T58" fmla="*/ 208636 w 290153"/>
              <a:gd name="T59" fmla="*/ 39436 h 290152"/>
              <a:gd name="T60" fmla="*/ 204650 w 290153"/>
              <a:gd name="T61" fmla="*/ 184708 h 290152"/>
              <a:gd name="T62" fmla="*/ 35097 w 290153"/>
              <a:gd name="T63" fmla="*/ 180371 h 290152"/>
              <a:gd name="T64" fmla="*/ 39807 w 290153"/>
              <a:gd name="T65" fmla="*/ 35100 h 290152"/>
              <a:gd name="T66" fmla="*/ 9055 w 290153"/>
              <a:gd name="T67" fmla="*/ 21761 h 290152"/>
              <a:gd name="T68" fmla="*/ 282540 w 290153"/>
              <a:gd name="T69" fmla="*/ 212171 h 290152"/>
              <a:gd name="T70" fmla="*/ 239796 w 290153"/>
              <a:gd name="T71" fmla="*/ 185332 h 290152"/>
              <a:gd name="T72" fmla="*/ 235450 w 290153"/>
              <a:gd name="T73" fmla="*/ 39532 h 290152"/>
              <a:gd name="T74" fmla="*/ 282540 w 290153"/>
              <a:gd name="T75" fmla="*/ 35182 h 290152"/>
              <a:gd name="T76" fmla="*/ 269138 w 290153"/>
              <a:gd name="T77" fmla="*/ 8705 h 290152"/>
              <a:gd name="T78" fmla="*/ 22095 w 290153"/>
              <a:gd name="T79" fmla="*/ 0 h 290152"/>
              <a:gd name="T80" fmla="*/ 291595 w 290153"/>
              <a:gd name="T81" fmla="*/ 21761 h 290152"/>
              <a:gd name="T82" fmla="*/ 269138 w 290153"/>
              <a:gd name="T83" fmla="*/ 256056 h 290152"/>
              <a:gd name="T84" fmla="*/ 203212 w 290153"/>
              <a:gd name="T85" fmla="*/ 282532 h 290152"/>
              <a:gd name="T86" fmla="*/ 238347 w 290153"/>
              <a:gd name="T87" fmla="*/ 286884 h 290152"/>
              <a:gd name="T88" fmla="*/ 57233 w 290153"/>
              <a:gd name="T89" fmla="*/ 291598 h 290152"/>
              <a:gd name="T90" fmla="*/ 57233 w 290153"/>
              <a:gd name="T91" fmla="*/ 282532 h 290152"/>
              <a:gd name="T92" fmla="*/ 88022 w 290153"/>
              <a:gd name="T93" fmla="*/ 256056 h 290152"/>
              <a:gd name="T94" fmla="*/ 0 w 290153"/>
              <a:gd name="T95" fmla="*/ 233933 h 290152"/>
              <a:gd name="T96" fmla="*/ 22095 w 290153"/>
              <a:gd name="T97" fmla="*/ 0 h 29015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90153" h="290152">
                <a:moveTo>
                  <a:pt x="96597" y="254786"/>
                </a:moveTo>
                <a:lnTo>
                  <a:pt x="96597" y="281130"/>
                </a:lnTo>
                <a:lnTo>
                  <a:pt x="193195" y="281130"/>
                </a:lnTo>
                <a:lnTo>
                  <a:pt x="193195" y="254786"/>
                </a:lnTo>
                <a:lnTo>
                  <a:pt x="96597" y="254786"/>
                </a:lnTo>
                <a:close/>
                <a:moveTo>
                  <a:pt x="9011" y="219780"/>
                </a:moveTo>
                <a:lnTo>
                  <a:pt x="9011" y="232772"/>
                </a:lnTo>
                <a:cubicBezTo>
                  <a:pt x="9011" y="240350"/>
                  <a:pt x="14778" y="246124"/>
                  <a:pt x="21987" y="246124"/>
                </a:cubicBezTo>
                <a:lnTo>
                  <a:pt x="267806" y="246124"/>
                </a:lnTo>
                <a:cubicBezTo>
                  <a:pt x="275014" y="246124"/>
                  <a:pt x="281142" y="240350"/>
                  <a:pt x="281142" y="232772"/>
                </a:cubicBezTo>
                <a:lnTo>
                  <a:pt x="281142" y="219780"/>
                </a:lnTo>
                <a:lnTo>
                  <a:pt x="9011" y="219780"/>
                </a:lnTo>
                <a:close/>
                <a:moveTo>
                  <a:pt x="242935" y="137859"/>
                </a:moveTo>
                <a:lnTo>
                  <a:pt x="242935" y="175752"/>
                </a:lnTo>
                <a:lnTo>
                  <a:pt x="281142" y="175752"/>
                </a:lnTo>
                <a:lnTo>
                  <a:pt x="281142" y="137859"/>
                </a:lnTo>
                <a:lnTo>
                  <a:pt x="242935" y="137859"/>
                </a:lnTo>
                <a:close/>
                <a:moveTo>
                  <a:pt x="155331" y="117628"/>
                </a:moveTo>
                <a:lnTo>
                  <a:pt x="115676" y="175161"/>
                </a:lnTo>
                <a:lnTo>
                  <a:pt x="194985" y="175161"/>
                </a:lnTo>
                <a:lnTo>
                  <a:pt x="155331" y="117628"/>
                </a:lnTo>
                <a:close/>
                <a:moveTo>
                  <a:pt x="242935" y="90583"/>
                </a:moveTo>
                <a:lnTo>
                  <a:pt x="242935" y="128836"/>
                </a:lnTo>
                <a:lnTo>
                  <a:pt x="281142" y="128836"/>
                </a:lnTo>
                <a:lnTo>
                  <a:pt x="281142" y="90583"/>
                </a:lnTo>
                <a:lnTo>
                  <a:pt x="242935" y="90583"/>
                </a:lnTo>
                <a:close/>
                <a:moveTo>
                  <a:pt x="77463" y="89941"/>
                </a:moveTo>
                <a:lnTo>
                  <a:pt x="43937" y="138124"/>
                </a:lnTo>
                <a:lnTo>
                  <a:pt x="43937" y="175161"/>
                </a:lnTo>
                <a:lnTo>
                  <a:pt x="104861" y="175161"/>
                </a:lnTo>
                <a:lnTo>
                  <a:pt x="120723" y="152148"/>
                </a:lnTo>
                <a:lnTo>
                  <a:pt x="77463" y="89941"/>
                </a:lnTo>
                <a:close/>
                <a:moveTo>
                  <a:pt x="139341" y="67284"/>
                </a:moveTo>
                <a:cubicBezTo>
                  <a:pt x="133949" y="67284"/>
                  <a:pt x="129277" y="71913"/>
                  <a:pt x="129277" y="77610"/>
                </a:cubicBezTo>
                <a:cubicBezTo>
                  <a:pt x="129277" y="82951"/>
                  <a:pt x="133949" y="87580"/>
                  <a:pt x="139341" y="87580"/>
                </a:cubicBezTo>
                <a:cubicBezTo>
                  <a:pt x="145092" y="87580"/>
                  <a:pt x="149764" y="82951"/>
                  <a:pt x="149764" y="77610"/>
                </a:cubicBezTo>
                <a:cubicBezTo>
                  <a:pt x="149764" y="71913"/>
                  <a:pt x="145092" y="67284"/>
                  <a:pt x="139341" y="67284"/>
                </a:cubicBezTo>
                <a:close/>
                <a:moveTo>
                  <a:pt x="139341" y="58738"/>
                </a:moveTo>
                <a:cubicBezTo>
                  <a:pt x="150124" y="58738"/>
                  <a:pt x="158391" y="67284"/>
                  <a:pt x="158391" y="77610"/>
                </a:cubicBezTo>
                <a:cubicBezTo>
                  <a:pt x="158391" y="87936"/>
                  <a:pt x="150124" y="96482"/>
                  <a:pt x="139341" y="96482"/>
                </a:cubicBezTo>
                <a:cubicBezTo>
                  <a:pt x="129277" y="96482"/>
                  <a:pt x="120650" y="87936"/>
                  <a:pt x="120650" y="77610"/>
                </a:cubicBezTo>
                <a:cubicBezTo>
                  <a:pt x="120650" y="67284"/>
                  <a:pt x="129277" y="58738"/>
                  <a:pt x="139341" y="58738"/>
                </a:cubicBezTo>
                <a:close/>
                <a:moveTo>
                  <a:pt x="242935" y="43667"/>
                </a:moveTo>
                <a:lnTo>
                  <a:pt x="242935" y="81921"/>
                </a:lnTo>
                <a:lnTo>
                  <a:pt x="281142" y="81921"/>
                </a:lnTo>
                <a:lnTo>
                  <a:pt x="281142" y="43667"/>
                </a:lnTo>
                <a:lnTo>
                  <a:pt x="242935" y="43667"/>
                </a:lnTo>
                <a:close/>
                <a:moveTo>
                  <a:pt x="43937" y="43555"/>
                </a:moveTo>
                <a:lnTo>
                  <a:pt x="43937" y="122662"/>
                </a:lnTo>
                <a:lnTo>
                  <a:pt x="73858" y="79513"/>
                </a:lnTo>
                <a:cubicBezTo>
                  <a:pt x="75300" y="76996"/>
                  <a:pt x="79626" y="76996"/>
                  <a:pt x="81068" y="79513"/>
                </a:cubicBezTo>
                <a:lnTo>
                  <a:pt x="126131" y="144597"/>
                </a:lnTo>
                <a:lnTo>
                  <a:pt x="151726" y="107560"/>
                </a:lnTo>
                <a:cubicBezTo>
                  <a:pt x="153528" y="105043"/>
                  <a:pt x="157494" y="105043"/>
                  <a:pt x="159296" y="107560"/>
                </a:cubicBezTo>
                <a:lnTo>
                  <a:pt x="199311" y="165452"/>
                </a:lnTo>
                <a:lnTo>
                  <a:pt x="199311" y="43555"/>
                </a:lnTo>
                <a:lnTo>
                  <a:pt x="43937" y="43555"/>
                </a:lnTo>
                <a:close/>
                <a:moveTo>
                  <a:pt x="39611" y="34925"/>
                </a:moveTo>
                <a:lnTo>
                  <a:pt x="203637" y="34925"/>
                </a:lnTo>
                <a:cubicBezTo>
                  <a:pt x="205800" y="34925"/>
                  <a:pt x="207603" y="36723"/>
                  <a:pt x="207603" y="39240"/>
                </a:cubicBezTo>
                <a:lnTo>
                  <a:pt x="207603" y="179476"/>
                </a:lnTo>
                <a:cubicBezTo>
                  <a:pt x="207603" y="181993"/>
                  <a:pt x="205800" y="183791"/>
                  <a:pt x="203637" y="183791"/>
                </a:cubicBezTo>
                <a:lnTo>
                  <a:pt x="39611" y="183791"/>
                </a:lnTo>
                <a:cubicBezTo>
                  <a:pt x="37088" y="183791"/>
                  <a:pt x="34925" y="181993"/>
                  <a:pt x="34925" y="179476"/>
                </a:cubicBezTo>
                <a:lnTo>
                  <a:pt x="34925" y="39240"/>
                </a:lnTo>
                <a:cubicBezTo>
                  <a:pt x="34925" y="36723"/>
                  <a:pt x="37088" y="34925"/>
                  <a:pt x="39611" y="34925"/>
                </a:cubicBezTo>
                <a:close/>
                <a:moveTo>
                  <a:pt x="21987" y="8661"/>
                </a:moveTo>
                <a:cubicBezTo>
                  <a:pt x="14778" y="8661"/>
                  <a:pt x="9011" y="14435"/>
                  <a:pt x="9011" y="21653"/>
                </a:cubicBezTo>
                <a:lnTo>
                  <a:pt x="9011" y="211118"/>
                </a:lnTo>
                <a:lnTo>
                  <a:pt x="281142" y="211118"/>
                </a:lnTo>
                <a:lnTo>
                  <a:pt x="281142" y="184413"/>
                </a:lnTo>
                <a:lnTo>
                  <a:pt x="238610" y="184413"/>
                </a:lnTo>
                <a:cubicBezTo>
                  <a:pt x="236087" y="184413"/>
                  <a:pt x="234285" y="182608"/>
                  <a:pt x="234285" y="180082"/>
                </a:cubicBezTo>
                <a:lnTo>
                  <a:pt x="234285" y="39336"/>
                </a:lnTo>
                <a:cubicBezTo>
                  <a:pt x="234285" y="36810"/>
                  <a:pt x="236087" y="35006"/>
                  <a:pt x="238610" y="35006"/>
                </a:cubicBezTo>
                <a:lnTo>
                  <a:pt x="281142" y="35006"/>
                </a:lnTo>
                <a:lnTo>
                  <a:pt x="281142" y="21653"/>
                </a:lnTo>
                <a:cubicBezTo>
                  <a:pt x="281142" y="14435"/>
                  <a:pt x="275014" y="8661"/>
                  <a:pt x="267806" y="8661"/>
                </a:cubicBezTo>
                <a:lnTo>
                  <a:pt x="21987" y="8661"/>
                </a:lnTo>
                <a:close/>
                <a:moveTo>
                  <a:pt x="21987" y="0"/>
                </a:moveTo>
                <a:lnTo>
                  <a:pt x="267806" y="0"/>
                </a:lnTo>
                <a:cubicBezTo>
                  <a:pt x="280060" y="0"/>
                  <a:pt x="290153" y="9744"/>
                  <a:pt x="290153" y="21653"/>
                </a:cubicBezTo>
                <a:lnTo>
                  <a:pt x="290153" y="232772"/>
                </a:lnTo>
                <a:cubicBezTo>
                  <a:pt x="290153" y="245042"/>
                  <a:pt x="280060" y="254786"/>
                  <a:pt x="267806" y="254786"/>
                </a:cubicBezTo>
                <a:lnTo>
                  <a:pt x="202206" y="254786"/>
                </a:lnTo>
                <a:lnTo>
                  <a:pt x="202206" y="281130"/>
                </a:lnTo>
                <a:lnTo>
                  <a:pt x="232843" y="281130"/>
                </a:lnTo>
                <a:cubicBezTo>
                  <a:pt x="235006" y="281130"/>
                  <a:pt x="237168" y="283296"/>
                  <a:pt x="237168" y="285461"/>
                </a:cubicBezTo>
                <a:cubicBezTo>
                  <a:pt x="237168" y="288348"/>
                  <a:pt x="235006" y="290152"/>
                  <a:pt x="232843" y="290152"/>
                </a:cubicBezTo>
                <a:lnTo>
                  <a:pt x="56949" y="290152"/>
                </a:lnTo>
                <a:cubicBezTo>
                  <a:pt x="54786" y="290152"/>
                  <a:pt x="52624" y="288348"/>
                  <a:pt x="52624" y="285461"/>
                </a:cubicBezTo>
                <a:cubicBezTo>
                  <a:pt x="52624" y="283296"/>
                  <a:pt x="54786" y="281130"/>
                  <a:pt x="56949" y="281130"/>
                </a:cubicBezTo>
                <a:lnTo>
                  <a:pt x="87586" y="281130"/>
                </a:lnTo>
                <a:lnTo>
                  <a:pt x="87586" y="254786"/>
                </a:lnTo>
                <a:lnTo>
                  <a:pt x="21987" y="254786"/>
                </a:lnTo>
                <a:cubicBezTo>
                  <a:pt x="9732" y="254786"/>
                  <a:pt x="0" y="245042"/>
                  <a:pt x="0" y="232772"/>
                </a:cubicBezTo>
                <a:lnTo>
                  <a:pt x="0" y="21653"/>
                </a:lnTo>
                <a:cubicBezTo>
                  <a:pt x="0" y="9744"/>
                  <a:pt x="9732" y="0"/>
                  <a:pt x="21987" y="0"/>
                </a:cubicBezTo>
                <a:close/>
              </a:path>
            </a:pathLst>
          </a:custGeom>
          <a:solidFill>
            <a:schemeClr val="accent4"/>
          </a:solidFill>
          <a:ln>
            <a:noFill/>
          </a:ln>
          <a:effectLst/>
        </p:spPr>
        <p:txBody>
          <a:bodyPr anchor="ctr"/>
          <a:lstStyle/>
          <a:p>
            <a:endParaRPr lang="en-US" sz="900" dirty="0"/>
          </a:p>
        </p:txBody>
      </p:sp>
      <p:sp>
        <p:nvSpPr>
          <p:cNvPr id="40" name="Freeform 1023">
            <a:extLst>
              <a:ext uri="{FF2B5EF4-FFF2-40B4-BE49-F238E27FC236}">
                <a16:creationId xmlns:a16="http://schemas.microsoft.com/office/drawing/2014/main" id="{6D7021C3-00B5-D948-8A3A-D80EB9D232B0}"/>
              </a:ext>
            </a:extLst>
          </p:cNvPr>
          <p:cNvSpPr>
            <a:spLocks noChangeAspect="1" noChangeArrowheads="1"/>
          </p:cNvSpPr>
          <p:nvPr/>
        </p:nvSpPr>
        <p:spPr bwMode="auto">
          <a:xfrm>
            <a:off x="8643725" y="5198415"/>
            <a:ext cx="506563" cy="506564"/>
          </a:xfrm>
          <a:custGeom>
            <a:avLst/>
            <a:gdLst>
              <a:gd name="T0" fmla="*/ 185413 w 290207"/>
              <a:gd name="T1" fmla="*/ 276365 h 290151"/>
              <a:gd name="T2" fmla="*/ 185413 w 290207"/>
              <a:gd name="T3" fmla="*/ 244449 h 290151"/>
              <a:gd name="T4" fmla="*/ 80033 w 290207"/>
              <a:gd name="T5" fmla="*/ 245175 h 290151"/>
              <a:gd name="T6" fmla="*/ 90535 w 290207"/>
              <a:gd name="T7" fmla="*/ 208181 h 290151"/>
              <a:gd name="T8" fmla="*/ 112986 w 290207"/>
              <a:gd name="T9" fmla="*/ 218336 h 290151"/>
              <a:gd name="T10" fmla="*/ 264721 w 290207"/>
              <a:gd name="T11" fmla="*/ 91034 h 290151"/>
              <a:gd name="T12" fmla="*/ 133839 w 290207"/>
              <a:gd name="T13" fmla="*/ 71793 h 290151"/>
              <a:gd name="T14" fmla="*/ 168621 w 290207"/>
              <a:gd name="T15" fmla="*/ 76389 h 290151"/>
              <a:gd name="T16" fmla="*/ 133839 w 290207"/>
              <a:gd name="T17" fmla="*/ 80983 h 290151"/>
              <a:gd name="T18" fmla="*/ 133839 w 290207"/>
              <a:gd name="T19" fmla="*/ 71793 h 290151"/>
              <a:gd name="T20" fmla="*/ 94517 w 290207"/>
              <a:gd name="T21" fmla="*/ 199839 h 290151"/>
              <a:gd name="T22" fmla="*/ 246253 w 290207"/>
              <a:gd name="T23" fmla="*/ 72537 h 290151"/>
              <a:gd name="T24" fmla="*/ 254581 w 290207"/>
              <a:gd name="T25" fmla="*/ 42436 h 290151"/>
              <a:gd name="T26" fmla="*/ 240097 w 290207"/>
              <a:gd name="T27" fmla="*/ 54040 h 290151"/>
              <a:gd name="T28" fmla="*/ 280656 w 290207"/>
              <a:gd name="T29" fmla="*/ 75439 h 290151"/>
              <a:gd name="T30" fmla="*/ 259652 w 290207"/>
              <a:gd name="T31" fmla="*/ 44248 h 290151"/>
              <a:gd name="T32" fmla="*/ 4708 w 290207"/>
              <a:gd name="T33" fmla="*/ 0 h 290151"/>
              <a:gd name="T34" fmla="*/ 232853 w 290207"/>
              <a:gd name="T35" fmla="*/ 4351 h 290151"/>
              <a:gd name="T36" fmla="*/ 228146 w 290207"/>
              <a:gd name="T37" fmla="*/ 30467 h 290151"/>
              <a:gd name="T38" fmla="*/ 223800 w 290207"/>
              <a:gd name="T39" fmla="*/ 8705 h 290151"/>
              <a:gd name="T40" fmla="*/ 9053 w 290207"/>
              <a:gd name="T41" fmla="*/ 282894 h 290151"/>
              <a:gd name="T42" fmla="*/ 176722 w 290207"/>
              <a:gd name="T43" fmla="*/ 240097 h 290151"/>
              <a:gd name="T44" fmla="*/ 223800 w 290207"/>
              <a:gd name="T45" fmla="*/ 235381 h 290151"/>
              <a:gd name="T46" fmla="*/ 128559 w 290207"/>
              <a:gd name="T47" fmla="*/ 240097 h 290151"/>
              <a:gd name="T48" fmla="*/ 74963 w 290207"/>
              <a:gd name="T49" fmla="*/ 256055 h 290151"/>
              <a:gd name="T50" fmla="*/ 29695 w 290207"/>
              <a:gd name="T51" fmla="*/ 211808 h 290151"/>
              <a:gd name="T52" fmla="*/ 89085 w 290207"/>
              <a:gd name="T53" fmla="*/ 151965 h 290151"/>
              <a:gd name="T54" fmla="*/ 61563 w 290207"/>
              <a:gd name="T55" fmla="*/ 136732 h 290151"/>
              <a:gd name="T56" fmla="*/ 61563 w 290207"/>
              <a:gd name="T57" fmla="*/ 72537 h 290151"/>
              <a:gd name="T58" fmla="*/ 114074 w 290207"/>
              <a:gd name="T59" fmla="*/ 76889 h 290151"/>
              <a:gd name="T60" fmla="*/ 61563 w 290207"/>
              <a:gd name="T61" fmla="*/ 81242 h 290151"/>
              <a:gd name="T62" fmla="*/ 61563 w 290207"/>
              <a:gd name="T63" fmla="*/ 127665 h 290151"/>
              <a:gd name="T64" fmla="*/ 98140 w 290207"/>
              <a:gd name="T65" fmla="*/ 151965 h 290151"/>
              <a:gd name="T66" fmla="*/ 38386 w 290207"/>
              <a:gd name="T67" fmla="*/ 211808 h 290151"/>
              <a:gd name="T68" fmla="*/ 84015 w 290207"/>
              <a:gd name="T69" fmla="*/ 198389 h 290151"/>
              <a:gd name="T70" fmla="*/ 227422 w 290207"/>
              <a:gd name="T71" fmla="*/ 54040 h 290151"/>
              <a:gd name="T72" fmla="*/ 226698 w 290207"/>
              <a:gd name="T73" fmla="*/ 46786 h 290151"/>
              <a:gd name="T74" fmla="*/ 233577 w 290207"/>
              <a:gd name="T75" fmla="*/ 47512 h 290151"/>
              <a:gd name="T76" fmla="*/ 254581 w 290207"/>
              <a:gd name="T77" fmla="*/ 33366 h 290151"/>
              <a:gd name="T78" fmla="*/ 286811 w 290207"/>
              <a:gd name="T79" fmla="*/ 58756 h 290151"/>
              <a:gd name="T80" fmla="*/ 277396 w 290207"/>
              <a:gd name="T81" fmla="*/ 91034 h 290151"/>
              <a:gd name="T82" fmla="*/ 278482 w 290207"/>
              <a:gd name="T83" fmla="*/ 98650 h 290151"/>
              <a:gd name="T84" fmla="*/ 272326 w 290207"/>
              <a:gd name="T85" fmla="*/ 98650 h 290151"/>
              <a:gd name="T86" fmla="*/ 232853 w 290207"/>
              <a:gd name="T87" fmla="*/ 136007 h 290151"/>
              <a:gd name="T88" fmla="*/ 231405 w 290207"/>
              <a:gd name="T89" fmla="*/ 242999 h 290151"/>
              <a:gd name="T90" fmla="*/ 181069 w 290207"/>
              <a:gd name="T91" fmla="*/ 291597 h 290151"/>
              <a:gd name="T92" fmla="*/ 0 w 290207"/>
              <a:gd name="T93" fmla="*/ 286883 h 290151"/>
              <a:gd name="T94" fmla="*/ 4708 w 290207"/>
              <a:gd name="T95" fmla="*/ 0 h 2901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0207" h="290151">
                <a:moveTo>
                  <a:pt x="184636" y="243236"/>
                </a:moveTo>
                <a:lnTo>
                  <a:pt x="184636" y="274994"/>
                </a:lnTo>
                <a:lnTo>
                  <a:pt x="216731" y="243236"/>
                </a:lnTo>
                <a:lnTo>
                  <a:pt x="184636" y="243236"/>
                </a:lnTo>
                <a:close/>
                <a:moveTo>
                  <a:pt x="90155" y="207148"/>
                </a:moveTo>
                <a:lnTo>
                  <a:pt x="79697" y="243958"/>
                </a:lnTo>
                <a:lnTo>
                  <a:pt x="116840" y="233853"/>
                </a:lnTo>
                <a:lnTo>
                  <a:pt x="90155" y="207148"/>
                </a:lnTo>
                <a:close/>
                <a:moveTo>
                  <a:pt x="251350" y="78312"/>
                </a:moveTo>
                <a:lnTo>
                  <a:pt x="112513" y="217253"/>
                </a:lnTo>
                <a:lnTo>
                  <a:pt x="125134" y="229523"/>
                </a:lnTo>
                <a:lnTo>
                  <a:pt x="263611" y="90582"/>
                </a:lnTo>
                <a:lnTo>
                  <a:pt x="251350" y="78312"/>
                </a:lnTo>
                <a:close/>
                <a:moveTo>
                  <a:pt x="133278" y="71437"/>
                </a:moveTo>
                <a:lnTo>
                  <a:pt x="163585" y="71437"/>
                </a:lnTo>
                <a:cubicBezTo>
                  <a:pt x="166110" y="71437"/>
                  <a:pt x="167914" y="73342"/>
                  <a:pt x="167914" y="76009"/>
                </a:cubicBezTo>
                <a:cubicBezTo>
                  <a:pt x="167914" y="78676"/>
                  <a:pt x="166110" y="80581"/>
                  <a:pt x="163585" y="80581"/>
                </a:cubicBezTo>
                <a:lnTo>
                  <a:pt x="133278" y="80581"/>
                </a:lnTo>
                <a:cubicBezTo>
                  <a:pt x="130752" y="80581"/>
                  <a:pt x="128587" y="78676"/>
                  <a:pt x="128587" y="76009"/>
                </a:cubicBezTo>
                <a:cubicBezTo>
                  <a:pt x="128587" y="73342"/>
                  <a:pt x="130752" y="71437"/>
                  <a:pt x="133278" y="71437"/>
                </a:cubicBezTo>
                <a:close/>
                <a:moveTo>
                  <a:pt x="232598" y="59546"/>
                </a:moveTo>
                <a:lnTo>
                  <a:pt x="94121" y="198848"/>
                </a:lnTo>
                <a:lnTo>
                  <a:pt x="106382" y="211118"/>
                </a:lnTo>
                <a:lnTo>
                  <a:pt x="245220" y="72177"/>
                </a:lnTo>
                <a:lnTo>
                  <a:pt x="232598" y="59546"/>
                </a:lnTo>
                <a:close/>
                <a:moveTo>
                  <a:pt x="253514" y="42224"/>
                </a:moveTo>
                <a:cubicBezTo>
                  <a:pt x="251711" y="42224"/>
                  <a:pt x="249547" y="42946"/>
                  <a:pt x="248105" y="44028"/>
                </a:cubicBezTo>
                <a:lnTo>
                  <a:pt x="239090" y="53772"/>
                </a:lnTo>
                <a:lnTo>
                  <a:pt x="270103" y="84447"/>
                </a:lnTo>
                <a:lnTo>
                  <a:pt x="279479" y="75064"/>
                </a:lnTo>
                <a:cubicBezTo>
                  <a:pt x="282003" y="72177"/>
                  <a:pt x="282003" y="67847"/>
                  <a:pt x="279479" y="64959"/>
                </a:cubicBezTo>
                <a:lnTo>
                  <a:pt x="258563" y="44028"/>
                </a:lnTo>
                <a:cubicBezTo>
                  <a:pt x="257481" y="42946"/>
                  <a:pt x="255317" y="42224"/>
                  <a:pt x="253514" y="42224"/>
                </a:cubicBezTo>
                <a:close/>
                <a:moveTo>
                  <a:pt x="4688" y="0"/>
                </a:moveTo>
                <a:lnTo>
                  <a:pt x="227189" y="0"/>
                </a:lnTo>
                <a:cubicBezTo>
                  <a:pt x="229713" y="0"/>
                  <a:pt x="231877" y="1805"/>
                  <a:pt x="231877" y="4331"/>
                </a:cubicBezTo>
                <a:lnTo>
                  <a:pt x="231877" y="25984"/>
                </a:lnTo>
                <a:cubicBezTo>
                  <a:pt x="231877" y="28510"/>
                  <a:pt x="229713" y="30315"/>
                  <a:pt x="227189" y="30315"/>
                </a:cubicBezTo>
                <a:cubicBezTo>
                  <a:pt x="224665" y="30315"/>
                  <a:pt x="222862" y="28510"/>
                  <a:pt x="222862" y="25984"/>
                </a:cubicBezTo>
                <a:lnTo>
                  <a:pt x="222862" y="8661"/>
                </a:lnTo>
                <a:lnTo>
                  <a:pt x="9016" y="8661"/>
                </a:lnTo>
                <a:lnTo>
                  <a:pt x="9016" y="281490"/>
                </a:lnTo>
                <a:lnTo>
                  <a:pt x="175981" y="281490"/>
                </a:lnTo>
                <a:lnTo>
                  <a:pt x="175981" y="238906"/>
                </a:lnTo>
                <a:cubicBezTo>
                  <a:pt x="175981" y="236380"/>
                  <a:pt x="177785" y="234214"/>
                  <a:pt x="180309" y="234214"/>
                </a:cubicBezTo>
                <a:lnTo>
                  <a:pt x="222862" y="234214"/>
                </a:lnTo>
                <a:lnTo>
                  <a:pt x="222862" y="144354"/>
                </a:lnTo>
                <a:lnTo>
                  <a:pt x="128019" y="238906"/>
                </a:lnTo>
                <a:cubicBezTo>
                  <a:pt x="127659" y="239628"/>
                  <a:pt x="126938" y="239988"/>
                  <a:pt x="126216" y="239988"/>
                </a:cubicBezTo>
                <a:lnTo>
                  <a:pt x="74648" y="254785"/>
                </a:lnTo>
                <a:cubicBezTo>
                  <a:pt x="74287" y="254785"/>
                  <a:pt x="73566" y="254785"/>
                  <a:pt x="73206" y="254785"/>
                </a:cubicBezTo>
                <a:cubicBezTo>
                  <a:pt x="49044" y="254785"/>
                  <a:pt x="29571" y="235297"/>
                  <a:pt x="29571" y="210757"/>
                </a:cubicBezTo>
                <a:cubicBezTo>
                  <a:pt x="29571" y="186578"/>
                  <a:pt x="49044" y="166729"/>
                  <a:pt x="73206" y="166729"/>
                </a:cubicBezTo>
                <a:cubicBezTo>
                  <a:pt x="81860" y="166729"/>
                  <a:pt x="88712" y="159872"/>
                  <a:pt x="88712" y="151211"/>
                </a:cubicBezTo>
                <a:cubicBezTo>
                  <a:pt x="88712" y="142910"/>
                  <a:pt x="81860" y="136054"/>
                  <a:pt x="73206" y="136054"/>
                </a:cubicBezTo>
                <a:lnTo>
                  <a:pt x="61305" y="136054"/>
                </a:lnTo>
                <a:cubicBezTo>
                  <a:pt x="43635" y="136054"/>
                  <a:pt x="29571" y="121618"/>
                  <a:pt x="29571" y="103935"/>
                </a:cubicBezTo>
                <a:cubicBezTo>
                  <a:pt x="29571" y="86613"/>
                  <a:pt x="43635" y="72177"/>
                  <a:pt x="61305" y="72177"/>
                </a:cubicBezTo>
                <a:lnTo>
                  <a:pt x="108907" y="72177"/>
                </a:lnTo>
                <a:cubicBezTo>
                  <a:pt x="111431" y="72177"/>
                  <a:pt x="113595" y="73982"/>
                  <a:pt x="113595" y="76508"/>
                </a:cubicBezTo>
                <a:cubicBezTo>
                  <a:pt x="113595" y="79034"/>
                  <a:pt x="111431" y="80838"/>
                  <a:pt x="108907" y="80838"/>
                </a:cubicBezTo>
                <a:lnTo>
                  <a:pt x="61305" y="80838"/>
                </a:lnTo>
                <a:cubicBezTo>
                  <a:pt x="48323" y="80838"/>
                  <a:pt x="38226" y="91304"/>
                  <a:pt x="38226" y="103935"/>
                </a:cubicBezTo>
                <a:cubicBezTo>
                  <a:pt x="38226" y="116566"/>
                  <a:pt x="48323" y="127032"/>
                  <a:pt x="61305" y="127032"/>
                </a:cubicBezTo>
                <a:lnTo>
                  <a:pt x="73206" y="127032"/>
                </a:lnTo>
                <a:cubicBezTo>
                  <a:pt x="86548" y="127032"/>
                  <a:pt x="97728" y="137858"/>
                  <a:pt x="97728" y="151211"/>
                </a:cubicBezTo>
                <a:cubicBezTo>
                  <a:pt x="97728" y="164564"/>
                  <a:pt x="86548" y="175751"/>
                  <a:pt x="73206" y="175751"/>
                </a:cubicBezTo>
                <a:cubicBezTo>
                  <a:pt x="54093" y="175751"/>
                  <a:pt x="38226" y="191269"/>
                  <a:pt x="38226" y="210757"/>
                </a:cubicBezTo>
                <a:cubicBezTo>
                  <a:pt x="38226" y="229162"/>
                  <a:pt x="51929" y="244319"/>
                  <a:pt x="69960" y="246123"/>
                </a:cubicBezTo>
                <a:lnTo>
                  <a:pt x="83663" y="197404"/>
                </a:lnTo>
                <a:cubicBezTo>
                  <a:pt x="83663" y="196682"/>
                  <a:pt x="84385" y="196321"/>
                  <a:pt x="84745" y="195600"/>
                </a:cubicBezTo>
                <a:lnTo>
                  <a:pt x="226468" y="53772"/>
                </a:lnTo>
                <a:lnTo>
                  <a:pt x="225747" y="52328"/>
                </a:lnTo>
                <a:cubicBezTo>
                  <a:pt x="223944" y="50885"/>
                  <a:pt x="223944" y="47998"/>
                  <a:pt x="225747" y="46554"/>
                </a:cubicBezTo>
                <a:cubicBezTo>
                  <a:pt x="227189" y="44750"/>
                  <a:pt x="230074" y="44750"/>
                  <a:pt x="231877" y="46554"/>
                </a:cubicBezTo>
                <a:lnTo>
                  <a:pt x="232598" y="47276"/>
                </a:lnTo>
                <a:lnTo>
                  <a:pt x="241974" y="38254"/>
                </a:lnTo>
                <a:cubicBezTo>
                  <a:pt x="244859" y="35006"/>
                  <a:pt x="249187" y="33202"/>
                  <a:pt x="253514" y="33202"/>
                </a:cubicBezTo>
                <a:cubicBezTo>
                  <a:pt x="257842" y="33202"/>
                  <a:pt x="261808" y="35006"/>
                  <a:pt x="265054" y="38254"/>
                </a:cubicBezTo>
                <a:lnTo>
                  <a:pt x="285609" y="58464"/>
                </a:lnTo>
                <a:cubicBezTo>
                  <a:pt x="291740" y="64959"/>
                  <a:pt x="291740" y="75064"/>
                  <a:pt x="285609" y="81199"/>
                </a:cubicBezTo>
                <a:lnTo>
                  <a:pt x="276233" y="90582"/>
                </a:lnTo>
                <a:lnTo>
                  <a:pt x="277315" y="92026"/>
                </a:lnTo>
                <a:cubicBezTo>
                  <a:pt x="279118" y="93830"/>
                  <a:pt x="279118" y="96356"/>
                  <a:pt x="277315" y="98161"/>
                </a:cubicBezTo>
                <a:cubicBezTo>
                  <a:pt x="276594" y="98883"/>
                  <a:pt x="275512" y="99243"/>
                  <a:pt x="274069" y="99243"/>
                </a:cubicBezTo>
                <a:cubicBezTo>
                  <a:pt x="273348" y="99243"/>
                  <a:pt x="271906" y="98883"/>
                  <a:pt x="271184" y="98161"/>
                </a:cubicBezTo>
                <a:lnTo>
                  <a:pt x="270103" y="97078"/>
                </a:lnTo>
                <a:lnTo>
                  <a:pt x="231877" y="135332"/>
                </a:lnTo>
                <a:lnTo>
                  <a:pt x="231877" y="238906"/>
                </a:lnTo>
                <a:cubicBezTo>
                  <a:pt x="231877" y="239988"/>
                  <a:pt x="231156" y="241071"/>
                  <a:pt x="230435" y="241793"/>
                </a:cubicBezTo>
                <a:lnTo>
                  <a:pt x="183554" y="288708"/>
                </a:lnTo>
                <a:cubicBezTo>
                  <a:pt x="182473" y="289790"/>
                  <a:pt x="181391" y="290151"/>
                  <a:pt x="180309" y="290151"/>
                </a:cubicBezTo>
                <a:lnTo>
                  <a:pt x="4688" y="290151"/>
                </a:lnTo>
                <a:cubicBezTo>
                  <a:pt x="2164" y="290151"/>
                  <a:pt x="0" y="288347"/>
                  <a:pt x="0" y="285460"/>
                </a:cubicBezTo>
                <a:lnTo>
                  <a:pt x="0" y="4331"/>
                </a:lnTo>
                <a:cubicBezTo>
                  <a:pt x="0" y="1805"/>
                  <a:pt x="2164" y="0"/>
                  <a:pt x="4688" y="0"/>
                </a:cubicBezTo>
                <a:close/>
              </a:path>
            </a:pathLst>
          </a:custGeom>
          <a:solidFill>
            <a:schemeClr val="accent2"/>
          </a:solidFill>
          <a:ln>
            <a:noFill/>
          </a:ln>
          <a:effectLst/>
        </p:spPr>
        <p:txBody>
          <a:bodyPr anchor="ctr"/>
          <a:lstStyle/>
          <a:p>
            <a:endParaRPr lang="en-US" sz="900" dirty="0"/>
          </a:p>
        </p:txBody>
      </p:sp>
      <p:sp>
        <p:nvSpPr>
          <p:cNvPr id="41" name="Subtitle 2">
            <a:extLst>
              <a:ext uri="{FF2B5EF4-FFF2-40B4-BE49-F238E27FC236}">
                <a16:creationId xmlns:a16="http://schemas.microsoft.com/office/drawing/2014/main" id="{C82F1176-CB03-A54F-8CE1-8F82C253B9B7}"/>
              </a:ext>
            </a:extLst>
          </p:cNvPr>
          <p:cNvSpPr txBox="1">
            <a:spLocks/>
          </p:cNvSpPr>
          <p:nvPr/>
        </p:nvSpPr>
        <p:spPr>
          <a:xfrm>
            <a:off x="9261981" y="2380502"/>
            <a:ext cx="2309307" cy="554417"/>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a:t>
            </a:r>
          </a:p>
        </p:txBody>
      </p:sp>
      <p:sp>
        <p:nvSpPr>
          <p:cNvPr id="42" name="TextBox 41">
            <a:extLst>
              <a:ext uri="{FF2B5EF4-FFF2-40B4-BE49-F238E27FC236}">
                <a16:creationId xmlns:a16="http://schemas.microsoft.com/office/drawing/2014/main" id="{6E6AE463-9D8F-8F48-AED9-44B2C9744108}"/>
              </a:ext>
            </a:extLst>
          </p:cNvPr>
          <p:cNvSpPr txBox="1"/>
          <p:nvPr/>
        </p:nvSpPr>
        <p:spPr>
          <a:xfrm>
            <a:off x="9337083" y="2077593"/>
            <a:ext cx="971548" cy="338554"/>
          </a:xfrm>
          <a:prstGeom prst="rect">
            <a:avLst/>
          </a:prstGeom>
          <a:noFill/>
        </p:spPr>
        <p:txBody>
          <a:bodyPr wrap="none" rtlCol="0" anchor="ctr"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a:t>
            </a:r>
          </a:p>
        </p:txBody>
      </p:sp>
      <p:sp>
        <p:nvSpPr>
          <p:cNvPr id="43" name="Subtitle 2">
            <a:extLst>
              <a:ext uri="{FF2B5EF4-FFF2-40B4-BE49-F238E27FC236}">
                <a16:creationId xmlns:a16="http://schemas.microsoft.com/office/drawing/2014/main" id="{836417A8-803F-1A45-A29A-4F55E003E4B4}"/>
              </a:ext>
            </a:extLst>
          </p:cNvPr>
          <p:cNvSpPr txBox="1">
            <a:spLocks/>
          </p:cNvSpPr>
          <p:nvPr/>
        </p:nvSpPr>
        <p:spPr>
          <a:xfrm>
            <a:off x="9261981" y="3900465"/>
            <a:ext cx="2309307" cy="554417"/>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a:t>
            </a:r>
          </a:p>
        </p:txBody>
      </p:sp>
      <p:sp>
        <p:nvSpPr>
          <p:cNvPr id="44" name="TextBox 43">
            <a:extLst>
              <a:ext uri="{FF2B5EF4-FFF2-40B4-BE49-F238E27FC236}">
                <a16:creationId xmlns:a16="http://schemas.microsoft.com/office/drawing/2014/main" id="{6D81531C-A301-F04B-B7B1-3AEFC28CB3FC}"/>
              </a:ext>
            </a:extLst>
          </p:cNvPr>
          <p:cNvSpPr txBox="1"/>
          <p:nvPr/>
        </p:nvSpPr>
        <p:spPr>
          <a:xfrm>
            <a:off x="9337083" y="3597555"/>
            <a:ext cx="971548" cy="338554"/>
          </a:xfrm>
          <a:prstGeom prst="rect">
            <a:avLst/>
          </a:prstGeom>
          <a:noFill/>
        </p:spPr>
        <p:txBody>
          <a:bodyPr wrap="none" rtlCol="0" anchor="ctr"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a:t>
            </a:r>
          </a:p>
        </p:txBody>
      </p:sp>
      <p:sp>
        <p:nvSpPr>
          <p:cNvPr id="45" name="Subtitle 2">
            <a:extLst>
              <a:ext uri="{FF2B5EF4-FFF2-40B4-BE49-F238E27FC236}">
                <a16:creationId xmlns:a16="http://schemas.microsoft.com/office/drawing/2014/main" id="{84DFBAE0-B268-324F-830F-5DACBC9941CE}"/>
              </a:ext>
            </a:extLst>
          </p:cNvPr>
          <p:cNvSpPr txBox="1">
            <a:spLocks/>
          </p:cNvSpPr>
          <p:nvPr/>
        </p:nvSpPr>
        <p:spPr>
          <a:xfrm>
            <a:off x="9261981" y="5458516"/>
            <a:ext cx="2309307" cy="554417"/>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a:t>
            </a:r>
          </a:p>
        </p:txBody>
      </p:sp>
      <p:sp>
        <p:nvSpPr>
          <p:cNvPr id="46" name="TextBox 45">
            <a:extLst>
              <a:ext uri="{FF2B5EF4-FFF2-40B4-BE49-F238E27FC236}">
                <a16:creationId xmlns:a16="http://schemas.microsoft.com/office/drawing/2014/main" id="{37BC35CF-FC50-DB4E-8CE3-26DC8284392C}"/>
              </a:ext>
            </a:extLst>
          </p:cNvPr>
          <p:cNvSpPr txBox="1"/>
          <p:nvPr/>
        </p:nvSpPr>
        <p:spPr>
          <a:xfrm>
            <a:off x="9337083" y="5155606"/>
            <a:ext cx="971548" cy="338554"/>
          </a:xfrm>
          <a:prstGeom prst="rect">
            <a:avLst/>
          </a:prstGeom>
          <a:noFill/>
        </p:spPr>
        <p:txBody>
          <a:bodyPr wrap="none" rtlCol="0" anchor="ctr" anchorCtr="0">
            <a:spAutoFit/>
          </a:bodyPr>
          <a:lstStyle/>
          <a:p>
            <a:r>
              <a:rPr lang="en-US" sz="1600" b="1" dirty="0">
                <a:solidFill>
                  <a:schemeClr val="tx2"/>
                </a:solidFill>
                <a:latin typeface="Segoe UI Light" panose="020B0502040204020203" pitchFamily="34" charset="0"/>
                <a:ea typeface="League Spartan" charset="0"/>
                <a:cs typeface="Poppins" pitchFamily="2" charset="77"/>
              </a:rPr>
              <a:t>Your Title</a:t>
            </a:r>
          </a:p>
        </p:txBody>
      </p:sp>
      <p:sp>
        <p:nvSpPr>
          <p:cNvPr id="47" name="Freeform 1021">
            <a:extLst>
              <a:ext uri="{FF2B5EF4-FFF2-40B4-BE49-F238E27FC236}">
                <a16:creationId xmlns:a16="http://schemas.microsoft.com/office/drawing/2014/main" id="{99F5D1D4-813A-2F44-B712-EB929CC1C77E}"/>
              </a:ext>
            </a:extLst>
          </p:cNvPr>
          <p:cNvSpPr>
            <a:spLocks noChangeAspect="1" noChangeArrowheads="1"/>
          </p:cNvSpPr>
          <p:nvPr/>
        </p:nvSpPr>
        <p:spPr bwMode="auto">
          <a:xfrm>
            <a:off x="3007328" y="2097148"/>
            <a:ext cx="506564" cy="506564"/>
          </a:xfrm>
          <a:custGeom>
            <a:avLst/>
            <a:gdLst>
              <a:gd name="T0" fmla="*/ 160839 w 290150"/>
              <a:gd name="T1" fmla="*/ 282538 h 290152"/>
              <a:gd name="T2" fmla="*/ 235772 w 290150"/>
              <a:gd name="T3" fmla="*/ 242352 h 290152"/>
              <a:gd name="T4" fmla="*/ 282847 w 290150"/>
              <a:gd name="T5" fmla="*/ 282543 h 290152"/>
              <a:gd name="T6" fmla="*/ 285767 w 290150"/>
              <a:gd name="T7" fmla="*/ 243076 h 290152"/>
              <a:gd name="T8" fmla="*/ 228109 w 290150"/>
              <a:gd name="T9" fmla="*/ 291594 h 290152"/>
              <a:gd name="T10" fmla="*/ 235772 w 290150"/>
              <a:gd name="T11" fmla="*/ 242352 h 290152"/>
              <a:gd name="T12" fmla="*/ 8601 w 290150"/>
              <a:gd name="T13" fmla="*/ 282543 h 290152"/>
              <a:gd name="T14" fmla="*/ 54825 w 290150"/>
              <a:gd name="T15" fmla="*/ 242352 h 290152"/>
              <a:gd name="T16" fmla="*/ 62352 w 290150"/>
              <a:gd name="T17" fmla="*/ 291594 h 290152"/>
              <a:gd name="T18" fmla="*/ 6093 w 290150"/>
              <a:gd name="T19" fmla="*/ 243076 h 290152"/>
              <a:gd name="T20" fmla="*/ 187287 w 290150"/>
              <a:gd name="T21" fmla="*/ 256094 h 290152"/>
              <a:gd name="T22" fmla="*/ 246394 w 290150"/>
              <a:gd name="T23" fmla="*/ 224950 h 290152"/>
              <a:gd name="T24" fmla="*/ 33142 w 290150"/>
              <a:gd name="T25" fmla="*/ 214475 h 290152"/>
              <a:gd name="T26" fmla="*/ 33142 w 290150"/>
              <a:gd name="T27" fmla="*/ 214475 h 290152"/>
              <a:gd name="T28" fmla="*/ 237724 w 290150"/>
              <a:gd name="T29" fmla="*/ 224950 h 290152"/>
              <a:gd name="T30" fmla="*/ 33142 w 290150"/>
              <a:gd name="T31" fmla="*/ 243734 h 290152"/>
              <a:gd name="T32" fmla="*/ 132579 w 290150"/>
              <a:gd name="T33" fmla="*/ 229650 h 290152"/>
              <a:gd name="T34" fmla="*/ 176418 w 290150"/>
              <a:gd name="T35" fmla="*/ 164806 h 290152"/>
              <a:gd name="T36" fmla="*/ 185476 w 290150"/>
              <a:gd name="T37" fmla="*/ 173500 h 290152"/>
              <a:gd name="T38" fmla="*/ 114826 w 290150"/>
              <a:gd name="T39" fmla="*/ 182557 h 290152"/>
              <a:gd name="T40" fmla="*/ 18083 w 290150"/>
              <a:gd name="T41" fmla="*/ 100509 h 290152"/>
              <a:gd name="T42" fmla="*/ 20565 w 290150"/>
              <a:gd name="T43" fmla="*/ 198699 h 290152"/>
              <a:gd name="T44" fmla="*/ 0 w 290150"/>
              <a:gd name="T45" fmla="*/ 118987 h 290152"/>
              <a:gd name="T46" fmla="*/ 281745 w 290150"/>
              <a:gd name="T47" fmla="*/ 175699 h 290152"/>
              <a:gd name="T48" fmla="*/ 273115 w 290150"/>
              <a:gd name="T49" fmla="*/ 172817 h 290152"/>
              <a:gd name="T50" fmla="*/ 203494 w 290150"/>
              <a:gd name="T51" fmla="*/ 136551 h 290152"/>
              <a:gd name="T52" fmla="*/ 144752 w 290150"/>
              <a:gd name="T53" fmla="*/ 95217 h 290152"/>
              <a:gd name="T54" fmla="*/ 67728 w 290150"/>
              <a:gd name="T55" fmla="*/ 145607 h 290152"/>
              <a:gd name="T56" fmla="*/ 123885 w 290150"/>
              <a:gd name="T57" fmla="*/ 191251 h 290152"/>
              <a:gd name="T58" fmla="*/ 132579 w 290150"/>
              <a:gd name="T59" fmla="*/ 173500 h 290152"/>
              <a:gd name="T60" fmla="*/ 176418 w 290150"/>
              <a:gd name="T61" fmla="*/ 156112 h 290152"/>
              <a:gd name="T62" fmla="*/ 167723 w 290150"/>
              <a:gd name="T63" fmla="*/ 229650 h 290152"/>
              <a:gd name="T64" fmla="*/ 145623 w 290150"/>
              <a:gd name="T65" fmla="*/ 67724 h 290152"/>
              <a:gd name="T66" fmla="*/ 196344 w 290150"/>
              <a:gd name="T67" fmla="*/ 235083 h 290152"/>
              <a:gd name="T68" fmla="*/ 182940 w 290150"/>
              <a:gd name="T69" fmla="*/ 269498 h 290152"/>
              <a:gd name="T70" fmla="*/ 109393 w 290150"/>
              <a:gd name="T71" fmla="*/ 264788 h 290152"/>
              <a:gd name="T72" fmla="*/ 84393 w 290150"/>
              <a:gd name="T73" fmla="*/ 206827 h 290152"/>
              <a:gd name="T74" fmla="*/ 236502 w 290150"/>
              <a:gd name="T75" fmla="*/ 42703 h 290152"/>
              <a:gd name="T76" fmla="*/ 282847 w 290150"/>
              <a:gd name="T77" fmla="*/ 53928 h 290152"/>
              <a:gd name="T78" fmla="*/ 291604 w 290150"/>
              <a:gd name="T79" fmla="*/ 53928 h 290152"/>
              <a:gd name="T80" fmla="*/ 223364 w 290150"/>
              <a:gd name="T81" fmla="*/ 81446 h 290152"/>
              <a:gd name="T82" fmla="*/ 11826 w 290150"/>
              <a:gd name="T83" fmla="*/ 36910 h 290152"/>
              <a:gd name="T84" fmla="*/ 58050 w 290150"/>
              <a:gd name="T85" fmla="*/ 77099 h 290152"/>
              <a:gd name="T86" fmla="*/ 60918 w 290150"/>
              <a:gd name="T87" fmla="*/ 37270 h 290152"/>
              <a:gd name="T88" fmla="*/ 4298 w 290150"/>
              <a:gd name="T89" fmla="*/ 85789 h 290152"/>
              <a:gd name="T90" fmla="*/ 11826 w 290150"/>
              <a:gd name="T91" fmla="*/ 36910 h 290152"/>
              <a:gd name="T92" fmla="*/ 266984 w 290150"/>
              <a:gd name="T93" fmla="*/ 18965 h 290152"/>
              <a:gd name="T94" fmla="*/ 33142 w 290150"/>
              <a:gd name="T95" fmla="*/ 29342 h 290152"/>
              <a:gd name="T96" fmla="*/ 198091 w 290150"/>
              <a:gd name="T97" fmla="*/ 16473 h 290152"/>
              <a:gd name="T98" fmla="*/ 194457 w 290150"/>
              <a:gd name="T99" fmla="*/ 23997 h 290152"/>
              <a:gd name="T100" fmla="*/ 72745 w 290150"/>
              <a:gd name="T101" fmla="*/ 26504 h 290152"/>
              <a:gd name="T102" fmla="*/ 256870 w 290150"/>
              <a:gd name="T103" fmla="*/ 37932 h 290152"/>
              <a:gd name="T104" fmla="*/ 52288 w 290150"/>
              <a:gd name="T105" fmla="*/ 18965 h 29015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0150" h="290152">
                <a:moveTo>
                  <a:pt x="117499" y="263478"/>
                </a:moveTo>
                <a:lnTo>
                  <a:pt x="117499" y="268164"/>
                </a:lnTo>
                <a:cubicBezTo>
                  <a:pt x="117499" y="275373"/>
                  <a:pt x="123627" y="281140"/>
                  <a:pt x="130837" y="281140"/>
                </a:cubicBezTo>
                <a:lnTo>
                  <a:pt x="160037" y="281140"/>
                </a:lnTo>
                <a:cubicBezTo>
                  <a:pt x="167247" y="281140"/>
                  <a:pt x="173015" y="275373"/>
                  <a:pt x="173015" y="268164"/>
                </a:cubicBezTo>
                <a:lnTo>
                  <a:pt x="173015" y="263478"/>
                </a:lnTo>
                <a:lnTo>
                  <a:pt x="117499" y="263478"/>
                </a:lnTo>
                <a:close/>
                <a:moveTo>
                  <a:pt x="234596" y="241153"/>
                </a:moveTo>
                <a:cubicBezTo>
                  <a:pt x="236774" y="242955"/>
                  <a:pt x="236774" y="245477"/>
                  <a:pt x="235322" y="247278"/>
                </a:cubicBezTo>
                <a:cubicBezTo>
                  <a:pt x="232417" y="250521"/>
                  <a:pt x="231328" y="254124"/>
                  <a:pt x="231328" y="258447"/>
                </a:cubicBezTo>
                <a:lnTo>
                  <a:pt x="231328" y="281145"/>
                </a:lnTo>
                <a:lnTo>
                  <a:pt x="281436" y="281145"/>
                </a:lnTo>
                <a:lnTo>
                  <a:pt x="281436" y="258447"/>
                </a:lnTo>
                <a:cubicBezTo>
                  <a:pt x="281436" y="254124"/>
                  <a:pt x="279983" y="250521"/>
                  <a:pt x="277442" y="247278"/>
                </a:cubicBezTo>
                <a:cubicBezTo>
                  <a:pt x="275626" y="245477"/>
                  <a:pt x="275989" y="242955"/>
                  <a:pt x="278168" y="241153"/>
                </a:cubicBezTo>
                <a:cubicBezTo>
                  <a:pt x="279983" y="239712"/>
                  <a:pt x="282525" y="239712"/>
                  <a:pt x="284341" y="241874"/>
                </a:cubicBezTo>
                <a:cubicBezTo>
                  <a:pt x="287972" y="246558"/>
                  <a:pt x="290150" y="252322"/>
                  <a:pt x="290150" y="258447"/>
                </a:cubicBezTo>
                <a:lnTo>
                  <a:pt x="290150" y="285829"/>
                </a:lnTo>
                <a:cubicBezTo>
                  <a:pt x="290150" y="287990"/>
                  <a:pt x="288335" y="290152"/>
                  <a:pt x="285793" y="290152"/>
                </a:cubicBezTo>
                <a:lnTo>
                  <a:pt x="226971" y="290152"/>
                </a:lnTo>
                <a:cubicBezTo>
                  <a:pt x="224429" y="290152"/>
                  <a:pt x="222250" y="287990"/>
                  <a:pt x="222250" y="285829"/>
                </a:cubicBezTo>
                <a:lnTo>
                  <a:pt x="222250" y="258447"/>
                </a:lnTo>
                <a:cubicBezTo>
                  <a:pt x="222250" y="252322"/>
                  <a:pt x="224429" y="246558"/>
                  <a:pt x="228423" y="241874"/>
                </a:cubicBezTo>
                <a:cubicBezTo>
                  <a:pt x="229875" y="239712"/>
                  <a:pt x="232780" y="239712"/>
                  <a:pt x="234596" y="241153"/>
                </a:cubicBezTo>
                <a:close/>
                <a:moveTo>
                  <a:pt x="11766" y="241153"/>
                </a:moveTo>
                <a:cubicBezTo>
                  <a:pt x="13905" y="242955"/>
                  <a:pt x="14262" y="245477"/>
                  <a:pt x="12479" y="247278"/>
                </a:cubicBezTo>
                <a:cubicBezTo>
                  <a:pt x="9983" y="250521"/>
                  <a:pt x="8557" y="254124"/>
                  <a:pt x="8557" y="258447"/>
                </a:cubicBezTo>
                <a:lnTo>
                  <a:pt x="8557" y="281145"/>
                </a:lnTo>
                <a:lnTo>
                  <a:pt x="57761" y="281145"/>
                </a:lnTo>
                <a:lnTo>
                  <a:pt x="57761" y="258447"/>
                </a:lnTo>
                <a:cubicBezTo>
                  <a:pt x="57761" y="254124"/>
                  <a:pt x="56335" y="250521"/>
                  <a:pt x="53839" y="247278"/>
                </a:cubicBezTo>
                <a:cubicBezTo>
                  <a:pt x="52413" y="245477"/>
                  <a:pt x="52413" y="242955"/>
                  <a:pt x="54552" y="241153"/>
                </a:cubicBezTo>
                <a:cubicBezTo>
                  <a:pt x="56335" y="239712"/>
                  <a:pt x="59188" y="239712"/>
                  <a:pt x="60614" y="241874"/>
                </a:cubicBezTo>
                <a:cubicBezTo>
                  <a:pt x="64179" y="246558"/>
                  <a:pt x="66319" y="252322"/>
                  <a:pt x="66319" y="258447"/>
                </a:cubicBezTo>
                <a:lnTo>
                  <a:pt x="66319" y="285829"/>
                </a:lnTo>
                <a:cubicBezTo>
                  <a:pt x="66319" y="287990"/>
                  <a:pt x="64536" y="290152"/>
                  <a:pt x="62040" y="290152"/>
                </a:cubicBezTo>
                <a:lnTo>
                  <a:pt x="4278" y="290152"/>
                </a:lnTo>
                <a:cubicBezTo>
                  <a:pt x="1783" y="290152"/>
                  <a:pt x="0" y="287990"/>
                  <a:pt x="0" y="285829"/>
                </a:cubicBezTo>
                <a:lnTo>
                  <a:pt x="0" y="258447"/>
                </a:lnTo>
                <a:cubicBezTo>
                  <a:pt x="0" y="252322"/>
                  <a:pt x="2139" y="246558"/>
                  <a:pt x="6061" y="241874"/>
                </a:cubicBezTo>
                <a:cubicBezTo>
                  <a:pt x="7487" y="239712"/>
                  <a:pt x="9983" y="239712"/>
                  <a:pt x="11766" y="241153"/>
                </a:cubicBezTo>
                <a:close/>
                <a:moveTo>
                  <a:pt x="104160" y="237525"/>
                </a:moveTo>
                <a:lnTo>
                  <a:pt x="104160" y="254827"/>
                </a:lnTo>
                <a:lnTo>
                  <a:pt x="186353" y="254827"/>
                </a:lnTo>
                <a:lnTo>
                  <a:pt x="186353" y="237525"/>
                </a:lnTo>
                <a:lnTo>
                  <a:pt x="104160" y="237525"/>
                </a:lnTo>
                <a:close/>
                <a:moveTo>
                  <a:pt x="255588" y="213414"/>
                </a:moveTo>
                <a:cubicBezTo>
                  <a:pt x="249837" y="213414"/>
                  <a:pt x="245165" y="218086"/>
                  <a:pt x="245165" y="223837"/>
                </a:cubicBezTo>
                <a:cubicBezTo>
                  <a:pt x="245165" y="229229"/>
                  <a:pt x="249837" y="233901"/>
                  <a:pt x="255588" y="233901"/>
                </a:cubicBezTo>
                <a:cubicBezTo>
                  <a:pt x="260980" y="233901"/>
                  <a:pt x="265652" y="229229"/>
                  <a:pt x="265652" y="223837"/>
                </a:cubicBezTo>
                <a:cubicBezTo>
                  <a:pt x="265652" y="218086"/>
                  <a:pt x="260980" y="213414"/>
                  <a:pt x="255588" y="213414"/>
                </a:cubicBezTo>
                <a:close/>
                <a:moveTo>
                  <a:pt x="32978" y="213414"/>
                </a:moveTo>
                <a:cubicBezTo>
                  <a:pt x="27587" y="213414"/>
                  <a:pt x="22914" y="218086"/>
                  <a:pt x="22914" y="223837"/>
                </a:cubicBezTo>
                <a:cubicBezTo>
                  <a:pt x="22914" y="229229"/>
                  <a:pt x="27587" y="233901"/>
                  <a:pt x="32978" y="233901"/>
                </a:cubicBezTo>
                <a:cubicBezTo>
                  <a:pt x="38729" y="233901"/>
                  <a:pt x="43402" y="229229"/>
                  <a:pt x="43402" y="223837"/>
                </a:cubicBezTo>
                <a:cubicBezTo>
                  <a:pt x="43402" y="218086"/>
                  <a:pt x="38729" y="213414"/>
                  <a:pt x="32978" y="213414"/>
                </a:cubicBezTo>
                <a:close/>
                <a:moveTo>
                  <a:pt x="255588" y="204787"/>
                </a:moveTo>
                <a:cubicBezTo>
                  <a:pt x="266012" y="204787"/>
                  <a:pt x="274279" y="213414"/>
                  <a:pt x="274279" y="223837"/>
                </a:cubicBezTo>
                <a:cubicBezTo>
                  <a:pt x="274279" y="234261"/>
                  <a:pt x="266012" y="242528"/>
                  <a:pt x="255588" y="242528"/>
                </a:cubicBezTo>
                <a:cubicBezTo>
                  <a:pt x="245165" y="242528"/>
                  <a:pt x="236538" y="234261"/>
                  <a:pt x="236538" y="223837"/>
                </a:cubicBezTo>
                <a:cubicBezTo>
                  <a:pt x="236538" y="213414"/>
                  <a:pt x="245165" y="204787"/>
                  <a:pt x="255588" y="204787"/>
                </a:cubicBezTo>
                <a:close/>
                <a:moveTo>
                  <a:pt x="32978" y="204787"/>
                </a:moveTo>
                <a:cubicBezTo>
                  <a:pt x="43402" y="204787"/>
                  <a:pt x="52028" y="213414"/>
                  <a:pt x="52028" y="223837"/>
                </a:cubicBezTo>
                <a:cubicBezTo>
                  <a:pt x="52028" y="234261"/>
                  <a:pt x="43402" y="242528"/>
                  <a:pt x="32978" y="242528"/>
                </a:cubicBezTo>
                <a:cubicBezTo>
                  <a:pt x="22555" y="242528"/>
                  <a:pt x="14288" y="234261"/>
                  <a:pt x="14288" y="223837"/>
                </a:cubicBezTo>
                <a:cubicBezTo>
                  <a:pt x="14288" y="213414"/>
                  <a:pt x="22555" y="204787"/>
                  <a:pt x="32978" y="204787"/>
                </a:cubicBezTo>
                <a:close/>
                <a:moveTo>
                  <a:pt x="131918" y="190305"/>
                </a:moveTo>
                <a:lnTo>
                  <a:pt x="131918" y="228513"/>
                </a:lnTo>
                <a:lnTo>
                  <a:pt x="158235" y="228513"/>
                </a:lnTo>
                <a:lnTo>
                  <a:pt x="158235" y="190305"/>
                </a:lnTo>
                <a:lnTo>
                  <a:pt x="131918" y="190305"/>
                </a:lnTo>
                <a:close/>
                <a:moveTo>
                  <a:pt x="175538" y="163991"/>
                </a:moveTo>
                <a:cubicBezTo>
                  <a:pt x="171212" y="163991"/>
                  <a:pt x="166886" y="168317"/>
                  <a:pt x="166886" y="172642"/>
                </a:cubicBezTo>
                <a:lnTo>
                  <a:pt x="166886" y="181654"/>
                </a:lnTo>
                <a:lnTo>
                  <a:pt x="175538" y="181654"/>
                </a:lnTo>
                <a:cubicBezTo>
                  <a:pt x="180585" y="181654"/>
                  <a:pt x="184551" y="177689"/>
                  <a:pt x="184551" y="172642"/>
                </a:cubicBezTo>
                <a:cubicBezTo>
                  <a:pt x="184551" y="168317"/>
                  <a:pt x="180585" y="163991"/>
                  <a:pt x="175538" y="163991"/>
                </a:cubicBezTo>
                <a:close/>
                <a:moveTo>
                  <a:pt x="114254" y="163991"/>
                </a:moveTo>
                <a:cubicBezTo>
                  <a:pt x="109568" y="163991"/>
                  <a:pt x="105602" y="168317"/>
                  <a:pt x="105602" y="172642"/>
                </a:cubicBezTo>
                <a:cubicBezTo>
                  <a:pt x="105602" y="177689"/>
                  <a:pt x="109568" y="181654"/>
                  <a:pt x="114254" y="181654"/>
                </a:cubicBezTo>
                <a:lnTo>
                  <a:pt x="123267" y="181654"/>
                </a:lnTo>
                <a:lnTo>
                  <a:pt x="123267" y="172642"/>
                </a:lnTo>
                <a:cubicBezTo>
                  <a:pt x="123267" y="168317"/>
                  <a:pt x="119301" y="163991"/>
                  <a:pt x="114254" y="163991"/>
                </a:cubicBezTo>
                <a:close/>
                <a:moveTo>
                  <a:pt x="17991" y="100012"/>
                </a:moveTo>
                <a:lnTo>
                  <a:pt x="25047" y="125249"/>
                </a:lnTo>
                <a:lnTo>
                  <a:pt x="16580" y="123086"/>
                </a:lnTo>
                <a:cubicBezTo>
                  <a:pt x="12700" y="146160"/>
                  <a:pt x="14816" y="169955"/>
                  <a:pt x="22930" y="191948"/>
                </a:cubicBezTo>
                <a:cubicBezTo>
                  <a:pt x="23636" y="194471"/>
                  <a:pt x="22578" y="196995"/>
                  <a:pt x="20461" y="197716"/>
                </a:cubicBezTo>
                <a:cubicBezTo>
                  <a:pt x="19755" y="198077"/>
                  <a:pt x="19403" y="198077"/>
                  <a:pt x="18697" y="198077"/>
                </a:cubicBezTo>
                <a:cubicBezTo>
                  <a:pt x="17286" y="198077"/>
                  <a:pt x="15522" y="196995"/>
                  <a:pt x="14816" y="195192"/>
                </a:cubicBezTo>
                <a:cubicBezTo>
                  <a:pt x="5997" y="171397"/>
                  <a:pt x="3880" y="145800"/>
                  <a:pt x="8114" y="120923"/>
                </a:cubicBezTo>
                <a:lnTo>
                  <a:pt x="0" y="118399"/>
                </a:lnTo>
                <a:lnTo>
                  <a:pt x="17991" y="100012"/>
                </a:lnTo>
                <a:close/>
                <a:moveTo>
                  <a:pt x="270322" y="95609"/>
                </a:moveTo>
                <a:cubicBezTo>
                  <a:pt x="272469" y="95250"/>
                  <a:pt x="274615" y="95967"/>
                  <a:pt x="275689" y="98476"/>
                </a:cubicBezTo>
                <a:cubicBezTo>
                  <a:pt x="284275" y="123211"/>
                  <a:pt x="285706" y="149020"/>
                  <a:pt x="280339" y="174830"/>
                </a:cubicBezTo>
                <a:lnTo>
                  <a:pt x="288568" y="176980"/>
                </a:lnTo>
                <a:lnTo>
                  <a:pt x="269249" y="194904"/>
                </a:lnTo>
                <a:lnTo>
                  <a:pt x="263525" y="169453"/>
                </a:lnTo>
                <a:lnTo>
                  <a:pt x="271753" y="171962"/>
                </a:lnTo>
                <a:cubicBezTo>
                  <a:pt x="276762" y="148662"/>
                  <a:pt x="275331" y="124286"/>
                  <a:pt x="267460" y="101344"/>
                </a:cubicBezTo>
                <a:cubicBezTo>
                  <a:pt x="266745" y="99193"/>
                  <a:pt x="267818" y="96326"/>
                  <a:pt x="270322" y="95609"/>
                </a:cubicBezTo>
                <a:close/>
                <a:moveTo>
                  <a:pt x="144030" y="85725"/>
                </a:moveTo>
                <a:cubicBezTo>
                  <a:pt x="173615" y="85725"/>
                  <a:pt x="197788" y="107012"/>
                  <a:pt x="202479" y="135875"/>
                </a:cubicBezTo>
                <a:cubicBezTo>
                  <a:pt x="202839" y="138401"/>
                  <a:pt x="201396" y="140205"/>
                  <a:pt x="198871" y="140926"/>
                </a:cubicBezTo>
                <a:cubicBezTo>
                  <a:pt x="198510" y="140926"/>
                  <a:pt x="198149" y="140926"/>
                  <a:pt x="198149" y="140926"/>
                </a:cubicBezTo>
                <a:cubicBezTo>
                  <a:pt x="195984" y="140926"/>
                  <a:pt x="194180" y="139483"/>
                  <a:pt x="193820" y="137319"/>
                </a:cubicBezTo>
                <a:cubicBezTo>
                  <a:pt x="190212" y="112785"/>
                  <a:pt x="168925" y="94745"/>
                  <a:pt x="144030" y="94745"/>
                </a:cubicBezTo>
                <a:cubicBezTo>
                  <a:pt x="141865" y="94745"/>
                  <a:pt x="139700" y="92580"/>
                  <a:pt x="139700" y="90416"/>
                </a:cubicBezTo>
                <a:cubicBezTo>
                  <a:pt x="139700" y="87890"/>
                  <a:pt x="141865" y="85725"/>
                  <a:pt x="144030" y="85725"/>
                </a:cubicBezTo>
                <a:close/>
                <a:moveTo>
                  <a:pt x="144896" y="67388"/>
                </a:moveTo>
                <a:cubicBezTo>
                  <a:pt x="102358" y="67388"/>
                  <a:pt x="67390" y="102353"/>
                  <a:pt x="67390" y="144887"/>
                </a:cubicBezTo>
                <a:cubicBezTo>
                  <a:pt x="67390" y="165433"/>
                  <a:pt x="75681" y="184898"/>
                  <a:pt x="89741" y="199677"/>
                </a:cubicBezTo>
                <a:cubicBezTo>
                  <a:pt x="97672" y="207607"/>
                  <a:pt x="102718" y="217700"/>
                  <a:pt x="103800" y="228513"/>
                </a:cubicBezTo>
                <a:lnTo>
                  <a:pt x="123267" y="228513"/>
                </a:lnTo>
                <a:lnTo>
                  <a:pt x="123267" y="190305"/>
                </a:lnTo>
                <a:lnTo>
                  <a:pt x="114254" y="190305"/>
                </a:lnTo>
                <a:cubicBezTo>
                  <a:pt x="104881" y="190305"/>
                  <a:pt x="96590" y="182375"/>
                  <a:pt x="96590" y="172642"/>
                </a:cubicBezTo>
                <a:cubicBezTo>
                  <a:pt x="96590" y="163270"/>
                  <a:pt x="104881" y="155340"/>
                  <a:pt x="114254" y="155340"/>
                </a:cubicBezTo>
                <a:cubicBezTo>
                  <a:pt x="123988" y="155340"/>
                  <a:pt x="131918" y="163270"/>
                  <a:pt x="131918" y="172642"/>
                </a:cubicBezTo>
                <a:lnTo>
                  <a:pt x="131918" y="181654"/>
                </a:lnTo>
                <a:lnTo>
                  <a:pt x="158235" y="181654"/>
                </a:lnTo>
                <a:lnTo>
                  <a:pt x="158235" y="172642"/>
                </a:lnTo>
                <a:cubicBezTo>
                  <a:pt x="158235" y="163270"/>
                  <a:pt x="166165" y="155340"/>
                  <a:pt x="175538" y="155340"/>
                </a:cubicBezTo>
                <a:cubicBezTo>
                  <a:pt x="185272" y="155340"/>
                  <a:pt x="193202" y="163270"/>
                  <a:pt x="193202" y="172642"/>
                </a:cubicBezTo>
                <a:cubicBezTo>
                  <a:pt x="193202" y="182375"/>
                  <a:pt x="185272" y="190305"/>
                  <a:pt x="175538" y="190305"/>
                </a:cubicBezTo>
                <a:lnTo>
                  <a:pt x="166886" y="190305"/>
                </a:lnTo>
                <a:lnTo>
                  <a:pt x="166886" y="228513"/>
                </a:lnTo>
                <a:lnTo>
                  <a:pt x="187074" y="228513"/>
                </a:lnTo>
                <a:cubicBezTo>
                  <a:pt x="187795" y="217339"/>
                  <a:pt x="192842" y="207246"/>
                  <a:pt x="200412" y="199316"/>
                </a:cubicBezTo>
                <a:cubicBezTo>
                  <a:pt x="214832" y="184537"/>
                  <a:pt x="222402" y="165433"/>
                  <a:pt x="222402" y="144887"/>
                </a:cubicBezTo>
                <a:cubicBezTo>
                  <a:pt x="222402" y="102353"/>
                  <a:pt x="187795" y="67388"/>
                  <a:pt x="144896" y="67388"/>
                </a:cubicBezTo>
                <a:close/>
                <a:moveTo>
                  <a:pt x="144896" y="58737"/>
                </a:moveTo>
                <a:cubicBezTo>
                  <a:pt x="192481" y="58737"/>
                  <a:pt x="231415" y="97306"/>
                  <a:pt x="231415" y="144887"/>
                </a:cubicBezTo>
                <a:cubicBezTo>
                  <a:pt x="231415" y="167596"/>
                  <a:pt x="222763" y="189223"/>
                  <a:pt x="206901" y="205444"/>
                </a:cubicBezTo>
                <a:cubicBezTo>
                  <a:pt x="199331" y="213014"/>
                  <a:pt x="195365" y="223106"/>
                  <a:pt x="195365" y="233920"/>
                </a:cubicBezTo>
                <a:lnTo>
                  <a:pt x="195365" y="254827"/>
                </a:lnTo>
                <a:cubicBezTo>
                  <a:pt x="195365" y="259513"/>
                  <a:pt x="191400" y="263478"/>
                  <a:pt x="186353" y="263478"/>
                </a:cubicBezTo>
                <a:lnTo>
                  <a:pt x="182027" y="263478"/>
                </a:lnTo>
                <a:lnTo>
                  <a:pt x="182027" y="268164"/>
                </a:lnTo>
                <a:cubicBezTo>
                  <a:pt x="182027" y="280059"/>
                  <a:pt x="171933" y="290152"/>
                  <a:pt x="160037" y="290152"/>
                </a:cubicBezTo>
                <a:lnTo>
                  <a:pt x="130837" y="290152"/>
                </a:lnTo>
                <a:cubicBezTo>
                  <a:pt x="118580" y="290152"/>
                  <a:pt x="108847" y="280059"/>
                  <a:pt x="108847" y="268164"/>
                </a:cubicBezTo>
                <a:lnTo>
                  <a:pt x="108847" y="263478"/>
                </a:lnTo>
                <a:lnTo>
                  <a:pt x="104521" y="263478"/>
                </a:lnTo>
                <a:cubicBezTo>
                  <a:pt x="99474" y="263478"/>
                  <a:pt x="95509" y="259513"/>
                  <a:pt x="95509" y="254827"/>
                </a:cubicBezTo>
                <a:lnTo>
                  <a:pt x="95509" y="234641"/>
                </a:lnTo>
                <a:cubicBezTo>
                  <a:pt x="95509" y="223467"/>
                  <a:pt x="91543" y="213374"/>
                  <a:pt x="83973" y="205804"/>
                </a:cubicBezTo>
                <a:cubicBezTo>
                  <a:pt x="67751" y="189584"/>
                  <a:pt x="58738" y="167956"/>
                  <a:pt x="58738" y="144887"/>
                </a:cubicBezTo>
                <a:cubicBezTo>
                  <a:pt x="58738" y="97306"/>
                  <a:pt x="97672" y="58737"/>
                  <a:pt x="144896" y="58737"/>
                </a:cubicBezTo>
                <a:close/>
                <a:moveTo>
                  <a:pt x="234596" y="36726"/>
                </a:moveTo>
                <a:cubicBezTo>
                  <a:pt x="236774" y="38167"/>
                  <a:pt x="236774" y="40689"/>
                  <a:pt x="235322" y="42491"/>
                </a:cubicBezTo>
                <a:cubicBezTo>
                  <a:pt x="232417" y="45733"/>
                  <a:pt x="231328" y="49696"/>
                  <a:pt x="231328" y="53660"/>
                </a:cubicBezTo>
                <a:lnTo>
                  <a:pt x="231328" y="76718"/>
                </a:lnTo>
                <a:lnTo>
                  <a:pt x="281436" y="76718"/>
                </a:lnTo>
                <a:lnTo>
                  <a:pt x="281436" y="53660"/>
                </a:lnTo>
                <a:cubicBezTo>
                  <a:pt x="281436" y="49696"/>
                  <a:pt x="279983" y="45733"/>
                  <a:pt x="277442" y="42491"/>
                </a:cubicBezTo>
                <a:cubicBezTo>
                  <a:pt x="275626" y="40689"/>
                  <a:pt x="275989" y="38167"/>
                  <a:pt x="278168" y="36726"/>
                </a:cubicBezTo>
                <a:cubicBezTo>
                  <a:pt x="279983" y="34925"/>
                  <a:pt x="282525" y="35285"/>
                  <a:pt x="284341" y="37086"/>
                </a:cubicBezTo>
                <a:cubicBezTo>
                  <a:pt x="287972" y="41770"/>
                  <a:pt x="290150" y="47895"/>
                  <a:pt x="290150" y="53660"/>
                </a:cubicBezTo>
                <a:lnTo>
                  <a:pt x="290150" y="81042"/>
                </a:lnTo>
                <a:cubicBezTo>
                  <a:pt x="290150" y="83203"/>
                  <a:pt x="288335" y="85365"/>
                  <a:pt x="285793" y="85365"/>
                </a:cubicBezTo>
                <a:lnTo>
                  <a:pt x="226971" y="85365"/>
                </a:lnTo>
                <a:cubicBezTo>
                  <a:pt x="224429" y="85365"/>
                  <a:pt x="222250" y="83203"/>
                  <a:pt x="222250" y="81042"/>
                </a:cubicBezTo>
                <a:lnTo>
                  <a:pt x="222250" y="53660"/>
                </a:lnTo>
                <a:cubicBezTo>
                  <a:pt x="222250" y="47895"/>
                  <a:pt x="224429" y="41770"/>
                  <a:pt x="228423" y="37086"/>
                </a:cubicBezTo>
                <a:cubicBezTo>
                  <a:pt x="229875" y="35285"/>
                  <a:pt x="232780" y="34925"/>
                  <a:pt x="234596" y="36726"/>
                </a:cubicBezTo>
                <a:close/>
                <a:moveTo>
                  <a:pt x="11766" y="36726"/>
                </a:moveTo>
                <a:cubicBezTo>
                  <a:pt x="13905" y="38167"/>
                  <a:pt x="14262" y="40689"/>
                  <a:pt x="12479" y="42491"/>
                </a:cubicBezTo>
                <a:cubicBezTo>
                  <a:pt x="9983" y="45733"/>
                  <a:pt x="8557" y="49696"/>
                  <a:pt x="8557" y="53660"/>
                </a:cubicBezTo>
                <a:lnTo>
                  <a:pt x="8557" y="76718"/>
                </a:lnTo>
                <a:lnTo>
                  <a:pt x="57761" y="76718"/>
                </a:lnTo>
                <a:lnTo>
                  <a:pt x="57761" y="53660"/>
                </a:lnTo>
                <a:cubicBezTo>
                  <a:pt x="57761" y="49696"/>
                  <a:pt x="56335" y="45733"/>
                  <a:pt x="53839" y="42491"/>
                </a:cubicBezTo>
                <a:cubicBezTo>
                  <a:pt x="52413" y="40689"/>
                  <a:pt x="52413" y="38167"/>
                  <a:pt x="54552" y="36726"/>
                </a:cubicBezTo>
                <a:cubicBezTo>
                  <a:pt x="56335" y="34925"/>
                  <a:pt x="59188" y="35285"/>
                  <a:pt x="60614" y="37086"/>
                </a:cubicBezTo>
                <a:cubicBezTo>
                  <a:pt x="64179" y="41770"/>
                  <a:pt x="66319" y="47895"/>
                  <a:pt x="66319" y="53660"/>
                </a:cubicBezTo>
                <a:lnTo>
                  <a:pt x="66319" y="81042"/>
                </a:lnTo>
                <a:cubicBezTo>
                  <a:pt x="66319" y="83203"/>
                  <a:pt x="64536" y="85365"/>
                  <a:pt x="62040" y="85365"/>
                </a:cubicBezTo>
                <a:lnTo>
                  <a:pt x="4278" y="85365"/>
                </a:lnTo>
                <a:cubicBezTo>
                  <a:pt x="1783" y="85365"/>
                  <a:pt x="0" y="83203"/>
                  <a:pt x="0" y="81042"/>
                </a:cubicBezTo>
                <a:lnTo>
                  <a:pt x="0" y="53660"/>
                </a:lnTo>
                <a:cubicBezTo>
                  <a:pt x="0" y="47895"/>
                  <a:pt x="2139" y="41770"/>
                  <a:pt x="6061" y="37086"/>
                </a:cubicBezTo>
                <a:cubicBezTo>
                  <a:pt x="7487" y="35285"/>
                  <a:pt x="9983" y="34925"/>
                  <a:pt x="11766" y="36726"/>
                </a:cubicBezTo>
                <a:close/>
                <a:moveTo>
                  <a:pt x="255588" y="8902"/>
                </a:moveTo>
                <a:cubicBezTo>
                  <a:pt x="249837" y="8902"/>
                  <a:pt x="245165" y="13531"/>
                  <a:pt x="245165" y="18872"/>
                </a:cubicBezTo>
                <a:cubicBezTo>
                  <a:pt x="245165" y="24569"/>
                  <a:pt x="249837" y="29198"/>
                  <a:pt x="255588" y="29198"/>
                </a:cubicBezTo>
                <a:cubicBezTo>
                  <a:pt x="260980" y="29198"/>
                  <a:pt x="265652" y="24569"/>
                  <a:pt x="265652" y="18872"/>
                </a:cubicBezTo>
                <a:cubicBezTo>
                  <a:pt x="265652" y="13531"/>
                  <a:pt x="260980" y="8902"/>
                  <a:pt x="255588" y="8902"/>
                </a:cubicBezTo>
                <a:close/>
                <a:moveTo>
                  <a:pt x="32978" y="8902"/>
                </a:moveTo>
                <a:cubicBezTo>
                  <a:pt x="27587" y="8902"/>
                  <a:pt x="22914" y="13531"/>
                  <a:pt x="22914" y="18872"/>
                </a:cubicBezTo>
                <a:cubicBezTo>
                  <a:pt x="22914" y="24569"/>
                  <a:pt x="27587" y="29198"/>
                  <a:pt x="32978" y="29198"/>
                </a:cubicBezTo>
                <a:cubicBezTo>
                  <a:pt x="38729" y="29198"/>
                  <a:pt x="43402" y="24569"/>
                  <a:pt x="43402" y="18872"/>
                </a:cubicBezTo>
                <a:cubicBezTo>
                  <a:pt x="43402" y="13531"/>
                  <a:pt x="38729" y="8902"/>
                  <a:pt x="32978" y="8902"/>
                </a:cubicBezTo>
                <a:close/>
                <a:moveTo>
                  <a:pt x="133521" y="6815"/>
                </a:moveTo>
                <a:cubicBezTo>
                  <a:pt x="154896" y="5078"/>
                  <a:pt x="176676" y="8197"/>
                  <a:pt x="197102" y="16393"/>
                </a:cubicBezTo>
                <a:lnTo>
                  <a:pt x="201078" y="8553"/>
                </a:lnTo>
                <a:lnTo>
                  <a:pt x="215539" y="30292"/>
                </a:lnTo>
                <a:lnTo>
                  <a:pt x="189149" y="31717"/>
                </a:lnTo>
                <a:lnTo>
                  <a:pt x="193487" y="23877"/>
                </a:lnTo>
                <a:cubicBezTo>
                  <a:pt x="155167" y="9266"/>
                  <a:pt x="112147" y="12829"/>
                  <a:pt x="77080" y="33856"/>
                </a:cubicBezTo>
                <a:cubicBezTo>
                  <a:pt x="76357" y="34212"/>
                  <a:pt x="75634" y="34568"/>
                  <a:pt x="74911" y="34568"/>
                </a:cubicBezTo>
                <a:cubicBezTo>
                  <a:pt x="73465" y="34568"/>
                  <a:pt x="72019" y="33856"/>
                  <a:pt x="70935" y="32430"/>
                </a:cubicBezTo>
                <a:cubicBezTo>
                  <a:pt x="69850" y="30292"/>
                  <a:pt x="70212" y="27441"/>
                  <a:pt x="72381" y="26372"/>
                </a:cubicBezTo>
                <a:cubicBezTo>
                  <a:pt x="91179" y="15146"/>
                  <a:pt x="112147" y="8553"/>
                  <a:pt x="133521" y="6815"/>
                </a:cubicBezTo>
                <a:close/>
                <a:moveTo>
                  <a:pt x="255588" y="0"/>
                </a:moveTo>
                <a:cubicBezTo>
                  <a:pt x="266012" y="0"/>
                  <a:pt x="274279" y="8546"/>
                  <a:pt x="274279" y="18872"/>
                </a:cubicBezTo>
                <a:cubicBezTo>
                  <a:pt x="274279" y="29198"/>
                  <a:pt x="266012" y="37744"/>
                  <a:pt x="255588" y="37744"/>
                </a:cubicBezTo>
                <a:cubicBezTo>
                  <a:pt x="245165" y="37744"/>
                  <a:pt x="236538" y="29198"/>
                  <a:pt x="236538" y="18872"/>
                </a:cubicBezTo>
                <a:cubicBezTo>
                  <a:pt x="236538" y="8546"/>
                  <a:pt x="245165" y="0"/>
                  <a:pt x="255588" y="0"/>
                </a:cubicBezTo>
                <a:close/>
                <a:moveTo>
                  <a:pt x="32978" y="0"/>
                </a:moveTo>
                <a:cubicBezTo>
                  <a:pt x="43402" y="0"/>
                  <a:pt x="52028" y="8546"/>
                  <a:pt x="52028" y="18872"/>
                </a:cubicBezTo>
                <a:cubicBezTo>
                  <a:pt x="52028" y="29198"/>
                  <a:pt x="43402" y="37744"/>
                  <a:pt x="32978" y="37744"/>
                </a:cubicBezTo>
                <a:cubicBezTo>
                  <a:pt x="22555" y="37744"/>
                  <a:pt x="14288" y="29198"/>
                  <a:pt x="14288" y="18872"/>
                </a:cubicBezTo>
                <a:cubicBezTo>
                  <a:pt x="14288" y="8546"/>
                  <a:pt x="22555" y="0"/>
                  <a:pt x="32978" y="0"/>
                </a:cubicBezTo>
                <a:close/>
              </a:path>
            </a:pathLst>
          </a:custGeom>
          <a:solidFill>
            <a:schemeClr val="accent5"/>
          </a:solidFill>
          <a:ln>
            <a:noFill/>
          </a:ln>
          <a:effectLst/>
        </p:spPr>
        <p:txBody>
          <a:bodyPr anchor="ctr"/>
          <a:lstStyle/>
          <a:p>
            <a:endParaRPr lang="en-US" sz="900" dirty="0"/>
          </a:p>
        </p:txBody>
      </p:sp>
      <p:sp>
        <p:nvSpPr>
          <p:cNvPr id="48" name="Freeform 1034">
            <a:extLst>
              <a:ext uri="{FF2B5EF4-FFF2-40B4-BE49-F238E27FC236}">
                <a16:creationId xmlns:a16="http://schemas.microsoft.com/office/drawing/2014/main" id="{4B898A64-3086-F944-8EA4-21BAF71B1071}"/>
              </a:ext>
            </a:extLst>
          </p:cNvPr>
          <p:cNvSpPr>
            <a:spLocks noChangeAspect="1" noChangeArrowheads="1"/>
          </p:cNvSpPr>
          <p:nvPr/>
        </p:nvSpPr>
        <p:spPr bwMode="auto">
          <a:xfrm>
            <a:off x="3007328" y="3658727"/>
            <a:ext cx="506564" cy="506563"/>
          </a:xfrm>
          <a:custGeom>
            <a:avLst/>
            <a:gdLst>
              <a:gd name="T0" fmla="*/ 97077 w 290153"/>
              <a:gd name="T1" fmla="*/ 282532 h 290152"/>
              <a:gd name="T2" fmla="*/ 194156 w 290153"/>
              <a:gd name="T3" fmla="*/ 256056 h 290152"/>
              <a:gd name="T4" fmla="*/ 9055 w 290153"/>
              <a:gd name="T5" fmla="*/ 220875 h 290152"/>
              <a:gd name="T6" fmla="*/ 22095 w 290153"/>
              <a:gd name="T7" fmla="*/ 247351 h 290152"/>
              <a:gd name="T8" fmla="*/ 282540 w 290153"/>
              <a:gd name="T9" fmla="*/ 233933 h 290152"/>
              <a:gd name="T10" fmla="*/ 9055 w 290153"/>
              <a:gd name="T11" fmla="*/ 220875 h 290152"/>
              <a:gd name="T12" fmla="*/ 244143 w 290153"/>
              <a:gd name="T13" fmla="*/ 176628 h 290152"/>
              <a:gd name="T14" fmla="*/ 282540 w 290153"/>
              <a:gd name="T15" fmla="*/ 138547 h 290152"/>
              <a:gd name="T16" fmla="*/ 156103 w 290153"/>
              <a:gd name="T17" fmla="*/ 118215 h 290152"/>
              <a:gd name="T18" fmla="*/ 195955 w 290153"/>
              <a:gd name="T19" fmla="*/ 176034 h 290152"/>
              <a:gd name="T20" fmla="*/ 244143 w 290153"/>
              <a:gd name="T21" fmla="*/ 91035 h 290152"/>
              <a:gd name="T22" fmla="*/ 282540 w 290153"/>
              <a:gd name="T23" fmla="*/ 129478 h 290152"/>
              <a:gd name="T24" fmla="*/ 244143 w 290153"/>
              <a:gd name="T25" fmla="*/ 91035 h 290152"/>
              <a:gd name="T26" fmla="*/ 44157 w 290153"/>
              <a:gd name="T27" fmla="*/ 138812 h 290152"/>
              <a:gd name="T28" fmla="*/ 105382 w 290153"/>
              <a:gd name="T29" fmla="*/ 176034 h 290152"/>
              <a:gd name="T30" fmla="*/ 77847 w 290153"/>
              <a:gd name="T31" fmla="*/ 90389 h 290152"/>
              <a:gd name="T32" fmla="*/ 129920 w 290153"/>
              <a:gd name="T33" fmla="*/ 77998 h 290152"/>
              <a:gd name="T34" fmla="*/ 150509 w 290153"/>
              <a:gd name="T35" fmla="*/ 77998 h 290152"/>
              <a:gd name="T36" fmla="*/ 140034 w 290153"/>
              <a:gd name="T37" fmla="*/ 59030 h 290152"/>
              <a:gd name="T38" fmla="*/ 140034 w 290153"/>
              <a:gd name="T39" fmla="*/ 96962 h 290152"/>
              <a:gd name="T40" fmla="*/ 140034 w 290153"/>
              <a:gd name="T41" fmla="*/ 59030 h 290152"/>
              <a:gd name="T42" fmla="*/ 244143 w 290153"/>
              <a:gd name="T43" fmla="*/ 82329 h 290152"/>
              <a:gd name="T44" fmla="*/ 282540 w 290153"/>
              <a:gd name="T45" fmla="*/ 43884 h 290152"/>
              <a:gd name="T46" fmla="*/ 44157 w 290153"/>
              <a:gd name="T47" fmla="*/ 43771 h 290152"/>
              <a:gd name="T48" fmla="*/ 74226 w 290153"/>
              <a:gd name="T49" fmla="*/ 79909 h 290152"/>
              <a:gd name="T50" fmla="*/ 126758 w 290153"/>
              <a:gd name="T51" fmla="*/ 145318 h 290152"/>
              <a:gd name="T52" fmla="*/ 160088 w 290153"/>
              <a:gd name="T53" fmla="*/ 108096 h 290152"/>
              <a:gd name="T54" fmla="*/ 200302 w 290153"/>
              <a:gd name="T55" fmla="*/ 43771 h 290152"/>
              <a:gd name="T56" fmla="*/ 39807 w 290153"/>
              <a:gd name="T57" fmla="*/ 35100 h 290152"/>
              <a:gd name="T58" fmla="*/ 208636 w 290153"/>
              <a:gd name="T59" fmla="*/ 39436 h 290152"/>
              <a:gd name="T60" fmla="*/ 204650 w 290153"/>
              <a:gd name="T61" fmla="*/ 184708 h 290152"/>
              <a:gd name="T62" fmla="*/ 35097 w 290153"/>
              <a:gd name="T63" fmla="*/ 180371 h 290152"/>
              <a:gd name="T64" fmla="*/ 39807 w 290153"/>
              <a:gd name="T65" fmla="*/ 35100 h 290152"/>
              <a:gd name="T66" fmla="*/ 9055 w 290153"/>
              <a:gd name="T67" fmla="*/ 21761 h 290152"/>
              <a:gd name="T68" fmla="*/ 282540 w 290153"/>
              <a:gd name="T69" fmla="*/ 212171 h 290152"/>
              <a:gd name="T70" fmla="*/ 239796 w 290153"/>
              <a:gd name="T71" fmla="*/ 185332 h 290152"/>
              <a:gd name="T72" fmla="*/ 235450 w 290153"/>
              <a:gd name="T73" fmla="*/ 39532 h 290152"/>
              <a:gd name="T74" fmla="*/ 282540 w 290153"/>
              <a:gd name="T75" fmla="*/ 35182 h 290152"/>
              <a:gd name="T76" fmla="*/ 269138 w 290153"/>
              <a:gd name="T77" fmla="*/ 8705 h 290152"/>
              <a:gd name="T78" fmla="*/ 22095 w 290153"/>
              <a:gd name="T79" fmla="*/ 0 h 290152"/>
              <a:gd name="T80" fmla="*/ 291595 w 290153"/>
              <a:gd name="T81" fmla="*/ 21761 h 290152"/>
              <a:gd name="T82" fmla="*/ 269138 w 290153"/>
              <a:gd name="T83" fmla="*/ 256056 h 290152"/>
              <a:gd name="T84" fmla="*/ 203212 w 290153"/>
              <a:gd name="T85" fmla="*/ 282532 h 290152"/>
              <a:gd name="T86" fmla="*/ 238347 w 290153"/>
              <a:gd name="T87" fmla="*/ 286884 h 290152"/>
              <a:gd name="T88" fmla="*/ 57233 w 290153"/>
              <a:gd name="T89" fmla="*/ 291598 h 290152"/>
              <a:gd name="T90" fmla="*/ 57233 w 290153"/>
              <a:gd name="T91" fmla="*/ 282532 h 290152"/>
              <a:gd name="T92" fmla="*/ 88022 w 290153"/>
              <a:gd name="T93" fmla="*/ 256056 h 290152"/>
              <a:gd name="T94" fmla="*/ 0 w 290153"/>
              <a:gd name="T95" fmla="*/ 233933 h 290152"/>
              <a:gd name="T96" fmla="*/ 22095 w 290153"/>
              <a:gd name="T97" fmla="*/ 0 h 29015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90153" h="290152">
                <a:moveTo>
                  <a:pt x="96597" y="254786"/>
                </a:moveTo>
                <a:lnTo>
                  <a:pt x="96597" y="281130"/>
                </a:lnTo>
                <a:lnTo>
                  <a:pt x="193195" y="281130"/>
                </a:lnTo>
                <a:lnTo>
                  <a:pt x="193195" y="254786"/>
                </a:lnTo>
                <a:lnTo>
                  <a:pt x="96597" y="254786"/>
                </a:lnTo>
                <a:close/>
                <a:moveTo>
                  <a:pt x="9011" y="219780"/>
                </a:moveTo>
                <a:lnTo>
                  <a:pt x="9011" y="232772"/>
                </a:lnTo>
                <a:cubicBezTo>
                  <a:pt x="9011" y="240350"/>
                  <a:pt x="14778" y="246124"/>
                  <a:pt x="21987" y="246124"/>
                </a:cubicBezTo>
                <a:lnTo>
                  <a:pt x="267806" y="246124"/>
                </a:lnTo>
                <a:cubicBezTo>
                  <a:pt x="275014" y="246124"/>
                  <a:pt x="281142" y="240350"/>
                  <a:pt x="281142" y="232772"/>
                </a:cubicBezTo>
                <a:lnTo>
                  <a:pt x="281142" y="219780"/>
                </a:lnTo>
                <a:lnTo>
                  <a:pt x="9011" y="219780"/>
                </a:lnTo>
                <a:close/>
                <a:moveTo>
                  <a:pt x="242935" y="137859"/>
                </a:moveTo>
                <a:lnTo>
                  <a:pt x="242935" y="175752"/>
                </a:lnTo>
                <a:lnTo>
                  <a:pt x="281142" y="175752"/>
                </a:lnTo>
                <a:lnTo>
                  <a:pt x="281142" y="137859"/>
                </a:lnTo>
                <a:lnTo>
                  <a:pt x="242935" y="137859"/>
                </a:lnTo>
                <a:close/>
                <a:moveTo>
                  <a:pt x="155331" y="117628"/>
                </a:moveTo>
                <a:lnTo>
                  <a:pt x="115676" y="175161"/>
                </a:lnTo>
                <a:lnTo>
                  <a:pt x="194985" y="175161"/>
                </a:lnTo>
                <a:lnTo>
                  <a:pt x="155331" y="117628"/>
                </a:lnTo>
                <a:close/>
                <a:moveTo>
                  <a:pt x="242935" y="90583"/>
                </a:moveTo>
                <a:lnTo>
                  <a:pt x="242935" y="128836"/>
                </a:lnTo>
                <a:lnTo>
                  <a:pt x="281142" y="128836"/>
                </a:lnTo>
                <a:lnTo>
                  <a:pt x="281142" y="90583"/>
                </a:lnTo>
                <a:lnTo>
                  <a:pt x="242935" y="90583"/>
                </a:lnTo>
                <a:close/>
                <a:moveTo>
                  <a:pt x="77463" y="89941"/>
                </a:moveTo>
                <a:lnTo>
                  <a:pt x="43937" y="138124"/>
                </a:lnTo>
                <a:lnTo>
                  <a:pt x="43937" y="175161"/>
                </a:lnTo>
                <a:lnTo>
                  <a:pt x="104861" y="175161"/>
                </a:lnTo>
                <a:lnTo>
                  <a:pt x="120723" y="152148"/>
                </a:lnTo>
                <a:lnTo>
                  <a:pt x="77463" y="89941"/>
                </a:lnTo>
                <a:close/>
                <a:moveTo>
                  <a:pt x="139341" y="67284"/>
                </a:moveTo>
                <a:cubicBezTo>
                  <a:pt x="133949" y="67284"/>
                  <a:pt x="129277" y="71913"/>
                  <a:pt x="129277" y="77610"/>
                </a:cubicBezTo>
                <a:cubicBezTo>
                  <a:pt x="129277" y="82951"/>
                  <a:pt x="133949" y="87580"/>
                  <a:pt x="139341" y="87580"/>
                </a:cubicBezTo>
                <a:cubicBezTo>
                  <a:pt x="145092" y="87580"/>
                  <a:pt x="149764" y="82951"/>
                  <a:pt x="149764" y="77610"/>
                </a:cubicBezTo>
                <a:cubicBezTo>
                  <a:pt x="149764" y="71913"/>
                  <a:pt x="145092" y="67284"/>
                  <a:pt x="139341" y="67284"/>
                </a:cubicBezTo>
                <a:close/>
                <a:moveTo>
                  <a:pt x="139341" y="58738"/>
                </a:moveTo>
                <a:cubicBezTo>
                  <a:pt x="150124" y="58738"/>
                  <a:pt x="158391" y="67284"/>
                  <a:pt x="158391" y="77610"/>
                </a:cubicBezTo>
                <a:cubicBezTo>
                  <a:pt x="158391" y="87936"/>
                  <a:pt x="150124" y="96482"/>
                  <a:pt x="139341" y="96482"/>
                </a:cubicBezTo>
                <a:cubicBezTo>
                  <a:pt x="129277" y="96482"/>
                  <a:pt x="120650" y="87936"/>
                  <a:pt x="120650" y="77610"/>
                </a:cubicBezTo>
                <a:cubicBezTo>
                  <a:pt x="120650" y="67284"/>
                  <a:pt x="129277" y="58738"/>
                  <a:pt x="139341" y="58738"/>
                </a:cubicBezTo>
                <a:close/>
                <a:moveTo>
                  <a:pt x="242935" y="43667"/>
                </a:moveTo>
                <a:lnTo>
                  <a:pt x="242935" y="81921"/>
                </a:lnTo>
                <a:lnTo>
                  <a:pt x="281142" y="81921"/>
                </a:lnTo>
                <a:lnTo>
                  <a:pt x="281142" y="43667"/>
                </a:lnTo>
                <a:lnTo>
                  <a:pt x="242935" y="43667"/>
                </a:lnTo>
                <a:close/>
                <a:moveTo>
                  <a:pt x="43937" y="43555"/>
                </a:moveTo>
                <a:lnTo>
                  <a:pt x="43937" y="122662"/>
                </a:lnTo>
                <a:lnTo>
                  <a:pt x="73858" y="79513"/>
                </a:lnTo>
                <a:cubicBezTo>
                  <a:pt x="75300" y="76996"/>
                  <a:pt x="79626" y="76996"/>
                  <a:pt x="81068" y="79513"/>
                </a:cubicBezTo>
                <a:lnTo>
                  <a:pt x="126131" y="144597"/>
                </a:lnTo>
                <a:lnTo>
                  <a:pt x="151726" y="107560"/>
                </a:lnTo>
                <a:cubicBezTo>
                  <a:pt x="153528" y="105043"/>
                  <a:pt x="157494" y="105043"/>
                  <a:pt x="159296" y="107560"/>
                </a:cubicBezTo>
                <a:lnTo>
                  <a:pt x="199311" y="165452"/>
                </a:lnTo>
                <a:lnTo>
                  <a:pt x="199311" y="43555"/>
                </a:lnTo>
                <a:lnTo>
                  <a:pt x="43937" y="43555"/>
                </a:lnTo>
                <a:close/>
                <a:moveTo>
                  <a:pt x="39611" y="34925"/>
                </a:moveTo>
                <a:lnTo>
                  <a:pt x="203637" y="34925"/>
                </a:lnTo>
                <a:cubicBezTo>
                  <a:pt x="205800" y="34925"/>
                  <a:pt x="207603" y="36723"/>
                  <a:pt x="207603" y="39240"/>
                </a:cubicBezTo>
                <a:lnTo>
                  <a:pt x="207603" y="179476"/>
                </a:lnTo>
                <a:cubicBezTo>
                  <a:pt x="207603" y="181993"/>
                  <a:pt x="205800" y="183791"/>
                  <a:pt x="203637" y="183791"/>
                </a:cubicBezTo>
                <a:lnTo>
                  <a:pt x="39611" y="183791"/>
                </a:lnTo>
                <a:cubicBezTo>
                  <a:pt x="37088" y="183791"/>
                  <a:pt x="34925" y="181993"/>
                  <a:pt x="34925" y="179476"/>
                </a:cubicBezTo>
                <a:lnTo>
                  <a:pt x="34925" y="39240"/>
                </a:lnTo>
                <a:cubicBezTo>
                  <a:pt x="34925" y="36723"/>
                  <a:pt x="37088" y="34925"/>
                  <a:pt x="39611" y="34925"/>
                </a:cubicBezTo>
                <a:close/>
                <a:moveTo>
                  <a:pt x="21987" y="8661"/>
                </a:moveTo>
                <a:cubicBezTo>
                  <a:pt x="14778" y="8661"/>
                  <a:pt x="9011" y="14435"/>
                  <a:pt x="9011" y="21653"/>
                </a:cubicBezTo>
                <a:lnTo>
                  <a:pt x="9011" y="211118"/>
                </a:lnTo>
                <a:lnTo>
                  <a:pt x="281142" y="211118"/>
                </a:lnTo>
                <a:lnTo>
                  <a:pt x="281142" y="184413"/>
                </a:lnTo>
                <a:lnTo>
                  <a:pt x="238610" y="184413"/>
                </a:lnTo>
                <a:cubicBezTo>
                  <a:pt x="236087" y="184413"/>
                  <a:pt x="234285" y="182608"/>
                  <a:pt x="234285" y="180082"/>
                </a:cubicBezTo>
                <a:lnTo>
                  <a:pt x="234285" y="39336"/>
                </a:lnTo>
                <a:cubicBezTo>
                  <a:pt x="234285" y="36810"/>
                  <a:pt x="236087" y="35006"/>
                  <a:pt x="238610" y="35006"/>
                </a:cubicBezTo>
                <a:lnTo>
                  <a:pt x="281142" y="35006"/>
                </a:lnTo>
                <a:lnTo>
                  <a:pt x="281142" y="21653"/>
                </a:lnTo>
                <a:cubicBezTo>
                  <a:pt x="281142" y="14435"/>
                  <a:pt x="275014" y="8661"/>
                  <a:pt x="267806" y="8661"/>
                </a:cubicBezTo>
                <a:lnTo>
                  <a:pt x="21987" y="8661"/>
                </a:lnTo>
                <a:close/>
                <a:moveTo>
                  <a:pt x="21987" y="0"/>
                </a:moveTo>
                <a:lnTo>
                  <a:pt x="267806" y="0"/>
                </a:lnTo>
                <a:cubicBezTo>
                  <a:pt x="280060" y="0"/>
                  <a:pt x="290153" y="9744"/>
                  <a:pt x="290153" y="21653"/>
                </a:cubicBezTo>
                <a:lnTo>
                  <a:pt x="290153" y="232772"/>
                </a:lnTo>
                <a:cubicBezTo>
                  <a:pt x="290153" y="245042"/>
                  <a:pt x="280060" y="254786"/>
                  <a:pt x="267806" y="254786"/>
                </a:cubicBezTo>
                <a:lnTo>
                  <a:pt x="202206" y="254786"/>
                </a:lnTo>
                <a:lnTo>
                  <a:pt x="202206" y="281130"/>
                </a:lnTo>
                <a:lnTo>
                  <a:pt x="232843" y="281130"/>
                </a:lnTo>
                <a:cubicBezTo>
                  <a:pt x="235006" y="281130"/>
                  <a:pt x="237168" y="283296"/>
                  <a:pt x="237168" y="285461"/>
                </a:cubicBezTo>
                <a:cubicBezTo>
                  <a:pt x="237168" y="288348"/>
                  <a:pt x="235006" y="290152"/>
                  <a:pt x="232843" y="290152"/>
                </a:cubicBezTo>
                <a:lnTo>
                  <a:pt x="56949" y="290152"/>
                </a:lnTo>
                <a:cubicBezTo>
                  <a:pt x="54786" y="290152"/>
                  <a:pt x="52624" y="288348"/>
                  <a:pt x="52624" y="285461"/>
                </a:cubicBezTo>
                <a:cubicBezTo>
                  <a:pt x="52624" y="283296"/>
                  <a:pt x="54786" y="281130"/>
                  <a:pt x="56949" y="281130"/>
                </a:cubicBezTo>
                <a:lnTo>
                  <a:pt x="87586" y="281130"/>
                </a:lnTo>
                <a:lnTo>
                  <a:pt x="87586" y="254786"/>
                </a:lnTo>
                <a:lnTo>
                  <a:pt x="21987" y="254786"/>
                </a:lnTo>
                <a:cubicBezTo>
                  <a:pt x="9732" y="254786"/>
                  <a:pt x="0" y="245042"/>
                  <a:pt x="0" y="232772"/>
                </a:cubicBezTo>
                <a:lnTo>
                  <a:pt x="0" y="21653"/>
                </a:lnTo>
                <a:cubicBezTo>
                  <a:pt x="0" y="9744"/>
                  <a:pt x="9732" y="0"/>
                  <a:pt x="21987" y="0"/>
                </a:cubicBezTo>
                <a:close/>
              </a:path>
            </a:pathLst>
          </a:custGeom>
          <a:solidFill>
            <a:schemeClr val="accent3"/>
          </a:solidFill>
          <a:ln>
            <a:noFill/>
          </a:ln>
          <a:effectLst/>
        </p:spPr>
        <p:txBody>
          <a:bodyPr anchor="ctr"/>
          <a:lstStyle/>
          <a:p>
            <a:endParaRPr lang="en-US" sz="900" dirty="0"/>
          </a:p>
        </p:txBody>
      </p:sp>
      <p:sp>
        <p:nvSpPr>
          <p:cNvPr id="49" name="Freeform 1023">
            <a:extLst>
              <a:ext uri="{FF2B5EF4-FFF2-40B4-BE49-F238E27FC236}">
                <a16:creationId xmlns:a16="http://schemas.microsoft.com/office/drawing/2014/main" id="{9D61B0F3-D864-C94D-B1FD-357737800827}"/>
              </a:ext>
            </a:extLst>
          </p:cNvPr>
          <p:cNvSpPr>
            <a:spLocks noChangeAspect="1" noChangeArrowheads="1"/>
          </p:cNvSpPr>
          <p:nvPr/>
        </p:nvSpPr>
        <p:spPr bwMode="auto">
          <a:xfrm>
            <a:off x="3007329" y="5198415"/>
            <a:ext cx="506563" cy="506564"/>
          </a:xfrm>
          <a:custGeom>
            <a:avLst/>
            <a:gdLst>
              <a:gd name="T0" fmla="*/ 185413 w 290207"/>
              <a:gd name="T1" fmla="*/ 276365 h 290151"/>
              <a:gd name="T2" fmla="*/ 185413 w 290207"/>
              <a:gd name="T3" fmla="*/ 244449 h 290151"/>
              <a:gd name="T4" fmla="*/ 80033 w 290207"/>
              <a:gd name="T5" fmla="*/ 245175 h 290151"/>
              <a:gd name="T6" fmla="*/ 90535 w 290207"/>
              <a:gd name="T7" fmla="*/ 208181 h 290151"/>
              <a:gd name="T8" fmla="*/ 112986 w 290207"/>
              <a:gd name="T9" fmla="*/ 218336 h 290151"/>
              <a:gd name="T10" fmla="*/ 264721 w 290207"/>
              <a:gd name="T11" fmla="*/ 91034 h 290151"/>
              <a:gd name="T12" fmla="*/ 133839 w 290207"/>
              <a:gd name="T13" fmla="*/ 71793 h 290151"/>
              <a:gd name="T14" fmla="*/ 168621 w 290207"/>
              <a:gd name="T15" fmla="*/ 76389 h 290151"/>
              <a:gd name="T16" fmla="*/ 133839 w 290207"/>
              <a:gd name="T17" fmla="*/ 80983 h 290151"/>
              <a:gd name="T18" fmla="*/ 133839 w 290207"/>
              <a:gd name="T19" fmla="*/ 71793 h 290151"/>
              <a:gd name="T20" fmla="*/ 94517 w 290207"/>
              <a:gd name="T21" fmla="*/ 199839 h 290151"/>
              <a:gd name="T22" fmla="*/ 246253 w 290207"/>
              <a:gd name="T23" fmla="*/ 72537 h 290151"/>
              <a:gd name="T24" fmla="*/ 254581 w 290207"/>
              <a:gd name="T25" fmla="*/ 42436 h 290151"/>
              <a:gd name="T26" fmla="*/ 240097 w 290207"/>
              <a:gd name="T27" fmla="*/ 54040 h 290151"/>
              <a:gd name="T28" fmla="*/ 280656 w 290207"/>
              <a:gd name="T29" fmla="*/ 75439 h 290151"/>
              <a:gd name="T30" fmla="*/ 259652 w 290207"/>
              <a:gd name="T31" fmla="*/ 44248 h 290151"/>
              <a:gd name="T32" fmla="*/ 4708 w 290207"/>
              <a:gd name="T33" fmla="*/ 0 h 290151"/>
              <a:gd name="T34" fmla="*/ 232853 w 290207"/>
              <a:gd name="T35" fmla="*/ 4351 h 290151"/>
              <a:gd name="T36" fmla="*/ 228146 w 290207"/>
              <a:gd name="T37" fmla="*/ 30467 h 290151"/>
              <a:gd name="T38" fmla="*/ 223800 w 290207"/>
              <a:gd name="T39" fmla="*/ 8705 h 290151"/>
              <a:gd name="T40" fmla="*/ 9053 w 290207"/>
              <a:gd name="T41" fmla="*/ 282894 h 290151"/>
              <a:gd name="T42" fmla="*/ 176722 w 290207"/>
              <a:gd name="T43" fmla="*/ 240097 h 290151"/>
              <a:gd name="T44" fmla="*/ 223800 w 290207"/>
              <a:gd name="T45" fmla="*/ 235381 h 290151"/>
              <a:gd name="T46" fmla="*/ 128559 w 290207"/>
              <a:gd name="T47" fmla="*/ 240097 h 290151"/>
              <a:gd name="T48" fmla="*/ 74963 w 290207"/>
              <a:gd name="T49" fmla="*/ 256055 h 290151"/>
              <a:gd name="T50" fmla="*/ 29695 w 290207"/>
              <a:gd name="T51" fmla="*/ 211808 h 290151"/>
              <a:gd name="T52" fmla="*/ 89085 w 290207"/>
              <a:gd name="T53" fmla="*/ 151965 h 290151"/>
              <a:gd name="T54" fmla="*/ 61563 w 290207"/>
              <a:gd name="T55" fmla="*/ 136732 h 290151"/>
              <a:gd name="T56" fmla="*/ 61563 w 290207"/>
              <a:gd name="T57" fmla="*/ 72537 h 290151"/>
              <a:gd name="T58" fmla="*/ 114074 w 290207"/>
              <a:gd name="T59" fmla="*/ 76889 h 290151"/>
              <a:gd name="T60" fmla="*/ 61563 w 290207"/>
              <a:gd name="T61" fmla="*/ 81242 h 290151"/>
              <a:gd name="T62" fmla="*/ 61563 w 290207"/>
              <a:gd name="T63" fmla="*/ 127665 h 290151"/>
              <a:gd name="T64" fmla="*/ 98140 w 290207"/>
              <a:gd name="T65" fmla="*/ 151965 h 290151"/>
              <a:gd name="T66" fmla="*/ 38386 w 290207"/>
              <a:gd name="T67" fmla="*/ 211808 h 290151"/>
              <a:gd name="T68" fmla="*/ 84015 w 290207"/>
              <a:gd name="T69" fmla="*/ 198389 h 290151"/>
              <a:gd name="T70" fmla="*/ 227422 w 290207"/>
              <a:gd name="T71" fmla="*/ 54040 h 290151"/>
              <a:gd name="T72" fmla="*/ 226698 w 290207"/>
              <a:gd name="T73" fmla="*/ 46786 h 290151"/>
              <a:gd name="T74" fmla="*/ 233577 w 290207"/>
              <a:gd name="T75" fmla="*/ 47512 h 290151"/>
              <a:gd name="T76" fmla="*/ 254581 w 290207"/>
              <a:gd name="T77" fmla="*/ 33366 h 290151"/>
              <a:gd name="T78" fmla="*/ 286811 w 290207"/>
              <a:gd name="T79" fmla="*/ 58756 h 290151"/>
              <a:gd name="T80" fmla="*/ 277396 w 290207"/>
              <a:gd name="T81" fmla="*/ 91034 h 290151"/>
              <a:gd name="T82" fmla="*/ 278482 w 290207"/>
              <a:gd name="T83" fmla="*/ 98650 h 290151"/>
              <a:gd name="T84" fmla="*/ 272326 w 290207"/>
              <a:gd name="T85" fmla="*/ 98650 h 290151"/>
              <a:gd name="T86" fmla="*/ 232853 w 290207"/>
              <a:gd name="T87" fmla="*/ 136007 h 290151"/>
              <a:gd name="T88" fmla="*/ 231405 w 290207"/>
              <a:gd name="T89" fmla="*/ 242999 h 290151"/>
              <a:gd name="T90" fmla="*/ 181069 w 290207"/>
              <a:gd name="T91" fmla="*/ 291597 h 290151"/>
              <a:gd name="T92" fmla="*/ 0 w 290207"/>
              <a:gd name="T93" fmla="*/ 286883 h 290151"/>
              <a:gd name="T94" fmla="*/ 4708 w 290207"/>
              <a:gd name="T95" fmla="*/ 0 h 2901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0207" h="290151">
                <a:moveTo>
                  <a:pt x="184636" y="243236"/>
                </a:moveTo>
                <a:lnTo>
                  <a:pt x="184636" y="274994"/>
                </a:lnTo>
                <a:lnTo>
                  <a:pt x="216731" y="243236"/>
                </a:lnTo>
                <a:lnTo>
                  <a:pt x="184636" y="243236"/>
                </a:lnTo>
                <a:close/>
                <a:moveTo>
                  <a:pt x="90155" y="207148"/>
                </a:moveTo>
                <a:lnTo>
                  <a:pt x="79697" y="243958"/>
                </a:lnTo>
                <a:lnTo>
                  <a:pt x="116840" y="233853"/>
                </a:lnTo>
                <a:lnTo>
                  <a:pt x="90155" y="207148"/>
                </a:lnTo>
                <a:close/>
                <a:moveTo>
                  <a:pt x="251350" y="78312"/>
                </a:moveTo>
                <a:lnTo>
                  <a:pt x="112513" y="217253"/>
                </a:lnTo>
                <a:lnTo>
                  <a:pt x="125134" y="229523"/>
                </a:lnTo>
                <a:lnTo>
                  <a:pt x="263611" y="90582"/>
                </a:lnTo>
                <a:lnTo>
                  <a:pt x="251350" y="78312"/>
                </a:lnTo>
                <a:close/>
                <a:moveTo>
                  <a:pt x="133278" y="71437"/>
                </a:moveTo>
                <a:lnTo>
                  <a:pt x="163585" y="71437"/>
                </a:lnTo>
                <a:cubicBezTo>
                  <a:pt x="166110" y="71437"/>
                  <a:pt x="167914" y="73342"/>
                  <a:pt x="167914" y="76009"/>
                </a:cubicBezTo>
                <a:cubicBezTo>
                  <a:pt x="167914" y="78676"/>
                  <a:pt x="166110" y="80581"/>
                  <a:pt x="163585" y="80581"/>
                </a:cubicBezTo>
                <a:lnTo>
                  <a:pt x="133278" y="80581"/>
                </a:lnTo>
                <a:cubicBezTo>
                  <a:pt x="130752" y="80581"/>
                  <a:pt x="128587" y="78676"/>
                  <a:pt x="128587" y="76009"/>
                </a:cubicBezTo>
                <a:cubicBezTo>
                  <a:pt x="128587" y="73342"/>
                  <a:pt x="130752" y="71437"/>
                  <a:pt x="133278" y="71437"/>
                </a:cubicBezTo>
                <a:close/>
                <a:moveTo>
                  <a:pt x="232598" y="59546"/>
                </a:moveTo>
                <a:lnTo>
                  <a:pt x="94121" y="198848"/>
                </a:lnTo>
                <a:lnTo>
                  <a:pt x="106382" y="211118"/>
                </a:lnTo>
                <a:lnTo>
                  <a:pt x="245220" y="72177"/>
                </a:lnTo>
                <a:lnTo>
                  <a:pt x="232598" y="59546"/>
                </a:lnTo>
                <a:close/>
                <a:moveTo>
                  <a:pt x="253514" y="42224"/>
                </a:moveTo>
                <a:cubicBezTo>
                  <a:pt x="251711" y="42224"/>
                  <a:pt x="249547" y="42946"/>
                  <a:pt x="248105" y="44028"/>
                </a:cubicBezTo>
                <a:lnTo>
                  <a:pt x="239090" y="53772"/>
                </a:lnTo>
                <a:lnTo>
                  <a:pt x="270103" y="84447"/>
                </a:lnTo>
                <a:lnTo>
                  <a:pt x="279479" y="75064"/>
                </a:lnTo>
                <a:cubicBezTo>
                  <a:pt x="282003" y="72177"/>
                  <a:pt x="282003" y="67847"/>
                  <a:pt x="279479" y="64959"/>
                </a:cubicBezTo>
                <a:lnTo>
                  <a:pt x="258563" y="44028"/>
                </a:lnTo>
                <a:cubicBezTo>
                  <a:pt x="257481" y="42946"/>
                  <a:pt x="255317" y="42224"/>
                  <a:pt x="253514" y="42224"/>
                </a:cubicBezTo>
                <a:close/>
                <a:moveTo>
                  <a:pt x="4688" y="0"/>
                </a:moveTo>
                <a:lnTo>
                  <a:pt x="227189" y="0"/>
                </a:lnTo>
                <a:cubicBezTo>
                  <a:pt x="229713" y="0"/>
                  <a:pt x="231877" y="1805"/>
                  <a:pt x="231877" y="4331"/>
                </a:cubicBezTo>
                <a:lnTo>
                  <a:pt x="231877" y="25984"/>
                </a:lnTo>
                <a:cubicBezTo>
                  <a:pt x="231877" y="28510"/>
                  <a:pt x="229713" y="30315"/>
                  <a:pt x="227189" y="30315"/>
                </a:cubicBezTo>
                <a:cubicBezTo>
                  <a:pt x="224665" y="30315"/>
                  <a:pt x="222862" y="28510"/>
                  <a:pt x="222862" y="25984"/>
                </a:cubicBezTo>
                <a:lnTo>
                  <a:pt x="222862" y="8661"/>
                </a:lnTo>
                <a:lnTo>
                  <a:pt x="9016" y="8661"/>
                </a:lnTo>
                <a:lnTo>
                  <a:pt x="9016" y="281490"/>
                </a:lnTo>
                <a:lnTo>
                  <a:pt x="175981" y="281490"/>
                </a:lnTo>
                <a:lnTo>
                  <a:pt x="175981" y="238906"/>
                </a:lnTo>
                <a:cubicBezTo>
                  <a:pt x="175981" y="236380"/>
                  <a:pt x="177785" y="234214"/>
                  <a:pt x="180309" y="234214"/>
                </a:cubicBezTo>
                <a:lnTo>
                  <a:pt x="222862" y="234214"/>
                </a:lnTo>
                <a:lnTo>
                  <a:pt x="222862" y="144354"/>
                </a:lnTo>
                <a:lnTo>
                  <a:pt x="128019" y="238906"/>
                </a:lnTo>
                <a:cubicBezTo>
                  <a:pt x="127659" y="239628"/>
                  <a:pt x="126938" y="239988"/>
                  <a:pt x="126216" y="239988"/>
                </a:cubicBezTo>
                <a:lnTo>
                  <a:pt x="74648" y="254785"/>
                </a:lnTo>
                <a:cubicBezTo>
                  <a:pt x="74287" y="254785"/>
                  <a:pt x="73566" y="254785"/>
                  <a:pt x="73206" y="254785"/>
                </a:cubicBezTo>
                <a:cubicBezTo>
                  <a:pt x="49044" y="254785"/>
                  <a:pt x="29571" y="235297"/>
                  <a:pt x="29571" y="210757"/>
                </a:cubicBezTo>
                <a:cubicBezTo>
                  <a:pt x="29571" y="186578"/>
                  <a:pt x="49044" y="166729"/>
                  <a:pt x="73206" y="166729"/>
                </a:cubicBezTo>
                <a:cubicBezTo>
                  <a:pt x="81860" y="166729"/>
                  <a:pt x="88712" y="159872"/>
                  <a:pt x="88712" y="151211"/>
                </a:cubicBezTo>
                <a:cubicBezTo>
                  <a:pt x="88712" y="142910"/>
                  <a:pt x="81860" y="136054"/>
                  <a:pt x="73206" y="136054"/>
                </a:cubicBezTo>
                <a:lnTo>
                  <a:pt x="61305" y="136054"/>
                </a:lnTo>
                <a:cubicBezTo>
                  <a:pt x="43635" y="136054"/>
                  <a:pt x="29571" y="121618"/>
                  <a:pt x="29571" y="103935"/>
                </a:cubicBezTo>
                <a:cubicBezTo>
                  <a:pt x="29571" y="86613"/>
                  <a:pt x="43635" y="72177"/>
                  <a:pt x="61305" y="72177"/>
                </a:cubicBezTo>
                <a:lnTo>
                  <a:pt x="108907" y="72177"/>
                </a:lnTo>
                <a:cubicBezTo>
                  <a:pt x="111431" y="72177"/>
                  <a:pt x="113595" y="73982"/>
                  <a:pt x="113595" y="76508"/>
                </a:cubicBezTo>
                <a:cubicBezTo>
                  <a:pt x="113595" y="79034"/>
                  <a:pt x="111431" y="80838"/>
                  <a:pt x="108907" y="80838"/>
                </a:cubicBezTo>
                <a:lnTo>
                  <a:pt x="61305" y="80838"/>
                </a:lnTo>
                <a:cubicBezTo>
                  <a:pt x="48323" y="80838"/>
                  <a:pt x="38226" y="91304"/>
                  <a:pt x="38226" y="103935"/>
                </a:cubicBezTo>
                <a:cubicBezTo>
                  <a:pt x="38226" y="116566"/>
                  <a:pt x="48323" y="127032"/>
                  <a:pt x="61305" y="127032"/>
                </a:cubicBezTo>
                <a:lnTo>
                  <a:pt x="73206" y="127032"/>
                </a:lnTo>
                <a:cubicBezTo>
                  <a:pt x="86548" y="127032"/>
                  <a:pt x="97728" y="137858"/>
                  <a:pt x="97728" y="151211"/>
                </a:cubicBezTo>
                <a:cubicBezTo>
                  <a:pt x="97728" y="164564"/>
                  <a:pt x="86548" y="175751"/>
                  <a:pt x="73206" y="175751"/>
                </a:cubicBezTo>
                <a:cubicBezTo>
                  <a:pt x="54093" y="175751"/>
                  <a:pt x="38226" y="191269"/>
                  <a:pt x="38226" y="210757"/>
                </a:cubicBezTo>
                <a:cubicBezTo>
                  <a:pt x="38226" y="229162"/>
                  <a:pt x="51929" y="244319"/>
                  <a:pt x="69960" y="246123"/>
                </a:cubicBezTo>
                <a:lnTo>
                  <a:pt x="83663" y="197404"/>
                </a:lnTo>
                <a:cubicBezTo>
                  <a:pt x="83663" y="196682"/>
                  <a:pt x="84385" y="196321"/>
                  <a:pt x="84745" y="195600"/>
                </a:cubicBezTo>
                <a:lnTo>
                  <a:pt x="226468" y="53772"/>
                </a:lnTo>
                <a:lnTo>
                  <a:pt x="225747" y="52328"/>
                </a:lnTo>
                <a:cubicBezTo>
                  <a:pt x="223944" y="50885"/>
                  <a:pt x="223944" y="47998"/>
                  <a:pt x="225747" y="46554"/>
                </a:cubicBezTo>
                <a:cubicBezTo>
                  <a:pt x="227189" y="44750"/>
                  <a:pt x="230074" y="44750"/>
                  <a:pt x="231877" y="46554"/>
                </a:cubicBezTo>
                <a:lnTo>
                  <a:pt x="232598" y="47276"/>
                </a:lnTo>
                <a:lnTo>
                  <a:pt x="241974" y="38254"/>
                </a:lnTo>
                <a:cubicBezTo>
                  <a:pt x="244859" y="35006"/>
                  <a:pt x="249187" y="33202"/>
                  <a:pt x="253514" y="33202"/>
                </a:cubicBezTo>
                <a:cubicBezTo>
                  <a:pt x="257842" y="33202"/>
                  <a:pt x="261808" y="35006"/>
                  <a:pt x="265054" y="38254"/>
                </a:cubicBezTo>
                <a:lnTo>
                  <a:pt x="285609" y="58464"/>
                </a:lnTo>
                <a:cubicBezTo>
                  <a:pt x="291740" y="64959"/>
                  <a:pt x="291740" y="75064"/>
                  <a:pt x="285609" y="81199"/>
                </a:cubicBezTo>
                <a:lnTo>
                  <a:pt x="276233" y="90582"/>
                </a:lnTo>
                <a:lnTo>
                  <a:pt x="277315" y="92026"/>
                </a:lnTo>
                <a:cubicBezTo>
                  <a:pt x="279118" y="93830"/>
                  <a:pt x="279118" y="96356"/>
                  <a:pt x="277315" y="98161"/>
                </a:cubicBezTo>
                <a:cubicBezTo>
                  <a:pt x="276594" y="98883"/>
                  <a:pt x="275512" y="99243"/>
                  <a:pt x="274069" y="99243"/>
                </a:cubicBezTo>
                <a:cubicBezTo>
                  <a:pt x="273348" y="99243"/>
                  <a:pt x="271906" y="98883"/>
                  <a:pt x="271184" y="98161"/>
                </a:cubicBezTo>
                <a:lnTo>
                  <a:pt x="270103" y="97078"/>
                </a:lnTo>
                <a:lnTo>
                  <a:pt x="231877" y="135332"/>
                </a:lnTo>
                <a:lnTo>
                  <a:pt x="231877" y="238906"/>
                </a:lnTo>
                <a:cubicBezTo>
                  <a:pt x="231877" y="239988"/>
                  <a:pt x="231156" y="241071"/>
                  <a:pt x="230435" y="241793"/>
                </a:cubicBezTo>
                <a:lnTo>
                  <a:pt x="183554" y="288708"/>
                </a:lnTo>
                <a:cubicBezTo>
                  <a:pt x="182473" y="289790"/>
                  <a:pt x="181391" y="290151"/>
                  <a:pt x="180309" y="290151"/>
                </a:cubicBezTo>
                <a:lnTo>
                  <a:pt x="4688" y="290151"/>
                </a:lnTo>
                <a:cubicBezTo>
                  <a:pt x="2164" y="290151"/>
                  <a:pt x="0" y="288347"/>
                  <a:pt x="0" y="285460"/>
                </a:cubicBezTo>
                <a:lnTo>
                  <a:pt x="0" y="4331"/>
                </a:lnTo>
                <a:cubicBezTo>
                  <a:pt x="0" y="1805"/>
                  <a:pt x="2164" y="0"/>
                  <a:pt x="4688" y="0"/>
                </a:cubicBezTo>
                <a:close/>
              </a:path>
            </a:pathLst>
          </a:custGeom>
          <a:solidFill>
            <a:schemeClr val="accent1"/>
          </a:solidFill>
          <a:ln>
            <a:noFill/>
          </a:ln>
          <a:effectLst/>
        </p:spPr>
        <p:txBody>
          <a:bodyPr anchor="ctr"/>
          <a:lstStyle/>
          <a:p>
            <a:endParaRPr lang="en-US" sz="900" dirty="0"/>
          </a:p>
        </p:txBody>
      </p:sp>
      <p:sp>
        <p:nvSpPr>
          <p:cNvPr id="50" name="Subtitle 2">
            <a:extLst>
              <a:ext uri="{FF2B5EF4-FFF2-40B4-BE49-F238E27FC236}">
                <a16:creationId xmlns:a16="http://schemas.microsoft.com/office/drawing/2014/main" id="{9417AC78-E5C8-E24D-AA48-0DF05FE2480B}"/>
              </a:ext>
            </a:extLst>
          </p:cNvPr>
          <p:cNvSpPr txBox="1">
            <a:spLocks/>
          </p:cNvSpPr>
          <p:nvPr/>
        </p:nvSpPr>
        <p:spPr>
          <a:xfrm>
            <a:off x="579645" y="2380502"/>
            <a:ext cx="2309307" cy="54858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a:t>
            </a:r>
          </a:p>
        </p:txBody>
      </p:sp>
      <p:sp>
        <p:nvSpPr>
          <p:cNvPr id="51" name="TextBox 50">
            <a:extLst>
              <a:ext uri="{FF2B5EF4-FFF2-40B4-BE49-F238E27FC236}">
                <a16:creationId xmlns:a16="http://schemas.microsoft.com/office/drawing/2014/main" id="{AEAD6A59-9B1C-0545-8B54-8E5C81E1B0EF}"/>
              </a:ext>
            </a:extLst>
          </p:cNvPr>
          <p:cNvSpPr txBox="1"/>
          <p:nvPr/>
        </p:nvSpPr>
        <p:spPr>
          <a:xfrm>
            <a:off x="1848646" y="2077593"/>
            <a:ext cx="971548" cy="338554"/>
          </a:xfrm>
          <a:prstGeom prst="rect">
            <a:avLst/>
          </a:prstGeom>
          <a:noFill/>
        </p:spPr>
        <p:txBody>
          <a:bodyPr wrap="none" rtlCol="0" anchor="ctr" anchorCtr="0">
            <a:spAutoFit/>
          </a:bodyPr>
          <a:lstStyle/>
          <a:p>
            <a:pPr algn="r"/>
            <a:r>
              <a:rPr lang="en-US" sz="1600" b="1" dirty="0">
                <a:solidFill>
                  <a:schemeClr val="tx2"/>
                </a:solidFill>
                <a:latin typeface="Segoe UI Light" panose="020B0502040204020203" pitchFamily="34" charset="0"/>
                <a:ea typeface="League Spartan" charset="0"/>
                <a:cs typeface="Poppins" pitchFamily="2" charset="77"/>
              </a:rPr>
              <a:t>Your Title</a:t>
            </a:r>
          </a:p>
        </p:txBody>
      </p:sp>
      <p:sp>
        <p:nvSpPr>
          <p:cNvPr id="52" name="Subtitle 2">
            <a:extLst>
              <a:ext uri="{FF2B5EF4-FFF2-40B4-BE49-F238E27FC236}">
                <a16:creationId xmlns:a16="http://schemas.microsoft.com/office/drawing/2014/main" id="{C23DA381-E241-8347-B10E-B061630A6F01}"/>
              </a:ext>
            </a:extLst>
          </p:cNvPr>
          <p:cNvSpPr txBox="1">
            <a:spLocks/>
          </p:cNvSpPr>
          <p:nvPr/>
        </p:nvSpPr>
        <p:spPr>
          <a:xfrm>
            <a:off x="579645" y="3900465"/>
            <a:ext cx="2309307" cy="554417"/>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a:t>
            </a:r>
          </a:p>
        </p:txBody>
      </p:sp>
      <p:sp>
        <p:nvSpPr>
          <p:cNvPr id="53" name="TextBox 52">
            <a:extLst>
              <a:ext uri="{FF2B5EF4-FFF2-40B4-BE49-F238E27FC236}">
                <a16:creationId xmlns:a16="http://schemas.microsoft.com/office/drawing/2014/main" id="{7597EA3C-BE17-EC4C-BEB0-8F91714D18F3}"/>
              </a:ext>
            </a:extLst>
          </p:cNvPr>
          <p:cNvSpPr txBox="1"/>
          <p:nvPr/>
        </p:nvSpPr>
        <p:spPr>
          <a:xfrm>
            <a:off x="1848646" y="3597555"/>
            <a:ext cx="971548" cy="338554"/>
          </a:xfrm>
          <a:prstGeom prst="rect">
            <a:avLst/>
          </a:prstGeom>
          <a:noFill/>
        </p:spPr>
        <p:txBody>
          <a:bodyPr wrap="none" rtlCol="0" anchor="ctr" anchorCtr="0">
            <a:spAutoFit/>
          </a:bodyPr>
          <a:lstStyle/>
          <a:p>
            <a:pPr algn="r"/>
            <a:r>
              <a:rPr lang="en-US" sz="1600" b="1" dirty="0">
                <a:solidFill>
                  <a:schemeClr val="tx2"/>
                </a:solidFill>
                <a:latin typeface="Segoe UI Light" panose="020B0502040204020203" pitchFamily="34" charset="0"/>
                <a:ea typeface="League Spartan" charset="0"/>
                <a:cs typeface="Poppins" pitchFamily="2" charset="77"/>
              </a:rPr>
              <a:t>Your Title</a:t>
            </a:r>
          </a:p>
        </p:txBody>
      </p:sp>
      <p:sp>
        <p:nvSpPr>
          <p:cNvPr id="54" name="Subtitle 2">
            <a:extLst>
              <a:ext uri="{FF2B5EF4-FFF2-40B4-BE49-F238E27FC236}">
                <a16:creationId xmlns:a16="http://schemas.microsoft.com/office/drawing/2014/main" id="{A28C34BE-211D-D742-8ED0-9A47A9DACEFB}"/>
              </a:ext>
            </a:extLst>
          </p:cNvPr>
          <p:cNvSpPr txBox="1">
            <a:spLocks/>
          </p:cNvSpPr>
          <p:nvPr/>
        </p:nvSpPr>
        <p:spPr>
          <a:xfrm>
            <a:off x="579645" y="5458516"/>
            <a:ext cx="2309307" cy="554417"/>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pPr>
            <a:r>
              <a:rPr lang="en-US" sz="1200" dirty="0">
                <a:solidFill>
                  <a:schemeClr val="tx1"/>
                </a:solidFill>
                <a:latin typeface="Segoe UI Light" panose="020B0502040204020203" pitchFamily="34" charset="0"/>
                <a:ea typeface="Open Sans Light" panose="020B0306030504020204" pitchFamily="34" charset="0"/>
                <a:cs typeface="Open Sans Light" panose="020B0306030504020204" pitchFamily="34" charset="0"/>
              </a:rPr>
              <a:t>Lorem ipsum dolor sit amet, consectetuer elit.</a:t>
            </a:r>
          </a:p>
        </p:txBody>
      </p:sp>
      <p:sp>
        <p:nvSpPr>
          <p:cNvPr id="55" name="TextBox 54">
            <a:extLst>
              <a:ext uri="{FF2B5EF4-FFF2-40B4-BE49-F238E27FC236}">
                <a16:creationId xmlns:a16="http://schemas.microsoft.com/office/drawing/2014/main" id="{A8964D5A-D6AD-8D4B-974E-0DF762BC050F}"/>
              </a:ext>
            </a:extLst>
          </p:cNvPr>
          <p:cNvSpPr txBox="1"/>
          <p:nvPr/>
        </p:nvSpPr>
        <p:spPr>
          <a:xfrm>
            <a:off x="1848646" y="5155606"/>
            <a:ext cx="971548" cy="338554"/>
          </a:xfrm>
          <a:prstGeom prst="rect">
            <a:avLst/>
          </a:prstGeom>
          <a:noFill/>
        </p:spPr>
        <p:txBody>
          <a:bodyPr wrap="none" rtlCol="0" anchor="ctr" anchorCtr="0">
            <a:spAutoFit/>
          </a:bodyPr>
          <a:lstStyle/>
          <a:p>
            <a:pPr algn="r"/>
            <a:r>
              <a:rPr lang="en-US" sz="1600" b="1" dirty="0">
                <a:solidFill>
                  <a:schemeClr val="tx2"/>
                </a:solidFill>
                <a:latin typeface="Segoe UI Light" panose="020B0502040204020203" pitchFamily="34" charset="0"/>
                <a:ea typeface="League Spartan" charset="0"/>
                <a:cs typeface="Poppins" pitchFamily="2" charset="77"/>
              </a:rPr>
              <a:t>Your Title</a:t>
            </a:r>
          </a:p>
        </p:txBody>
      </p:sp>
      <p:sp>
        <p:nvSpPr>
          <p:cNvPr id="56" name="Titel 1">
            <a:extLst>
              <a:ext uri="{FF2B5EF4-FFF2-40B4-BE49-F238E27FC236}">
                <a16:creationId xmlns:a16="http://schemas.microsoft.com/office/drawing/2014/main" id="{0F9C5826-5D59-49CF-A837-EE42A0E3BD16}"/>
              </a:ext>
            </a:extLst>
          </p:cNvPr>
          <p:cNvSpPr txBox="1">
            <a:spLocks/>
          </p:cNvSpPr>
          <p:nvPr/>
        </p:nvSpPr>
        <p:spPr>
          <a:xfrm>
            <a:off x="458400" y="318601"/>
            <a:ext cx="11275200" cy="583200"/>
          </a:xfrm>
          <a:prstGeom prst="rect">
            <a:avLst/>
          </a:prstGeom>
        </p:spPr>
        <p:txBody>
          <a:bodyPr/>
          <a:lstStyle>
            <a:lvl1pPr algn="l" defTabSz="914400" rtl="0" eaLnBrk="1" latinLnBrk="0" hangingPunct="1">
              <a:lnSpc>
                <a:spcPct val="100000"/>
              </a:lnSpc>
              <a:spcBef>
                <a:spcPct val="0"/>
              </a:spcBef>
              <a:buNone/>
              <a:defRPr lang="de-DE" sz="3600" b="0" i="0" kern="1200" spc="-100" baseline="0" dirty="0">
                <a:solidFill>
                  <a:schemeClr val="tx1"/>
                </a:solidFill>
                <a:latin typeface="+mj-lt"/>
                <a:ea typeface="+mj-ea"/>
                <a:cs typeface="+mj-cs"/>
              </a:defRPr>
            </a:lvl1pPr>
          </a:lstStyle>
          <a:p>
            <a:r>
              <a:rPr lang="en-US" sz="3000" dirty="0"/>
              <a:t>6-stage pyramid diagram</a:t>
            </a:r>
          </a:p>
        </p:txBody>
      </p:sp>
    </p:spTree>
    <p:custDataLst>
      <p:tags r:id="rId1"/>
    </p:custDataLst>
    <p:extLst>
      <p:ext uri="{BB962C8B-B14F-4D97-AF65-F5344CB8AC3E}">
        <p14:creationId xmlns:p14="http://schemas.microsoft.com/office/powerpoint/2010/main" val="26145298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THINKCELLUNDODONOTDELETE" val="0"/>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wQASwwAAAAAAAAAAAAAIAD///////////////8AAAD///////////////8DAAAAAgD///////////////////////////////////////////////////////////////////////////////////////////////////////////////////////////////////////////////////////////////////////////////////////////////////////////////////////////////////////////////////////////////////////////////////////////////////////////////////////////////////////////////////////////////////////////////////////////////////////////////////////////////////////////////////////////////////////////////////////////////////////////////8BACAA////////////////AAAO////////AwAAAAMA////////////////////////////////////////////////////////////////////////////////////////////////////////////////////////////////////////////////////////////////////////////////////////////////////////////////////////////////////////////////////////////////////////////////////////////////////////////////////////////////////////////////////////////////////////////////////////////////////////////////////////////////////////////////////////////////////////////////////////////////////////////////////////AgABAP///////wQAAAACABAACxXsEGnuRFhKqP1u+kp1EE0FAAAAAAADAAAAAAADAAAAAwADAAEA////////BAAAAAMAEAAL4cop7pZDgkC1KxniosS1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BXsEGnuRFhKqP1u+kp1EE0DRGF0YQAbAAAABExpbmtlZFNoYXBlRGF0YQAFAAAAAAACTmFtZQAZAAAATGlua2VkU2hhcGVzRGF0YVByb3BlcnR5ABBWZXJzaW9uAAAAAAAJTGFzdFdyaXRlAO9NY5h8AQAAAAEA/////8YAxgAAAAVfaWQAEAAAAAThyinulkOCQLUrGeKixLXJA0RhdGEAUwAAAAhQcmVzZW50YXRpb25TY2FubmVkRm9yTGlua2VkU2hhcGVzAAECTnVtYmVyRm9ybWF0U2VwYXJhdG9yTW9kZQAKAAAAQXV0b21hdGljAAACTmFtZQAkAAAATGlua2VkU2hhcGVQcmVzZW50YXRpb25TZXR0aW5nc0RhdGEAEFZlcnNpb24AAAAAAAlMYXN0V3JpdGUAGE5jmH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COAUTHORING_SESSION_ID" val="8fca6f80-c0e4-440c-a9ed-e1dabeb1cf50"/>
  <p:tag name="UNDO_REDO_REVISION" val="6"/>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Seitenzahl anzeigen;"/>
  <p:tag name="MIO_USER_INPUT_LANGUAGE" val="de-DE"/>
  <p:tag name="MIO_USER_INPUT_OPTIONAL" val=" "/>
  <p:tag name="MIO_USER_INPUT_FIXED" val=" "/>
</p:tagLst>
</file>

<file path=ppt/tags/tag100.xml><?xml version="1.0" encoding="utf-8"?>
<p:tagLst xmlns:a="http://schemas.openxmlformats.org/drawingml/2006/main" xmlns:r="http://schemas.openxmlformats.org/officeDocument/2006/relationships" xmlns:p="http://schemas.openxmlformats.org/presentationml/2006/main">
  <p:tag name="MIO_GUID" val="1b057a56-8214-4f3e-a3d3-0f0a40c586ea"/>
  <p:tag name="MIO_EKGUID" val="6aff7611-667b-40c4-83af-15fce460110a"/>
  <p:tag name="MIO_UPDATE" val="True"/>
  <p:tag name="MIO_VERSION" val="02.06.2020 09:46:54"/>
  <p:tag name="MIO_DBID" val="0F45B44C-9BC7-4D85-81C4-7155EE70A7B9"/>
  <p:tag name="MIO_LASTDOWNLOADED" val="19.10.2021 14:01:54.281"/>
  <p:tag name="MIO_OBJECTNAME" val="SWOT"/>
  <p:tag name="MIO_LASTEDITORNAME" val="Sinja Giese"/>
</p:tagLst>
</file>

<file path=ppt/tags/tag101.xml><?xml version="1.0" encoding="utf-8"?>
<p:tagLst xmlns:a="http://schemas.openxmlformats.org/drawingml/2006/main" xmlns:r="http://schemas.openxmlformats.org/officeDocument/2006/relationships" xmlns:p="http://schemas.openxmlformats.org/presentationml/2006/main">
  <p:tag name="MIO_GUID" val="6713a1cc-08fb-4d96-9872-83c39ba67ce2"/>
  <p:tag name="MIO_EKGUID" val="d72e8da8-0975-4dcd-bbe4-6b23ebe2eeaa"/>
  <p:tag name="MIO_UPDATE" val="True"/>
  <p:tag name="MIO_VERSION" val="02.06.2020 09:46:58"/>
  <p:tag name="MIO_DBID" val="0F45B44C-9BC7-4D85-81C4-7155EE70A7B9"/>
  <p:tag name="MIO_LASTDOWNLOADED" val="19.10.2021 14:01:53.995"/>
  <p:tag name="MIO_OBJECTNAME" val="SWOT Opportunities"/>
  <p:tag name="MIO_LASTEDITORNAME" val="Sinja Giese"/>
</p:tagLst>
</file>

<file path=ppt/tags/tag102.xml><?xml version="1.0" encoding="utf-8"?>
<p:tagLst xmlns:a="http://schemas.openxmlformats.org/drawingml/2006/main" xmlns:r="http://schemas.openxmlformats.org/officeDocument/2006/relationships" xmlns:p="http://schemas.openxmlformats.org/presentationml/2006/main">
  <p:tag name="MIO_GUID" val="a21f438a-59ad-4e53-9c9a-a9666ceea473"/>
  <p:tag name="MIO_EKGUID" val="a7bab55f-c2bb-4bae-98de-301982636dd7"/>
  <p:tag name="MIO_UPDATE" val="True"/>
  <p:tag name="MIO_VERSION" val="02.06.2020 09:47:03"/>
  <p:tag name="MIO_DBID" val="0F45B44C-9BC7-4D85-81C4-7155EE70A7B9"/>
  <p:tag name="MIO_LASTDOWNLOADED" val="19.10.2021 14:01:53.677"/>
  <p:tag name="MIO_OBJECTNAME" val="SWOT Strengths"/>
  <p:tag name="MIO_LASTEDITORNAME" val="Sinja Giese"/>
</p:tagLst>
</file>

<file path=ppt/tags/tag103.xml><?xml version="1.0" encoding="utf-8"?>
<p:tagLst xmlns:a="http://schemas.openxmlformats.org/drawingml/2006/main" xmlns:r="http://schemas.openxmlformats.org/officeDocument/2006/relationships" xmlns:p="http://schemas.openxmlformats.org/presentationml/2006/main">
  <p:tag name="MIO_GUID" val="3b3f4be9-b329-44bb-a434-01b9aa5ea723"/>
  <p:tag name="MIO_EKGUID" val="c70939d6-e97e-4974-bc9c-30acbaee21e3"/>
  <p:tag name="MIO_UPDATE" val="True"/>
  <p:tag name="MIO_VERSION" val="02.06.2020 09:47:08"/>
  <p:tag name="MIO_DBID" val="0F45B44C-9BC7-4D85-81C4-7155EE70A7B9"/>
  <p:tag name="MIO_LASTDOWNLOADED" val="19.10.2021 14:01:53.399"/>
  <p:tag name="MIO_OBJECTNAME" val="SWOT Threats"/>
  <p:tag name="MIO_LASTEDITORNAME" val="Sinja Giese"/>
</p:tagLst>
</file>

<file path=ppt/tags/tag104.xml><?xml version="1.0" encoding="utf-8"?>
<p:tagLst xmlns:a="http://schemas.openxmlformats.org/drawingml/2006/main" xmlns:r="http://schemas.openxmlformats.org/officeDocument/2006/relationships" xmlns:p="http://schemas.openxmlformats.org/presentationml/2006/main">
  <p:tag name="MIO_GUID" val="50349d04-95fb-456b-96f7-b9b1ffe6bfbf"/>
  <p:tag name="MIO_EKGUID" val="a9e702f0-6e1f-4965-a81e-a3e56f42d4d7"/>
  <p:tag name="MIO_UPDATE" val="True"/>
  <p:tag name="MIO_VERSION" val="02.06.2020 09:47:13"/>
  <p:tag name="MIO_DBID" val="0F45B44C-9BC7-4D85-81C4-7155EE70A7B9"/>
  <p:tag name="MIO_LASTDOWNLOADED" val="19.10.2021 14:01:53.127"/>
  <p:tag name="MIO_OBJECTNAME" val="SWOT Weaknesses"/>
  <p:tag name="MIO_LASTEDITORNAME" val="Sinja Giese"/>
</p:tagLst>
</file>

<file path=ppt/tags/tag105.xml><?xml version="1.0" encoding="utf-8"?>
<p:tagLst xmlns:a="http://schemas.openxmlformats.org/drawingml/2006/main" xmlns:r="http://schemas.openxmlformats.org/officeDocument/2006/relationships" xmlns:p="http://schemas.openxmlformats.org/presentationml/2006/main">
  <p:tag name="MIO_GUID" val="50349d04-95fb-456b-96f7-b9b1ffe6bfbf"/>
  <p:tag name="MIO_EKGUID" val="a9e702f0-6e1f-4965-a81e-a3e56f42d4d7"/>
  <p:tag name="MIO_UPDATE" val="True"/>
  <p:tag name="MIO_VERSION" val="02.06.2020 09:47:13"/>
  <p:tag name="MIO_DBID" val="0F45B44C-9BC7-4D85-81C4-7155EE70A7B9"/>
  <p:tag name="MIO_LASTDOWNLOADED" val="19.10.2021 14:01:53.127"/>
  <p:tag name="MIO_OBJECTNAME" val="SWOT Weaknesses"/>
  <p:tag name="MIO_LASTEDITORNAME" val="Sinja Giese"/>
</p:tagLst>
</file>

<file path=ppt/tags/tag106.xml><?xml version="1.0" encoding="utf-8"?>
<p:tagLst xmlns:a="http://schemas.openxmlformats.org/drawingml/2006/main" xmlns:r="http://schemas.openxmlformats.org/officeDocument/2006/relationships" xmlns:p="http://schemas.openxmlformats.org/presentationml/2006/main">
  <p:tag name="MIO_GUID" val="d62378d3-ce56-4c40-a398-010dafaac5e8"/>
  <p:tag name="MIO_EKGUID" val="a6c5dec7-e1e1-416f-b461-7f53425230b0"/>
  <p:tag name="MIO_UPDATE" val="True"/>
  <p:tag name="MIO_VERSION" val="26.02.2021 08:43:54"/>
  <p:tag name="MIO_DBID" val="0F45B44C-9BC7-4D85-81C4-7155EE70A7B9"/>
  <p:tag name="MIO_LASTDOWNLOADED" val="19.10.2021 17:17:46.498"/>
  <p:tag name="MIO_OBJECTNAME" val="Picture 16"/>
  <p:tag name="MIO_LASTEDITORNAME" val="Felix Brüning"/>
</p:tagLst>
</file>

<file path=ppt/tags/tag107.xml><?xml version="1.0" encoding="utf-8"?>
<p:tagLst xmlns:a="http://schemas.openxmlformats.org/drawingml/2006/main" xmlns:r="http://schemas.openxmlformats.org/officeDocument/2006/relationships" xmlns:p="http://schemas.openxmlformats.org/presentationml/2006/main">
  <p:tag name="MIO_GUID" val="2c9dbdab-f922-48d4-90aa-d3dc1d62bb72"/>
  <p:tag name="MIO_EKGUID" val="39593e26-3a72-4ac2-a0a2-d1668871ad82"/>
  <p:tag name="MIO_UPDATE" val="True"/>
  <p:tag name="MIO_VERSION" val="05.02.2021 08:09:22"/>
  <p:tag name="MIO_DBID" val="0F45B44C-9BC7-4D85-81C4-7155EE70A7B9"/>
  <p:tag name="MIO_LASTDOWNLOADED" val="19.10.2021 14:00:41.470"/>
  <p:tag name="MIO_OBJECTNAME" val="Bar chart with text"/>
  <p:tag name="MIO_LASTEDITORNAME" val="Stephan Kuhnert"/>
</p:tagLst>
</file>

<file path=ppt/tags/tag108.xml><?xml version="1.0" encoding="utf-8"?>
<p:tagLst xmlns:a="http://schemas.openxmlformats.org/drawingml/2006/main" xmlns:r="http://schemas.openxmlformats.org/officeDocument/2006/relationships" xmlns:p="http://schemas.openxmlformats.org/presentationml/2006/main">
  <p:tag name="MIO_SKIP_CDCHECK" val="true"/>
  <p:tag name="EMPOWER_OVERLAY_IGNORE" val="Yes please."/>
  <p:tag name="MIO_SELECTION_PROXY" val="00000240-0007-0000-bd22-386b00000000"/>
</p:tagLst>
</file>

<file path=ppt/tags/tag109.xml><?xml version="1.0" encoding="utf-8"?>
<p:tagLst xmlns:a="http://schemas.openxmlformats.org/drawingml/2006/main" xmlns:r="http://schemas.openxmlformats.org/officeDocument/2006/relationships" xmlns:p="http://schemas.openxmlformats.org/presentationml/2006/main">
  <p:tag name="MIO_CHART_TEMPLATE_TYPE" val="D2EF9A34-22BD-4E94-B644-A8849194BE2A"/>
  <p:tag name="UNIQUEID" val="84b0c2a9-3680-4fd4-b9be-8d92fad4455e"/>
  <p:tag name="DATALABELS - VALUE" val="True"/>
  <p:tag name="DATALABELS - BACKGROUND" val="True"/>
  <p:tag name="METADATA - EXACTFONTSIZE" val="12"/>
  <p:tag name="METADATA - EXCELNUMBERFORMAT" val="General"/>
  <p:tag name="COLUMNSUMS - VISIBLE" val="True"/>
  <p:tag name="MIO_SKIP_CDCHECK" val="true"/>
  <p:tag name="NA_EXTENSION_LIST_ADDED" val="yes."/>
  <p:tag name="RUNTIME_ID" val="d8e12aea-4d0e-4b40-9f0b-0c8585a132b5"/>
  <p:tag name="EMPOWER DO NOT TRANSLATE" val="true"/>
  <p:tag name="EMPOWERCHARTSPROPERTIES_A_0" val="AAAAAAH//////////wEAAAAAAAAAAAAAACoqIFRoaXMgaXMgYSBMaXRlREIgZmlsZSAqKgcYAP////86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GAAAAAAAAAD/////CQAAAF9pZD0kLl9pZAEDAAAAAAADAAAAAQADAAAACwAAAE5hbWU9JC5OYW1lAAQAAAAAAAQAAAABAAQAAAARAAAAVmVyc2lvbj0kLlZlcnNpb24ABQAAAAAABQAAAAEABQAAACMAAABDb21iaUluZGV4PSQuTmFtZSArICdfJyArICQuVmVyc2lvbgEpAAAAAAApAAAAAQApAAAAAAAAAAD///////8AAAAAAAD/////AAAAAAD///////8AAAAAAAD/////AAAAAAD///////8AAAAAAAD/////AAAAAAD///////8AAAAAAAD/////AAAAAAD///////8AAAAAAAD/////AAAAAAD///////8AAAAAAAD/////AAAAAAD///////8AAAAAAAD/////AAAAAAD///////8AAAAAAAD/////AAAAAAD///////8AAAAAAAD/////AAAAAAD///////8AAAAAAAD/////AAAAAAD///////8AAAAAAAD/////AAAAAAD///////8AAA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IBgEBAQEBAQEBAQEBAS8AAAAAAAAAAwAAAAMAAAAA/////xoAnQYAAAAAAAAAAAAAIAD///////////////8AAAD///////////////8DAAAAAgD///////8DAAAAAwD///////8DAAAABgD///////8DAAAABgD///////8DAAAABwD///////8DAAAABwD///////////////////////////////////////////////////////////////////////////////////////////////////////////////////////////////////////////////////////////////////////////////////////////////////////////////////////////////////////////////////////////////////////////////////////////////////////////////////////////////////////////////////////////////////////////////////////////////////////////////////////////////8BACAA////////////////AAAO////////AwAAABkA////////////////////////////////////////////////////////////////////////////////////////////////////////////////////////////////////////////////////////////////////////////////////////////////////////////////////////////////////////////////////////////////////////////////////////////////////////////////////////////////////////////////////////////////////////////////////////////////////////////////////////////////////////////////////////////////////////////////////////////////////////////////////////AgABAP///////ykAAAACABAAC/lppwbTKkpAnWODN125RR4GAAAAAAADAAAAAAADAAAAAwADAAIA////////KQAAAAMAEAALkJ6NEDT18kWnSrxbcuR+VwYAAAABAAMAAAACAAMAAAAEAAMAAAAAAAMAAAAGAAQAAQD///////8pAAAABAAQAAtlkBcVzIBtQ4IVeoeaDobVBgAAAAIAAwAAAAMAAwAAAAUABQABAP///////ykAAAAFABAAC+hAPCDin5xGjzx3svakm+MGAAAAAwADAAAABAADAAAABgAGAAQA////////KQAAAAYAEAAL/wKcJNYMUEaKCLyuRzDYdwYAAAAEAAMAAAAFAAMAAAAHAAMAAAADAAMAAAAHAAMAAAAAAAMAAAAHAAMAAAAAAAMAAAAHAAcABgD///////8pAAAABwAQAAv1wY4lZ2PNR6EQ/F11hdipBgAAAAUAAwAAAAYAAwAAAAgAAwAAAAYAAwAAAAgAAwAAAAYAAwAAAAgAAwAAAAYAAwAAAAgAAwAAAAAAAwAAAAgAAwAAAAAA////////CAAFAP///////ykAAAAIABAAC1U9IDMkR9tInt13bRTBhD0GAAAABgADAAAABwADAAAACQADAAAABwADAAAACwADAAAABwADAAAADgADAAAABwADAAAADgADAAAABwD///////8JAAEA////////KQAAAAkAEAALpBhSRE6hLECREfbueGcITgYAAAAHAAMAAAAIAAMAAAAKAAoAAQD///////8pAAAACgAQAAsfwUFfnK7LTJysazgH9VcOHgAAAAAAAwAAAAkAAwAAAAsACwACAP///////ykAAAALABAACzyIrmOhjklFsUw0HoBL2bweAAAAAQADAAAACgADAAAADAADAAAACAADAAAADAAMAAIA////////KQAAAAwAEAAL2yzPcy73cEmfgxMZZNAuKx4AAAACAAMAAAALAAMAAAANAAMAAAALAAMAAAANAA0AAgD///////8pAAAADQAQAAti106YN+1UQbBK7KJQzy1FHgAAAAMAAwAAAAwAAwAAAA4AAwAAAAwAAwAAAA4ADgAEAP///////ykAAAAOABAAC54DlKRnmIRCrzsU7VqLxiIeAAAABAADAAAADQADAAAADwADAAAADQADAAAADwADAAAACAADAAAAFgADAAAACAADAAAAFgAPAAIA////////KQAAAA8AEAAL1FXupgzQwkq+oVkQ+tooUR4AAAAFAAMAAAAOAAMAAAAQAAMAAAAOAAMAAAARABAAAQD///////8pAAAAEAAQAAuQ56yqivoHQrcbX3a/+Z8zHgAAAAYAAwAAAA8AAwAAABEAEQACAP///////ykAAAARABAAC8uLqr2UkgxFtH+pqzsBOwweAAAABwADAAAAEAADAAAAEgADAAAADwADAAAAFgASAAEA////////KQAAABIAEAALFWgBvqF1v0+lTq4mgMjvCh4AAAAIAAMAAAARAAMAAAATABMAAQD///////8pAAAAEwAQAAtlIT3UsSshSooL5HF+x1hPHgAAAAkAAwAAABIAAwAAABQAFAABAP///////ykAAAAUABAACwKBb9ReuH1NtSghsJ5T8/0eAAAACgADAAAAEwADAAAAFQAVAAEA////////KQAAABUAEAALLMdR2BLsIUiK/SztJddDNB4AAAALAAMAAAAUAAMAAAAWABYABAD///////8pAAAAFgAQAAs7YwDf3bR3RqXKkS59jBlIKAAAAAAAAwAAABUAAwAAABcAAwAAABEA////////AwAAAA4A////////AwAAAA4A////////FwABAP///////ykAAAAXABAAC2HWVu6CtdxOnXfT7GMuHxQoAAAAAQADAAAAFgADAAAAGAAYAAEA////////KQAAABgAEAALWcsV/JOTy0KOzM2p2Ki4tygAAAACAAMAAAAXAAMAAAAZABkAAQD///////8pAAAAGQAQAAuj5lD+M4FkRY0d2DxvL6TiKAAAAAMAAwAAABg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aAKkGAAAAAAAAAAAAACAB////////////////AAAA////////////////BAAAAAsA////////BAAAAAsA////////BAAAABIA////////BAAAAAIA////////BAAAAAIA////////BAAAAAIA////////////////////////////////////////////////////////////////////////////////////////////////////////////////////////////////////////////////////////////////////////////////////////////////////////////////////////////////////////////////////////////////////////////////////////////////////////////////////////////////////////////////////////////////////////////////////////////////////////////////////////////////AQAgAf///////////////wAADv///////wQAAAACAP///////////////////////////////////////////////////////////////////////////////////////////////////////////////////////////////////////////////////////////////////////////////////////////////////////////////////////////////////////////////////////////////////////////////////////////////////////////////////////////////////////////////////////////////////////////////////////////////////////////////////////////////////////////////////////////////////////////////////////////////////////////////////////wIABgEFAAAAAgD///////8JAAZXYXRlcmZhbGwGAAAAAAAEAAAABAAEAAAAAQAEAAAABAD///////8EAAAABAD///////8EAAAAAAD///////8EAAAAAAD///////8EAAAAAAD///////8DAAIBBQAAAAMA////////CAAGQXhlc0RhdGEGAAAAAQAEAAAACwAEAAAAFAAEAAAACwAEAAAAFAAEAAMBBQAAAAQA////////DAAGU2VyaWVzTGFiZWxzBgAAAAIABAAAAAcABAAAAAIABAAAAA8ABAAAAAIABAAAAAoABAAAAAIABQACAQUAAAAFAP///////w0ABk51bWJlckZvcm1hdHMGAAAAAwAEAAAACgAEAAAAEAAEAAAACgAEAAAAEAAGAAEBBQAAAAYA////////CgAGTGVnZW5kRGF0YQYAAAAEAAQAAAAJAAQAAAAYAAcAAQEFAAAABwD///////8KAAZTZXJpZXNEYXRhBgAAAAUABAAAAA8ABAAAAAQACAACAQUAAAAIAP///////woABkRhdGFMYWJlbHMGAAAABgAEAAAAFQAEAAAAEwAEAAAAFQAEAAAAEwAJAAIBBQAAAAkA////////EwAGR2xvYmFsQ2hhcnRTZXR0aW5ncwYAAAAHAAQAAAAMAAQAAAAGAAQAAAATAAQAAAAYAAoAAwEFAAAACgD///////8LAAZNYXJrZXJzRGF0YR4AAAAAAAQAAAAYAAQAAAAFAAQAAAAYAAQAAAAFAAQAAAAVAAQAAAAEAAsAAgEFAAAACwD///////8aAAZBdXRvbWF0aWNCcmVha1NldHRpbmdzRGF0YR4AAAABAAQAAAAAAAQAAAADAAQAAAAAAAQAAAADAAwAAQEFAAAADAD///////8LAAZFeGNlbE1pcnJvch4AAAACAAQAAAAZAAQAAAAJAA0AAQEFAAAADQD///////8KAAZQZXJzb25hbElkHgAAAAMABAAAABAABAAAAA8ADgABAQUAAAAOAP///////xgABkNhdGVnb3J5QXhpc0RhdGFQcm9wZXJ0eR4AAAAEAAQAAAAUAAQAAAASAA8AAgEFAAAADwD///////8OAAZQbG90QXJlYUJvcmRlch4AAAAFAAQAAAANAAQAAAAHAAQAAAAQAAQAAAAEABAAAgEFAAAAEAD///////8IAAZPdmVybGF5cx4AAAAGAAQAAAAFAAQAAAANAAQAAAAFAAQAAAAPABEAAwEFAAAAEQD///////8SAAZDb2x1bW5TdW1zU2V0dGluZ3MeAAAABwAEAAAAFgAEAAAAFQAEAAAAEgAEAAAAFQAEAAAAEgAEAAAAFQASAAMBBQAAABIA////////IQAGQ2F0ZWdvcnlMYWJlbFNldHRpbmdzRGF0YVByb3BlcnR5HgAAAAgABAAAAA4ABAAAABcABAAAABQABAAAABEABAAAAAAABAAAABEAEwACAQUAAAATAP///////wgABkRhdGFMaW5rHgAAAAkABAAAAAgABAAAABkABAAAAAgABAAAAAkAFAACAQUAAAAUAP///////xMABkJyZWFrTWFuYWdlbWVudERhdGEeAAAACgAEAAAAAwAEAAAADgAEAAAAAwAEAAAAEgAVAAMBBQAAABUA////////FAAGRGF0YUNoYXJ0Q29BdXRob3JpbmceAAAACwAEAAAAEQAEAAAACAAEAAAAEQAEAAAACAAEAAAAEQAEAAAACgAWAAEBBQAAABYA////////DAAGQ29sb3JJbmRpY2VzKAAAAAAABAAAABcABAAAABEAFwABAQUAAAAXAP///////xEABkNvbG9yRGF0YVByb3BlcnR5KAAAAAEABAAAABIABAAAABYAGAACAQUAAAAYAP///////wwABkxpbmtEYXRhTGlzdCgAAAACAAQAAAAGAAQAAAAKAAQAAAAJAAQAAAAKABkAAQEFAAAAGQD///////8aAAZFeGNlbENvbG9yTW9kZURhdGFQcm9wZXJ0eSgAAAADAAQAAAATAA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GgBRBwAAAAAAAAAAAAAgAv///////////////wAAAP///////////////wUAAAACAP///////wUAAAACAP///////wUAAAAOAP///////wUAAAAXAP///////wUAAAAXAP///////wUAAAAXAP///////wUAAAAXAP///////wUAAAAXAP///////////////////////////////////////////////////////////////////////////////////////////////////////////////////////////////////////////////////////////////////////////////////////////////////////////////////////////////////////////////////////////////////////////////////////////////////////////////////////////////////////////////////////////////////////////////////////////////wEAIAL///////////////8AAA7///////8FAAAACAD///////////////////////////////////////////////////////////////////////////////////////////////////////////////////////////////////////////////////////////////////////////////////////////////////////////////////////////////////////////////////////////////////////////////////////////////////////////////////////////////////////////////////////////////////////////////////////////////////////////////////////////////////////////////////////////////////////////////////////////////////////////////////////8CAAICKQAAAAIABAAAAAIABAACAAAAAAYAAAAAAAUAAAAAAAUAAAAGAAUAAAAAAAUAAAALAAMAAQIpAAAAAwAEAAAAAwAEAAIDAAAABgAAAAEABQAAABYABQAAAAkABAAEAikAAAAEAAQAAAAEAAQAAgIAAAAGAAAAAgAFAAAAGQAFAAAAFgAFAAAAGQAFAAAAFgAFAAAAGQAFAAAACQAFAAAAGQD///////8FAAECKQAAAAUABAAAAAUABAACAQAAAAYAAAADAAUAAAAYAAUAAAAKAAYAAQIpAAAABgAEAAAABgAEAAIAAAAABgAAAAQABQAAAAIABQAAAAcABwABAikAAAAHAAQAAAAHAAQAAgAAAAAGAAAABQAFAAAABgAFAAAACwAIAAICKQAAAAgABAAAAAgABAACBQAAAAYAAAAGAAUAAAAQAAUAAAABAAUAAAAJAP///////wkAAwIpAAAACQAEAAAACQAEAAIDAAAABgAAAAcABQAAAAMABQAAABAABQAAABYABQAAAAgABQAAAAQA////////CgADAikAAAAKAAQAAAAKAAQAAgEAAAAeAAAAAAAFAAAABQAFAAAADAAFAAAAGAAFAAAADAAFAAAAGAAFAAAAGQALAAICKQAAAAsABAAAAAsABAACAAAAAB4AAAABAAUAAAAHAAUAAAANAAUAAAACAAUAAAAOAAwAAgIpAAAADAAEAAAADAAEAAIBAAAAHgAAAAIABQAAAAoABQAAABMABQAAAAoABQAAABkADQABAikAAAANAAQAAAANAAQAAgAAAAAeAAAAAwAFAAAACwAFAAAADgAOAAMCKQAAAA4ABAAAAA4ABAACAAAAAB4AAAAEAAUAAAANAAUAAAAPAAUAAAALAAUAAAAPAAUAAAAAAAUAAAAXAA8AAgIpAAAADwAEAAAADwAEAAIAAAAAHgAAAAUABQAAAA4ABQAAABEABQAAAA4ABQAAABEAEAABAikAAAAQAAQAAAAQAAQAAgMAAAAeAAAABgAFAAAACQAFAAAACAARAAICKQAAABEABAAAABEABAACAAAAAB4AAAAHAAUAAAAPAAUAAAASAAUAAAAPAAUAAAAVABIAAQIpAAAAEgAEAAAAEgAEAAIAAAAAHgAAAAgABQAAABEABQAAABQAEwABAikAAAATAAQAAAATAAQAAgEAAAAeAAAACQAFAAAADAAFAAAAGQAUAAECKQAAABQABAAAABQABAACAAAAAB4AAAAKAAUAAAASAAUAAAAVABUAAgIpAAAAFQAEAAAAFQAEAAIAAAAAHgAAAAsABQAAABQABQAAABcABQAAABEABQAAABcAFgACAikAAAAWAAQAAAAWAAQAAgIAAAAoAAAAAAAFAAAABAAFAAAAAwAFAAAABAAFAAAACQAXAAgCKQAAABcABAAAABcABAACAAAAACgAAAABAAUAAAAVAAUAAAAYAAUAAAAVAAUAAAAYAAUAAAAOAAUAAAAYAAUAAAAAAAUAAAAYAAUAAAAAAAUAAAAZAAUAAAAAAAUAAAAZAAUAAAAAAAUAAAAZAAUAAAAAAP///////xgABAIpAAAAGAAEAAAAGAAEAAIAAAAAKAAAAAIABQAAABcABQAAAAUABQAAABcABQAAAAoABQAAABcABQAAAAoABQAAABcABQAAABkAGQAHAikAAAAZAAQAAAAZAAQAAgEAAAAoAAAAAwAFAAAAEwAFAAAABAAFAAAADAAFAAAABAAFAAAACgAFAAAABAAFAAAAGAAFAAAABAAFAAAAFwD///////8FAAAAFwD///////8FAAAAFw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AAAAT//////////wgAnAcAAAAAAAAAAAAA/////2sAawAAAAVfaWQAEAAAAAT5aacG0ypKQJ1jgzdduUUeA0RhdGEAEgAAAAhJc1JldmVyc2VkAAAAAk5hbWUACgAAAFdhdGVyZmFsbAAQVmVyc2lvbgAAAAAACUxhc3RXcml0ZQDwjDDTYgEAAAABAAcAAAAAAAIACQAAAAAAAwD/////kQKRAgAABV9pZAAQAAAABOhAPCDin5xGjzx3svakm+MDRGF0YQA0AgAAA051bWJlckZvcm1hdFZhbHVlU3RyaW5ncwAVAgAAAk51bWJlckZvcm1hdElkUHJpbWFyeUNhdGVnb3J5ACUAAAAwMDAwMDAwMC0wMDAwLTAwMDAtMDAwMC0wMDAwMDAwMDAwMDAAAkFyaXRobWV0aWNPcGVyYXRpb25JZFByaW1hcnlDYXRlZ29yeQAlAAAAOWU4MWU0NDEtNTc1MC00YmZjLWJlNmEtMTFlMjQxODc3MjFmAAJQZXJjZW50Rm9ybWF0SWRQcmltYXJ5Q2F0ZWdvcnkAAwAAADAlAAJOdW1iZXJGb3JtYXRJZFByaW1hcnkAJQAAADAwMDAwMDAwLTAwMDAtMDAwMC0wMDAwLTAwMDAwMDAwMDAwMAACQXJpdGhtZXRpY09wZXJhdGlvbklkUHJpbWFyeQAlAAAAOWU4MWU0NDEtNTc1MC00YmZjLWJlNmEtMTFlMjQxODc3MjFmAAJQZXJjZW50Rm9ybWF0SWRQcmltYXJ5AAMAAAAwJQACTnVtYmVyRm9ybWF0SWRTZWNvbmRhcnkAJQAAADAwMDAwMDAwLTAwMDAtMDAwMC0wMDAwLTAwMDAwMDAwMDAwMAACQXJpdGhtZXRpY09wZXJhdGlvbklkU2Vjb25kYXJ5ACUAAAA5ZTgxZTQ0MS01NzUwLTRiZmMtYmU2YS0xMWUyNDE4NzcyMWYAAlBlcmNlbnRGb3JtYXRJZFNlY29uZGFyeQADAAAAMCUAAAACTmFtZQAOAAAATnVtYmVyRm9ybWF0cwAQVmVyc2lvbgABAAAACUxhc3RXcml0ZQB1tFy7agEAAAAEAP////8OAg4CAAAFX2lkABAAAAAE/wKcJNYMUEaKCLyuRzDYdwNEYXRhALQBAAADTGVnZW5kU3R5bGUARQEAAANGb250U3R5bGUALAEAABBGb250QmFja2dyb3VuZAAAAAAACEZvbnRCb2xkAAADRm9udENvbG9yAFUAAAAQQQAAAAAAEFIAAAAAABBHAAAAAAAQQgAAAAAAAVNjQQAAAAAAAAAAAAFTY1IAAAAAAAAAAAABU2NHAAAAAAAAAAAAAVNjQgAAAAAAAAAAAAAQRm9udFRoZW1lQ29sb3IAAAAAAAFGb250VGludEFuZFNoYWRlAAAAAAAAAAAAEEZvbnRTY2hlbWVDb2xvcgACAAAACEZvbnRJdGFsaWMAAAFGb250U2l6ZQAAAAAAAAAAAAhGb250U3RyaWtldGhyb3VnaAAACEZvbnRTdWJzY3JpcHQAAAhGb250U3VwZXJzY3JpcHQAAAhGb250VW5kZXJsaW5lAAAACFNoYWRvdwAAAAJBbGlnbm1lbnQADAAAAEluQ2hhcnRMZWZ0AAhJc1VzZXJQb3NpdGlvbgAAA0N1c3RvbUNlbnRlclBvc2l0aW9uABsAAAABWAAAAAAAAAAAAAFZAAAAAAAAAAAAAAACTmFtZQALAAAATGVnZW5kRGF0YQAQVmVyc2lvbgAAAAAACUxhc3RXcml0ZQDmA3iYfAEAAAAFAP////9fAF8AAAAFX2lkABAAAAAE9cGOJWdjzUehEPxddYXYqQREYXRhAAUAAAAAAk5hbWUACwAAAFNlcmllc0RhdGEAEFZlcnNpb24AAAAAAAlMYXN0V3JpdGUAPux3mHwBAAAABgAOAAAAAAAHAP////+iAqICAAAFX2lkABAAAAAEpBhSRE6hLECREfbueGcITgNEYXRhAD8CAAAIQXV0b21hdGljTGF5b3V0QWN0aXZlAAEIRGVzaXJlZElzQWJzb2x1dGVOdW1iZXJGb3JtYXRTZWxlY3RlZAAABEFkZGl0aW9uYWxDaGFydE1hcmdpbkRhdGFzAAUAAAAAAkRhdGFSZWZlcmVuY2VEaXJlY3Rpb24AEAAAAFNlcmllc0J5Q29sdW1ucwACU2VyaWVzT3JkZXIACQAAAFJldmVyc2VkAAJQb2ludE9yZGVyAAoAAABBc0luRXhjZWwAAlByaW1hcnlBeGlzQ3Jvc3NUeXBlABkAAABDcm9zc2VzQmV0d2VlbkNhdGVnb3JpZXMAAlNlY29uZGFyeUF4aXNDcm9zc1R5cGUACAAAAEludmFsaWQAAVBsb3RUb0NoYXJ0QXJlYVJhdGlvAAAAAAAAAAAAA0N1c3RvbWl6aW5nRGVzY3JpcHRpb25EYXRhAJgAAAACTmFtZQAXAAAARGVmYXVsdEZsZXhDdXN0b21pemluZwAQVmVyc2lvbgABAAAAEE1pbm9yVmVyc2lvbgAAAAAAAk1pb0NkSWQAJQAAAGQzMDM3MWZiLWJkMmItNDgxNi1hMGNlLWJkNmExNDc5YWI2YgACRmxleEN1c3RvbWl6aW5nVHlwZQAIAAAARGVmYXVsdAAAAUxhc3RTZWVuV2lkdGgAAAAAYAQQgkABTGFzdFNlZW5IZWlnaHQAAAAAgL/feEAITWlncmF0aW9uVG9QZXJmb3JtYW5jZU1vZGVEb25lAAEAAk5hbWUAFAAAAEdsb2JhbENoYXJ0U2V0dGluZ3MAEFZlcnNpb24AAwAAAAlMYXN0V3JpdGUA/fx3mH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F/////wgAAADnDwAAAAAAAAAAAADcGgAABV9pZAAQAAAABJCejRA09fJFp0q8W3LkflcDRGF0YQCEGgAABFNhdmVkQXhpc0xhYmVsRGF0YQBrGgAAAzAA5wgAAAJBeGlzVHlwZQAIAAAAeGxWYWx1ZQACQXhpc0dyb3VwAAoAAAB4bFByaW1hcnkACFNjaGVtZUNvbG9yQXBwbGllZAAACEZvbnRTdHlsZVVuZGVybGluZWQAAAhBcHBseU92ZXJhbGxGb250c2l6ZQABCElzVmlzaWJsZQAACFhsQXV0b21hdGljQ29sb3JJbmRleEFwcGxpZWQAAAhVc2VFeGNlbEZvcm1hdHNXaGVuRGF0ZUF4aXMAAANBeGlzVGl0bGVEYXRhABAHAAADUG9zaXRpb24AOgAAAAJBbmNob3IACwAAAEF4aXNDZW50ZXIAAVJlbGF0aXZlQW5jaG9yT2Zmc2V0AAAAAAAAAAAAAAhXYW50VG9CZVZpc2libGUAAANUZXh0Qm94RGF0YQCoBgAABU1hbmFnZWRJZAAQAAAABMAMZN+1f/VGt4TJUx5EN+s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LAAAAQXhpcyB0aXRsZQACVGV4dEhvcml6b250YWxBbGlnbm1lbnQADgAAAG1zb0FuY2hvck5vbmUAAlBhcmFncmFwaEFsaWdubWVudAANAAAAbXNvQWxpZ25MZWZ0AAJUZXh0VmVydGljYWxBbGlnbm1lbnQADQAAAG1zb0FuY2hvclRvcAADRm9udFN0eWxlAEEBAAAQRm9udEJhY2tncm91bmQAAAAAAAhGb250Qm9sZAAAA0ZvbnRDb2xvcgBVAAAAEEEA/wAAABBSAAAAAAAQRwAAAAAAEEIAAAAAAAFTY0EAAAAAAAAA8D8BU2NSAAAAAAAAAAAAAVNjRwAAAAAAAAAAAAFTY0IAAAAAAAAAAAAAEEZvbnRUaGVtZUNvbG9yAAAAAAABRm9udFRpbnRBbmRTaGFkZQAAAAAAAAAAABBGb250U2NoZW1lQ29sb3IAAAAAAAhGb250SXRhbGljAAACRm9udE5hbWUABwAAACttbi1sdAABRm9udFNpemUAAAAAAAAAKEAIRm9udFN0cmlrZXRocm91Z2gAAAhGb250U3Vic2NyaXB0AAAIRm9udFN1cGVyc2NyaXB0AAAIRm9udFVuZGVybGluZQAAAAhTaXplVG9UZXh0V2lkdGgAAQhTaXplVG9UZXh0SGVpZ2h0AAEDVGV4dE1hcmdpbgA/AAAAAUxlZnQAAAAAAAAAAAABVG9wAAAAAAAAAAAAAVJpZ2h0AAAAAAAAAAAAAUJvdHRvbQAAAAAAAAAAAAACRGlzcGxheVRleHQACwAAAEF4aXMgdGl0bGUAAUhlaWdodAAAAABgvWkqQAFXaWR0aAAAAABAp21GQAFUb3AAAAAAAAAAEEABTGVmdAAAAAAAAAAQQAhGbGlwSG9yaXpvbnRhbGx5AAAIRmxpcEhvcml6b250YWxseUFwcGxpZWQAAAhGbGlwVmVydGljYWxseQAACEZsaXBWZXJ0aWNhbGx5QXBwbGllZAAAAVJvdGF0aW9uAAAAAAAA4HB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CFVzZUF1dG9tYXRpY01ham9yVW5pdAABCFVzZUF1dG9tYXRpY01pbmltdW1TY2FsZQABCFVzZUF1dG9tYXRpY01heGltdW1TY2FsZQABA0ZvbnRDb2xvcgBVAAAAEEEA/wAAABBSAAAAAAAQRwAAAAAAEEIAAAAAAAFTY0EAAAAAAAAA8D8BU2NSAAAAAAAAAAAAAVNjRwAAAAAAAAAAAAFTY0IAAAAAAAAAAAAAEEZvbnRTY2hlbWVDb2xvcgACAAAAEEZvbnRUaGVtZUNvbG9yAAAAAAABRm9udFRpbnRBbmRTaGFkZQAAAAAAAAAAAAJMYWJlbFBvc2l0aW9uAAUAAABOb25lAAADMQCgCAAAAkF4aXNUeXBlAAgAAAB4bFZhbHVlAAJBeGlzR3JvdXAADAAAAHhsU2Vjb25kYXJ5AAhTY2hlbWVDb2xvckFwcGxpZWQAAAhGb250U3R5bGVVbmRlcmxpbmVkAAAIQXBwbHlPdmVyYWxsRm9udHNpemUAAAhJc1Zpc2libGUAAAhYbEF1dG9tYXRpY0NvbG9ySW5kZXhBcHBsaWVkAAAIVXNlRXhjZWxGb3JtYXRzV2hlbkRhdGVBeGlzAAADQXhpc1RpdGxlRGF0YQDKBgAAA1Bvc2l0aW9uADoAAAACQW5jaG9yAAsAAABBeGlzQ2VudGVyAAFSZWxhdGl2ZUFuY2hvck9mZnNldAAAAAAAAAAAAAAIV2FudFRvQmVWaXNpYmxlAAADVGV4dEJveERhdGEAYgYAAAVNYW5hZ2VkSWQAEAAAAARZ74DFvVLRQ6B83XSJrFXi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DQAAAG1zb0FsaWduTGVmdAACVGV4dFZlcnRpY2FsQWxpZ25tZW50AA0AAABtc29BbmNob3JUb3AAA0ZvbnRTdHlsZQAsAQAAEEZvbnRCYWNrZ3JvdW5kAAAAAAAIRm9udEJvbGQAAANGb250Q29sb3IAVQAAABBBAP8AAAAQUgAAAAAAEEcAAAAAABBCAAAAAAABU2NBAAAAAAAAAPA/AVNjUgAAAAAAAAAAAAFTY0cAAAAAAAAAAAABU2NCAAAAAAAAAAAAABBGb250VGhlbWVDb2xvcgAAAAAAAUZvbnRUaW50QW5kU2hhZGUAAAAAAAAAAAAQRm9udFNjaGVtZUNvbG9yAAAAAAAIRm9udEl0YWxpYwAAAUZvbnRTaXplAAAAAAAAAChACEZvbnRTdHJpa2V0aHJvdWdoAAAIRm9udFN1YnNjcmlwdAAACEZvbnRTdXBlcnNjcmlwdAAACEZvbnRVbmRlcmxpbmUAAAAIU2l6ZVRvVGV4dFdpZHRoAAEIU2l6ZVRvVGV4dEhlaWdodAABA1RleHRNYXJnaW4APwAAAAFMZWZ0AAAAAAAAAAAAAVRvcAAAAAAAAAAAAAFSaWdodAAAAAAAAAAAAAFCb3R0b20AAAAAAAAAAAAAAUhlaWdodAAAAAAAAAAAAAFXaWR0aAAAAAAAAAAAAAFUb3AAAAAAAAAAEEABTGVmdAAAAAAAAAAQQAhGbGlwSG9yaXpvbnRhbGx5AAAIRmxpcEhvcml6b250YWxseUFwcGxpZWQAAAhGbGlwVmVydGljYWxseQAACEZsaXBWZXJ0aWNhbGx5QXBwbGllZAAAAVJvdGF0aW9uAAAAAAAA4HB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MIAAAABQcAAAD/////9QryBAAAAAAAAAAA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hVc2VBdXRvbWF0aWNNYWpvclVuaXQAAQhVc2VBdXRvbWF0aWNNaW5pbXVtU2NhbGUAAQhVc2VBdXRvbWF0aWNNYXhpbXVtU2NhbGUAAQNGb250Q29sb3IAVQAAABBBAAAAAAAQUgAAAAAAEEcAAAAAABBCAAAAAAABU2NBAAAAAAAAAAAAAVNjUgAAAAAAAAAAAAFTY0cAAAAAAAAAAAABU2NCAAAAAAAAAAAAABBGb250U2NoZW1lQ29sb3IAAAAAABBGb250VGhlbWVDb2xvcgAAAAAAAUZvbnRUaW50QW5kU2hhZGUAAAAAAAAAAAACTGFiZWxQb3NpdGlvbgACAAAAMAAAAzIA1ggAAAJBeGlzVHlwZQALAAAAeGxDYXRlZ29yeQACQXhpc0dyb3VwAAoAAAB4bFByaW1hcnkACFNjaGVtZUNvbG9yQXBwbGllZAABCEZvbnRTdHlsZVVuZGVybGluZWQAAAhBcHBseU92ZXJhbGxGb250c2l6ZQABCElzVmlzaWJsZQABCFhsQXV0b21hdGljQ29sb3JJbmRleEFwcGxpZWQAAAhVc2VFeGNlbEZvcm1hdHNXaGVuRGF0ZUF4aXMAAQNBeGlzVGl0bGVEYXRhAPwGAAADUG9zaXRpb24AOgAAAAJBbmNob3IACwAAAEF4aXNDZW50ZXIAAVJlbGF0aXZlQW5jaG9yT2Zmc2V0AAAAAAAAAAAAAAhXYW50VG9CZVZpc2libGUAAANUZXh0Qm94RGF0YQCUBgAABU1hbmFnZWRJZAAQAAAABBrSSc+YV+ZGggnoedx2bDE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0AAABtc29BbGlnbkxlZnQAAlRleHRWZXJ0aWNhbEFsaWdubWVudAANAAAAbXNvQW5jaG9yVG9wAANGb250U3R5bGUAQQEAABBGb250QmFja2dyb3VuZAAAAAAACEZvbnRCb2xkAAADRm9udENvbG9yAFUAAAAQQQD/AAAAEFIAAAAAABBHAAAAAAAQQgAAAAAAAVNjQQAAAAAAAADwPwFTY1IAAAAAAAAAAAABU2NHAAAAAAAAAAAAAVNjQgAAAAAAAAAAAAAQRm9udFRoZW1lQ29sb3IAAAAAAAFGb250VGludEFuZFNoYWRlAAAAAAAAAAAAEEZvbnRTY2hlbWVDb2xvcgAA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AAAAAAABQm90dG9tAAAAAAAAAAAAAAJEaXNwbGF5VGV4dAABAAAAAAFIZWlnaHQAAAAAwI5AA0ABV2lkdGgAAAAAoJmZuT8BVG9wAAAAAAAAABBAAUxlZnQAAAAAAAAAE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hVc2VBdXRvbWF0aWNNYWpvclVuaXQAAQhVc2VBdXRvbWF0aWNNaW5pbXVtU2NhbGUAAQhVc2VBdXRvbWF0aWNNYXhpbXVtU2NhbGUAAQNGb250Q29sb3IAVQAAABBBAP8AAAAQUgAAAAAAEEcAAAAAABBCAAAAAAABU2NBAAAAAAAAAPA/AVNjUgAAAAAAAAAAAAFTY0cAAAAAAAAAAAABU2NCAAAAAAAAAAAAABBGb250U2NoZW1lQ29sb3IAAgAAABBGb250VGhlbWVDb2xvcgAAAAAAAUZvbnRUaW50QW5kU2hhZGUAAAAAAAAAAAACTGFiZWxQb3NpdGlvbgAFAAAATm9uZQAAAAACTmFtZQAJAAAAQXhlc0RhdGEAEFZlcnNpb24AAwAAAAlMYXN0V3JpdGUAiwR4mH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QAAAAX/////CgAAAOcPAAAAAAAAAAAAAD9DAAAFX2lkABAAAAAEZZAXFcyAbUOCFXqHmg6G1QNEYXRhAONCAAAEU2VyaWVMYWJlbHMA0UIAAAMwAEEWAAACQWxpZ25tZW50AAwAAABJbkNoYXJ0TGVmdAAQU2VyaWVzSW5kZXgAAQAAABBQb2ludEluZGV4AAEAAAABT2Zmc2V0RnJvbUNoYXJ0UG9pbnRUb0xlZnQAIbByGKG9UEACVGV4dEFsaWdubWVudAAGAAAAUmlnaHQAA1RleHRCb3gAqAYAAAVNYW5hZ2VkSWQAEAAAAATVPgbHevzGQIMumMnx0GnQ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CQAAAFNlcmllcyAxAAJUZXh0SG9yaXpvbnRhbEFsaWdubWVudAAOAAAAbXNvQW5jaG9yTm9uZQACUGFyYWdyYXBoQWxpZ25tZW50AA4AAABtc29BbGlnblJpZ2h0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wFqtBkABVG9wAAAAAMBarQZAAVJpZ2h0AAAAAMBarQZAAUJvdHRvbQAAAADAWq0GQAACRGlzcGxheVRleHQACQAAAFNlcmllcyAxAAFIZWlnaHQAAAAAYDXgMkABV2lkdGgAAAAAYB9QR0ABVG9wAAAAAGCu4nN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UA4QYAAANTdGFydAAbAAAAAVgAAAAAwOYuUEABWQAAAACAp0F3QAADRW5kABsAAAABWAAAAAC2qrJHQAFZAAAAAH5aN3hAAAJTdGFydEFycm93SGVhZAARAAAAbXNvQXJyb3doZWFkTm9uZQACRW5kQXJyb3dIZWFkABEAAABtc29BcnJvd2hlYWROb25lAAVNYW5hZ2VkSWQAEAAAAAQTcr6/z75rQobHFZ3oE51FCEhhc0NoYW5nZXMAAQ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F+2LkABV2lkdGgAAAAAoEVWMUABVG9wAAAAAICnQXdAAUxlZnQAAAAAwKqyR0AIRmxpcEhvcml6b250YWxseQAB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LaqMkZAAVkAAAAAflo3eEAAA0VuZAAbAAAAAVgAAAAAtqqyR0ABWQAAAAB+Wjd4QAACU3RhcnRBcnJvd0hlYWQAEQAAAG1zb0Fycm93aGVhZE5vbmUAAkVuZEFycm93SGVhZAARAAAAbXNvQXJyb3doZWFkTm9uZQAFTWFuYWdlZElkABAAAAAEqAY2YSKXq0WUMADuDz76JghIYXNDaGFuZ2VzAAEIVXNlTmFtZUluc3RlYWRPZlRhZ0FzSWQAAQhTaGFwZVByZXZpb3VzbHlDcmVhdGVkAAEDRmlsbENvbG9yAFUAAAAQQQAAAAAAEFIAAAAAABBHAAAAAAAQQgAAAAAAAVNjQQAAAAAAAADwvwFTY1IAAAAAAAAA8L8BU2NHAAAAAAAAAPC/AVNjQgAAAAAAAADwvwAQRmlsbFRoZW1lQ29sb3IAAAAAAAFGaWxsVGludEFuZFNoYWRlAAAAAAAAAAAAEAoAAAAFCQAAAAsAAADnDwAAAAAAAAAAAA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IQAFUb3AAAAAAgFo3eEABTGVmdAAAAADAqjJG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ja2dyb3VuZENvbG9yAFUAAAAQQQAAAAAAEFIAAAAAABBHAAAAAAAQQgAAAAAAAVNjQQAAAAAAAAAAAAFTY1IAAAAAAAAAAAABU2NHAAAAAAAAAAAAAVNjQgAAAAAAAAAAAAADQ2VudGVyABsAAAABWAAAAABgH1A3QAFZAAAAAAuweXRAAAhIYXNMZWFkZXJMaW5lAAAISXNDZW50ZXJBdXRvbWF0aWNBZGp1c3RlZAAACElzVXNlclBvc2l0aW9uAAAISGFzQ3VzdG9tRm9udENvbG9yAAACVGV4dAAJAAAAU2VyaWVzIDEACFJlcXVpcmVSZWxhdGl2ZVBvc2l0aW9uVXBncmFkZQAACElzR2VvbWV0cnlPdXRPZkJvdW5kcwAACERlbGV0ZWQAAAADMQBBFgAAAkFsaWdubWVudAAMAAAASW5DaGFydExlZnQAEFNlcmllc0luZGV4AAIAAAAQUG9pbnRJbmRleAABAAAAAU9mZnNldEZyb21DaGFydFBvaW50VG9MZWZ0ACGwchihvVBAAlRleHRBbGlnbm1lbnQABgAAAFJpZ2h0AANUZXh0Qm94AKgGAAAFTWFuYWdlZElkABAAAAAEmPv1AwOnP0aRFbRCmRnGHQ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kAAABTZXJpZXMgMgACVGV4dEhvcml6b250YWxBbGlnbm1lbnQADgAAAG1zb0FuY2hvck5vbmUAAlBhcmFncmFwaEFsaWdubWVudAAOAAAAbXNvQWxpZ25SaWdodAACVGV4dFZlcnRpY2FsQWxpZ25tZW50ABAAAABtc29BbmNob3JNaWRkbGUAA0ZvbnRTdHlsZQBB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MBarQZAAVRvcAAAAADAWq0GQAFSaWdodAAAAADAWq0GQAFCb3R0b20AAAAAwFqtBkAAAkRpc3BsYXlUZXh0AAkAAABTZXJpZXMgMgABSGVpZ2h0AAAAAGA14DJAAVdpZHRoAAAAAGAfUEdAAVRvcAAAAAAgSMJtQAFMZWZ0AAAAAAAAAAA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AOEGAAADU3RhcnQAGwAAAAFYAAAAAMDmLlBAAVkAAAAAfpDmdkAAA0VuZAAbAAAAAVgAAAAAoK6yR0ABWQAAAAB+kOZ2QAACU3RhcnRBcnJvd0hlYWQAEQAAAG1zb0Fycm93aGVhZE5vbmUAAkVuZEFycm93SGVhZAARAAAAbXNvQXJyb3doZWFkTm9uZQAFTWFuYWdlZElkABAAAAAEdWu9cfOMR0Sfs40YG5DhDwhIYXNDaGFuZ2VzAAE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QLAAAABQoAAAAMAAAA5w8AAAAAAAAAAAAA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DAPVYxQAFUb3AAAAAAgJDmdkABTGVmdAAAAACgrrJHQAhGbGlwSG9yaXpvbnRhbGx5AAE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oK4yRkABWQAAAAB+kOZ2QAADRW5kABsAAAABWAAAAACgrrJHQAFZAAAAAH6Q5nZAAAJTdGFydEFycm93SGVhZAARAAAAbXNvQXJyb3doZWFkTm9uZQACRW5kQXJyb3dIZWFkABEAAABtc29BcnJvd2hlYWROb25lAAVNYW5hZ2VkSWQAEAAAAATpTqU/wP+MRKUiyDAiBc0UCEhhc0NoYW5nZXMAAQ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CEABVG9wAAAAAICQ5nZAAUxlZnQAAAAAoK4yRk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Y2tncm91bmRDb2xvcgBVAAAAEEEAAAAAABBSAAAAAAAQRwAAAAAAEEIAAAAAAAFTY0EAAAAAAAAAAAABU2NSAAAAAAAAAAAAAVNjRwAAAAAAAAAAAAFTY0IAAAAAAAAAAAAAA0NlbnRlcgAbAAAAAVgAAAAAYB9QN0ABWQAAAAB2S/BuQAAISGFzTGVhZGVyTGluZQAACElzQ2VudGVyQXV0b21hdGljQWRqdXN0ZWQAAAhJc1VzZXJQb3NpdGlvbgAACEhhc0N1c3RvbUZvbnRDb2xvcgAAAlRleHQACQAAAFNlcmllcyAyAAhSZXF1aXJlUmVsYXRpdmVQb3NpdGlvblVwZ3JhZGUAAAhJc0dlb21ldHJ5T3V0T2ZCb3VuZHMAAAhEZWxldGVkAAAAAzIAQRYAAAJBbGlnbm1lbnQADAAAAEluQ2hhcnRMZWZ0ABBTZXJpZXNJbmRleAADAAAAEFBvaW50SW5kZXgAAQAAAAFPZmZzZXRGcm9tQ2hhcnRQb2ludFRvTGVmdAAhsHIYob1QQAJUZXh0QWxpZ25tZW50AAYAAABSaWdodAADVGV4dEJveACoBgAABU1hbmFnZWRJZAAQAAAABNWsbs7WTHJBrYEIcfS8FUA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JAAAAU2VyaWVzIDMAAlRleHRIb3Jpem9udGFsQWxpZ25tZW50AA4AAABtc29BbmNob3JOb25lAAJQYXJhZ3JhcGhBbGlnbm1lbnQADgAAAG1zb0FsaWduUmlnaHQAAlRleHRWZXJ0aWNhbEFsaWdubWVudAAQAAAAbXNvQW5jaG9yTWlkZGxlAANGb250DAAAAAULAAAADQAAAOcPAAAAAAAAAAAAA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wFqtBkABVG9wAAAAAMBarQZAAVJpZ2h0AAAAAMBarQZAAUJvdHRvbQAAAADAWq0GQAACRGlzcGxheVRleHQACQAAAFNlcmllcyAzAAFIZWlnaHQAAAAAYDXgMkABV2lkdGgAAAAAYB9QR0ABVG9wAAAAAIDYmWV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UA4QYAAANTdGFydAAbAAAAAVgAAAAAwOYuUEABWQAAAADgxsN2QAADRW5kABsAAAABWAAAAACgrrJHQAFZAAAAAH7GhXVAAAJTdGFydEFycm93SGVhZAARAAAAbXNvQXJyb3doZWFkTm9uZQACRW5kQXJyb3dIZWFkABEAAABtc29BcnJvd2hlYWROb25lAAVNYW5hZ2VkSWQAEAAAAATb5Om9i2WRT5SmoBcjo59JCEhhc0NoYW5nZXMAAQ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IAbgM0ABV2lkdGgAAAAAwD1WMUABVG9wAAAAAIDGhXVAAUxlZnQAAAAAoK6yR0AIRmxpcEhvcml6b250YWxseQABCEZsaXBIb3Jpem9udGFsbHlBcHBsaWVkAAAIRmxpcFZlcnRpY2FsbHkAAQ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KCuMkZAAVkAAAAAfsaFdUAAA0VuZAAbAAAAAVgAAAAAoK6yR0ABWQAAAAB+xoV1QAACU3RhcnRBcnJvd0hlYWQAEQAAAG1zb0Fycm93aGVhZE5vbmUAAkVuZEFycm93SGVhZAARAAAAbXNvQXJyb3doZWFkTm9uZQAFTWFuYWdlZElkABAAAAAEECwJ6SIrIU2kw/J6xr1kAQhIYXNDaGFuZ2VzAAE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hAAVRvcAAAAACAxoV1QAFMZWZ0AAAAAA0AAAAFDAAAAP////+jA0QMAAAAAAAAAACgrjJG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ja2dyb3VuZENvbG9yAFUAAAAQQQAAAAAAEFIAAAAAABBHAAAAAAAQQgAAAAAAAVNjQQAAAAAAAAAAAAFTY1IAAAAAAAAAAAABU2NHAAAAAAAAAAAAAVNjQgAAAAAAAAAAAAADQ2VudGVyABsAAAABWAAAAABgH1A3QAFZAAAAANbbx2ZAAAhIYXNMZWFkZXJMaW5lAAAISXNDZW50ZXJBdXRvbWF0aWNBZGp1c3RlZAAACElzVXNlclBvc2l0aW9uAAAISGFzQ3VzdG9tRm9udENvbG9yAAACVGV4dAAJAAAAU2VyaWVzIDMACFJlcXVpcmVSZWxhdGl2ZVBvc2l0aW9uVXBncmFkZQAACElzR2VvbWV0cnlPdXRPZkJvdW5kcwAACERlbGV0ZWQAAAAAAAJOYW1lAA0AAABTZXJpZXNMYWJlbHMAEFZlcnNpb24AAgAAAAlMYXN0V3JpdGUAEwV4mH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OAAAABf////8PAAAA5w8AAAAAAAAAAAAA9fUBAAVfaWQAEAAAAARVPSAzJEfbSJ7dd20UwYQ9A0RhdGEAm/UBAANEYXRhTGFiZWxzUGVyQXhpcwCD9QEAA1ByaW1hcnkAtfoAAAREYXRhTGFiZWxzAAf5AAADMAAYEAAAEFBvaW50SW5kZXgAAQAAAAJBbGlnbm1lbnQABwAAAENlbnRlcgAQU2VyaWVzSW5kZXgAAQAAAAhSZXF1aXJlRm9udENvbG9yTWlncmF0aW9uAAADVGV4dEJveACdBgAABU1hbmFnZWRJZAAQAAAABHqG6GHTqx9DrqRbb6XyLXoISGFzQ2hhbmdlcwAACFVzZU5hbWVJbnN0ZWFkT2ZUYWdBc0lkAAEIU2hhcGVQcmV2aW91c2x5Q3JlYXRlZAABA0ZpbGxDb2xvcgBVAAAAEEEA/wAAABBSAN0AAAAQRwDdAAAAEEIA3QAAAAFTY0EAAAAAAAAA8D8BU2NSAAAAAIBEI+c/AVNjRwAAAACARCPnPwFTY0IAAAAAgEQj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CAAAAMwACVGV4dEhvcml6b250YWxBbGlnbm1lbnQAEAAAAG1zb0FuY2hvckNlbnRlcgACUGFyYWdyYXBoQWxpZ25tZW50AA8AAABtc29BbGlnbkNlbnRlcgACVGV4dFZlcnRpY2FsQWxpZ25tZW50ABAAAABtc29BbmNob3JNaWRkbGUAA0ZvbnRTdHlsZQBBAQAAEEZvbnRCYWNrZ3JvdW5kAAAAAAAIRm9udEJvbGQAAANGb250Q29sb3IAVQAAABBBAP8AAAAQUgAAAAAAEEcAAAAAABBCAAAAAAABU2NBAAAAAAAAAPA/AVNjUgAAAAAAAAAAAAFTY0cAAAAAAAAAAAABU2NCAAAAAAAAAAAAABBGb250VGhlbWVDb2xvcgAAAAAAAUZvbnRUaW50QW5kU2hhZGUAAAAAAAAAAAAQRm9udFNjaGVtZUNvbG9yAAAAAAAIRm9udEl0YWxpYwAAAkZvbnROYW1lAAcAAAArbW4tbHQAAUZvbnRTaXplAAAAAAAAAChACEZvbnRTdHJpa2V0aHJvdWdoAAAIRm9udFN1YnNjcmlwdAAACEZvbnRTdXBlcnNjcmlwdAAACEZvbnRVbmRlcmxpbmUAAAAIU2l6ZVRvVGV4dFdpZHRoAAEIU2l6ZVRvVGV4dEhlaWdodAABA1RleHRNYXJnaW4APwAAAAFMZWZ0AAAAAMBarQZAAVRvcAAAAADAWq0GQAFSaWdodAAAAADAWq0GQAFCb3R0b20AAAAAwFqtBkAAAkRpc3BsYXlUZXh0AAIAAAAzAAFIZWlnaHQAAAAAYDXgMkABV2lkdGgAAAAAYIR6KEABVG9wAAAAAGCu4nNAAUxlZnQAAAAAQGxWW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UA4QYAAANTdGFydAAbAAAAAVgAAAAAAAAAAAABWQAAAAAAAAAAAAADRW5kABsAAAABWAAAAAAAAAAAAAFZAAAAAAAAAAAAAAJTdGFydEFycm93SGVhZAARAAAAbXNvQXJyb3doZWFkTm9uZQACRW5kQXJyb3dIZWFkABEAAABtc29BcnJvd2hlYWROb25lAAVNYW5hZ2VkSWQAEAAAAASehVrb65dASb4h6z5Tquat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Y2tncm91bmRDb2xvcgBVAAAAEEEA/wAAABBSAN0AAAAQRwDdAAAAEEIA3QAAAAFTY0EAAAAAAAAA8D8BU2NSAAAAAIBEI+c/AVNjRwAAAACARCPnPwFTY0IAAAAAgEQj5z8AA0NlbnRlcgAbAAAAAVgAAAAAhhTeWUABWQAAAAALsHl0QAAISGFzTGVhZGVyTGluZQAACElzQ2VudGVyQXV0b21hdGljQWRqdXN0ZWQAAAhJc1VzZXJQb3NpdGlvbgAAA0N1c3RvbUxhYmVsUG9zaXRpb24A3QAAAAFPZmZzZXQxAAAAAAAAAAAAAU9mZnNldDIAAAAAAAAAAAADTGFiZWxPZmZzZXRUeXBlcwBJAAAAAk9mZnNldFR5cGUxABEAAABSZWxhdGl2ZURpc3RhbmNlAAJPZmZzZXRUeXBlMgARAAAAUmVsYXRpdmVEaXN0YW5jZQAAA0FuY2hvclBvc2l0aW9ucwBKAAAAAkxhYmVsQW5jaG9yUG9zaXRpb24ABwAAAENlbnRlcgACQ2hhcnRQb2ludEFuDwAAAAUOAAAAEAAAAOcPAAAAAAAAAAAAAGNob3JQb3NpdGlvbgAHAAAAQ2VudGVyAAAACEhhc0N1c3RvbUZvbnRDb2xvcgAAAlNlcGFyYXRvcgACAAAACgACVGV4dAACAAAAMwAIUmVxdWlyZVJlbGF0aXZlUG9zaXRpb25VcGdyYWRlAAEISXNHZW9tZXRyeU91dE9mQm91bmRzAAAIRGVsZXRlZAAAAAMxAB4QAAAQUG9pbnRJbmRleAACAAAAAkFsaWdubWVudAAHAAAAQ2VudGVyABBTZXJpZXNJbmRleAABAAAACFJlcXVpcmVGb250Q29sb3JNaWdyYXRpb24AAANUZXh0Qm94AKEGAAAFTWFuYWdlZElkABAAAAAEqToeMvpVREerrFAq1V+fpQhIYXNDaGFuZ2VzAAAIVXNlTmFtZUluc3RlYWRPZlRhZ0FzSWQAAQhTaGFwZVByZXZpb3VzbHlDcmVhdGVkAAEDRmlsbENvbG9yAFUAAAAQQQD/AAAAEFIA3QAAABBHAN0AAAAQQgDdAAAAAVNjQQAAAAAAAADwPwFTY1IAAAAAgEQj5z8BU2NHAAAAAIBEI+c/AVNjQgAAAACARCP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QAAAAyLjUAAlRleHRIb3Jpem9udGFsQWxpZ25tZW50ABAAAABtc29BbmNob3JDZW50ZXI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AAAAACEZvbnRJdGFsaWMAAAJGb250TmFtZQAHAAAAK21uLWx0AAFGb250U2l6ZQAAAAAAAAAoQAhGb250U3RyaWtldGhyb3VnaAAACEZvbnRTdWJzY3JpcHQAAAhGb250U3VwZXJzY3JpcHQAAAhGb250VW5kZXJsaW5lAAAACFNpemVUb1RleHRXaWR0aAABCFNpemVUb1RleHRIZWlnaHQAAQNUZXh0TWFyZ2luAD8AAAABTGVmdAAAAADAWq0GQAFUb3AAAAAAwFqtBkABUmlnaHQAAAAAwFqtBkABQm90dG9tAAAAAMBarQZAAAJEaXNwbGF5VGV4dAAEAAAAMi41AAFIZWlnaHQAAAAAYDXgMkABV2lkdGgAAAAAwC1PNUABVG9wAAAAAIBXWXRAAUxlZnQAAAAAwKaMb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UA4QYAAANTdGFydAAbAAAAAVgAAAAAAAAAAAABWQAAAAAAAAAAAAADRW5kABsAAAABWAAAAAAAAAAAAAFZAAAAAAAAAAAAAAJTdGFydEFycm93SGVhZAARAAAAbXNvQXJyb3doZWFkTm9uZQACRW5kQXJyb3dIZWFkABEAAABtc29BcnJvd2hlYWROb25lAAVNYW5hZ2VkSWQAEAAAAARSyfUTLpVJSYU7FL5eag1X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Y2tncm91bmRDb2xvcgBVAAAAEEEA/wAAABBSAN0AAAAQRwDdAAAAEEIA3QAAAAFTY0EAAAAAAAAA8D8BU2NSAAAAAIBEI+c/AVNjRwAAAACARCPnPwFTY0IAAAAAgEQj5z8AA0NlbnRlcgAbAAAAAVgAAAAAnJnhbUABWQAAAAArWfB0QAAISGFzTGVhZGVyTGluZQAACElzQ2VudGVyQXV0b21hdGljQWRqdXN0ZWQAAAhJc1VzZXJQb3NpdGlvbgAAA0N1c3RvbUxhYmVsUG9zaXRpb24A3QAAAAFPZmZzZXQxAAAAAAAAAAAAAU9mZnNldDIAAAAAAAAAAAADTGFiZWxPZmZzZXRUeXBlcwBJAAAAAk9mZnNldFR5cGUxABEAAABSZWxhdGl2ZURpc3RhbmNlAAJPZmZzZXRUeXBlMgARAAAAUmVsYXRpdmVEaXN0YW5jZQAAA0FuY2hvclBvcxAAAAAFDwAAABEAAADnDwAAAAAAAAAAAABpdGlvbnMASgAAAAJMYWJlbEFuY2hvclBvc2l0aW9uAAcAAABDZW50ZXIAAkNoYXJ0UG9pbnRBbmNob3JQb3NpdGlvbgAHAAAAQ2VudGVyAAAACEhhc0N1c3RvbUZvbnRDb2xvcgAAAlNlcGFyYXRvcgACAAAACgACVGV4dAAEAAAAMi41AAhSZXF1aXJlUmVsYXRpdmVQb3NpdGlvblVwZ3JhZGUAAQhJc0dlb21ldHJ5T3V0T2ZCb3VuZHMAAAhEZWxldGVkAAAAAzIAHhAAABBQb2ludEluZGV4AAMAAAACQWxpZ25tZW50AAcAAABDZW50ZXIAEFNlcmllc0luZGV4AAEAAAAIUmVxdWlyZUZvbnRDb2xvck1pZ3JhdGlvbgAAA1RleHRCb3gAoQYAAAVNYW5hZ2VkSWQAEAAAAASm6vO8USzYQLKIA+uRFghSCEhhc0NoYW5nZXMAAAhVc2VOYW1lSW5zdGVhZE9mVGFnQXNJZAABCFNoYXBlUHJldmlvdXNseUNyZWF0ZWQAAQNGaWxsQ29sb3IAVQAAABBBAP8AAAAQUgDdAAAAEEcA3QAAABBCAN0AAAABU2NBAAAAAAAAAPA/AVNjUgAAAACARCPnPwFTY0cAAAAAgEQj5z8BU2NCAAAAAIBEI+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AAAADMuNQACVGV4dEhvcml6b250YWxBbGlnbm1lbnQAEAAAAG1zb0FuY2hvckNlbnRlcgACUGFyYWdyYXBoQWxpZ25tZW50AA8AAABtc29BbGlnbkNlbnRlcgACVGV4dFZlcnRpY2FsQWxpZ25tZW50ABAAAABtc29BbmNob3JNaWRkbGUAA0ZvbnRTdHlsZQBBAQAAEEZvbnRCYWNrZ3JvdW5kAAAAAAAIRm9udEJvbGQAAANGb250Q29sb3IAVQAAABBBAP8AAAAQUgAAAAAAEEcAAAAAABBCAAAAAAABU2NBAAAAAAAAAPA/AVNjUgAAAAAAAAAAAAFTY0cAAAAAAAAAAAABU2NCAAAAAAAAAAAAABBGb250VGhlbWVDb2xvcgAAAAAAAUZvbnRUaW50QW5kU2hhZGUAAAAAAAAAAAAQRm9udFNjaGVtZUNvbG9yAAAAAAAIRm9udEl0YWxpYwAAAkZvbnROYW1lAAcAAAArbW4tbHQAAUZvbnRTaXplAAAAAAAAAChACEZvbnRTdHJpa2V0aHJvdWdoAAAIRm9udFN1YnNjcmlwdAAACEZvbnRTdXBlcnNjcmlwdAAACEZvbnRVbmRlcmxpbmUAAAAIU2l6ZVRvVGV4dFdpZHRoAAEIU2l6ZVRvVGV4dEhlaWdodAABA1RleHRNYXJnaW4APwAAAAFMZWZ0AAAAAMBarQZAAVRvcAAAAADAWq0GQAFSaWdodAAAAADAWq0GQAFCb3R0b20AAAAAwFqtBkAAAkRpc3BsYXlUZXh0AAQAAAAzLjUAAUhlaWdodAAAAABgNeAyQAFXaWR0aAAAAADALU81QAFUb3AAAAAAAAVsc0ABTGVmdAAAAAAAm792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QDhBgAAA1N0YXJ0ABsAAAABWAAAAAAAAAAAAAFZAAAAAAAAAAAAAANFbmQAGwAAAAFYAAAAAAAAAAAAAVkAAAAAAAAAAAAAAlN0YXJ0QXJyb3dIZWFkABEAAABtc29BcnJvd2hlYWROb25lAAJFbmRBcnJvd0hlYWQAEQAAAG1zb0Fycm93aGVhZE5vbmUABU1hbmFnZWRJZAAQAAAABLb6/kcCe4dKghxTPiYhv0k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ja2dyb3VuZENvbG9yAFUAAAAQQQD/AAAAEFIA3QAAABBHAN0AAAAQQgDdAAAAAVNjQQAAAAAAAADwPwFTY1IAAAAAgEQj5z8BU2NHAAAAAIBEI+c/AVNjQgAAAACARCPnPwADQ2VudGVyABsAAAABWAAAAABuFGp3QAFZAAAAAKsGA3RAAAhIYXNMZWFkZXJMaW5lAAAISXNDZW50ZXJBdXRvbWF0aWNBZGp1c3RlZAAACElzVXNlclBvc2l0aW9uAAADQ3VzdG9tTGFiZWxQb3NpdGlvbgDdAAAAAU9mZnNldDEAAAAAAAAAAAABT2Zmc2V0MgAAAAAAAAAAAANMYWJlbE9mZnNldFR5cGVzAEkAAAACT2Zmc2V0VHlwZTEAEQAAAFJlbGERAAAABRAAAAASAAAA5w8AAAAAAAAAAAAAdGl2ZURpc3RhbmNlAAJPZmZzZXRUeXBlMgARAAAAUmVsYXRpdmVEaXN0YW5jZQAAA0FuY2hvclBvc2l0aW9ucwBKAAAAAkxhYmVsQW5jaG9yUG9zaXRpb24ABwAAAENlbnRlcgACQ2hhcnRQb2ludEFuY2hvclBvc2l0aW9uAAcAAABDZW50ZXIAAAAISGFzQ3VzdG9tRm9udENvbG9yAAACU2VwYXJhdG9yAAIAAAAKAAJUZXh0AAQAAAAzLjUACFJlcXVpcmVSZWxhdGl2ZVBvc2l0aW9uVXBncmFkZQABCElzR2VvbWV0cnlPdXRPZkJvdW5kcwAACERlbGV0ZWQAAAADMwAYEAAAEFBvaW50SW5kZXgABAAAAAJBbGlnbm1lbnQABwAAAENlbnRlcgAQU2VyaWVzSW5kZXgAAQAAAAhSZXF1aXJlRm9udENvbG9yTWlncmF0aW9uAAADVGV4dEJveACdBgAABU1hbmFnZWRJZAAQAAAABAgn/FproRJDv0IUhTdTqEUISGFzQ2hhbmdlcwAACFVzZU5hbWVJbnN0ZWFkT2ZUYWdBc0lkAAEIU2hhcGVQcmV2aW91c2x5Q3JlYXRlZAABA0ZpbGxDb2xvcgBVAAAAEEEA/wAAABBSAN0AAAAQRwDdAAAAEEIA3QAAAAFTY0EAAAAAAAAA8D8BU2NSAAAAAIBEI+c/AVNjRwAAAACARCPnPwFTY0IAAAAAgEQj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CAAAANAACVGV4dEhvcml6b250YWxBbGlnbm1lbnQAEAAAAG1zb0FuY2hvckNlbnRlcgACUGFyYWdyYXBoQWxpZ25tZW50AA8AAABtc29BbGlnbkNlbnRlcgACVGV4dFZlcnRpY2FsQWxpZ25tZW50ABAAAABtc29BbmNob3JNaWRkbGUAA0ZvbnRTdHlsZQBBAQAAEEZvbnRCYWNrZ3JvdW5kAAAAAAAIRm9udEJvbGQAAANGb250Q29sb3IAVQAAABBBAP8AAAAQUgAAAAAAEEcAAAAAABBCAAAAAAABU2NBAAAAAAAAAPA/AVNjUgAAAAAAAAAAAAFTY0cAAAAAAAAAAAABU2NCAAAAAAAAAAAAABBGb250VGhlbWVDb2xvcgAAAAAAAUZvbnRUaW50QW5kU2hhZGUAAAAAAAAAAAAQRm9udFNjaGVtZUNvbG9yAAAAAAAIRm9udEl0YWxpYwAAAkZvbnROYW1lAAcAAAArbW4tbHQAAUZvbnRTaXplAAAAAAAAAChACEZvbnRTdHJpa2V0aHJvdWdoAAAIRm9udFN1YnNjcmlwdAAACEZvbnRTdXBlcnNjcmlwdAAACEZvbnRVbmRlcmxpbmUAAAAIU2l6ZVRvVGV4dFdpZHRoAAEIU2l6ZVRvVGV4dEhlaWdodAABA1RleHRNYXJnaW4APwAAAAFMZWZ0AAAAAMBarQZAAVRvcAAAAADAWq0GQAFSaWdodAAAAADAWq0GQAFCb3R0b20AAAAAwFqtBkAAAkRpc3BsYXlUZXh0AAIAAAA0AAFIZWlnaHQAAAAAYDXgMkABV2lkdGgAAAAAYIR6KEABVG9wAAAAAOBb9XJAAUxlZnQAAAAAIHKBf0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UA4QYAAANTdGFydAAbAAAAAVgAAAAAAAAAAAABWQAAAAAAAAAAAAADRW5kABsAAAABWAAAAAAAAAAAAAFZAAAAAAAAAAAAAAJTdGFydEFycm93SGVhZAARAAAAbXNvQXJyb3doZWFkTm9uZQACRW5kQXJyb3dIZWFkABEAAABtc29BcnJvd2hlYWROb25lAAVNYW5hZ2VkSWQAEAAAAARYg+GifFo6TrbP0w7jYKyi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Y2tncm91bmRDb2xvcgBVAAAAEEEA/wAAABBSAN0AAAAQRwDdAAAAEEIA3QAAAAFTY0EAAAAAAAAA8D8BU2NSAAAAAIBEI+c/AVNjRwAAAACARCPnPwFTY0IAAAAAgEQj5z8AA0NlbnRlcgAbAAAAAVgAAACAMVzjf0ABWQAAAACLXYxzQAAISGFzTGVhZGVyTGluZQAACElzQ2VudGVyQXV0b21hdGljQWRqdXN0ZWQAAAhJc1VzZXJQb3NpdGlvbgAAA0N1c3RvbUxhYmVsUG9zaXRpb24A3QAAAAFPZmZzZXQxAAAAAAAAAAAAAU9mZnNlEgAAAAURAAAAEwAAAOcPAAAAAAAAAAAAAHQyAAAAAAAAAAAAA0xhYmVsT2Zmc2V0VHlwZXMASQAAAAJPZmZzZXRUeXBlMQARAAAAUmVsYXRpdmVEaXN0YW5jZQACT2Zmc2V0VHlwZTIAEQAAAFJlbGF0aXZlRGlzdGFuY2UAAANBbmNob3JQb3NpdGlvbnMASgAAAAJMYWJlbEFuY2hvclBvc2l0aW9uAAcAAABDZW50ZXIAAkNoYXJ0UG9pbnRBbmNob3JQb3NpdGlvbgAHAAAAQ2VudGVyAAAACEhhc0N1c3RvbUZvbnRDb2xvcgAAAlNlcGFyYXRvcgACAAAACgACVGV4dAACAAAANAAIUmVxdWlyZVJlbGF0aXZlUG9zaXRpb25VcGdyYWRlAAEISXNHZW9tZXRyeU91dE9mQm91bmRzAAAIRGVsZXRlZAAAAAM0ABIXAAAQUG9pbnRJbmRleAABAAAAAkFsaWdubWVudAAHAAAAQ2VudGVyABBTZXJpZXNJbmRleAACAAAACFJlcXVpcmVGb250Q29sb3JNaWdyYXRpb24AAANUZXh0Qm94AKEGAAAFTWFuYWdlZElkABAAAAAEL0oDgeQS+0eRQaR9jnJgEQhIYXNDaGFuZ2VzAAAIVXNlTmFtZUluc3RlYWRPZlRhZ0FzSWQAAQhTaGFwZVByZXZpb3VzbHlDcmVhdGVkAAEDRmlsbENvbG9yAFUAAAAQQQD/AAAAEFIAsgAAABBHALIAAAAQQgCyAAAAAVNjQQAAAAAAAADwPwFTY1IAAAAAIC1+3D8BU2NHAAAAACAtftw/AVNjQgAAAAAgLX7c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QAAAAyLjQAAlRleHRIb3Jpem9udGFsQWxpZ25tZW50ABAAAABtc29BbmNob3JDZW50ZXI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AAAAACEZvbnRJdGFsaWMAAAJGb250TmFtZQAHAAAAK21uLWx0AAFGb250U2l6ZQAAAAAAAAAoQAhGb250U3RyaWtldGhyb3VnaAAACEZvbnRTdWJzY3JpcHQAAAhGb250U3VwZXJzY3JpcHQAAAhGb250VW5kZXJsaW5lAAAACFNpemVUb1RleHRXaWR0aAABCFNpemVUb1RleHRIZWlnaHQAAQNUZXh0TWFyZ2luAD8AAAABTGVmdAAAAADAWq0GQAFUb3AAAAAAwFqtBkABUmlnaHQAAAAAwFqtBkABQm90dG9tAAAAAMBarQZAAAJEaXNwbGF5VGV4dAAEAAAAMi40AAFIZWlnaHQAAAAAYDXgMkABV2lkdGgAAAAAwC1PNUABVG9wAAAAACBIwm1AAUxlZnQAAAAAwC40V0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UA4QYAAANTdGFydAAbAAAAAVgAAAAA+CYAVkABWQAAAACgPXFxQAADRW5kABsAAAABWAAAAAD4JgBWQAFZAAAAAODQIXZAAAJTdGFydEFycm93SGVhZAARAAAAbXNvQXJyb3doZWFkTm9uZQACRW5kQXJyb3dIZWFkABEAAABtc29BcnJvd2hlYWROb25lAAVNYW5hZ2VkSWQAEAAAAAQrOIIdsTa/TpTnLS/vcfg7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E3CUkABV2lkdGgAAAAAAAAAAAABVG9wAAAAAKA9cXFAAUxlZnQAAAAAACcAVk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PgmAFZAAVkAAAAA4NBRdkAAA0VuZAAbAAAAAVgAAAAA+CYAVkABWQAAAADg0CF2QAACU3RhcnRBcnJvd0hlYWQAEQAAAG1zb0Fycm93aGVhZE5vbmUAAkVuZEFycm93SGVhZAARAAAAbXNvQXJyb3doZWFkTm9uZQAFTWFuYWdlZElkABAAAAAE2zb/+sCb5UeQQwKoRxMAAAAFEgAAABQAAADnDwAAAAAAAAAAAACFsfg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AAFUb3AAAAAA4NAhdkABTGVmdAAAAAAAJwBWQAhGbGlwSG9yaXpvbnRhbGx5AAAIRmxpcEhvcml6b250YWxseUFwcGxpZWQAAAhGbGlwVmVydGljYWxseQAB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ja2dyb3VuZENvbG9yAFUAAAAQQQD/AAAAEFIAsgAAABBHALIAAAAQQgCyAAAAAVNjQQAAAAAAAADwPwFTY1IAAAAAIC1+3D8BU2NHAAAAACAtftw/AVNjQgAAAAAgLX7cPwADQ2VudGVyABsAAAABWAAAAAB4FN5ZQAFZAAAAAHZL8G5AAAhIYXNMZWFkZXJMaW5lAAAISXNDZW50ZXJBdXRvbWF0aWNBZGp1c3RlZAAACElzVXNlclBvc2l0aW9uAAADQ3VzdG9tTGFiZWxQb3NpdGlvbgDdAAAAAU9mZnNldDEAAAAAAAAAAAABT2Zmc2V0MgAAAAAAAAAAAANMYWJlbE9mZnNldFR5cGVzAEkAAAACT2Zmc2V0VHlwZTEAEQAAAFJlbGF0aXZlRGlzdGFuY2UAAk9mZnNldFR5cGUyABEAAABSZWxhdGl2ZURpc3RhbmNlAAADQW5jaG9yUG9zaXRpb25zAEoAAAACTGFiZWxBbmNob3JQb3NpdGlvbgAHAAAAQ2VudGVyAAJDaGFydFBvaW50QW5jaG9yUG9zaXRpb24ABwAAAENlbnRlcgAAAAhIYXNDdXN0b21Gb250Q29sb3IAAAJTZXBhcmF0b3IAAgAAAAoAAlRleHQABAAAADIuNAAIUmVxdWlyZVJlbGF0aXZlUG9zaXRpb25VcGdyYWRlAAEISXNHZW9tZXRyeU91dE9mQm91bmRzAAAIRGVsZXRlZAAAAAM1ABIXAAAQUG9pbnRJbmRleAACAAAAAkFsaWdubWVudAAHAAAAQ2VudGVyABBTZXJpZXNJbmRleAACAAAACFJlcXVpcmVGb250Q29sb3JNaWdyYXRpb24AAANUZXh0Qm94AKEGAAAFTWFuYWdlZElkABAAAAAEgMhBE4rQX0u57PbrZdRd+ghIYXNDaGFuZ2VzAAAIVXNlTmFtZUluc3RlYWRPZlRhZ0FzSWQAAQhTaGFwZVByZXZpb3VzbHlDcmVhdGVkAAEDRmlsbENvbG9yAFUAAAAQQQD/AAAAEFIAsgAAABBHALIAAAAQQgCyAAAAAVNjQQAAAAAAAADwPwFTY1IAAAAAIC1+3D8BU2NHAAAAACAtftw/AVNjQgAAAAAgLX7c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QAAAA0LjQAAlRleHRIb3Jpem9udGFsQWxpZ25tZW50ABAAAABtc29BbmNob3JDZW50ZXI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AAAAACEZvbnRJdGFsaWMAAAJGb250TmFtZQAHAAAAK21uLWx0AAFGb250U2l6ZQAAAAAAAAAoQAhGb250U3RyaWtldGhyb3VnaAAACEZvbnRTdWJzY3JpcHQAAAhGb250U3VwZXJzY3JpcHQAAAhGb250VW5kZXJsaW5lAAAACFNpemVUb1RleHRXaWR0aAABCFNpemVUb1RleHRIZWlnaHQAAQNUZXh0TWFyZ2luAD8AAAABTGVmdAAAAADAWq0GQAFUb3AAAAAAwFqtBkABUmlnaHQAAAAAwFqtBkABQm90dG9tAAAAAMBarQZAAAJEaXNwbGF5VGV4dAAEAAAANC40AAFIZWlnaHQAAAAAYDXgMkABV2lkdGgAAAAAwC1PNUABVG9wAAAAAOCi52tAAUxlZnQAAAAAwKaMb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UA4QYAAANTdGFydAAbAAAAAVgAAAAAmgxia0ABWQAAAAAgT2lyQAADRW5kABsAAAABWAAAAACaDGJrQAFZAAAAAIBPGXZAAAJTdGFydEFycm93SGVhZAARAAAAbXNvQXJyb3doZWFkTm9uZQACRW5kQXIUAAAABRMAAAAVAAAA5w8AAAAAAAAAAAAAcm93SGVhZAARAAAAbXNvQXJyb3doZWFkTm9uZQAFTWFuYWdlZElkABAAAAAEolQsZhVEzk2sv7EG13Shz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DgE1AAVdpZHRoAAAAAAAAAAAAAVRvcAAAAAAgT2lyQAFMZWZ0AAAAAKAMYmt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CaDGJrQAFZAAAAAIBPSXZAAANFbmQAGwAAAAFYAAAAAJoMYmtAAVkAAAAAgE8ZdkAAAlN0YXJ0QXJyb3dIZWFkABEAAABtc29BcnJvd2hlYWROb25lAAJFbmRBcnJvd0hlYWQAEQAAAG1zb0Fycm93aGVhZE5vbmUABU1hbmFnZWRJZAAQAAAABOR1opvCFZNFoOZ23GICbCY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AAFUb3AAAAAAgE8ZdkABTGVmdAAAAACgDGJrQAhGbGlwSG9yaXpvbnRhbGx5AAAIRmxpcEhvcml6b250YWxseUFwcGxpZWQAAAhGbGlwVmVydGljYWxseQAB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ja2dyb3VuZENvbG9yAFUAAAAQQQD/AAAAEFIAsgAAABBHALIAAAAQQgCyAAAAAVNjQQAAAAAAAADwPwFTY1IAAAAAIC1+3D8BU2NHAAAAACAtftw/AVNjQgAAAAAgLX7cPwADQ2VudGVyABsAAAABWAAAAACcmeFtQAFZAAAAADamFW1AAAhIYXNMZWFkZXJMaW5lAAAISXNDZW50ZXJBdXRvbWF0aWNBZGp1c3RlZAAACElzVXNlclBvc2l0aW9uAAADQ3VzdG9tTGFiZWxQb3NpdGlvbgDdAAAAAU9mZnNldDEAAAAAAAAAAAABT2Zmc2V0MgAAAAAAAAAAAANMYWJlbE9mZnNldFR5cGVzAEkAAAACT2Zmc2V0VHlwZTEAEQAAAFJlbGF0aXZlRGlzdGFuY2UAAk9mZnNldFR5cGUyABEAAABSZWxhdGl2ZURpc3RhbmNlAAADQW5jaG9yUG9zaXRpb25zAEoAAAACTGFiZWxBbmNob3JQb3NpdGlvbgAHAAAAQ2VudGVyAAJDaGFydFBvaW50QW5jaG9yUG9zaXRpb24ABwAAAENlbnRlcgAAAAhIYXNDdXN0b21Gb250Q29sb3IAAAJTZXBhcmF0b3IAAgAAAAoAAlRleHQABAAAADQuNAAIUmVxdWlyZVJlbGF0aXZlUG9zaXRpb25VcGdyYWRlAAEISXNHZW9tZXRyeU91dE9mQm91bmRzAAAIRGVsZXRlZAAAAAM2ABIXAAAQUG9pbnRJbmRleAADAAAAAkFsaWdubWVudAAHAAAAQ2VudGVyABBTZXJpZXNJbmRleAACAAAACFJlcXVpcmVGb250Q29sb3JNaWdyFQAAAAUUAAAAFgAAAOcPAAAAAAAAAAAAAGF0aW9uAAADVGV4dEJveAChBgAABU1hbmFnZWRJZAAQAAAABHsF5odHZ79NoKKbb7khOSIISGFzQ2hhbmdlcwAACFVzZU5hbWVJbnN0ZWFkT2ZUYWdBc0lkAAEIU2hhcGVQcmV2aW91c2x5Q3JlYXRlZAABA0ZpbGxDb2xvcgBVAAAAEEEA/wAAABBSALIAAAAQRwCyAAAAEEIAsgAAAAFTY0EAAAAAAAAA8D8BU2NSAAAAACAtftw/AVNjRwAAAAAgLX7cPwFTY0IAAAAAIC1+3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MS44AAJUZXh0SG9yaXpvbnRhbEFsaWdubWVudAAQAAAAbXNvQW5jaG9yQ2VudGVy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AAAAAhGb250SXRhbGljAAACRm9udE5hbWUABwAAACttbi1sdAABRm9udFNpemUAAAAAAAAAKEAIRm9udFN0cmlrZXRocm91Z2gAAAhGb250U3Vic2NyaXB0AAAIRm9udFN1cGVyc2NyaXB0AAAIRm9udFVuZGVybGluZQAAAAhTaXplVG9UZXh0V2lkdGgAAQhTaXplVG9UZXh0SGVpZ2h0AAEDVGV4dE1hcmdpbgA/AAAAAUxlZnQAAAAAwFqtBkABVG9wAAAAAMBarQZAAVJpZ2h0AAAAAMBarQZAAUJvdHRvbQAAAADAWq0GQAACRGlzcGxheVRleHQABAAAADEuOAABSGVpZ2h0AAAAAGA14DJAAVdpZHRoAAAAAMAtTzVAAVRvcAAAAABgbARtQAFMZWZ0AAAAAACbv3Z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AOEGAAADU3RhcnQAGwAAAAFYAAAAADmSLHZAAVkAAAAAACx5cEAAA0VuZAAbAAAAAVgAAAAAOZIsdkABWQAAAADgaR52QAACU3RhcnRBcnJvd0hlYWQAEQAAAG1zb0Fycm93aGVhZE5vbmUAAkVuZEFycm93SGVhZAARAAAAbXNvQXJyb3doZWFkTm9uZQAFTWFuYWdlZElkABAAAAAEWSxH+s9XLUux3cH1Epu4/w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ID3lFZAAVdpZHRoAAAAAAAAAAAAAVRvcAAAAAAALHlwQAFMZWZ0AAAAAECSLHZ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5kix2QAFZAAAAAOBpTnZAAANFbmQAGwAAAAFYAAAAADmSLHZAAVkAAAAA4GkedkAAAlN0YXJ0QXJyb3dIZWFkABEAAABtc29BcnJvd2hlYWROb25lAAJFbmRBcnJvd0hlYWQAEQAAAG1zb0Fycm93aGVhZE5vbmUABU1hbmFnZWRJZAAQAAAABE+o99y5+RlBrN2gQPn2gaw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BYAAAAFFQAAABcAAADnDwAAAAAAAAAA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CEABV2lkdGgAAAAAAAAAAAABVG9wAAAAAOBpHnZAAUxlZnQAAAAAQJIsdkAIRmxpcEhvcml6b250YWxseQAACEZsaXBIb3Jpem9udGFsbHlBcHBsaWVkAAAIRmxpcFZlcnRpY2FsbHkAAQ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Y2tncm91bmRDb2xvcgBVAAAAEEEA/wAAABBSALIAAAAQRwCyAAAAEEIAsgAAAAFTY0EAAAAAAAAA8D8BU2NSAAAAACAtftw/AVNjRwAAAAAgLX7cPwFTY0IAAAAAIC1+3D8AA0NlbnRlcgAbAAAAAVgAAAAAbhRqd0ABWQAAAAC2bzJuQAAISGFzTGVhZGVyTGluZQAACElzQ2VudGVyQXV0b21hdGljQWRqdXN0ZWQAAAhJc1VzZXJQb3NpdGlvbgAAA0N1c3RvbUxhYmVsUG9zaXRpb24A3QAAAAFPZmZzZXQxAAAAAAAAAAAAAU9mZnNldDIAAAAAAAAAAAADTGFiZWxPZmZzZXRUeXBlcwBJAAAAAk9mZnNldFR5cGUxABEAAABSZWxhdGl2ZURpc3RhbmNlAAJPZmZzZXRUeXBlMgARAAAAUmVsYXRpdmVEaXN0YW5jZQAAA0FuY2hvclBvc2l0aW9ucwBKAAAAAkxhYmVsQW5jaG9yUG9zaXRpb24ABwAAAENlbnRlcgACQ2hhcnRQb2ludEFuY2hvclBvc2l0aW9uAAcAAABDZW50ZXIAAAAISGFzQ3VzdG9tRm9udENvbG9yAAACU2VwYXJhdG9yAAIAAAAKAAJUZXh0AAQAAAAxLjgACFJlcXVpcmVSZWxhdGl2ZVBvc2l0aW9uVXBncmFkZQABCElzR2VvbWV0cnlPdXRPZkJvdW5kcwAACERlbGV0ZWQAAAADNwASFwAAEFBvaW50SW5kZXgABAAAAAJBbGlnbm1lbnQABwAAAENlbnRlcgAQU2VyaWVzSW5kZXgAAgAAAAhSZXF1aXJlRm9udENvbG9yTWlncmF0aW9uAAADVGV4dEJveAChBgAABU1hbmFnZWRJZAAQAAAABCO2iY+SqqhFgKskhRbSD/oISGFzQ2hhbmdlcwAACFVzZU5hbWVJbnN0ZWFkT2ZUYWdBc0lkAAEIU2hhcGVQcmV2aW91c2x5Q3JlYXRlZAABA0ZpbGxDb2xvcgBVAAAAEEEA/wAAABBSALIAAAAQRwCyAAAAEEIAsgAAAAFTY0EAAAAAAAAA8D8BU2NSAAAAACAtftw/AVNjRwAAAAAgLX7cPwFTY0IAAAAAIC1+3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Mi44AAJUZXh0SG9yaXpvbnRhbEFsaWdubWVudAAQAAAAbXNvQW5jaG9yQ2VudGVy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AAAAAhGb250SXRhbGljAAACRm9udE5hbWUABwAAACttbi1sdAABRm9udFNpemUAAAAAAAAAKEAIRm9udFN0cmlrZXRocm91Z2gAAAhGb250U3Vic2NyaXB0AAAIRm9udFN1cGVyc2NyaXB0AAAIRm9udFVuZGVybGluZQAAAAhTaXplVG9UZXh0V2lkdGgAAQhTaXplVG9UZXh0SGVpZ2h0AAEDVGV4dE1hcmdpbgA/AAAAAUxlZnQAAAAAwFqtBkABVG9wAAAAAMBarQZAAVJpZ2h0AAAAAMBarQZAAUJvdHRvbQAAAADAWq0GQAACRGlzcGxheVRleHQABAAAADIuOAABSGVpZ2h0AAAAAGA14DJAAVdpZHRoAAAAAMAtTzVAAVRvcAAAAACAIk9pQAFMZWZ0AAAAAMDiOH9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AOEGAAADU3RhcnQAGwAAAAFYAAAAAKC+iX5AAVkAAAAAYDQCb0AAA0VuZAAbAAAAAVgAAAAAoL6JfkABWQAAAABAZw12QAACU3RhcnRBcnJvd0hlYWQAEQAAAG1zb0Fycm93aGVhZE5vbmUAAkVuZEFycm93SGVhZAARAAAAbXNvQXJyb3doZWFkTm9uZQAFTWFuYWdlZElkABAAAAAEqpR86LJBmk2qF98DQ+ur1g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4XAAAABRYAAAAYAAAA5w8AAAAAAAAAAAAA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NDFaQAFXaWR0aAAAAAAAAAAAAAFUb3AAAAAAYDQCb0ABTGVmdAAAAACgvol+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oL6JfkABWQAAAABAZz12QAADRW5kABsAAAABWAAAAACgvol+QAFZAAAAAEBnDXZAAAJTdGFydEFycm93SGVhZAARAAAAbXNvQXJyb3doZWFkTm9uZQACRW5kQXJyb3dIZWFkABEAAABtc29BcnJvd2hlYWROb25lAAVNYW5hZ2VkSWQAEAAAAATmSH7JR5amT7E2bR7v8LYi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CEABV2lkdGgAAAAAAAAAAAABVG9wAAAAAEBnDXZAAUxlZnQAAAAAoL6JfkAIRmxpcEhvcml6b250YWxseQAACEZsaXBIb3Jpem9udGFsbHlBcHBsaWVkAAAIRmxpcFZlcnRpY2FsbHkAAQ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Y2tncm91bmRDb2xvcgBVAAAAEEEA/wAAABBSALIAAAAQRwCyAAAAEEIAsgAAAAFTY0EAAAAAAAAA8D8BU2NSAAAAACAtftw/AVNjRwAAAAAgLX7cPwFTY0IAAAAAIC1+3D8AA0NlbnRlcgAbAAAAAVgAAAAALlzjf0ABWQAAAADWJX1qQAAISGFzTGVhZGVyTGluZQAACElzQ2VudGVyQXV0b21hdGljQWRqdXN0ZWQAAAhJc1VzZXJQb3NpdGlvbgAAA0N1c3RvbUxhYmVsUG9zaXRpb24A3QAAAAFPZmZzZXQxAAAAAAAAAAAAAU9mZnNldDIAAAAAAAAAAAADTGFiZWxPZmZzZXRUeXBlcwBJAAAAAk9mZnNldFR5cGUxABEAAABSZWxhdGl2ZURpc3RhbmNlAAJPZmZzZXRUeXBlMgARAAAAUmVsYXRpdmVEaXN0YW5jZQAAA0FuY2hvclBvc2l0aW9ucwBKAAAAAkxhYmVsQW5jaG9yUG9zaXRpb24ABwAAAENlbnRlcgACQ2hhcnRQb2ludEFuY2hvclBvc2l0aW9uAAcAAABDZW50ZXIAAAAISGFzQ3VzdG9tRm9udENvbG9yAAACU2VwYXJhdG9yAAIAAAAKAAJUZXh0AAQAAAAyLjgACFJlcXVpcmVSZWxhdGl2ZVBvc2l0aW9uVXBncmFkZQABCElzR2VvbWV0cnlPdXRPZkJvdW5kcwAACERlbGV0ZWQAAAADOAAKFwAAEFBvaW50SW5kZXgAAQAAAAJBbGlnbm1lbnQABwAAAENlbnRlcgAQU2VyaWVzSW5kZXgAAwAAAAhSZXF1aXJlRm9udENvbG9yTWlncmF0aW9uAAADVGV4dEJveACbBgAABU1hbmFnZWRJZAAQAAAABEMw89kDO1RCtv4YFLvEVnwISGFzQ2hhbmdlcwAACFVzZU5hbWVJbnN0ZWFkT2ZUYWdBc0lkAAEIU2hhcGVQcmV2aW91c2x5Q3JlYXRlZAABA0ZpbGxDb2xvcgBVAAAAEEEA/wAAABBSAJYAAAAQRwCWAAAAEEIAlgAAAAFTY0EAAAAAAAAA8D8BU2NSAAAAAIDphNM/AVNjRwAAAACA6YTTPwFTY0IAAAAAgOmE0z8AEEZpbGxUaGVtZUNvbG9yAAAAAAABRmlsbFRpbnRBbmRTaGFkZQAAAAAAAAAAABBGaWxsU2NoZW1lQ29sb3IAAAAAAANQYXR0ZXJuQ29sb3IAVQAAABBBAAAAAAAQUgAAAAAAEEcAAAAAABBCAAAAAAABU2NBAAAAAAAAAAAAAVNjUgAAAAAAAAAAAAFTY0cAAAAAAAAAAAABU2NCAAAAAAAAAAAAABBQYXR0ZXJuVGhlbWVDb2xvGAAAAAUXAAAAGQAAAOcPAAAAAAAAAAAAAHIAAAAAAAFQYXR0ZXJuVGludEFuZFNoYWRlAAAAAAAAAAAACEZpbGxWaXNpYmxlAAEIVmlzaWJsZQABAkZpbGxQYXR0ZXJuABAAAABtc29QYXR0ZXJuTWl4ZWQAAlRleHQAAgAAADIAAlRleHRIb3Jpem9udGFsQWxpZ25tZW50AA4AAABtc29BbmNob3JOb25l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AAAAAhGb250SXRhbGljAAACRm9udE5hbWUABwAAACttbi1sdAABRm9udFNpemUAAAAAAAAAKEAIRm9udFN0cmlrZXRocm91Z2gAAAhGb250U3Vic2NyaXB0AAAIRm9udFN1cGVyc2NyaXB0AAAIRm9udFVuZGVybGluZQAAAAhTaXplVG9UZXh0V2lkdGgAAQhTaXplVG9UZXh0SGVpZ2h0AAEDVGV4dE1hcmdpbgA/AAAAAUxlZnQAAAAAwFqtBkABVG9wAAAAAMBarQZAAVJpZ2h0AAAAAMBarQZAAUJvdHRvbQAAAADAWq0GQAACRGlzcGxheVRleHQAAgAAADIAAUhlaWdodAAAAABgNeAyQAFXaWR0aAAAAABghHooQAFUb3AAAAAAgNiZZUABTGVmdAAAAABAbFZY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QDhBgAAA1N0YXJ0ABsAAAABWAAAAAC41ZpdQAFZAAAAAOAElWlAAANFbmQAGwAAAAFYAAAAALjVml1AAVkAAAAAoGT8dUAAAlN0YXJ0QXJyb3dIZWFkABEAAABtc29BcnJvd2hlYWROb25lAAJFbmRBcnJvd0hlYWQAEQAAAG1zb0Fycm93aGVhZE5vbmUABU1hbmFnZWRJZAAQAAAABA9+i1clYmlHo8X9qNA/y0M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gxGNiQAFXaWR0aAAAAAAAAAAAAAFUb3AAAAAA4ASVaUABTGVmdAAAAADA1Zpd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uNWaXUABWQAAAACgZCx2QAADRW5kABsAAAABWAAAAAC41ZpdQAFZAAAAAKBk/HVAAAJTdGFydEFycm93SGVhZAARAAAAbXNvQXJyb3doZWFkTm9uZQACRW5kQXJyb3dIZWFkABEAAABtc29BcnJvd2hlYWROb25lAAVNYW5hZ2VkSWQAEAAAAATCOn5bzzzNTIrs5S6+LliO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RkAAAAFGAAAABoAAADnDwAAAAAAAAAAAABrZXRocm91Z2gAAAhGb250U3Vic2NyaXB0AAAIRm9udFN1cGVyc2NyaXB0AAAIRm9udFVuZGVybGluZQAAAAhTaXplVG9UZXh0V2lkdGgAAAhTaXplVG9UZXh0SGVpZ2h0AAADVGV4dE1hcmdpbgA/AAAAAUxlZnQAAAAAAAAAAAABVG9wAAAAAAAAAAAAAVJpZ2h0AAAAAAAAAAAAAUJvdHRvbQAAAAAAAAAAAAABSGVpZ2h0AAAAAAAAAAhAAVdpZHRoAAAAAAAAAAAAAVRvcAAAAACgZPx1QAFMZWZ0AAAAAMDVml1ACEZsaXBIb3Jpem9udGFsbHkAAAhGbGlwSG9yaXpvbnRhbGx5QXBwbGllZAAACEZsaXBWZXJ0aWNhbGx5AAE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CYWNrZ3JvdW5kQ29sb3IAVQAAABBBAP8AAAAQUgCWAAAAEEcAlgAAABBCAJYAAAABU2NBAAAAAAAAAPA/AVNjUgAAAACA6YTTPwFTY0cAAAAAgOmE0z8BU2NCAAAAAIDphNM/AANDZW50ZXIAGwAAAAFYAAAAAIYU3llAAVkAAAAA1tvHZkAACEhhc0xlYWRlckxpbmUAAAhJc0NlbnRlckF1dG9tYXRpY0FkanVzdGVkAAAISXNVc2VyUG9zaXRpb24AAANDdXN0b21MYWJlbFBvc2l0aW9uAN0AAAABT2Zmc2V0MQAAAAAAAAAAAAFPZmZzZXQyAAAAAAAAAAAAA0xhYmVsT2Zmc2V0VHlwZXMASQAAAAJPZmZzZXRUeXBlMQARAAAAUmVsYXRpdmVEaXN0YW5jZQACT2Zmc2V0VHlwZTIAEQAAAFJlbGF0aXZlRGlzdGFuY2UAAANBbmNob3JQb3NpdGlvbnMASgAAAAJMYWJlbEFuY2hvclBvc2l0aW9uAAcAAABDZW50ZXIAAkNoYXJ0UG9pbnRBbmNob3JQb3NpdGlvbgAHAAAAQ2VudGVyAAAACEhhc0N1c3RvbUZvbnRDb2xvcgAAAlNlcGFyYXRvcgACAAAACgACVGV4dAACAAAAMgAIUmVxdWlyZVJlbGF0aXZlUG9zaXRpb25VcGdyYWRlAAEISXNHZW9tZXRyeU91dE9mQm91bmRzAAAIRGVsZXRlZAAAAAM5AAoXAAAQUG9pbnRJbmRleAACAAAAAkFsaWdubWVudAAHAAAAQ2VudGVyABBTZXJpZXNJbmRleAADAAAACFJlcXVpcmVGb250Q29sb3JNaWdyYXRpb24AAANUZXh0Qm94AJsGAAAFTWFuYWdlZElkABAAAAAE+d/Q16NjvkO27xQMr2GN6QhIYXNDaGFuZ2VzAAAIVXNlTmFtZUluc3RlYWRPZlRhZ0FzSWQAAQhTaGFwZVByZXZpb3VzbHlDcmVhdGVkAAEDRmlsbENvbG9yAFUAAAAQQQD/AAAAEFIAlgAAABBHAJYAAAAQQgCWAAAAAVNjQQAAAAAAAADwPwFTY1IAAAAAgOmE0z8BU2NHAAAAAIDphNM/AVNjQgAAAACA6YTT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IAAAAyAAJUZXh0SG9yaXpvbnRhbEFsaWdubWVudAAOAAAAbXNvQW5jaG9yTm9uZQACUGFyYWdyYXBoQWxpZ25tZW50AA8AAABtc29BbGlnbkNlbnRlcgACVGV4dFZlcnRpY2FsQWxpZ25tZW50ABAAAABtc29BbmNob3JNaWRkbGUAA0ZvbnRTdHlsZQBBAQAAEEZvbnRCYWNrZ3JvdW5kAAAAAAAIRm9udEJvbGQAAANGb250Q29sb3IAVQAAABBBAP8AAAAQUgAAAAAAEEcAAAAAABBCAAAAAAABU2NBAAAAAAAAAPA/AVNjUgAAAAAAAAAAAAFTY0cAAAAAAAAAAAABU2NCAAAAAAAAAAAAABBGb250VGhlbWVDb2xvcgAAAAAAAUZvbnRUaW50QW5kU2hhZGUAAAAAAAAAAAAQRm9udFNjaGVtZUNvbG9yAAAAAAAIRm9udEl0YWxpYwAAAkZvbnROYW1lAAcAAAArbW4tbHQAAUZvbnRTaXplAAAAAAAAAChACEZvbnRTdHJpa2V0aHJvdWdoAAAIRm9udFN1YnNjcmlwdAAACEZvbnRTdXBlcnNjcmlwdAAACEZvbnRVbmRlcmxpbmUAAAAIU2l6ZVRvVGV4dFdpZHRoAAEIU2l6ZVRvVGV4dEhlaWdodAABA1RleHRNYXJnaW4APwAAAAFMZWZ0AAAAAMBarQZAAVRvcAAAAADAWq0GQAFSaWdodAAAAADAWq0GQAFCb3R0b20AAAAAwFqtBkAAAkRpc3BsYXlUZXh0AAIAAAAyAAFIZWlnaHQAAAAAYDXgMkABV2lkdGgAAAAAYIR6KEABVG9wAAAAAGDpCWBAAUxlZnQAAAAAgMUdb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UA4QYAAANTdGFydAAbAAAAAVgAAAAAFsMmcEABWQAAAAAgm8RjQAADRW5kABsAAAABWAAAAAAWwyZwQAFZAAAAAKDg4nVAAAJTdGFydEFycm93SGVhZAARAAAAbXNvQXJyb3doZWFkTm9uZQACRW5kQXJyb3dIZWFkABEAAABtc29BcnJvd2hlYWROb25lAAVNYW5hZ2VkSWQAEAAAAAThe28qWLUgTrL4u1+StiNC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UaAAAABRkAAAAbAAAA5w8AAAAAAAAAAAAA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CAmAWhAAVdpZHRoAAAAAAAAAAAAAVRvcAAAAAAgm8RjQAFMZWZ0AAAAACDDJnB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WwyZwQAFZAAAAAKDgEnZAAANFbmQAGwAAAAFYAAAAABbDJnBAAVkAAAAAoODidUAAAlN0YXJ0QXJyb3dIZWFkABEAAABtc29BcnJvd2hlYWROb25lAAJFbmRBcnJvd0hlYWQAEQAAAG1zb0Fycm93aGVhZE5vbmUABU1hbmFnZWRJZAAQAAAABPGvqqSmNNtHnXt0k2rE7kQ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AAFUb3AAAAAAoODidUABTGVmdAAAAAAgwyZwQAhGbGlwSG9yaXpvbnRhbGx5AAAIRmxpcEhvcml6b250YWxseUFwcGxpZWQAAAhGbGlwVmVydGljYWxseQAB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ja2dyb3VuZENvbG9yAFUAAAAQQQD/AAAAEFIAlgAAABBHAJYAAAAQQgCWAAAAAVNjQQAAAAAAAADwPwFTY1IAAAAAgOmE0z8BU2NHAAAAAIDphNM/AVNjQgAAAACA6YTTPwADQ2VudGVyABsAAAABWAAAAACjmeFtQAFZAAAAALbsN2FAAAhIYXNMZWFkZXJMaW5lAAAISXNDZW50ZXJBdXRvbWF0aWNBZGp1c3RlZAAACElzVXNlclBvc2l0aW9uAAADQ3VzdG9tTGFiZWxQb3NpdGlvbgDdAAAAAU9mZnNldDEAAAAAAAAAAAABT2Zmc2V0MgAAAAAAAAAAAANMYWJlbE9mZnNldFR5cGVzAEkAAAACT2Zmc2V0VHlwZTEAEQAAAFJlbGF0aXZlRGlzdGFuY2UAAk9mZnNldFR5cGUyABEAAABSZWxhdGl2ZURpc3RhbmNlAAADQW5jaG9yUG9zaXRpb25zAEoAAAACTGFiZWxBbmNob3JQb3NpdGlvbgAHAAAAQ2VudGVyAAJDaGFydFBvaW50QW5jaG9yUG9zaXRpb24ABwAAAENlbnRlcgAAAAhIYXNDdXN0b21Gb250Q29sb3IAAAJTZXBhcmF0b3IAAgAAAAoAAlRleHQAAgAAADIACFJlcXVpcmVSZWxhdGl2ZVBvc2l0aW9uVXBncmFkZQABCElzR2VvbWV0cnlPdXRPZkJvdW5kcwAACERlbGV0ZWQAAAADMTAAChcAABBQb2ludEluZGV4AAMAAAACQWxpZ25tZW50AAcAAABDZW50ZXIAEFNlcmllc0luZGV4AAMAAAAIUmVxdWlyZUZvbnRDb2xvck1pZ3JhdGlvbgAAA1RleHRCb3gAmwYAAAVNYW5hZ2VkSWQAEAAAAAQuZ92F1m3QQoxBruIfHeqpCEhhc0NoYW5nZXMAAAhVc2VOYW1lSW5zdGVhZE9mVGFnQXNJZAABCFNoYXBlUHJldmlvdXNseUNyZWF0ZWQAAQNGaWxsQ29sb3IAVQAAABBBAP8AAAAQUgCWAAAAEEcAlgAAABBCAJYAAAABU2NBAAAAAAAAAPA/AVNjUgAAAACA6YTTPwFTY0cAAAAAgOmE0z8BU2NCAAAAAIDphNM/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gAAADMAAlRleHRIb3Jpem9udGFsQWxpZ25tZW50AA4AAABtc29BbmNob3JOb25l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GwAAAAUaAAAAHAAAAOcPAAAAAAAAAAAAAAAAAAAAAAAQRm9udFNjaGVtZUNvbG9yAAAAAAAIRm9udEl0YWxpYwAAAkZvbnROYW1lAAcAAAArbW4tbHQAAUZvbnRTaXplAAAAAAAAAChACEZvbnRTdHJpa2V0aHJvdWdoAAAIRm9udFN1YnNjcmlwdAAACEZvbnRTdXBlcnNjcmlwdAAACEZvbnRVbmRlcmxpbmUAAAAIU2l6ZVRvVGV4dFdpZHRoAAEIU2l6ZVRvVGV4dEhlaWdodAABA1RleHRNYXJnaW4APwAAAAFMZWZ0AAAAAMBarQZAAVRvcAAAAADAWq0GQAFSaWdodAAAAADAWq0GQAFCb3R0b20AAAAAwFqtBkAAAkRpc3BsYXlUZXh0AAIAAAAzAAFIZWlnaHQAAAAAYDXgMkABV2lkdGgAAAAAYIR6KEABVG9wAAAAAGAhHmRAAUxlZnQAAAAAYCoId0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UA4QYAAANTdGFydAAbAAAAAVgAAAAAxgqQeEABWQAAAABAP/hpQAADRW5kABsAAAABWAAAAADGCpB4QAFZAAAAAKCW9XVAAAJTdGFydEFycm93SGVhZAARAAAAbXNvQXJyb3doZWFkTm9uZQACRW5kQXJyb3dIZWFkABEAAABtc29BcnJvd2hlYWROb25lAAVNYW5hZ2VkSWQAEAAAAAQvLXOQJYgnR4Z092/bKhd2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O7yYUABV2lkdGgAAAAAAAAAAAABVG9wAAAAAEA/+GlAAUxlZnQAAAAAwAqQeE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MYKkHhAAVkAAAAAoJYldkAAA0VuZAAbAAAAAVgAAAAAxgqQeEABWQAAAACglvV1QAACU3RhcnRBcnJvd0hlYWQAEQAAAG1zb0Fycm93aGVhZE5vbmUAAkVuZEFycm93SGVhZAARAAAAbXNvQXJyb3doZWFkTm9uZQAFTWFuYWdlZElkABAAAAAEQl4q2f51gkq+I6ZUHRkvkg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hAAVdpZHRoAAAAAAAAAAAAAVRvcAAAAACglvV1QAFMZWZ0AAAAAMAKkHhACEZsaXBIb3Jpem9udGFsbHkAAAhGbGlwSG9yaXpvbnRhbGx5QXBwbGllZAAACEZsaXBWZXJ0aWNhbGx5AAEIRmxpcFZlcnRpY2FsbHlBcHBsaWVkAAABUm90YXRpb24AAAAAAAAAAAABWk9yZGVyAAAAAAAAAAAAA0JvcmRlckNvbG9yAFUAAAAQQQD/AAAAEFIAAAAAABBHAAAAAAAQQgAAAAAAAVNjQQAAAAAAAADwPxwAAAAFGwAAAB0AAADnDwAAAAAAAAAAAAA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ja2dyb3VuZENvbG9yAFUAAAAQQQD/AAAAEFIAlgAAABBHAJYAAAAQQgCWAAAAAVNjQQAAAAAAAADwPwFTY1IAAAAAgOmE0z8BU2NHAAAAAIDphNM/AVNjQgAAAACA6YTTPwADQ2VudGVyABsAAAABWAAAAIBxFGp3QAFZAAAAALYkTGVAAAhIYXNMZWFkZXJMaW5lAAAISXNDZW50ZXJBdXRvbWF0aWNBZGp1c3RlZAAACElzVXNlclBvc2l0aW9uAAADQ3VzdG9tTGFiZWxQb3NpdGlvbgDdAAAAAU9mZnNldDEAAAAAAAAAAAABT2Zmc2V0MgAAAAAAAAAAAANMYWJlbE9mZnNldFR5cGVzAEkAAAACT2Zmc2V0VHlwZTEAEQAAAFJlbGF0aXZlRGlzdGFuY2UAAk9mZnNldFR5cGUyABEAAABSZWxhdGl2ZURpc3RhbmNlAAADQW5jaG9yUG9zaXRpb25zAEoAAAACTGFiZWxBbmNob3JQb3NpdGlvbgAHAAAAQ2VudGVyAAJDaGFydFBvaW50QW5jaG9yUG9zaXRpb24ABwAAAENlbnRlcgAAAAhIYXNDdXN0b21Gb250Q29sb3IAAAJTZXBhcmF0b3IAAgAAAAoAAlRleHQAAgAAADMACFJlcXVpcmVSZWxhdGl2ZVBvc2l0aW9uVXBncmFkZQABCElzR2VvbWV0cnlPdXRPZkJvdW5kcwAACERlbGV0ZWQAAAADMTEAChcAABBQb2ludEluZGV4AAQAAAACQWxpZ25tZW50AAcAAABDZW50ZXIAEFNlcmllc0luZGV4AAMAAAAIUmVxdWlyZUZvbnRDb2xvck1pZ3JhdGlvbgAAA1RleHRCb3gAmwYAAAVNYW5hZ2VkSWQAEAAAAATJ2LGzXG2WTqliEiB2CFTYCEhhc0NoYW5nZXMAAAhVc2VOYW1lSW5zdGVhZE9mVGFnQXNJZAABCFNoYXBlUHJldmlvdXNseUNyZWF0ZWQAAQNGaWxsQ29sb3IAVQAAABBBAP8AAAAQUgCWAAAAEEcAlgAAABBCAJYAAAABU2NBAAAAAAAAAPA/AVNjUgAAAACA6YTTPwFTY0cAAAAAgOmE0z8BU2NCAAAAAIDphNM/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gAAADUAAlRleHRIb3Jpem9udGFsQWxpZ25tZW50AA4AAABtc29BbmNob3JOb25l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AAAAAhGb250SXRhbGljAAACRm9udE5hbWUABwAAACttbi1sdAABRm9udFNpemUAAAAAAAAAKEAIRm9udFN0cmlrZXRocm91Z2gAAAhGb250U3Vic2NyaXB0AAAIRm9udFN1cGVyc2NyaXB0AAAIRm9udFVuZGVybGluZQAAAAhTaXplVG9UZXh0V2lkdGgAAQhTaXplVG9UZXh0SGVpZ2h0AAEDVGV4dE1hcmdpbgA/AAAAAUxlZnQAAAAAwFqtBkABVG9wAAAAAMBarQZAAVJpZ2h0AAAAAMBarQZAAUJvdHRvbQAAAADAWq0GQAACRGlzcGxheVRleHQAAgAAADUAAUhlaWdodAAAAABgNeAyQAFXaWR0aAAAAABghHooQAFUb3AAAAAAgNCxVUABTGVmdAAAAAAgcoF/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QDhBgAAA1N0YXJ0ABsAAAABWAAAAADTGYuAQAFZAAAAAGDVJ2RAAANFbmQAGwAAAAFYAAAAANMZi4BAAVkAAAAAABDLdUAAAlN0YXJ0QXJyb3dIZWFkABEAAABtc29BcnJvd2hlYWROb25lAAJFbmRBcnJvd0hlYWQAEQAAAG1zb0Fycm93aGVhZE5vbmUABU1hbmFnZWRJZAAQAAAABAOwQ11SzfFIiGFSMm0afj0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CgSm5nQAFXaWR0aAAAAAAAAAAAAAFUb3AAAAAAYNUnZEABTGVmdAAAAADgGYuAQAhGbGlwSG9yaXpvbnRhbGx5AAAIRmxpcEhvcml6b250YWxseUFwcGxpZWQAAAhGbGlwVmVydGljYWxseQAACEZsaXBWZXJ0aWNhbGx5QXBwbGllZAAAAVJvdGF0aW9uAAAAAAAAAAAAAVpPcmRlcgAAAAAAAAAAAANCb3JkZXIdAAAABRwAAAArAAAA5w8AAAAAAAAAAAAA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NMZi4BAAVkAAAAAABD7dUAAA0VuZAAbAAAAAVgAAAAA0xmLgEABWQAAAAAAEMt1QAACU3RhcnRBcnJvd0hlYWQAEQAAAG1zb0Fycm93aGVhZE5vbmUAAkVuZEFycm93SGVhZAARAAAAbXNvQXJyb3doZWFkTm9uZQAFTWFuYWdlZElkABAAAAAEGn1iNddhdUyl9cNBMiqCv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hAAVdpZHRoAAAAAAAAAAAAAVRvcAAAAAAAEMt1QAFMZWZ0AAAAAOAZi4BACEZsaXBIb3Jpem9udGFsbHkAAAhGbGlwSG9yaXpvbnRhbGx5QXBwbGllZAAACEZsaXBWZXJ0aWNhbGx5AAE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CYWNrZ3JvdW5kQ29sb3IAVQAAABBBAP8AAAAQUgCWAAAAEEcAlgAAABBCAJYAAAABU2NBAAAAAAAAAPA/AVNjUgAAAACA6YTTPwFTY0cAAAAAgOmE0z8BU2NCAAAAAIDphNM/AANDZW50ZXIAGwAAAAFYAAAAgDFc439AAVkAAAAALNcNWEAACEhhc0xlYWRlckxpbmUAAAhJc0NlbnRlckF1dG9tYXRpY0FkanVzdGVkAAAISXNVc2VyUG9zaXRpb24AAANDdXN0b21MYWJlbFBvc2l0aW9uAN0AAAABT2Zmc2V0MQAAAAAAAAAAAAFPZmZzZXQyAAAAAAAAAAAAA0xhYmVsT2Zmc2V0VHlwZXMASQAAAAJPZmZzZXRUeXBlMQARAAAAUmVsYXRpdmVEaXN0YW5jZQACT2Zmc2V0VHlwZTIAEQAAAFJlbGF0aXZlRGlzdGFuY2UAAANBbmNob3JQb3NpdGlvbnMASgAAAAJMYWJlbEFuY2hvclBvc2l0aW9uAAcAAABDZW50ZXIAAkNoYXJ0UG9pbnRBbmNob3JQb3NpdGlvbgAHAAAAQ2VudGVyAAAACEhhc0N1c3RvbUZvbnRDb2xvcgAAAlNlcGFyYXRvcgACAAAACgACVGV4dAACAAAANQAIUmVxdWlyZVJlbGF0aXZlUG9zaXRpb25VcGdyYWRlAAEISXNHZW9tZXRyeU91dE9mQm91bmRzAAAIRGVsZXRlZAAAAAADVGV4dERlZmluaXRpb24AfQEAAANSb290RWxlbWVudABrAQAAAl90eXBlAIUAAABtaW8uQ29tbW9uLlBvd2VyUG9pbnQuTWFuYWdlZC5EYXRhLkRhdGFDaGFydHMuRGF0YUxhYmVscy5EYXRhLkJ1aWxkZXIuVGV4dFVuaXQuU2VwYXJhdG9yVW5pdERhdGEsIG1pby5Db21tb24uUG93ZXJQb2ludC5NYW5hZ2VkLkRhdGEAAlNlcGFyYXRvcgABAAAAAARDaGlsZHJlbgC8AAAAAzAAtAAAAAJfdHlwZQCBAAAAbWlvLkNvbW1vbi5Qb3dlclBvaW50Lk1hbmFnZWQuRGF0YS5EYXRhQ2hhcnRzLkRhdGFMYWJlbHMuRGF0YS5CdWlsZGVyLlRleHRVbml0LlZhbHVlVW5pdERhdGEsIG1pby5Db21tb24uUG93ZXJQb2ludC5NYW5hZ2VkLkRhdGEACFNob3dBYnNvbHV0ZVZhbHVlAAAEQ2hpbGRyZW4ABQAAAAAAAAAACExhYmVsc1Zpc2libGUAAQADU2Vjb25kYXJ5ALX6AAAERGF0YUxhYmVscwAH+QAAAzAAGBAAABBQb2ludEluZGV4AAEAAAACQWxpZ25tZW50AAcAAABDZW50ZXIAEFNlcmllc0luZGV4AAEAAAAIUmVxdWlyZUZvbnRDb2xvck1pZ3JhdGlvbgAAA1RleHRCb3gAnQYAAAVNYW5hZ2VkSWQAEAAAAAR6huhh06sfQ66kW2+l8i16CEhhc0NoYW5nZXMAAAhVc2VOYW1lSW5zdGVhZE9mVGFnQXNJZAABCFNoYXBlUHJldmlvdXNseUNyZWF0ZWQAAQNGaWxsQ29sb3IAVQAAABBBAP8AAAAQUgDdAAAAEEcA3QAAABBCAN0AAAABU2NBAAAAAAAAAPA/AVNjUgAAAACARCPnPwFTY0cAAAAAgEQj5z8BU2NCAAAAAIBEI+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gAAADMAAlRleHRIb3Jpem9udGFsQWxpZ25tZW50ABAAAABtc29BbmNob3JDZW50ZXI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HgAAAAT//////////wwAdwQAAAAAAAAAAAAAHwAAAAAAAQD/////4QDhAAAABV9pZAAQAAAABDyIrmOhjklFsUw0HoBL2bwDRGF0YQB3AAAACElzQWN0aXZlAAAISXNBY3RpdmVPblNlY29uZGFyeUF4aXMAAARVbmJyZWFrYWJsZVNlcmllc0luZGljZXMABQAAAAAEVW5icmVha2FibGVTZXJpZXNJbmRpY2VzT25TZWNvbmRhcnlBeGlzAAUAAAAAAAJOYW1lABsAAABBdXRvbWF0aWNCcmVha1NldHRpbmdzRGF0YQAQVmVyc2lvbgAAAAAACUxhc3RXcml0ZQCNhTxxdwEAAAACACEAAAAAAAMA/////3AAcAAAAAVfaWQAEAAAAARi106YN+1UQbBK7KJQzy1FA0RhdGEAFgAAAAJQZXJzb25hbElkAAEAAAAAAAJOYW1lAAsAAABQZXJzb25hbElkABBWZXJzaW9uAAAAAAAJTGFzdFdyaXRlADrsd5h8AQAAAAQAJAAAAAAABQD/////tQC1AAAABV9pZAAQAAAABNRV7qYM0MJKvqFZEPraKFEDRGF0YQBXAAAAAUxlZnQAAAAAAAAAAAABVG9wAAAAAAAAAAAAAVJpZ2h0AAAAAAAAAAAAAUJvdHRvbQAAAAAAAAAAAAFNYXJnaW5Ub0xlZ2VuZAAAAAAAAAAAAAACTmFtZQAPAAAAUGxvdEFyZWFCb3JkZXIAEFZlcnNpb24AAAAAAAlMYXN0V3JpdGUAOvm+92IBAAAABgAmAAAAAAAHAP////+aAJoAAAAFX2lkABAAAAAEy4uqvZSSDEW0f6mrOwE7DANEYXRhADgAAAAIQXJlTmVnYXRpdmVTdW1zQXRPdGhlckVuZAAACEFyZUNvbHVtblN1bXNWaXNpYmxlAAEAAk5hbWUAEwAAAENvbHVtblN1bXNTZXR0aW5ncwAQVmVyc2lvbgAAAAAACUxhc3RXcml0ZQBf+ZjYbQEAAAAIAP////+7ALsAAAAFX2lkABAAAAAEFWgBvqF1v0+lTq4mgMjvCgNEYXRhAEoAAAAIU2hvd05hbWUAAAhTaG93VmFsdWUAAAhTaG93UGVyY2VudGFnZQAAEFBlcmNlbnRhZ2VEZWNpbWFsUGxhY2VzAAAAAAAAAk5hbWUAIgAAAENhdGVnb3J5TGFiZWxTZXR0aW5nc0RhdGFQcm9wZXJ0eQAQVmVyc2lvbgAAAAAACUxhc3RXcml0ZQCo4qZsdAEAAAAJAP////9SAFIAAAAFX2lkABAAAAAEZSE91LErIUqKC+RxfsdYTwJOYW1lAAkAAABEYXRhTGluawAQVmVyc2lvbgABAAAACUxhc3RXcml0ZQDCA3iYfAEAAAAKAP////91AHUAAAAFX2lkABAAAAAEAoFv1F64fU21KCGwnlPz/QNEYXRhABIAAAAEQnJlYWtzAAUAAAAAAAJOYW1lABQAAABCcmVha01hbmFnZW1lbnREYXRhABBWZXJzaW9uAAAAAAAJTGFzdFdyaXRlAHiFPHF3AQAAAAsA/////+4G7gYAAAVfaWQAEAAAAAQsx1HYEuwhSIr9LO0l10M0A0RhdGEAigYAAANXaWdnbGVTaGFwZURhdGEAdAYAAAJBdXRvU2hhcGVUeXBlAAoAAABSZWN0YW5nbGUABU1hbmFnZWRJZAAQAAAABFC8472d/BZBtUfDsBlD/B0ISGFzQ2hhbmdlcwABCFVzZU5hbWVJbnN0ZWFkT2ZUYWdBc0lkAAEIU2hhcGVQcmV2aW91c2x5Q3JlYXRlZAABA0ZpbGxDb2xvcgBVAAAAEEEAAAAAABBSAP8AAAAQRwD/AAAAEEIA/wAAAAFTY0EAAAAAAAAAAAABU2NSAAAAAAAAAPA/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DwPwFXaWR0aAAAAAAAAADwPwFUb3AAAAAAYACnJEABTGVmdAAAAABgAKck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k5hbWUAFQAAAERhdGFDaGFydENvQXV0aG9yaW5nABBWZXJzaW9uAAAAAAAJTGFzdFdyaXRlAP0CeJh8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8AAAAF/////yAAAADnDwAAAAAAAAAAAACgGQAABV9pZAAQAAAABB/BQV+crstMnKxrOAf1Vw4DRGF0YQBFGQAAA1Nlcmllc1N0eWxlcwAuBAAAAzEAYAEAAAJTdHlsZQASAAAAeGxNYXJrZXJTdHlsZU5vbmUAEFNpemUACAAAAANDb2xvcgBVAAAAEEEA/wAAABBSAN0AAAAQRwDdAAAAEEIA3QAAAAFTY0EAAAAAAAAA8D8BU2NSAAAAAIBEI+c/AVNjRwAAAACARCPnPwFTY0IAAAAAgEQj5z8AAVRpbnQAAAAAAAAAAAADVGhlbWVDb2xvclBvc2l0aW9uALYAAAACX3R5cGUAUQAAAGVtcG93ZXIuQ2hhcnRzLkNvbW1vbi5Db2xvclRyYW5zbGF0aW9uLlRoZW1lQ29sb3JQb3NpdGlvbiwgZW1wb3dlci5DaGFydHMuQ29tbW9uABBUaGVtZUNvbG9yU2NoZW1lSW5kZXgABQAAAAJJbmRleAAHAAAATm9UaW50AAhJc0RlZmF1bHRDb2xvcgAAEERlZmF1bHRDb2xvckluZGV4AP////8AAAMyAGABAAACU3R5bGUAEgAAAHhsTWFya2VyU3R5bGVOb25lABBTaXplAAgAAAADQ29sb3IAVQAAABBBAP8AAAAQUgCyAAAAEEcAsgAAABBCALIAAAABU2NBAAAAAAAAAPA/AVNjUgAAAAAgLX7cPwFTY0cAAAAAIC1+3D8BU2NCAAAAACAtftw/AAFUaW50AAAAAAAAAAAAA1RoZW1lQ29sb3JQb3NpdGlvbgC2AAAAAl90eXBlAFEAAABlbXBvd2VyLkNoYXJ0cy5Db21tb24uQ29sb3JUcmFuc2xhdGlvbi5UaGVtZUNvbG9yUG9zaXRpb24sIGVtcG93ZXIuQ2hhcnRzLkNvbW1vbgAQVGhlbWVDb2xvclNjaGVtZUluZGV4AAYAAAACSW5kZXgABwAAAE5vVGludAAISXNEZWZhdWx0Q29sb3IAABBEZWZhdWx0Q29sb3JJbmRleAD/////AAADMwBgAQAAAlN0eWxlABIAAAB4bE1hcmtlclN0eWxlTm9uZQAQU2l6ZQAIAAAAA0NvbG9yAFUAAAAQQQD/AAAAEFIAlgAAABBHAJYAAAAQQgCWAAAAAVNjQQAAAAAAAADwPwFTY1IAAAAAgOmE0z8BU2NHAAAAAIDphNM/AVNjQgAAAACA6YTTPwABVGludAAAAAAAAAAAAANUaGVtZUNvbG9yUG9zaXRpb24AtgAAAAJfdHlwZQBRAAAAZW1wb3dlci5DaGFydHMuQ29tbW9uLkNvbG9yVHJhbnNsYXRpb24uVGhlbWVDb2xvclBvc2l0aW9uLCBlbXBvd2VyLkNoYXJ0cy5Db21tb24AEFRoZW1lQ29sb3JTY2hlbWVJbmRleAAHAAAAAkluZGV4AAcAAABOb1RpbnQACElzRGVmYXVsdENvbG9yAAAQRGVmYXVsdENvbG9ySW5kZXgA/////wAAAARQb2ludFN0eWxlcwC/FAAAAzAAtwEAAANQb2ludEFkZHJlc3MAMwAAABBTZXJpZXNJbmRleAABAAAAEFBvaW50SW5kZXgAAQAAAAhJc1BvaW50U3VtAAAAA01hcmtlclN0eWxlRGF0YQBgAQAAAlN0eWxlABIAAAB4bE1hcmtlclN0eWxlTm9uZQAQU2l6ZQAIAAAAA0NvbG9yAFUAAAAQQQD/AAAAEFIA3QAAABBHAN0AAAAQQgDdAAAAAVNjQQAAAAAAAADwPwFTY1IAAAAAgEQj5z8BU2NHAAAAAIBEI+c/AVNjQgAAAACARCPnPwABVGludAAAAAAAAAAAAANUaGVtZUNvbG9yUG9zaXRpb24AtgAAAAJfdHlwZQBRAAAAZW1wb3dlci5DaGFydHMuQ29tbW9uLkNvbG9yVHJhbnNsYXRpb24uVGhlbWVDb2xvclBvc2l0aW9uLCBlbXBvd2VyLkNoYXJ0cy5Db21tb24AEFRoZW1lQ29sb3JTY2hlbWVJbmRleAAFAAAAAkluZGV4AAcAAABOb1RpbnQACElzRGVmYXVsdENvbG9yAAAQRGVmYXVsdENvbG9ySW5kZXgA/////wAAAAMxALcBAAADUG9pbnRBZGRyZXNzADMAAAAQU2VyaWVzSW5kZXgAAQAAABBQb2ludEluZGV4AAIAAAAISXNQb2ludFN1bQAAAANNYXJrZXJTdHlsZURhdGEAYAEAAAJTdHlsZQASAAAAeGxNYXJrZXJTdHlsZU5vbmUAEFNpemUACAAAAANDb2xvcgBVAAAAEEEA/wAAABBSAN0AAAAQRwDdAAAAEEIA3QAAAAFTY0EAAAAAAAAA8D8BU2NSAAAAAIBEI+c/AVNjRwAAAACARCPnPwFTY0IAAAAAgEQj5z8AAVRpbnQAAAAAAAAAAAADVGhlbWVDb2xvclBvc2l0aW9uALYAAAACX3R5cGUAUQAAAGVtcG93ZXIuQ2hhcnRzLkNvbW1vbi5Db2xvclRyYW5zbGF0aW9uLlRoZW1lQ29sb3JQb3NpdGlvbiwgZW1wb3dlci5DaGFydHMuQ29tbW9uABBUaGVtZUNvbG9yU2NoZW1lSW5kZXgABQAAAAJJbmRleAAHAAAATm9UaW50AAhJc0RlZmF1bHRDb2xvcgAAEERlZmF1bHRDb2xvckluZGV4AP////8AAAADMgC3AQAAA1BvaW50QWRkcmVzcwAzAAAAEFNlcmllc0luZGV4AAEAAAAQUG9pbnRJbmRleAADAAAACElzUG9pbnRTdW0AAAADTWFya2VyU3R5bGVEYXRhAGABAAACU3R5bGUAEgAAAHhsTWFya2VyU3R5bGVOb25lABBTaXplAAgAAAADQ29sb3IAVQAAABBBAP8AAAAQUgDdAAAAEEcA3QAAABBCAN0AAAABU2NBAAAAAAAAAPA/AVNjUgAAAACARCPnPwFTY0cAAAAAgEQj5z8BU2NCAAAAAIBEI+c/AAFUaW50AAAAAAAAAAAAA1RoZW1lQ29sb3JQb3NpdGlvbgC2AAAAAl90eXBlAFEAAABlbXBvd2VyLkNoYXJ0cy5Db21tb24uQ29sb3JUcmFuc2xhdGlvbi5UaGVtZUNvbG9yUG9zaXRpb24sIGVtcG93ZXIuQ2hhcnRzLkNvbW1vbgAQVGhlbWVDb2xvclNjaGVtZUluZGV4AAUAAAACSW5kZXgABwAAAE5vVGludAAISXNEZWZhdWx0Q29sb3IAABBEZWZhdWx0Q29sb3JJbmRleAD/////AAAAAzMAtwEAAANQb2ludEFkZHJlc3MAMwAAABBTZXJpZXNJbmRleAABAAAAEFBvaW50SW5kZXgABAAAAAhJc1BvaW50U3VtAAAAA01hcmtlclN0eWxlRGF0YQBgAQAAAlN0eWxlABIAAAB4bE1hcmtlclN0eWxlTm9uZQAQU2l6ZQAIAAAAA0NvbG9yAFUAAAAQQQD/AAAAEFIA3QAAABBHAN0AAAAQQgDdAAAAAVNjQQAAAAAAAADwPwFTY1IAAAAAgEQj5z8BU2NHAAAAAIBEI+c/AVNjQgAAAACARCPnPwABVGludAAAAAAAAAAAAANUaGVtZUNvbG9yUG9zaXRpb24AtgAAAAJfdHlwZQBRAAAAZW1wb3dlci5DaGFydHMuQ29tbW9uLkNvbG9yVHJhbnNsYXRpb24uVGhlbWVDb2xvclBvc2l0aW9uLCBlbXBvd2VyLkNoYXJ0cy5Db21tb24AEFRoZW1lQ29sb3JTY2hlbWVJbmRleAAFAAAAAkluZGV4AAcAAABOb1RpbnQACElzRGVmYXVsdENvbG9yAAAQRGVmYXVsdENvbG9ySW5kZXgA/////wAAAAM0ALcBAAADUG9pbnRBZGRyZXNzADMAAAAQU2VyaWVzSW5kZXgAAgAAABBQb2ludEluZGV4AAEAAAAISXNQb2ludFN1bQAAAANNYXJrZXJTdHlsZURhdGEAYAEAAAJTdHlsZQASAAAAeGxNYXJrZXJTdHlsZU5vbmUAEFNpemUACAAAAANDb2xvcgBVAAAAEEEA/wAAABBSALIAAAAQRwCyAAAAEEIAsgAAAAFTY0EAAAAAAAAA8D8BU2NSAAAAACAtftw/AVNjRwAAAAAgLX7cPwFTY0IAAAAAIC1+3D8AAVRpbnQAAAAAAAAAAAADVGhlbWVDb2xvclBvc2l0aW9uALYAAAACX3R5cGUAUQAAAGVtcG93ZXIuQ2hhcnRzLkNvbW1vbi5Db2xvclRyYW5zbGF0aW9uLlRoZW1lQ29sb3JQb3NpdGlvbiwgZW1wb3dlci5DaGFydHMuQ29tbW9uABBUaGVtZUNvbG9yU2NoZW1lSW5kZXgABgAAAAJJbmRleAAHAAAATm9UaW50AAhJc0RlZmF1bHRDb2xvcgAAEERlZmF1bHRDb2xvckluZGV4AP////8AAAADNQC3AQAAA1BvaW50QWRkcmVzcwAzAAAAEFNlcmllc0luZGV4AAIAAAAQUG9pbnRJbmRleAACAAAACElzUG9pbnRTdW0AAAADTWFya2VyU3R5bGVEYXRhAGABAAACU3R5bGUAEgAAAHhsTWFya2VyU3R5bGVOb25lABBTaXplAAgAAAADQ29sb3IAVQAAABBBAP8AAAAQUgCyAAAAEEcAsgAAABBCALIAAAABU2NBAAAAAAAAAPA/AVNjUgAAAAAgLX7cPwFTY0cAAAAAIC1+3D8BU2NCAAAAACAtftw/AAFUaW50AAAAAAAAAAAAA1RoZW1lQ29sb3JQb3NpdGlvbgC2AAAAAl90eXBlAFEAAABlbXBvd2VyLkNoYXJ0cy5Db21tb24uQ29sb3JUcmFuc2xhdGlvbi5UaGVtZUNvbG9yUG9zaXRpb24sIGVtcG93ZXIuQ2hhcnRzLkNvbW1vbgAQVGhlbWVDb2xvclNjaGVtZUluZGV4AAYAAAACSW5kZXgABwAAAE5vVGludAAISXNEZWZhdWx0Q29sb3IAABBEZWZhdWx0Q29sb3JJbmRleAD/////AAAAAzYAtwEAAANQb2ludEFkZHJlc3MAMwAAABBTZXJpZXNJbmRleAACAAAAEFBvaW50SW5kZXgAAwAAAAhJc1BvaW50U3VtAAAAA01hcmtlclN0eWxlRGF0YQBgAQAAAlN0eWxlABIAAAB4bE1hcmtlclN0eWxlTm9uZQAQU2l6ZQAIAAAAA0NvbG9yAFUAAAAQQQD/AAAAEFIAsgAAABBHALIAAAAQQgCyAAAAAVNjQQAAAAAAAADwPwFTY1IAAAAAIC1+3D8BU2NHAAAAACAtftw/AVNjQgAAAAAgLX7cPwABVGludAAAAAAAAAAAAANUaGVtZUNvbG9yUG9zaXRpb24AtgAAAAJfdHlwZQBRAAAAZW1wb3cgAAAABR8AAAD/////uQkuBgAAAAAAAAAAZXIuQ2hhcnRzLkNvbW1vbi5Db2xvclRyYW5zbGF0aW9uLlRoZW1lQ29sb3JQb3NpdGlvbiwgZW1wb3dlci5DaGFydHMuQ29tbW9uABBUaGVtZUNvbG9yU2NoZW1lSW5kZXgABgAAAAJJbmRleAAHAAAATm9UaW50AAhJc0RlZmF1bHRDb2xvcgAAEERlZmF1bHRDb2xvckluZGV4AP////8AAAADNwC3AQAAA1BvaW50QWRkcmVzcwAzAAAAEFNlcmllc0luZGV4AAIAAAAQUG9pbnRJbmRleAAEAAAACElzUG9pbnRTdW0AAAADTWFya2VyU3R5bGVEYXRhAGABAAACU3R5bGUAEgAAAHhsTWFya2VyU3R5bGVOb25lABBTaXplAAgAAAADQ29sb3IAVQAAABBBAP8AAAAQUgCyAAAAEEcAsgAAABBCALIAAAABU2NBAAAAAAAAAPA/AVNjUgAAAAAgLX7cPwFTY0cAAAAAIC1+3D8BU2NCAAAAACAtftw/AAFUaW50AAAAAAAAAAAAA1RoZW1lQ29sb3JQb3NpdGlvbgC2AAAAAl90eXBlAFEAAABlbXBvd2VyLkNoYXJ0cy5Db21tb24uQ29sb3JUcmFuc2xhdGlvbi5UaGVtZUNvbG9yUG9zaXRpb24sIGVtcG93ZXIuQ2hhcnRzLkNvbW1vbgAQVGhlbWVDb2xvclNjaGVtZUluZGV4AAYAAAACSW5kZXgABwAAAE5vVGludAAISXNEZWZhdWx0Q29sb3IAABBEZWZhdWx0Q29sb3JJbmRleAD/////AAAAAzgAtwEAAANQb2ludEFkZHJlc3MAMwAAABBTZXJpZXNJbmRleAADAAAAEFBvaW50SW5kZXgAAQAAAAhJc1BvaW50U3VtAAAAA01hcmtlclN0eWxlRGF0YQBgAQAAAlN0eWxlABIAAAB4bE1hcmtlclN0eWxlTm9uZQAQU2l6ZQAIAAAAA0NvbG9yAFUAAAAQQQD/AAAAEFIAlgAAABBHAJYAAAAQQgCWAAAAAVNjQQAAAAAAAADwPwFTY1IAAAAAgOmE0z8BU2NHAAAAAIDphNM/AVNjQgAAAACA6YTTPwABVGludAAAAAAAAAAAAANUaGVtZUNvbG9yUG9zaXRpb24AtgAAAAJfdHlwZQBRAAAAZW1wb3dlci5DaGFydHMuQ29tbW9uLkNvbG9yVHJhbnNsYXRpb24uVGhlbWVDb2xvclBvc2l0aW9uLCBlbXBvd2VyLkNoYXJ0cy5Db21tb24AEFRoZW1lQ29sb3JTY2hlbWVJbmRleAAHAAAAAkluZGV4AAcAAABOb1RpbnQACElzRGVmYXVsdENvbG9yAAAQRGVmYXVsdENvbG9ySW5kZXgA/////wAAAAM5ALcBAAADUG9pbnRBZGRyZXNzADMAAAAQU2VyaWVzSW5kZXgAAwAAABBQb2ludEluZGV4AAIAAAAISXNQb2ludFN1bQAAAANNYXJrZXJTdHlsZURhdGEAYAEAAAJTdHlsZQASAAAAeGxNYXJrZXJTdHlsZU5vbmUAEFNpemUACAAAAANDb2xvcgBVAAAAEEEA/wAAABBSAJYAAAAQRwCWAAAAEEIAlgAAAAFTY0EAAAAAAAAA8D8BU2NSAAAAAIDphNM/AVNjRwAAAACA6YTTPwFTY0IAAAAAgOmE0z8AAVRpbnQAAAAAAAAAAAADVGhlbWVDb2xvclBvc2l0aW9uALYAAAACX3R5cGUAUQAAAGVtcG93ZXIuQ2hhcnRzLkNvbW1vbi5Db2xvclRyYW5zbGF0aW9uLlRoZW1lQ29sb3JQb3NpdGlvbiwgZW1wb3dlci5DaGFydHMuQ29tbW9uABBUaGVtZUNvbG9yU2NoZW1lSW5kZXgABwAAAAJJbmRleAAHAAAATm9UaW50AAhJc0RlZmF1bHRDb2xvcgAAEERlZmF1bHRDb2xvckluZGV4AP////8AAAADMTAAtwEAAANQb2ludEFkZHJlc3MAMwAAABBTZXJpZXNJbmRleAADAAAAEFBvaW50SW5kZXgAAwAAAAhJc1BvaW50U3VtAAAAA01hcmtlclN0eWxlRGF0YQBgAQAAAlN0eWxlABIAAAB4bE1hcmtlclN0eWxlTm9uZQAQU2l6ZQAIAAAAA0NvbG9yAFUAAAAQQQD/AAAAEFIAlgAAABBHAJYAAAAQQgCWAAAAAVNjQQAAAAAAAADwPwFTY1IAAAAAgOmE0z8BU2NHAAAAAIDphNM/AVNjQgAAAACA6YTTPwABVGludAAAAAAAAAAAAANUaGVtZUNvbG9yUG9zaXRpb24AtgAAAAJfdHlwZQBRAAAAZW1wb3dlci5DaGFydHMuQ29tbW9uLkNvbG9yVHJhbnNsYXRpb24uVGhlbWVDb2xvclBvc2l0aW9uLCBlbXBvd2VyLkNoYXJ0cy5Db21tb24AEFRoZW1lQ29sb3JTY2hlbWVJbmRleAAHAAAAAkluZGV4AAcAAABOb1RpbnQACElzRGVmYXVsdENvbG9yAAAQRGVmYXVsdENvbG9ySW5kZXgA/////wAAAAMxMQC3AQAAA1BvaW50QWRkcmVzcwAzAAAAEFNlcmllc0luZGV4AAMAAAAQUG9pbnRJbmRleAAEAAAACElzUG9pbnRTdW0AAAADTWFya2VyU3R5bGVEYXRhAGABAAACU3R5bGUAEgAAAHhsTWFya2VyU3R5bGVOb25lABBTaXplAAgAAAADQ29sb3IAVQAAABBBAP8AAAAQUgCWAAAAEEcAlgAAABBCAJYAAAABU2NBAAAAAAAAAPA/AVNjUgAAAACA6YTTPwFTY0cAAAAAgOmE0z8BU2NCAAAAAIDphNM/AAFUaW50AAAAAAAAAAAAA1RoZW1lQ29sb3JQb3NpdGlvbgC2AAAAAl90eXBlAFEAAABlbXBvd2VyLkNoYXJ0cy5Db21tb24uQ29sb3JUcmFuc2xhdGlvbi5UaGVtZUNvbG9yUG9zaXRpb24sIGVtcG93ZXIuQ2hhcnRzLkNvbW1vbgAQVGhlbWVDb2xvclNjaGVtZUluZGV4AAcAAAACSW5kZXgABwAAAE5vVGludAAISXNEZWZhdWx0Q29sb3IAABBEZWZhdWx0Q29sb3JJbmRleAD/////AAAAAAhTdXBwcmVzc01hcmtlcnMAAAhSZXF1aXJlTWFudWFsVXBncmFkZU9uRmlyc3RUaW1lUmVhZAAAAAJOYW1lAAwAAABNYXJrZXJzRGF0YQAQVmVyc2lvbgABAAAACUxhc3RXcml0ZQDaAniYf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IQAAAAX/////IgAAAOcPAAAAAAAAAAAAAIopAAAFX2lkABAAAAAE2yzPcy73cEmfgxMZZNAuKwNEYXRhAC8pAAAFRGF0YQAfKQAAAFBLAwQUAAYACAAAACEANzG9kXsBAACEBQAAEwAIAltDb250ZW50X1R5cGVzXS54bWw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FRLb8IwDL5P2n+ocp1oYIdpmigc9jhuSLAfEBq3jWiTKDYM/v3c8NA0ARWCS6Mm8fewHQ/H66ZOVhDQOJuJQdoXCdjcaWPLTHzPPnrPIkFSVqvaWcjEBlCMR/d3w9nGAyYcbTETFZF/kRLzChqFqfNg+aRwoVHEv6GUXuULVYJ87PefZO4sgaUetRhiNHyDQi1rSt7XvL1VMjdWJK/bey1VJpT3tckVsVC5svofSc8VhclBu3zZMHSKPoDSWAFQU6c+GGYMUyBiYyjkUc4ANV5GunOVcmQUhpXx+MDWTzC0J6dd7eK+uBzBaEgmKtCnati7XNfyx4XF3LlFeh7k0tTEFKWNMnav+wx/vIwyLoMbC2n9ReAOHcQ9BjJ+r5cQYToIkTY14K3THkG7mCsVQE+Ju7e8uYC/2F0pV3POgKR2uXXZI+g5fn7Sk+A88tQIcHkV9k+0je55BoJABg6P9FizHxh55FxddmhnmgZ9hFvGGTr6BQAA//8DAFBLAwQUAAYACAAAACEAtVUwI/QAAABMAgAACwAIAl9yZWxzLy5yZWxz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ySTU/DMAyG70j8h8j31d2QEEJLd0FIuyFUfoBJ3A+1jaMkG92/JxwQVBqDA0d/vX78ytvdPI3qyCH24jSsixIUOyO2d62Gl/pxdQcqJnKWRnGs4cQRdtX11faZR0p5KHa9jyqruKihS8nfI0bT8USxEM8uVxoJE6UchhY9mYFaxk1Z3mL4rgHVQlPtrYawtzeg6pPPm3/XlqbpDT+IOUzs0pkVyHNiZ9mufMhsIfX5GlVTaDlpsGKecjoieV9kbMDzRJu/E/18LU6cyFIiNBL4Ms9HxyWg9X9atDTxy515xDcJw6vI8MmCix+o3gEAAP//AwBQSwMEFAAGAAgAAAAhAH7yfEmtAwAATggAAA8AAAB4bC93b3JrYm9vay54bWysVl1vozgUfV9p/wNr9ZWC+QqgklFSUm2k7qpKOzMvkSIHnGAVbNY2Tbqj+e97TUKatvvQndkoAWzj43PuPdfO1ad9U1tPVComeIbwpYssygtRMr7N0OeHGztGltKEl6QWnGbomSr0afzrL1c7IR/XQjxaAMBVhiqt29RxVFHRhqhL0VIOIxshG6KhKbeOaiUlpaoo1U3teK4bOQ1hHB0QUvkRDLHZsILmougayvUBRNKaaKCvKtaqAa0pPgLXEPnYtXYhmhYg1qxm+rkHRVZTpPMtF5Ksa5C9x6G1l/CN4IdduHjDSjD0bqmGFVIosdGXAO0cSL/Tj10H41ch2L+PwceQAkfSJ2ZyeGIlox9kFZ2wohcw7P40GgZr9V5JIXg/iBaeuHlofLVhNf1ysK5F2vZP0phM1ciqidKzkmlaZmgETbGjLx2gSnbttGM1jHp+6LvIGZ/sfCctcD89YOWMKjqRa8q0amAFat4EY0xqTSUnml4LrsGHR10/67ke+7oS4HBrQf/qmKRQWOAv0ApXUqRkre6IrqxO1hm6TpefFchfKk3bivDlpG1zosnyVhSkXj7Qpl3G7iaJIkwIdeNgHSYk8IJwE7oR9Ufu2i+WZy4m70vmP/iYFCY4DkTnoODw/DZSIESmg1fvtLTgeZ7fQr7uyRNkDzxSHot7DunB/ooXMsWrb3iUx7Nkktj+CEd2ML2e2tMg8e08TtwRzmP/ZuJ/BzEySgtBOl0djWGgMxQYK78d+oPshxHsph0rX2h8c48f29zfXIax70aw2QK/MLpTLxYyTUtVYndvtroHyFmva/+V8VLsMhQHkFHreWhiP4Hmrh/8ykpdZSiJvVPX75RtK5AQehH0abJemM0OiIe9Js8Qz9ArwvmB8A18bHN5Rdg5Y9zvxcC8v1u8r585bzsNe77h3qcAyiU1S8h5ifsUD7NKumGclqZUAOOsdURqmFgVFZFarYB2TVfSKFmthdaiMVUJLu1DZJaBxFesLKk5hNC4J/HbRX4RXjlnwP+2iuRbk7eF2J2mBelF8JF5pkLg6IAqrruGn6bP0ovZm+nnJEArEC/MRgG3PkQxdr3ExEbU9J79TcHVmwxNcJqHptfsUwtaCDhmn2EauFMcm0Y3vED3+lbp/g6lzSCdOHAnIzcJbHfmh3YQJ54dB75nXwe5NwtHs3w2DY3dzdmb/h8nUL/DpMOhbsSZzD1IUjzCX4EF3UyJgvo8OAD4QnkPrJ1h1vgfAAAA//8DAFBLAwQUAAYACAAAACEAgT6Ul/MAAAC6Ag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FJNS8QwEL0L/ocwd5t2FRHZdC8i7FXrDwjJtCnbJiEzfvTfGyq6XVjWSy8Db4Z5783Hdvc1DuIDE/XBK6iKEgR6E2zvOwVvzfPNAwhi7a0egkcFExLs6uur7QsOmnMTuT6SyCyeFDjm+CglGYejpiJE9LnShjRqzjB1Mmpz0B3KTVney7TkgPqEU+ytgrS3tyCaKWbl/7lD2/YGn4J5H9HzGQlJPA15ANHo1CEr+MFF9gjyvPxmTXnOa8Gj+gzlHKtLHqo1PXyGdCCHyEcffymSc+WimbtV7+F0QvvKKb/b8izL9O9m5MnH1d8AAAD//wMAUEsDBBQABgAIAAAAIQB3WcQ5agMAAJMJAAAYAAAAeGwvd29ya3NoZWV0cy9zaGVldDEueG1stFbbjpswEH2v1H9Afl9uITcUstpNVDUPrVZNL88OmMRawNR2bq367x3bgQDJtulKjRIgnvGZc2aGgcn9Ic+sHeGCsiJCnu0iixQxS2ixjtCXz+/uRsgSEhcJzlhBInQkAt1P376Z7Bl/FhtCpAUIhYjQRsoydBwRb0iOhc1KUoAlZTzHEv7ytSNKTnCiN+WZ47vuwMkxLZBBCPktGCxNaUzmLN7mpJAGhJMMS+AvNrQUFVoe3wKXY/68Le9ilpcAsaIZlUcNiqw8DhfrgnG8ykD3wQtwbB04fH349aowev0iUk5jzgRLpQ3IjuF8KX/sjB0c10iX+m+C8QKHkx1VBTxD+a+j5PVrLP8M1nsl2KAGU+ni4ZYmEfrpnj53cPbUwT0fKtsvNJ3oPnniFjQj+YhzqMFStduiKLcSOdNJQqEDlGqLkzRCD14476t1ve8rJXvRuLYkXi1JRmJJgIOHLNW+K8aeleMCllwVUTsoRBxLuiMzkmURehzAHfBdx4BLCODUEZrXVbR3uuGBd0JSvM3kjGXfaCI3ERrb3mjYR5XhE9u/J3S9kcBniKx4KyTL6xVImOq4MDnOiYih1YGircPHLINYcLRyqm5Z6FR8MJpMHC+wPR/iCHlUnQuFNNgnGp7SUG8Hq94O532b5mk74P9hOxTWRB/0RsHLECprhrfO3RxLPJ1wtreg5yGAKLGaIF4IEHCGowlpcqldVJr8msvf0gQCFfSDwo4QkITdAiq8m7oTZ6fInDwejQdErD28tsfs0sNve8wvPXq1hwMqa6mQ5KbUqyJv74VKpELVZa4lBB2RxsPTCThT0ymaNW2+3dk5b1mvi4Ls/gdRCrUtqt8RZTyMKN/uWGdNa2AH1WAx567KFtR1lSIAAAAFIQAAACMAAADnDwAAAAAAAAAAAACqMxtdqu/anj1+4TatSmP6GZJYl2bQUWE8TqW5UNG0evao03etvddpqzHw77TVrnbyhx3axsPQ7mRz1rT5F6Sb1nPRzG1iJquZDiVekw+Yr2khrIykev7BmORmYro2XEtWqqk4HA0D1+sPg7H5wLxeMQnD9AXjBl5CCEwH14a6p4zJ6g9MKRV1SeS2tEpcEr6kP2CCQpUZpzCD9VtGhErGJcdUAptQPdL4ItFDFZ4xGXnCXAp4aG3VyFYJqlfP3r5+jJzdYSDVr1PT3wAAAP//AwBQSwMEFAAGAAgAAAAhAH63Tj5qBAAAnA8AABMAAAB4bC90aGVtZS90aGVtZTEueG1szFdbb6M4FH5faf+DxTsNd0LVdEQgaFea1UrbGe2zy31qIMJOLxr1v8+xTQCHdDvT7UiTvID5fPz5XL5jX314bAi6z3tad+1GMy8MDeVt2mV1W260z58Sfa0hynCbYdK1+UZ7yqn24fr3367wJavyJkcwv6WXeKNVjO0vVyuawjCmF90+b+Fb0fUNZvDal6usxw9gtyEryzC8VYPrVkMtbsDs30VRpzn6xE1q10fjOwKvLaN8ICX9DTedKzMENrszOYL25W1EenSPyUYzxE9bXV+t8OUAIGyJS8RvwA2A7M5a2HMc1/HC0Z4AELbE7fydt/NGewKA0xR2sVzbcXwrcgbsDCQfz9iO/dg2FfzMvr3gHLr8r+AFSNp3FvgkicBrCl6AJN5d4N1tsI1V+wIk8d4C7xth7PiKfQGqSN3eLSPoenZ03O0IKTryx1l44DqJbw3GJxREf8wcvkTRtUzJo5u87GTKNfhL1yfwneMIZnWL2NM+L3AKCSpg6POf6GNdVowvgy9zPAPIoZSeDMH6it2mbl9f5MfMTxZhsWl/YreNullZZqJoipqQG/ZE8o9UbJh2pM4SGBSBEJU2FtO+gsfBtQqu7LGYg/qO/Vuz6qbCe3CWKVYo6WC6pGjfUahJMSwEIj+xLVx+aP7qMlm+psnrV/qBYjaNG+44DgFiEu35U96O5kXll0I7jgT43B8hMVtMJWGfIeEfByEK/0VC7OxdWARnWKy5+WOojlEcXQHUxqhAFSHMVd51pFYimmKSZzxOUjaP0eXBeddIv+RMMs8AA5rEkAFTpAPO9cXt8d3JVPuOSCskZummkpilYYWzfMjOeXN5z1gHU0gVetwVx2qYaPjrnxFrLiIn2kDauVKQFj1sNM924ayQ4v1GK0As4bHZQ+7QttQQJiUcJlLWy4J/i7Lse8piTCvpcCE6Ug2amuU9InWz0fj2x2wgrdAQwc20QBB+WXIByMqvRg6CrgY5L4o8ZfOwz0ZE8xMAUHipFWe/iulvB/OZ3QHCfVNlD+iWHPp/MKSY65vcgVlNGbQa6c2s7mdCNuXfSWMaZPfMQZGvhcm+wkNHmYu5hAsRHemIN7lp0eXAgYoL1PehEd6WvMH+7677eqvmu5mJ5tQzFVXhXfO8mP68Jj9jNTVRhZWUbnHAopPWBUetg0Q92yVe6brf0RBm1KbFFGqc8VKGuWYPoyq1dzwQzDzhveC3sUec9cRbOz/MO81a3iCO50pRBuIiOL+rdbdfQDxiODofCKPyrPzIegyHPnn2lrIBJfPIhtKAJ3To64321XBDJ7LcSDfW7k53bMfQ125o66Hr2ubONY14az1DY2FVY7ryEprgpiZPw1VUjC+uo02d9h3tCnaRds2qE9fNlSAurqOm9fJ1FNUgOl89KwnsYOvpgR0muhNv13oQeVs99iI/TuLIXQfJs4buBdgJ7cjxdmvdM6NIdzyD018Huu9YVuj44XrnhM/DMQZ2LsVk8AW4V/C6/gYAAP//AwBQSwMEFAAGAAgAAAAhAPm2m1zaBAAARBEAAA0AAAB4bC9zdHlsZXMueG1s7Fhtb9s2EP4+YP+B0HdFL5Zky7BcxHEEFOiKYkmBfaVlyiZKkQZFJXaH/vceqVe3ceI4xYYBswOZpI4Pj8e7546ZvdsXDD0QWVLBE8u7ci1EeCbWlG8S6/N9ak8sVCrM15gJThLrQErr3fz332alOjBytyVEIYDgZWJtldpNHafMtqTA5ZXYEQ5vciELrKArN065kwSvSz2pYI7vupFTYMqtGmFaZOeAFFh+qXZ2JoodVnRFGVUHg2WhIpu+33Ah8YqBqnsvwBnae5H00V7CX9wuZN78tFZBMylKkasrwHZEntOM/Kxy7MQOznokQL8MyQsd1z/a/15eiBQ4kjxQfYSdXjK+ECvqsGJrPssFVyXKRMVVYo0AXdt0+oWLR57qV+AyjdR8Vn5FD5jBiGc581kmmJBIgS/AUZgRjgtSS9yRjSDo83stl+OCskM97usB4z+NYEHhNPWgoxWp1ZnPVlrq7MWuJcXsyZWOQH8hoMEtQVvKWGe8QNsJBuYzcFtFJE+hg5r2/WEHVuIQYfVmjdwL0huJD54fnj+hFIyutRabG3M2crNKrDRdmo+GWTUvKF+TPVknVhQY9IHC+iTOUe7EWteR/r52LbMk2HMl5BqYqnVH7Xn10HzGSK5gB5JutvpXiZ3ej1AKInk+W1O8ERwz7UjtjKYBsBlh7E6z2V/5EfY+R7wq0kK9B1MAL2oXbJtgg6ZZ49UdjT9Eq7EHsCGo/HpYtM87/FOzfdDvaaW62QjvduzwsSpWRKaGlXVg1qM6mAc9QOp714xueEGGAp+kUCRTdc6APeFWBG2FpF8BTBOBOQ1LZxdFMz2QAQip43mfn7YEKNXuBbY1NPC/txftYG/bCrDn/1vp/O2f8TATjRB/gyA/CvEuWJFOTon1UYcFgzTXBBxaVZQpyptYz6oSCGVRjzVZrQ94WGW97ylEEz70e46q6QiqKaCaxFJbKHzaNIkrJVq8WmzIVAbFPOosuKqzpat5lA7adcodYjVZ88e001N9kwNuUv09SfYtZ7aR/OQemlQPRAkGAzKx3asgjuNJMA7ccRD6kcnuTosxn/VU8Ra8HuVyk3WqDyqN51P1j/ltYPQ2izam9fxRGt3+EtNGA9P6YNsgCmM/cieBN3ZNhfVq476MeJ55L/e8dKy/L5rnmdg50+/asPqP+bCjKQUKGn2lMUXKgL/QmuS4Yuq+e5lYffsPsqZVAQm0kfpEH4QyEInVtz/oismLgIn6JRoyJMVOPBKJsi2WqrTQTgOYSqi5DwRAlDKeVhTqo7/d5mO7rufBw3XtFD7m4Xr1y29Hy9wyuBtwhZQpfh+3ghGjPWhc8+9Iu0Wv1rH8Fm6SRP4pHjtxwy+nxHMqSwV1b1XAHanBNzFzagLDpboXUMfcQHnYTTGc6/RzgHMGR9PQOZxXIStTZOvMMyy2ezY4Gva98SgwdbEzmOkYGYAge/WhhOsP/KJKUrD27WIcL29T3564i4kdjEhox+FiaYfBzWK5TGPXd2++Da67b7jsmhs6FGteMC0ZXIll44aNW931Y4k16NSOZQIb1B7qrjnrOvTAP0auZwcRntiTaBTaaej5yyhY3IZpONA9vPAi6zqeV1+vtfLhVNGCMMrbKGpjZzgK4QPdZzbhtCfh9P/+mH8HAAD//wMAUEsDBBQABgAIAAAAIQDF8kSxzQAAAHYBAAAUAAAAeGwvc2hhcmVkU3RyaW5ncy54bWx0kN2KwjAQhe8XfIcw95rqiiySxAvBF9jdBwjt2AaaSc1MRd9+s4IKSi/Pz5wPxuwusVdnzBwSWVguKlBIdWoCtRZ+fw7zL1AsnhrfJ0ILV2TYudmHYRZVboktdCLDVmuuO4yeF2lAKskx5eilyNxqHjL6hjtEib1eVdVGRx8IVJ1GEgsFMlI4jbi/a2c4OHNDbHnwdUGXDcZ8RnDKaHFG/zduLfeNOSCr5YS/mvA/X/29F2xTvr4vPZK3rUcyvbZ+cnT5m/sDAAD//wMAUEsDBBQABgAIAAAAIQBBv/hg2QAAAMoBAAAjAAAAeGwvd29ya3NoZWV0cy9fcmVscy9zaGVldDEueG1sLnJlbHOskcFOwzAMQO9I/EPkO0m7A0Jo6S4IaVcYH+ClbhvROlFsEPt7gnah0yQunCzb8vOTvd19LbP5pCIxsYfWNmCIQ+ojjx7eDs93D2BEkXucE5OHEwnsutub7QvNqHVIppjFVAqLh0k1PzonYaIFxaZMXDtDKgtqTcvoMoZ3HMltmubeld8M6FZMs+89lH2/AXM45br5b3YahhjoKYWPhVivrHCKx5kqEMtI6sHac0XOobVVFtx1j/Y/PXKJrFReSbUeWlZGFz13kbf2GPlH0q0+0H0DAAD//wMAUEsDBBQABgAIAAAAIQD6QITMtwEAAOwEAAAnAAAAeGwvcHJpbnRlclNldHRpbmdzL3ByaW50ZXJTZXR0aW5nczEuYmlu7FOxbtRAEH3ORYiIgqNPgehPSshBSHk+29FF57Nl+xDtJjcE6za71tqOCIieT4j4EX6GFgkkSnp4NmmIEAgpBQUreXbevjczHq8nh8IZarQwOMV9xJhjhId4gkfYIc4hcChpa6IUU/KP6U2h0S1vc3DrA4ab0/fY8LCFd3fGt1fwcBfPiD3aAVUTjHv1zRjvKk23b/C5R+cb1+Es/6lMMFssH+DS+zrYxpfPnz7+rvqw6+Wa4Dq+wRb+p/oHv8Df3PclxXlcHHVtDPHWe40DRNjl1Iyxj5D7iJ7PGYp6b5fcMT2fzD7na4Q9ztGEpwfUBER7RAHn7g0zzkzVNn5pMFkWCbIwD+ZzLE3ppO68xJViGtWU1iBNsiKbzApMrdaqESRRhFhWpSouKkHqStOIC+S5anWDI3ucybm4WoK20vKyV/OwsEZcrs5/hPMgX5eVr5VZp+pU6l6WSW112xddWHemNFJVMap8JZiHRRFmuEq6SBYhSQam5F+INOyzw4lbiUPkrGkK66uTNXxr15p899adwre9pINsyLrYrgSHTl3UJ0rLn3+abUqejoP4V3f5HQAA//8DAFBLAwQUAAYACAAAACEAepeKx68BAAADBAAAFAAAAHhsL3RhYmxlcy90YWJsZTEueG1snJPNbuIwFIX3I807WN6DE5JWM1EDqhghVapmUdoHMMkNseqfyL5QUDXv3uuEglpYoPHCSY7tL8f32HezndFsCz4oZ0uejhPOwFauVnZd8pfnxegXZwGlraV2Fkq+h8Bn058/7lCuNDBabUPJW8SuECJULRgZxq4DSyON80Yiffq1CJ0HWYcWAI0WkyS5FUYqywdCYaprIEb61003qpzpJKqV0gr3PYszUxUPa+t8dFXynWc7n33Cd/4MblTlXXANjgkmXNOoCs48prnwsFWxNCdU9p+s2yOLfKmaak1MX2zi63tyaCN6zmOXjBbU+u5z7B9nVhra3LNcgdYw4axWodNy//eb7KEp+X1a/LnhrKWqg39yb3O3sVhyyhcdSh1IWrbujUJP+HRIc+70xtgjAAAABSIAAAD/////vAkrBgAAAAAAAAAAwKphav5VP5nOzl2nyeC6t947TgffR9fLTmqElIsvP+uhtBNK6xoonZvYvkEnl6Ax/eug2UVodgmaXw3NL0LzCBX91TkU+1CNJe41PNjGnTLW0IuPat3ib7qEFNZC+YDDwj7JqD3KMylGi151QDeTTlmcNSw6qsnJx/QDAAD//wMAUEsDBBQABgAIAAAAIQDT7zftUQEAAGM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8klFLwzAUhd8F/0PJe5u0mzJD24HKXnQgrKL4FpK7tdikIcns9u9N2612KD7e3HM/zjkkXR5kHXyBsVWjMhRHBAWgeCMqtcvQa7EKFyiwjinB6kZBho5g0TK/vkq5prwx8GIaDcZVYANPUpZynaHSOU0xtrwEyWzkFcovt42RzPnR7LBm/JPtACeE3GIJjgnmGO6AoR6J6IQUfETqval7gOAYapCgnMVxFOMfrQMj7Z8H/WailJU7ap/pZHfKFnxYjuqDrUZh27ZRO+tteP8xfl8/b/qoYaW6rjigPBWccgPMNSaXVZPiydx1VzPr1r7mbQXi/phvHOiSqeBpXypfZ4p/SzyxDzBgQQTeEh0CnDdvs4fHYoXyhMTzMCbhjBSE0GRB58lH5+DivrM4PMiTj3+JSRySJCQ3BVlQckcJmRDPgLz3ffkt8m8AAAD//wMAUEsDBBQABgAIAAAAIQCM6bsGxwEAAN4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xT227TQBB9R+IfLL8367RVhaL1VigFFalA1LjleViP41X3pt2JSfh61raSuLQgwdtcjs6cOTvLr3dGZx2GqJwt8/msyDO00tXKbsr8ofp49i7PIoGtQTuLZb7HmF+Lt2/4KjiPgRTGLFHYWOYtkV8wFmWLBuIstW3qNC4YoJSGDXNNoyTeOLk1aImdF8UVwx2hrbE+80fCfGRcdPS/pLWTvb74WO19Eix45Qh0pQyKgrNTwt97r5UEStuLz0oGF11D2YedRM3ZtMmT6jXKbVC07zmmKV9L0LhMA0UDOiJnpwK/RejNXIEKUfCOFh1KciGL6mey8zLPvkPEXmaZdxAUWEpye9iYDLH2kYL45sJTbBEpcpYAY3EIp9hprC7FfACk4K/AkesLGKyze7Ab/JcR56+P6DWOu6bZz12oFGmMX5sVBHrFlIupKYO00ZJR5SfrtzR14OhFsJs7iHTvfvypXaHxGgiXTm+NfWHj8DJJ7W/6ls54sHthoMZM2Ww8Y84OdX6n7FN88JW7SdyHG3he5OsWAtbpbI43cizw2/T8Qfcky7Z3vz5gXjb6i30cv6uYX82KiyId46TG2eljil8AAAD//wMAUEsBAi0AFAAGAAgAAAAhADcxvZF7AQAAhAUAABMAAAAAAAAAAAAAAAAAAAAAAFtDb250ZW50X1R5cGVzXS54bWxQSwECLQAUAAYACAAAACEAtVUwI/QAAABMAgAACwAAAAAAAAAAAAAAAAC0AwAAX3JlbHMvLnJlbHNQSwECLQAUAAYACAAAACEAfvJ8Sa0DAABOCAAADwAAAAAAAAAAAAAAAADZBgAAeGwvd29ya2Jvb2sueG1sUEsBAi0AFAAGAAgAAAAhAIE+lJfzAAAAugIAABoAAAAAAAAAAAAAAAAAswoAAHhsL19yZWxzL3dvcmtib29rLnhtbC5yZWxzUEsBAi0AFAAGAAgAAAAhAHdZxDlqAwAAkwkAABgAAAAAAAAAAAAAAAAA5gwAAHhsL3dvcmtzaGVldHMvc2hlZXQxLnhtbFBLAQItABQABgAIAAAAIQB+t04+agQAAJwPAAATAAAAAAAAAAAAAAAAAIYQAAB4bC90aGVtZS90aGVtZTEueG1sUEsBAi0AFAAGAAgAAAAhAPm2m1zaBAAARBEAAA0AAAAAAAAAAAAAAAAAIRUAAHhsL3N0eWxlcy54bWxQSwECLQAUAAYACAAAACEAxfJEsc0AAAB2AQAAFAAAAAAAAAAAAAAAAAAmGgAAeGwvc2hhcmVkU3RyaW5ncy54bWxQSwECLQAUAAYACAAAACEAQb/4YNkAAADKAQAAIwAAAAAAAAAAAAAAAAAlGwAAeGwvd29ya3NoZWV0cy9fcmVscy9zaGVldDEueG1sLnJlbHNQSwECLQAUAAYACAAAACEA+kCEzLcBAADsBAAAJwAAAAAAAAAAAAAAAAA/HAAAeGwvcHJpbnRlclNldHRpbmdzL3ByaW50ZXJTZXR0aW5nczEuYmluUEsBAi0AFAAGAAgAAAAhAHqXisevAQAAAwQAABQAAAAAAAAAAAAAAAAAOx4AAHhsL3RhYmxlcy90YWJsZTEueG1sUEsBAi0AFAAGAAgAAAAhANPvN+1RAQAAYwIAABEAAAAAAAAAAAAAAAAAHCAAAGRvY1Byb3BzL2NvcmUueG1sUEsBAi0AFAAGAAgAAAAhAIzpuwbHAQAA3gMAABAAAAAAAAAAAAAAAAAApCIAAGRvY1Byb3BzL2FwcC54bWxQSwUGAAAAAA0ADQBoAwAAoSUAAAAAAAJOYW1lAAwAAABFeGNlbE1pcnJvcgAQVmVyc2lvbgABAAAACUxhc3RXcml0ZQAa7HeYf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AAAAAX/////JQAAAOcPAAAAAAAAAAAAACwcAAAFX2lkABAAAAAEngOUpGeYhEKvOxTtWovGIgNEYXRhAMQbAAAEQ2F0ZWdvcnlBeGlzTGFiZWxEYXRhAJUbAAADMADhBgAAA1RleHRCb3hEYXRhAKoGAAAFTWFuYWdlZElkABAAAAAEYiBa/NP62kOxM7+1J+ANVg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sAAABDYXRlZ29yeSAxAAJUZXh0SG9yaXpvbnRhbEFsaWdubWVudAAOAAAAbXNvQW5jaG9yTm9uZQACUGFyYWdyYXBoQWxpZ25tZW50AA8AAABtc29BbGlnbkNlbnRlcgACVGV4dFZlcnRpY2FsQWxpZ25tZW50AA0AAABtc29BbmNob3JUb3AAA0ZvbnRTdHlsZQBB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AA1RleHRNYXJnaW4APwAAAAFMZWZ0AAAAAAAAAAAAAVRvcAAAAAAAAAAAAAFSaWdodAAAAAAAAAAAAAFCb3R0b20AAAAAAAAAAAAAAkRpc3BsYXlUZXh0AAsAAABDYXRlZ29yeSAxAAFIZWlnaHQAAAAAYL1pKkABV2lkdGgAAAAAQBvoTEABVG9wAAAAAICn4XdAAUxlZnQAAAAAIHSqUk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k9yaWVudGF0aW9uAAUAAABOb25lAAhMYWJlbFZpc2libGUAAQADMQDhBgAAA1RleHRCb3hEYXRhAKoGAAAFTWFuYWdlZElkABAAAAAEQhG22RI2r0Swe28wA2zolA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sAAABDYXRlZ29yeSAyAAJUZXh0SG9yaXpvbnRhbEFsaWdubWVudAAOAAAAbXNvQW5jaG9yTm9uZQACUGFyYWdyYXBoQWxpZ25tZW50AA8AAABtc29BbGlnbkNlbnRlcgACVGV4dFZlcnRpY2FsQWxpZ25tZW50AA0AAABtc29BbmNob3JUb3AAA0ZvbnRTdHlsZQBB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AA1RleHRNYXJnaW4APwAAAAFMZWZ0AAAAAAAAAAAAAVRvcAAAAAAAAAAAAAFSaWdodAAAAAAAAAAAAAFCb3R0b20AAAAAAAAAAAAAAkRpc3BsYXlUZXh0AAsAAABDYXRlZ29yeSAyAAFIZWlnaHQAAAAAYL1pKkABV2lkdGgAAAAAQBvoTEABVG9wAAAAAICn4XdAAUxlZnQAAAAAYMlHak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k9yaWVudGF0aW9uAAUAAABOb25lAAhMYWJlbFZpc2libGUAAQADMgDhBgAAA1RleHRCb3hEYXRhAKoGAAAFTWFuYWdlZElkABAAAAAEqsA8JAVF8EKv2D8FRArr1A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SUAAAAFJAAAAP////9FDKIDAAAAAAAAAABzb1BhdHRlcm5NaXhlZAACVGV4dAALAAAAQ2F0ZWdvcnkgMwACVGV4dEhvcml6b250YWxBbGlnbm1lbnQADgAAAG1zb0FuY2hvck5vbmUAAlBhcmFncmFwaEFsaWdubWVudAAPAAAAbXNvQWxpZ25DZW50ZXIAAlRleHRWZXJ0aWNhbEFsaWdubWVudAANAAAAbXNvQW5jaG9yVG9w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ANUZXh0TWFyZ2luAD8AAAABTGVmdAAAAAAAAAAAAAFUb3AAAAAAAAAAAAABUmlnaHQAAAAAAAAAAAABQm90dG9tAAAAAAAAAAAAAAJEaXNwbGF5VGV4dAALAAAAQ2F0ZWdvcnkgMwABSGVpZ2h0AAAAAGC9aSpAAVdpZHRoAAAAAEAb6ExAAVRvcAAAAACAp+F3QAFMZWZ0AAAAAGAsnXV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JPcmllbnRhdGlvbgAFAAAATm9uZQAITGFiZWxWaXNpYmxlAAEAAzMA4QYAAANUZXh0Qm94RGF0YQCqBgAABU1hbmFnZWRJZAAQAAAABAxRIrAorEBDhOFSITtDF/Y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LAAAAQ2F0ZWdvcnkgNAACVGV4dEhvcml6b250YWxBbGlnbm1lbnQADgAAAG1zb0FuY2hvck5vbmUAAlBhcmFncmFwaEFsaWdubWVudAAPAAAAbXNvQWxpZ25DZW50ZXIAAlRleHRWZXJ0aWNhbEFsaWdubWVudAANAAAAbXNvQW5jaG9yVG9w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ANUZXh0TWFyZ2luAD8AAAABTGVmdAAAAAAAAAAAAAFUb3AAAAAAAAAAAAABUmlnaHQAAAAAAAAAAAABQm90dG9tAAAAAAAAAAAAAAJEaXNwbGF5VGV4dAALAAAAQ2F0ZWdvcnkgNAABSGVpZ2h0AAAAAGC9aSpAAVdpZHRoAAAAAEAb6ExAAVRvcAAAAACAp+F3QAFMZWZ0AAAAAAB0Fn5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JPcmllbnRhdGlvbgAFAAAATm9uZQAITGFiZWxWaXNpYmxlAAEAAAhXYW50c1RvQmVWaXNpYmxlAAEAAk5hbWUAGQAAAENhdGVnb3J5QXhpc0RhdGFQcm9wZXJ0eQAQVmVyc2lvbgAAAAAACUxhc3RXcml0ZQCKBHiYf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AAAABf////8nAAAA5w8AAAAAAAAAAAAAyx8AAAVfaWQAEAAAAASQ56yqivoHQrcbX3a/+Z8zBERhdGEAcx8AAAMwANgHAAAFX2lkABAAAAAEpd6bmE89wEuilntmN5kAuQJfdHlwZQBXAAAAZW1wb3dlci5DaGFydHMuRGF0YS5EYXRhQ2hhcnRzLk92ZXJsYXlzLkRhdGEuQ29sdW1uU3VtT3ZlcmxheURhdGEsIGVtcG93ZXIuQ2hhcnRzLkRhdGEAEENvbHVtbgABAAAAEFNlcmllcwD/////A1RleHRFbGVtZW50AM4GAAACQXV0b1NoYXBlVHlwZQAKAAAAUmVjdGFuZ2xlAARBZGp1c3RtZW50cwAFAAAAAAVNYW5hZ2VkSWQAEAAAAASIYPzmM4OZQ70VNq6JAPTO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BAkZpbGxQYXR0ZXJuABAAAABtc29QYXR0ZXJuTWl4ZWQAAlRleHQABAAAADcuNA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wFqtBkABQm90dG9tAAAAAAAAAAAAAAJEaXNwbGF5VGV4dAAEAAAANy40AAFIZWlnaHQAAAAAAAAALUABV2lkdGgAAAAAYIJ5MkABVG9wAAAAAACSgmBAAUxlZnQAAAAAQOSOV0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kNvbHVtblN1bVBvc2l0aW9uAAwAAABEZWZhdWx0RG9jawAIRGVsZXRlZAAACElzTmV3AAABRm9udFNpemUAAAAAAAAAKEAQUGVyY2VudGFnZURlY2ltYWxzQ291bnQAAAAAAAADMQDYBwAABV9pZAAQAAAABLpYIwInkHNDkEnoIFfllgwCX3R5cGUAVwAAAGVtcG93ZXIuQ2hhcnRzLkRhdGEuRGF0YUNoYXJ0cy5PdmVybGF5cy5EYXRhLkNvbHVtblN1bU92ZXJsYXlEYXRhLCBlbXBvd2VyLkNoYXJ0cy5EYXRhABBDb2x1bW4AAgAAABBTZXJpZXMA/////wNUZXh0RWxlbWVudADOBgAAAkF1dG9TaGFwZVR5cGUACgAAAFJlY3RhbmdsZQAEQWRqdXN0bWVudHMABQAAAAAFTWFuYWdlZElkABAAAAAEO/Wguwh2+kK535BUAtBOPA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QJGaWxsUGF0dGVybgAQAAAAbXNvUGF0dGVybk1peGVkAAJUZXh0AAQAAAA4LjkAAlRleHRIb3Jpem9udGFsQWxpZ25tZW50AA4AAABtc29BbmNob3JOb25l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AAAAAAABVG9wAAAAAAAAAAAAAVJpZ2h0AAAAAMBarQZAAUJvdHRvbQAAAAAAAAAAAAACRGlzcGxheVRleHQABAAAADguOQABSGVpZ2h0AAAAAAAAAC1AAVdpZHRoAAAAAGCCeTJAAVRvcAAAAABgReVVQAFMZWZ0AAAAAIABumx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JDb2x1bW5TdW1Qb3NpdGlvbgAMAAAARGVmYXVsdERvY2sACERlbGV0ZWQAAAhJc05ldwAAAUZvbnRTaXplAAAAAAAAAChAEFBlcmNlbnRhZ2VEZWNpbWFsc0NvdW50AAAAAAAAAzIA2AcAAAVfJwAAAAUmAAAA/////+QPAwAAAAAAAAAAAGlkABAAAAAEZU0Z/0C2z0un4oLbBlRtsQJfdHlwZQBXAAAAZW1wb3dlci5DaGFydHMuRGF0YS5EYXRhQ2hhcnRzLk92ZXJsYXlzLkRhdGEuQ29sdW1uU3VtT3ZlcmxheURhdGEsIGVtcG93ZXIuQ2hhcnRzLkRhdGEAEENvbHVtbgADAAAAEFNlcmllcwD/////A1RleHRFbGVtZW50AM4GAAACQXV0b1NoYXBlVHlwZQAKAAAAUmVjdGFuZ2xlAARBZGp1c3RtZW50cwAFAAAAAAVNYW5hZ2VkSWQAEAAAAATjPaqcEt/+TJhquXiugydX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BAkZpbGxQYXR0ZXJuABAAAABtc29QYXR0ZXJuTWl4ZWQAAlRleHQABAAAADguMw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wFqtBkABQm90dG9tAAAAAAAAAAAAAAJEaXNwbGF5VGV4dAAEAAAAOC4zAAFIZWlnaHQAAAAAAAAALUABV2lkdGgAAAAAYIJ5MkABVG9wAAAAAMBrWFpAAUxlZnQAAAAAYEjWd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kNvbHVtblN1bVBvc2l0aW9uAAwAAABEZWZhdWx0RG9jawAIRGVsZXRlZAAACElzTmV3AAABRm9udFNpemUAAAAAAAAAKEAQUGVyY2VudGFnZURlY2ltYWxzQ291bnQAAAAAAAADMwDaBwAABV9pZAAQAAAABI3flV+NLtFItEkGQP12tPoCX3R5cGUAVwAAAGVtcG93ZXIuQ2hhcnRzLkRhdGEuRGF0YUNoYXJ0cy5PdmVybGF5cy5EYXRhLkNvbHVtblN1bU92ZXJsYXlEYXRhLCBlbXBvd2VyLkNoYXJ0cy5EYXRhABBDb2x1bW4ABAAAABBTZXJpZXMA/////wNUZXh0RWxlbWVudADQBgAAAkF1dG9TaGFwZVR5cGUACgAAAFJlY3RhbmdsZQAEQWRqdXN0bWVudHMABQAAAAAFTWFuYWdlZElkABAAAAAEQf+EokYa9U+ziQQbEqI+hg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QJGaWxsUGF0dGVybgAQAAAAbXNvUGF0dGVybk1peGVkAAJUZXh0AAUAAAAxMS44AAJUZXh0SG9yaXpvbnRhbEFsaWdubWVudAAOAAAAbXNvQW5jaG9yTm9uZQACUGFyYWdyYXBoQWxpZ25tZW50AA8AAABtc29BbGlnbkNlbnRlcgACVGV4dFZlcnRpY2FsQWxpZ25tZW50ABAAAABtc29BbmNob3JNaWRkbGUAA0ZvbnRTdHlsZQBB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DAWq0GQAFCb3R0b20AAAAAAAAAAAAAAkRpc3BsYXlUZXh0AAUAAAAxMS44AAFIZWlnaHQAAAAAAAAALUABV2lkdGgAAAAAYNTxOEABVG9wAAAAAOBg2fg/AUxlZnQAAAAAgM0bf0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kNvbHVtblN1bVBvc2l0aW9uAAwAAABEZWZhdWx0RG9jawAIRGVsZXRlZAAACElzTmV3AAABRm9udFNpemUAAAAAAAAAKEAQUGVyY2VudGFnZURlY2ltYWxzQ291bnQAAAAAAAAAAk5hbWUACQAAAE92ZXJsYXlzABBWZXJzaW9uAAMAAAAJTGFzdFdyaXRlAIkEeJh8AQAAAAAAACgAAAAE//////////8EAGgDAAAAAAAAAAAAACoAAAAAAAEA/////4EAgQAAAAVfaWQAEAAAAARh1lbugrXcTp130+xjLh8UA0RhdGEAIAAAAANTZXJpZXNOZWdhdGl2ZUNvbG9ycwAFAAAAAAACTmFtZQASAAAAQ29sb3JEYXRhUHJvcGVydHkAEFZlcnNpb24AAAAAAAlMYXN0V3JpdGUAYvbvj28BAAAAAgD/////YQBhAAAABV9pZAAQAAAABFnLFfyTk8tCjszNqdiouLcERGF0YQAFAAAAAAJOYW1lAA0AAABMaW5rRGF0YUxpc3QAEFZlcnNpb24AAAAAAAlMYXN0V3JpdGUANux3mHwBAAAAAwD/////fQt9CwAABV9pZAAQAAAABKPmUP4zgWRFjR3YPG8vpOIDRGF0YQATCwAACEV4Y2VsQ29sb3JNb2RlQWN0aXZlAAAEQ29sb3JDYWNoZQDrCgAAAzAAiAAAAANDZWxsQWRkcmVzcwAaAAAAEFJvdwABAAAAEENvbHVtbgABAAAAAANDb2xvcgBVAAAAEEEA/wAAABBSAKYAAAAQRwCmAAAAEEIApgAAAAFTY0EAAAAAAAAA8D8BU2NSAAAAAGClZ9g/AVNjRwAAAABgpWfYPwFTY0IAAAAAYKVn2D8AAAMxAIgAAAADQ2VsbEFkZHJlc3MAGgAAABBSb3cAAQAAABBDb2x1bW4AAgAAAAADQ29sb3IAVQAAABBBAP8AAAAQUgCmAAAAEEcApgAAABBCAKYAAAABU2NBAAAAAAAAAPA/AVNjUgAAAABgpWfYPwFTY0cAAAAAYKVn2D8BU2NCAAAAAGClZ9g/AAADMgCIAAAAA0NlbGxBZGRyZXNzABoAAAAQUm93AAEAAAAQQ29sdW1uAAMAAAAAA0NvbG9yAFUAAAAQQQD/AAAAEFIApgAAABBHAKYAAAAQQgCmAAAAAVNjQQAAAAAAAADwPwFTY1IAAAAAYKVn2D8BU2NHAAAAAGClZ9g/AVNjQgAAAABgpWfYPwAAAzMAiAAAAANDZWxsQWRkcmVzcwAaAAAAEFJvdwABAAAAEENvbHVtbgAEAAAAAANDb2xvcgBVAAAAEEEA/wAAABBSAKYAAAAQRwCmAAAAEEIApgAAAAFTY0EAAAAAAAAA8D8BU2NSAAAAAGClZ9g/AVNjRwAAAABgpWfYPwFTY0IAAAAAYKVn2D8AAAM0AIgAAAADQ2VsbEFkZHJlc3MAGgAAABBSb3cAAgAAABBDb2x1bW4AAQAAAAADQ29sb3IAVQAAABBBAP8AAAAQUgDdAAAAEEcA3QAAABBCAN0AAAABU2NBAAAAAAAAAPA/AVNjUgAAAACARCPnPwFTY0cAAAAAgEQj5z8BU2NCAAAAAIBEI+c/AAADNQCIAAAAA0NlbGxBZGRyZXNzABoAAAAQUm93AAIAAAAQQ29sdW1uAAIAAAAAA0NvbG9yAFUAAAAQQQAAAAAAEFIA/wAAABBHAP8AAAAQQgD/AAAAAVNjQQAAAAAAAAAAAAFTY1IAAAAAAAAA8D8BU2NHAAAAAAAAAPA/AVNjQgAAAAAAAADwPwAAAzYAiAAAAANDZWxsQWRkcmVzcwAaAAAAEFJvdwACAAAAEENvbHVtbgADAAAAAANDb2xvcgBVAAAAEEEAAAAAABBSAP8AAAAQRwD/AAAAEEIA/wAAAAFTY0EAAAAAAAAAAAABU2NSAAAAAAAAAPA/AVNjRwAAAAAAAADwPwFTY0IAAAAAAAAA8D8AAAM3AIgAAAADQ2VsbEFkZHJlc3MAGgAAABBSb3cAAgAAABBDb2x1bW4ABAAAAAADQ29sb3IAVQAAABBBAAAAAAAQUgD/AAAAEEcA/wAAABBCAP8AAAABU2NBAAAAAAAAAAAAAVNjUgAAAAAAAADwPwFTY0cAAAAAAAAA8D8BU2NCAAAAAAAAAPA/AAADOACIAAAAA0NlbGxBZGRyZXNzABoAAAAQUm93AAMAAAAQQ29sdW1uAAEAAAAAA0NvbG9yAFUAAAAQQQD/AAAAEFIA3QAAABBHAN0AAAAQQgDdAAAAAVNjQQAAAAAAAADwPwFTY1IAAAAAgEQj5z8BU2NHAAAAAIBEI+c/AVNjQgAAAACARCPnPwAAAzkAiAAAAANDZWxsQWRkcmVzcwAaAAAAEFJvdwADAAAAEENvbHVtbgACAAAAAANDb2xvcgBVAAAAEEEAAAAAABBSAP8AAAAQRwD/AAAAEEIA/wAAAAFTY0EAAAAAAAAAAAABU2NSAAAAAAAAAPA/AVNjRwAAAAAAAADwPwFTY0IAAAAAAAAA8D8AAAMxMACIAAAAA0NlbGxBZGRyZXNzABoAAAAQUm93AAMAAAAQQ29sdW1uAAMAAAAAA0NvbG9yAFUAAAAQQQAAAAAAEFIA/wAAABBHAP8AAAAQQgD/AAAAAVNjQQAAAAAAAAAAAAFTY1IAAAAAAAAA8D8BU2NHAAAAAAAAAPA/AVNjQgAAAAAAAADwPwAAAzExAIgAAAADQ2VsbEFkZHJlc3MAGgAAABBSb3cAAwAAABBDb2x1bW4ABAAAAAADQ29sb3IAVQAAABBBAAAAAAAQUgD/AAAAEEcA/wAAABBCAP8AAAABU2NBAAAAAAAAAAAAAVNjUgAAAAAAAADwPwFTY0cAAAAAAAAA8D8BU2NCAAAAAAAAAPA/AAADMTIAiAAAAANDZWxsQWRkcmVzcwAaAAAAEFJvdwAEAAAAEENvbHVtbgABAAAAAANDb2xvcgBVAAAAEEEA/wAAABBSAN0AAAAQRwDdAAAAEEIA3QAAAAFTY0EAAAAAAAAA8D8BU2NSAAAAAIBEI+c/AVNjRwAAAACARCPnPwFTY0IAAAAAgEQj5z8AAAMxMwCIAAAAA0NlbGxBZGRyZXNzABoAAAAQUm93AAQAAAAQQ29sdW1uAAIAAAAAA0NvbG9yAFUAAAAQQQAAAAAAEFIA/wAAABBHAP8AAAAQQgD/AAAAAVNjQQAAAAAAAAAAAAFTY1IAAAAAAAAA8D8BU2NHAAAAAAAAAPA/AVNjQgAAAAAAAADwPwAAAzE0AIgAAAADQ2VsbEFkZHJlc3MAGgAAABBSb3cABAAAABBDb2x1bW4AAwAAAAADQ29sb3IAVQAAABBBAAAAAAAQUgD/AAAAEEcA/wAAABBCAP8AAAABU2NBAAAAAAAAAAAAAVNjUgAAAAAAAADwPwFTY0cAAAAAAAAA8D8BU2NCAAAAAAAAAPA/AAADMTUAiAAAAANDZWxsQWRkcmVzcwAaAAAAEFJvdwAEAAAAEENvbHVtbgAEAAAAAANDb2xvcgBVAAAAEEEAAAAAABBSAP8AAAAQRwD/AAAAEEIA/wAAAAFTY0EAAAAAAAAAAAABU2NSAAAAAAAAAPA/AVNjRwAAAAAAAADwPwFTY0IAAAAAAAAA8D8AAAMxNgCIAAAAA0NlbGxBZGRyZXNzABoAAAAQUm93AAUAAAAQQ29sdW1uAAEAAAAAA0NvbG9yAFUAAAAQQQD/AAAAEFIA3QAAABBHAN0AAAAQQgDdAAAAAVNjQQAAAAAAAADwPwFTY1IAAAAAgEQj5z8BU2NHAAAAAIBEI+c/AVNjQgAAAACARCPnPwAAAzE3AIgAAAADQ2VsbEFkZHJlc3MAGgAAABBSb3cABQAAABBDb2x1bW4AAgAAAAADQ29sb3IAVQAAABBBAAAAAAAQUgD/AAAAEEcA/wAAABBCAP8AAAABU2NBAAAAAAAAAAAAAVNjUgAAAAAAAADwPwFTY0cAAAAAAAAA8D8BU2NCAAAAAAAAAPA/AAADMTgAiAAAAANDZWxsQWRkcmVzcwAaAAAAEFJvdwAFAAAAEENvbHVtbgADAAAAAANDb2xvcgBVAAAAEEEAAAAAABBSAP8AAAAQRwD/AAAAEEIA/wAAAAFTY0EAAAAAAAAAAAABU2NSAAAAAAAAAPA/AVNjRwAAAAAAAADwPwFTY0IAAAAAAAAA8D8AAAMxOQCIAAAAA0NlbGxBZGRyZXNzABoAAAAQUm93AAUAAAAQQ29sdW1uAAQAAAAAA0NvbG9yAFUAAAAQQQAAAAAAEFIA/wAAABBHAP8AAAAQQgD/AAAAAVNjQQAAAAAAAAAAAAFTY1IAAAAAAAAA8D8BU2NHAAAAAAAAAPA/AVNjQgAAAAAAAADwPwAAAAACTmFtZQAbAAAARXhjZWxDb2xvck1vZGVEYXRhUHJvcGVydHkAEFZlcnNpb24AAQAAAAlMYXN0V3JpdGUA2DU7cX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pAAAAAwAAAAD/////GgAxBgAAAAAAAAAAAAAgA////////////////wAAAP///////////////ykAAAALAP///////ykAAAADAP///////ykAAAADAP///////ykAAAADAP///////ykAAAADAP///////ykAAAADAP///////////////////////////////////////////////////////////////////////////////////////////////////////////////////////////////////////////////////////////////////////////////////////////////////////////////////////////////////////////////////////////////////////////////////////////////////////////////////////////////////////////////////////////////////////////////////////////////////////////////////////////////wEAIAP///////////////8AAA7///////8pAAAAAgD///////////////////////////////////////////////////////////////////////////////////////////////////////////////////////////////////////////////////////////////////////////////////////////////////////////////////////////////////////////////////////////////////////////////////////////////////////////////////////////////////////////////////////////////////////////////////////////////////////////////////////////////////////////////////////////////////////////////////////////////////////////////////////8CAAEDAwAAAAIABQAAAAIACwAGV2F0ZXJmYWxsXzAGAAAAAAApAAAABAApAAAAAQADAAYDAwAAAAMABQAAAAMACgAGQXhlc0RhdGFfMwYAAAABACkAAAALACkAAAAUACkAAAAAACkAAAAUACkAAAAAACkAAAAUACkAAAAAACkAAAAUACkAAAAAACkAAAAUACkAAAAAACkAAAARAAQAAgMDAAAABAAFAAAABAAOAAZTZXJpZXNMYWJlbHNfMgYAAAACACkAAAAHACkAAAACACkAAAAFAP///////wUAAgMDAAAABQAFAAAABQAPAAZOdW1iZXJGb3JtYXRzXzEGAAAAAwApAAAACgApAAAAEAApAAAACgApAAAABAAGAAIDAwAAAAYABQAAAAYADAAGTGVnZW5kRGF0YV8wBgAAAAQAKQAAAAkAKQAAABgAKQAAAAkAKQAAABgABwABAwMAAAAHAAUAAAAHAAwABlNlcmllc0RhdGFfMAYAAAAFACkAAAAPACkAAAAEAAgAAQMDAAAACAAFAAAACAAMAAZEYXRhTGFiZWxzXzUGAAAABgApAAAAFQApAAAAEwAJAAMDAwAAAAkABQAAAAkAFQAGR2xvYmFsQ2hhcnRTZXR0aW5nc18zBgAAAAcAKQAAAAwAKQAAAAYAKQAAAAwAKQAAAAYAKQAAABkAKQAAAAoACgAEAwMAAAAKAAUAAAAKAA0ABk1hcmtlcnNEYXRhXzEeAAAAAAApAAAAGAApAAAABQApAAAAGAApAAAABQApAAAACQD///////8pAAAAEQD///////8LAAEDAwAAAAsABQAAAAsAHAAGQXV0b21hdGljQnJlYWtTZXR0aW5nc0RhdGFfMB4AAAABACkAAAAAACkAAAADAAwAAgMDAAAADAAFAAAADAANAAZFeGNlbE1pcnJvcl8xHgAAAAIAKQAAABkAKQAAAAkAKQAAABkAKQAAAAkADQABAwMAAAANAAUAAAANAAwABlBlcnNvbmFsSWRfMB4AAAADACkAAAAQACkAAAAPAA4ABAMDAAAADgAFAAAADgAaAAZDYXRlZ29yeUF4aXNEYXRhUHJvcGVydHlfMB4AAAAEACkAAAAUACkAAAASACkAAAAUACkAAAAWACkAAAAUACkAAAARACkAAAAUACkAAAARAA8AAQMDAAAADwAFAAAADwAQAAZQbG90QXJlYUJvcmRlcl8wHgAAAAUAKQAAAA0AKQAAAAcAEAABAwMAAAAQAAUAAAAQAAoABk92ZXJsYXlzXzMeAAAABgApAAAABQApAAAADQARAAYDAwAAABEABQAAABEAFAAGQ29sdW1uU3Vtc1NldHRpbmdzXzAeAAAABwApAAAAFgApAAAAFQApAAAAFgApAAAAFQApAAAADgApAAAAGQApAAAADgApAAAACgApAAAAFAD///////8pAAAAAwD///////8SAAEDAwAAABIABQAAABIAIwAGQ2F0ZWdvcnlMYWJlbFNldHRpbmdzRGF0YVByb3BlcnR5XzAeAAAACAApAAAADgApAAAAFwATAAEDAwAAABMABQAAABMACgAGRGF0YUxpbmtfMR4AAAAJACkAAAAIACkAAAAZABQABQMDAAAAFAAFAAAAFAAVAAZCcmVha01hbmFnZW1lbnREYXRhXzAeAAAACgApAAAAAwApAAAADgApAAAAAwApAAAADgApAAAAAwApAAAADgApAAAAAwApAAAADgApAAAAAwApAAAAEQAVAAIDAwAAABUABQAAABUAFgAGRGF0YUNoYXJ0Q29BdXRob3JpbmdfMB4AAAALACkAAAARACkAAAAIACkAAAARACkAAAAZABYAAgMDAAAAFgAFAAAAFgAOAAZDb2xvckluZGljZXNfMigAAAAAACkAAAAXACkAAAARACkAAAAOACkAAAARABcAAQMDAAAAFwAFAAAAFwATAAZDb2xvckRhdGFQcm9wZXJ0eV8wKAAAAAEAKQAAABIAKQAAABYAGAACAwMAAAAYAAUAAAAYAA4ABkxpbmtEYXRhTGlzdF8wKAAAAAIAKQAAAAYAKQAAAAoAKQAAAAYAKQAAAAoAGQADAwMAAAAZAAUAAAAZABwABkV4Y2VsQ29sb3JNb2RlRGF0YVByb3BlcnR5XzEoAAAAAwApAAAAEwApAAAADAApAAAAFQApAAAADAApAAAAEQApAAAAC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gAAAAX//////////w0P2gAAAAAAAAAAAA0PAAAFX2lkABAAAAAEO2MA3920d0alypEufYwZSANEYXRhALEOAAAEUG9pbnRDb2xvckluZGljZXMApwsAAAMwAPUAAAAQU2VyaWVzSW5kZXgAAQAAABBQb2ludEluZGV4AAEAAAADQ29sb3IAVQAAABBBAP8AAAAQUgDdAAAAEEcA3QAAABBCAN0AAAABU2NBAAAAAAAAAPA/AVNjUgAAAACARCPnPwFTY0cAAAAAgEQj5z8BU2NCAAAAAIBEI+c/AANDb2xvckluZGV4SW5DdXN0b21pemluZwBaAAAAEFRoZW1lQ29sb3JTY2hlbWVJbmRleAAFAAAAAkluZGV4AAcAAABOb1RpbnQACElzRGVmYXVsdENvbG9yAAAQRGVmYXVsdENvbG9ySW5kZXgA/////wAAAzEA9QAAABBTZXJpZXNJbmRleAABAAAAEFBvaW50SW5kZXgAAgAAAANDb2xvcgBVAAAAEEEA/wAAABBSAN0AAAAQRwDdAAAAEEIA3QAAAAFTY0EAAAAAAAAA8D8BU2NSAAAAAIBEI+c/AVNjRwAAAACARCPnPwFTY0IAAAAAgEQj5z8AA0NvbG9ySW5kZXhJbkN1c3RvbWl6aW5nAFoAAAAQVGhlbWVDb2xvclNjaGVtZUluZGV4AAUAAAACSW5kZXgABwAAAE5vVGludAAISXNEZWZhdWx0Q29sb3IAABBEZWZhdWx0Q29sb3JJbmRleAD/////AAADMgD1AAAAEFNlcmllc0luZGV4AAEAAAAQUG9pbnRJbmRleAADAAAAA0NvbG9yAFUAAAAQQQD/AAAAEFIA3QAAABBHAN0AAAAQQgDdAAAAAVNjQQAAAAAAAADwPwFTY1IAAAAAgEQj5z8BU2NHAAAAAIBEI+c/AVNjQgAAAACARCPnPwADQ29sb3JJbmRleEluQ3VzdG9taXppbmcAWgAAABBUaGVtZUNvbG9yU2NoZW1lSW5kZXgABQAAAAJJbmRleAAHAAAATm9UaW50AAhJc0RlZmF1bHRDb2xvcgAAEERlZmF1bHRDb2xvckluZGV4AP////8AAAMzAPUAAAAQU2VyaWVzSW5kZXgAAQAAABBQb2ludEluZGV4AAQAAAADQ29sb3IAVQAAABBBAP8AAAAQUgDdAAAAEEcA3QAAABBCAN0AAAABU2NBAAAAAAAAAPA/AVNjUgAAAACARCPnPwFTY0cAAAAAgEQj5z8BU2NCAAAAAIBEI+c/AANDb2xvckluZGV4SW5DdXN0b21pemluZwBaAAAAEFRoZW1lQ29sb3JTY2hlbWVJbmRleAAFAAAAAkluZGV4AAcAAABOb1RpbnQACElzRGVmYXVsdENvbG9yAAAQRGVmYXVsdENvbG9ySW5kZXgA/////wAAAzQA9QAAABBTZXJpZXNJbmRleAACAAAAEFBvaW50SW5kZXgAAQAAAANDb2xvcgBVAAAAEEEA/wAAABBSALIAAAAQRwCyAAAAEEIAsgAAAAFTY0EAAAAAAAAA8D8BU2NSAAAAACAtftw/AVNjRwAAAAAgLX7cPwFTY0IAAAAAIC1+3D8AA0NvbG9ySW5kZXhJbkN1c3RvbWl6aW5nAFoAAAAQVGhlbWVDb2xvclNjaGVtZUluZGV4AAYAAAACSW5kZXgABwAAAE5vVGludAAISXNEZWZhdWx0Q29sb3IAABBEZWZhdWx0Q29sb3JJbmRleAD/////AAADNQD1AAAAEFNlcmllc0luZGV4AAIAAAAQUG9pbnRJbmRleAACAAAAA0NvbG9yAFUAAAAQQQD/AAAAEFIAsgAAABBHALIAAAAQQgCyAAAAAVNjQQAAAAAAAADwPwFTY1IAAAAAIC1+3D8BU2NHAAAAACAtftw/AVNjQgAAAAAgLX7cPwADQ29sb3JJbmRleEluQ3VzdG9taXppbmcAWgAAABBUaGVtZUNvbG9yU2NoZW1lSW5kZXgABgAAAAJJbmRleAAHAAAATm9UaW50AAhJc0RlZmF1bHRDb2xvcgAAEERlZmF1bHRDb2xvckluZGV4AP////8AAAM2APUAAAAQU2VyaWVzSW5kZXgAAgAAABBQb2ludEluZGV4AAMAAAADQ29sb3IAVQAAABBBAP8AAAAQUgCyAAAAEEcAsgAAABBCALIAAAABU2NBAAAAAAAAAPA/AVNjUgAAAAAgLX7cPwFTY0cAAAAAIC1+3D8BU2NCAAAAACAtftw/AANDb2xvckluZGV4SW5DdXN0b21pemluZwBaAAAAEFRoZW1lQ29sb3JTY2hlbWVJbmRleAAGAAAAAkluZGV4AAcAAABOb1RpbnQACElzRGVmYXVsdENvbG9yAAAQRGVmYXVsdENvbG9ySW5kZXgA/////wAAAzcA9QAAABBTZXJpZXNJbmRleAACAAAAEFBvaW50SW5kZXgABAAAAANDb2xvcgBVAAAAEEEA/wAAABBSALIAAAAQRwCyAAAAEEIAsgAAAAFTY0EAAAAAAAAA8D8BU2NSAAAAACAtftw/AVNjRwAAAAAgLX7cPwFTY0IAAAAAIC1+3D8AA0NvbG9ySW5kZXhJbkN1c3RvbWl6aW5nAFoAAAAQVGhlbWVDb2xvclNjaGVtZUluZGV4AAYAAAACSW5kZXgABwAAAE5vVGludAAISXNEZWZhdWx0Q29sb3IAABBEZWZhdWx0Q29sb3JJbmRleAD/////AAADOAD1AAAAEFNlcmllc0luZGV4AAMAAAAQUG9pbnRJbmRleAABAAAAA0NvbG9yAFUAAAAQQQD/AAAAEFIAlgAAABBHAJYAAAAQQgCWAAAAAVNjQQAAAAAAAADwPwFTY1IAAAAAgOmE0z8BU2NHAAAAAIDphNM/AVNjQgAAAACA6YTTPwADQ29sb3JJbmRleEluQ3VzdG9taXppbmcAWgAAABBUaGVtZUNvbG9yU2NoZW1lSW5kZXgABwAAAAJJbmRleAAHAAAATm9UaW50AAhJc0RlZmF1bHRDb2xvcgAAEERlZmF1bHRDb2xvckluZGV4AP////8AAAM5APUAAAAQU2VyaWVzSW5kZXgAAwAAABBQb2ludEluZGV4AAIAAAADQ29sb3IAVQAAABBBAP8AAAAQUgCWAAAAEEcAlgAAABBCAJYAAAABU2NBAAAAAAAAAPA/AVNjUgAAAACA6YTTPwFTY0cAAAAAgOmE0z8BU2NCAAAAAIDphNM/AANDb2xvckluZGV4SW5DdXN0b21pemluZwBaAAAAEFRoZW1lQ29sb3JTY2hlbWVJbmRleAAHAAAAAkluZGV4AAcAAABOb1RpbnQACElzRGVmYXVsdENvbG9yAAAQRGVmYXVsdENvbG9ySW5kZXgA/////wAAAzEwAPUAAAAQU2VyaWVzSW5kZXgAAwAAABBQb2ludEluZGV4AAMAAAADQ29sb3IAVQAAABBBAP8AAAAQUgCWAAAAEEcAlgAAABBCAJYAAAABU2NBAAAAAAAAAPA/AVNjUgAAAACA6YTTPwFTY0cAAAAAgOmE0z8BU2NCAAAAAIDphNM/AANDb2xvckluZGV4SW5DdXN0b21pemluZwBaAAAAEFRoZW1lQ29sb3JTY2hlbWVJbmRleAAHAAAAAkluZGV4AAcAAABOb1RpbnQACElzRGVmYXVsdENvbG9yAAAQRGVmYXVsdENvbG9ySW5kZXgA/////wAAAzExAPUAAAAQU2VyaWVzSW5kZXgAAwAAABBQb2ludEluZGV4AAQAAAADQ29sb3IAVQAAABBBAP8AAAAQUgCWAAAAEEcAlgAAABBCAJYAAAABU2NBAAAAAAAAAPA/AVNjUgAAAACA6YTTPwFTY0cAAAAAgOmE0z8BU2NCAAAAAIDphNM/AANDb2xvckluZGV4SW5DdXN0b21pemluZwBaAAAAEFRoZW1lQ29sb3JTY2hlbWVJbmRleAAHAAAAAkluZGV4AAcAAABOb1RpbnQACElzRGVmYXVsdENvbG9yAAAQRGVmYXVsdENvbG9ySW5kZXgA/////wAAAARTZXJpZXNDb2xvckluZGljZXMAvQIAAAMwAOUAAAAQU2VyaWVzSW5kZXgAAQAAAANDb2xvcgBVAAAAEEEA/wAAABBSAN0AAAAQRwDdAAAAEEIA3QAAAAFTY0EAAAAAAAAA8D8BU2NSAAAAAIBEI+c/AVNjRwAAAACARCPnPwFTY0IAAAAAgEQj5z8AA0NvbG9ySW5kZXhJbkN1c3RvbWl6aW5nAFoAAAAQVGhlbWVDb2xvclNjaGVtZUluZGV4AAUAAAACSW5kZXgABwAAAE5vVGludAAISXNEZWZhdWx0Q29sb3IAABBEZWZhdWx0Q29sb3JJbmRleAD/////AAADMQDlAAAAEFNlcmllc0luZGV4AAIAAAADQ29sb3IAVQAAABBBAP8AAAAQUgCyAAAAEEcAsgAAABBCALIAAAABU2NBAAAAAAAAAPA/AVNjUgAAAAAgLX7cPwFTY0cAAAAAIC1+3D8BU2NCAAAAACAtftw/AANDb2xvckluZGV4SW5DdXN0b21pemluZwBaAAAAEFRoZW1lQ29sb3JTY2hlbWVJbmRleAAGAAAAAkluZGV4AAcAAABOb1RpbnQACElzRGVmYXVsdENvbG9yAAAQRGVmYXVsdENvbG9ySW5kZXgA/////wAAAzIA5QAAABBTZXJpZXNJbmRleAADAAAAA0NvbG9yAFUAAAAQQQD/AAAAEFIAlgAAABBHAJYAAAAQQgCWAAAAAVNjQQAAAAAAAADwPwFTY1IAAAAAgOmE0z8BU2NHAAAAAIDphNM/AVNjQgAAAACA6YTTPwADQ29sb3JJbmRleEluQ3VzdG9taXppbmcAWgAAABBUaGVtZUNvbG9yU2NoZW1lSW5kZXgABwAAAAJJbmRleAAHAAAATm9UaW50AAhJc0RlZmF1bHRDb2xvcgAAEERlZmF1bHRDb2xvckluZGV4AP////8AAAAETmVnYXRpdmVTZXJpZXNDb2xvckluZGljZXMABQAAAAAAAk5hbWUADQAAAENvbG9ySW5kaWNlcwAQVmVyc2lvbgACAAAACUxhc3RXcml0ZQDjAniYf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AAAAFHQAAACwAAADnDwAAAAAAAAAAAABGb250VGhlbWVDb2xvcgAAAAAAAUZvbnRUaW50QW5kU2hhZGUAAAAAAAAAAAAQRm9udFNjaGVtZUNvbG9yAAAAAAAIRm9udEl0YWxpYwAAAkZvbnROYW1lAAcAAAArbW4tbHQAAUZvbnRTaXplAAAAAAAAAChACEZvbnRTdHJpa2V0aHJvdWdoAAAIRm9udFN1YnNjcmlwdAAACEZvbnRTdXBlcnNjcmlwdAAACEZvbnRVbmRlcmxpbmUAAAAIU2l6ZVRvVGV4dFdpZHRoAAEIU2l6ZVRvVGV4dEhlaWdodAABA1RleHRNYXJnaW4APwAAAAFMZWZ0AAAAAMBarQZAAVRvcAAAAADAWq0GQAFSaWdodAAAAADAWq0GQAFCb3R0b20AAAAAwFqtBkAAAkRpc3BsYXlUZXh0AAIAAAAzAAFIZWlnaHQAAAAAYDXgMkABV2lkdGgAAAAAYIR6KEABVG9wAAAAAGCu4nNAAUxlZnQAAAAAQGxWW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UA4QYAAANTdGFydAAbAAAAAVgAAAAAAAAAAAABWQAAAAAAAAAAAAADRW5kABsAAAABWAAAAAAAAAAAAAFZAAAAAAAAAAAAAAJTdGFydEFycm93SGVhZAARAAAAbXNvQXJyb3doZWFkTm9uZQACRW5kQXJyb3dIZWFkABEAAABtc29BcnJvd2hlYWROb25lAAVNYW5hZ2VkSWQAEAAAAASehVrb65dASb4h6z5Tquat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Y2tncm91bmRDb2xvcgBVAAAAEEEA/wAAABBSAN0AAAAQRwDdAAAAEEIA3QAAAAFTY0EAAAAAAAAA8D8BU2NSAAAAAIBEI+c/AVNjRwAAAACARCPnPwFTY0IAAAAAgEQj5z8AA0NlbnRlcgAbAAAAAVgAAAAAhhTeWUABWQAAAAALsHl0QAAISGFzTGVhZGVyTGluZQAACElzQ2VudGVyQXV0b21hdGljQWRqdXN0ZWQAAAhJc1VzZXJQb3NpdGlvbgAAA0N1c3RvbUxhYmVsUG9zaXRpb24A3QAAAAFPZmZzZXQxAAAAAAAAAAAAAU9mZnNldDIAAAAAAAAAAAADTGFiZWxPZmZzZXRUeXBlcwBJAAAAAk9mZnNldFR5cGUxABEAAABSZWxhdGl2ZURpc3RhbmNlAAJPZmZzZXRUeXBlMgARAAAAUmVsYXRpdmVEaXN0YW5jZQAAA0FuY2hvclBvc2l0aW9ucwBKAAAAAkxhYmVsQW5jaG9yUG9zaXRpb24ABwAAAENlbnRlcgACQ2hhcnRQb2ludEFuY2hvclBvc2l0aW9uAAcAAABDZW50ZXIAAAAISGFzQ3VzdG9tRm9udENvbG9yAAACU2VwYXJhdG9yAAIAAAAKAAJUZXh0AAIAAAAzAAhSZXF1aXJlUmVsYXRpdmVQb3NpdGlvblVwZ3JhZGUAAQhJc0dlb21ldHJ5T3V0T2ZCb3VuZHMAAAhEZWxldGVkAAAAAzEAHhAAABBQb2ludEluZGV4AAIAAAACQWxpZ25tZW50AAcAAABDZW50ZXIAEFNlcmllc0luZGV4AAEAAAAIUmVxdWlyZUZvbnRDb2xvck1pZ3JhdGlvbgAAA1RleHRCb3gAoQYAAAVNYW5hZ2VkSWQAEAAAAASpOh4y+lVER6usUCrVX5+lCEhhc0NoYW5nZXMAAAhVc2VOYW1lSW5zdGVhZE9mVGFnQXNJZAABCFNoYXBlUHJldmlvdXNseUNyZWF0ZWQAAQNGaWxsQ29sb3IAVQAAABBBAP8AAAAQUgDdAAAAEEcA3QAAABBCAN0AAAABU2NBAAAAAAAAAPA/AVNjUgAAAACARCPnPwFTY0cAAAAAgEQj5z8BU2NCAAAAAIBEI+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AAAADIuNQACVGV4dEhvcml6b250YWxBbGlnbm1lbnQAEAAAAG1zb0FuY2hvckNlbnRlcgACUGFyYWdyYXBoQWxpZ25tZW50AA8AAABtc29BbGlnbkNlbnRlcgACVGV4dFZlcnRpY2FsQWxpZ25tZW50ABAAAABtc29BbmNob3JNaWRkbGUAA0ZvbnRTdHlsZQBBAQAAEEZvbnRCYWNrZ3JvdW5kAAAAAAAIRm9udEJvbGQAAANGb250Q29sb3IAVQAAABBBAP8AAAAQUgAAAAAAEEcAAAAAABBCAAAAAAAsAAAABSsAAAAtAAAA5w8AAAAAAAAAAAAAAVNjQQAAAAAAAADwPwFTY1IAAAAAAAAAAAABU2NHAAAAAAAAAAAAAVNjQgAAAAAAAAAAAAAQRm9udFRoZW1lQ29sb3IAAAAAAAFGb250VGludEFuZFNoYWRlAAAAAAAAAAAAEEZvbnRTY2hlbWVDb2xvcgAAAAAACEZvbnRJdGFsaWMAAAJGb250TmFtZQAHAAAAK21uLWx0AAFGb250U2l6ZQAAAAAAAAAoQAhGb250U3RyaWtldGhyb3VnaAAACEZvbnRTdWJzY3JpcHQAAAhGb250U3VwZXJzY3JpcHQAAAhGb250VW5kZXJsaW5lAAAACFNpemVUb1RleHRXaWR0aAABCFNpemVUb1RleHRIZWlnaHQAAQNUZXh0TWFyZ2luAD8AAAABTGVmdAAAAADAWq0GQAFUb3AAAAAAwFqtBkABUmlnaHQAAAAAwFqtBkABQm90dG9tAAAAAMBarQZAAAJEaXNwbGF5VGV4dAAEAAAAMi41AAFIZWlnaHQAAAAAYDXgMkABV2lkdGgAAAAAwC1PNUABVG9wAAAAAIBXWXRAAUxlZnQAAAAAwKaMb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UA4QYAAANTdGFydAAbAAAAAVgAAAAAAAAAAAABWQAAAAAAAAAAAAADRW5kABsAAAABWAAAAAAAAAAAAAFZAAAAAAAAAAAAAAJTdGFydEFycm93SGVhZAARAAAAbXNvQXJyb3doZWFkTm9uZQACRW5kQXJyb3dIZWFkABEAAABtc29BcnJvd2hlYWROb25lAAVNYW5hZ2VkSWQAEAAAAARSyfUTLpVJSYU7FL5eag1X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Y2tncm91bmRDb2xvcgBVAAAAEEEA/wAAABBSAN0AAAAQRwDdAAAAEEIA3QAAAAFTY0EAAAAAAAAA8D8BU2NSAAAAAIBEI+c/AVNjRwAAAACARCPnPwFTY0IAAAAAgEQj5z8AA0NlbnRlcgAbAAAAAVgAAAAAnJnhbUABWQAAAAArWfB0QAAISGFzTGVhZGVyTGluZQAACElzQ2VudGVyQXV0b21hdGljQWRqdXN0ZWQAAAhJc1VzZXJQb3NpdGlvbgAAA0N1c3RvbUxhYmVsUG9zaXRpb24A3QAAAAFPZmZzZXQxAAAAAAAAAAAAAU9mZnNldDIAAAAAAAAAAAADTGFiZWxPZmZzZXRUeXBlcwBJAAAAAk9mZnNldFR5cGUxABEAAABSZWxhdGl2ZURpc3RhbmNlAAJPZmZzZXRUeXBlMgARAAAAUmVsYXRpdmVEaXN0YW5jZQAAA0FuY2hvclBvc2l0aW9ucwBKAAAAAkxhYmVsQW5jaG9yUG9zaXRpb24ABwAAAENlbnRlcgACQ2hhcnRQb2ludEFuY2hvclBvc2l0aW9uAAcAAABDZW50ZXIAAAAISGFzQ3VzdG9tRm9udENvbG9yAAACU2VwYXJhdG9yAAIAAAAKAAJUZXh0AAQAAAAyLjUACFJlcXVpcmVSZWxhdGl2ZVBvc2l0aW9uVXBncmFkZQABCElzR2VvbWV0cnlPdXRPZkJvdW5kcwAACERlbGV0ZWQAAAADMgAeEAAAEFBvaW50SW5kZXgAAwAAAAJBbGlnbm1lbnQABwAAAENlbnRlcgAQU2VyaWVzSW5kZXgAAQAAAAhSZXF1aXJlRm9udENvbG9yTWlncmF0aW9uAAADVGV4dEJveAChBgAABU1hbmFnZWRJZAAQAAAABKbq87xRLNhAsogD65EWCFIISGFzQ2hhbmdlcwAACFVzZU5hbWVJbnN0ZWFkT2ZUYWdBc0lkAAEIU2hhcGVQcmV2aW91c2x5Q3JlYXRlZAABA0ZpbGxDb2xvcgBVAAAAEEEA/wAAABBSAN0AAAAQRwDdAAAAEEIA3QAAAAFTY0EAAAAAAAAA8D8BU2NSAAAAAIBEI+c/AVNjRwAAAACARCPnPwFTY0IAAAAAgEQj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My41AAJUZXh0SG9yaXpvbnRhbEFsaWdubWVudAAQAAAAbXNvQW5jaG9yQ2VudGVyAAJQYXJhZ3JhcGhBbGlnbm1lbnQADwAAAG1zb0FsaWduQ2VudGVyAAJUZXh0VmVydGljYWxBbGlnbm1lbnQAEAAAAG1zb0FuY2hvck1pZGRsZQADRm9udFN0eWxlAEEBAAAQRm9udEJhY2tncm91bmQALQAAAAUsAAAALgAAAOcPAAAAAAAAAAAAAAAAAAAIRm9udEJvbGQAAANGb250Q29sb3IAVQAAABBBAP8AAAAQUgAAAAAAEEcAAAAAABBCAAAAAAABU2NBAAAAAAAAAPA/AVNjUgAAAAAAAAAAAAFTY0cAAAAAAAAAAAABU2NCAAAAAAAAAAAAABBGb250VGhlbWVDb2xvcgAAAAAAAUZvbnRUaW50QW5kU2hhZGUAAAAAAAAAAAAQRm9udFNjaGVtZUNvbG9yAAAAAAAIRm9udEl0YWxpYwAAAkZvbnROYW1lAAcAAAArbW4tbHQAAUZvbnRTaXplAAAAAAAAAChACEZvbnRTdHJpa2V0aHJvdWdoAAAIRm9udFN1YnNjcmlwdAAACEZvbnRTdXBlcnNjcmlwdAAACEZvbnRVbmRlcmxpbmUAAAAIU2l6ZVRvVGV4dFdpZHRoAAEIU2l6ZVRvVGV4dEhlaWdodAABA1RleHRNYXJnaW4APwAAAAFMZWZ0AAAAAMBarQZAAVRvcAAAAADAWq0GQAFSaWdodAAAAADAWq0GQAFCb3R0b20AAAAAwFqtBkAAAkRpc3BsYXlUZXh0AAQAAAAzLjUAAUhlaWdodAAAAABgNeAyQAFXaWR0aAAAAADALU81QAFUb3AAAAAAAAVsc0ABTGVmdAAAAAAAm792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QDhBgAAA1N0YXJ0ABsAAAABWAAAAAAAAAAAAAFZAAAAAAAAAAAAAANFbmQAGwAAAAFYAAAAAAAAAAAAAVkAAAAAAAAAAAAAAlN0YXJ0QXJyb3dIZWFkABEAAABtc29BcnJvd2hlYWROb25lAAJFbmRBcnJvd0hlYWQAEQAAAG1zb0Fycm93aGVhZE5vbmUABU1hbmFnZWRJZAAQAAAABLb6/kcCe4dKghxTPiYhv0k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ja2dyb3VuZENvbG9yAFUAAAAQQQD/AAAAEFIA3QAAABBHAN0AAAAQQgDdAAAAAVNjQQAAAAAAAADwPwFTY1IAAAAAgEQj5z8BU2NHAAAAAIBEI+c/AVNjQgAAAACARCPnPwADQ2VudGVyABsAAAABWAAAAABuFGp3QAFZAAAAAKsGA3RAAAhIYXNMZWFkZXJMaW5lAAAISXNDZW50ZXJBdXRvbWF0aWNBZGp1c3RlZAAACElzVXNlclBvc2l0aW9uAAADQ3VzdG9tTGFiZWxQb3NpdGlvbgDdAAAAAU9mZnNldDEAAAAAAAAAAAABT2Zmc2V0MgAAAAAAAAAAAANMYWJlbE9mZnNldFR5cGVzAEkAAAACT2Zmc2V0VHlwZTEAEQAAAFJlbGF0aXZlRGlzdGFuY2UAAk9mZnNldFR5cGUyABEAAABSZWxhdGl2ZURpc3RhbmNlAAADQW5jaG9yUG9zaXRpb25zAEoAAAACTGFiZWxBbmNob3JQb3NpdGlvbgAHAAAAQ2VudGVyAAJDaGFydFBvaW50QW5jaG9yUG9zaXRpb24ABwAAAENlbnRlcgAAAAhIYXNDdXN0b21Gb250Q29sb3IAAAJTZXBhcmF0b3IAAgAAAAoAAlRleHQABAAAADMuNQAIUmVxdWlyZVJlbGF0aXZlUG9zaXRpb25VcGdyYWRlAAEISXNHZW9tZXRyeU91dE9mQm91bmRzAAAIRGVsZXRlZAAAAAMzABgQAAAQUG9pbnRJbmRleAAEAAAAAkFsaWdubWVudAAHAAAAQ2VudGVyABBTZXJpZXNJbmRleAABAAAACFJlcXVpcmVGb250Q29sb3JNaWdyYXRpb24AAANUZXh0Qm94AJ0GAAAFTWFuYWdlZElkABAAAAAECCf8WmuhEkO/QhSFN1OoRQhIYXNDaGFuZ2VzAAAIVXNlTmFtZUluc3RlYWRPZlRhZ0FzSWQAAQhTaGFwZVByZXZpb3VzbHlDcmVhdGVkAAEDRmlsbENvbG9yAFUAAAAQQQD/AAAAEFIA3QAAABBHAN0AAAAQQgDdAAAAAVNjQQAAAAAAAADwPwFTY1IAAAAAgEQj5z8BU2NHAAAAAIBEI+c/AVNjQgAAAACARCP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IAAAA0AAJUZXh0SG9yaXpvbnRhbEFsaWdubWVudAAQAAAAbXNvQW5jaG9yQ2VudGVyAAJQYXJhZ3JhcGhBbGlnbm1lbnQADwAAAG1zb0FsaWduQ2VudGVyAAJUZXh0VmVydGljYWxBbGlnbi4AAAAFLQAAAC8AAADnDwAAAAAAAAAAAABtZW50ABAAAABtc29BbmNob3JNaWRkbGUAA0ZvbnRTdHlsZQBBAQAAEEZvbnRCYWNrZ3JvdW5kAAAAAAAIRm9udEJvbGQAAANGb250Q29sb3IAVQAAABBBAP8AAAAQUgAAAAAAEEcAAAAAABBCAAAAAAABU2NBAAAAAAAAAPA/AVNjUgAAAAAAAAAAAAFTY0cAAAAAAAAAAAABU2NCAAAAAAAAAAAAABBGb250VGhlbWVDb2xvcgAAAAAAAUZvbnRUaW50QW5kU2hhZGUAAAAAAAAAAAAQRm9udFNjaGVtZUNvbG9yAAAAAAAIRm9udEl0YWxpYwAAAkZvbnROYW1lAAcAAAArbW4tbHQAAUZvbnRTaXplAAAAAAAAAChACEZvbnRTdHJpa2V0aHJvdWdoAAAIRm9udFN1YnNjcmlwdAAACEZvbnRTdXBlcnNjcmlwdAAACEZvbnRVbmRlcmxpbmUAAAAIU2l6ZVRvVGV4dFdpZHRoAAEIU2l6ZVRvVGV4dEhlaWdodAABA1RleHRNYXJnaW4APwAAAAFMZWZ0AAAAAMBarQZAAVRvcAAAAADAWq0GQAFSaWdodAAAAADAWq0GQAFCb3R0b20AAAAAwFqtBkAAAkRpc3BsYXlUZXh0AAIAAAA0AAFIZWlnaHQAAAAAYDXgMkABV2lkdGgAAAAAYIR6KEABVG9wAAAAAOBb9XJAAUxlZnQAAAAAIHKBf0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UA4QYAAANTdGFydAAbAAAAAVgAAAAAAAAAAAABWQAAAAAAAAAAAAADRW5kABsAAAABWAAAAAAAAAAAAAFZAAAAAAAAAAAAAAJTdGFydEFycm93SGVhZAARAAAAbXNvQXJyb3doZWFkTm9uZQACRW5kQXJyb3dIZWFkABEAAABtc29BcnJvd2hlYWROb25lAAVNYW5hZ2VkSWQAEAAAAARYg+GifFo6TrbP0w7jYKyi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Y2tncm91bmRDb2xvcgBVAAAAEEEA/wAAABBSAN0AAAAQRwDdAAAAEEIA3QAAAAFTY0EAAAAAAAAA8D8BU2NSAAAAAIBEI+c/AVNjRwAAAACARCPnPwFTY0IAAAAAgEQj5z8AA0NlbnRlcgAbAAAAAVgAAACAMVzjf0ABWQAAAACLXYxzQAAISGFzTGVhZGVyTGluZQAACElzQ2VudGVyQXV0b21hdGljQWRqdXN0ZWQAAAhJc1VzZXJQb3NpdGlvbgAAA0N1c3RvbUxhYmVsUG9zaXRpb24A3QAAAAFPZmZzZXQxAAAAAAAAAAAAAU9mZnNldDIAAAAAAAAAAAADTGFiZWxPZmZzZXRUeXBlcwBJAAAAAk9mZnNldFR5cGUxABEAAABSZWxhdGl2ZURpc3RhbmNlAAJPZmZzZXRUeXBlMgARAAAAUmVsYXRpdmVEaXN0YW5jZQAAA0FuY2hvclBvc2l0aW9ucwBKAAAAAkxhYmVsQW5jaG9yUG9zaXRpb24ABwAAAENlbnRlcgACQ2hhcnRQb2ludEFuY2hvclBvc2l0aW9uAAcAAABDZW50ZXIAAAAISGFzQ3VzdG9tRm9udENvbG9yAAACU2VwYXJhdG9yAAIAAAAKAAJUZXh0AAIAAAA0AAhSZXF1aXJlUmVsYXRpdmVQb3NpdGlvblVwZ3JhZGUAAQhJc0dlb21ldHJ5T3V0T2ZCb3VuZHMAAAhEZWxldGVkAAAAAzQAEhcAABBQb2ludEluZGV4AAEAAAACQWxpZ25tZW50AAcAAABDZW50ZXIAEFNlcmllc0luZGV4AAIAAAAIUmVxdWlyZUZvbnRDb2xvck1pZ3JhdGlvbgAAA1RleHRCb3gAoQYAAAVNYW5hZ2VkSWQAEAAAAAQvSgOB5BL7R5FBpH2OcmARCEhhc0NoYW5nZXMAAAhVc2VOYW1lSW5zdGVhZE9mVGFnQXNJZAABCFNoYXBlUHJldmlvdXNseUNyZWF0ZWQAAQNGaWxsQ29sb3IAVQAAABBBAP8AAAAQUgCyAAAAEEcAsgAAABBCALIAAAABU2NBAAAAAAAAAPA/AVNjUgAAAAAgLX7cPwFTY0cAAAAAIC1+3D8BU2NCAAAAACAtftw/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AAAADIuNAACVGV4dEhvcml6b250YWxBbGlnbm1lbnQAEAAAAG1zb0FuY2hvckNlbnRlcgACUGEvAAAABS4AAAAwAAAA5w8AAAAAAAAAAAAA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AAAAACEZvbnRJdGFsaWMAAAJGb250TmFtZQAHAAAAK21uLWx0AAFGb250U2l6ZQAAAAAAAAAoQAhGb250U3RyaWtldGhyb3VnaAAACEZvbnRTdWJzY3JpcHQAAAhGb250U3VwZXJzY3JpcHQAAAhGb250VW5kZXJsaW5lAAAACFNpemVUb1RleHRXaWR0aAABCFNpemVUb1RleHRIZWlnaHQAAQNUZXh0TWFyZ2luAD8AAAABTGVmdAAAAADAWq0GQAFUb3AAAAAAwFqtBkABUmlnaHQAAAAAwFqtBkABQm90dG9tAAAAAMBarQZAAAJEaXNwbGF5VGV4dAAEAAAAMi40AAFIZWlnaHQAAAAAYDXgMkABV2lkdGgAAAAAwC1PNUABVG9wAAAAACBIwm1AAUxlZnQAAAAAwC40V0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UA4QYAAANTdGFydAAbAAAAAVgAAAAA+CYAVkABWQAAAACgPXFxQAADRW5kABsAAAABWAAAAAD4JgBWQAFZAAAAAODQIXZAAAJTdGFydEFycm93SGVhZAARAAAAbXNvQXJyb3doZWFkTm9uZQACRW5kQXJyb3dIZWFkABEAAABtc29BcnJvd2hlYWROb25lAAVNYW5hZ2VkSWQAEAAAAAQrOIIdsTa/TpTnLS/vcfg7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E3CUkABV2lkdGgAAAAAAAAAAAABVG9wAAAAAKA9cXFAAUxlZnQAAAAAACcAVk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PgmAFZAAVkAAAAA4NBRdkAAA0VuZAAbAAAAAVgAAAAA+CYAVkABWQAAAADg0CF2QAACU3RhcnRBcnJvd0hlYWQAEQAAAG1zb0Fycm93aGVhZE5vbmUAAkVuZEFycm93SGVhZAARAAAAbXNvQXJyb3doZWFkTm9uZQAFTWFuYWdlZElkABAAAAAE2zb/+sCb5UeQQwKoR4Wx+A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MAAAAAUvAAAAMQAAAOcPAAAAAAAAAAAAAAAAAAAAAAAAAAFCb3R0b20AAAAAAAAAAAAAAUhlaWdodAAAAAAAAAAIQAFXaWR0aAAAAAAAAAAAAAFUb3AAAAAA4NAhdkABTGVmdAAAAAAAJwBWQAhGbGlwSG9yaXpvbnRhbGx5AAAIRmxpcEhvcml6b250YWxseUFwcGxpZWQAAAhGbGlwVmVydGljYWxseQAB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ja2dyb3VuZENvbG9yAFUAAAAQQQD/AAAAEFIAsgAAABBHALIAAAAQQgCyAAAAAVNjQQAAAAAAAADwPwFTY1IAAAAAIC1+3D8BU2NHAAAAACAtftw/AVNjQgAAAAAgLX7cPwADQ2VudGVyABsAAAABWAAAAAB4FN5ZQAFZAAAAAHZL8G5AAAhIYXNMZWFkZXJMaW5lAAAISXNDZW50ZXJBdXRvbWF0aWNBZGp1c3RlZAAACElzVXNlclBvc2l0aW9uAAADQ3VzdG9tTGFiZWxQb3NpdGlvbgDdAAAAAU9mZnNldDEAAAAAAAAAAAABT2Zmc2V0MgAAAAAAAAAAAANMYWJlbE9mZnNldFR5cGVzAEkAAAACT2Zmc2V0VHlwZTEAEQAAAFJlbGF0aXZlRGlzdGFuY2UAAk9mZnNldFR5cGUyABEAAABSZWxhdGl2ZURpc3RhbmNlAAADQW5jaG9yUG9zaXRpb25zAEoAAAACTGFiZWxBbmNob3JQb3NpdGlvbgAHAAAAQ2VudGVyAAJDaGFydFBvaW50QW5jaG9yUG9zaXRpb24ABwAAAENlbnRlcgAAAAhIYXNDdXN0b21Gb250Q29sb3IAAAJTZXBhcmF0b3IAAgAAAAoAAlRleHQABAAAADIuNAAIUmVxdWlyZVJlbGF0aXZlUG9zaXRpb25VcGdyYWRlAAEISXNHZW9tZXRyeU91dE9mQm91bmRzAAAIRGVsZXRlZAAAAAM1ABIXAAAQUG9pbnRJbmRleAACAAAAAkFsaWdubWVudAAHAAAAQ2VudGVyABBTZXJpZXNJbmRleAACAAAACFJlcXVpcmVGb250Q29sb3JNaWdyYXRpb24AAANUZXh0Qm94AKEGAAAFTWFuYWdlZElkABAAAAAEgMhBE4rQX0u57PbrZdRd+ghIYXNDaGFuZ2VzAAAIVXNlTmFtZUluc3RlYWRPZlRhZ0FzSWQAAQhTaGFwZVByZXZpb3VzbHlDcmVhdGVkAAEDRmlsbENvbG9yAFUAAAAQQQD/AAAAEFIAsgAAABBHALIAAAAQQgCyAAAAAVNjQQAAAAAAAADwPwFTY1IAAAAAIC1+3D8BU2NHAAAAACAtftw/AVNjQgAAAAAgLX7c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QAAAA0LjQAAlRleHRIb3Jpem9udGFsQWxpZ25tZW50ABAAAABtc29BbmNob3JDZW50ZXI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AAAAACEZvbnRJdGFsaWMAAAJGb250TmFtZQAHAAAAK21uLWx0AAFGb250U2l6ZQAAAAAAAAAoQAhGb250U3RyaWtldGhyb3VnaAAACEZvbnRTdWJzY3JpcHQAAAhGb250U3VwZXJzY3JpcHQAAAhGb250VW5kZXJsaW5lAAAACFNpemVUb1RleHRXaWR0aAABCFNpemVUb1RleHRIZWlnaHQAAQNUZXh0TWFyZ2luAD8AAAABTGVmdAAAAADAWq0GQAFUb3AAAAAAwFqtBkABUmlnaHQAAAAAwFqtBkABQm90dG9tAAAAAMBarQZAAAJEaXNwbGF5VGV4dAAEAAAANC40AAFIZWlnaHQAAAAAYDXgMkABV2lkdGgAAAAAwC1PNUABVG9wAAAAAOCi52tAAUxlZnQAAAAAwKaMb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UA4QYAAANTdGFydAAbAAAAAVgAAAAAmgxia0ABWQAAAAAgT2lyQAADRW5kABsAAAABWAAAAACaDGJrQAFZAAAAAIBPGXZAAAJTdGFydEFycm93SGVhZAARAAAAbXNvQXJyb3doZWFkTm9uZQACRW5kQXJyb3dIZWFkABEAAABtc29BcnJvd2hlYWROb25lAAVNYW5hZ2VkSWQAEAAAAASiVCxmFUTOTay/sQbXdKHN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DEAAAAFMAAAADIAAADnDwAAAAAAAAAAAAB0SGVpZ2h0AAADVGV4dE1hcmdpbgA/AAAAAUxlZnQAAAAAAAAAAAABVG9wAAAAAAAAAAAAAVJpZ2h0AAAAAAAAAAAAAUJvdHRvbQAAAAAAAAAAAAABSGVpZ2h0AAAAAAADgE1AAVdpZHRoAAAAAAAAAAAAAVRvcAAAAAAgT2lyQAFMZWZ0AAAAAKAMYmt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CaDGJrQAFZAAAAAIBPSXZAAANFbmQAGwAAAAFYAAAAAJoMYmtAAVkAAAAAgE8ZdkAAAlN0YXJ0QXJyb3dIZWFkABEAAABtc29BcnJvd2hlYWROb25lAAJFbmRBcnJvd0hlYWQAEQAAAG1zb0Fycm93aGVhZE5vbmUABU1hbmFnZWRJZAAQAAAABOR1opvCFZNFoOZ23GICbCY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AAFUb3AAAAAAgE8ZdkABTGVmdAAAAACgDGJrQAhGbGlwSG9yaXpvbnRhbGx5AAAIRmxpcEhvcml6b250YWxseUFwcGxpZWQAAAhGbGlwVmVydGljYWxseQAB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ja2dyb3VuZENvbG9yAFUAAAAQQQD/AAAAEFIAsgAAABBHALIAAAAQQgCyAAAAAVNjQQAAAAAAAADwPwFTY1IAAAAAIC1+3D8BU2NHAAAAACAtftw/AVNjQgAAAAAgLX7cPwADQ2VudGVyABsAAAABWAAAAACcmeFtQAFZAAAAADamFW1AAAhIYXNMZWFkZXJMaW5lAAAISXNDZW50ZXJBdXRvbWF0aWNBZGp1c3RlZAAACElzVXNlclBvc2l0aW9uAAADQ3VzdG9tTGFiZWxQb3NpdGlvbgDdAAAAAU9mZnNldDEAAAAAAAAAAAABT2Zmc2V0MgAAAAAAAAAAAANMYWJlbE9mZnNldFR5cGVzAEkAAAACT2Zmc2V0VHlwZTEAEQAAAFJlbGF0aXZlRGlzdGFuY2UAAk9mZnNldFR5cGUyABEAAABSZWxhdGl2ZURpc3RhbmNlAAADQW5jaG9yUG9zaXRpb25zAEoAAAACTGFiZWxBbmNob3JQb3NpdGlvbgAHAAAAQ2VudGVyAAJDaGFydFBvaW50QW5jaG9yUG9zaXRpb24ABwAAAENlbnRlcgAAAAhIYXNDdXN0b21Gb250Q29sb3IAAAJTZXBhcmF0b3IAAgAAAAoAAlRleHQABAAAADQuNAAIUmVxdWlyZVJlbGF0aXZlUG9zaXRpb25VcGdyYWRlAAEISXNHZW9tZXRyeU91dE9mQm91bmRzAAAIRGVsZXRlZAAAAAM2ABIXAAAQUG9pbnRJbmRleAADAAAAAkFsaWdubWVudAAHAAAAQ2VudGVyABBTZXJpZXNJbmRleAACAAAACFJlcXVpcmVGb250Q29sb3JNaWdyYXRpb24AAANUZXh0Qm94AKEGAAAFTWFuYWdlZElkABAAAAAEewXmh0dnv02goptvuSE5IghIYXNDaGFuZ2VzAAAIVXNlTmFtZUluc3RlYWRPZlRhZ0FzSWQAAQhTaGFwZVByZXZpb3VzbHlDcmVhdGVkAAEDRmlsbENvbG9yAFUAAAAQQQD/AAAAEFIAsgAAABBHALIAAAAQQgCyAAAAAVNjQQAAAAAAAADwPwFTY1IAAAAAIC1+3D8BU2NHAAAAACAtftw/AVNjQgAAAAAgLX7c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QAAAAxLjgAAlRleHRIb3Jpem9udGFsQWxpZ25tZW50ABAAAABtc29BbmNob3JDZW50ZXI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AAAAACEZvbnRJdGFsaWMAAAJGb250TmFtZQAHAAAAK21uLWx0AAFGb250U2l6ZQAAAAAAAAAoQAhGb250U3RyaWtldGhyb3VnaAAACEZvbnRTdWJzY3JpcHQAAAhGb250U3VwZXJzY3JpcHQAAAgyAAAABTEAAAAzAAAA5w8AAAAAAAAAAAAARm9udFVuZGVybGluZQAAAAhTaXplVG9UZXh0V2lkdGgAAQhTaXplVG9UZXh0SGVpZ2h0AAEDVGV4dE1hcmdpbgA/AAAAAUxlZnQAAAAAwFqtBkABVG9wAAAAAMBarQZAAVJpZ2h0AAAAAMBarQZAAUJvdHRvbQAAAADAWq0GQAACRGlzcGxheVRleHQABAAAADEuOAABSGVpZ2h0AAAAAGA14DJAAVdpZHRoAAAAAMAtTzVAAVRvcAAAAABgbARtQAFMZWZ0AAAAAACbv3Z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AOEGAAADU3RhcnQAGwAAAAFYAAAAADmSLHZAAVkAAAAAACx5cEAAA0VuZAAbAAAAAVgAAAAAOZIsdkABWQAAAADgaR52QAACU3RhcnRBcnJvd0hlYWQAEQAAAG1zb0Fycm93aGVhZE5vbmUAAkVuZEFycm93SGVhZAARAAAAbXNvQXJyb3doZWFkTm9uZQAFTWFuYWdlZElkABAAAAAEWSxH+s9XLUux3cH1Epu4/w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ID3lFZAAVdpZHRoAAAAAAAAAAAAAVRvcAAAAAAALHlwQAFMZWZ0AAAAAECSLHZ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5kix2QAFZAAAAAOBpTnZAAANFbmQAGwAAAAFYAAAAADmSLHZAAVkAAAAA4GkedkAAAlN0YXJ0QXJyb3dIZWFkABEAAABtc29BcnJvd2hlYWROb25lAAJFbmRBcnJvd0hlYWQAEQAAAG1zb0Fycm93aGVhZE5vbmUABU1hbmFnZWRJZAAQAAAABE+o99y5+RlBrN2gQPn2gaw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AAFUb3AAAAAA4GkedkABTGVmdAAAAABAkix2QAhGbGlwSG9yaXpvbnRhbGx5AAAIRmxpcEhvcml6b250YWxseUFwcGxpZWQAAAhGbGlwVmVydGljYWxseQAB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MwAAAAUyAAAANAAAAOcPAAAAAAAA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Y2tncm91bmRDb2xvcgBVAAAAEEEA/wAAABBSALIAAAAQRwCyAAAAEEIAsgAAAAFTY0EAAAAAAAAA8D8BU2NSAAAAACAtftw/AVNjRwAAAAAgLX7cPwFTY0IAAAAAIC1+3D8AA0NlbnRlcgAbAAAAAVgAAAAAbhRqd0ABWQAAAAC2bzJuQAAISGFzTGVhZGVyTGluZQAACElzQ2VudGVyQXV0b21hdGljQWRqdXN0ZWQAAAhJc1VzZXJQb3NpdGlvbgAAA0N1c3RvbUxhYmVsUG9zaXRpb24A3QAAAAFPZmZzZXQxAAAAAAAAAAAAAU9mZnNldDIAAAAAAAAAAAADTGFiZWxPZmZzZXRUeXBlcwBJAAAAAk9mZnNldFR5cGUxABEAAABSZWxhdGl2ZURpc3RhbmNlAAJPZmZzZXRUeXBlMgARAAAAUmVsYXRpdmVEaXN0YW5jZQAAA0FuY2hvclBvc2l0aW9ucwBKAAAAAkxhYmVsQW5jaG9yUG9zaXRpb24ABwAAAENlbnRlcgACQ2hhcnRQb2ludEFuY2hvclBvc2l0aW9uAAcAAABDZW50ZXIAAAAISGFzQ3VzdG9tRm9udENvbG9yAAACU2VwYXJhdG9yAAIAAAAKAAJUZXh0AAQAAAAxLjgACFJlcXVpcmVSZWxhdGl2ZVBvc2l0aW9uVXBncmFkZQABCElzR2VvbWV0cnlPdXRPZkJvdW5kcwAACERlbGV0ZWQAAAADNwASFwAAEFBvaW50SW5kZXgABAAAAAJBbGlnbm1lbnQABwAAAENlbnRlcgAQU2VyaWVzSW5kZXgAAgAAAAhSZXF1aXJlRm9udENvbG9yTWlncmF0aW9uAAADVGV4dEJveAChBgAABU1hbmFnZWRJZAAQAAAABCO2iY+SqqhFgKskhRbSD/oISGFzQ2hhbmdlcwAACFVzZU5hbWVJbnN0ZWFkT2ZUYWdBc0lkAAEIU2hhcGVQcmV2aW91c2x5Q3JlYXRlZAABA0ZpbGxDb2xvcgBVAAAAEEEA/wAAABBSALIAAAAQRwCyAAAAEEIAsgAAAAFTY0EAAAAAAAAA8D8BU2NSAAAAACAtftw/AVNjRwAAAAAgLX7cPwFTY0IAAAAAIC1+3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Mi44AAJUZXh0SG9yaXpvbnRhbEFsaWdubWVudAAQAAAAbXNvQW5jaG9yQ2VudGVy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AAAAAhGb250SXRhbGljAAACRm9udE5hbWUABwAAACttbi1sdAABRm9udFNpemUAAAAAAAAAKEAIRm9udFN0cmlrZXRocm91Z2gAAAhGb250U3Vic2NyaXB0AAAIRm9udFN1cGVyc2NyaXB0AAAIRm9udFVuZGVybGluZQAAAAhTaXplVG9UZXh0V2lkdGgAAQhTaXplVG9UZXh0SGVpZ2h0AAEDVGV4dE1hcmdpbgA/AAAAAUxlZnQAAAAAwFqtBkABVG9wAAAAAMBarQZAAVJpZ2h0AAAAAMBarQZAAUJvdHRvbQAAAADAWq0GQAACRGlzcGxheVRleHQABAAAADIuOAABSGVpZ2h0AAAAAGA14DJAAVdpZHRoAAAAAMAtTzVAAVRvcAAAAACAIk9pQAFMZWZ0AAAAAMDiOH9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AOEGAAADU3RhcnQAGwAAAAFYAAAAAKC+iX5AAVkAAAAAYDQCb0AAA0VuZAAbAAAAAVgAAAAAoL6JfkABWQAAAABAZw12QAACU3RhcnRBcnJvd0hlYWQAEQAAAG1zb0Fycm93aGVhZE5vbmUAAkVuZEFycm93SGVhZAARAAAAbXNvQXJyb3doZWFkTm9uZQAFTWFuYWdlZElkABAAAAAEqpR86LJBmk2qF98DQ+ur1g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EA0MVpAAVdpZHRoAAAAAAAAAAAAAVRvcAAAAABgNAJvQAFMZWZ0AAAAAKC+iX5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jQAAAAFMwAAADUAAADnDwAAAAAAAAAAAAB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oL6JfkABWQAAAABAZz12QAADRW5kABsAAAABWAAAAACgvol+QAFZAAAAAEBnDXZAAAJTdGFydEFycm93SGVhZAARAAAAbXNvQXJyb3doZWFkTm9uZQACRW5kQXJyb3dIZWFkABEAAABtc29BcnJvd2hlYWROb25lAAVNYW5hZ2VkSWQAEAAAAATmSH7JR5amT7E2bR7v8LYi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CEABV2lkdGgAAAAAAAAAAAABVG9wAAAAAEBnDXZAAUxlZnQAAAAAoL6JfkAIRmxpcEhvcml6b250YWxseQAACEZsaXBIb3Jpem9udGFsbHlBcHBsaWVkAAAIRmxpcFZlcnRpY2FsbHkAAQ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Y2tncm91bmRDb2xvcgBVAAAAEEEA/wAAABBSALIAAAAQRwCyAAAAEEIAsgAAAAFTY0EAAAAAAAAA8D8BU2NSAAAAACAtftw/AVNjRwAAAAAgLX7cPwFTY0IAAAAAIC1+3D8AA0NlbnRlcgAbAAAAAVgAAAAALlzjf0ABWQAAAADWJX1qQAAISGFzTGVhZGVyTGluZQAACElzQ2VudGVyQXV0b21hdGljQWRqdXN0ZWQAAAhJc1VzZXJQb3NpdGlvbgAAA0N1c3RvbUxhYmVsUG9zaXRpb24A3QAAAAFPZmZzZXQxAAAAAAAAAAAAAU9mZnNldDIAAAAAAAAAAAADTGFiZWxPZmZzZXRUeXBlcwBJAAAAAk9mZnNldFR5cGUxABEAAABSZWxhdGl2ZURpc3RhbmNlAAJPZmZzZXRUeXBlMgARAAAAUmVsYXRpdmVEaXN0YW5jZQAAA0FuY2hvclBvc2l0aW9ucwBKAAAAAkxhYmVsQW5jaG9yUG9zaXRpb24ABwAAAENlbnRlcgACQ2hhcnRQb2ludEFuY2hvclBvc2l0aW9uAAcAAABDZW50ZXIAAAAISGFzQ3VzdG9tRm9udENvbG9yAAACU2VwYXJhdG9yAAIAAAAKAAJUZXh0AAQAAAAyLjgACFJlcXVpcmVSZWxhdGl2ZVBvc2l0aW9uVXBncmFkZQABCElzR2VvbWV0cnlPdXRPZkJvdW5kcwAACERlbGV0ZWQAAAADOAAKFwAAEFBvaW50SW5kZXgAAQAAAAJBbGlnbm1lbnQABwAAAENlbnRlcgAQU2VyaWVzSW5kZXgAAwAAAAhSZXF1aXJlRm9udENvbG9yTWlncmF0aW9uAAADVGV4dEJveACbBgAABU1hbmFnZWRJZAAQAAAABEMw89kDO1RCtv4YFLvEVnwISGFzQ2hhbmdlcwAACFVzZU5hbWVJbnN0ZWFkT2ZUYWdBc0lkAAEIU2hhcGVQcmV2aW91c2x5Q3JlYXRlZAABA0ZpbGxDb2xvcgBVAAAAEEEA/wAAABBSAJYAAAAQRwCWAAAAEEIAlgAAAAFTY0EAAAAAAAAA8D8BU2NSAAAAAIDphNM/AVNjRwAAAACA6YTTPwFTY0IAAAAAgOmE0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CAAAAMg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AAAAACEZvbnRJdGFsaWMAAAJGb250TmFtZQAHAAAAK21uLWx0AAFGb250U2l6ZQAAAAAAAAAoQAhGb250U3RyaWtldGhyb3VnaAAACEZvbnRTdWJzY3JpcHQAAAhGb250U3VwZXJzY3JpcHQAAAhGb250VW5kZXJsaW5lAAAACFNpemVUb1RleHRXaWR0aAABCFNpemVUb1RleHRIZWlnaHQAAQNUZXh0TWFyZ2luAD8AAAABTGVmdAAAAADAWq0GQAFUb3AAAAAAwFqtBkABUmlnaHQAAAAAwFqtBkABQm90dG9tAAAAAMBarQZAAAJEaXNwbGF5VGV4dAACAAAAMgABSGVpZ2h0AAAAAGA14DJAAVdpZHRoAAAAAGCEeihAAVRvcAAAAACA2JllQAFMZWZ0AAAAAEBsVlhACEZsaXBIb3Jpem9udGFsbHkAAAhGbGlwSG9yaXpvbnRhbGx5QXBwbGllZAAACEZsaXBWZXJ0aWNhbGx5AAAIRmxpcFZlcnRpY2FsbHlBcHBsaWVkAAABUm90YXRpb24AAAAAAAAAAAABWk9yZGVyAAAAAAAAAAAAA0JvcmRlckNvbG9yAFUAAAAQQQAAAAAAEFIAAAAAABBHAAAAAAAQQgAAAAAAAVNjQQAAAAAAAAAAAAFTY1IAAAAAAAAAAAABU2M1AAAABTQAAAA2AAAA5w8AAAAAAAAAAAAA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QDhBgAAA1N0YXJ0ABsAAAABWAAAAAC41ZpdQAFZAAAAAOAElWlAAANFbmQAGwAAAAFYAAAAALjVml1AAVkAAAAAoGT8dUAAAlN0YXJ0QXJyb3dIZWFkABEAAABtc29BcnJvd2hlYWROb25lAAJFbmRBcnJvd0hlYWQAEQAAAG1zb0Fycm93aGVhZE5vbmUABU1hbmFnZWRJZAAQAAAABA9+i1clYmlHo8X9qNA/y0M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gxGNiQAFXaWR0aAAAAAAAAAAAAAFUb3AAAAAA4ASVaUABTGVmdAAAAADA1Zpd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uNWaXUABWQAAAACgZCx2QAADRW5kABsAAAABWAAAAAC41ZpdQAFZAAAAAKBk/HVAAAJTdGFydEFycm93SGVhZAARAAAAbXNvQXJyb3doZWFkTm9uZQACRW5kQXJyb3dIZWFkABEAAABtc29BcnJvd2hlYWROb25lAAVNYW5hZ2VkSWQAEAAAAATCOn5bzzzNTIrs5S6+LliO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CEABV2lkdGgAAAAAAAAAAAABVG9wAAAAAKBk/HVAAUxlZnQAAAAAwNWaXUAIRmxpcEhvcml6b250YWxseQAACEZsaXBIb3Jpem9udGFsbHlBcHBsaWVkAAAIRmxpcFZlcnRpY2FsbHkAAQ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Y2tncm91bmRDb2xvcgBVAAAAEEEA/wAAABBSAJYAAAAQRwCWAAAAEEIAlgAAAAFTY0EAAAAAAAAA8D8BU2NSAAAAAIDphNM/AVNjRwAAAACA6YTTPwFTY0IAAAAAgOmE0z8AA0NlbnRlcgAbAAAAAVgAAAAAhhTeWUABWQAAAADW28dmQAAISGFzTGVhZGVyTGluNgAAAAU1AAAANwAAAOcPAAAAAAAAAAAAAGUAAAhJc0NlbnRlckF1dG9tYXRpY0FkanVzdGVkAAAISXNVc2VyUG9zaXRpb24AAANDdXN0b21MYWJlbFBvc2l0aW9uAN0AAAABT2Zmc2V0MQAAAAAAAAAAAAFPZmZzZXQyAAAAAAAAAAAAA0xhYmVsT2Zmc2V0VHlwZXMASQAAAAJPZmZzZXRUeXBlMQARAAAAUmVsYXRpdmVEaXN0YW5jZQACT2Zmc2V0VHlwZTIAEQAAAFJlbGF0aXZlRGlzdGFuY2UAAANBbmNob3JQb3NpdGlvbnMASgAAAAJMYWJlbEFuY2hvclBvc2l0aW9uAAcAAABDZW50ZXIAAkNoYXJ0UG9pbnRBbmNob3JQb3NpdGlvbgAHAAAAQ2VudGVyAAAACEhhc0N1c3RvbUZvbnRDb2xvcgAAAlNlcGFyYXRvcgACAAAACgACVGV4dAACAAAAMgAIUmVxdWlyZVJlbGF0aXZlUG9zaXRpb25VcGdyYWRlAAEISXNHZW9tZXRyeU91dE9mQm91bmRzAAAIRGVsZXRlZAAAAAM5AAoXAAAQUG9pbnRJbmRleAACAAAAAkFsaWdubWVudAAHAAAAQ2VudGVyABBTZXJpZXNJbmRleAADAAAACFJlcXVpcmVGb250Q29sb3JNaWdyYXRpb24AAANUZXh0Qm94AJsGAAAFTWFuYWdlZElkABAAAAAE+d/Q16NjvkO27xQMr2GN6QhIYXNDaGFuZ2VzAAAIVXNlTmFtZUluc3RlYWRPZlRhZ0FzSWQAAQhTaGFwZVByZXZpb3VzbHlDcmVhdGVkAAEDRmlsbENvbG9yAFUAAAAQQQD/AAAAEFIAlgAAABBHAJYAAAAQQgCWAAAAAVNjQQAAAAAAAADwPwFTY1IAAAAAgOmE0z8BU2NHAAAAAIDphNM/AVNjQgAAAACA6YTT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IAAAAyAAJUZXh0SG9yaXpvbnRhbEFsaWdubWVudAAOAAAAbXNvQW5jaG9yTm9uZQACUGFyYWdyYXBoQWxpZ25tZW50AA8AAABtc29BbGlnbkNlbnRlcgACVGV4dFZlcnRpY2FsQWxpZ25tZW50ABAAAABtc29BbmNob3JNaWRkbGUAA0ZvbnRTdHlsZQBBAQAAEEZvbnRCYWNrZ3JvdW5kAAAAAAAIRm9udEJvbGQAAANGb250Q29sb3IAVQAAABBBAP8AAAAQUgAAAAAAEEcAAAAAABBCAAAAAAABU2NBAAAAAAAAAPA/AVNjUgAAAAAAAAAAAAFTY0cAAAAAAAAAAAABU2NCAAAAAAAAAAAAABBGb250VGhlbWVDb2xvcgAAAAAAAUZvbnRUaW50QW5kU2hhZGUAAAAAAAAAAAAQRm9udFNjaGVtZUNvbG9yAAAAAAAIRm9udEl0YWxpYwAAAkZvbnROYW1lAAcAAAArbW4tbHQAAUZvbnRTaXplAAAAAAAAAChACEZvbnRTdHJpa2V0aHJvdWdoAAAIRm9udFN1YnNjcmlwdAAACEZvbnRTdXBlcnNjcmlwdAAACEZvbnRVbmRlcmxpbmUAAAAIU2l6ZVRvVGV4dFdpZHRoAAEIU2l6ZVRvVGV4dEhlaWdodAABA1RleHRNYXJnaW4APwAAAAFMZWZ0AAAAAMBarQZAAVRvcAAAAADAWq0GQAFSaWdodAAAAADAWq0GQAFCb3R0b20AAAAAwFqtBkAAAkRpc3BsYXlUZXh0AAIAAAAyAAFIZWlnaHQAAAAAYDXgMkABV2lkdGgAAAAAYIR6KEABVG9wAAAAAGDpCWBAAUxlZnQAAAAAgMUdb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UA4QYAAANTdGFydAAbAAAAAVgAAAAAFsMmcEABWQAAAAAgm8RjQAADRW5kABsAAAABWAAAAAAWwyZwQAFZAAAAAKDg4nVAAAJTdGFydEFycm93SGVhZAARAAAAbXNvQXJyb3doZWFkTm9uZQACRW5kQXJyb3dIZWFkABEAAABtc29BcnJvd2hlYWROb25lAAVNYW5hZ2VkSWQAEAAAAAThe28qWLUgTrL4u1+StiNC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ICYBaEABV2lkdGgAAAAAAAAAAAABVG9wAAAAACCbxGNAAUxlZnQAAAAAIMMmcE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BbDJnBAAVkAAAAAoOASdkAAA0VuZAAbAAAAAVgAAAAAFsMmcEABWQAAAACg4OJ1QAACU3RhcnRBcnJvdzcAAAAFNgAAADgAAADnDwAAAAAAAAAAAABIZWFkABEAAABtc29BcnJvd2hlYWROb25lAAJFbmRBcnJvd0hlYWQAEQAAAG1zb0Fycm93aGVhZE5vbmUABU1hbmFnZWRJZAAQAAAABPGvqqSmNNtHnXt0k2rE7kQ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AAFUb3AAAAAAoODidUABTGVmdAAAAAAgwyZwQAhGbGlwSG9yaXpvbnRhbGx5AAAIRmxpcEhvcml6b250YWxseUFwcGxpZWQAAAhGbGlwVmVydGljYWxseQAB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ja2dyb3VuZENvbG9yAFUAAAAQQQD/AAAAEFIAlgAAABBHAJYAAAAQQgCWAAAAAVNjQQAAAAAAAADwPwFTY1IAAAAAgOmE0z8BU2NHAAAAAIDphNM/AVNjQgAAAACA6YTTPwADQ2VudGVyABsAAAABWAAAAACjmeFtQAFZAAAAALbsN2FAAAhIYXNMZWFkZXJMaW5lAAAISXNDZW50ZXJBdXRvbWF0aWNBZGp1c3RlZAAACElzVXNlclBvc2l0aW9uAAADQ3VzdG9tTGFiZWxQb3NpdGlvbgDdAAAAAU9mZnNldDEAAAAAAAAAAAABT2Zmc2V0MgAAAAAAAAAAAANMYWJlbE9mZnNldFR5cGVzAEkAAAACT2Zmc2V0VHlwZTEAEQAAAFJlbGF0aXZlRGlzdGFuY2UAAk9mZnNldFR5cGUyABEAAABSZWxhdGl2ZURpc3RhbmNlAAADQW5jaG9yUG9zaXRpb25zAEoAAAACTGFiZWxBbmNob3JQb3NpdGlvbgAHAAAAQ2VudGVyAAJDaGFydFBvaW50QW5jaG9yUG9zaXRpb24ABwAAAENlbnRlcgAAAAhIYXNDdXN0b21Gb250Q29sb3IAAAJTZXBhcmF0b3IAAgAAAAoAAlRleHQAAgAAADIACFJlcXVpcmVSZWxhdGl2ZVBvc2l0aW9uVXBncmFkZQABCElzR2VvbWV0cnlPdXRPZkJvdW5kcwAACERlbGV0ZWQAAAADMTAAChcAABBQb2ludEluZGV4AAMAAAACQWxpZ25tZW50AAcAAABDZW50ZXIAEFNlcmllc0luZGV4AAMAAAAIUmVxdWlyZUZvbnRDb2xvck1pZ3JhdGlvbgAAA1RleHRCb3gAmwYAAAVNYW5hZ2VkSWQAEAAAAAQuZ92F1m3QQoxBruIfHeqpCEhhc0NoYW5nZXMAAAhVc2VOYW1lSW5zdGVhZE9mVGFnQXNJZAABCFNoYXBlUHJldmlvdXNseUNyZWF0ZWQAAQNGaWxsQ29sb3IAVQAAABBBAP8AAAAQUgCWAAAAEEcAlgAAABBCAJYAAAABU2NBAAAAAAAAAPA/AVNjUgAAAACA6YTTPwFTY0cAAAAAgOmE0z8BU2NCAAAAAIDphNM/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gAAADMAAlRleHRIb3Jpem9udGFsQWxpZ25tZW50AA4AAABtc29BbmNob3JOb25l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AAAAAhGb250SXRhbGljAAACRm9udE5hbWUABwAAACttbi1sdAABRm9udFNpemUAAAAAAAAAKEAIRm9udFN0cmlrZXRocm91Z2gAAAhGb250U3Vic2NyaXB0AAAIRm9udFN1cGVyc2NyaXB0AAAIRm9udFVuZGVybGluZQAAAAhTaXplVG9UZXh0V2lkdGgAAQhTaXplVG9UZXh0SGVpZ2h0AAEDVGV4dE1hcmdpbgA/AAAAAUxlZnQAAAAAwFqtBkABVG9wAAAAAMBarQZAAVJpZ2h0AAAAAMBarQZAAUJvdHRvbQAAAADAWq0GQAACRGlzcGxheVRleHQAAgAAADMAAUhlaWdodAAAAABgNeAyQAFXaWR0aAAAAABghHooQAFUb3AAAAAAYCEeZEABTGVmdAAAAABgKgh3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QDhBgAAA1N0YXJ0ABsAAAABWAAAAADGCpB4QAFZAAA4AAAABTcAAAA5AAAA5w8AAAAAAAAAAAAAAABAP/hpQAADRW5kABsAAAABWAAAAADGCpB4QAFZAAAAAKCW9XVAAAJTdGFydEFycm93SGVhZAARAAAAbXNvQXJyb3doZWFkTm9uZQACRW5kQXJyb3dIZWFkABEAAABtc29BcnJvd2hlYWROb25lAAVNYW5hZ2VkSWQAEAAAAAQvLXOQJYgnR4Z092/bKhd2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O7yYUABV2lkdGgAAAAAAAAAAAABVG9wAAAAAEA/+GlAAUxlZnQAAAAAwAqQeE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MYKkHhAAVkAAAAAoJYldkAAA0VuZAAbAAAAAVgAAAAAxgqQeEABWQAAAACglvV1QAACU3RhcnRBcnJvd0hlYWQAEQAAAG1zb0Fycm93aGVhZE5vbmUAAkVuZEFycm93SGVhZAARAAAAbXNvQXJyb3doZWFkTm9uZQAFTWFuYWdlZElkABAAAAAEQl4q2f51gkq+I6ZUHRkvkg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hAAVdpZHRoAAAAAAAAAAAAAVRvcAAAAACglvV1QAFMZWZ0AAAAAMAKkHhACEZsaXBIb3Jpem9udGFsbHkAAAhGbGlwSG9yaXpvbnRhbGx5QXBwbGllZAAACEZsaXBWZXJ0aWNhbGx5AAE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CYWNrZ3JvdW5kQ29sb3IAVQAAABBBAP8AAAAQUgCWAAAAEEcAlgAAABBCAJYAAAABU2NBAAAAAAAAAPA/AVNjUgAAAACA6YTTPwFTY0cAAAAAgOmE0z8BU2NCAAAAAIDphNM/AANDZW50ZXIAGwAAAAFYAAAAgHEUandAAVkAAAAAtiRMZUAACEhhc0xlYWRlckxpbmUAAAhJc0NlbnRlckF1dG9tYXRpY0FkanVzdGVkAAAISXNVc2VyUG9zaXRpb24AAANDdXN0b21MYWJlbFBvc2l0aW9uAN0AAAABT2Zmc2V0MQAAAAAAAAAAAAFPZmZzZXQyAAAAAAAAAAAAA0xhYmVsT2Zmc2V0VHlwZXMASQAAAAJPZmZzZXRUeXBlMQARAAAAUmVsYXRpdmVEaXN0YW5jZQACT2Zmc2V0VHlwZTIAEQAAAFJlbGF0aXZlRGlzdGFuY2UAAANBbmNob3JQb3NpdGlvbnMASgAAAAJMYWJlbEFuY2hvclBvc2l0aW9uAAcAAABDZW50ZXIAAkNoYXJ0UG9pbnRBbmNob3JQb3NpdGlvbgAHAAAAQ2VudGVyAAAACEhhc0N1c3RvbUZvbnRDb2xvcgAAAlNlcGFyYXRvcgACAAAACgACVGV4dAACAAAAMwAIUmVxdWlyZVJlbGF0aXZlUG9zaXRpb25VcGdyYWRlAAEISXNHZW9tZXRyeU91dE9mQm91bmRzAAAIRGVsZXRlZAAAAAMxOQAAAAU4AAAAOgAAAOcPAAAAAAAAAAAAADEAChcAABBQb2ludEluZGV4AAQAAAACQWxpZ25tZW50AAcAAABDZW50ZXIAEFNlcmllc0luZGV4AAMAAAAIUmVxdWlyZUZvbnRDb2xvck1pZ3JhdGlvbgAAA1RleHRCb3gAmwYAAAVNYW5hZ2VkSWQAEAAAAATJ2LGzXG2WTqliEiB2CFTYCEhhc0NoYW5nZXMAAAhVc2VOYW1lSW5zdGVhZE9mVGFnQXNJZAABCFNoYXBlUHJldmlvdXNseUNyZWF0ZWQAAQNGaWxsQ29sb3IAVQAAABBBAP8AAAAQUgCWAAAAEEcAlgAAABBCAJYAAAABU2NBAAAAAAAAAPA/AVNjUgAAAACA6YTTPwFTY0cAAAAAgOmE0z8BU2NCAAAAAIDphNM/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gAAADUAAlRleHRIb3Jpem9udGFsQWxpZ25tZW50AA4AAABtc29BbmNob3JOb25l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AAAAAhGb250SXRhbGljAAACRm9udE5hbWUABwAAACttbi1sdAABRm9udFNpemUAAAAAAAAAKEAIRm9udFN0cmlrZXRocm91Z2gAAAhGb250U3Vic2NyaXB0AAAIRm9udFN1cGVyc2NyaXB0AAAIRm9udFVuZGVybGluZQAAAAhTaXplVG9UZXh0V2lkdGgAAQhTaXplVG9UZXh0SGVpZ2h0AAEDVGV4dE1hcmdpbgA/AAAAAUxlZnQAAAAAwFqtBkABVG9wAAAAAMBarQZAAVJpZ2h0AAAAAMBarQZAAUJvdHRvbQAAAADAWq0GQAACRGlzcGxheVRleHQAAgAAADUAAUhlaWdodAAAAABgNeAyQAFXaWR0aAAAAABghHooQAFUb3AAAAAAgNCxVUABTGVmdAAAAAAgcoF/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QDhBgAAA1N0YXJ0ABsAAAABWAAAAADTGYuAQAFZAAAAAGDVJ2RAAANFbmQAGwAAAAFYAAAAANMZi4BAAVkAAAAAABDLdUAAAlN0YXJ0QXJyb3dIZWFkABEAAABtc29BcnJvd2hlYWROb25lAAJFbmRBcnJvd0hlYWQAEQAAAG1zb0Fycm93aGVhZE5vbmUABU1hbmFnZWRJZAAQAAAABAOwQ11SzfFIiGFSMm0afj0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CgSm5nQAFXaWR0aAAAAAAAAAAAAAFUb3AAAAAAYNUnZEABTGVmdAAAAADgGYuA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0xmLgEABWQAAAAAAEPt1QAADRW5kABsAAAABWAAAAADTGYuAQAFZAAAAAAAQy3VAAAJTdGFydEFycm93SGVhZAARAAAAbXNvQXJyb3doZWFkTm9uZQACRW5kQXJyb3dIZWFkABEAAABtc29BcnJvd2hlYWROb25lAAVNYW5hZ2VkSWQAEAAAAAQafWI112F1TKX1w0EyKoK9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joAAAAFOQAAAP/////8COsGAAAAAAAAAAA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hAAVdpZHRoAAAAAAAAAAAAAVRvcAAAAAAAEMt1QAFMZWZ0AAAAAOAZi4BACEZsaXBIb3Jpem9udGFsbHkAAAhGbGlwSG9yaXpvbnRhbGx5QXBwbGllZAAACEZsaXBWZXJ0aWNhbGx5AAE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CYWNrZ3JvdW5kQ29sb3IAVQAAABBBAP8AAAAQUgCWAAAAEEcAlgAAABBCAJYAAAABU2NBAAAAAAAAAPA/AVNjUgAAAACA6YTTPwFTY0cAAAAAgOmE0z8BU2NCAAAAAIDphNM/AANDZW50ZXIAGwAAAAFYAAAAgDFc439AAVkAAAAALNcNWEAACEhhc0xlYWRlckxpbmUAAAhJc0NlbnRlckF1dG9tYXRpY0FkanVzdGVkAAAISXNVc2VyUG9zaXRpb24AAANDdXN0b21MYWJlbFBvc2l0aW9uAN0AAAABT2Zmc2V0MQAAAAAAAAAAAAFPZmZzZXQyAAAAAAAAAAAAA0xhYmVsT2Zmc2V0VHlwZXMASQAAAAJPZmZzZXRUeXBlMQARAAAAUmVsYXRpdmVEaXN0YW5jZQACT2Zmc2V0VHlwZTIAEQAAAFJlbGF0aXZlRGlzdGFuY2UAAANBbmNob3JQb3NpdGlvbnMASgAAAAJMYWJlbEFuY2hvclBvc2l0aW9uAAcAAABDZW50ZXIAAkNoYXJ0UG9pbnRBbmNob3JQb3NpdGlvbgAHAAAAQ2VudGVyAAAACEhhc0N1c3RvbUZvbnRDb2xvcgAAAlNlcGFyYXRvcgACAAAACgACVGV4dAACAAAANQAIUmVxdWlyZVJlbGF0aXZlUG9zaXRpb25VcGdyYWRlAAEISXNHZW9tZXRyeU91dE9mQm91bmRzAAAIRGVsZXRlZAAAAAADVGV4dERlZmluaXRpb24AfQEAAANSb290RWxlbWVudABrAQAAAl90eXBlAIUAAABtaW8uQ29tbW9uLlBvd2VyUG9pbnQuTWFuYWdlZC5EYXRhLkRhdGFDaGFydHMuRGF0YUxhYmVscy5EYXRhLkJ1aWxkZXIuVGV4dFVuaXQuU2VwYXJhdG9yVW5pdERhdGEsIG1pby5Db21tb24uUG93ZXJQb2ludC5NYW5hZ2VkLkRhdGEAAlNlcGFyYXRvcgABAAAAAARDaGlsZHJlbgC8AAAAAzAAtAAAAAJfdHlwZQCBAAAAbWlvLkNvbW1vbi5Qb3dlclBvaW50Lk1hbmFnZWQuRGF0YS5EYXRhQ2hhcnRzLkRhdGFMYWJlbHMuRGF0YS5CdWlsZGVyLlRleHRVbml0LlZhbHVlVW5pdERhdGEsIG1pby5Db21tb24uUG93ZXJQb2ludC5NYW5hZ2VkLkRhdGEACFNob3dBYnNvbHV0ZVZhbHVlAAAEQ2hpbGRyZW4ABQAAAAAAAAAACExhYmVsc1Zpc2libGUAAAAAAAJOYW1lAAsAAABEYXRhTGFiZWxzABBWZXJzaW9uAAUAAAAJTGFzdFdyaXRlABQFeJh8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A_LENGTH" val="241664"/>
  <p:tag name=" - MIN_VERSION_NEEDED" val="8.7.0.0"/>
</p:tagLst>
</file>

<file path=ppt/tags/tag11.xml><?xml version="1.0" encoding="utf-8"?>
<p:tagLst xmlns:a="http://schemas.openxmlformats.org/drawingml/2006/main" xmlns:r="http://schemas.openxmlformats.org/officeDocument/2006/relationships" xmlns:p="http://schemas.openxmlformats.org/presentationml/2006/main">
  <p:tag name="MIO_USER_INPUT_REQUIRED" val="Additional guides;"/>
  <p:tag name="MIO_USER_INPUT_LANGUAGE" val="en-US"/>
  <p:tag name="MIO_USER_INPUT_OPTIONAL" val=" "/>
  <p:tag name="MIO_USER_INPUT_FIXED" val=" "/>
</p:tagLst>
</file>

<file path=ppt/tags/tag110.xml><?xml version="1.0" encoding="utf-8"?>
<p:tagLst xmlns:a="http://schemas.openxmlformats.org/drawingml/2006/main" xmlns:r="http://schemas.openxmlformats.org/officeDocument/2006/relationships" xmlns:p="http://schemas.openxmlformats.org/presentationml/2006/main">
  <p:tag name="MIO_GUID" val="65d3a3ab-e616-465e-b006-70ce04861060"/>
  <p:tag name="MIO_EKGUID" val="20be4ca9-1c0a-4385-834f-5fcdfb6c31c0"/>
  <p:tag name="MIO_UPDATE" val="True"/>
  <p:tag name="MIO_VERSION" val="02.06.2020 09:39:15"/>
  <p:tag name="MIO_DBID" val="0F45B44C-9BC7-4D85-81C4-7155EE70A7B9"/>
  <p:tag name="MIO_LASTDOWNLOADED" val="19.10.2021 14:00:41.112"/>
  <p:tag name="MIO_OBJECTNAME" val="Comparison of bar charts"/>
  <p:tag name="MIO_LASTEDITORNAME" val="Sinja Giese"/>
</p:tagLst>
</file>

<file path=ppt/tags/tag111.xml><?xml version="1.0" encoding="utf-8"?>
<p:tagLst xmlns:a="http://schemas.openxmlformats.org/drawingml/2006/main" xmlns:r="http://schemas.openxmlformats.org/officeDocument/2006/relationships" xmlns:p="http://schemas.openxmlformats.org/presentationml/2006/main">
  <p:tag name="MIO_GUID" val="341b28f0-2d8e-4c43-b69f-ed7b71396f6d"/>
  <p:tag name="MIO_EKGUID" val="17fce3f8-3385-4c6b-bc10-ac02f5437442"/>
  <p:tag name="MIO_UPDATE" val="True"/>
  <p:tag name="MIO_VERSION" val="02.06.2020 09:39:55"/>
  <p:tag name="MIO_DBID" val="0F45B44C-9BC7-4D85-81C4-7155EE70A7B9"/>
  <p:tag name="MIO_LASTDOWNLOADED" val="19.10.2021 14:00:38.529"/>
  <p:tag name="MIO_OBJECTNAME" val="Ring chart with text"/>
  <p:tag name="MIO_LASTEDITORNAME" val="Sinja Giese"/>
</p:tagLst>
</file>

<file path=ppt/tags/tag112.xml><?xml version="1.0" encoding="utf-8"?>
<p:tagLst xmlns:a="http://schemas.openxmlformats.org/drawingml/2006/main" xmlns:r="http://schemas.openxmlformats.org/officeDocument/2006/relationships" xmlns:p="http://schemas.openxmlformats.org/presentationml/2006/main">
  <p:tag name="MIO_GUID" val="d342c534-c97d-4fbf-b4dd-b1fdbb951922"/>
  <p:tag name="MIO_EKGUID" val="d46590a2-181f-497b-a295-625e4e8f6907"/>
  <p:tag name="MIO_UPDATE" val="True"/>
  <p:tag name="MIO_VERSION" val="11.05.2020 09:20:21"/>
  <p:tag name="MIO_DBID" val="0F45B44C-9BC7-4D85-81C4-7155EE70A7B9"/>
  <p:tag name="MIO_LASTDOWNLOADED" val="19.10.2021 17:20:01.101"/>
  <p:tag name="MIO_OBJECTNAME" val="Sky"/>
  <p:tag name="MIO_LASTEDITORNAME" val="Sinja Giese"/>
</p:tagLst>
</file>

<file path=ppt/tags/tag113.xml><?xml version="1.0" encoding="utf-8"?>
<p:tagLst xmlns:a="http://schemas.openxmlformats.org/drawingml/2006/main" xmlns:r="http://schemas.openxmlformats.org/officeDocument/2006/relationships" xmlns:p="http://schemas.openxmlformats.org/presentationml/2006/main">
  <p:tag name="MIO_GUID" val="9c1b5a1e-ddb1-47c9-86a5-d69b718d9e56"/>
  <p:tag name="MIO_EKGUID" val="ee5a9394-af9e-433c-891d-2d7e5c0b2b8b"/>
  <p:tag name="MIO_UPDATE" val="True"/>
  <p:tag name="MIO_VERSION" val="05.02.2021 07:57:40"/>
  <p:tag name="MIO_DBID" val="0F45B44C-9BC7-4D85-81C4-7155EE70A7B9"/>
  <p:tag name="MIO_LASTDOWNLOADED" val="19.10.2021 13:53:31.649"/>
  <p:tag name="MIO_OBJECTNAME" val="BUDGET SLIDE"/>
  <p:tag name="MIO_LASTEDITORNAME" val="Stephan Kuhnert"/>
</p:tagLst>
</file>

<file path=ppt/tags/tag114.xml><?xml version="1.0" encoding="utf-8"?>
<p:tagLst xmlns:a="http://schemas.openxmlformats.org/drawingml/2006/main" xmlns:r="http://schemas.openxmlformats.org/officeDocument/2006/relationships" xmlns:p="http://schemas.openxmlformats.org/presentationml/2006/main">
  <p:tag name="MIO_GUID" val="9c1b5a1e-ddb1-47c9-86a5-d69b718d9e56"/>
  <p:tag name="MIO_EKGUID" val="ee5a9394-af9e-433c-891d-2d7e5c0b2b8b"/>
  <p:tag name="MIO_UPDATE" val="True"/>
  <p:tag name="MIO_VERSION" val="05.02.2021 07:57:40"/>
  <p:tag name="MIO_DBID" val="0F45B44C-9BC7-4D85-81C4-7155EE70A7B9"/>
  <p:tag name="MIO_LASTDOWNLOADED" val="19.10.2021 13:53:31.649"/>
  <p:tag name="MIO_OBJECTNAME" val="BUDGET SLIDE"/>
  <p:tag name="MIO_LASTEDITORNAME" val="Stephan Kuhnert"/>
</p:tagLst>
</file>

<file path=ppt/tags/tag115.xml><?xml version="1.0" encoding="utf-8"?>
<p:tagLst xmlns:a="http://schemas.openxmlformats.org/drawingml/2006/main" xmlns:r="http://schemas.openxmlformats.org/officeDocument/2006/relationships" xmlns:p="http://schemas.openxmlformats.org/presentationml/2006/main">
  <p:tag name="MIO_GUID" val="11702074-3e68-4f8d-967f-2869fecebfbb"/>
  <p:tag name="MIO_EKGUID" val="c9e9fdcf-42f7-43fd-a88e-4c48e6263db0"/>
  <p:tag name="MIO_UPDATE" val="True"/>
  <p:tag name="MIO_VERSION" val="02.06.2020 09:37:09"/>
  <p:tag name="MIO_DBID" val="0F45B44C-9BC7-4D85-81C4-7155EE70A7B9"/>
  <p:tag name="MIO_LASTDOWNLOADED" val="19.10.2021 14:00:17.576"/>
  <p:tag name="MIO_OBJECTNAME" val="One hundred people"/>
  <p:tag name="MIO_LASTEDITORNAME" val="Sinja Giese"/>
</p:tagLst>
</file>

<file path=ppt/tags/tag1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7.xml><?xml version="1.0" encoding="utf-8"?>
<p:tagLst xmlns:a="http://schemas.openxmlformats.org/drawingml/2006/main" xmlns:r="http://schemas.openxmlformats.org/officeDocument/2006/relationships" xmlns:p="http://schemas.openxmlformats.org/presentationml/2006/main">
  <p:tag name="MIO_GUID" val="5253b517-846d-4a35-9da7-27e93fb94058"/>
  <p:tag name="MIO_EKGUID" val="0c631fd0-7006-4a5c-a1da-6e92bcfa9bf4"/>
  <p:tag name="MIO_UPDATE" val="True"/>
  <p:tag name="MIO_VERSION" val="11.05.2020 09:09:37"/>
  <p:tag name="MIO_DBID" val="0F45B44C-9BC7-4D85-81C4-7155EE70A7B9"/>
  <p:tag name="MIO_LASTDOWNLOADED" val="19.10.2021 17:20:42.894"/>
  <p:tag name="MIO_OBJECTNAME" val="office man"/>
  <p:tag name="MIO_LASTEDITORNAME" val="Sinja Giese"/>
</p:tagLst>
</file>

<file path=ppt/tags/tag118.xml><?xml version="1.0" encoding="utf-8"?>
<p:tagLst xmlns:a="http://schemas.openxmlformats.org/drawingml/2006/main" xmlns:r="http://schemas.openxmlformats.org/officeDocument/2006/relationships" xmlns:p="http://schemas.openxmlformats.org/presentationml/2006/main">
  <p:tag name="MIO_GUID" val="c0f7dc33-22e6-4e10-9466-06a321cf92c1"/>
  <p:tag name="MIO_EKGUID" val="ebfd74a4-f19c-4c22-ac7c-89188072a5d8"/>
  <p:tag name="MIO_UPDATE" val="True"/>
  <p:tag name="MIO_VERSION" val="14.12.2020 15:54:17"/>
  <p:tag name="MIO_DBID" val="0F45B44C-9BC7-4D85-81C4-7155EE70A7B9"/>
  <p:tag name="MIO_LASTDOWNLOADED" val="19.10.2021 13:53:36.625"/>
  <p:tag name="MIO_OBJECTNAME" val="AGILE CORE VALUES"/>
  <p:tag name="MIO_LASTEDITORNAME" val="Stephan Kuhnert"/>
</p:tagLst>
</file>

<file path=ppt/tags/tag119.xml><?xml version="1.0" encoding="utf-8"?>
<p:tagLst xmlns:a="http://schemas.openxmlformats.org/drawingml/2006/main" xmlns:r="http://schemas.openxmlformats.org/officeDocument/2006/relationships" xmlns:p="http://schemas.openxmlformats.org/presentationml/2006/main">
  <p:tag name="MIO_GUID" val="601607cc-6af7-4f43-80c6-4e1929cb2085"/>
  <p:tag name="MIO_EKGUID" val="3fd7e937-f17d-4648-91d2-e5bfd7544f3f"/>
  <p:tag name="MIO_UPDATE" val="True"/>
  <p:tag name="MIO_VERSION" val="14.12.2020 16:00:08"/>
  <p:tag name="MIO_DBID" val="0F45B44C-9BC7-4D85-81C4-7155EE70A7B9"/>
  <p:tag name="MIO_LASTDOWNLOADED" val="19.10.2021 13:53:19.968"/>
  <p:tag name="MIO_OBJECTNAME" val="JOHN WAYNE"/>
  <p:tag name="MIO_LASTEDITORNAME" val="Stephan Kuhnert"/>
</p:tagLst>
</file>

<file path=ppt/tags/tag12.xml><?xml version="1.0" encoding="utf-8"?>
<p:tagLst xmlns:a="http://schemas.openxmlformats.org/drawingml/2006/main" xmlns:r="http://schemas.openxmlformats.org/officeDocument/2006/relationships" xmlns:p="http://schemas.openxmlformats.org/presentationml/2006/main">
  <p:tag name="MIO_USER_INPUT_REQUIRED" val="Additional guides;"/>
  <p:tag name="MIO_USER_INPUT_LANGUAGE" val="en-US"/>
  <p:tag name="MIO_USER_INPUT_OPTIONAL" val=" "/>
  <p:tag name="MIO_USER_INPUT_FIXED" val=" "/>
</p:tagLst>
</file>

<file path=ppt/tags/tag120.xml><?xml version="1.0" encoding="utf-8"?>
<p:tagLst xmlns:a="http://schemas.openxmlformats.org/drawingml/2006/main" xmlns:r="http://schemas.openxmlformats.org/officeDocument/2006/relationships" xmlns:p="http://schemas.openxmlformats.org/presentationml/2006/main">
  <p:tag name="MIO_GUID" val="f34066e7-ef2d-4c68-abf1-ce805c1967eb"/>
  <p:tag name="MIO_EKGUID" val="b4d166b8-e36a-4bf8-8839-92dd8314047a"/>
  <p:tag name="MIO_UPDATE" val="True"/>
  <p:tag name="MIO_VERSION" val="14.12.2020 15:54:06"/>
  <p:tag name="MIO_DBID" val="0F45B44C-9BC7-4D85-81C4-7155EE70A7B9"/>
  <p:tag name="MIO_LASTDOWNLOADED" val="19.10.2021 13:53:31.265"/>
  <p:tag name="MIO_OBJECTNAME" val="BUSINESS INFOGRAPHIC"/>
  <p:tag name="MIO_LASTEDITORNAME" val="Stephan Kuhnert"/>
</p:tagLst>
</file>

<file path=ppt/tags/tag121.xml><?xml version="1.0" encoding="utf-8"?>
<p:tagLst xmlns:a="http://schemas.openxmlformats.org/drawingml/2006/main" xmlns:r="http://schemas.openxmlformats.org/officeDocument/2006/relationships" xmlns:p="http://schemas.openxmlformats.org/presentationml/2006/main">
  <p:tag name="MIO_GUID" val="1b76d127-509c-4b8f-9db9-9b5237dae158"/>
  <p:tag name="MIO_EKGUID" val="cf382c96-f57f-42cb-9bf6-feb960a1fda8"/>
  <p:tag name="MIO_UPDATE" val="True"/>
  <p:tag name="MIO_VERSION" val="14.12.2020 15:54:11"/>
  <p:tag name="MIO_DBID" val="0F45B44C-9BC7-4D85-81C4-7155EE70A7B9"/>
  <p:tag name="MIO_LASTDOWNLOADED" val="19.10.2021 13:53:30.903"/>
  <p:tag name="MIO_OBJECTNAME" val="BUSINESS INFOGRAPHIC (2)"/>
  <p:tag name="MIO_LASTEDITORNAME" val="Stephan Kuhnert"/>
</p:tagLst>
</file>

<file path=ppt/tags/tag122.xml><?xml version="1.0" encoding="utf-8"?>
<p:tagLst xmlns:a="http://schemas.openxmlformats.org/drawingml/2006/main" xmlns:r="http://schemas.openxmlformats.org/officeDocument/2006/relationships" xmlns:p="http://schemas.openxmlformats.org/presentationml/2006/main">
  <p:tag name="MIO_GUID" val="1007af0f-5db5-4557-bc58-2447f5ff4744"/>
  <p:tag name="MIO_EKGUID" val="7411350d-0cff-4241-982c-7cbbf6981067"/>
  <p:tag name="MIO_UPDATE" val="True"/>
  <p:tag name="MIO_VERSION" val="11.05.2020 09:05:34"/>
  <p:tag name="MIO_DBID" val="0F45B44C-9BC7-4D85-81C4-7155EE70A7B9"/>
  <p:tag name="MIO_LASTDOWNLOADED" val="19.10.2021 17:21:17.975"/>
  <p:tag name="MIO_OBJECTNAME" val="Post-it notes"/>
  <p:tag name="MIO_LASTEDITORNAME" val="Sinja Giese"/>
</p:tagLst>
</file>

<file path=ppt/tags/tag123.xml><?xml version="1.0" encoding="utf-8"?>
<p:tagLst xmlns:a="http://schemas.openxmlformats.org/drawingml/2006/main" xmlns:r="http://schemas.openxmlformats.org/officeDocument/2006/relationships" xmlns:p="http://schemas.openxmlformats.org/presentationml/2006/main">
  <p:tag name="MIO_GUID" val="458eaf15-aaf2-46fc-b1f5-5c9f333dd8b5"/>
  <p:tag name="MIO_EKGUID" val="f6341281-19d8-4446-8ba4-143c00e827fb"/>
  <p:tag name="MIO_UPDATE" val="True"/>
  <p:tag name="MIO_VERSION" val="14.12.2020 15:58:48"/>
  <p:tag name="MIO_DBID" val="0F45B44C-9BC7-4D85-81C4-7155EE70A7B9"/>
  <p:tag name="MIO_LASTDOWNLOADED" val="19.10.2021 13:53:20.718"/>
  <p:tag name="MIO_OBJECTNAME" val="ICEBERG DIAGRAM SLIDE"/>
  <p:tag name="MIO_LASTEDITORNAME" val="Stephan Kuhnert"/>
</p:tagLst>
</file>

<file path=ppt/tags/tag124.xml><?xml version="1.0" encoding="utf-8"?>
<p:tagLst xmlns:a="http://schemas.openxmlformats.org/drawingml/2006/main" xmlns:r="http://schemas.openxmlformats.org/officeDocument/2006/relationships" xmlns:p="http://schemas.openxmlformats.org/presentationml/2006/main">
  <p:tag name="MIO_GUID" val="a7afd8b9-dd93-4766-af56-52a8623fc5ab"/>
  <p:tag name="MIO_EKGUID" val="bbeba396-3be5-4b62-9125-80260d7a3a29"/>
  <p:tag name="MIO_UPDATE" val="True"/>
  <p:tag name="MIO_VERSION" val="14.12.2020 15:59:50"/>
  <p:tag name="MIO_DBID" val="0F45B44C-9BC7-4D85-81C4-7155EE70A7B9"/>
  <p:tag name="MIO_LASTDOWNLOADED" val="19.10.2021 13:53:14.857"/>
  <p:tag name="MIO_OBJECTNAME" val="MINDMAP DIAGRAM (2)"/>
  <p:tag name="MIO_LASTEDITORNAME" val="Stephan Kuhnert"/>
</p:tagLst>
</file>

<file path=ppt/tags/tag125.xml><?xml version="1.0" encoding="utf-8"?>
<p:tagLst xmlns:a="http://schemas.openxmlformats.org/drawingml/2006/main" xmlns:r="http://schemas.openxmlformats.org/officeDocument/2006/relationships" xmlns:p="http://schemas.openxmlformats.org/presentationml/2006/main">
  <p:tag name="MIO_GUID" val="8c55cb6f-0632-4aa8-905c-83ca77fd3fef"/>
  <p:tag name="MIO_EKGUID" val="4fe04a8d-f5b3-4c89-b442-4a9e5b3eada9"/>
  <p:tag name="MIO_UPDATE" val="True"/>
  <p:tag name="MIO_VERSION" val="14.12.2020 15:59:56"/>
  <p:tag name="MIO_DBID" val="0F45B44C-9BC7-4D85-81C4-7155EE70A7B9"/>
  <p:tag name="MIO_LASTDOWNLOADED" val="19.10.2021 13:52:41.192"/>
  <p:tag name="MIO_OBJECTNAME" val="YOUR TITLE HERE"/>
  <p:tag name="MIO_LASTEDITORNAME" val="Stephan Kuhnert"/>
</p:tagLst>
</file>

<file path=ppt/tags/tag126.xml><?xml version="1.0" encoding="utf-8"?>
<p:tagLst xmlns:a="http://schemas.openxmlformats.org/drawingml/2006/main" xmlns:r="http://schemas.openxmlformats.org/officeDocument/2006/relationships" xmlns:p="http://schemas.openxmlformats.org/presentationml/2006/main">
  <p:tag name="MIO_GUID" val="c21fd2f9-ad14-40a4-8a8d-cac6d5da91bf"/>
  <p:tag name="MIO_EKGUID" val="63da0cc6-d1b8-4ce6-852b-4124496a1c74"/>
  <p:tag name="MIO_UPDATE" val="True"/>
  <p:tag name="MIO_VERSION" val="14.12.2020 16:05:21"/>
  <p:tag name="MIO_DBID" val="0F45B44C-9BC7-4D85-81C4-7155EE70A7B9"/>
  <p:tag name="MIO_LASTDOWNLOADED" val="19.10.2021 13:52:50.499"/>
  <p:tag name="MIO_OBJECTNAME" val="TABLE SLIDE (4)"/>
  <p:tag name="MIO_LASTEDITORNAME" val="Stephan Kuhnert"/>
</p:tagLst>
</file>

<file path=ppt/tags/tag127.xml><?xml version="1.0" encoding="utf-8"?>
<p:tagLst xmlns:a="http://schemas.openxmlformats.org/drawingml/2006/main" xmlns:r="http://schemas.openxmlformats.org/officeDocument/2006/relationships" xmlns:p="http://schemas.openxmlformats.org/presentationml/2006/main">
  <p:tag name="MIO_GUID" val="bac989e2-b69f-4422-bac3-07595a2f722d"/>
  <p:tag name="MIO_EKGUID" val="3251b156-ce48-4667-ba63-584ffd4d91ca"/>
  <p:tag name="MIO_UPDATE" val="True"/>
  <p:tag name="MIO_VERSION" val="14.12.2020 15:53:55"/>
  <p:tag name="MIO_DBID" val="0F45B44C-9BC7-4D85-81C4-7155EE70A7B9"/>
  <p:tag name="MIO_LASTDOWNLOADED" val="19.10.2021 13:53:01.322"/>
  <p:tag name="MIO_OBJECTNAME" val="Slide"/>
  <p:tag name="MIO_LASTEDITORNAME" val="Stephan Kuhnert"/>
</p:tagLst>
</file>

<file path=ppt/tags/tag128.xml><?xml version="1.0" encoding="utf-8"?>
<p:tagLst xmlns:a="http://schemas.openxmlformats.org/drawingml/2006/main" xmlns:r="http://schemas.openxmlformats.org/officeDocument/2006/relationships" xmlns:p="http://schemas.openxmlformats.org/presentationml/2006/main">
  <p:tag name="MIO_GUID" val="f1440f3a-1ca7-4b3b-a06a-2530ace1c97e"/>
  <p:tag name="MIO_EKGUID" val="d56e0fb1-7e26-42e8-b04b-133295293437"/>
  <p:tag name="MIO_UPDATE" val="True"/>
  <p:tag name="MIO_VERSION" val="11.05.2020 09:05:41"/>
  <p:tag name="MIO_DBID" val="0F45B44C-9BC7-4D85-81C4-7155EE70A7B9"/>
  <p:tag name="MIO_LASTDOWNLOADED" val="19.10.2021 17:22:37.860"/>
  <p:tag name="MIO_OBJECTNAME" val="Technology"/>
  <p:tag name="MIO_LASTEDITORNAME" val="Sinja Giese"/>
</p:tagLst>
</file>

<file path=ppt/tags/tag129.xml><?xml version="1.0" encoding="utf-8"?>
<p:tagLst xmlns:a="http://schemas.openxmlformats.org/drawingml/2006/main" xmlns:r="http://schemas.openxmlformats.org/officeDocument/2006/relationships" xmlns:p="http://schemas.openxmlformats.org/presentationml/2006/main">
  <p:tag name="MIO_GUID" val="4f351bdc-3352-432d-985d-6e67535959b3"/>
  <p:tag name="MIO_EKGUID" val="51ac15e2-c707-42d6-a36f-a75a79804619"/>
  <p:tag name="MIO_UPDATE" val="True"/>
  <p:tag name="MIO_VERSION" val="14.12.2020 16:03:41"/>
  <p:tag name="MIO_DBID" val="0F45B44C-9BC7-4D85-81C4-7155EE70A7B9"/>
  <p:tag name="MIO_LASTDOWNLOADED" val="19.10.2021 13:53:20.352"/>
  <p:tag name="MIO_OBJECTNAME" val="INSTAGRAM"/>
  <p:tag name="MIO_LASTEDITORNAME" val="Stephan Kuhnert"/>
</p:tagLst>
</file>

<file path=ppt/tags/tag13.xml><?xml version="1.0" encoding="utf-8"?>
<p:tagLst xmlns:a="http://schemas.openxmlformats.org/drawingml/2006/main" xmlns:r="http://schemas.openxmlformats.org/officeDocument/2006/relationships" xmlns:p="http://schemas.openxmlformats.org/presentationml/2006/main">
  <p:tag name="MIO_USER_INPUT_REQUIRED" val="Zusätzliche Hilfslinien;"/>
  <p:tag name="MIO_USER_INPUT_LANGUAGE" val="de-DE"/>
  <p:tag name="MIO_USER_INPUT_OPTIONAL" val=" "/>
  <p:tag name="MIO_USER_INPUT_FIXED" val=" "/>
</p:tagLst>
</file>

<file path=ppt/tags/tag130.xml><?xml version="1.0" encoding="utf-8"?>
<p:tagLst xmlns:a="http://schemas.openxmlformats.org/drawingml/2006/main" xmlns:r="http://schemas.openxmlformats.org/officeDocument/2006/relationships" xmlns:p="http://schemas.openxmlformats.org/presentationml/2006/main">
  <p:tag name="MIO_GUID" val="5684d5d3-7b6b-4c66-8f68-149c2e9851bc"/>
  <p:tag name="MIO_EKGUID" val="b9bae27d-d844-43d9-b93c-a1b30ebeec1d"/>
  <p:tag name="MIO_UPDATE" val="True"/>
  <p:tag name="MIO_VERSION" val="14.12.2020 16:03:47"/>
  <p:tag name="MIO_DBID" val="0F45B44C-9BC7-4D85-81C4-7155EE70A7B9"/>
  <p:tag name="MIO_LASTDOWNLOADED" val="19.10.2021 13:52:54.896"/>
  <p:tag name="MIO_OBJECTNAME" val="SOCIAL MEDIA"/>
  <p:tag name="MIO_LASTEDITORNAME" val="Stephan Kuhnert"/>
</p:tagLst>
</file>

<file path=ppt/tags/tag131.xml><?xml version="1.0" encoding="utf-8"?>
<p:tagLst xmlns:a="http://schemas.openxmlformats.org/drawingml/2006/main" xmlns:r="http://schemas.openxmlformats.org/officeDocument/2006/relationships" xmlns:p="http://schemas.openxmlformats.org/presentationml/2006/main">
  <p:tag name="MIO_GUID" val="38ab9b6b-a1d6-434d-8b0e-2af93de013c8"/>
  <p:tag name="MIO_EKGUID" val="1aca4428-29b2-4b45-8cfc-e010351d93ae"/>
  <p:tag name="MIO_UPDATE" val="True"/>
  <p:tag name="MIO_VERSION" val="14.12.2020 16:03:52"/>
  <p:tag name="MIO_DBID" val="0F45B44C-9BC7-4D85-81C4-7155EE70A7B9"/>
  <p:tag name="MIO_LASTDOWNLOADED" val="19.10.2021 13:52:46.291"/>
  <p:tag name="MIO_OBJECTNAME" val="TWITTER ANALYTICS"/>
  <p:tag name="MIO_LASTEDITORNAME" val="Stephan Kuhnert"/>
</p:tagLst>
</file>

<file path=ppt/tags/tag14.xml><?xml version="1.0" encoding="utf-8"?>
<p:tagLst xmlns:a="http://schemas.openxmlformats.org/drawingml/2006/main" xmlns:r="http://schemas.openxmlformats.org/officeDocument/2006/relationships" xmlns:p="http://schemas.openxmlformats.org/presentationml/2006/main">
  <p:tag name="MIO_USER_INPUT_REQUIRED" val="Zusätzliche Hilfslinien;"/>
  <p:tag name="MIO_USER_INPUT_LANGUAGE" val="de-DE"/>
  <p:tag name="MIO_USER_INPUT_OPTIONAL" val=" "/>
  <p:tag name="MIO_USER_INPUT_FIXED" val=" "/>
</p:tagLst>
</file>

<file path=ppt/tags/tag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4"/>
  <p:tag name="MIO_SHOW_DATE" val="False"/>
  <p:tag name="MIO_SHOW_FOOTER" val="False"/>
  <p:tag name="MIO_SHOW_PAGENUMBER" val="False"/>
  <p:tag name="MIO_AVOID_BLANK_LAYOUT" val="True"/>
  <p:tag name="MIO_CD_LAYOUT_VALID_AREA" val="True"/>
  <p:tag name="MIO_NUMBER_OF_VALID_LAYOUTS" val="19"/>
  <p:tag name="MIO_HDS" val="True"/>
  <p:tag name="MIO_SKIPVERSION" val="01.01.0001 00:00:00"/>
  <p:tag name="MIO_EKGUID" val="eec04416-020b-4147-8328-682d7cf4fd01"/>
  <p:tag name="MIO_UPDATE" val="True"/>
  <p:tag name="MIO_VERSION" val="19.05.2020 10:44:59"/>
  <p:tag name="MIO_DBID" val="0F45B44C-9BC7-4D85-81C4-7155EE70A7B9"/>
  <p:tag name="MIO_LASTDOWNLOADED" val="19.10.2021 12:40:11.043"/>
  <p:tag name="MIO_OBJECTNAME" val="empower"/>
  <p:tag name="MIO_LASTEDITORNAME" val="info "/>
  <p:tag name="MIO_CDID" val="d30371fb-bd2b-4816-a0ce-bd6a1479ab6b"/>
</p:tagLst>
</file>

<file path=ppt/tags/tag18.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19.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3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8.xml><?xml version="1.0" encoding="utf-8"?>
<p:tagLst xmlns:a="http://schemas.openxmlformats.org/drawingml/2006/main" xmlns:r="http://schemas.openxmlformats.org/officeDocument/2006/relationships" xmlns:p="http://schemas.openxmlformats.org/presentationml/2006/main">
  <p:tag name="MIO_EKGUID" val="27954ba5-5917-420f-88a8-3b6b244529f3"/>
  <p:tag name="MIO_GUID" val="7f48b82a-ae84-4ee2-bbac-61ae92c55801"/>
  <p:tag name="MIO_UPDATE" val="True"/>
  <p:tag name="MIO_VERSION" val="04.06.2020 10:39:38"/>
  <p:tag name="MIO_DBID" val="0F45B44C-9BC7-4D85-81C4-7155EE70A7B9"/>
  <p:tag name="MIO_LASTDOWNLOADED" val="16.06.2020 23:02:08"/>
  <p:tag name="MIO_OBJECTNAME" val="IT"/>
  <p:tag name="MIO_LASTEDITORNAME" val="Stephan Kuhnert"/>
</p:tagLst>
</file>

<file path=ppt/tags/tag39.xml><?xml version="1.0" encoding="utf-8"?>
<p:tagLst xmlns:a="http://schemas.openxmlformats.org/drawingml/2006/main" xmlns:r="http://schemas.openxmlformats.org/officeDocument/2006/relationships" xmlns:p="http://schemas.openxmlformats.org/presentationml/2006/main">
  <p:tag name="MIO_GUID" val="9a484c50-2ffe-4503-89ec-9514f6d5f951"/>
  <p:tag name="MIO_EKGUID" val="aea18651-e0a1-4f52-afa6-ac50e2a516a3"/>
  <p:tag name="MIO_UPDATE" val="True"/>
  <p:tag name="MIO_VERSION" val="11.05.2020 09:01:10"/>
  <p:tag name="MIO_DBID" val="0F45B44C-9BC7-4D85-81C4-7155EE70A7B9"/>
  <p:tag name="MIO_LASTDOWNLOADED" val="19.10.2021 16:49:30.067"/>
  <p:tag name="MIO_OBJECTNAME" val="Seedlings"/>
  <p:tag name="MIO_LASTEDITORNAME" val="Sinja Gies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Watermark;"/>
  <p:tag name="MIO_USER_INPUT_LANGUAGE" val="en-US"/>
  <p:tag name="MIO_USER_INPUT_OPTIONAL" val=" "/>
  <p:tag name="MIO_USER_INPUT_TEXT" val=" "/>
</p:tagLst>
</file>

<file path=ppt/tags/tag40.xml><?xml version="1.0" encoding="utf-8"?>
<p:tagLst xmlns:a="http://schemas.openxmlformats.org/drawingml/2006/main" xmlns:r="http://schemas.openxmlformats.org/officeDocument/2006/relationships" xmlns:p="http://schemas.openxmlformats.org/presentationml/2006/main">
  <p:tag name="MIO_GUID" val="8b407177-324f-45de-9d87-86af92277329"/>
  <p:tag name="MIO_EKGUID" val="8127f67f-7bb4-4164-b06d-170426143046"/>
  <p:tag name="MIO_UPDATE" val="True"/>
  <p:tag name="MIO_VERSION" val="14.12.2020 15:59:28"/>
  <p:tag name="MIO_DBID" val="0F45B44C-9BC7-4D85-81C4-7155EE70A7B9"/>
  <p:tag name="MIO_LASTDOWNLOADED" val="19.10.2021 13:53:15.860"/>
  <p:tag name="MIO_OBJECTNAME" val="MILESTONES SLIDES (2)"/>
  <p:tag name="MIO_LASTEDITORNAME" val="Stephan Kuhnert"/>
</p:tagLst>
</file>

<file path=ppt/tags/tag41.xml><?xml version="1.0" encoding="utf-8"?>
<p:tagLst xmlns:a="http://schemas.openxmlformats.org/drawingml/2006/main" xmlns:r="http://schemas.openxmlformats.org/officeDocument/2006/relationships" xmlns:p="http://schemas.openxmlformats.org/presentationml/2006/main">
  <p:tag name="MIO_GUID" val="5e105898-ed93-4e0c-84ef-3be00161f8cd"/>
  <p:tag name="MIO_EKGUID" val="36692f66-538f-427a-93a1-df8221f13df7"/>
  <p:tag name="MIO_UPDATE" val="True"/>
  <p:tag name="MIO_VERSION" val="14.12.2020 16:06:43"/>
  <p:tag name="MIO_DBID" val="0F45B44C-9BC7-4D85-81C4-7155EE70A7B9"/>
  <p:tag name="MIO_LASTDOWNLOADED" val="19.10.2021 13:52:47.697"/>
  <p:tag name="MIO_OBJECTNAME" val="TIMELINE SLIDE (4)"/>
  <p:tag name="MIO_LASTEDITORNAME" val="Stephan Kuhnert"/>
</p:tagLst>
</file>

<file path=ppt/tags/tag42.xml><?xml version="1.0" encoding="utf-8"?>
<p:tagLst xmlns:a="http://schemas.openxmlformats.org/drawingml/2006/main" xmlns:r="http://schemas.openxmlformats.org/officeDocument/2006/relationships" xmlns:p="http://schemas.openxmlformats.org/presentationml/2006/main">
  <p:tag name="MIO_GUID" val="b037aa8d-a1f8-4e6a-bf72-df2bce43d1db"/>
  <p:tag name="MIO_EKGUID" val="43e51ef5-20c0-4a0f-b4c2-8237edb46b3b"/>
  <p:tag name="MIO_UPDATE" val="True"/>
  <p:tag name="MIO_VERSION" val="14.12.2020 15:58:43"/>
  <p:tag name="MIO_DBID" val="0F45B44C-9BC7-4D85-81C4-7155EE70A7B9"/>
  <p:tag name="MIO_LASTDOWNLOADED" val="19.10.2021 13:52:41.789"/>
  <p:tag name="MIO_OBJECTNAME" val="Your Title"/>
  <p:tag name="MIO_LASTEDITORNAME" val="Stephan Kuhnert"/>
</p:tagLst>
</file>

<file path=ppt/tags/tag43.xml><?xml version="1.0" encoding="utf-8"?>
<p:tagLst xmlns:a="http://schemas.openxmlformats.org/drawingml/2006/main" xmlns:r="http://schemas.openxmlformats.org/officeDocument/2006/relationships" xmlns:p="http://schemas.openxmlformats.org/presentationml/2006/main">
  <p:tag name="MIO_GUID" val="9a3f5d7a-3ea8-46b7-b596-f68071409afd"/>
  <p:tag name="MIO_EKGUID" val="fd609550-1c78-416d-949c-7030d0af7c6b"/>
  <p:tag name="MIO_UPDATE" val="True"/>
  <p:tag name="MIO_VERSION" val="14.12.2020 15:59:33"/>
  <p:tag name="MIO_DBID" val="0F45B44C-9BC7-4D85-81C4-7155EE70A7B9"/>
  <p:tag name="MIO_LASTDOWNLOADED" val="19.10.2021 13:53:15.539"/>
  <p:tag name="MIO_OBJECTNAME" val="MILESTONES SLIDES (3)"/>
  <p:tag name="MIO_LASTEDITORNAME" val="Stephan Kuhnert"/>
</p:tagLst>
</file>

<file path=ppt/tags/tag44.xml><?xml version="1.0" encoding="utf-8"?>
<p:tagLst xmlns:a="http://schemas.openxmlformats.org/drawingml/2006/main" xmlns:r="http://schemas.openxmlformats.org/officeDocument/2006/relationships" xmlns:p="http://schemas.openxmlformats.org/presentationml/2006/main">
  <p:tag name="MIO_GUID" val="d6cd351c-710f-4cdc-8503-0c0ca468eb9a"/>
  <p:tag name="MIO_EKGUID" val="48a3d0a9-8ba8-4221-ae67-ba94a3ab7d76"/>
  <p:tag name="MIO_UPDATE" val="True"/>
  <p:tag name="MIO_VERSION" val="14.12.2020 15:58:32"/>
  <p:tag name="MIO_DBID" val="0F45B44C-9BC7-4D85-81C4-7155EE70A7B9"/>
  <p:tag name="MIO_LASTDOWNLOADED" val="19.10.2021 13:52:53.246"/>
  <p:tag name="MIO_OBJECTNAME" val="STRUCTURE"/>
  <p:tag name="MIO_LASTEDITORNAME" val="Stephan Kuhnert"/>
</p:tagLst>
</file>

<file path=ppt/tags/tag45.xml><?xml version="1.0" encoding="utf-8"?>
<p:tagLst xmlns:a="http://schemas.openxmlformats.org/drawingml/2006/main" xmlns:r="http://schemas.openxmlformats.org/officeDocument/2006/relationships" xmlns:p="http://schemas.openxmlformats.org/presentationml/2006/main">
  <p:tag name="MIO_GUID" val="236fefb1-c9b0-46ef-8423-33df5fb4e5d8"/>
  <p:tag name="MIO_EKGUID" val="998d3d3f-5241-401a-ae23-037595804715"/>
  <p:tag name="MIO_UPDATE" val="True"/>
  <p:tag name="MIO_VERSION" val="02.06.2020 09:36:45"/>
  <p:tag name="MIO_DBID" val="0F45B44C-9BC7-4D85-81C4-7155EE70A7B9"/>
  <p:tag name="MIO_LASTDOWNLOADED" val="19.10.2021 14:00:24.575"/>
  <p:tag name="MIO_OBJECTNAME" val="Infographic process circle"/>
  <p:tag name="MIO_LASTEDITORNAME" val="Sinja Giese"/>
</p:tagLst>
</file>

<file path=ppt/tags/tag46.xml><?xml version="1.0" encoding="utf-8"?>
<p:tagLst xmlns:a="http://schemas.openxmlformats.org/drawingml/2006/main" xmlns:r="http://schemas.openxmlformats.org/officeDocument/2006/relationships" xmlns:p="http://schemas.openxmlformats.org/presentationml/2006/main">
  <p:tag name="MIO_GUID" val="b1fe4055-2a0d-4003-bfdc-9134856d8aeb"/>
  <p:tag name="MIO_EKGUID" val="7df43dae-39ef-4602-80f1-90a1e4925f2d"/>
  <p:tag name="MIO_UPDATE" val="True"/>
  <p:tag name="MIO_VERSION" val="14.12.2020 16:02:32"/>
  <p:tag name="MIO_DBID" val="0F45B44C-9BC7-4D85-81C4-7155EE70A7B9"/>
  <p:tag name="MIO_LASTDOWNLOADED" val="19.10.2021 13:53:36.998"/>
  <p:tag name="MIO_OBJECTNAME" val="6-STAGE PYRAMID DIAGRAM"/>
  <p:tag name="MIO_LASTEDITORNAME" val="Stephan Kuhnert"/>
</p:tagLst>
</file>

<file path=ppt/tags/tag47.xml><?xml version="1.0" encoding="utf-8"?>
<p:tagLst xmlns:a="http://schemas.openxmlformats.org/drawingml/2006/main" xmlns:r="http://schemas.openxmlformats.org/officeDocument/2006/relationships" xmlns:p="http://schemas.openxmlformats.org/presentationml/2006/main">
  <p:tag name="MIO_GUID" val="0482c914-23ce-491b-813a-b6677bf1facc"/>
  <p:tag name="MIO_EKGUID" val="dc69b302-20ef-47c3-978d-f0f29191986d"/>
  <p:tag name="MIO_UPDATE" val="True"/>
  <p:tag name="MIO_VERSION" val="14.12.2020 15:58:18"/>
  <p:tag name="MIO_DBID" val="0F45B44C-9BC7-4D85-81C4-7155EE70A7B9"/>
  <p:tag name="MIO_LASTDOWNLOADED" val="19.10.2021 13:53:22.147"/>
  <p:tag name="MIO_OBJECTNAME" val="FUNNEL DIAGRAM SLIDE"/>
  <p:tag name="MIO_LASTEDITORNAME" val="Stephan Kuhnert"/>
</p:tagLst>
</file>

<file path=ppt/tags/tag48.xml><?xml version="1.0" encoding="utf-8"?>
<p:tagLst xmlns:a="http://schemas.openxmlformats.org/drawingml/2006/main" xmlns:r="http://schemas.openxmlformats.org/officeDocument/2006/relationships" xmlns:p="http://schemas.openxmlformats.org/presentationml/2006/main">
  <p:tag name="MIO_GUID" val="dffde0e0-95b7-4742-9629-95923682c680"/>
  <p:tag name="MIO_EKGUID" val="dab8cd23-01e4-4d6c-a780-bef8739ff6ed"/>
  <p:tag name="MIO_UPDATE" val="True"/>
  <p:tag name="MIO_VERSION" val="14.12.2020 16:01:18"/>
  <p:tag name="MIO_DBID" val="0F45B44C-9BC7-4D85-81C4-7155EE70A7B9"/>
  <p:tag name="MIO_LASTDOWNLOADED" val="19.10.2021 13:53:09.784"/>
  <p:tag name="MIO_OBJECTNAME" val="PROCESS SLIDE"/>
  <p:tag name="MIO_LASTEDITORNAME" val="Stephan Kuhnert"/>
</p:tagLst>
</file>

<file path=ppt/tags/tag49.xml><?xml version="1.0" encoding="utf-8"?>
<p:tagLst xmlns:a="http://schemas.openxmlformats.org/drawingml/2006/main" xmlns:r="http://schemas.openxmlformats.org/officeDocument/2006/relationships" xmlns:p="http://schemas.openxmlformats.org/presentationml/2006/main">
  <p:tag name="MIO_GUID" val="3c785f4a-07cd-4f2a-9f74-c3eaf9716126"/>
  <p:tag name="MIO_EKGUID" val="710954d7-c51a-4fc7-a1ab-5c12e57412a4"/>
  <p:tag name="MIO_UPDATE" val="True"/>
  <p:tag name="MIO_VERSION" val="14.12.2020 16:01:45"/>
  <p:tag name="MIO_DBID" val="0F45B44C-9BC7-4D85-81C4-7155EE70A7B9"/>
  <p:tag name="MIO_LASTDOWNLOADED" val="19.10.2021 13:53:08.200"/>
  <p:tag name="MIO_OBJECTNAME" val="PROCESS SLIDE (6)"/>
  <p:tag name="MIO_LASTEDITORNAME" val="Stephan Kuhnert"/>
</p:tagLst>
</file>

<file path=ppt/tags/tag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Wasserzeichen;"/>
  <p:tag name="MIO_USER_INPUT_LANGUAGE" val="de-DE"/>
  <p:tag name="MIO_USER_INPUT_OPTIONAL" val=" "/>
  <p:tag name="MIO_USER_INPUT_TEXT" val=" "/>
</p:tagLst>
</file>

<file path=ppt/tags/tag50.xml><?xml version="1.0" encoding="utf-8"?>
<p:tagLst xmlns:a="http://schemas.openxmlformats.org/drawingml/2006/main" xmlns:r="http://schemas.openxmlformats.org/officeDocument/2006/relationships" xmlns:p="http://schemas.openxmlformats.org/presentationml/2006/main">
  <p:tag name="MIO_GUID" val="2b084e45-ccc3-4262-bf8c-b742a359eabb"/>
  <p:tag name="MIO_EKGUID" val="5236c482-747f-477d-a3a3-194d8f233fba"/>
  <p:tag name="MIO_UPDATE" val="True"/>
  <p:tag name="MIO_VERSION" val="14.12.2020 16:01:56"/>
  <p:tag name="MIO_DBID" val="0F45B44C-9BC7-4D85-81C4-7155EE70A7B9"/>
  <p:tag name="MIO_LASTDOWNLOADED" val="19.10.2021 13:53:07.555"/>
  <p:tag name="MIO_OBJECTNAME" val="PRODUCT ROADMAP (2)"/>
  <p:tag name="MIO_LASTEDITORNAME" val="Stephan Kuhnert"/>
</p:tagLst>
</file>

<file path=ppt/tags/tag51.xml><?xml version="1.0" encoding="utf-8"?>
<p:tagLst xmlns:a="http://schemas.openxmlformats.org/drawingml/2006/main" xmlns:r="http://schemas.openxmlformats.org/officeDocument/2006/relationships" xmlns:p="http://schemas.openxmlformats.org/presentationml/2006/main">
  <p:tag name="MIO_GUID" val="648347af-c9a1-4725-bb2d-1123a9ddfdcc"/>
  <p:tag name="MIO_EKGUID" val="ba6b3642-329c-40ef-909c-08316a80b78f"/>
  <p:tag name="MIO_UPDATE" val="True"/>
  <p:tag name="MIO_VERSION" val="14.12.2020 15:55:23"/>
  <p:tag name="MIO_DBID" val="0F45B44C-9BC7-4D85-81C4-7155EE70A7B9"/>
  <p:tag name="MIO_LASTDOWNLOADED" val="19.10.2021 13:53:28.191"/>
  <p:tag name="MIO_OBJECTNAME" val="CIRCLE INFOGRAPHIC (3)"/>
  <p:tag name="MIO_LASTEDITORNAME" val="Stephan Kuhnert"/>
</p:tagLst>
</file>

<file path=ppt/tags/tag52.xml><?xml version="1.0" encoding="utf-8"?>
<p:tagLst xmlns:a="http://schemas.openxmlformats.org/drawingml/2006/main" xmlns:r="http://schemas.openxmlformats.org/officeDocument/2006/relationships" xmlns:p="http://schemas.openxmlformats.org/presentationml/2006/main">
  <p:tag name="MIO_GUID" val="e0848658-507b-4d93-8a62-62ff936f5530"/>
  <p:tag name="MIO_EKGUID" val="0988fc56-91ef-4162-8f65-fcdecace318a"/>
  <p:tag name="MIO_UPDATE" val="True"/>
  <p:tag name="MIO_VERSION" val="11.05.2020 09:20:12"/>
  <p:tag name="MIO_DBID" val="0F45B44C-9BC7-4D85-81C4-7155EE70A7B9"/>
  <p:tag name="MIO_LASTDOWNLOADED" val="19.10.2021 17:09:32.258"/>
  <p:tag name="MIO_OBJECTNAME" val="Signpost"/>
  <p:tag name="MIO_LASTEDITORNAME" val="Sinja Giese"/>
</p:tagLst>
</file>

<file path=ppt/tags/tag53.xml><?xml version="1.0" encoding="utf-8"?>
<p:tagLst xmlns:a="http://schemas.openxmlformats.org/drawingml/2006/main" xmlns:r="http://schemas.openxmlformats.org/officeDocument/2006/relationships" xmlns:p="http://schemas.openxmlformats.org/presentationml/2006/main">
  <p:tag name="MIO_GUID" val="115a058e-bb47-4aeb-b1e3-757479420143"/>
  <p:tag name="MIO_EKGUID" val="f98f328a-2698-4720-9b19-d9c6f66ff14d"/>
  <p:tag name="MIO_UPDATE" val="True"/>
  <p:tag name="MIO_VERSION" val="14.12.2020 15:57:01"/>
  <p:tag name="MIO_DBID" val="0F45B44C-9BC7-4D85-81C4-7155EE70A7B9"/>
  <p:tag name="MIO_LASTDOWNLOADED" val="19.10.2021 13:53:21.421"/>
  <p:tag name="MIO_OBJECTNAME" val="Green marketing is a practice whereby companies seek to go above and beyond traditional."/>
  <p:tag name="MIO_LASTEDITORNAME" val="Stephan Kuhnert"/>
</p:tagLst>
</file>

<file path=ppt/tags/tag54.xml><?xml version="1.0" encoding="utf-8"?>
<p:tagLst xmlns:a="http://schemas.openxmlformats.org/drawingml/2006/main" xmlns:r="http://schemas.openxmlformats.org/officeDocument/2006/relationships" xmlns:p="http://schemas.openxmlformats.org/presentationml/2006/main">
  <p:tag name="MIO_GUID" val="20856604-7f7a-40d7-a9d4-8d62d7331b4c"/>
  <p:tag name="MIO_EKGUID" val="c3897778-a3f5-443e-be7e-cbdb775fbb64"/>
  <p:tag name="MIO_UPDATE" val="True"/>
  <p:tag name="MIO_VERSION" val="14.12.2020 15:57:07"/>
  <p:tag name="MIO_DBID" val="0F45B44C-9BC7-4D85-81C4-7155EE70A7B9"/>
  <p:tag name="MIO_LASTDOWNLOADED" val="19.10.2021 13:52:45.995"/>
  <p:tag name="MIO_OBJECTNAME" val="TWO-OPTION COMPARISON"/>
  <p:tag name="MIO_LASTEDITORNAME" val="Stephan Kuhnert"/>
</p:tagLst>
</file>

<file path=ppt/tags/tag55.xml><?xml version="1.0" encoding="utf-8"?>
<p:tagLst xmlns:a="http://schemas.openxmlformats.org/drawingml/2006/main" xmlns:r="http://schemas.openxmlformats.org/officeDocument/2006/relationships" xmlns:p="http://schemas.openxmlformats.org/presentationml/2006/main">
  <p:tag name="MIO_GUID" val="0a02cd0f-9b6a-4c1b-86f3-10f198bfe835"/>
  <p:tag name="MIO_EKGUID" val="4c4bf9d6-ac76-463b-bb89-ed9c47670861"/>
  <p:tag name="MIO_UPDATE" val="True"/>
  <p:tag name="MIO_VERSION" val="14.12.2020 15:57:24"/>
  <p:tag name="MIO_DBID" val="0F45B44C-9BC7-4D85-81C4-7155EE70A7B9"/>
  <p:tag name="MIO_LASTDOWNLOADED" val="19.10.2021 13:53:06.318"/>
  <p:tag name="MIO_OBJECTNAME" val="PROS &amp; CONS COMPARISON"/>
  <p:tag name="MIO_LASTEDITORNAME" val="Stephan Kuhnert"/>
</p:tagLst>
</file>

<file path=ppt/tags/tag56.xml><?xml version="1.0" encoding="utf-8"?>
<p:tagLst xmlns:a="http://schemas.openxmlformats.org/drawingml/2006/main" xmlns:r="http://schemas.openxmlformats.org/officeDocument/2006/relationships" xmlns:p="http://schemas.openxmlformats.org/presentationml/2006/main">
  <p:tag name="MIO_GUID" val="4e0aaecd-e26a-46b0-9feb-bc72c9838c74"/>
  <p:tag name="MIO_EKGUID" val="4ee256c2-67ec-463f-8998-b1d291c93e39"/>
  <p:tag name="MIO_UPDATE" val="True"/>
  <p:tag name="MIO_VERSION" val="10.03.2021 23:14:06"/>
  <p:tag name="MIO_DBID" val="0F45B44C-9BC7-4D85-81C4-7155EE70A7B9"/>
  <p:tag name="MIO_LASTDOWNLOADED" val="19.10.2021 13:53:10.079"/>
  <p:tag name="MIO_OBJECTNAME" val="Process Part One"/>
  <p:tag name="MIO_LASTEDITORNAME" val="Stephan Kuhnert"/>
</p:tagLst>
</file>

<file path=ppt/tags/tag57.xml><?xml version="1.0" encoding="utf-8"?>
<p:tagLst xmlns:a="http://schemas.openxmlformats.org/drawingml/2006/main" xmlns:r="http://schemas.openxmlformats.org/officeDocument/2006/relationships" xmlns:p="http://schemas.openxmlformats.org/presentationml/2006/main">
  <p:tag name="MIO_GUID" val="8938b681-162b-4461-b3d3-7041498a3c83"/>
  <p:tag name="MIO_EKGUID" val="c5d01713-7e5d-4b8c-a532-40014717ba2a"/>
  <p:tag name="MIO_UPDATE" val="True"/>
  <p:tag name="MIO_VERSION" val="14.12.2020 16:00:44"/>
  <p:tag name="MIO_DBID" val="0F45B44C-9BC7-4D85-81C4-7155EE70A7B9"/>
  <p:tag name="MIO_LASTDOWNLOADED" val="19.10.2021 13:52:48.898"/>
  <p:tag name="MIO_OBJECTNAME" val="THREE PIE CHART COMPARISON"/>
  <p:tag name="MIO_LASTEDITORNAME" val="Stephan Kuhnert"/>
</p:tagLst>
</file>

<file path=ppt/tags/tag58.xml><?xml version="1.0" encoding="utf-8"?>
<p:tagLst xmlns:a="http://schemas.openxmlformats.org/drawingml/2006/main" xmlns:r="http://schemas.openxmlformats.org/officeDocument/2006/relationships" xmlns:p="http://schemas.openxmlformats.org/presentationml/2006/main">
  <p:tag name="MIO_GUID" val="323acbad-63cd-4c89-82ba-6fbe74445532"/>
  <p:tag name="MIO_EKGUID" val="f088ccfa-6f8d-4c7a-8d92-d286ea7ab440"/>
  <p:tag name="MIO_UPDATE" val="True"/>
  <p:tag name="MIO_VERSION" val="14.12.2020 15:57:29"/>
  <p:tag name="MIO_DBID" val="0F45B44C-9BC7-4D85-81C4-7155EE70A7B9"/>
  <p:tag name="MIO_LASTDOWNLOADED" val="19.10.2021 13:53:01.656"/>
  <p:tag name="MIO_OBJECTNAME" val="SIMPLE COMPARISON TABLE"/>
  <p:tag name="MIO_LASTEDITORNAME" val="Stephan Kuhnert"/>
</p:tagLst>
</file>

<file path=ppt/tags/tag59.xml><?xml version="1.0" encoding="utf-8"?>
<p:tagLst xmlns:a="http://schemas.openxmlformats.org/drawingml/2006/main" xmlns:r="http://schemas.openxmlformats.org/officeDocument/2006/relationships" xmlns:p="http://schemas.openxmlformats.org/presentationml/2006/main">
  <p:tag name="MIO_GUID" val="5ccbfe69-a989-4bcc-8959-5015cf1a36a9"/>
  <p:tag name="MIO_EKGUID" val="bebb0fdb-b7a3-442a-ba06-1dacca837201"/>
  <p:tag name="MIO_UPDATE" val="True"/>
  <p:tag name="MIO_VERSION" val="11.05.2020 09:23:17"/>
  <p:tag name="MIO_DBID" val="0F45B44C-9BC7-4D85-81C4-7155EE70A7B9"/>
  <p:tag name="MIO_LASTDOWNLOADED" val="19.10.2021 17:12:54.615"/>
  <p:tag name="MIO_OBJECTNAME" val="Mountain"/>
  <p:tag name="MIO_LASTEDITORNAME" val="Sinja Giese"/>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Label;"/>
  <p:tag name="MIO_USER_INPUT_OPTIONAL" val=" "/>
  <p:tag name="MIO_USER_INPUT_TEXT" val=" "/>
</p:tagLst>
</file>

<file path=ppt/tags/tag60.xml><?xml version="1.0" encoding="utf-8"?>
<p:tagLst xmlns:a="http://schemas.openxmlformats.org/drawingml/2006/main" xmlns:r="http://schemas.openxmlformats.org/officeDocument/2006/relationships" xmlns:p="http://schemas.openxmlformats.org/presentationml/2006/main">
  <p:tag name="MIO_GUID" val="13398ce1-08ed-4bea-9e82-d09203429ac5"/>
  <p:tag name="MIO_EKGUID" val="646ae524-1f33-4858-8312-c86a40e30f89"/>
  <p:tag name="MIO_UPDATE" val="True"/>
  <p:tag name="MIO_VERSION" val="02.06.2020 09:49:21"/>
  <p:tag name="MIO_DBID" val="0F45B44C-9BC7-4D85-81C4-7155EE70A7B9"/>
  <p:tag name="MIO_LASTDOWNLOADED" val="19.10.2021 14:05:05.337"/>
  <p:tag name="MIO_OBJECTNAME" val="World Infographic"/>
  <p:tag name="MIO_LASTEDITORNAME" val="Sinja Giese"/>
</p:tagLst>
</file>

<file path=ppt/tags/tag61.xml><?xml version="1.0" encoding="utf-8"?>
<p:tagLst xmlns:a="http://schemas.openxmlformats.org/drawingml/2006/main" xmlns:r="http://schemas.openxmlformats.org/officeDocument/2006/relationships" xmlns:p="http://schemas.openxmlformats.org/presentationml/2006/main">
  <p:tag name="MIO_GUID" val="19a62fdd-6e8f-4a43-b4e5-98a184dc0980"/>
  <p:tag name="MIO_EKGUID" val="90d7b458-67f4-4df4-97ab-33400323f42e"/>
  <p:tag name="MIO_UPDATE" val="True"/>
  <p:tag name="MIO_VERSION" val="12.03.2021 09:08:39"/>
  <p:tag name="MIO_DBID" val="0F45B44C-9BC7-4D85-81C4-7155EE70A7B9"/>
  <p:tag name="MIO_LASTDOWNLOADED" val="19.10.2021 14:05:10.255"/>
  <p:tag name="MIO_OBJECTNAME" val="Europe with text"/>
  <p:tag name="MIO_LASTEDITORNAME" val="Stephan Kuhnert"/>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GUID" val="a29a2750-35fb-4159-ae2f-15f83a331322"/>
  <p:tag name="MIO_EKGUID" val="33259c1f-95a6-4fd8-b7c7-bf04eacc0cca"/>
  <p:tag name="MIO_UPDATE" val="True"/>
  <p:tag name="MIO_VERSION" val="08.05.2020 13:13:01"/>
  <p:tag name="MIO_DBID" val="0F45B44C-9BC7-4D85-81C4-7155EE70A7B9"/>
  <p:tag name="MIO_LASTDOWNLOADED" val="19.10.2021 14:05:09.565"/>
  <p:tag name="MIO_OBJECTNAME" val="Germany Locations"/>
  <p:tag name="MIO_LASTEDITORNAME" val="Sinja Gies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GUID" val="8c0e7326-2e6d-4c78-be59-678f2f98cf4f"/>
  <p:tag name="MIO_EKGUID" val="a393418e-11d4-45da-b1da-2eb0cc8b1de6"/>
  <p:tag name="MIO_UPDATE" val="True"/>
  <p:tag name="MIO_VERSION" val="08.05.2020 13:14:03"/>
  <p:tag name="MIO_DBID" val="0F45B44C-9BC7-4D85-81C4-7155EE70A7B9"/>
  <p:tag name="MIO_LASTDOWNLOADED" val="19.10.2021 14:05:08.592"/>
  <p:tag name="MIO_OBJECTNAME" val="North America with text"/>
  <p:tag name="MIO_LASTEDITORNAME" val="Sinja Gies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GUID" val="f3374c62-4b7a-4a93-83f6-fceb62e35c94"/>
  <p:tag name="MIO_EKGUID" val="7876c55f-0f93-4152-b1cb-b95686461631"/>
  <p:tag name="MIO_UPDATE" val="True"/>
  <p:tag name="MIO_VERSION" val="02.06.2020 09:49:06"/>
  <p:tag name="MIO_DBID" val="0F45B44C-9BC7-4D85-81C4-7155EE70A7B9"/>
  <p:tag name="MIO_LASTDOWNLOADED" val="19.10.2021 14:05:07.594"/>
  <p:tag name="MIO_OBJECTNAME" val="South America at a glance"/>
  <p:tag name="MIO_LASTEDITORNAME" val="Sinja Giese"/>
</p:tagLst>
</file>

<file path=ppt/tags/tag69.xml><?xml version="1.0" encoding="utf-8"?>
<p:tagLst xmlns:a="http://schemas.openxmlformats.org/drawingml/2006/main" xmlns:r="http://schemas.openxmlformats.org/officeDocument/2006/relationships" xmlns:p="http://schemas.openxmlformats.org/presentationml/2006/main">
  <p:tag name="MIO_GUID" val="34934ec2-b84d-4add-8f71-69b00b261387"/>
  <p:tag name="MIO_EKGUID" val="69a13fe8-7ea5-43f4-bff7-18c5417fa6ce"/>
  <p:tag name="MIO_UPDATE" val="True"/>
  <p:tag name="MIO_VERSION" val="08.05.2020 13:11:22"/>
  <p:tag name="MIO_DBID" val="0F45B44C-9BC7-4D85-81C4-7155EE70A7B9"/>
  <p:tag name="MIO_LASTDOWNLOADED" val="19.10.2021 14:05:12.293"/>
  <p:tag name="MIO_OBJECTNAME" val="Asia and Middle East with text"/>
  <p:tag name="MIO_LASTEDITORNAME" val="Sinja Giese"/>
</p:tagLst>
</file>

<file path=ppt/tags/tag7.xml><?xml version="1.0" encoding="utf-8"?>
<p:tagLst xmlns:a="http://schemas.openxmlformats.org/drawingml/2006/main" xmlns:r="http://schemas.openxmlformats.org/officeDocument/2006/relationships" xmlns:p="http://schemas.openxmlformats.org/presentationml/2006/main">
  <p:tag name="MIO_USER_INPUT_REQUIRED" val="Slide Number;"/>
  <p:tag name="MIO_USER_INPUT_LANGUAGE" val="en-US"/>
  <p:tag name="MIO_USER_INPUT_OPTIONAL" val=" "/>
  <p:tag name="MIO_USER_INPUT_TEXT" val=" "/>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1.xml><?xml version="1.0" encoding="utf-8"?>
<p:tagLst xmlns:a="http://schemas.openxmlformats.org/drawingml/2006/main" xmlns:r="http://schemas.openxmlformats.org/officeDocument/2006/relationships" xmlns:p="http://schemas.openxmlformats.org/presentationml/2006/main">
  <p:tag name="MIO_GUID" val="6c8e0c5c-13c4-43f5-8ffb-139568df0bf8"/>
  <p:tag name="MIO_EKGUID" val="8a842dca-3c72-4b67-b3af-9f9977879e85"/>
  <p:tag name="MIO_UPDATE" val="True"/>
  <p:tag name="MIO_VERSION" val="12.03.2021 09:09:28"/>
  <p:tag name="MIO_DBID" val="0F45B44C-9BC7-4D85-81C4-7155EE70A7B9"/>
  <p:tag name="MIO_LASTDOWNLOADED" val="19.10.2021 14:05:13.709"/>
  <p:tag name="MIO_OBJECTNAME" val="Africa"/>
  <p:tag name="MIO_LASTEDITORNAME" val="Stephan Kuhnert"/>
</p:tagLst>
</file>

<file path=ppt/tags/tag72.xml><?xml version="1.0" encoding="utf-8"?>
<p:tagLst xmlns:a="http://schemas.openxmlformats.org/drawingml/2006/main" xmlns:r="http://schemas.openxmlformats.org/officeDocument/2006/relationships" xmlns:p="http://schemas.openxmlformats.org/presentationml/2006/main">
  <p:tag name="MIO_EKGUID" val="631975ed-b1e2-4612-af02-48844040a1f4"/>
  <p:tag name="MIO_GUID" val="89457611-d174-4cb3-8afa-7c68903ca7d3"/>
  <p:tag name="MIO_UPDATE" val="True"/>
  <p:tag name="MIO_VERSION" val="07.09.2020 09:58:54"/>
  <p:tag name="MIO_DBID" val="0F45B44C-9BC7-4D85-81C4-7155EE70A7B9"/>
  <p:tag name="MIO_LASTDOWNLOADED" val="23.09.2020 15:51:03"/>
  <p:tag name="MIO_OBJECTNAME" val="Location"/>
  <p:tag name="MIO_LASTEDITORNAME" val=" Verena Kohl"/>
</p:tagLst>
</file>

<file path=ppt/tags/tag73.xml><?xml version="1.0" encoding="utf-8"?>
<p:tagLst xmlns:a="http://schemas.openxmlformats.org/drawingml/2006/main" xmlns:r="http://schemas.openxmlformats.org/officeDocument/2006/relationships" xmlns:p="http://schemas.openxmlformats.org/presentationml/2006/main">
  <p:tag name="MIO_EKGUID" val="631975ed-b1e2-4612-af02-48844040a1f4"/>
  <p:tag name="MIO_GUID" val="89457611-d174-4cb3-8afa-7c68903ca7d3"/>
  <p:tag name="MIO_UPDATE" val="True"/>
  <p:tag name="MIO_VERSION" val="07.09.2020 09:58:54"/>
  <p:tag name="MIO_DBID" val="0F45B44C-9BC7-4D85-81C4-7155EE70A7B9"/>
  <p:tag name="MIO_LASTDOWNLOADED" val="23.09.2020 15:51:03"/>
  <p:tag name="MIO_OBJECTNAME" val="Location"/>
  <p:tag name="MIO_LASTEDITORNAME" val=" Verena Kohl"/>
</p:tagLst>
</file>

<file path=ppt/tags/tag74.xml><?xml version="1.0" encoding="utf-8"?>
<p:tagLst xmlns:a="http://schemas.openxmlformats.org/drawingml/2006/main" xmlns:r="http://schemas.openxmlformats.org/officeDocument/2006/relationships" xmlns:p="http://schemas.openxmlformats.org/presentationml/2006/main">
  <p:tag name="MIO_EKGUID" val="631975ed-b1e2-4612-af02-48844040a1f4"/>
  <p:tag name="MIO_GUID" val="89457611-d174-4cb3-8afa-7c68903ca7d3"/>
  <p:tag name="MIO_UPDATE" val="True"/>
  <p:tag name="MIO_VERSION" val="07.09.2020 09:58:54"/>
  <p:tag name="MIO_DBID" val="0F45B44C-9BC7-4D85-81C4-7155EE70A7B9"/>
  <p:tag name="MIO_LASTDOWNLOADED" val="23.09.2020 15:51:03"/>
  <p:tag name="MIO_OBJECTNAME" val="Location"/>
  <p:tag name="MIO_LASTEDITORNAME" val=" Verena Kohl"/>
</p:tagLst>
</file>

<file path=ppt/tags/tag75.xml><?xml version="1.0" encoding="utf-8"?>
<p:tagLst xmlns:a="http://schemas.openxmlformats.org/drawingml/2006/main" xmlns:r="http://schemas.openxmlformats.org/officeDocument/2006/relationships" xmlns:p="http://schemas.openxmlformats.org/presentationml/2006/main">
  <p:tag name="MIO_GUID" val="f5cc3a4d-7706-4cd5-81b8-8b9923358807"/>
  <p:tag name="MIO_EKGUID" val="01e2b85a-bdf3-403b-9238-f9ca8c8bde80"/>
  <p:tag name="MIO_UPDATE" val="True"/>
  <p:tag name="MIO_VERSION" val="02.06.2020 09:48:37"/>
  <p:tag name="MIO_DBID" val="0F45B44C-9BC7-4D85-81C4-7155EE70A7B9"/>
  <p:tag name="MIO_LASTDOWNLOADED" val="19.10.2021 14:05:11.286"/>
  <p:tag name="MIO_OBJECTNAME" val="Australia Dashboard"/>
  <p:tag name="MIO_LASTEDITORNAME" val="Sinja Giese"/>
</p:tagLst>
</file>

<file path=ppt/tags/tag76.xml><?xml version="1.0" encoding="utf-8"?>
<p:tagLst xmlns:a="http://schemas.openxmlformats.org/drawingml/2006/main" xmlns:r="http://schemas.openxmlformats.org/officeDocument/2006/relationships" xmlns:p="http://schemas.openxmlformats.org/presentationml/2006/main">
  <p:tag name="MIO_GUID" val="13398ce1-08ed-4bea-9e82-d09203429ac5"/>
  <p:tag name="MIO_EKGUID" val="646ae524-1f33-4858-8312-c86a40e30f89"/>
  <p:tag name="MIO_UPDATE" val="True"/>
  <p:tag name="MIO_VERSION" val="02.06.2020 09:49:21"/>
  <p:tag name="MIO_DBID" val="0F45B44C-9BC7-4D85-81C4-7155EE70A7B9"/>
  <p:tag name="MIO_LASTDOWNLOADED" val="19.10.2021 14:05:05.337"/>
  <p:tag name="MIO_OBJECTNAME" val="World Infographic"/>
  <p:tag name="MIO_LASTEDITORNAME" val="Sinja Giese"/>
</p:tagLst>
</file>

<file path=ppt/tags/tag77.xml><?xml version="1.0" encoding="utf-8"?>
<p:tagLst xmlns:a="http://schemas.openxmlformats.org/drawingml/2006/main" xmlns:r="http://schemas.openxmlformats.org/officeDocument/2006/relationships" xmlns:p="http://schemas.openxmlformats.org/presentationml/2006/main">
  <p:tag name="MIO_GUID" val="5034db21-b814-43ee-a5d5-366e90b7a3e2"/>
  <p:tag name="MIO_EKGUID" val="cf62fc3a-9dc7-419a-a5fa-2e3feb791f54"/>
  <p:tag name="MIO_UPDATE" val="True"/>
  <p:tag name="MIO_VERSION" val="11.05.2020 09:20:06"/>
  <p:tag name="MIO_DBID" val="0F45B44C-9BC7-4D85-81C4-7155EE70A7B9"/>
  <p:tag name="MIO_LASTDOWNLOADED" val="19.10.2021 17:19:46.697"/>
  <p:tag name="MIO_OBJECTNAME" val="Rubrik's Cube"/>
  <p:tag name="MIO_LASTEDITORNAME" val="Sinja Giese"/>
</p:tagLst>
</file>

<file path=ppt/tags/tag78.xml><?xml version="1.0" encoding="utf-8"?>
<p:tagLst xmlns:a="http://schemas.openxmlformats.org/drawingml/2006/main" xmlns:r="http://schemas.openxmlformats.org/officeDocument/2006/relationships" xmlns:p="http://schemas.openxmlformats.org/presentationml/2006/main">
  <p:tag name="MIO_GUID" val="85d816e6-92e2-4592-aa85-6c82727dcdc4"/>
  <p:tag name="MIO_EKGUID" val="8efe5ae4-86df-466a-ac88-e2ad19a9fbdd"/>
  <p:tag name="MIO_UPDATE" val="True"/>
  <p:tag name="MIO_VERSION" val="14.12.2020 16:02:57"/>
  <p:tag name="MIO_DBID" val="0F45B44C-9BC7-4D85-81C4-7155EE70A7B9"/>
  <p:tag name="MIO_LASTDOWNLOADED" val="19.10.2021 13:53:04.764"/>
  <p:tag name="MIO_OBJECTNAME" val="ROADMAP SLIDE"/>
  <p:tag name="MIO_LASTEDITORNAME" val="Stephan Kuhnert"/>
</p:tagLst>
</file>

<file path=ppt/tags/tag79.xml><?xml version="1.0" encoding="utf-8"?>
<p:tagLst xmlns:a="http://schemas.openxmlformats.org/drawingml/2006/main" xmlns:r="http://schemas.openxmlformats.org/officeDocument/2006/relationships" xmlns:p="http://schemas.openxmlformats.org/presentationml/2006/main">
  <p:tag name="MIO_GUID" val="af68afdf-a557-4ac8-b48b-856d22e5d9b3"/>
  <p:tag name="MIO_EKGUID" val="a46f38da-5fc6-4794-97b3-b3edcb960aa7"/>
  <p:tag name="MIO_UPDATE" val="True"/>
  <p:tag name="MIO_VERSION" val="14.12.2020 16:04:03"/>
  <p:tag name="MIO_DBID" val="0F45B44C-9BC7-4D85-81C4-7155EE70A7B9"/>
  <p:tag name="MIO_LASTDOWNLOADED" val="19.10.2021 13:53:29.275"/>
  <p:tag name="MIO_OBJECTNAME" val="BUSINESS WEB STRATEGY"/>
  <p:tag name="MIO_LASTEDITORNAME" val="Stephan Kuhnert"/>
</p:tagLst>
</file>

<file path=ppt/tags/tag8.xml><?xml version="1.0" encoding="utf-8"?>
<p:tagLst xmlns:a="http://schemas.openxmlformats.org/drawingml/2006/main" xmlns:r="http://schemas.openxmlformats.org/officeDocument/2006/relationships" xmlns:p="http://schemas.openxmlformats.org/presentationml/2006/main">
  <p:tag name="MIO_USER_INPUT_REQUIRED" val="Slide Number;"/>
  <p:tag name="MIO_USER_INPUT_LANGUAGE" val="en-US"/>
  <p:tag name="MIO_USER_INPUT_OPTIONAL" val=" "/>
  <p:tag name="MIO_USER_INPUT_FIXED" val=" "/>
</p:tagLst>
</file>

<file path=ppt/tags/tag80.xml><?xml version="1.0" encoding="utf-8"?>
<p:tagLst xmlns:a="http://schemas.openxmlformats.org/drawingml/2006/main" xmlns:r="http://schemas.openxmlformats.org/officeDocument/2006/relationships" xmlns:p="http://schemas.openxmlformats.org/presentationml/2006/main">
  <p:tag name="MIO_GUID" val="fffbbaf9-4fe9-4937-b6f7-be97c98638e4"/>
  <p:tag name="MIO_EKGUID" val="0f3a27f9-6bfb-4a2e-bbcf-910d599021e2"/>
  <p:tag name="MIO_UPDATE" val="True"/>
  <p:tag name="MIO_VERSION" val="14.12.2020 16:05:56"/>
  <p:tag name="MIO_DBID" val="0F45B44C-9BC7-4D85-81C4-7155EE70A7B9"/>
  <p:tag name="MIO_LASTDOWNLOADED" val="19.10.2021 13:52:41.504"/>
  <p:tag name="MIO_OBJECTNAME" val="YOUR TITLE 01"/>
  <p:tag name="MIO_LASTEDITORNAME" val="Stephan Kuhnert"/>
</p:tagLst>
</file>

<file path=ppt/tags/tag81.xml><?xml version="1.0" encoding="utf-8"?>
<p:tagLst xmlns:a="http://schemas.openxmlformats.org/drawingml/2006/main" xmlns:r="http://schemas.openxmlformats.org/officeDocument/2006/relationships" xmlns:p="http://schemas.openxmlformats.org/presentationml/2006/main">
  <p:tag name="MIO_GUID" val="8a2697b0-42d9-4281-a454-c166c548c136"/>
  <p:tag name="MIO_EKGUID" val="a780d1d2-d566-405a-bff3-3b42ef3163ef"/>
  <p:tag name="MIO_UPDATE" val="True"/>
  <p:tag name="MIO_VERSION" val="14.12.2020 16:03:24"/>
  <p:tag name="MIO_DBID" val="0F45B44C-9BC7-4D85-81C4-7155EE70A7B9"/>
  <p:tag name="MIO_LASTDOWNLOADED" val="19.10.2021 13:53:03.212"/>
  <p:tag name="MIO_OBJECTNAME" val="SCRUM EVENT STRUCTURE"/>
  <p:tag name="MIO_LASTEDITORNAME" val="Stephan Kuhnert"/>
</p:tagLst>
</file>

<file path=ppt/tags/tag82.xml><?xml version="1.0" encoding="utf-8"?>
<p:tagLst xmlns:a="http://schemas.openxmlformats.org/drawingml/2006/main" xmlns:r="http://schemas.openxmlformats.org/officeDocument/2006/relationships" xmlns:p="http://schemas.openxmlformats.org/presentationml/2006/main">
  <p:tag name="MIO_GUID" val="460dd91a-25d7-4907-a9be-34a4dba18194"/>
  <p:tag name="MIO_EKGUID" val="5b6949fe-9c99-4997-98fe-16622f677c4e"/>
  <p:tag name="MIO_UPDATE" val="True"/>
  <p:tag name="MIO_VERSION" val="14.12.2020 16:02:13"/>
  <p:tag name="MIO_DBID" val="0F45B44C-9BC7-4D85-81C4-7155EE70A7B9"/>
  <p:tag name="MIO_LASTDOWNLOADED" val="19.10.2021 13:53:37.769"/>
  <p:tag name="MIO_OBJECTNAME" val="1"/>
  <p:tag name="MIO_LASTEDITORNAME" val="Stephan Kuhnert"/>
</p:tagLst>
</file>

<file path=ppt/tags/tag83.xml><?xml version="1.0" encoding="utf-8"?>
<p:tagLst xmlns:a="http://schemas.openxmlformats.org/drawingml/2006/main" xmlns:r="http://schemas.openxmlformats.org/officeDocument/2006/relationships" xmlns:p="http://schemas.openxmlformats.org/presentationml/2006/main">
  <p:tag name="MIO_GUID" val="202191c9-53db-4a31-8251-cbb7d74b24c8"/>
  <p:tag name="MIO_EKGUID" val="73cd2642-70a5-4a3c-ba64-5069a7b24205"/>
  <p:tag name="MIO_UPDATE" val="True"/>
  <p:tag name="MIO_VERSION" val="16.12.2020 19:32:06"/>
  <p:tag name="MIO_DBID" val="0F45B44C-9BC7-4D85-81C4-7155EE70A7B9"/>
  <p:tag name="MIO_LASTDOWNLOADED" val="19.10.2021 13:53:32.388"/>
  <p:tag name="MIO_OBJECTNAME" val="Brain"/>
  <p:tag name="MIO_LASTEDITORNAME" val="Stephan Kuhnert"/>
</p:tagLst>
</file>

<file path=ppt/tags/tag84.xml><?xml version="1.0" encoding="utf-8"?>
<p:tagLst xmlns:a="http://schemas.openxmlformats.org/drawingml/2006/main" xmlns:r="http://schemas.openxmlformats.org/officeDocument/2006/relationships" xmlns:p="http://schemas.openxmlformats.org/presentationml/2006/main">
  <p:tag name="MIO_GUID" val="bf1b95eb-324b-4854-9b23-595ffc52b9f6"/>
  <p:tag name="MIO_EKGUID" val="9a577b36-86fb-4562-8d27-31476b85b579"/>
  <p:tag name="MIO_UPDATE" val="True"/>
  <p:tag name="MIO_VERSION" val="14.12.2020 15:54:34"/>
  <p:tag name="MIO_DBID" val="0F45B44C-9BC7-4D85-81C4-7155EE70A7B9"/>
  <p:tag name="MIO_LASTDOWNLOADED" val="19.10.2021 13:53:30.532"/>
  <p:tag name="MIO_OBJECTNAME" val="BUSINESS PLAN INFOGRAPHIC"/>
  <p:tag name="MIO_LASTEDITORNAME" val="Stephan Kuhnert"/>
</p:tagLst>
</file>

<file path=ppt/tags/tag85.xml><?xml version="1.0" encoding="utf-8"?>
<p:tagLst xmlns:a="http://schemas.openxmlformats.org/drawingml/2006/main" xmlns:r="http://schemas.openxmlformats.org/officeDocument/2006/relationships" xmlns:p="http://schemas.openxmlformats.org/presentationml/2006/main">
  <p:tag name="MIO_GUID" val="ce1d6520-d7b1-4974-ac88-b0648c0d7679"/>
  <p:tag name="MIO_EKGUID" val="6c81ad7a-df62-4f61-a13e-31e5d9c1abd3"/>
  <p:tag name="MIO_UPDATE" val="True"/>
  <p:tag name="MIO_VERSION" val="26.02.2021 08:43:49"/>
  <p:tag name="MIO_DBID" val="0F45B44C-9BC7-4D85-81C4-7155EE70A7B9"/>
  <p:tag name="MIO_LASTDOWNLOADED" val="19.10.2021 17:16:21.550"/>
  <p:tag name="MIO_OBJECTNAME" val="iPhone on orange"/>
  <p:tag name="MIO_LASTEDITORNAME" val="Felix Brüning"/>
</p:tagLst>
</file>

<file path=ppt/tags/tag86.xml><?xml version="1.0" encoding="utf-8"?>
<p:tagLst xmlns:a="http://schemas.openxmlformats.org/drawingml/2006/main" xmlns:r="http://schemas.openxmlformats.org/officeDocument/2006/relationships" xmlns:p="http://schemas.openxmlformats.org/presentationml/2006/main">
  <p:tag name="MIO_GUID" val="64d0a3e3-d533-44f8-8539-85306b399dda"/>
  <p:tag name="MIO_EKGUID" val="16da7513-48e2-44a0-8c7f-ea8dd560ad22"/>
  <p:tag name="MIO_UPDATE" val="True"/>
  <p:tag name="MIO_VERSION" val="14.12.2020 15:56:35"/>
  <p:tag name="MIO_DBID" val="0F45B44C-9BC7-4D85-81C4-7155EE70A7B9"/>
  <p:tag name="MIO_LASTDOWNLOADED" val="19.10.2021 13:53:23.986"/>
  <p:tag name="MIO_OBJECTNAME" val="DESKTOP FEATURES APP"/>
  <p:tag name="MIO_LASTEDITORNAME" val="Stephan Kuhnert"/>
</p:tagLst>
</file>

<file path=ppt/tags/tag87.xml><?xml version="1.0" encoding="utf-8"?>
<p:tagLst xmlns:a="http://schemas.openxmlformats.org/drawingml/2006/main" xmlns:r="http://schemas.openxmlformats.org/officeDocument/2006/relationships" xmlns:p="http://schemas.openxmlformats.org/presentationml/2006/main">
  <p:tag name="MIO_GUID" val="53e746d2-492c-47df-8622-2bbbb4688eaa"/>
  <p:tag name="MIO_EKGUID" val="398fff37-1c11-4a13-b7f8-45a8cbb122a7"/>
  <p:tag name="MIO_UPDATE" val="True"/>
  <p:tag name="MIO_VERSION" val="14.12.2020 16:03:58"/>
  <p:tag name="MIO_DBID" val="0F45B44C-9BC7-4D85-81C4-7155EE70A7B9"/>
  <p:tag name="MIO_LASTDOWNLOADED" val="19.10.2021 13:53:23.600"/>
  <p:tag name="MIO_OBJECTNAME" val="DEVICES INFOGRAPHIC"/>
  <p:tag name="MIO_LASTEDITORNAME" val="Stephan Kuhnert"/>
</p:tagLst>
</file>

<file path=ppt/tags/tag88.xml><?xml version="1.0" encoding="utf-8"?>
<p:tagLst xmlns:a="http://schemas.openxmlformats.org/drawingml/2006/main" xmlns:r="http://schemas.openxmlformats.org/officeDocument/2006/relationships" xmlns:p="http://schemas.openxmlformats.org/presentationml/2006/main">
  <p:tag name="MIO_GUID" val="5ed8cfd6-d822-42ab-a063-23cbadbb401f"/>
  <p:tag name="MIO_EKGUID" val="8157493b-e418-4f09-85be-30deb8ab1a24"/>
  <p:tag name="MIO_UPDATE" val="True"/>
  <p:tag name="MIO_VERSION" val="14.12.2020 15:56:24"/>
  <p:tag name="MIO_DBID" val="0F45B44C-9BC7-4D85-81C4-7155EE70A7B9"/>
  <p:tag name="MIO_LASTDOWNLOADED" val="19.10.2021 13:53:14.505"/>
  <p:tag name="MIO_OBJECTNAME" val="MOBILE DEVICES"/>
  <p:tag name="MIO_LASTEDITORNAME" val="Stephan Kuhnert"/>
</p:tagLst>
</file>

<file path=ppt/tags/tag89.xml><?xml version="1.0" encoding="utf-8"?>
<p:tagLst xmlns:a="http://schemas.openxmlformats.org/drawingml/2006/main" xmlns:r="http://schemas.openxmlformats.org/officeDocument/2006/relationships" xmlns:p="http://schemas.openxmlformats.org/presentationml/2006/main">
  <p:tag name="MIO_GUID" val="94432c8a-727d-4459-b917-9e1a8cbdeb89"/>
  <p:tag name="MIO_EKGUID" val="6bc3bc91-38da-4647-9a8c-8b30cf59e9c8"/>
  <p:tag name="MIO_UPDATE" val="True"/>
  <p:tag name="MIO_VERSION" val="14.12.2020 16:06:08"/>
  <p:tag name="MIO_DBID" val="0F45B44C-9BC7-4D85-81C4-7155EE70A7B9"/>
  <p:tag name="MIO_LASTDOWNLOADED" val="19.10.2021 13:52:49.891"/>
  <p:tag name="MIO_OBJECTNAME" val="TECHNOLOGY TOOLS INFOGRAPHIC"/>
  <p:tag name="MIO_LASTEDITORNAME" val="Stephan Kuhnert"/>
</p:tagLst>
</file>

<file path=ppt/tags/tag9.xml><?xml version="1.0" encoding="utf-8"?>
<p:tagLst xmlns:a="http://schemas.openxmlformats.org/drawingml/2006/main" xmlns:r="http://schemas.openxmlformats.org/officeDocument/2006/relationships" xmlns:p="http://schemas.openxmlformats.org/presentationml/2006/main">
  <p:tag name="MIO_USER_INPUT_REQUIRED" val="Seitenzahl anzeigen;"/>
  <p:tag name="MIO_USER_INPUT_LANGUAGE" val="de-DE"/>
  <p:tag name="MIO_USER_INPUT_OPTIONAL" val=" "/>
  <p:tag name="MIO_USER_INPUT_TEXT" val=" "/>
</p:tagLst>
</file>

<file path=ppt/tags/tag90.xml><?xml version="1.0" encoding="utf-8"?>
<p:tagLst xmlns:a="http://schemas.openxmlformats.org/drawingml/2006/main" xmlns:r="http://schemas.openxmlformats.org/officeDocument/2006/relationships" xmlns:p="http://schemas.openxmlformats.org/presentationml/2006/main">
  <p:tag name="MIO_GUID" val="62e13f54-446f-479b-9dfc-0c0feee2599e"/>
  <p:tag name="MIO_EKGUID" val="464f354d-6bbe-43f2-bb4a-017f511a401a"/>
  <p:tag name="MIO_UPDATE" val="True"/>
  <p:tag name="MIO_VERSION" val="11.05.2020 09:00:48"/>
  <p:tag name="MIO_DBID" val="0F45B44C-9BC7-4D85-81C4-7155EE70A7B9"/>
  <p:tag name="MIO_LASTDOWNLOADED" val="19.10.2021 17:15:54.373"/>
  <p:tag name="MIO_OBJECTNAME" val="New York City"/>
  <p:tag name="MIO_LASTEDITORNAME" val="Sinja Giese"/>
</p:tagLst>
</file>

<file path=ppt/tags/tag91.xml><?xml version="1.0" encoding="utf-8"?>
<p:tagLst xmlns:a="http://schemas.openxmlformats.org/drawingml/2006/main" xmlns:r="http://schemas.openxmlformats.org/officeDocument/2006/relationships" xmlns:p="http://schemas.openxmlformats.org/presentationml/2006/main">
  <p:tag name="MIO_GUID" val="371be5cb-0581-415a-aa86-90d0bf49f0e5"/>
  <p:tag name="MIO_EKGUID" val="7579d8cd-d4d1-4e96-a41f-0afe6ecff941"/>
  <p:tag name="MIO_UPDATE" val="True"/>
  <p:tag name="MIO_VERSION" val="08.05.2020 12:46:07"/>
  <p:tag name="MIO_DBID" val="0F45B44C-9BC7-4D85-81C4-7155EE70A7B9"/>
  <p:tag name="MIO_LASTDOWNLOADED" val="19.10.2021 14:01:30.887"/>
  <p:tag name="MIO_OBJECTNAME" val="Content left with ½ image"/>
  <p:tag name="MIO_LASTEDITORNAME" val="Sinja Giese"/>
</p:tagLst>
</file>

<file path=ppt/tags/tag92.xml><?xml version="1.0" encoding="utf-8"?>
<p:tagLst xmlns:a="http://schemas.openxmlformats.org/drawingml/2006/main" xmlns:r="http://schemas.openxmlformats.org/officeDocument/2006/relationships" xmlns:p="http://schemas.openxmlformats.org/presentationml/2006/main">
  <p:tag name="MIO_GUID" val="df46234b-c665-46f5-acb5-ebfac1996049"/>
  <p:tag name="MIO_EK" val="9966"/>
  <p:tag name="MIO_EKGUID" val="4200fe0c-38e8-4876-befe-89f81de0329e"/>
  <p:tag name="MIO_UPDATE" val="True"/>
  <p:tag name="MIO_VERSION" val="05.12.2016 15:06:48"/>
  <p:tag name="MIO_DBID" val="25C89224-3BD0-4DAE-9699-6AD9CAF4AB96"/>
  <p:tag name="MIO_LASTDOWNLOADED" val="20.03.2020 22:45:01"/>
  <p:tag name="MIO_OBJECTNAME" val="New York Skyline"/>
  <p:tag name="MIO_LASTEDITORNAME" val="empower enterprise"/>
</p:tagLst>
</file>

<file path=ppt/tags/tag93.xml><?xml version="1.0" encoding="utf-8"?>
<p:tagLst xmlns:a="http://schemas.openxmlformats.org/drawingml/2006/main" xmlns:r="http://schemas.openxmlformats.org/officeDocument/2006/relationships" xmlns:p="http://schemas.openxmlformats.org/presentationml/2006/main">
  <p:tag name="MIO_GUID" val="b7386f16-d615-49fd-8a86-cbdadcfc9c0c"/>
  <p:tag name="MIO_EKGUID" val="e76599a7-f051-49da-b678-7d1f1deba5b2"/>
  <p:tag name="MIO_UPDATE" val="True"/>
  <p:tag name="MIO_VERSION" val="08.05.2020 12:46:27"/>
  <p:tag name="MIO_DBID" val="0F45B44C-9BC7-4D85-81C4-7155EE70A7B9"/>
  <p:tag name="MIO_LASTDOWNLOADED" val="19.10.2021 14:01:30.526"/>
  <p:tag name="MIO_OBJECTNAME" val="Content left with picture"/>
  <p:tag name="MIO_LASTEDITORNAME" val="Sinja Giese"/>
</p:tagLst>
</file>

<file path=ppt/tags/tag94.xml><?xml version="1.0" encoding="utf-8"?>
<p:tagLst xmlns:a="http://schemas.openxmlformats.org/drawingml/2006/main" xmlns:r="http://schemas.openxmlformats.org/officeDocument/2006/relationships" xmlns:p="http://schemas.openxmlformats.org/presentationml/2006/main">
  <p:tag name="MIO_GUID" val="df46234b-c665-46f5-acb5-ebfac1996049"/>
  <p:tag name="MIO_EK" val="9966"/>
  <p:tag name="MIO_EKGUID" val="4200fe0c-38e8-4876-befe-89f81de0329e"/>
  <p:tag name="MIO_UPDATE" val="True"/>
  <p:tag name="MIO_VERSION" val="05.12.2016 15:06:48"/>
  <p:tag name="MIO_DBID" val="25C89224-3BD0-4DAE-9699-6AD9CAF4AB96"/>
  <p:tag name="MIO_LASTDOWNLOADED" val="20.03.2020 22:44:49"/>
  <p:tag name="MIO_OBJECTNAME" val="New York Skyline"/>
  <p:tag name="MIO_LASTEDITORNAME" val="empower enterprise"/>
</p:tagLst>
</file>

<file path=ppt/tags/tag95.xml><?xml version="1.0" encoding="utf-8"?>
<p:tagLst xmlns:a="http://schemas.openxmlformats.org/drawingml/2006/main" xmlns:r="http://schemas.openxmlformats.org/officeDocument/2006/relationships" xmlns:p="http://schemas.openxmlformats.org/presentationml/2006/main">
  <p:tag name="MIO_GUID" val="7759cab2-b724-4600-8131-d8e8324b7366"/>
  <p:tag name="MIO_EKGUID" val="6dab4362-1a68-42ce-9f6c-52af27bfe054"/>
  <p:tag name="MIO_UPDATE" val="True"/>
  <p:tag name="MIO_VERSION" val="08.05.2020 12:46:45"/>
  <p:tag name="MIO_DBID" val="0F45B44C-9BC7-4D85-81C4-7155EE70A7B9"/>
  <p:tag name="MIO_LASTDOWNLOADED" val="19.10.2021 14:01:30.133"/>
  <p:tag name="MIO_OBJECTNAME" val="Content left with picture (2)"/>
  <p:tag name="MIO_LASTEDITORNAME" val="Sinja Giese"/>
</p:tagLst>
</file>

<file path=ppt/tags/tag96.xml><?xml version="1.0" encoding="utf-8"?>
<p:tagLst xmlns:a="http://schemas.openxmlformats.org/drawingml/2006/main" xmlns:r="http://schemas.openxmlformats.org/officeDocument/2006/relationships" xmlns:p="http://schemas.openxmlformats.org/presentationml/2006/main">
  <p:tag name="MIO_GUID" val="df46234b-c665-46f5-acb5-ebfac1996049"/>
  <p:tag name="MIO_EK" val="9966"/>
  <p:tag name="MIO_EKGUID" val="4200fe0c-38e8-4876-befe-89f81de0329e"/>
  <p:tag name="MIO_UPDATE" val="True"/>
  <p:tag name="MIO_VERSION" val="05.12.2016 15:06:48"/>
  <p:tag name="MIO_DBID" val="25C89224-3BD0-4DAE-9699-6AD9CAF4AB96"/>
  <p:tag name="MIO_LASTDOWNLOADED" val="20.03.2020 22:44:53"/>
  <p:tag name="MIO_OBJECTNAME" val="New York Skyline"/>
  <p:tag name="MIO_LASTEDITORNAME" val="empower enterprise"/>
</p:tagLst>
</file>

<file path=ppt/tags/tag97.xml><?xml version="1.0" encoding="utf-8"?>
<p:tagLst xmlns:a="http://schemas.openxmlformats.org/drawingml/2006/main" xmlns:r="http://schemas.openxmlformats.org/officeDocument/2006/relationships" xmlns:p="http://schemas.openxmlformats.org/presentationml/2006/main">
  <p:tag name="MIO_GUID" val="a1ccf095-8f27-40b5-ae15-870db8571f7c"/>
  <p:tag name="MIO_EKGUID" val="6490bcb4-221e-4409-8130-8952ffc7056b"/>
  <p:tag name="MIO_UPDATE" val="True"/>
  <p:tag name="MIO_VERSION" val="08.05.2020 12:47:05"/>
  <p:tag name="MIO_DBID" val="0F45B44C-9BC7-4D85-81C4-7155EE70A7B9"/>
  <p:tag name="MIO_LASTDOWNLOADED" val="19.10.2021 14:01:29.766"/>
  <p:tag name="MIO_OBJECTNAME" val="Content left with picture (3)"/>
  <p:tag name="MIO_LASTEDITORNAME" val="Sinja Giese"/>
</p:tagLst>
</file>

<file path=ppt/tags/tag98.xml><?xml version="1.0" encoding="utf-8"?>
<p:tagLst xmlns:a="http://schemas.openxmlformats.org/drawingml/2006/main" xmlns:r="http://schemas.openxmlformats.org/officeDocument/2006/relationships" xmlns:p="http://schemas.openxmlformats.org/presentationml/2006/main">
  <p:tag name="MIO_GUID" val="df46234b-c665-46f5-acb5-ebfac1996049"/>
  <p:tag name="MIO_EK" val="9966"/>
  <p:tag name="MIO_EKGUID" val="4200fe0c-38e8-4876-befe-89f81de0329e"/>
  <p:tag name="MIO_UPDATE" val="True"/>
  <p:tag name="MIO_VERSION" val="05.12.2016 15:06:48"/>
  <p:tag name="MIO_DBID" val="25C89224-3BD0-4DAE-9699-6AD9CAF4AB96"/>
  <p:tag name="MIO_LASTDOWNLOADED" val="20.03.2020 22:45:24"/>
  <p:tag name="MIO_OBJECTNAME" val="New York Skyline"/>
  <p:tag name="MIO_LASTEDITORNAME" val="empower enterprise"/>
</p:tagLst>
</file>

<file path=ppt/tags/tag99.xml><?xml version="1.0" encoding="utf-8"?>
<p:tagLst xmlns:a="http://schemas.openxmlformats.org/drawingml/2006/main" xmlns:r="http://schemas.openxmlformats.org/officeDocument/2006/relationships" xmlns:p="http://schemas.openxmlformats.org/presentationml/2006/main">
  <p:tag name="MIO_GUID" val="9442da28-7cc7-4697-929c-300069e20023"/>
  <p:tag name="MIO_EKGUID" val="81fc784d-2900-4d9c-bdcd-349e92d10dde"/>
  <p:tag name="MIO_UPDATE" val="True"/>
  <p:tag name="MIO_VERSION" val="26.02.2021 08:43:34"/>
  <p:tag name="MIO_DBID" val="0F45B44C-9BC7-4D85-81C4-7155EE70A7B9"/>
  <p:tag name="MIO_LASTDOWNLOADED" val="19.10.2021 17:17:13.945"/>
  <p:tag name="MIO_OBJECTNAME" val="two businessmen having a meeting in the park"/>
  <p:tag name="MIO_LASTEDITORNAME" val="Felix Brüning"/>
</p:tagLst>
</file>

<file path=ppt/theme/theme1.xml><?xml version="1.0" encoding="utf-8"?>
<a:theme xmlns:a="http://schemas.openxmlformats.org/drawingml/2006/main" name="empower">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empower® suite">
      <a:majorFont>
        <a:latin typeface="Segoe UI Semibold"/>
        <a:ea typeface="Segoe UI Semibold"/>
        <a:cs typeface="Segoe UI Semibold"/>
      </a:majorFont>
      <a:minorFont>
        <a:latin typeface="Segoe UI Light"/>
        <a:ea typeface="Segoe UI Light"/>
        <a:cs typeface="Segoe U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a:spPr>
      <a:bodyPr lIns="97200" tIns="97200" rIns="97200" bIns="97200" rtlCol="0" anchor="ctr"/>
      <a:lstStyle>
        <a:defPPr algn="ctr" defTabSz="486000">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oAutofit/>
      </a:bodyPr>
      <a:lstStyle>
        <a:defPPr algn="l" rtl="0" eaLnBrk="1" fontAlgn="auto" hangingPunct="1">
          <a:lnSpc>
            <a:spcPct val="100000"/>
          </a:lnSpc>
          <a:spcBef>
            <a:spcPts val="0"/>
          </a:spcBef>
          <a:spcAft>
            <a:spcPts val="0"/>
          </a:spcAft>
          <a:defRPr sz="1600" b="0" i="0" u="none" dirty="0" err="1"/>
        </a:defPPr>
      </a:lstStyle>
    </a:txDef>
  </a:objectDefaults>
  <a:extraClrSchemeLst/>
  <a:extLst>
    <a:ext uri="{05A4C25C-085E-4340-85A3-A5531E510DB2}">
      <thm15:themeFamily xmlns:thm15="http://schemas.microsoft.com/office/thememl/2012/main" name="Default Theme.pptx" id="{553AAD79-A6FD-4966-9630-97468F06B484}" vid="{926D0250-FD4D-4FA7-BD4F-A9939C2FF53A}"/>
    </a:ext>
  </a:extLst>
</a:theme>
</file>

<file path=ppt/theme/theme2.xml><?xml version="1.0" encoding="utf-8"?>
<a:theme xmlns:a="http://schemas.openxmlformats.org/drawingml/2006/main" name="Office Theme">
  <a:themeElements>
    <a:clrScheme name="empower">
      <a:dk1>
        <a:sysClr val="windowText" lastClr="000000"/>
      </a:dk1>
      <a:lt1>
        <a:sysClr val="window" lastClr="FFFFFF"/>
      </a:lt1>
      <a:dk2>
        <a:srgbClr val="123F6E"/>
      </a:dk2>
      <a:lt2>
        <a:srgbClr val="F1F1F1"/>
      </a:lt2>
      <a:accent1>
        <a:srgbClr val="123F6E"/>
      </a:accent1>
      <a:accent2>
        <a:srgbClr val="859BB3"/>
      </a:accent2>
      <a:accent3>
        <a:srgbClr val="BECAD5"/>
      </a:accent3>
      <a:accent4>
        <a:srgbClr val="333333"/>
      </a:accent4>
      <a:accent5>
        <a:srgbClr val="666666"/>
      </a:accent5>
      <a:accent6>
        <a:srgbClr val="F1F1F1"/>
      </a:accent6>
      <a:hlink>
        <a:srgbClr val="666666"/>
      </a:hlink>
      <a:folHlink>
        <a:srgbClr val="666666"/>
      </a:folHlink>
    </a:clrScheme>
    <a:fontScheme name="Custom 1">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empower">
      <a:dk1>
        <a:sysClr val="windowText" lastClr="000000"/>
      </a:dk1>
      <a:lt1>
        <a:sysClr val="window" lastClr="FFFFFF"/>
      </a:lt1>
      <a:dk2>
        <a:srgbClr val="123F6E"/>
      </a:dk2>
      <a:lt2>
        <a:srgbClr val="F1F1F1"/>
      </a:lt2>
      <a:accent1>
        <a:srgbClr val="123F6E"/>
      </a:accent1>
      <a:accent2>
        <a:srgbClr val="859BB3"/>
      </a:accent2>
      <a:accent3>
        <a:srgbClr val="BECAD5"/>
      </a:accent3>
      <a:accent4>
        <a:srgbClr val="333333"/>
      </a:accent4>
      <a:accent5>
        <a:srgbClr val="666666"/>
      </a:accent5>
      <a:accent6>
        <a:srgbClr val="F1F1F1"/>
      </a:accent6>
      <a:hlink>
        <a:srgbClr val="666666"/>
      </a:hlink>
      <a:folHlink>
        <a:srgbClr val="666666"/>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2A1E050-AABB-E04C-A53E-9B5AFAED284A}">
  <we:reference id="30ab5e52-4882-4d4b-aa5d-a8cdc8f5569c" version="1.0.0.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45513DB3DD40134380892040BC2E6F65" ma:contentTypeVersion="9" ma:contentTypeDescription="Ein neues Dokument erstellen." ma:contentTypeScope="" ma:versionID="f3528c595dc877a0f2cf3b8c4ad529a5">
  <xsd:schema xmlns:xsd="http://www.w3.org/2001/XMLSchema" xmlns:xs="http://www.w3.org/2001/XMLSchema" xmlns:p="http://schemas.microsoft.com/office/2006/metadata/properties" xmlns:ns2="6dd123dd-e97f-4686-b2c1-d1f8bc1211c4" targetNamespace="http://schemas.microsoft.com/office/2006/metadata/properties" ma:root="true" ma:fieldsID="fb06f306d745535caf5ac97e40443b84" ns2:_="">
    <xsd:import namespace="6dd123dd-e97f-4686-b2c1-d1f8bc1211c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d123dd-e97f-4686-b2c1-d1f8bc1211c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1F8BECC-8B8C-4B9A-A0D9-653D3C0158FD}">
  <ds:schemaRefs>
    <ds:schemaRef ds:uri="http://schemas.microsoft.com/sharepoint/v3/contenttype/forms"/>
  </ds:schemaRefs>
</ds:datastoreItem>
</file>

<file path=customXml/itemProps2.xml><?xml version="1.0" encoding="utf-8"?>
<ds:datastoreItem xmlns:ds="http://schemas.openxmlformats.org/officeDocument/2006/customXml" ds:itemID="{CE3513CC-5CA3-4620-8D63-41DA2A5A7900}">
  <ds:schemaRefs>
    <ds:schemaRef ds:uri="6dd123dd-e97f-4686-b2c1-d1f8bc1211c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281092B-9F4D-4824-9105-C266755A30CD}">
  <ds:schemaRefs>
    <ds:schemaRef ds:uri="6dd123dd-e97f-4686-b2c1-d1f8bc1211c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5611</Words>
  <Application>Microsoft Office PowerPoint</Application>
  <PresentationFormat>Breitbild</PresentationFormat>
  <Paragraphs>756</Paragraphs>
  <Slides>80</Slides>
  <Notes>67</Notes>
  <HiddenSlides>0</HiddenSlides>
  <MMClips>0</MMClips>
  <ScaleCrop>false</ScaleCrop>
  <HeadingPairs>
    <vt:vector size="6" baseType="variant">
      <vt:variant>
        <vt:lpstr>Verwendete Schriftarten</vt:lpstr>
      </vt:variant>
      <vt:variant>
        <vt:i4>11</vt:i4>
      </vt:variant>
      <vt:variant>
        <vt:lpstr>Design</vt:lpstr>
      </vt:variant>
      <vt:variant>
        <vt:i4>1</vt:i4>
      </vt:variant>
      <vt:variant>
        <vt:lpstr>Folientitel</vt:lpstr>
      </vt:variant>
      <vt:variant>
        <vt:i4>80</vt:i4>
      </vt:variant>
    </vt:vector>
  </HeadingPairs>
  <TitlesOfParts>
    <vt:vector size="92" baseType="lpstr">
      <vt:lpstr>Arial</vt:lpstr>
      <vt:lpstr>Lato Light</vt:lpstr>
      <vt:lpstr>Muli ExtraLight</vt:lpstr>
      <vt:lpstr>Nunito Sans ExtraLight</vt:lpstr>
      <vt:lpstr>Open Sans Light</vt:lpstr>
      <vt:lpstr>Poppins</vt:lpstr>
      <vt:lpstr>Roboto Light</vt:lpstr>
      <vt:lpstr>Segoe UI Light</vt:lpstr>
      <vt:lpstr>Segoe UI Semibold</vt:lpstr>
      <vt:lpstr>Symbol</vt:lpstr>
      <vt:lpstr>Wingdings</vt:lpstr>
      <vt:lpstr>empower</vt:lpstr>
      <vt:lpstr>Business PowerPoint Templat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World map</vt:lpstr>
      <vt:lpstr>Europe with text</vt:lpstr>
      <vt:lpstr>Germany locations</vt:lpstr>
      <vt:lpstr>North America with text</vt:lpstr>
      <vt:lpstr>South America at a glance</vt:lpstr>
      <vt:lpstr>Asia and Middle East with text</vt:lpstr>
      <vt:lpstr>North Africa details</vt:lpstr>
      <vt:lpstr>Australia dashboard</vt:lpstr>
      <vt:lpstr>World infographic</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icture with text </vt:lpstr>
      <vt:lpstr>Lorem ipsum dolor sit amet</vt:lpstr>
      <vt:lpstr>Lorem ipsum dolor sit amet</vt:lpstr>
      <vt:lpstr>PowerPoint-Präsentation</vt:lpstr>
      <vt:lpstr>PowerPoint-Präsentation</vt:lpstr>
      <vt:lpstr>SWOT</vt:lpstr>
      <vt:lpstr>SWOT opportunities</vt:lpstr>
      <vt:lpstr>SWOT strengths</vt:lpstr>
      <vt:lpstr>SWOT threats</vt:lpstr>
      <vt:lpstr>SWOT weaknesses</vt:lpstr>
      <vt:lpstr>SWOT analysis slide</vt:lpstr>
      <vt:lpstr>PowerPoint-Präsentation</vt:lpstr>
      <vt:lpstr>Bar chart with text</vt:lpstr>
      <vt:lpstr>Comparison of bar charts</vt:lpstr>
      <vt:lpstr>Ring chart with text</vt:lpstr>
      <vt:lpstr>PowerPoint-Präsentation</vt:lpstr>
      <vt:lpstr>Business infographic</vt:lpstr>
      <vt:lpstr>Budget slide</vt:lpstr>
      <vt:lpstr>One hundred peopl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ynamic Activation User</dc:creator>
  <cp:lastModifiedBy>Carina Geueke</cp:lastModifiedBy>
  <cp:revision>27</cp:revision>
  <dcterms:created xsi:type="dcterms:W3CDTF">2021-10-19T11:50:16Z</dcterms:created>
  <dcterms:modified xsi:type="dcterms:W3CDTF">2021-10-29T11:06: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513DB3DD40134380892040BC2E6F65</vt:lpwstr>
  </property>
</Properties>
</file>